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5" r:id="rId4"/>
    <p:sldMasterId id="2147484026" r:id="rId5"/>
  </p:sldMasterIdLst>
  <p:notesMasterIdLst>
    <p:notesMasterId r:id="rId32"/>
  </p:notesMasterIdLst>
  <p:sldIdLst>
    <p:sldId id="282" r:id="rId6"/>
    <p:sldId id="2061898033" r:id="rId7"/>
    <p:sldId id="1979422281" r:id="rId8"/>
    <p:sldId id="2061898034" r:id="rId9"/>
    <p:sldId id="1979422266" r:id="rId10"/>
    <p:sldId id="1979422265" r:id="rId11"/>
    <p:sldId id="2061898030" r:id="rId12"/>
    <p:sldId id="1979422271" r:id="rId13"/>
    <p:sldId id="1979422287" r:id="rId14"/>
    <p:sldId id="1979422305" r:id="rId15"/>
    <p:sldId id="1441" r:id="rId16"/>
    <p:sldId id="2061898013" r:id="rId17"/>
    <p:sldId id="1444" r:id="rId18"/>
    <p:sldId id="1979422296" r:id="rId19"/>
    <p:sldId id="1979422309" r:id="rId20"/>
    <p:sldId id="1421" r:id="rId21"/>
    <p:sldId id="1979422251" r:id="rId22"/>
    <p:sldId id="2061898032" r:id="rId23"/>
    <p:sldId id="1979422283" r:id="rId24"/>
    <p:sldId id="1979422284" r:id="rId25"/>
    <p:sldId id="1979422285" r:id="rId26"/>
    <p:sldId id="2061898014" r:id="rId27"/>
    <p:sldId id="1979422299" r:id="rId28"/>
    <p:sldId id="1979422268" r:id="rId29"/>
    <p:sldId id="1979422269" r:id="rId30"/>
    <p:sldId id="1979422270"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DM" id="{798D1550-192D-452A-976B-7DAED7C07B32}">
          <p14:sldIdLst>
            <p14:sldId id="282"/>
            <p14:sldId id="2061898033"/>
            <p14:sldId id="1979422281"/>
            <p14:sldId id="2061898034"/>
            <p14:sldId id="1979422266"/>
            <p14:sldId id="1979422265"/>
            <p14:sldId id="2061898030"/>
            <p14:sldId id="1979422271"/>
            <p14:sldId id="1979422287"/>
            <p14:sldId id="1979422305"/>
            <p14:sldId id="1441"/>
            <p14:sldId id="2061898013"/>
            <p14:sldId id="1444"/>
            <p14:sldId id="1979422296"/>
            <p14:sldId id="1979422309"/>
            <p14:sldId id="1421"/>
            <p14:sldId id="1979422251"/>
            <p14:sldId id="2061898032"/>
            <p14:sldId id="1979422283"/>
            <p14:sldId id="1979422284"/>
            <p14:sldId id="1979422285"/>
            <p14:sldId id="2061898014"/>
            <p14:sldId id="1979422299"/>
            <p14:sldId id="1979422268"/>
            <p14:sldId id="1979422269"/>
            <p14:sldId id="197942227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ill Pearse" initials="BP" lastIdx="7" clrIdx="0">
    <p:extLst>
      <p:ext uri="{19B8F6BF-5375-455C-9EA6-DF929625EA0E}">
        <p15:presenceInfo xmlns:p15="http://schemas.microsoft.com/office/powerpoint/2012/main" userId="S::bill.pearse@thespurgroup.com::89c0c598-c285-4c12-9319-1aa669e820a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7A94"/>
    <a:srgbClr val="00A4EF"/>
    <a:srgbClr val="003C56"/>
    <a:srgbClr val="008DB0"/>
    <a:srgbClr val="1D4572"/>
    <a:srgbClr val="4CD0F1"/>
    <a:srgbClr val="F2F2F2"/>
    <a:srgbClr val="F7F7F7"/>
    <a:srgbClr val="0D274D"/>
    <a:srgbClr val="B9E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61"/>
    <p:restoredTop sz="95728" autoAdjust="0"/>
  </p:normalViewPr>
  <p:slideViewPr>
    <p:cSldViewPr snapToGrid="0">
      <p:cViewPr varScale="1">
        <p:scale>
          <a:sx n="86" d="100"/>
          <a:sy n="86" d="100"/>
        </p:scale>
        <p:origin x="634" y="58"/>
      </p:cViewPr>
      <p:guideLst/>
    </p:cSldViewPr>
  </p:slideViewPr>
  <p:notesTextViewPr>
    <p:cViewPr>
      <p:scale>
        <a:sx n="1" d="1"/>
        <a:sy n="1" d="1"/>
      </p:scale>
      <p:origin x="0" y="0"/>
    </p:cViewPr>
  </p:notesTextViewPr>
  <p:sorterViewPr>
    <p:cViewPr>
      <p:scale>
        <a:sx n="141" d="100"/>
        <a:sy n="141" d="100"/>
      </p:scale>
      <p:origin x="0" y="-183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iscoSansTT ExtraLight" panose="020B0303020201020303"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iscoSansTT ExtraLight" panose="020B0303020201020303" pitchFamily="34" charset="0"/>
              </a:defRPr>
            </a:lvl1pPr>
          </a:lstStyle>
          <a:p>
            <a:fld id="{141E1872-6E24-41BC-B194-33C571F6081F}" type="datetimeFigureOut">
              <a:rPr lang="en-US" smtClean="0"/>
              <a:pPr/>
              <a:t>10/6/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iscoSansTT ExtraLight" panose="020B0303020201020303"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iscoSansTT ExtraLight" panose="020B0303020201020303" pitchFamily="34" charset="0"/>
              </a:defRPr>
            </a:lvl1pPr>
          </a:lstStyle>
          <a:p>
            <a:fld id="{A0CDD43B-31BF-441C-BF6E-38E69833597D}" type="slidenum">
              <a:rPr lang="en-US" smtClean="0"/>
              <a:pPr/>
              <a:t>‹#›</a:t>
            </a:fld>
            <a:endParaRPr lang="en-US" dirty="0"/>
          </a:p>
        </p:txBody>
      </p:sp>
    </p:spTree>
    <p:extLst>
      <p:ext uri="{BB962C8B-B14F-4D97-AF65-F5344CB8AC3E}">
        <p14:creationId xmlns:p14="http://schemas.microsoft.com/office/powerpoint/2010/main" val="1934064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iscoSansTT ExtraLight" panose="020B0303020201020303" pitchFamily="34" charset="0"/>
        <a:ea typeface="+mn-ea"/>
        <a:cs typeface="+mn-cs"/>
      </a:defRPr>
    </a:lvl1pPr>
    <a:lvl2pPr marL="457200" algn="l" defTabSz="914400" rtl="0" eaLnBrk="1" latinLnBrk="0" hangingPunct="1">
      <a:defRPr sz="1200" kern="1200">
        <a:solidFill>
          <a:schemeClr val="tx1"/>
        </a:solidFill>
        <a:latin typeface="CiscoSansTT ExtraLight" panose="020B0303020201020303" pitchFamily="34" charset="0"/>
        <a:ea typeface="+mn-ea"/>
        <a:cs typeface="+mn-cs"/>
      </a:defRPr>
    </a:lvl2pPr>
    <a:lvl3pPr marL="914400" algn="l" defTabSz="914400" rtl="0" eaLnBrk="1" latinLnBrk="0" hangingPunct="1">
      <a:defRPr sz="1200" kern="1200">
        <a:solidFill>
          <a:schemeClr val="tx1"/>
        </a:solidFill>
        <a:latin typeface="CiscoSansTT ExtraLight" panose="020B0303020201020303" pitchFamily="34" charset="0"/>
        <a:ea typeface="+mn-ea"/>
        <a:cs typeface="+mn-cs"/>
      </a:defRPr>
    </a:lvl3pPr>
    <a:lvl4pPr marL="1371600" algn="l" defTabSz="914400" rtl="0" eaLnBrk="1" latinLnBrk="0" hangingPunct="1">
      <a:defRPr sz="1200" kern="1200">
        <a:solidFill>
          <a:schemeClr val="tx1"/>
        </a:solidFill>
        <a:latin typeface="CiscoSansTT ExtraLight" panose="020B0303020201020303" pitchFamily="34" charset="0"/>
        <a:ea typeface="+mn-ea"/>
        <a:cs typeface="+mn-cs"/>
      </a:defRPr>
    </a:lvl4pPr>
    <a:lvl5pPr marL="1828800" algn="l" defTabSz="914400" rtl="0" eaLnBrk="1" latinLnBrk="0" hangingPunct="1">
      <a:defRPr sz="1200" kern="1200">
        <a:solidFill>
          <a:schemeClr val="tx1"/>
        </a:solidFill>
        <a:latin typeface="CiscoSansTT ExtraLight" panose="020B03030202010203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buffer.com/state-of-remote-work-2019" TargetMode="External"/><Relationship Id="rId3" Type="http://schemas.openxmlformats.org/officeDocument/2006/relationships/hyperlink" Target="https://globalworkplaceanalytics.com/work-at-home-after-covid-19-our-forecast" TargetMode="External"/><Relationship Id="rId7" Type="http://schemas.openxmlformats.org/officeDocument/2006/relationships/hyperlink" Target="https://www.owllabs.com/state-of-remote-work/2019"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www.flexjobs.com/blog/post/remote-work-statistics/" TargetMode="External"/><Relationship Id="rId5" Type="http://schemas.openxmlformats.org/officeDocument/2006/relationships/hyperlink" Target="https://www.vox.com/recode/2020/4/14/21211789/coronavirus-office-space-work-from-home-design-architecture-real-estate" TargetMode="External"/><Relationship Id="rId4" Type="http://schemas.openxmlformats.org/officeDocument/2006/relationships/hyperlink" Target="https://www.upwork.com/press/2019/03/05/third-annual-future-workforce-report/" TargetMode="Externa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1</a:t>
            </a:fld>
            <a:endParaRPr lang="en-US" dirty="0"/>
          </a:p>
        </p:txBody>
      </p:sp>
    </p:spTree>
    <p:extLst>
      <p:ext uri="{BB962C8B-B14F-4D97-AF65-F5344CB8AC3E}">
        <p14:creationId xmlns:p14="http://schemas.microsoft.com/office/powerpoint/2010/main" val="40083064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ctr">
              <a:buFont typeface="Arial" panose="020B0604020202020204" pitchFamily="34" charset="0"/>
              <a:buNone/>
            </a:pPr>
            <a:r>
              <a:rPr lang="en-US" sz="1200" b="1" kern="1200" dirty="0">
                <a:solidFill>
                  <a:schemeClr val="tx1"/>
                </a:solidFill>
                <a:effectLst/>
                <a:latin typeface="CiscoSansTT ExtraLight" panose="020B0303020201020303" pitchFamily="34" charset="0"/>
                <a:ea typeface="+mn-ea"/>
                <a:cs typeface="+mn-cs"/>
              </a:rPr>
              <a:t>SRW MPF:</a:t>
            </a:r>
          </a:p>
          <a:p>
            <a:pPr marL="0" indent="0" fontAlgn="ctr">
              <a:buFont typeface="Arial" panose="020B0604020202020204" pitchFamily="34" charset="0"/>
              <a:buNone/>
            </a:pPr>
            <a:r>
              <a:rPr lang="en-US" sz="1200" kern="1200" dirty="0">
                <a:solidFill>
                  <a:schemeClr val="tx1"/>
                </a:solidFill>
                <a:effectLst/>
                <a:latin typeface="CiscoSansTT ExtraLight" panose="020B0303020201020303" pitchFamily="34" charset="0"/>
                <a:ea typeface="+mn-ea"/>
                <a:cs typeface="+mn-cs"/>
              </a:rPr>
              <a:t>Verify identity of all users before granting access to corporate applications with a user-friendly, scalable, and secure multi-factor authentication</a:t>
            </a:r>
          </a:p>
          <a:p>
            <a:pPr marL="0" indent="0" fontAlgn="ctr">
              <a:buFont typeface="Arial" panose="020B0604020202020204" pitchFamily="34" charset="0"/>
              <a:buNone/>
            </a:pPr>
            <a:endParaRPr lang="en-US" sz="1200" kern="1200" dirty="0">
              <a:solidFill>
                <a:schemeClr val="tx1"/>
              </a:solidFill>
              <a:effectLst/>
              <a:latin typeface="CiscoSansTT ExtraLight" panose="020B0303020201020303" pitchFamily="34" charset="0"/>
              <a:ea typeface="+mn-ea"/>
              <a:cs typeface="+mn-cs"/>
            </a:endParaRPr>
          </a:p>
          <a:p>
            <a:pPr lvl="0"/>
            <a:r>
              <a:rPr lang="en-US" sz="1200" kern="1200" dirty="0">
                <a:solidFill>
                  <a:schemeClr val="tx1"/>
                </a:solidFill>
                <a:effectLst/>
                <a:latin typeface="CiscoSansTT ExtraLight" panose="020B0303020201020303" pitchFamily="34" charset="0"/>
                <a:ea typeface="+mn-ea"/>
                <a:cs typeface="+mn-cs"/>
              </a:rPr>
              <a:t>No need to compromise your workflow, we have you covered with multiple authentication methods. </a:t>
            </a:r>
          </a:p>
          <a:p>
            <a:pPr lvl="0"/>
            <a:r>
              <a:rPr lang="en-US" sz="1200" kern="1200" dirty="0">
                <a:solidFill>
                  <a:schemeClr val="tx1"/>
                </a:solidFill>
                <a:effectLst/>
                <a:latin typeface="CiscoSansTT ExtraLight" panose="020B0303020201020303" pitchFamily="34" charset="0"/>
                <a:ea typeface="+mn-ea"/>
                <a:cs typeface="+mn-cs"/>
              </a:rPr>
              <a:t>Achieve time-to-value quickly with seamless deployment into an existing environment and painless onboarding with user-friendly usability. </a:t>
            </a:r>
          </a:p>
          <a:p>
            <a:r>
              <a:rPr lang="en-US" sz="1200" kern="1200" dirty="0">
                <a:solidFill>
                  <a:schemeClr val="tx1"/>
                </a:solidFill>
                <a:effectLst/>
                <a:latin typeface="CiscoSansTT ExtraLight" panose="020B0303020201020303" pitchFamily="34" charset="0"/>
                <a:ea typeface="+mn-ea"/>
                <a:cs typeface="+mn-cs"/>
              </a:rPr>
              <a:t>Keep pace with growing needs of your organization with an easy to scale multi-factor technology that adds new uses and supports new devices instantly without impacting existing operations.</a:t>
            </a:r>
            <a:endParaRPr lang="en-US" dirty="0"/>
          </a:p>
          <a:p>
            <a:pPr lvl="0"/>
            <a:endParaRPr lang="en-US" sz="1200" dirty="0">
              <a:solidFill>
                <a:schemeClr val="tx1"/>
              </a:solidFill>
            </a:endParaRPr>
          </a:p>
          <a:p>
            <a:pPr lvl="0"/>
            <a:r>
              <a:rPr lang="en-US" sz="1200" b="1" kern="1200" dirty="0">
                <a:solidFill>
                  <a:schemeClr val="tx1"/>
                </a:solidFill>
                <a:effectLst/>
                <a:latin typeface="CiscoSansTT ExtraLight" panose="020B0303020201020303" pitchFamily="34" charset="0"/>
                <a:ea typeface="+mn-ea"/>
                <a:cs typeface="+mn-cs"/>
              </a:rPr>
              <a:t>Endpoint MPF:</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CiscoSansTT ExtraLight" panose="020B0303020201020303" pitchFamily="34" charset="0"/>
                <a:ea typeface="+mn-ea"/>
                <a:cs typeface="+mn-cs"/>
              </a:rPr>
              <a:t>Enforce secure and trusted user access: Let the good guys in with risk-based access control, posture and compliance assessment, multi-factor authentication, and virtual private network controls. </a:t>
            </a:r>
          </a:p>
          <a:p>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11</a:t>
            </a:fld>
            <a:endParaRPr lang="en-US" dirty="0"/>
          </a:p>
        </p:txBody>
      </p:sp>
    </p:spTree>
    <p:extLst>
      <p:ext uri="{BB962C8B-B14F-4D97-AF65-F5344CB8AC3E}">
        <p14:creationId xmlns:p14="http://schemas.microsoft.com/office/powerpoint/2010/main" val="2544316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12</a:t>
            </a:fld>
            <a:endParaRPr lang="en-US" dirty="0"/>
          </a:p>
        </p:txBody>
      </p:sp>
    </p:spTree>
    <p:extLst>
      <p:ext uri="{BB962C8B-B14F-4D97-AF65-F5344CB8AC3E}">
        <p14:creationId xmlns:p14="http://schemas.microsoft.com/office/powerpoint/2010/main" val="1944198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ctr">
              <a:buFont typeface="Arial" panose="020B0604020202020204" pitchFamily="34" charset="0"/>
              <a:buNone/>
            </a:pPr>
            <a:r>
              <a:rPr lang="en-US" b="1" dirty="0"/>
              <a:t>SRW MPF:</a:t>
            </a:r>
            <a:br>
              <a:rPr lang="en-US" dirty="0"/>
            </a:br>
            <a:endParaRPr lang="en-US" dirty="0"/>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CiscoSansTT ExtraLight" panose="020B0303020201020303" pitchFamily="34" charset="0"/>
                <a:ea typeface="+mn-ea"/>
                <a:cs typeface="+mn-cs"/>
              </a:rPr>
              <a:t>Empower remote workers with frictionless secure access to the enterprise network from any device, at any time, in any location while protecting the organization.</a:t>
            </a:r>
          </a:p>
          <a:p>
            <a:pPr marL="171450" lvl="0" indent="-171450">
              <a:buFont typeface="Arial" panose="020B0604020202020204" pitchFamily="34" charset="0"/>
              <a:buChar char="•"/>
            </a:pPr>
            <a:r>
              <a:rPr lang="en-US" sz="1200" kern="1200" dirty="0">
                <a:solidFill>
                  <a:schemeClr val="tx1"/>
                </a:solidFill>
                <a:effectLst/>
                <a:latin typeface="CiscoSansTT ExtraLight" panose="020B0303020201020303" pitchFamily="34" charset="0"/>
                <a:ea typeface="+mn-ea"/>
                <a:cs typeface="+mn-cs"/>
              </a:rPr>
              <a:t>Quickly extend flexible, policy driven access to support remote workers across wired, wireless, and VPN.</a:t>
            </a:r>
          </a:p>
          <a:p>
            <a:pPr marL="171450" lvl="0" indent="-171450">
              <a:buFont typeface="Arial" panose="020B0604020202020204" pitchFamily="34" charset="0"/>
              <a:buChar char="•"/>
            </a:pPr>
            <a:r>
              <a:rPr lang="en-US" sz="1200" kern="1200" dirty="0">
                <a:solidFill>
                  <a:schemeClr val="tx1"/>
                </a:solidFill>
                <a:effectLst/>
                <a:latin typeface="CiscoSansTT ExtraLight" panose="020B0303020201020303" pitchFamily="34" charset="0"/>
                <a:ea typeface="+mn-ea"/>
                <a:cs typeface="+mn-cs"/>
              </a:rPr>
              <a:t>Get more, with lower total cost of ownership with multiple services beyond traditional VPN capabilities to successfully enable a more complete secure access for the remote worker. </a:t>
            </a:r>
          </a:p>
          <a:p>
            <a:pPr marL="171450" lvl="0" indent="-171450">
              <a:buFont typeface="Arial" panose="020B0604020202020204" pitchFamily="34" charset="0"/>
              <a:buChar char="•"/>
            </a:pPr>
            <a:r>
              <a:rPr lang="en-US" sz="1200" kern="1200" dirty="0">
                <a:solidFill>
                  <a:schemeClr val="tx1"/>
                </a:solidFill>
                <a:effectLst/>
                <a:latin typeface="CiscoSansTT ExtraLight" panose="020B0303020201020303" pitchFamily="34" charset="0"/>
                <a:ea typeface="+mn-ea"/>
                <a:cs typeface="+mn-cs"/>
              </a:rPr>
              <a:t>Gain the visibility and control for your distributed enterprise to identify who and which devices are accessing your enterprise network.</a:t>
            </a:r>
          </a:p>
          <a:p>
            <a:pPr marL="171450" indent="-171450">
              <a:buFont typeface="Arial" panose="020B0604020202020204" pitchFamily="34" charset="0"/>
              <a:buChar char="•"/>
            </a:pPr>
            <a:r>
              <a:rPr lang="en-US" sz="1200" kern="1200" dirty="0">
                <a:solidFill>
                  <a:schemeClr val="tx1"/>
                </a:solidFill>
                <a:effectLst/>
                <a:latin typeface="CiscoSansTT ExtraLight" panose="020B0303020201020303" pitchFamily="34" charset="0"/>
                <a:ea typeface="+mn-ea"/>
                <a:cs typeface="+mn-cs"/>
              </a:rPr>
              <a:t>Continuous endpoint posture checks with automated remediation to determine compliance state and strengthen security. </a:t>
            </a:r>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13</a:t>
            </a:fld>
            <a:endParaRPr lang="en-US" dirty="0"/>
          </a:p>
        </p:txBody>
      </p:sp>
    </p:spTree>
    <p:extLst>
      <p:ext uri="{BB962C8B-B14F-4D97-AF65-F5344CB8AC3E}">
        <p14:creationId xmlns:p14="http://schemas.microsoft.com/office/powerpoint/2010/main" val="40722292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457181" rtl="0" eaLnBrk="1" fontAlgn="auto" latinLnBrk="0" hangingPunct="1">
              <a:lnSpc>
                <a:spcPct val="100000"/>
              </a:lnSpc>
              <a:spcBef>
                <a:spcPts val="0"/>
              </a:spcBef>
              <a:spcAft>
                <a:spcPts val="0"/>
              </a:spcAft>
              <a:buClrTx/>
              <a:buSzTx/>
              <a:buFontTx/>
              <a:buNone/>
              <a:tabLst/>
              <a:defRPr/>
            </a:pPr>
            <a:r>
              <a:rPr lang="en-US" sz="1600" b="0" baseline="0" dirty="0">
                <a:latin typeface="CiscoSansTT Light" panose="020B0503020201020303" pitchFamily="34" charset="0"/>
              </a:rPr>
              <a:t>Built on foundational VPN technology, </a:t>
            </a:r>
            <a:r>
              <a:rPr lang="en-US" sz="1600" b="1" baseline="0" dirty="0">
                <a:latin typeface="CiscoSansTT Light" panose="020B0503020201020303" pitchFamily="34" charset="0"/>
              </a:rPr>
              <a:t>AnyConnect Secure Mobility solution extends its value proposition beyond remote access </a:t>
            </a:r>
            <a:r>
              <a:rPr lang="en-US" sz="1600" b="0" baseline="0" dirty="0">
                <a:latin typeface="CiscoSansTT Light" panose="020B0503020201020303" pitchFamily="34" charset="0"/>
              </a:rPr>
              <a:t>to leading-edge user friendliness and state-of-the-art network-based security. Sitting on endpoint computer devices, AnyConnect enables security in the network fabric behind the firewall and provides unprecedented security and corp policy enablement when users are mobile, outside of the corporate firewall.</a:t>
            </a:r>
          </a:p>
          <a:p>
            <a:endParaRPr lang="en-US" baseline="0" dirty="0"/>
          </a:p>
          <a:p>
            <a:r>
              <a:rPr lang="en-US" baseline="0" dirty="0"/>
              <a:t>AnyConnect integrates with several of Cisco’s best-in-class security solutions, such as Advanced Malware Protection (AMP) and Identity Services Engine (ISE), and there are many, </a:t>
            </a:r>
            <a:r>
              <a:rPr lang="en-US" i="1" baseline="0" dirty="0"/>
              <a:t>many </a:t>
            </a:r>
            <a:r>
              <a:rPr lang="en-US" i="0" baseline="0" dirty="0"/>
              <a:t>advantages that these products bring to AnyConnect. But in the interest of time, I want to highlight a few of the key security features that AnyConnect provides, such as: </a:t>
            </a:r>
            <a:endParaRPr lang="en-US" sz="1600" baseline="0" dirty="0">
              <a:solidFill>
                <a:schemeClr val="tx1"/>
              </a:solidFill>
              <a:latin typeface="CiscoSansTT Light" panose="020B0503020201020303" pitchFamily="34" charset="0"/>
            </a:endParaRPr>
          </a:p>
          <a:p>
            <a:pPr marL="742931" marR="0" lvl="1" indent="-285750" algn="l" defTabSz="45718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dirty="0">
                <a:solidFill>
                  <a:schemeClr val="tx1"/>
                </a:solidFill>
                <a:latin typeface="CiscoSansTT Light" panose="020B0503020201020303" pitchFamily="34" charset="0"/>
              </a:rPr>
              <a:t>Always-on</a:t>
            </a:r>
            <a:r>
              <a:rPr lang="en-US" sz="1600" b="1" baseline="0" dirty="0">
                <a:solidFill>
                  <a:schemeClr val="tx1"/>
                </a:solidFill>
                <a:latin typeface="CiscoSansTT Light" panose="020B0503020201020303" pitchFamily="34" charset="0"/>
              </a:rPr>
              <a:t> protection: </a:t>
            </a:r>
            <a:r>
              <a:rPr lang="en-US" sz="1600" b="0" baseline="0" dirty="0">
                <a:solidFill>
                  <a:schemeClr val="tx1"/>
                </a:solidFill>
                <a:latin typeface="CiscoSansTT Light" panose="020B0503020201020303" pitchFamily="34" charset="0"/>
              </a:rPr>
              <a:t>the reliable connectivity enabled through AnyConnect’s basic and advanced VPN services is integrated with AnyConnect’s additional security layers, such as: </a:t>
            </a:r>
          </a:p>
          <a:p>
            <a:pPr marL="1200112" marR="0" lvl="2" indent="-285750" algn="l" defTabSz="45718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dirty="0">
                <a:solidFill>
                  <a:schemeClr val="tx1"/>
                </a:solidFill>
                <a:latin typeface="CiscoSansTT Light" panose="020B0503020201020303" pitchFamily="34" charset="0"/>
              </a:rPr>
              <a:t>End-to-end data encryption</a:t>
            </a:r>
            <a:r>
              <a:rPr lang="en-US" sz="1600" dirty="0">
                <a:solidFill>
                  <a:schemeClr val="tx1"/>
                </a:solidFill>
                <a:latin typeface="CiscoSansTT Light" panose="020B0503020201020303" pitchFamily="34" charset="0"/>
              </a:rPr>
              <a:t>,</a:t>
            </a:r>
            <a:r>
              <a:rPr lang="en-US" sz="1600" baseline="0" dirty="0">
                <a:solidFill>
                  <a:schemeClr val="tx1"/>
                </a:solidFill>
                <a:latin typeface="CiscoSansTT Light" panose="020B0503020201020303" pitchFamily="34" charset="0"/>
              </a:rPr>
              <a:t> even when data is in motion and regardless of the endpoint type or location</a:t>
            </a:r>
          </a:p>
          <a:p>
            <a:pPr marL="1200112" marR="0" lvl="2" indent="-285750" algn="l" defTabSz="45718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dirty="0">
                <a:solidFill>
                  <a:schemeClr val="tx1"/>
                </a:solidFill>
                <a:latin typeface="CiscoSansTT Light" panose="020B0503020201020303" pitchFamily="34" charset="0"/>
              </a:rPr>
              <a:t>User or group-based identity </a:t>
            </a:r>
            <a:r>
              <a:rPr lang="en-US" sz="1600" dirty="0">
                <a:solidFill>
                  <a:schemeClr val="tx1"/>
                </a:solidFill>
                <a:latin typeface="CiscoSansTT Light" panose="020B0503020201020303" pitchFamily="34" charset="0"/>
              </a:rPr>
              <a:t>that allows or denies access to specific web apps</a:t>
            </a:r>
            <a:endParaRPr lang="en-US" sz="1600" b="1" baseline="0" dirty="0">
              <a:solidFill>
                <a:schemeClr val="tx1"/>
              </a:solidFill>
              <a:latin typeface="CiscoSansTT Light" panose="020B0503020201020303" pitchFamily="34" charset="0"/>
            </a:endParaRPr>
          </a:p>
          <a:p>
            <a:pPr marL="742931" marR="0" lvl="1" indent="-285750" algn="l" defTabSz="45718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baseline="0" dirty="0">
                <a:solidFill>
                  <a:schemeClr val="tx1"/>
                </a:solidFill>
                <a:latin typeface="CiscoSansTT Light" panose="020B0503020201020303" pitchFamily="34" charset="0"/>
              </a:rPr>
              <a:t>Proactive threat defense: </a:t>
            </a:r>
            <a:r>
              <a:rPr lang="en-US" sz="1600" b="0" baseline="0" dirty="0">
                <a:solidFill>
                  <a:schemeClr val="tx1"/>
                </a:solidFill>
                <a:latin typeface="CiscoSansTT Light" panose="020B0503020201020303" pitchFamily="34" charset="0"/>
              </a:rPr>
              <a:t>Cisco Advanced Malware protection delivers continuous threat monitoring and malware prevention across all your endpoints</a:t>
            </a:r>
            <a:endParaRPr lang="en-US" sz="1600" b="1" baseline="0" dirty="0">
              <a:solidFill>
                <a:schemeClr val="tx1"/>
              </a:solidFill>
              <a:latin typeface="CiscoSansTT Light" panose="020B0503020201020303" pitchFamily="34" charset="0"/>
            </a:endParaRPr>
          </a:p>
          <a:p>
            <a:pPr marL="742931" marR="0" lvl="1" indent="-285750" algn="l" defTabSz="45718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baseline="0" dirty="0">
                <a:solidFill>
                  <a:schemeClr val="tx1"/>
                </a:solidFill>
                <a:latin typeface="CiscoSansTT Light" panose="020B0503020201020303" pitchFamily="34" charset="0"/>
              </a:rPr>
              <a:t>Unmatched web protection: </a:t>
            </a:r>
            <a:r>
              <a:rPr lang="en-US" sz="1600" b="0" baseline="0" dirty="0">
                <a:solidFill>
                  <a:schemeClr val="tx1"/>
                </a:solidFill>
                <a:latin typeface="CiscoSansTT Light" panose="020B0503020201020303" pitchFamily="34" charset="0"/>
              </a:rPr>
              <a:t>AnyConnect includes b</a:t>
            </a:r>
            <a:r>
              <a:rPr lang="en-US" sz="1600" b="0" dirty="0">
                <a:solidFill>
                  <a:schemeClr val="tx1"/>
                </a:solidFill>
                <a:latin typeface="CiscoSansTT Light" panose="020B0503020201020303" pitchFamily="34" charset="0"/>
              </a:rPr>
              <a:t>uilt-in web security and malware threat protection </a:t>
            </a:r>
            <a:r>
              <a:rPr lang="en-US" sz="1600" dirty="0">
                <a:solidFill>
                  <a:schemeClr val="tx1"/>
                </a:solidFill>
                <a:latin typeface="CiscoSansTT Light" panose="020B0503020201020303" pitchFamily="34" charset="0"/>
              </a:rPr>
              <a:t>that filters for threats when web access is initiated and delivers </a:t>
            </a:r>
            <a:r>
              <a:rPr lang="en-US" sz="1600" baseline="0" dirty="0">
                <a:solidFill>
                  <a:schemeClr val="tx1"/>
                </a:solidFill>
                <a:latin typeface="CiscoSansTT Light" panose="020B0503020201020303" pitchFamily="34" charset="0"/>
              </a:rPr>
              <a:t>web content inspection through the integration of Cisco Cloud Web Security or Cisco Web Security Appliance</a:t>
            </a:r>
            <a:endParaRPr lang="en-US" sz="1600" b="0" baseline="0" dirty="0">
              <a:solidFill>
                <a:schemeClr val="tx1"/>
              </a:solidFill>
              <a:latin typeface="CiscoSansTT Light" panose="020B0503020201020303" pitchFamily="34" charset="0"/>
            </a:endParaRPr>
          </a:p>
          <a:p>
            <a:pPr marL="742931" marR="0" lvl="1" indent="-285750" algn="l" defTabSz="45718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baseline="0" dirty="0">
                <a:solidFill>
                  <a:schemeClr val="tx1"/>
                </a:solidFill>
                <a:latin typeface="CiscoSansTT Light" panose="020B0503020201020303" pitchFamily="34" charset="0"/>
              </a:rPr>
              <a:t>Multiple access options: </a:t>
            </a:r>
            <a:r>
              <a:rPr lang="en-US" sz="1600" b="0" baseline="0" dirty="0">
                <a:solidFill>
                  <a:schemeClr val="tx1"/>
                </a:solidFill>
                <a:latin typeface="CiscoSansTT Light" panose="020B0503020201020303" pitchFamily="34" charset="0"/>
              </a:rPr>
              <a:t>with AnyConnect, you can support a broad range of authentication methods, head-end services and terminator platforms, all of which can be used in many different environments for greater flexibility</a:t>
            </a:r>
            <a:endParaRPr lang="en-US" sz="1600" b="1" baseline="0" dirty="0">
              <a:solidFill>
                <a:schemeClr val="tx1"/>
              </a:solidFill>
              <a:latin typeface="CiscoSansTT Light" panose="020B0503020201020303" pitchFamily="34" charset="0"/>
            </a:endParaRPr>
          </a:p>
          <a:p>
            <a:pPr marL="742931" marR="0" lvl="1" indent="-285750" algn="l" defTabSz="45718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baseline="0" dirty="0">
                <a:solidFill>
                  <a:schemeClr val="tx1"/>
                </a:solidFill>
                <a:latin typeface="CiscoSansTT Light" panose="020B0503020201020303" pitchFamily="34" charset="0"/>
              </a:rPr>
              <a:t>Integrated compliance: </a:t>
            </a:r>
            <a:r>
              <a:rPr lang="en-US" sz="1600" b="0" baseline="0" dirty="0">
                <a:solidFill>
                  <a:schemeClr val="tx1"/>
                </a:solidFill>
                <a:latin typeface="CiscoSansTT Light" panose="020B0503020201020303" pitchFamily="34" charset="0"/>
              </a:rPr>
              <a:t>AnyConnect integrates with Cisco ISE to deliver top-of-the-line compliance and authentication solutions. </a:t>
            </a:r>
            <a:endParaRPr lang="en-US" sz="1600" b="1" baseline="0" dirty="0">
              <a:solidFill>
                <a:schemeClr val="tx1"/>
              </a:solidFill>
              <a:latin typeface="CiscoSansTT Light" panose="020B0503020201020303" pitchFamily="34" charset="0"/>
            </a:endParaRPr>
          </a:p>
          <a:p>
            <a:pPr marL="742931" marR="0" lvl="1" indent="-285750" algn="l" defTabSz="45718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baseline="0" dirty="0">
                <a:solidFill>
                  <a:schemeClr val="tx1"/>
                </a:solidFill>
                <a:latin typeface="CiscoSansTT Light" panose="020B0503020201020303" pitchFamily="34" charset="0"/>
              </a:rPr>
              <a:t>Greater security visibility: </a:t>
            </a:r>
            <a:r>
              <a:rPr lang="en-US" sz="1600" b="0" baseline="0" dirty="0">
                <a:solidFill>
                  <a:schemeClr val="tx1"/>
                </a:solidFill>
                <a:latin typeface="CiscoSansTT Light" panose="020B0503020201020303" pitchFamily="34" charset="0"/>
              </a:rPr>
              <a:t>we talked about AnyConnect’s Network Visibility Module, but its key to call out that NVM integrates and is participatory with other Cisco security solutions, as well as 3</a:t>
            </a:r>
            <a:r>
              <a:rPr lang="en-US" sz="1600" b="0" baseline="30000" dirty="0">
                <a:solidFill>
                  <a:schemeClr val="tx1"/>
                </a:solidFill>
                <a:latin typeface="CiscoSansTT Light" panose="020B0503020201020303" pitchFamily="34" charset="0"/>
              </a:rPr>
              <a:t>rd</a:t>
            </a:r>
            <a:r>
              <a:rPr lang="en-US" sz="1600" b="0" baseline="0" dirty="0">
                <a:solidFill>
                  <a:schemeClr val="tx1"/>
                </a:solidFill>
                <a:latin typeface="CiscoSansTT Light" panose="020B0503020201020303" pitchFamily="34" charset="0"/>
              </a:rPr>
              <a:t>-party behavioral tools </a:t>
            </a:r>
            <a:endParaRPr lang="en-US" sz="1600" b="1" baseline="0" dirty="0">
              <a:solidFill>
                <a:schemeClr val="tx1"/>
              </a:solidFill>
              <a:latin typeface="CiscoSansTT Light" panose="020B0503020201020303" pitchFamily="34" charset="0"/>
            </a:endParaRPr>
          </a:p>
          <a:p>
            <a:pPr marL="0" marR="0" lvl="0" indent="0" algn="l" defTabSz="457181"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baseline="0" dirty="0">
              <a:solidFill>
                <a:schemeClr val="tx1"/>
              </a:solidFill>
              <a:latin typeface="CiscoSansTT Light" panose="020B0503020201020303" pitchFamily="34" charset="0"/>
            </a:endParaRPr>
          </a:p>
          <a:p>
            <a:pPr marL="0" marR="0" lvl="0" indent="0" algn="l" defTabSz="457181"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baseline="0" dirty="0">
                <a:solidFill>
                  <a:schemeClr val="tx1"/>
                </a:solidFill>
                <a:latin typeface="CiscoSansTT Light" panose="020B0503020201020303" pitchFamily="34" charset="0"/>
              </a:rPr>
              <a:t>Even without getting into the other solution components that integrate seamlessly with AnyConnect for advanced levels of endpoint protection, you can feel confident that AnyConnect has you covered with proactive protection. </a:t>
            </a:r>
            <a:endParaRPr lang="en-US" sz="1600" b="0" dirty="0">
              <a:solidFill>
                <a:schemeClr val="tx1"/>
              </a:solidFill>
              <a:latin typeface="CiscoSansTT Light" panose="020B0503020201020303" pitchFamily="34" charset="0"/>
            </a:endParaRPr>
          </a:p>
          <a:p>
            <a:pPr marL="0" lvl="1" indent="0">
              <a:buFont typeface="Arial" panose="020B0604020202020204" pitchFamily="34" charset="0"/>
              <a:buNone/>
            </a:pPr>
            <a:r>
              <a:rPr lang="en-US" sz="1600" baseline="0" dirty="0">
                <a:solidFill>
                  <a:schemeClr val="tx1"/>
                </a:solidFill>
                <a:latin typeface="CiscoSansTT Light" panose="020B0503020201020303" pitchFamily="34" charset="0"/>
              </a:rPr>
              <a:t> </a:t>
            </a:r>
          </a:p>
          <a:p>
            <a:pPr marL="0" lvl="1" indent="0">
              <a:buFont typeface="Arial" panose="020B0604020202020204" pitchFamily="34" charset="0"/>
              <a:buNone/>
            </a:pPr>
            <a:r>
              <a:rPr lang="en-US" sz="1600" b="1" baseline="0" dirty="0"/>
              <a:t>&lt;Click&gt;</a:t>
            </a:r>
            <a:endParaRPr lang="en-US" sz="1600" dirty="0">
              <a:solidFill>
                <a:schemeClr val="tx1"/>
              </a:solidFill>
              <a:latin typeface="CiscoSansTT Light" panose="020B0503020201020303" pitchFamily="34"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14</a:t>
            </a:fld>
            <a:endParaRPr lang="en-US" dirty="0"/>
          </a:p>
        </p:txBody>
      </p:sp>
    </p:spTree>
    <p:extLst>
      <p:ext uri="{BB962C8B-B14F-4D97-AF65-F5344CB8AC3E}">
        <p14:creationId xmlns:p14="http://schemas.microsoft.com/office/powerpoint/2010/main" val="30942367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15</a:t>
            </a:fld>
            <a:endParaRPr lang="en-US" dirty="0"/>
          </a:p>
        </p:txBody>
      </p:sp>
    </p:spTree>
    <p:extLst>
      <p:ext uri="{BB962C8B-B14F-4D97-AF65-F5344CB8AC3E}">
        <p14:creationId xmlns:p14="http://schemas.microsoft.com/office/powerpoint/2010/main" val="39666065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CiscoSansTT ExtraLight" panose="020B0303020201020303" pitchFamily="34" charset="0"/>
                <a:ea typeface="+mn-ea"/>
                <a:cs typeface="+mn-cs"/>
              </a:rPr>
              <a:t>SRW MPF:</a:t>
            </a:r>
            <a:endParaRPr lang="en-US" sz="1200" b="1" dirty="0">
              <a:solidFill>
                <a:schemeClr val="tx1"/>
              </a:solidFill>
            </a:endParaRPr>
          </a:p>
          <a:p>
            <a:endParaRPr lang="en-US" dirty="0"/>
          </a:p>
          <a:p>
            <a:r>
              <a:rPr lang="en-US" sz="1200" kern="1200" dirty="0">
                <a:solidFill>
                  <a:schemeClr val="tx1"/>
                </a:solidFill>
                <a:effectLst/>
                <a:latin typeface="CiscoSansTT ExtraLight" panose="020B0303020201020303" pitchFamily="34" charset="0"/>
                <a:ea typeface="+mn-ea"/>
                <a:cs typeface="+mn-cs"/>
              </a:rPr>
              <a:t>Maintain uncompromised productivity for remote workers anytime, anywhere with a first line and last line of defense against advanced threats.</a:t>
            </a:r>
          </a:p>
          <a:p>
            <a:endParaRPr lang="en-US" sz="1200" kern="1200" dirty="0">
              <a:solidFill>
                <a:schemeClr val="tx1"/>
              </a:solidFill>
              <a:effectLst/>
              <a:latin typeface="CiscoSansTT ExtraLight" panose="020B0303020201020303" pitchFamily="34" charset="0"/>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CiscoSansTT ExtraLight" panose="020B0303020201020303" pitchFamily="34" charset="0"/>
                <a:ea typeface="+mn-ea"/>
                <a:cs typeface="+mn-cs"/>
              </a:rPr>
              <a:t>Protect remote workers against malware that uses DNS to gain command and control, exfiltrate data, or redirect web traffic with proactive DNS security. </a:t>
            </a:r>
          </a:p>
          <a:p>
            <a:pPr marL="171450" lvl="0" indent="-171450">
              <a:buFont typeface="Arial" panose="020B0604020202020204" pitchFamily="34" charset="0"/>
              <a:buChar char="•"/>
            </a:pPr>
            <a:r>
              <a:rPr lang="en-US" sz="1200" kern="1200" dirty="0">
                <a:solidFill>
                  <a:schemeClr val="tx1"/>
                </a:solidFill>
                <a:effectLst/>
                <a:latin typeface="CiscoSansTT ExtraLight" panose="020B0303020201020303" pitchFamily="34" charset="0"/>
                <a:ea typeface="+mn-ea"/>
                <a:cs typeface="+mn-cs"/>
              </a:rPr>
              <a:t>Detect compromised endpoints wherever they are located through persistent monitoring of DNS requests. </a:t>
            </a:r>
          </a:p>
          <a:p>
            <a:pPr marL="171450" lvl="0" indent="-171450">
              <a:buFont typeface="Arial" panose="020B0604020202020204" pitchFamily="34" charset="0"/>
              <a:buChar char="•"/>
            </a:pPr>
            <a:r>
              <a:rPr lang="en-US" sz="1200" kern="1200" dirty="0">
                <a:solidFill>
                  <a:schemeClr val="tx1"/>
                </a:solidFill>
                <a:effectLst/>
                <a:latin typeface="CiscoSansTT ExtraLight" panose="020B0303020201020303" pitchFamily="34" charset="0"/>
                <a:ea typeface="+mn-ea"/>
                <a:cs typeface="+mn-cs"/>
              </a:rPr>
              <a:t>Block threats before they compromise you with powerful protection using machine learning, next-gen AV, fileless malware and ransomware defenses, and more. </a:t>
            </a:r>
          </a:p>
          <a:p>
            <a:pPr marL="171450" lvl="0" indent="-171450">
              <a:buFont typeface="Arial" panose="020B0604020202020204" pitchFamily="34" charset="0"/>
              <a:buChar char="•"/>
            </a:pPr>
            <a:endParaRPr lang="en-US" sz="1200" kern="1200" dirty="0">
              <a:solidFill>
                <a:schemeClr val="tx1"/>
              </a:solidFill>
              <a:effectLst/>
              <a:latin typeface="CiscoSansTT ExtraLight" panose="020B0303020201020303" pitchFamily="34" charset="0"/>
              <a:ea typeface="+mn-ea"/>
              <a:cs typeface="+mn-cs"/>
            </a:endParaRPr>
          </a:p>
          <a:p>
            <a:pPr marL="0" lvl="0" indent="0">
              <a:buFont typeface="Arial" panose="020B0604020202020204" pitchFamily="34" charset="0"/>
              <a:buNone/>
            </a:pPr>
            <a:r>
              <a:rPr lang="en-US" sz="1200" b="1" kern="1200" dirty="0">
                <a:solidFill>
                  <a:schemeClr val="tx1"/>
                </a:solidFill>
                <a:effectLst/>
                <a:latin typeface="CiscoSansTT ExtraLight" panose="020B0303020201020303" pitchFamily="34" charset="0"/>
                <a:ea typeface="+mn-ea"/>
                <a:cs typeface="+mn-cs"/>
              </a:rPr>
              <a:t>Umbrella product deck:</a:t>
            </a:r>
          </a:p>
          <a:p>
            <a:pPr marL="0" lvl="0" indent="0">
              <a:buFont typeface="Arial" panose="020B0604020202020204" pitchFamily="34" charset="0"/>
              <a:buNone/>
            </a:pPr>
            <a:endParaRPr lang="en-US" sz="1200" kern="1200" dirty="0">
              <a:solidFill>
                <a:schemeClr val="tx1"/>
              </a:solidFill>
              <a:effectLst/>
              <a:latin typeface="CiscoSansTT ExtraLight" panose="020B0303020201020303" pitchFamily="34" charset="0"/>
              <a:ea typeface="+mn-ea"/>
              <a:cs typeface="+mn-cs"/>
            </a:endParaRPr>
          </a:p>
          <a:p>
            <a:pPr marL="0" marR="0" lvl="0" indent="0" algn="l" rtl="0">
              <a:spcBef>
                <a:spcPts val="0"/>
              </a:spcBef>
              <a:spcAft>
                <a:spcPts val="0"/>
              </a:spcAft>
              <a:buClr>
                <a:schemeClr val="dk1"/>
              </a:buClr>
              <a:buSzPts val="1200"/>
              <a:buFont typeface="Calibri"/>
              <a:buNone/>
            </a:pPr>
            <a:r>
              <a:rPr lang="en-US" sz="1200" b="0" i="0" u="none" strike="noStrike" cap="none" dirty="0">
                <a:solidFill>
                  <a:schemeClr val="dk1"/>
                </a:solidFill>
                <a:latin typeface="Calibri"/>
                <a:ea typeface="Calibri"/>
                <a:cs typeface="Calibri"/>
                <a:sym typeface="Calibri"/>
              </a:rPr>
              <a:t>As a secure</a:t>
            </a:r>
            <a:r>
              <a:rPr lang="en-US" sz="1200" b="0" i="0" u="none" strike="noStrike" cap="none" baseline="0" dirty="0">
                <a:solidFill>
                  <a:schemeClr val="dk1"/>
                </a:solidFill>
                <a:latin typeface="Calibri"/>
                <a:ea typeface="Calibri"/>
                <a:cs typeface="Calibri"/>
                <a:sym typeface="Calibri"/>
              </a:rPr>
              <a:t> internet gateway, Umbrella provides: </a:t>
            </a:r>
          </a:p>
          <a:p>
            <a:pPr marL="0" marR="0" lvl="0" indent="0" algn="l" rtl="0">
              <a:spcBef>
                <a:spcPts val="0"/>
              </a:spcBef>
              <a:spcAft>
                <a:spcPts val="0"/>
              </a:spcAft>
              <a:buClr>
                <a:schemeClr val="dk1"/>
              </a:buClr>
              <a:buSzPts val="1200"/>
              <a:buFont typeface="Calibri"/>
              <a:buNone/>
            </a:pPr>
            <a:endParaRPr lang="en-US" sz="1200" b="0" i="0" u="none" strike="noStrike" cap="none" dirty="0">
              <a:solidFill>
                <a:schemeClr val="dk1"/>
              </a:solidFill>
              <a:latin typeface="Calibri"/>
              <a:ea typeface="Calibri"/>
              <a:cs typeface="Calibri"/>
              <a:sym typeface="Calibri"/>
            </a:endParaRPr>
          </a:p>
          <a:p>
            <a:pPr marL="228600" marR="0" lvl="0" indent="-228600" algn="l" rtl="0">
              <a:spcBef>
                <a:spcPts val="0"/>
              </a:spcBef>
              <a:spcAft>
                <a:spcPts val="0"/>
              </a:spcAft>
              <a:buClr>
                <a:schemeClr val="dk1"/>
              </a:buClr>
              <a:buSzPts val="1200"/>
              <a:buFont typeface="Calibri"/>
              <a:buAutoNum type="arabicPeriod"/>
            </a:pPr>
            <a:r>
              <a:rPr lang="en-US" sz="1200" b="0" i="0" u="none" strike="noStrike" cap="none" dirty="0">
                <a:solidFill>
                  <a:schemeClr val="dk1"/>
                </a:solidFill>
                <a:latin typeface="Calibri"/>
                <a:ea typeface="Calibri"/>
                <a:cs typeface="Calibri"/>
                <a:sym typeface="Calibri"/>
              </a:rPr>
              <a:t>Visibility into all of your internet and web traffic, whether users are on or off your corporate network, across all ports and protocols</a:t>
            </a:r>
          </a:p>
          <a:p>
            <a:pPr marL="228600" marR="0" lvl="0" indent="-228600" algn="l" rtl="0">
              <a:spcBef>
                <a:spcPts val="0"/>
              </a:spcBef>
              <a:spcAft>
                <a:spcPts val="0"/>
              </a:spcAft>
              <a:buClr>
                <a:schemeClr val="dk1"/>
              </a:buClr>
              <a:buSzPts val="1200"/>
              <a:buFont typeface="Calibri"/>
              <a:buAutoNum type="arabicPeriod"/>
            </a:pPr>
            <a:r>
              <a:rPr lang="en-US" sz="1200" b="0" i="0" u="none" strike="noStrike" cap="none" dirty="0">
                <a:solidFill>
                  <a:schemeClr val="dk1"/>
                </a:solidFill>
                <a:latin typeface="Calibri"/>
                <a:ea typeface="Calibri"/>
                <a:cs typeface="Calibri"/>
                <a:sym typeface="Calibri"/>
              </a:rPr>
              <a:t>Protection from external threats, leveraging threat intel from Cisco Talos — </a:t>
            </a:r>
            <a:r>
              <a:rPr lang="en-US" b="0" dirty="0">
                <a:ea typeface="ＭＳ Ｐゴシック" charset="0"/>
                <a:cs typeface="ＭＳ Ｐゴシック" charset="0"/>
              </a:rPr>
              <a:t>the largest non-governmental threat research organization on the planet</a:t>
            </a:r>
            <a:endParaRPr lang="en-US" sz="1200" b="0" i="0" u="none" strike="noStrike" cap="none" dirty="0">
              <a:solidFill>
                <a:schemeClr val="dk1"/>
              </a:solidFill>
              <a:latin typeface="Calibri"/>
              <a:ea typeface="Calibri"/>
              <a:cs typeface="Calibri"/>
              <a:sym typeface="Calibri"/>
            </a:endParaRPr>
          </a:p>
          <a:p>
            <a:pPr marL="685800" marR="0" lvl="1" indent="-228600" algn="l" rtl="0">
              <a:spcBef>
                <a:spcPts val="0"/>
              </a:spcBef>
              <a:spcAft>
                <a:spcPts val="0"/>
              </a:spcAft>
              <a:buClr>
                <a:schemeClr val="dk1"/>
              </a:buClr>
              <a:buSzPts val="1200"/>
              <a:buFont typeface="+mj-lt"/>
              <a:buAutoNum type="alphaLcPeriod"/>
            </a:pPr>
            <a:r>
              <a:rPr lang="en-US" sz="1200" b="0" i="0" u="none" strike="noStrike" cap="none" baseline="0" dirty="0">
                <a:solidFill>
                  <a:schemeClr val="dk1"/>
                </a:solidFill>
                <a:latin typeface="Calibri"/>
                <a:ea typeface="Calibri"/>
                <a:cs typeface="Calibri"/>
                <a:sym typeface="Calibri"/>
              </a:rPr>
              <a:t>Umbrella also gives you access to our threat intel for better, faster investigations </a:t>
            </a:r>
          </a:p>
          <a:p>
            <a:pPr marL="228600" marR="0" lvl="0" indent="-228600" algn="l" rtl="0">
              <a:spcBef>
                <a:spcPts val="0"/>
              </a:spcBef>
              <a:spcAft>
                <a:spcPts val="0"/>
              </a:spcAft>
              <a:buClr>
                <a:schemeClr val="dk1"/>
              </a:buClr>
              <a:buSzPts val="1200"/>
              <a:buFont typeface="+mj-lt"/>
              <a:buAutoNum type="arabicPeriod"/>
            </a:pPr>
            <a:r>
              <a:rPr lang="en-US" sz="1200" b="0" i="0" u="none" strike="noStrike" cap="none" baseline="0" dirty="0">
                <a:solidFill>
                  <a:schemeClr val="dk1"/>
                </a:solidFill>
                <a:latin typeface="Calibri"/>
                <a:ea typeface="Calibri"/>
                <a:cs typeface="Calibri"/>
                <a:sym typeface="Calibri"/>
              </a:rPr>
              <a:t>And, co</a:t>
            </a:r>
            <a:r>
              <a:rPr lang="en-US" sz="1200" b="0" i="0" u="none" strike="noStrike" cap="none" dirty="0">
                <a:solidFill>
                  <a:schemeClr val="dk1"/>
                </a:solidFill>
                <a:latin typeface="Calibri"/>
                <a:ea typeface="Calibri"/>
                <a:cs typeface="Calibri"/>
                <a:sym typeface="Calibri"/>
              </a:rPr>
              <a:t>ntrol of what your users can do to</a:t>
            </a:r>
            <a:r>
              <a:rPr lang="en-US" sz="1200" b="0" i="0" u="none" strike="noStrike" cap="none" baseline="0" dirty="0">
                <a:solidFill>
                  <a:schemeClr val="dk1"/>
                </a:solidFill>
                <a:latin typeface="Calibri"/>
                <a:ea typeface="Calibri"/>
                <a:cs typeface="Calibri"/>
                <a:sym typeface="Calibri"/>
              </a:rPr>
              <a:t> help with policy and compliance mandates </a:t>
            </a:r>
            <a:endParaRPr lang="en-US" sz="1200" b="1" i="0" u="none" strike="noStrike" cap="none" dirty="0">
              <a:solidFill>
                <a:schemeClr val="dk1"/>
              </a:solidFill>
              <a:latin typeface="Calibri"/>
              <a:ea typeface="Calibri"/>
              <a:cs typeface="Calibri"/>
              <a:sym typeface="Calibri"/>
            </a:endParaRPr>
          </a:p>
          <a:p>
            <a:pPr marL="0" lvl="0" indent="0">
              <a:buFont typeface="Arial" panose="020B0604020202020204" pitchFamily="34" charset="0"/>
              <a:buNone/>
            </a:pPr>
            <a:endParaRPr lang="en-US" sz="1200" kern="1200" dirty="0">
              <a:solidFill>
                <a:schemeClr val="tx1"/>
              </a:solidFill>
              <a:effectLst/>
              <a:latin typeface="CiscoSansTT ExtraLight" panose="020B0303020201020303" pitchFamily="34" charset="0"/>
              <a:ea typeface="+mn-ea"/>
              <a:cs typeface="+mn-cs"/>
            </a:endParaRPr>
          </a:p>
          <a:p>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16</a:t>
            </a:fld>
            <a:endParaRPr lang="en-US" dirty="0"/>
          </a:p>
        </p:txBody>
      </p:sp>
    </p:spTree>
    <p:extLst>
      <p:ext uri="{BB962C8B-B14F-4D97-AF65-F5344CB8AC3E}">
        <p14:creationId xmlns:p14="http://schemas.microsoft.com/office/powerpoint/2010/main" val="8847278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RW MPF:</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sz="1200" kern="1200" dirty="0">
                <a:solidFill>
                  <a:schemeClr val="tx1"/>
                </a:solidFill>
                <a:effectLst/>
                <a:latin typeface="CiscoSansTT ExtraLight" panose="020B0303020201020303" pitchFamily="34" charset="0"/>
                <a:ea typeface="+mn-ea"/>
                <a:cs typeface="+mn-cs"/>
              </a:rPr>
              <a:t>Continually detect and respond to threats with advanced EDR, threat hunting and attack surface reduction capabilities. </a:t>
            </a:r>
          </a:p>
          <a:p>
            <a:pPr marL="171450" lvl="0" indent="-171450">
              <a:buFont typeface="Arial" panose="020B0604020202020204" pitchFamily="34" charset="0"/>
              <a:buChar char="•"/>
            </a:pPr>
            <a:r>
              <a:rPr lang="en-US" sz="1200" kern="1200" dirty="0">
                <a:solidFill>
                  <a:schemeClr val="tx1"/>
                </a:solidFill>
                <a:effectLst/>
                <a:latin typeface="CiscoSansTT ExtraLight" panose="020B0303020201020303" pitchFamily="34" charset="0"/>
                <a:ea typeface="+mn-ea"/>
                <a:cs typeface="+mn-cs"/>
              </a:rPr>
              <a:t>Harness the power of threat intelligence across the web, email, cloud, endpoint and the network from Cisco Talos, to see a threat once, anywhere in the world, and block it everywhere. </a:t>
            </a:r>
          </a:p>
          <a:p>
            <a:pPr marL="171450" indent="-171450">
              <a:buFont typeface="Arial" panose="020B0604020202020204" pitchFamily="34" charset="0"/>
              <a:buChar char="•"/>
            </a:pPr>
            <a:r>
              <a:rPr lang="en-US" sz="1200" kern="1200" dirty="0">
                <a:solidFill>
                  <a:schemeClr val="tx1"/>
                </a:solidFill>
                <a:effectLst/>
                <a:latin typeface="CiscoSansTT ExtraLight" panose="020B0303020201020303" pitchFamily="34" charset="0"/>
                <a:ea typeface="+mn-ea"/>
                <a:cs typeface="+mn-cs"/>
              </a:rPr>
              <a:t>Protect completely by isolating and eliminating the threat not just on the endpoint but across other control points. </a:t>
            </a:r>
          </a:p>
          <a:p>
            <a:pPr marL="171450" indent="-171450">
              <a:buFont typeface="Arial" panose="020B0604020202020204" pitchFamily="34" charset="0"/>
              <a:buChar char="•"/>
            </a:pPr>
            <a:endParaRPr lang="en-US" sz="1200" kern="1200" dirty="0">
              <a:solidFill>
                <a:schemeClr val="tx1"/>
              </a:solidFill>
              <a:effectLst/>
              <a:latin typeface="CiscoSansTT ExtraLight" panose="020B0303020201020303" pitchFamily="34" charset="0"/>
              <a:ea typeface="+mn-ea"/>
              <a:cs typeface="+mn-cs"/>
            </a:endParaRPr>
          </a:p>
          <a:p>
            <a:pPr marL="0" indent="0">
              <a:buFont typeface="Arial" panose="020B0604020202020204" pitchFamily="34" charset="0"/>
              <a:buNone/>
            </a:pPr>
            <a:r>
              <a:rPr lang="en-US" sz="1200" b="1" kern="1200" dirty="0">
                <a:solidFill>
                  <a:schemeClr val="tx1"/>
                </a:solidFill>
                <a:effectLst/>
                <a:latin typeface="CiscoSansTT ExtraLight" panose="020B0303020201020303" pitchFamily="34" charset="0"/>
                <a:ea typeface="+mn-ea"/>
                <a:cs typeface="+mn-cs"/>
              </a:rPr>
              <a:t>umbrella.cisco.com (Umbrella + AMP messaging) </a:t>
            </a:r>
          </a:p>
          <a:p>
            <a:pPr marL="0" indent="0">
              <a:buFont typeface="Arial" panose="020B0604020202020204" pitchFamily="34" charset="0"/>
              <a:buNone/>
            </a:pPr>
            <a:endParaRPr lang="en-US" sz="1200" b="1" kern="1200" dirty="0">
              <a:solidFill>
                <a:schemeClr val="tx1"/>
              </a:solidFill>
              <a:effectLst/>
              <a:latin typeface="CiscoSansTT ExtraLight" panose="020B0303020201020303" pitchFamily="34" charset="0"/>
              <a:ea typeface="+mn-ea"/>
              <a:cs typeface="+mn-cs"/>
            </a:endParaRPr>
          </a:p>
          <a:p>
            <a:pPr marL="0" indent="0">
              <a:buFont typeface="Arial" panose="020B0604020202020204" pitchFamily="34" charset="0"/>
              <a:buNone/>
            </a:pPr>
            <a:r>
              <a:rPr lang="en-US" b="0" dirty="0"/>
              <a:t>(It’s combo of SIG + next-gen endpoint security)</a:t>
            </a:r>
          </a:p>
          <a:p>
            <a:pPr marL="0" indent="0">
              <a:buFont typeface="Arial" panose="020B0604020202020204" pitchFamily="34" charset="0"/>
              <a:buNone/>
            </a:pPr>
            <a:endParaRPr lang="en-US" b="0" dirty="0"/>
          </a:p>
          <a:p>
            <a:pPr marL="0" indent="0">
              <a:buFont typeface="Arial" panose="020B0604020202020204" pitchFamily="34" charset="0"/>
              <a:buNone/>
            </a:pPr>
            <a:r>
              <a:rPr lang="en-US" b="1" dirty="0"/>
              <a:t>Umbrella =</a:t>
            </a:r>
          </a:p>
          <a:p>
            <a:pPr marL="0" indent="0">
              <a:buFont typeface="Arial" panose="020B0604020202020204" pitchFamily="34" charset="0"/>
              <a:buNone/>
            </a:pPr>
            <a:r>
              <a:rPr lang="en-US" sz="1200" b="0" i="0" kern="1200" dirty="0">
                <a:solidFill>
                  <a:schemeClr val="tx1"/>
                </a:solidFill>
                <a:effectLst/>
                <a:latin typeface="CiscoSansTT ExtraLight" panose="020B0303020201020303" pitchFamily="34" charset="0"/>
                <a:ea typeface="+mn-ea"/>
                <a:cs typeface="+mn-cs"/>
              </a:rPr>
              <a:t>A cloud-delivered service, Umbrella provides the first line of defense against threats on the internet, giving organizations visibility to protect users across all network devices, office locations, and beyond. With Umbrella, customers can stop malware infections earlier, identify already infected devices faster, and prevent data exfiltration</a:t>
            </a:r>
          </a:p>
          <a:p>
            <a:pPr marL="0" indent="0">
              <a:buFont typeface="Arial" panose="020B0604020202020204" pitchFamily="34" charset="0"/>
              <a:buNone/>
            </a:pPr>
            <a:endParaRPr lang="en-US" sz="1200" b="0" i="0" kern="1200" dirty="0">
              <a:solidFill>
                <a:schemeClr val="tx1"/>
              </a:solidFill>
              <a:effectLst/>
              <a:latin typeface="CiscoSansTT ExtraLight" panose="020B0303020201020303" pitchFamily="34" charset="0"/>
              <a:ea typeface="+mn-ea"/>
              <a:cs typeface="+mn-cs"/>
            </a:endParaRPr>
          </a:p>
          <a:p>
            <a:pPr marL="0" indent="0">
              <a:buFont typeface="Arial" panose="020B0604020202020204" pitchFamily="34" charset="0"/>
              <a:buNone/>
            </a:pPr>
            <a:r>
              <a:rPr lang="en-US" sz="1200" b="1" i="0" kern="1200" dirty="0">
                <a:solidFill>
                  <a:schemeClr val="tx1"/>
                </a:solidFill>
                <a:effectLst/>
                <a:latin typeface="CiscoSansTT ExtraLight" panose="020B0303020201020303" pitchFamily="34" charset="0"/>
                <a:ea typeface="+mn-ea"/>
                <a:cs typeface="+mn-cs"/>
              </a:rPr>
              <a:t>AMP =</a:t>
            </a:r>
          </a:p>
          <a:p>
            <a:pPr marL="0" indent="0">
              <a:buFont typeface="Arial" panose="020B0604020202020204" pitchFamily="34" charset="0"/>
              <a:buNone/>
            </a:pPr>
            <a:r>
              <a:rPr lang="en-US" sz="1200" b="0" i="0" kern="1200" dirty="0">
                <a:solidFill>
                  <a:schemeClr val="tx1"/>
                </a:solidFill>
                <a:effectLst/>
                <a:latin typeface="CiscoSansTT ExtraLight" panose="020B0303020201020303" pitchFamily="34" charset="0"/>
                <a:ea typeface="+mn-ea"/>
                <a:cs typeface="+mn-cs"/>
              </a:rPr>
              <a:t>AMP for Endpoints is a cloud-managed, next generation endpoint security solution that not only prevents cyber attacks, but also rapidly detects, contains, and remediates malicious files if they evade defenses and infiltrate endpoints — before damage can be done.</a:t>
            </a:r>
          </a:p>
          <a:p>
            <a:pPr marL="0" indent="0">
              <a:buFont typeface="Arial" panose="020B0604020202020204" pitchFamily="34" charset="0"/>
              <a:buNone/>
            </a:pPr>
            <a:endParaRPr lang="en-US" sz="1200" b="0" i="0" kern="1200" dirty="0">
              <a:solidFill>
                <a:schemeClr val="tx1"/>
              </a:solidFill>
              <a:effectLst/>
              <a:latin typeface="CiscoSansTT ExtraLight" panose="020B0303020201020303" pitchFamily="34" charset="0"/>
              <a:ea typeface="+mn-ea"/>
              <a:cs typeface="+mn-cs"/>
            </a:endParaRPr>
          </a:p>
          <a:p>
            <a:pPr marL="0" indent="0">
              <a:buFont typeface="Arial" panose="020B0604020202020204" pitchFamily="34" charset="0"/>
              <a:buNone/>
            </a:pPr>
            <a:r>
              <a:rPr lang="en-US" sz="1200" b="1" i="0" kern="1200" dirty="0">
                <a:solidFill>
                  <a:schemeClr val="tx1"/>
                </a:solidFill>
                <a:effectLst/>
                <a:latin typeface="CiscoSansTT ExtraLight" panose="020B0303020201020303" pitchFamily="34" charset="0"/>
                <a:ea typeface="+mn-ea"/>
                <a:cs typeface="+mn-cs"/>
              </a:rPr>
              <a:t>Better Together =</a:t>
            </a:r>
          </a:p>
          <a:p>
            <a:r>
              <a:rPr lang="en-US" sz="1200" b="0" i="0" kern="1200" dirty="0">
                <a:solidFill>
                  <a:schemeClr val="tx1"/>
                </a:solidFill>
                <a:effectLst/>
                <a:latin typeface="CiscoSansTT ExtraLight" panose="020B0303020201020303" pitchFamily="34" charset="0"/>
                <a:ea typeface="+mn-ea"/>
                <a:cs typeface="+mn-cs"/>
              </a:rPr>
              <a:t>Cisco Umbrella and Cisco AMP for Endpoints together provide the first and last line of defense to help you prevent, detect and respond to attacks before damage can be done.</a:t>
            </a:r>
          </a:p>
          <a:p>
            <a:r>
              <a:rPr lang="en-US" sz="1200" b="0" i="0" kern="1200" dirty="0">
                <a:solidFill>
                  <a:schemeClr val="tx1"/>
                </a:solidFill>
                <a:effectLst/>
                <a:latin typeface="CiscoSansTT ExtraLight" panose="020B0303020201020303" pitchFamily="34" charset="0"/>
                <a:ea typeface="+mn-ea"/>
                <a:cs typeface="+mn-cs"/>
              </a:rPr>
              <a:t>Working at different yet complementary layers, </a:t>
            </a:r>
            <a:r>
              <a:rPr lang="en-US" sz="1200" b="1" i="0" kern="1200" dirty="0">
                <a:solidFill>
                  <a:schemeClr val="tx1"/>
                </a:solidFill>
                <a:effectLst/>
                <a:latin typeface="CiscoSansTT ExtraLight" panose="020B0303020201020303" pitchFamily="34" charset="0"/>
                <a:ea typeface="+mn-ea"/>
                <a:cs typeface="+mn-cs"/>
              </a:rPr>
              <a:t>Umbrella prevents connections to malicious destinations and command &amp; control callbacks at the DNS and IP layers while AMP works at the file level to prevent the initial malware execution and track file behavior over time.</a:t>
            </a:r>
            <a:r>
              <a:rPr lang="en-US" sz="1200" b="0" i="0" kern="1200" dirty="0">
                <a:solidFill>
                  <a:schemeClr val="tx1"/>
                </a:solidFill>
                <a:effectLst/>
                <a:latin typeface="CiscoSansTT ExtraLight" panose="020B0303020201020303" pitchFamily="34" charset="0"/>
                <a:ea typeface="+mn-ea"/>
                <a:cs typeface="+mn-cs"/>
              </a:rPr>
              <a:t> Together these solutions help organizations to protect against blended threats that use both email and web, and other more sophisticated techniques.</a:t>
            </a:r>
          </a:p>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17</a:t>
            </a:fld>
            <a:endParaRPr lang="en-US" dirty="0"/>
          </a:p>
        </p:txBody>
      </p:sp>
    </p:spTree>
    <p:extLst>
      <p:ext uri="{BB962C8B-B14F-4D97-AF65-F5344CB8AC3E}">
        <p14:creationId xmlns:p14="http://schemas.microsoft.com/office/powerpoint/2010/main" val="13393020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sz="1200" dirty="0"/>
              <a:t>Duo verifies identity</a:t>
            </a:r>
          </a:p>
          <a:p>
            <a:pPr marL="342900" indent="-342900">
              <a:buAutoNum type="arabicPeriod"/>
            </a:pPr>
            <a:r>
              <a:rPr lang="en-US" sz="1200" dirty="0"/>
              <a:t>AnyConnect establishes secure VPN</a:t>
            </a:r>
          </a:p>
          <a:p>
            <a:pPr marL="342900" indent="-342900">
              <a:buAutoNum type="arabicPeriod"/>
            </a:pPr>
            <a:r>
              <a:rPr lang="en-US" sz="1200" dirty="0"/>
              <a:t>Umbrella protects at first layer of defense</a:t>
            </a:r>
          </a:p>
          <a:p>
            <a:pPr marL="342900" indent="-342900">
              <a:buAutoNum type="arabicPeriod"/>
            </a:pPr>
            <a:r>
              <a:rPr lang="en-US" sz="1200" dirty="0"/>
              <a:t>AMP holds last line of defense</a:t>
            </a:r>
          </a:p>
          <a:p>
            <a:endParaRPr lang="en-US" dirty="0"/>
          </a:p>
          <a:p>
            <a:endParaRPr lang="en-US" dirty="0"/>
          </a:p>
          <a:p>
            <a:r>
              <a:rPr lang="en-US" dirty="0"/>
              <a:t>2 key benefit “families”:</a:t>
            </a:r>
          </a:p>
          <a:p>
            <a:r>
              <a:rPr lang="en-US" b="1" dirty="0"/>
              <a:t>1) Verify identity for users and devices</a:t>
            </a:r>
          </a:p>
          <a:p>
            <a:r>
              <a:rPr lang="en-US" dirty="0"/>
              <a:t>(Duo, AnyConnect)</a:t>
            </a:r>
          </a:p>
          <a:p>
            <a:endParaRPr lang="en-US" dirty="0"/>
          </a:p>
          <a:p>
            <a:r>
              <a:rPr lang="en-US" b="1" dirty="0"/>
              <a:t>2) Detect and remediate threats</a:t>
            </a:r>
          </a:p>
          <a:p>
            <a:r>
              <a:rPr lang="en-US" dirty="0"/>
              <a:t>(Umbrella, AMP)</a:t>
            </a:r>
          </a:p>
          <a:p>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18</a:t>
            </a:fld>
            <a:endParaRPr lang="en-US" dirty="0"/>
          </a:p>
        </p:txBody>
      </p:sp>
    </p:spTree>
    <p:extLst>
      <p:ext uri="{BB962C8B-B14F-4D97-AF65-F5344CB8AC3E}">
        <p14:creationId xmlns:p14="http://schemas.microsoft.com/office/powerpoint/2010/main" val="31943231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 key benefit “families”:</a:t>
            </a:r>
          </a:p>
          <a:p>
            <a:r>
              <a:rPr lang="en-US" b="1" dirty="0"/>
              <a:t>1) Verify identity for users and devices</a:t>
            </a:r>
          </a:p>
          <a:p>
            <a:r>
              <a:rPr lang="en-US" dirty="0"/>
              <a:t>(Duo, AnyConnect)</a:t>
            </a:r>
          </a:p>
          <a:p>
            <a:endParaRPr lang="en-US" dirty="0"/>
          </a:p>
          <a:p>
            <a:r>
              <a:rPr lang="en-US" b="1" dirty="0"/>
              <a:t>2) Detect and remediate threats</a:t>
            </a:r>
          </a:p>
          <a:p>
            <a:r>
              <a:rPr lang="en-US" dirty="0"/>
              <a:t>(Umbrella, AMP)</a:t>
            </a:r>
          </a:p>
          <a:p>
            <a:endParaRPr lang="en-US" dirty="0"/>
          </a:p>
          <a:p>
            <a:pPr marL="171450" indent="-171450" rtl="0" fontAlgn="ctr">
              <a:buFont typeface="Arial" panose="020B0604020202020204" pitchFamily="34" charset="0"/>
              <a:buChar char="•"/>
            </a:pPr>
            <a:r>
              <a:rPr lang="en-US" sz="1200" b="0" i="0" kern="1200" dirty="0">
                <a:solidFill>
                  <a:schemeClr val="tx1"/>
                </a:solidFill>
                <a:effectLst/>
                <a:latin typeface="CiscoSansTT ExtraLight" panose="020B0303020201020303" pitchFamily="34" charset="0"/>
                <a:ea typeface="+mn-ea"/>
                <a:cs typeface="+mn-cs"/>
              </a:rPr>
              <a:t>AMP and Duo work together that if a compromised device is detected by AMP, it gets flagged in Duo so that device isn't allowed to access any Duo-protected apps…same for AMP and Umbrella…</a:t>
            </a:r>
          </a:p>
          <a:p>
            <a:pPr marL="171450" indent="-171450" rtl="0" fontAlgn="ctr">
              <a:buFont typeface="Arial" panose="020B0604020202020204" pitchFamily="34" charset="0"/>
              <a:buChar char="•"/>
            </a:pPr>
            <a:r>
              <a:rPr lang="en-US" sz="1200" b="0" i="0" kern="1200" dirty="0">
                <a:solidFill>
                  <a:schemeClr val="tx1"/>
                </a:solidFill>
                <a:effectLst/>
                <a:latin typeface="CiscoSansTT ExtraLight" panose="020B0303020201020303" pitchFamily="34" charset="0"/>
                <a:ea typeface="+mn-ea"/>
                <a:cs typeface="+mn-cs"/>
              </a:rPr>
              <a:t>Integration with AnyConnect + Umbrella: Don’t always have to be on VPN to be protected. You get DNS protection when roaming, via Umbrella.</a:t>
            </a:r>
          </a:p>
          <a:p>
            <a:pPr marL="171450" indent="-171450" rtl="0" fontAlgn="ctr">
              <a:buFont typeface="Arial" panose="020B0604020202020204" pitchFamily="34" charset="0"/>
              <a:buChar char="•"/>
            </a:pPr>
            <a:r>
              <a:rPr lang="en-US" sz="1200" b="0" i="0" kern="1200" dirty="0">
                <a:solidFill>
                  <a:schemeClr val="tx1"/>
                </a:solidFill>
                <a:effectLst/>
                <a:latin typeface="CiscoSansTT ExtraLight" panose="020B0303020201020303" pitchFamily="34" charset="0"/>
                <a:ea typeface="+mn-ea"/>
                <a:cs typeface="+mn-cs"/>
              </a:rPr>
              <a:t>Integration with AMP + Umbrella: if a compromised device is detected by AMP, it gets flagged in Umbrella so that device isn’t allowed to access apps</a:t>
            </a:r>
          </a:p>
          <a:p>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19</a:t>
            </a:fld>
            <a:endParaRPr lang="en-US" dirty="0"/>
          </a:p>
        </p:txBody>
      </p:sp>
    </p:spTree>
    <p:extLst>
      <p:ext uri="{BB962C8B-B14F-4D97-AF65-F5344CB8AC3E}">
        <p14:creationId xmlns:p14="http://schemas.microsoft.com/office/powerpoint/2010/main" val="18195869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 key benefit “families”:</a:t>
            </a:r>
          </a:p>
          <a:p>
            <a:r>
              <a:rPr lang="en-US" b="1" dirty="0"/>
              <a:t>1) Verify identity for users and devices</a:t>
            </a:r>
          </a:p>
          <a:p>
            <a:r>
              <a:rPr lang="en-US" dirty="0"/>
              <a:t>(Duo, AnyConnect)</a:t>
            </a:r>
          </a:p>
          <a:p>
            <a:endParaRPr lang="en-US" dirty="0"/>
          </a:p>
          <a:p>
            <a:r>
              <a:rPr lang="en-US" b="1" dirty="0"/>
              <a:t>2) Detect and remediate threats</a:t>
            </a:r>
          </a:p>
          <a:p>
            <a:r>
              <a:rPr lang="en-US" dirty="0"/>
              <a:t>(Umbrella, AMP)</a:t>
            </a:r>
          </a:p>
          <a:p>
            <a:endParaRPr lang="en-US" dirty="0"/>
          </a:p>
          <a:p>
            <a:pPr marL="171450" indent="-171450" rtl="0" fontAlgn="ctr">
              <a:buFont typeface="Arial" panose="020B0604020202020204" pitchFamily="34" charset="0"/>
              <a:buChar char="•"/>
            </a:pPr>
            <a:r>
              <a:rPr lang="en-US" sz="1200" b="0" i="0" kern="1200" dirty="0">
                <a:solidFill>
                  <a:schemeClr val="tx1"/>
                </a:solidFill>
                <a:effectLst/>
                <a:latin typeface="CiscoSansTT ExtraLight" panose="020B0303020201020303" pitchFamily="34" charset="0"/>
                <a:ea typeface="+mn-ea"/>
                <a:cs typeface="+mn-cs"/>
              </a:rPr>
              <a:t>AMP and Duo work together that if a compromised device is detected by AMP, it gets flagged in Duo so that device isn't allowed to access any Duo-protected apps…same for AMP and Umbrella…</a:t>
            </a:r>
          </a:p>
          <a:p>
            <a:pPr marL="171450" indent="-171450" rtl="0" fontAlgn="ctr">
              <a:buFont typeface="Arial" panose="020B0604020202020204" pitchFamily="34" charset="0"/>
              <a:buChar char="•"/>
            </a:pPr>
            <a:r>
              <a:rPr lang="en-US" sz="1200" b="0" i="0" kern="1200" dirty="0">
                <a:solidFill>
                  <a:schemeClr val="tx1"/>
                </a:solidFill>
                <a:effectLst/>
                <a:latin typeface="CiscoSansTT ExtraLight" panose="020B0303020201020303" pitchFamily="34" charset="0"/>
                <a:ea typeface="+mn-ea"/>
                <a:cs typeface="+mn-cs"/>
              </a:rPr>
              <a:t>Integration with AnyConnect + Umbrella: Don’t always have to be on VPN to be protected. You get DNS protection when roaming, via Umbrella.</a:t>
            </a:r>
          </a:p>
          <a:p>
            <a:pPr marL="171450" indent="-171450" rtl="0" fontAlgn="ctr">
              <a:buFont typeface="Arial" panose="020B0604020202020204" pitchFamily="34" charset="0"/>
              <a:buChar char="•"/>
            </a:pPr>
            <a:r>
              <a:rPr lang="en-US" sz="1200" b="0" i="0" kern="1200" dirty="0">
                <a:solidFill>
                  <a:schemeClr val="tx1"/>
                </a:solidFill>
                <a:effectLst/>
                <a:latin typeface="CiscoSansTT ExtraLight" panose="020B0303020201020303" pitchFamily="34" charset="0"/>
                <a:ea typeface="+mn-ea"/>
                <a:cs typeface="+mn-cs"/>
              </a:rPr>
              <a:t>Integration with AMP + Umbrella: if a compromised device is detected by AMP, it gets flagged in Umbrella so that device isn’t allowed to access apps</a:t>
            </a:r>
          </a:p>
          <a:p>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20</a:t>
            </a:fld>
            <a:endParaRPr lang="en-US" dirty="0"/>
          </a:p>
        </p:txBody>
      </p:sp>
    </p:spTree>
    <p:extLst>
      <p:ext uri="{BB962C8B-B14F-4D97-AF65-F5344CB8AC3E}">
        <p14:creationId xmlns:p14="http://schemas.microsoft.com/office/powerpoint/2010/main" val="39633481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CiscoSansTT ExtraLight" panose="020B0303020201020303" pitchFamily="34" charset="0"/>
                <a:ea typeface="+mn-ea"/>
                <a:cs typeface="+mn-cs"/>
              </a:rPr>
              <a:t>¹</a:t>
            </a:r>
            <a:r>
              <a:rPr lang="en-US" dirty="0"/>
              <a:t>49% - 2020 CISO report (listed in MPF)</a:t>
            </a:r>
          </a:p>
          <a:p>
            <a:r>
              <a:rPr lang="en-US" dirty="0"/>
              <a:t>43% - listed in Cisco and ESG survey (2019)</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30000" dirty="0">
                <a:solidFill>
                  <a:srgbClr val="0D274D"/>
                </a:solidFill>
                <a:ea typeface="CiscoSansTT ExtraLight" pitchFamily="34" charset="0"/>
                <a:cs typeface="CiscoSansTT ExtraLight" pitchFamily="34" charset="0"/>
              </a:rPr>
              <a:t> 2</a:t>
            </a:r>
            <a:r>
              <a:rPr lang="en-US" dirty="0"/>
              <a:t>83% - Global Workplace Analytics prediction (</a:t>
            </a:r>
            <a:r>
              <a:rPr lang="en-US" sz="1200" b="0" i="0" kern="1200" dirty="0">
                <a:solidFill>
                  <a:schemeClr val="tx1"/>
                </a:solidFill>
                <a:effectLst/>
                <a:latin typeface="CiscoSansTT ExtraLight" panose="020B0303020201020303" pitchFamily="34" charset="0"/>
                <a:ea typeface="+mn-ea"/>
                <a:cs typeface="+mn-cs"/>
              </a:rPr>
              <a:t>She forecasts 25M to 30M U.S. employees will regularly work from home within the next two years (currently only 5M WFH half-time or mor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globalworkplaceanalytics.com/work-at-home-after-covid-19-our-forecas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CiscoSansTT ExtraLight" panose="020B0303020201020303" pitchFamily="34" charset="0"/>
                <a:ea typeface="+mn-ea"/>
                <a:cs typeface="+mn-cs"/>
              </a:rPr>
              <a:t>Our prediction is that the longer people are required to work at home, the greater the adoption we will see when the dust settles. Here’s wh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CiscoSansTT ExtraLight" panose="020B0303020201020303" pitchFamily="34" charset="0"/>
                <a:ea typeface="+mn-ea"/>
                <a:cs typeface="+mn-cs"/>
              </a:rPr>
              <a:t>Increased demand for work-from-home from employe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CiscoSansTT ExtraLight" panose="020B0303020201020303" pitchFamily="34" charset="0"/>
                <a:ea typeface="+mn-ea"/>
                <a:cs typeface="+mn-cs"/>
              </a:rPr>
              <a:t>Reduced fear about work-from-home among managers and execu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CiscoSansTT ExtraLight" panose="020B0303020201020303" pitchFamily="34" charset="0"/>
                <a:ea typeface="+mn-ea"/>
                <a:cs typeface="+mn-cs"/>
              </a:rPr>
              <a:t>Increased pressure for work-from-home for disaster preparedn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CiscoSansTT ExtraLight" panose="020B0303020201020303" pitchFamily="34" charset="0"/>
                <a:ea typeface="+mn-ea"/>
                <a:cs typeface="+mn-cs"/>
              </a:rPr>
              <a:t>Increased awareness of cost-saving opportunities in work-from-ho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CiscoSansTT ExtraLight" panose="020B0303020201020303" pitchFamily="34" charset="0"/>
                <a:ea typeface="+mn-ea"/>
                <a:cs typeface="+mn-cs"/>
              </a:rPr>
              <a:t>Increased awareness of the potential impact of work-from-home on sustainability</a:t>
            </a:r>
          </a:p>
          <a:p>
            <a:pPr marL="171450" indent="-171450" fontAlgn="base">
              <a:buFont typeface="Arial" panose="020B0604020202020204" pitchFamily="34" charset="0"/>
              <a:buChar char="•"/>
            </a:pPr>
            <a:r>
              <a:rPr lang="en-US" sz="1200" b="0" i="0" kern="1200" dirty="0">
                <a:solidFill>
                  <a:schemeClr val="tx1"/>
                </a:solidFill>
                <a:effectLst/>
                <a:latin typeface="CiscoSansTT ExtraLight" panose="020B0303020201020303" pitchFamily="34" charset="0"/>
                <a:ea typeface="+mn-ea"/>
                <a:cs typeface="+mn-cs"/>
              </a:rPr>
              <a:t>Reduced Business Travel</a:t>
            </a:r>
          </a:p>
          <a:p>
            <a:br>
              <a:rPr lang="en-US" dirty="0"/>
            </a:br>
            <a:endParaRPr lang="en-US" dirty="0"/>
          </a:p>
          <a:p>
            <a:endParaRPr lang="en-US" dirty="0"/>
          </a:p>
          <a:p>
            <a:r>
              <a:rPr lang="en-US" dirty="0">
                <a:hlinkClick r:id="rId4"/>
              </a:rPr>
              <a:t>Other sources:</a:t>
            </a:r>
          </a:p>
          <a:p>
            <a:endParaRPr lang="en-US" dirty="0">
              <a:hlinkClick r:id="rId5"/>
            </a:endParaRPr>
          </a:p>
          <a:p>
            <a:r>
              <a:rPr lang="en-US" dirty="0">
                <a:hlinkClick r:id="rId5"/>
              </a:rPr>
              <a:t>https://www.vox.com/recode/2020/4/14/21211789/coronavirus-office-space-work-from-home-design-architecture-real-estate</a:t>
            </a:r>
            <a:endParaRPr lang="en-US" dirty="0"/>
          </a:p>
          <a:p>
            <a:endParaRPr lang="en-US" dirty="0">
              <a:hlinkClick r:id="rId4"/>
            </a:endParaRPr>
          </a:p>
          <a:p>
            <a:r>
              <a:rPr lang="en-US" dirty="0">
                <a:hlinkClick r:id="rId4"/>
              </a:rPr>
              <a:t>https://www.upwork.com/press/2019/03/05/third-annual-future-workforce-report/</a:t>
            </a:r>
            <a:endParaRPr lang="en-US" dirty="0"/>
          </a:p>
          <a:p>
            <a:endParaRPr lang="en-US" dirty="0"/>
          </a:p>
          <a:p>
            <a:r>
              <a:rPr lang="en-US" dirty="0">
                <a:hlinkClick r:id="rId6"/>
              </a:rPr>
              <a:t>https://www.flexjobs.com/blog/post/remote-work-statistics/</a:t>
            </a:r>
            <a:endParaRPr lang="en-US" dirty="0"/>
          </a:p>
          <a:p>
            <a:endParaRPr lang="en-US" dirty="0"/>
          </a:p>
          <a:p>
            <a:r>
              <a:rPr lang="en-US" dirty="0">
                <a:hlinkClick r:id="rId7"/>
              </a:rPr>
              <a:t>https://www.owllabs.com/state-of-remote-work/2019</a:t>
            </a:r>
            <a:endParaRPr lang="en-US" dirty="0"/>
          </a:p>
          <a:p>
            <a:endParaRPr lang="en-US" dirty="0"/>
          </a:p>
          <a:p>
            <a:r>
              <a:rPr lang="en-US" dirty="0">
                <a:hlinkClick r:id="rId8"/>
              </a:rPr>
              <a:t>https://buffer.com/state-of-remote-work-2019</a:t>
            </a:r>
            <a:endParaRPr lang="en-US" dirty="0"/>
          </a:p>
          <a:p>
            <a:endParaRPr lang="en-US" dirty="0"/>
          </a:p>
          <a:p>
            <a:pPr marL="285750" indent="-285750">
              <a:buFont typeface="Arial" panose="020B0604020202020204" pitchFamily="34" charset="0"/>
              <a:buChar char="•"/>
            </a:pPr>
            <a:r>
              <a:rPr lang="en-US" sz="1200" dirty="0"/>
              <a:t>One-third of the workforce shifts to WFH in 4 weeks (March-April 2020)</a:t>
            </a:r>
          </a:p>
          <a:p>
            <a:pPr marL="285750" indent="-285750">
              <a:buFont typeface="Arial" panose="020B0604020202020204" pitchFamily="34" charset="0"/>
              <a:buChar char="•"/>
            </a:pPr>
            <a:r>
              <a:rPr lang="en-US" sz="1200" dirty="0"/>
              <a:t>80% of employees want to WFH at least some of the time</a:t>
            </a:r>
          </a:p>
          <a:p>
            <a:pPr marL="285750" indent="-285750">
              <a:buFont typeface="Arial" panose="020B0604020202020204" pitchFamily="34" charset="0"/>
              <a:buChar char="•"/>
            </a:pPr>
            <a:r>
              <a:rPr lang="en-US" sz="1200" dirty="0"/>
              <a:t>Regular WFH has grown 173% in the past 15 years</a:t>
            </a:r>
          </a:p>
          <a:p>
            <a:pPr marL="285750" indent="-285750">
              <a:buFont typeface="Arial" panose="020B0604020202020204" pitchFamily="34" charset="0"/>
              <a:buChar char="•"/>
            </a:pPr>
            <a:r>
              <a:rPr lang="en-US" sz="1200" dirty="0"/>
              <a:t>62% of employees WFH at some frequency</a:t>
            </a:r>
          </a:p>
          <a:p>
            <a:pPr marL="285750" indent="-285750">
              <a:buFont typeface="Arial" panose="020B0604020202020204" pitchFamily="34" charset="0"/>
              <a:buChar char="•"/>
            </a:pPr>
            <a:r>
              <a:rPr lang="en-US" sz="1200" dirty="0"/>
              <a:t>51% of on-site workers want to start WFH</a:t>
            </a:r>
          </a:p>
          <a:p>
            <a:pPr marL="285750" indent="-285750">
              <a:buFont typeface="Arial" panose="020B0604020202020204" pitchFamily="34" charset="0"/>
              <a:buChar char="•"/>
            </a:pPr>
            <a:r>
              <a:rPr lang="en-US" sz="1200" dirty="0"/>
              <a:t>99% of employees who WFH would like to continue doing so </a:t>
            </a:r>
          </a:p>
          <a:p>
            <a:endParaRPr lang="en-US" dirty="0"/>
          </a:p>
          <a:p>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2</a:t>
            </a:fld>
            <a:endParaRPr lang="en-US" dirty="0"/>
          </a:p>
        </p:txBody>
      </p:sp>
    </p:spTree>
    <p:extLst>
      <p:ext uri="{BB962C8B-B14F-4D97-AF65-F5344CB8AC3E}">
        <p14:creationId xmlns:p14="http://schemas.microsoft.com/office/powerpoint/2010/main" val="41236736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 key benefit “families”:</a:t>
            </a:r>
          </a:p>
          <a:p>
            <a:r>
              <a:rPr lang="en-US" b="1" dirty="0"/>
              <a:t>1) Verify identity for users and devices</a:t>
            </a:r>
          </a:p>
          <a:p>
            <a:r>
              <a:rPr lang="en-US" dirty="0"/>
              <a:t>(Duo, AnyConnect)</a:t>
            </a:r>
          </a:p>
          <a:p>
            <a:endParaRPr lang="en-US" dirty="0"/>
          </a:p>
          <a:p>
            <a:r>
              <a:rPr lang="en-US" b="1" dirty="0"/>
              <a:t>2) Detect and remediate threats</a:t>
            </a:r>
          </a:p>
          <a:p>
            <a:r>
              <a:rPr lang="en-US" dirty="0"/>
              <a:t>(Umbrella, AMP)</a:t>
            </a:r>
          </a:p>
          <a:p>
            <a:endParaRPr lang="en-US" dirty="0"/>
          </a:p>
          <a:p>
            <a:pPr marL="171450" indent="-171450" rtl="0" fontAlgn="ctr">
              <a:buFont typeface="Arial" panose="020B0604020202020204" pitchFamily="34" charset="0"/>
              <a:buChar char="•"/>
            </a:pPr>
            <a:r>
              <a:rPr lang="en-US" sz="1200" b="0" i="0" kern="1200" dirty="0">
                <a:solidFill>
                  <a:schemeClr val="tx1"/>
                </a:solidFill>
                <a:effectLst/>
                <a:latin typeface="CiscoSansTT ExtraLight" panose="020B0303020201020303" pitchFamily="34" charset="0"/>
                <a:ea typeface="+mn-ea"/>
                <a:cs typeface="+mn-cs"/>
              </a:rPr>
              <a:t>AMP and Duo work together that if a compromised device is detected by AMP, it gets flagged in Duo so that device isn't allowed to access any Duo-protected apps…same for AMP and Umbrella…</a:t>
            </a:r>
          </a:p>
          <a:p>
            <a:pPr marL="171450" indent="-171450" rtl="0" fontAlgn="ctr">
              <a:buFont typeface="Arial" panose="020B0604020202020204" pitchFamily="34" charset="0"/>
              <a:buChar char="•"/>
            </a:pPr>
            <a:r>
              <a:rPr lang="en-US" sz="1200" b="0" i="0" kern="1200" dirty="0">
                <a:solidFill>
                  <a:schemeClr val="tx1"/>
                </a:solidFill>
                <a:effectLst/>
                <a:latin typeface="CiscoSansTT ExtraLight" panose="020B0303020201020303" pitchFamily="34" charset="0"/>
                <a:ea typeface="+mn-ea"/>
                <a:cs typeface="+mn-cs"/>
              </a:rPr>
              <a:t>Integration with AnyConnect + Umbrella: Don’t always have to be on VPN to be protected. You get DNS protection when roaming, via Umbrella.</a:t>
            </a:r>
          </a:p>
          <a:p>
            <a:pPr marL="171450" indent="-171450" rtl="0" fontAlgn="ctr">
              <a:buFont typeface="Arial" panose="020B0604020202020204" pitchFamily="34" charset="0"/>
              <a:buChar char="•"/>
            </a:pPr>
            <a:r>
              <a:rPr lang="en-US" sz="1200" b="0" i="0" kern="1200" dirty="0">
                <a:solidFill>
                  <a:schemeClr val="tx1"/>
                </a:solidFill>
                <a:effectLst/>
                <a:latin typeface="CiscoSansTT ExtraLight" panose="020B0303020201020303" pitchFamily="34" charset="0"/>
                <a:ea typeface="+mn-ea"/>
                <a:cs typeface="+mn-cs"/>
              </a:rPr>
              <a:t>Integration with AMP + Umbrella: if a compromised device is detected by AMP, it gets flagged in Umbrella so that device isn’t allowed to access apps</a:t>
            </a:r>
          </a:p>
          <a:p>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21</a:t>
            </a:fld>
            <a:endParaRPr lang="en-US" dirty="0"/>
          </a:p>
        </p:txBody>
      </p:sp>
    </p:spTree>
    <p:extLst>
      <p:ext uri="{BB962C8B-B14F-4D97-AF65-F5344CB8AC3E}">
        <p14:creationId xmlns:p14="http://schemas.microsoft.com/office/powerpoint/2010/main" val="9577741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ea typeface="ＭＳ Ｐゴシック" charset="0"/>
                <a:cs typeface="ＭＳ Ｐゴシック" charset="0"/>
              </a:rPr>
              <a:t>Behind Umbrella</a:t>
            </a:r>
            <a:r>
              <a:rPr lang="en-US" baseline="0" dirty="0">
                <a:ea typeface="ＭＳ Ｐゴシック" charset="0"/>
                <a:cs typeface="ＭＳ Ｐゴシック" charset="0"/>
              </a:rPr>
              <a:t> security services (or components), is aggregated, industry-leading threat intelligence</a:t>
            </a:r>
          </a:p>
          <a:p>
            <a:pPr lvl="0"/>
            <a:endParaRPr lang="en-US" baseline="0" dirty="0">
              <a:ea typeface="ＭＳ Ｐゴシック" charset="0"/>
              <a:cs typeface="ＭＳ Ｐゴシック" charset="0"/>
            </a:endParaRPr>
          </a:p>
          <a:p>
            <a:pPr lvl="0"/>
            <a:r>
              <a:rPr lang="en-US" baseline="0" dirty="0">
                <a:ea typeface="ＭＳ Ｐゴシック" charset="0"/>
                <a:cs typeface="ＭＳ Ｐゴシック" charset="0"/>
              </a:rPr>
              <a:t>Starting with Cisco Talos:</a:t>
            </a:r>
          </a:p>
          <a:p>
            <a:pPr marL="171450" lvl="0" indent="-171450">
              <a:buFont typeface="Arial" charset="0"/>
              <a:buChar char="•"/>
            </a:pPr>
            <a:r>
              <a:rPr lang="en-US" b="0" baseline="0" dirty="0">
                <a:ea typeface="ＭＳ Ｐゴシック" charset="0"/>
                <a:cs typeface="ＭＳ Ｐゴシック" charset="0"/>
              </a:rPr>
              <a:t>I</a:t>
            </a:r>
            <a:r>
              <a:rPr lang="en-US" b="0" dirty="0">
                <a:ea typeface="ＭＳ Ｐゴシック" charset="0"/>
                <a:cs typeface="ＭＳ Ｐゴシック" charset="0"/>
              </a:rPr>
              <a:t>s the largest non-governmental threat research organization on the planet</a:t>
            </a:r>
          </a:p>
          <a:p>
            <a:pPr marL="171450" lvl="0" indent="-171450">
              <a:buFont typeface="Arial" charset="0"/>
              <a:buChar char="•"/>
            </a:pPr>
            <a:r>
              <a:rPr lang="en-US" b="0" dirty="0">
                <a:ea typeface="ＭＳ Ｐゴシック" charset="0"/>
                <a:cs typeface="ＭＳ Ｐゴシック" charset="0"/>
              </a:rPr>
              <a:t>It’s </a:t>
            </a:r>
            <a:r>
              <a:rPr lang="en-SG" b="0" dirty="0">
                <a:ea typeface="ＭＳ Ｐゴシック" charset="0"/>
                <a:cs typeface="ＭＳ Ｐゴシック" charset="0"/>
              </a:rPr>
              <a:t>an elite group of security experts devoted to providing superior protection to our customers</a:t>
            </a:r>
          </a:p>
          <a:p>
            <a:pPr marL="171450" lvl="0" indent="-171450">
              <a:buFont typeface="Arial" charset="0"/>
              <a:buChar char="•"/>
            </a:pPr>
            <a:r>
              <a:rPr lang="en-SG" b="0" dirty="0">
                <a:ea typeface="ＭＳ Ｐゴシック" charset="0"/>
                <a:cs typeface="ＭＳ Ｐゴシック" charset="0"/>
              </a:rPr>
              <a:t>You can’t protect what you can’t see; we see more threats, more malware, more attacks than any other security vendor in the world</a:t>
            </a:r>
            <a:endParaRPr lang="en-US" b="0" dirty="0">
              <a:ea typeface="ＭＳ Ｐゴシック" charset="0"/>
              <a:cs typeface="ＭＳ Ｐゴシック" charset="0"/>
            </a:endParaRPr>
          </a:p>
          <a:p>
            <a:pPr marL="171450" lvl="0" indent="-171450">
              <a:buFont typeface="Arial" charset="0"/>
              <a:buChar char="•"/>
            </a:pPr>
            <a:r>
              <a:rPr lang="en-SG" b="0" dirty="0">
                <a:ea typeface="ＭＳ Ｐゴシック" charset="0"/>
                <a:cs typeface="ＭＳ Ｐゴシック" charset="0"/>
              </a:rPr>
              <a:t>When you see more, you can block more</a:t>
            </a:r>
            <a:endParaRPr lang="en-US" b="0" dirty="0">
              <a:ea typeface="ＭＳ Ｐゴシック" charset="0"/>
              <a:cs typeface="ＭＳ Ｐゴシック" charset="0"/>
            </a:endParaRPr>
          </a:p>
          <a:p>
            <a:pPr defTabSz="465887" eaLnBrk="0" fontAlgn="base" hangingPunct="0">
              <a:spcBef>
                <a:spcPct val="30000"/>
              </a:spcBef>
              <a:spcAft>
                <a:spcPct val="0"/>
              </a:spcAft>
              <a:defRPr/>
            </a:pPr>
            <a:endParaRPr lang="en-US" b="1"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22</a:t>
            </a:fld>
            <a:endParaRPr lang="en-US" dirty="0">
              <a:solidFill>
                <a:prstClr val="black"/>
              </a:solidFill>
            </a:endParaRPr>
          </a:p>
        </p:txBody>
      </p:sp>
    </p:spTree>
    <p:extLst>
      <p:ext uri="{BB962C8B-B14F-4D97-AF65-F5344CB8AC3E}">
        <p14:creationId xmlns:p14="http://schemas.microsoft.com/office/powerpoint/2010/main" val="37828197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Lower overhead saving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CiscoSansTT ExtraLight" panose="020B0303020201020303" pitchFamily="34" charset="0"/>
                <a:ea typeface="+mn-ea"/>
                <a:cs typeface="+mn-cs"/>
              </a:rPr>
              <a:t>Increased productiv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CiscoSansTT ExtraLight" panose="020B0303020201020303" pitchFamily="34" charset="0"/>
                <a:ea typeface="+mn-ea"/>
                <a:cs typeface="+mn-cs"/>
              </a:rPr>
              <a:t>Lower real estate cos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CiscoSansTT ExtraLight" panose="020B0303020201020303" pitchFamily="34" charset="0"/>
                <a:ea typeface="+mn-ea"/>
                <a:cs typeface="+mn-cs"/>
              </a:rPr>
              <a:t>Reduced absenteeism and turnov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tx1"/>
                </a:solidFill>
                <a:effectLst/>
                <a:latin typeface="CiscoSansTT ExtraLight" panose="020B0303020201020303" pitchFamily="34" charset="0"/>
                <a:ea typeface="+mn-ea"/>
                <a:cs typeface="+mn-cs"/>
              </a:rPr>
              <a:t>Better disaster preparedness</a:t>
            </a:r>
            <a:endParaRPr lang="en-US" dirty="0"/>
          </a:p>
          <a:p>
            <a:endParaRPr lang="en-US" dirty="0"/>
          </a:p>
          <a:p>
            <a:r>
              <a:rPr lang="en-US" b="1" dirty="0"/>
              <a:t>Lower employee costs (by WFH half the time) =</a:t>
            </a:r>
          </a:p>
          <a:p>
            <a:pPr marL="171450" indent="-171450">
              <a:buFont typeface="Arial" panose="020B0604020202020204" pitchFamily="34" charset="0"/>
              <a:buChar char="•"/>
            </a:pPr>
            <a:r>
              <a:rPr lang="en-US" sz="1200" b="0" i="0" kern="1200" dirty="0">
                <a:solidFill>
                  <a:schemeClr val="tx1"/>
                </a:solidFill>
                <a:effectLst/>
                <a:latin typeface="CiscoSansTT ExtraLight" panose="020B0303020201020303" pitchFamily="34" charset="0"/>
                <a:ea typeface="+mn-ea"/>
                <a:cs typeface="+mn-cs"/>
              </a:rPr>
              <a:t>Reduced costs for travel, parking, and food. </a:t>
            </a:r>
          </a:p>
          <a:p>
            <a:pPr marL="171450" indent="-171450">
              <a:buFont typeface="Arial" panose="020B0604020202020204" pitchFamily="34" charset="0"/>
              <a:buChar char="•"/>
            </a:pPr>
            <a:r>
              <a:rPr lang="en-US" sz="1200" b="0" i="0" kern="1200" dirty="0">
                <a:solidFill>
                  <a:schemeClr val="tx1"/>
                </a:solidFill>
                <a:effectLst/>
                <a:latin typeface="CiscoSansTT ExtraLight" panose="020B0303020201020303" pitchFamily="34" charset="0"/>
                <a:ea typeface="+mn-ea"/>
                <a:cs typeface="+mn-cs"/>
              </a:rPr>
              <a:t>They are net of additional energy costs and home food costs. </a:t>
            </a:r>
          </a:p>
          <a:p>
            <a:pPr marL="0" indent="0">
              <a:buFont typeface="Arial" panose="020B0604020202020204" pitchFamily="34" charset="0"/>
              <a:buNone/>
            </a:pPr>
            <a:endParaRPr lang="en-US" sz="1200" b="0" i="0" kern="1200" dirty="0">
              <a:solidFill>
                <a:schemeClr val="tx1"/>
              </a:solidFill>
              <a:effectLst/>
              <a:latin typeface="CiscoSansTT ExtraLight" panose="020B0303020201020303" pitchFamily="34" charset="0"/>
              <a:ea typeface="+mn-ea"/>
              <a:cs typeface="+mn-cs"/>
            </a:endParaRPr>
          </a:p>
          <a:p>
            <a:pPr marL="0" indent="0">
              <a:buFont typeface="Arial" panose="020B0604020202020204" pitchFamily="34" charset="0"/>
              <a:buNone/>
            </a:pPr>
            <a:r>
              <a:rPr lang="en-US" sz="1200" b="1" i="0" kern="1200" dirty="0">
                <a:solidFill>
                  <a:schemeClr val="tx1"/>
                </a:solidFill>
                <a:effectLst/>
                <a:latin typeface="CiscoSansTT ExtraLight" panose="020B0303020201020303" pitchFamily="34" charset="0"/>
                <a:ea typeface="+mn-ea"/>
                <a:cs typeface="+mn-cs"/>
              </a:rPr>
              <a:t>Higher productivity and efficiency =</a:t>
            </a:r>
          </a:p>
          <a:p>
            <a:pPr marL="171450" indent="-171450">
              <a:buFont typeface="Arial" panose="020B0604020202020204" pitchFamily="34" charset="0"/>
              <a:buChar char="•"/>
            </a:pPr>
            <a:r>
              <a:rPr lang="en-US" sz="1200" b="0" i="0" kern="1200" dirty="0">
                <a:solidFill>
                  <a:schemeClr val="tx1"/>
                </a:solidFill>
                <a:effectLst/>
                <a:latin typeface="CiscoSansTT ExtraLight" panose="020B0303020201020303" pitchFamily="34" charset="0"/>
                <a:ea typeface="+mn-ea"/>
                <a:cs typeface="+mn-cs"/>
              </a:rPr>
              <a:t>In terms of time, a half-time telecommuter</a:t>
            </a:r>
            <a:r>
              <a:rPr lang="en-US" sz="1200" b="1" i="0" kern="1200" dirty="0">
                <a:solidFill>
                  <a:schemeClr val="tx1"/>
                </a:solidFill>
                <a:effectLst/>
                <a:latin typeface="CiscoSansTT ExtraLight" panose="020B0303020201020303" pitchFamily="34" charset="0"/>
                <a:ea typeface="+mn-ea"/>
                <a:cs typeface="+mn-cs"/>
              </a:rPr>
              <a:t> </a:t>
            </a:r>
            <a:r>
              <a:rPr lang="en-US" sz="1200" b="0" i="0" kern="1200" dirty="0">
                <a:solidFill>
                  <a:schemeClr val="tx1"/>
                </a:solidFill>
                <a:effectLst/>
                <a:latin typeface="CiscoSansTT ExtraLight" panose="020B0303020201020303" pitchFamily="34" charset="0"/>
                <a:ea typeface="+mn-ea"/>
                <a:cs typeface="+mn-cs"/>
              </a:rPr>
              <a:t>saves the equivalent of 11 work days per year in time they would have otherwise spent commuting. </a:t>
            </a:r>
          </a:p>
          <a:p>
            <a:pPr marL="171450" indent="-171450">
              <a:buFont typeface="Arial" panose="020B0604020202020204" pitchFamily="34" charset="0"/>
              <a:buChar char="•"/>
            </a:pPr>
            <a:r>
              <a:rPr lang="en-US" sz="1200" b="0" i="0" kern="1200" dirty="0">
                <a:solidFill>
                  <a:schemeClr val="tx1"/>
                </a:solidFill>
                <a:effectLst/>
                <a:latin typeface="CiscoSansTT ExtraLight" panose="020B0303020201020303" pitchFamily="34" charset="0"/>
                <a:ea typeface="+mn-ea"/>
                <a:cs typeface="+mn-cs"/>
              </a:rPr>
              <a:t>Extreme commuters save more than three times that amount. </a:t>
            </a:r>
          </a:p>
          <a:p>
            <a:pPr marL="171450" indent="-171450">
              <a:buFont typeface="Arial" panose="020B0604020202020204" pitchFamily="34" charset="0"/>
              <a:buChar char="•"/>
            </a:pPr>
            <a:r>
              <a:rPr lang="en-US" sz="1200" b="0" i="0" kern="1200" dirty="0">
                <a:solidFill>
                  <a:schemeClr val="tx1"/>
                </a:solidFill>
                <a:effectLst/>
                <a:latin typeface="CiscoSansTT ExtraLight" panose="020B0303020201020303" pitchFamily="34" charset="0"/>
                <a:ea typeface="+mn-ea"/>
                <a:cs typeface="+mn-cs"/>
              </a:rPr>
              <a:t>These estimates assume a 75% reduction in driving on telework days</a:t>
            </a:r>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3</a:t>
            </a:fld>
            <a:endParaRPr lang="en-US" dirty="0"/>
          </a:p>
        </p:txBody>
      </p:sp>
    </p:spTree>
    <p:extLst>
      <p:ext uri="{BB962C8B-B14F-4D97-AF65-F5344CB8AC3E}">
        <p14:creationId xmlns:p14="http://schemas.microsoft.com/office/powerpoint/2010/main" val="21447330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4</a:t>
            </a:fld>
            <a:endParaRPr lang="en-US" dirty="0"/>
          </a:p>
        </p:txBody>
      </p:sp>
    </p:spTree>
    <p:extLst>
      <p:ext uri="{BB962C8B-B14F-4D97-AF65-F5344CB8AC3E}">
        <p14:creationId xmlns:p14="http://schemas.microsoft.com/office/powerpoint/2010/main" val="38288511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6549" lvl="1" indent="-457200" fontAlgn="ctr">
              <a:buFont typeface="Arial" panose="020B0604020202020204" pitchFamily="34" charset="0"/>
              <a:buChar char="•"/>
            </a:pPr>
            <a:r>
              <a:rPr lang="en-US" sz="2400" dirty="0"/>
              <a:t>Low awareness of how user behavior exposes risk to company information</a:t>
            </a:r>
          </a:p>
          <a:p>
            <a:pPr marL="626549" lvl="1" indent="-457200" fontAlgn="ctr">
              <a:buFont typeface="Arial" panose="020B0604020202020204" pitchFamily="34" charset="0"/>
              <a:buChar char="•"/>
            </a:pPr>
            <a:r>
              <a:rPr lang="en-US" sz="2400" dirty="0"/>
              <a:t>New and different employee devices accessing company data</a:t>
            </a:r>
          </a:p>
          <a:p>
            <a:pPr marL="626549" lvl="1" indent="-457200" fontAlgn="ctr">
              <a:buFont typeface="Arial" panose="020B0604020202020204" pitchFamily="34" charset="0"/>
              <a:buChar char="•"/>
            </a:pPr>
            <a:r>
              <a:rPr lang="en-US" sz="2400" dirty="0"/>
              <a:t>Use of more SaaS-based and unsanctioned apps</a:t>
            </a:r>
          </a:p>
          <a:p>
            <a:pPr marL="626549" lvl="1" indent="-457200" fontAlgn="ctr">
              <a:buFont typeface="Arial" panose="020B0604020202020204" pitchFamily="34" charset="0"/>
              <a:buChar char="•"/>
            </a:pPr>
            <a:r>
              <a:rPr lang="en-US" sz="2400" dirty="0"/>
              <a:t>Employees bypassing the VPN</a:t>
            </a:r>
          </a:p>
          <a:p>
            <a:pPr marL="1032904" lvl="2" indent="-457200" fontAlgn="ctr">
              <a:buFont typeface="Arial" panose="020B0604020202020204" pitchFamily="34" charset="0"/>
              <a:buChar char="•"/>
            </a:pPr>
            <a:r>
              <a:rPr lang="en-US" sz="2400" dirty="0"/>
              <a:t>Estimated that 85% bypass the VPN</a:t>
            </a:r>
          </a:p>
          <a:p>
            <a:pPr marL="1032904" lvl="2" indent="-457200" fontAlgn="ctr">
              <a:buFont typeface="Arial" panose="020B0604020202020204" pitchFamily="34" charset="0"/>
              <a:buChar char="•"/>
            </a:pPr>
            <a:r>
              <a:rPr lang="en-US" sz="2400" dirty="0"/>
              <a:t>This opens companies to risk from DNS attacks</a:t>
            </a:r>
          </a:p>
          <a:p>
            <a:pPr marL="1032904" lvl="2" indent="-457200" fontAlgn="ctr">
              <a:buFont typeface="Arial" panose="020B0604020202020204" pitchFamily="34" charset="0"/>
              <a:buChar char="•"/>
            </a:pPr>
            <a:r>
              <a:rPr lang="en-US" sz="2400" dirty="0"/>
              <a:t>Most companies leave DNS protection to their ISP</a:t>
            </a:r>
          </a:p>
          <a:p>
            <a:pPr marL="1032904" lvl="2" indent="-457200" fontAlgn="ctr">
              <a:buFont typeface="Arial" panose="020B0604020202020204" pitchFamily="34" charset="0"/>
              <a:buChar char="•"/>
            </a:pPr>
            <a:endParaRPr lang="en-US" sz="2400" dirty="0"/>
          </a:p>
          <a:p>
            <a:r>
              <a:rPr lang="en-US" dirty="0">
                <a:solidFill>
                  <a:schemeClr val="tx1"/>
                </a:solidFill>
              </a:rPr>
              <a:t>76% of businesses are victims to phishing attacks – </a:t>
            </a:r>
          </a:p>
          <a:p>
            <a:r>
              <a:rPr lang="en-US" dirty="0">
                <a:solidFill>
                  <a:schemeClr val="tx1"/>
                </a:solidFill>
              </a:rPr>
              <a:t>Cisco CISO 2019 Benchmark Study</a:t>
            </a:r>
          </a:p>
          <a:p>
            <a:endParaRPr lang="en-US" sz="2400" dirty="0">
              <a:solidFill>
                <a:schemeClr val="tx1"/>
              </a:solidFill>
            </a:endParaRPr>
          </a:p>
          <a:p>
            <a:r>
              <a:rPr lang="en-US" sz="2400" dirty="0">
                <a:solidFill>
                  <a:schemeClr val="tx1"/>
                </a:solidFill>
              </a:rPr>
              <a:t>68% of targeted attacks in 2019 compromised either a remote and branch office or roaming user</a:t>
            </a:r>
          </a:p>
          <a:p>
            <a:r>
              <a:rPr lang="en-US" sz="2400" dirty="0">
                <a:solidFill>
                  <a:schemeClr val="tx1"/>
                </a:solidFill>
              </a:rPr>
              <a:t>ESG Research, Cisco Secure Internet Gateway survey, 2019</a:t>
            </a:r>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5</a:t>
            </a:fld>
            <a:endParaRPr lang="en-US" dirty="0"/>
          </a:p>
        </p:txBody>
      </p:sp>
    </p:spTree>
    <p:extLst>
      <p:ext uri="{BB962C8B-B14F-4D97-AF65-F5344CB8AC3E}">
        <p14:creationId xmlns:p14="http://schemas.microsoft.com/office/powerpoint/2010/main" val="38429443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6</a:t>
            </a:fld>
            <a:endParaRPr lang="en-US" dirty="0"/>
          </a:p>
        </p:txBody>
      </p:sp>
    </p:spTree>
    <p:extLst>
      <p:ext uri="{BB962C8B-B14F-4D97-AF65-F5344CB8AC3E}">
        <p14:creationId xmlns:p14="http://schemas.microsoft.com/office/powerpoint/2010/main" val="18227541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sz="1200" dirty="0"/>
              <a:t>Duo verifies identity</a:t>
            </a:r>
          </a:p>
          <a:p>
            <a:pPr marL="342900" indent="-342900">
              <a:buAutoNum type="arabicPeriod"/>
            </a:pPr>
            <a:r>
              <a:rPr lang="en-US" sz="1200" dirty="0"/>
              <a:t>AnyConnect establishes secure VPN</a:t>
            </a:r>
          </a:p>
          <a:p>
            <a:pPr marL="342900" indent="-342900">
              <a:buAutoNum type="arabicPeriod"/>
            </a:pPr>
            <a:r>
              <a:rPr lang="en-US" sz="1200" dirty="0"/>
              <a:t>Umbrella protects at first layer of defense</a:t>
            </a:r>
          </a:p>
          <a:p>
            <a:pPr marL="342900" indent="-342900">
              <a:buAutoNum type="arabicPeriod"/>
            </a:pPr>
            <a:r>
              <a:rPr lang="en-US" sz="1200" dirty="0"/>
              <a:t>AMP holds last line of defense</a:t>
            </a:r>
          </a:p>
          <a:p>
            <a:endParaRPr lang="en-US" dirty="0"/>
          </a:p>
          <a:p>
            <a:endParaRPr lang="en-US" dirty="0"/>
          </a:p>
          <a:p>
            <a:r>
              <a:rPr lang="en-US" dirty="0"/>
              <a:t>2 key benefit “families”:</a:t>
            </a:r>
          </a:p>
          <a:p>
            <a:r>
              <a:rPr lang="en-US" b="1" dirty="0"/>
              <a:t>1) Verify identity for users and devices</a:t>
            </a:r>
          </a:p>
          <a:p>
            <a:r>
              <a:rPr lang="en-US" dirty="0"/>
              <a:t>(Duo, AnyConnect)</a:t>
            </a:r>
          </a:p>
          <a:p>
            <a:endParaRPr lang="en-US" dirty="0"/>
          </a:p>
          <a:p>
            <a:r>
              <a:rPr lang="en-US" b="1" dirty="0"/>
              <a:t>2) Detect and remediate threats</a:t>
            </a:r>
          </a:p>
          <a:p>
            <a:r>
              <a:rPr lang="en-US" dirty="0"/>
              <a:t>(Umbrella, AMP)</a:t>
            </a:r>
          </a:p>
          <a:p>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8</a:t>
            </a:fld>
            <a:endParaRPr lang="en-US" dirty="0"/>
          </a:p>
        </p:txBody>
      </p:sp>
    </p:spTree>
    <p:extLst>
      <p:ext uri="{BB962C8B-B14F-4D97-AF65-F5344CB8AC3E}">
        <p14:creationId xmlns:p14="http://schemas.microsoft.com/office/powerpoint/2010/main" val="5075240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sz="1200" dirty="0"/>
              <a:t>Duo verifies identity</a:t>
            </a:r>
          </a:p>
          <a:p>
            <a:pPr marL="342900" indent="-342900">
              <a:buAutoNum type="arabicPeriod"/>
            </a:pPr>
            <a:r>
              <a:rPr lang="en-US" sz="1200" dirty="0"/>
              <a:t>AnyConnect establishes secure VPN</a:t>
            </a:r>
          </a:p>
          <a:p>
            <a:pPr marL="342900" indent="-342900">
              <a:buAutoNum type="arabicPeriod"/>
            </a:pPr>
            <a:r>
              <a:rPr lang="en-US" sz="1200" dirty="0"/>
              <a:t>Umbrella protects at first layer of defense</a:t>
            </a:r>
          </a:p>
          <a:p>
            <a:pPr marL="342900" indent="-342900">
              <a:buAutoNum type="arabicPeriod"/>
            </a:pPr>
            <a:r>
              <a:rPr lang="en-US" sz="1200" dirty="0"/>
              <a:t>AMP holds last line of defense</a:t>
            </a:r>
          </a:p>
          <a:p>
            <a:endParaRPr lang="en-US" dirty="0"/>
          </a:p>
          <a:p>
            <a:endParaRPr lang="en-US" dirty="0"/>
          </a:p>
          <a:p>
            <a:r>
              <a:rPr lang="en-US" dirty="0"/>
              <a:t>2 key benefit “families”:</a:t>
            </a:r>
          </a:p>
          <a:p>
            <a:r>
              <a:rPr lang="en-US" b="1" dirty="0"/>
              <a:t>1) Verify identity for users and devices</a:t>
            </a:r>
          </a:p>
          <a:p>
            <a:r>
              <a:rPr lang="en-US" dirty="0"/>
              <a:t>(Duo, AnyConnect)</a:t>
            </a:r>
          </a:p>
          <a:p>
            <a:endParaRPr lang="en-US" dirty="0"/>
          </a:p>
          <a:p>
            <a:r>
              <a:rPr lang="en-US" b="1" dirty="0"/>
              <a:t>2) Detect and remediate threats</a:t>
            </a:r>
          </a:p>
          <a:p>
            <a:r>
              <a:rPr lang="en-US" dirty="0"/>
              <a:t>(Umbrella, AMP)</a:t>
            </a:r>
          </a:p>
          <a:p>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9</a:t>
            </a:fld>
            <a:endParaRPr lang="en-US" dirty="0"/>
          </a:p>
        </p:txBody>
      </p:sp>
    </p:spTree>
    <p:extLst>
      <p:ext uri="{BB962C8B-B14F-4D97-AF65-F5344CB8AC3E}">
        <p14:creationId xmlns:p14="http://schemas.microsoft.com/office/powerpoint/2010/main" val="266238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CDD43B-31BF-441C-BF6E-38E69833597D}" type="slidenum">
              <a:rPr lang="en-US" smtClean="0"/>
              <a:pPr/>
              <a:t>10</a:t>
            </a:fld>
            <a:endParaRPr lang="en-US" dirty="0"/>
          </a:p>
        </p:txBody>
      </p:sp>
    </p:spTree>
    <p:extLst>
      <p:ext uri="{BB962C8B-B14F-4D97-AF65-F5344CB8AC3E}">
        <p14:creationId xmlns:p14="http://schemas.microsoft.com/office/powerpoint/2010/main" val="102036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533400" y="5033126"/>
            <a:ext cx="11125200" cy="443198"/>
          </a:xfrm>
          <a:prstGeom prst="rect">
            <a:avLst/>
          </a:prstGeom>
        </p:spPr>
        <p:txBody>
          <a:bodyPr wrap="square" lIns="182880" tIns="45720" rIns="0" bIns="45720" anchor="b" anchorCtr="0">
            <a:spAutoFit/>
          </a:bodyPr>
          <a:lstStyle>
            <a:lvl1pPr marL="0" indent="0" algn="l">
              <a:buNone/>
              <a:defRPr sz="2400" b="0" i="0">
                <a:solidFill>
                  <a:srgbClr val="0D274D"/>
                </a:solidFill>
                <a:latin typeface="+mn-lt"/>
                <a:cs typeface="CiscoSansTT ExtraLight"/>
              </a:defRPr>
            </a:lvl1pPr>
            <a:lvl2pPr marL="457119" indent="0" algn="ctr">
              <a:buNone/>
              <a:defRPr>
                <a:solidFill>
                  <a:schemeClr val="tx1">
                    <a:tint val="75000"/>
                  </a:schemeClr>
                </a:solidFill>
              </a:defRPr>
            </a:lvl2pPr>
            <a:lvl3pPr marL="914248" indent="0" algn="ctr">
              <a:buNone/>
              <a:defRPr>
                <a:solidFill>
                  <a:schemeClr val="tx1">
                    <a:tint val="75000"/>
                  </a:schemeClr>
                </a:solidFill>
              </a:defRPr>
            </a:lvl3pPr>
            <a:lvl4pPr marL="1371370" indent="0" algn="ctr">
              <a:buNone/>
              <a:defRPr>
                <a:solidFill>
                  <a:schemeClr val="tx1">
                    <a:tint val="75000"/>
                  </a:schemeClr>
                </a:solidFill>
              </a:defRPr>
            </a:lvl4pPr>
            <a:lvl5pPr marL="1828497" indent="0" algn="ctr">
              <a:buNone/>
              <a:defRPr>
                <a:solidFill>
                  <a:schemeClr val="tx1">
                    <a:tint val="75000"/>
                  </a:schemeClr>
                </a:solidFill>
              </a:defRPr>
            </a:lvl5pPr>
            <a:lvl6pPr marL="2285615" indent="0" algn="ctr">
              <a:buNone/>
              <a:defRPr>
                <a:solidFill>
                  <a:schemeClr val="tx1">
                    <a:tint val="75000"/>
                  </a:schemeClr>
                </a:solidFill>
              </a:defRPr>
            </a:lvl6pPr>
            <a:lvl7pPr marL="2742745" indent="0" algn="ctr">
              <a:buNone/>
              <a:defRPr>
                <a:solidFill>
                  <a:schemeClr val="tx1">
                    <a:tint val="75000"/>
                  </a:schemeClr>
                </a:solidFill>
              </a:defRPr>
            </a:lvl7pPr>
            <a:lvl8pPr marL="3199867" indent="0" algn="ctr">
              <a:buNone/>
              <a:defRPr>
                <a:solidFill>
                  <a:schemeClr val="tx1">
                    <a:tint val="75000"/>
                  </a:schemeClr>
                </a:solidFill>
              </a:defRPr>
            </a:lvl8pPr>
            <a:lvl9pPr marL="365699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533400" y="5476324"/>
            <a:ext cx="11125200" cy="443198"/>
          </a:xfrm>
          <a:prstGeom prst="rect">
            <a:avLst/>
          </a:prstGeom>
        </p:spPr>
        <p:txBody>
          <a:bodyPr wrap="square" lIns="182880" tIns="45720" rIns="0" bIns="45720">
            <a:spAutoFit/>
          </a:bodyPr>
          <a:lstStyle>
            <a:lvl1pPr marL="0" indent="0" algn="l">
              <a:buFontTx/>
              <a:buNone/>
              <a:defRPr lang="en-US" sz="2400" b="0" i="0" kern="1200" dirty="0" smtClean="0">
                <a:solidFill>
                  <a:srgbClr val="0D274D"/>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533400" y="5919502"/>
            <a:ext cx="11125200" cy="443198"/>
          </a:xfrm>
          <a:prstGeom prst="rect">
            <a:avLst/>
          </a:prstGeom>
        </p:spPr>
        <p:txBody>
          <a:bodyPr wrap="square" lIns="182880" tIns="45720" rIns="0" bIns="45720">
            <a:spAutoFit/>
          </a:bodyPr>
          <a:lstStyle>
            <a:lvl1pPr marL="0" indent="0" algn="l">
              <a:buFontTx/>
              <a:buNone/>
              <a:defRPr lang="en-US" sz="2400" b="0" i="0" kern="1200" dirty="0" smtClean="0">
                <a:solidFill>
                  <a:srgbClr val="0D274D"/>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533400" y="4318387"/>
            <a:ext cx="11125200" cy="455509"/>
          </a:xfrm>
          <a:prstGeom prst="rect">
            <a:avLst/>
          </a:prstGeom>
        </p:spPr>
        <p:txBody>
          <a:bodyPr wrap="square" lIns="182880" tIns="45720" rIns="0" bIns="0">
            <a:spAutoFit/>
          </a:bodyPr>
          <a:lstStyle>
            <a:lvl1pPr marL="0" indent="0">
              <a:buFont typeface="Arial" panose="020B0604020202020204" pitchFamily="34" charset="0"/>
              <a:buNone/>
              <a:defRPr sz="2800" b="0" i="0" baseline="0">
                <a:solidFill>
                  <a:srgbClr val="0D274D"/>
                </a:solidFill>
                <a:latin typeface="+mj-lt"/>
                <a:cs typeface="CiscoSansTT ExtraLight"/>
              </a:defRPr>
            </a:lvl1pPr>
            <a:lvl2pPr marL="406355" indent="0">
              <a:buNone/>
              <a:defRPr/>
            </a:lvl2pPr>
            <a:lvl3pPr marL="569840" indent="0">
              <a:buNone/>
              <a:defRPr/>
            </a:lvl3pPr>
            <a:lvl4pPr marL="688891" indent="0">
              <a:buNone/>
              <a:defRPr/>
            </a:lvl4pPr>
            <a:lvl5pPr marL="801588" indent="0">
              <a:buNone/>
              <a:defRPr/>
            </a:lvl5pPr>
          </a:lstStyle>
          <a:p>
            <a:pPr lvl="0"/>
            <a:r>
              <a:rPr lang="en-GB"/>
              <a:t>Subtitle Goes Here</a:t>
            </a:r>
          </a:p>
        </p:txBody>
      </p:sp>
      <p:sp>
        <p:nvSpPr>
          <p:cNvPr id="20" name="Title 1"/>
          <p:cNvSpPr>
            <a:spLocks noGrp="1"/>
          </p:cNvSpPr>
          <p:nvPr>
            <p:ph type="ctrTitle" hasCustomPrompt="1"/>
          </p:nvPr>
        </p:nvSpPr>
        <p:spPr>
          <a:xfrm>
            <a:off x="533400" y="3565501"/>
            <a:ext cx="11120203" cy="747897"/>
          </a:xfrm>
          <a:prstGeom prst="rect">
            <a:avLst/>
          </a:prstGeom>
        </p:spPr>
        <p:txBody>
          <a:bodyPr anchor="b"/>
          <a:lstStyle>
            <a:lvl1pPr marL="0" indent="0" algn="l">
              <a:lnSpc>
                <a:spcPct val="90000"/>
              </a:lnSpc>
              <a:buFont typeface="Arial" panose="020B0604020202020204" pitchFamily="34" charset="0"/>
              <a:buNone/>
              <a:defRPr sz="5400" b="0" i="0" spc="0" baseline="0">
                <a:solidFill>
                  <a:srgbClr val="0D274D"/>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rgbClr val="0D274D"/>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solidFill>
                <a:schemeClr val="bg1"/>
              </a:solidFill>
            </a:endParaRPr>
          </a:p>
        </p:txBody>
      </p:sp>
    </p:spTree>
    <p:extLst>
      <p:ext uri="{BB962C8B-B14F-4D97-AF65-F5344CB8AC3E}">
        <p14:creationId xmlns:p14="http://schemas.microsoft.com/office/powerpoint/2010/main" val="19608409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Picture Placeholder 2"/>
          <p:cNvSpPr>
            <a:spLocks noGrp="1"/>
          </p:cNvSpPr>
          <p:nvPr>
            <p:ph type="pic" sz="quarter" idx="10"/>
          </p:nvPr>
        </p:nvSpPr>
        <p:spPr>
          <a:xfrm>
            <a:off x="410683" y="320844"/>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dirty="0"/>
              <a:t>Click icon to add picture</a:t>
            </a:r>
          </a:p>
        </p:txBody>
      </p:sp>
      <p:sp>
        <p:nvSpPr>
          <p:cNvPr id="2" name="Footer Placeholder 1">
            <a:extLst>
              <a:ext uri="{FF2B5EF4-FFF2-40B4-BE49-F238E27FC236}">
                <a16:creationId xmlns:a16="http://schemas.microsoft.com/office/drawing/2014/main" id="{92312D10-86E6-4B1C-9AF0-A8AD12BEA7EB}"/>
              </a:ext>
            </a:extLst>
          </p:cNvPr>
          <p:cNvSpPr>
            <a:spLocks noGrp="1"/>
          </p:cNvSpPr>
          <p:nvPr>
            <p:ph type="ftr" sz="quarter" idx="11"/>
          </p:nvPr>
        </p:nvSpPr>
        <p:spPr>
          <a:xfrm>
            <a:off x="533400" y="6365805"/>
            <a:ext cx="3568285" cy="123111"/>
          </a:xfrm>
        </p:spPr>
        <p:txBody>
          <a:bodyPr/>
          <a:lstStyle>
            <a:lvl1pPr>
              <a:defRPr>
                <a:solidFill>
                  <a:schemeClr val="accent1">
                    <a:lumMod val="75000"/>
                  </a:schemeClr>
                </a:solidFill>
              </a:defRPr>
            </a:lvl1pPr>
          </a:lstStyle>
          <a:p>
            <a:pPr>
              <a:defRPr/>
            </a:pPr>
            <a:r>
              <a:rPr lang="en-US" sz="800" spc="27" dirty="0">
                <a:cs typeface="CiscoSans Thin"/>
              </a:rPr>
              <a:t>© 2020 Cisco and/or its affiliates. All rights reserved. Cisco Confidential</a:t>
            </a:r>
          </a:p>
        </p:txBody>
      </p:sp>
    </p:spTree>
    <p:extLst>
      <p:ext uri="{BB962C8B-B14F-4D97-AF65-F5344CB8AC3E}">
        <p14:creationId xmlns:p14="http://schemas.microsoft.com/office/powerpoint/2010/main" val="7116070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84" indent="-228589">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70" indent="-220122">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54" indent="-146043">
              <a:buClr>
                <a:schemeClr val="tx1"/>
              </a:buClr>
              <a:buSzPct val="80000"/>
              <a:buFont typeface="Arial"/>
              <a:buChar char="•"/>
              <a:defRPr sz="2133" b="0" i="0">
                <a:solidFill>
                  <a:schemeClr val="tx1"/>
                </a:solidFill>
                <a:latin typeface="+mn-lt"/>
                <a:ea typeface="CiscoSansTT Thin" charset="0"/>
                <a:cs typeface="CiscoSansTT Thin" charset="0"/>
              </a:defRPr>
            </a:lvl3pPr>
            <a:lvl4pPr marL="1214652" indent="-228542">
              <a:buClr>
                <a:schemeClr val="tx1"/>
              </a:buClr>
              <a:buSzPct val="80000"/>
              <a:buFont typeface="Arial"/>
              <a:buChar char="•"/>
              <a:defRPr sz="1867" b="0" i="0">
                <a:solidFill>
                  <a:schemeClr val="tx1"/>
                </a:solidFill>
                <a:latin typeface="+mn-lt"/>
                <a:ea typeface="CiscoSansTT Thin" charset="0"/>
                <a:cs typeface="CiscoSansTT Thin" charset="0"/>
              </a:defRPr>
            </a:lvl4pPr>
            <a:lvl5pPr marL="1443195" indent="-224309">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94F77B74-AD51-49C0-B276-14B89E140BE7}"/>
              </a:ext>
            </a:extLst>
          </p:cNvPr>
          <p:cNvSpPr>
            <a:spLocks noGrp="1"/>
          </p:cNvSpPr>
          <p:nvPr>
            <p:ph type="ftr" sz="quarter" idx="11"/>
          </p:nvPr>
        </p:nvSpPr>
        <p:spPr>
          <a:xfrm>
            <a:off x="533400" y="6365805"/>
            <a:ext cx="3568285" cy="123111"/>
          </a:xfrm>
        </p:spPr>
        <p:txBody>
          <a:bodyPr/>
          <a:lstStyle/>
          <a:p>
            <a:pPr>
              <a:defRPr/>
            </a:pPr>
            <a:r>
              <a:rPr lang="en-US" sz="800" spc="27" dirty="0">
                <a:solidFill>
                  <a:srgbClr val="FFFFFF">
                    <a:lumMod val="65000"/>
                  </a:srgbClr>
                </a:solidFill>
                <a:cs typeface="CiscoSans Thin"/>
              </a:rPr>
              <a:t>© 2020 Cisco and/or its affiliates. All rights reserved. Cisco Confidential</a:t>
            </a:r>
          </a:p>
        </p:txBody>
      </p:sp>
    </p:spTree>
    <p:extLst>
      <p:ext uri="{BB962C8B-B14F-4D97-AF65-F5344CB8AC3E}">
        <p14:creationId xmlns:p14="http://schemas.microsoft.com/office/powerpoint/2010/main" val="27623376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2" indent="-156625">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14" indent="-152392">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07" indent="-152392">
              <a:buClr>
                <a:schemeClr val="tx1"/>
              </a:buClr>
              <a:buSzPct val="60000"/>
              <a:buFont typeface="Arial"/>
              <a:buChar char="•"/>
              <a:defRPr sz="2133" b="0" i="0">
                <a:solidFill>
                  <a:schemeClr val="tx1"/>
                </a:solidFill>
                <a:latin typeface="+mn-lt"/>
                <a:cs typeface="CiscoSans ExtraLight"/>
              </a:defRPr>
            </a:lvl3pPr>
            <a:lvl4pPr marL="689999" indent="-152392">
              <a:buClr>
                <a:schemeClr val="tx1"/>
              </a:buClr>
              <a:buSzPct val="60000"/>
              <a:buFont typeface="Arial"/>
              <a:buChar char="•"/>
              <a:defRPr sz="1867" b="0" i="0">
                <a:solidFill>
                  <a:schemeClr val="tx1"/>
                </a:solidFill>
                <a:latin typeface="+mn-lt"/>
                <a:cs typeface="CiscoSans ExtraLight"/>
              </a:defRPr>
            </a:lvl4pPr>
            <a:lvl5pPr marL="842391" indent="-152392">
              <a:buClr>
                <a:schemeClr val="tx1"/>
              </a:buClr>
              <a:buSzPct val="60000"/>
              <a:buFont typeface="Arial"/>
              <a:buChar char="•"/>
              <a:defRPr sz="16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2" indent="-156625">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14" indent="-152392">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07" indent="-152392">
              <a:buClr>
                <a:schemeClr val="tx1"/>
              </a:buClr>
              <a:buSzPct val="60000"/>
              <a:buFont typeface="Arial"/>
              <a:buChar char="•"/>
              <a:defRPr sz="2133" b="0" i="0">
                <a:solidFill>
                  <a:schemeClr val="tx1"/>
                </a:solidFill>
                <a:latin typeface="+mn-lt"/>
                <a:cs typeface="CiscoSans ExtraLight"/>
              </a:defRPr>
            </a:lvl3pPr>
            <a:lvl4pPr marL="689999" indent="-152392">
              <a:buClr>
                <a:schemeClr val="tx1"/>
              </a:buClr>
              <a:buSzPct val="60000"/>
              <a:buFont typeface="Arial"/>
              <a:buChar char="•"/>
              <a:defRPr sz="1867" b="0" i="0">
                <a:solidFill>
                  <a:schemeClr val="tx1"/>
                </a:solidFill>
                <a:latin typeface="+mn-lt"/>
                <a:cs typeface="CiscoSans ExtraLight"/>
              </a:defRPr>
            </a:lvl4pPr>
            <a:lvl5pPr marL="842391" indent="-152392">
              <a:buClr>
                <a:schemeClr val="tx1"/>
              </a:buClr>
              <a:buSzPct val="60000"/>
              <a:buFont typeface="Arial"/>
              <a:buChar char="•"/>
              <a:defRPr sz="16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FE357A98-4CCE-4FBF-8812-E46653F70CA7}"/>
              </a:ext>
            </a:extLst>
          </p:cNvPr>
          <p:cNvSpPr>
            <a:spLocks noGrp="1"/>
          </p:cNvSpPr>
          <p:nvPr>
            <p:ph type="ftr" sz="quarter" idx="12"/>
          </p:nvPr>
        </p:nvSpPr>
        <p:spPr>
          <a:xfrm>
            <a:off x="533400" y="6365805"/>
            <a:ext cx="3568285" cy="123111"/>
          </a:xfrm>
        </p:spPr>
        <p:txBody>
          <a:bodyPr/>
          <a:lstStyle/>
          <a:p>
            <a:pPr>
              <a:defRPr/>
            </a:pPr>
            <a:r>
              <a:rPr lang="en-US" sz="800" spc="27" dirty="0">
                <a:solidFill>
                  <a:srgbClr val="FFFFFF">
                    <a:lumMod val="65000"/>
                  </a:srgbClr>
                </a:solidFill>
                <a:cs typeface="CiscoSans Thin"/>
              </a:rPr>
              <a:t>© 2020 Cisco and/or its affiliates. All rights reserved. Cisco Confidential</a:t>
            </a:r>
          </a:p>
        </p:txBody>
      </p:sp>
    </p:spTree>
    <p:extLst>
      <p:ext uri="{BB962C8B-B14F-4D97-AF65-F5344CB8AC3E}">
        <p14:creationId xmlns:p14="http://schemas.microsoft.com/office/powerpoint/2010/main" val="18045656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32B57C0-DC2A-4F12-A868-1B62BC4395F6}"/>
              </a:ext>
            </a:extLst>
          </p:cNvPr>
          <p:cNvSpPr>
            <a:spLocks noGrp="1"/>
          </p:cNvSpPr>
          <p:nvPr>
            <p:ph type="ftr" sz="quarter" idx="10"/>
          </p:nvPr>
        </p:nvSpPr>
        <p:spPr>
          <a:xfrm>
            <a:off x="533400" y="6365805"/>
            <a:ext cx="3568285" cy="123111"/>
          </a:xfrm>
        </p:spPr>
        <p:txBody>
          <a:bodyPr/>
          <a:lstStyle/>
          <a:p>
            <a:pPr>
              <a:defRPr/>
            </a:pPr>
            <a:r>
              <a:rPr lang="en-US" sz="800" spc="27" dirty="0">
                <a:solidFill>
                  <a:srgbClr val="FFFFFF">
                    <a:lumMod val="65000"/>
                  </a:srgbClr>
                </a:solidFill>
                <a:cs typeface="CiscoSans Thin"/>
              </a:rPr>
              <a:t>© 2020 Cisco and/or its affiliates. All rights reserved. Cisco Confidential</a:t>
            </a:r>
          </a:p>
        </p:txBody>
      </p:sp>
      <p:sp>
        <p:nvSpPr>
          <p:cNvPr id="4" name="Title 3">
            <a:extLst>
              <a:ext uri="{FF2B5EF4-FFF2-40B4-BE49-F238E27FC236}">
                <a16:creationId xmlns:a16="http://schemas.microsoft.com/office/drawing/2014/main" id="{313C144C-3A90-43DE-9A36-647D661ACDA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6221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3"/>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583691" y="5530963"/>
            <a:ext cx="9573749" cy="434977"/>
          </a:xfrm>
          <a:prstGeom prst="rect">
            <a:avLst/>
          </a:prstGeom>
        </p:spPr>
        <p:txBody>
          <a:bodyPr wrap="square" lIns="91420" tIns="45710" rIns="91420" bIns="45710" anchor="b" anchorCtr="0">
            <a:noAutofit/>
          </a:bodyPr>
          <a:lstStyle>
            <a:lvl1pPr algn="l" defTabSz="80472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DED42CA0-52CF-4340-8E73-37D0492411C3}"/>
              </a:ext>
            </a:extLst>
          </p:cNvPr>
          <p:cNvSpPr>
            <a:spLocks noGrp="1"/>
          </p:cNvSpPr>
          <p:nvPr>
            <p:ph type="ftr" sz="quarter" idx="13"/>
          </p:nvPr>
        </p:nvSpPr>
        <p:spPr>
          <a:xfrm>
            <a:off x="533400" y="6365805"/>
            <a:ext cx="3568285" cy="123111"/>
          </a:xfrm>
        </p:spPr>
        <p:txBody>
          <a:bodyPr/>
          <a:lstStyle/>
          <a:p>
            <a:pPr>
              <a:defRPr/>
            </a:pPr>
            <a:r>
              <a:rPr lang="en-US" sz="800" spc="27" dirty="0">
                <a:solidFill>
                  <a:srgbClr val="FFFFFF">
                    <a:lumMod val="65000"/>
                  </a:srgbClr>
                </a:solidFill>
                <a:cs typeface="CiscoSans Thin"/>
              </a:rPr>
              <a:t>© 2020 Cisco and/or its affiliates. All rights reserved. Cisco Confidential</a:t>
            </a:r>
          </a:p>
        </p:txBody>
      </p:sp>
    </p:spTree>
    <p:extLst>
      <p:ext uri="{BB962C8B-B14F-4D97-AF65-F5344CB8AC3E}">
        <p14:creationId xmlns:p14="http://schemas.microsoft.com/office/powerpoint/2010/main" val="36193536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9"/>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dirty="0"/>
              <a:t>Click icon to add chart</a:t>
            </a:r>
          </a:p>
        </p:txBody>
      </p:sp>
      <p:sp>
        <p:nvSpPr>
          <p:cNvPr id="7" name="Text Placeholder 9"/>
          <p:cNvSpPr>
            <a:spLocks noGrp="1"/>
          </p:cNvSpPr>
          <p:nvPr>
            <p:ph type="body" sz="quarter" idx="11"/>
          </p:nvPr>
        </p:nvSpPr>
        <p:spPr>
          <a:xfrm>
            <a:off x="583691" y="5530963"/>
            <a:ext cx="9573749" cy="434977"/>
          </a:xfrm>
          <a:prstGeom prst="rect">
            <a:avLst/>
          </a:prstGeom>
        </p:spPr>
        <p:txBody>
          <a:bodyPr wrap="square" lIns="91420" tIns="45710" rIns="91420" bIns="45710" anchor="b" anchorCtr="0">
            <a:noAutofit/>
          </a:bodyPr>
          <a:lstStyle>
            <a:lvl1pPr algn="l" defTabSz="80472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58714D72-2888-49D4-A1D4-27996961A0F8}"/>
              </a:ext>
            </a:extLst>
          </p:cNvPr>
          <p:cNvSpPr>
            <a:spLocks noGrp="1"/>
          </p:cNvSpPr>
          <p:nvPr>
            <p:ph type="ftr" sz="quarter" idx="12"/>
          </p:nvPr>
        </p:nvSpPr>
        <p:spPr>
          <a:xfrm>
            <a:off x="533400" y="6365805"/>
            <a:ext cx="3568285" cy="123111"/>
          </a:xfrm>
        </p:spPr>
        <p:txBody>
          <a:bodyPr/>
          <a:lstStyle/>
          <a:p>
            <a:pPr>
              <a:defRPr/>
            </a:pPr>
            <a:r>
              <a:rPr lang="en-US" sz="800" spc="27" dirty="0">
                <a:solidFill>
                  <a:srgbClr val="FFFFFF">
                    <a:lumMod val="65000"/>
                  </a:srgbClr>
                </a:solidFill>
                <a:cs typeface="CiscoSans Thin"/>
              </a:rPr>
              <a:t>© 2020 Cisco and/or its affiliates. All rights reserved. Cisco Confidential</a:t>
            </a:r>
          </a:p>
        </p:txBody>
      </p:sp>
    </p:spTree>
    <p:extLst>
      <p:ext uri="{BB962C8B-B14F-4D97-AF65-F5344CB8AC3E}">
        <p14:creationId xmlns:p14="http://schemas.microsoft.com/office/powerpoint/2010/main" val="31369657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3"/>
            <a:ext cx="11040076" cy="4098595"/>
          </a:xfrm>
          <a:prstGeom prst="rect">
            <a:avLst/>
          </a:prstGeom>
        </p:spPr>
        <p:txBody>
          <a:bodyPr lIns="91420" tIns="45710" rIns="91420" bIns="45710">
            <a:noAutofit/>
          </a:bodyPr>
          <a:lstStyle>
            <a:lvl1pPr marL="380901" marR="0" indent="-380901" algn="ctr" defTabSz="609443"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a:t>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6E4F79F4-4D8D-4391-82B5-21BB47DB8D49}"/>
              </a:ext>
            </a:extLst>
          </p:cNvPr>
          <p:cNvSpPr>
            <a:spLocks noGrp="1"/>
          </p:cNvSpPr>
          <p:nvPr>
            <p:ph type="ftr" sz="quarter" idx="10"/>
          </p:nvPr>
        </p:nvSpPr>
        <p:spPr>
          <a:xfrm>
            <a:off x="533400" y="6365805"/>
            <a:ext cx="3568285" cy="123111"/>
          </a:xfrm>
        </p:spPr>
        <p:txBody>
          <a:bodyPr/>
          <a:lstStyle/>
          <a:p>
            <a:pPr>
              <a:defRPr/>
            </a:pPr>
            <a:r>
              <a:rPr lang="en-US" sz="800" spc="27" dirty="0">
                <a:solidFill>
                  <a:srgbClr val="FFFFFF">
                    <a:lumMod val="65000"/>
                  </a:srgbClr>
                </a:solidFill>
                <a:cs typeface="CiscoSans Thin"/>
              </a:rPr>
              <a:t>© 2020 Cisco and/or its affiliates. All rights reserved. Cisco Confidential</a:t>
            </a:r>
          </a:p>
        </p:txBody>
      </p:sp>
    </p:spTree>
    <p:extLst>
      <p:ext uri="{BB962C8B-B14F-4D97-AF65-F5344CB8AC3E}">
        <p14:creationId xmlns:p14="http://schemas.microsoft.com/office/powerpoint/2010/main" val="3345995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5"/>
            <a:ext cx="4882699" cy="3901157"/>
          </a:xfrm>
          <a:prstGeom prst="rect">
            <a:avLst/>
          </a:prstGeom>
        </p:spPr>
        <p:txBody>
          <a:bodyPr lIns="91420" tIns="45710" rIns="91420" bIns="45710">
            <a:noAutofit/>
          </a:bodyPr>
          <a:lstStyle>
            <a:lvl1pPr marL="232822" indent="-156625">
              <a:lnSpc>
                <a:spcPct val="95000"/>
              </a:lnSpc>
              <a:spcBef>
                <a:spcPts val="1480"/>
              </a:spcBef>
              <a:buClr>
                <a:schemeClr val="tx2"/>
              </a:buClr>
              <a:buSzPct val="60000"/>
              <a:buFont typeface="Arial"/>
              <a:buChar char="•"/>
              <a:defRPr sz="2667" b="0" i="0">
                <a:solidFill>
                  <a:schemeClr val="bg1"/>
                </a:solidFill>
                <a:latin typeface="+mn-lt"/>
                <a:ea typeface="CiscoSansTT Thin" charset="0"/>
                <a:cs typeface="CiscoSansTT Thin" charset="0"/>
              </a:defRPr>
            </a:lvl1pPr>
            <a:lvl2pPr marL="385214" indent="-152392">
              <a:lnSpc>
                <a:spcPct val="95000"/>
              </a:lnSpc>
              <a:spcBef>
                <a:spcPts val="600"/>
              </a:spcBef>
              <a:buClr>
                <a:schemeClr val="tx2"/>
              </a:buClr>
              <a:buSzPct val="60000"/>
              <a:buFont typeface="Arial"/>
              <a:buChar char="•"/>
              <a:defRPr sz="2400" b="0" i="0">
                <a:solidFill>
                  <a:schemeClr val="bg1"/>
                </a:solidFill>
                <a:latin typeface="+mn-lt"/>
                <a:ea typeface="CiscoSansTT Thin" charset="0"/>
                <a:cs typeface="CiscoSansTT Thin" charset="0"/>
              </a:defRPr>
            </a:lvl2pPr>
            <a:lvl3pPr marL="537607" indent="-152392">
              <a:buClr>
                <a:schemeClr val="tx2"/>
              </a:buClr>
              <a:buSzPct val="60000"/>
              <a:buFont typeface="Arial"/>
              <a:buChar char="•"/>
              <a:defRPr sz="2133" b="0" i="0">
                <a:solidFill>
                  <a:schemeClr val="bg1"/>
                </a:solidFill>
                <a:latin typeface="+mn-lt"/>
                <a:ea typeface="CiscoSansTT Thin" charset="0"/>
                <a:cs typeface="CiscoSansTT Thin" charset="0"/>
              </a:defRPr>
            </a:lvl3pPr>
            <a:lvl4pPr marL="689999" indent="-152392">
              <a:buClr>
                <a:schemeClr val="tx2"/>
              </a:buClr>
              <a:buSzPct val="60000"/>
              <a:buFont typeface="Arial"/>
              <a:buChar char="•"/>
              <a:defRPr sz="1867" b="0" i="0">
                <a:solidFill>
                  <a:schemeClr val="bg1"/>
                </a:solidFill>
                <a:latin typeface="+mn-lt"/>
                <a:ea typeface="CiscoSansTT Thin" charset="0"/>
                <a:cs typeface="CiscoSansTT Thin" charset="0"/>
              </a:defRPr>
            </a:lvl4pPr>
            <a:lvl5pPr marL="842391" indent="-152392">
              <a:buClr>
                <a:schemeClr val="tx2"/>
              </a:buClr>
              <a:buSzPct val="60000"/>
              <a:buFont typeface="Arial"/>
              <a:buChar char="•"/>
              <a:defRPr sz="16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583690"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4267">
                <a:solidFill>
                  <a:schemeClr val="bg1"/>
                </a:solidFill>
              </a:defRPr>
            </a:lvl1pPr>
          </a:lstStyle>
          <a:p>
            <a:pPr lvl="0"/>
            <a:r>
              <a:rPr lang="en-US"/>
              <a:t>Click to edit Master title style</a:t>
            </a:r>
            <a:endParaRPr lang="en-GB"/>
          </a:p>
        </p:txBody>
      </p:sp>
      <p:sp>
        <p:nvSpPr>
          <p:cNvPr id="3" name="Footer Placeholder 2">
            <a:extLst>
              <a:ext uri="{FF2B5EF4-FFF2-40B4-BE49-F238E27FC236}">
                <a16:creationId xmlns:a16="http://schemas.microsoft.com/office/drawing/2014/main" id="{6097DDEE-9620-4617-B031-DB204774EE6F}"/>
              </a:ext>
            </a:extLst>
          </p:cNvPr>
          <p:cNvSpPr>
            <a:spLocks noGrp="1"/>
          </p:cNvSpPr>
          <p:nvPr>
            <p:ph type="ftr" sz="quarter" idx="11"/>
          </p:nvPr>
        </p:nvSpPr>
        <p:spPr>
          <a:xfrm>
            <a:off x="533400" y="6365805"/>
            <a:ext cx="3568285" cy="123111"/>
          </a:xfrm>
        </p:spPr>
        <p:txBody>
          <a:bodyPr/>
          <a:lstStyle>
            <a:lvl1pPr>
              <a:defRPr>
                <a:solidFill>
                  <a:schemeClr val="accent1">
                    <a:lumMod val="75000"/>
                  </a:schemeClr>
                </a:solidFill>
              </a:defRPr>
            </a:lvl1pPr>
          </a:lstStyle>
          <a:p>
            <a:pPr>
              <a:defRPr/>
            </a:pPr>
            <a:r>
              <a:rPr lang="en-US" sz="800" spc="27" dirty="0">
                <a:cs typeface="CiscoSans Thin"/>
              </a:rPr>
              <a:t>© 2020 Cisco and/or its affiliates. All rights reserved. Cisco Confidential</a:t>
            </a:r>
          </a:p>
        </p:txBody>
      </p:sp>
    </p:spTree>
    <p:extLst>
      <p:ext uri="{BB962C8B-B14F-4D97-AF65-F5344CB8AC3E}">
        <p14:creationId xmlns:p14="http://schemas.microsoft.com/office/powerpoint/2010/main" val="1948901334"/>
      </p:ext>
    </p:extLst>
  </p:cSld>
  <p:clrMapOvr>
    <a:masterClrMapping/>
  </p:clrMapOvr>
  <p:extLst>
    <p:ext uri="{DCECCB84-F9BA-43D5-87BE-67443E8EF086}">
      <p15:sldGuideLst xmlns:p15="http://schemas.microsoft.com/office/powerpoint/2012/main">
        <p15:guide id="2" pos="288" userDrawn="1">
          <p15:clr>
            <a:srgbClr val="FBAE40"/>
          </p15:clr>
        </p15:guide>
        <p15:guide id="3" pos="259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2" y="2209800"/>
            <a:ext cx="5103284" cy="24384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6796619" y="709083"/>
            <a:ext cx="4734983" cy="5412316"/>
          </a:xfrm>
          <a:prstGeom prst="rect">
            <a:avLst/>
          </a:prstGeom>
        </p:spPr>
        <p:txBody>
          <a:bodyPr lIns="0" rIns="0" anchor="ctr" anchorCtr="0"/>
          <a:lstStyle>
            <a:lvl1pPr marL="226473" indent="-226473">
              <a:lnSpc>
                <a:spcPct val="100000"/>
              </a:lnSpc>
              <a:buClr>
                <a:schemeClr val="tx1"/>
              </a:buClr>
              <a:buSzPct val="60000"/>
              <a:buFont typeface="Arial" panose="020B0604020202020204" pitchFamily="34" charset="0"/>
              <a:buChar char="•"/>
              <a:tabLst>
                <a:tab pos="304784" algn="l"/>
              </a:tabLst>
              <a:defRPr sz="3200"/>
            </a:lvl1pPr>
            <a:lvl2pPr marL="461411" indent="-228589">
              <a:lnSpc>
                <a:spcPct val="100000"/>
              </a:lnSpc>
              <a:buClr>
                <a:schemeClr val="tx1"/>
              </a:buClr>
              <a:buSzPct val="60000"/>
              <a:buFont typeface="Arial" panose="020B0604020202020204" pitchFamily="34" charset="0"/>
              <a:buChar char="•"/>
              <a:defRPr sz="3200"/>
            </a:lvl2pPr>
            <a:lvl3pPr marL="609570" indent="-156625">
              <a:lnSpc>
                <a:spcPct val="100000"/>
              </a:lnSpc>
              <a:buClr>
                <a:schemeClr val="tx1"/>
              </a:buClr>
              <a:buSzPct val="60000"/>
              <a:buFont typeface="Arial" panose="020B0604020202020204" pitchFamily="34" charset="0"/>
              <a:buChar char="•"/>
              <a:defRPr sz="2667"/>
            </a:lvl3pPr>
            <a:lvl4pPr marL="766196" indent="-156625">
              <a:lnSpc>
                <a:spcPct val="100000"/>
              </a:lnSpc>
              <a:buClr>
                <a:schemeClr val="tx1"/>
              </a:buClr>
              <a:buSzPct val="60000"/>
              <a:buFont typeface="Arial" panose="020B0604020202020204" pitchFamily="34" charset="0"/>
              <a:buChar char="•"/>
              <a:tabLst/>
              <a:defRPr sz="2400"/>
            </a:lvl4pPr>
            <a:lvl5pPr marL="992669" indent="-150276">
              <a:lnSpc>
                <a:spcPct val="100000"/>
              </a:lnSpc>
              <a:buClr>
                <a:schemeClr val="tx1"/>
              </a:buClr>
              <a:buSzPct val="6000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731FFA3F-4EA7-4250-90C7-B81DE432023D}"/>
              </a:ext>
            </a:extLst>
          </p:cNvPr>
          <p:cNvSpPr>
            <a:spLocks noGrp="1"/>
          </p:cNvSpPr>
          <p:nvPr>
            <p:ph type="ftr" sz="quarter" idx="11"/>
          </p:nvPr>
        </p:nvSpPr>
        <p:spPr>
          <a:xfrm>
            <a:off x="533400" y="6365805"/>
            <a:ext cx="3568285" cy="123111"/>
          </a:xfrm>
        </p:spPr>
        <p:txBody>
          <a:bodyPr/>
          <a:lstStyle>
            <a:lvl1pPr>
              <a:defRPr>
                <a:solidFill>
                  <a:schemeClr val="accent1">
                    <a:lumMod val="75000"/>
                  </a:schemeClr>
                </a:solidFill>
              </a:defRPr>
            </a:lvl1pPr>
          </a:lstStyle>
          <a:p>
            <a:pPr>
              <a:defRPr/>
            </a:pPr>
            <a:r>
              <a:rPr lang="en-US" sz="800" spc="27" dirty="0">
                <a:cs typeface="CiscoSans Thin"/>
              </a:rPr>
              <a:t>© 2020 Cisco and/or its affiliates. All rights reserved. Cisco Confidential</a:t>
            </a:r>
          </a:p>
        </p:txBody>
      </p:sp>
    </p:spTree>
    <p:extLst>
      <p:ext uri="{BB962C8B-B14F-4D97-AF65-F5344CB8AC3E}">
        <p14:creationId xmlns:p14="http://schemas.microsoft.com/office/powerpoint/2010/main" val="1462868794"/>
      </p:ext>
    </p:extLst>
  </p:cSld>
  <p:clrMapOvr>
    <a:masterClrMapping/>
  </p:clrMapOvr>
  <p:extLst>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6" userDrawn="1">
          <p15:clr>
            <a:srgbClr val="FBAE40"/>
          </p15:clr>
        </p15:guide>
        <p15:guide id="4" pos="267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90"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6796619" y="680720"/>
            <a:ext cx="4734983" cy="5440680"/>
          </a:xfrm>
          <a:prstGeom prst="rect">
            <a:avLst/>
          </a:prstGeom>
        </p:spPr>
        <p:txBody>
          <a:bodyPr lIns="0" rIns="0"/>
          <a:lstStyle>
            <a:lvl1pPr marL="152392" indent="-152392">
              <a:lnSpc>
                <a:spcPct val="100000"/>
              </a:lnSpc>
              <a:buClr>
                <a:schemeClr val="tx1"/>
              </a:buClr>
              <a:buSzPct val="60000"/>
              <a:defRPr sz="2667"/>
            </a:lvl1pPr>
            <a:lvl2pPr marL="304784" indent="-152392">
              <a:lnSpc>
                <a:spcPct val="100000"/>
              </a:lnSpc>
              <a:buClr>
                <a:schemeClr val="tx1"/>
              </a:buClr>
              <a:buSzPct val="60000"/>
              <a:defRPr sz="2667"/>
            </a:lvl2pPr>
            <a:lvl3pPr marL="457178" indent="-152392">
              <a:lnSpc>
                <a:spcPct val="100000"/>
              </a:lnSpc>
              <a:buClr>
                <a:schemeClr val="tx1"/>
              </a:buClr>
              <a:buSzPct val="60000"/>
              <a:defRPr sz="2400"/>
            </a:lvl3pPr>
            <a:lvl4pPr marL="609570" indent="-165092">
              <a:lnSpc>
                <a:spcPct val="100000"/>
              </a:lnSpc>
              <a:buClr>
                <a:schemeClr val="tx1"/>
              </a:buClr>
              <a:buSzPct val="60000"/>
              <a:defRPr sz="2133"/>
            </a:lvl4pPr>
            <a:lvl5pPr marL="766196" indent="-156625">
              <a:lnSpc>
                <a:spcPct val="100000"/>
              </a:lnSpc>
              <a:buClr>
                <a:schemeClr val="tx1"/>
              </a:buClr>
              <a:buSzPct val="60000"/>
              <a:defRPr sz="21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583690" y="2213125"/>
            <a:ext cx="5078396" cy="3908277"/>
          </a:xfrm>
          <a:prstGeom prst="rect">
            <a:avLst/>
          </a:prstGeom>
        </p:spPr>
        <p:txBody>
          <a:bodyPr/>
          <a:lstStyle>
            <a:lvl1pPr marL="152392" indent="-152392">
              <a:buClr>
                <a:schemeClr val="tx2"/>
              </a:buClr>
              <a:buSzPct val="60000"/>
              <a:defRPr lang="en-US" sz="2667" kern="1200" dirty="0" smtClean="0">
                <a:solidFill>
                  <a:schemeClr val="bg1"/>
                </a:solidFill>
                <a:latin typeface="+mn-lt"/>
                <a:ea typeface="ＭＳ Ｐゴシック" charset="0"/>
                <a:cs typeface="CiscoSans"/>
              </a:defRPr>
            </a:lvl1pPr>
            <a:lvl2pPr marL="304784" indent="-152392">
              <a:buClr>
                <a:schemeClr val="tx2"/>
              </a:buClr>
              <a:buSzPct val="60000"/>
              <a:defRPr sz="2667">
                <a:solidFill>
                  <a:schemeClr val="bg1"/>
                </a:solidFill>
              </a:defRPr>
            </a:lvl2pPr>
            <a:lvl3pPr marL="457178" indent="-152392">
              <a:buClr>
                <a:schemeClr val="tx2"/>
              </a:buClr>
              <a:buSzPct val="60000"/>
              <a:defRPr sz="2400">
                <a:solidFill>
                  <a:schemeClr val="bg1"/>
                </a:solidFill>
              </a:defRPr>
            </a:lvl3pPr>
            <a:lvl4pPr marL="609570" indent="-165092">
              <a:buClr>
                <a:schemeClr val="tx2"/>
              </a:buClr>
              <a:buSzPct val="60000"/>
              <a:defRPr sz="2133">
                <a:solidFill>
                  <a:schemeClr val="bg1"/>
                </a:solidFill>
              </a:defRPr>
            </a:lvl4pPr>
            <a:lvl5pPr marL="766196" indent="-156625">
              <a:buClr>
                <a:schemeClr val="tx2"/>
              </a:buClr>
              <a:buSzPct val="60000"/>
              <a:defRPr sz="2133">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6200BB06-6AC6-4364-8D66-58A3F47E9625}"/>
              </a:ext>
            </a:extLst>
          </p:cNvPr>
          <p:cNvSpPr>
            <a:spLocks noGrp="1"/>
          </p:cNvSpPr>
          <p:nvPr>
            <p:ph type="ftr" sz="quarter" idx="12"/>
          </p:nvPr>
        </p:nvSpPr>
        <p:spPr>
          <a:xfrm>
            <a:off x="533400" y="6365805"/>
            <a:ext cx="3568285" cy="123111"/>
          </a:xfrm>
        </p:spPr>
        <p:txBody>
          <a:bodyPr/>
          <a:lstStyle>
            <a:lvl1pPr>
              <a:defRPr>
                <a:solidFill>
                  <a:schemeClr val="accent1">
                    <a:lumMod val="75000"/>
                  </a:schemeClr>
                </a:solidFill>
              </a:defRPr>
            </a:lvl1pPr>
          </a:lstStyle>
          <a:p>
            <a:pPr>
              <a:defRPr/>
            </a:pPr>
            <a:r>
              <a:rPr lang="en-US" sz="800" spc="27" dirty="0">
                <a:cs typeface="CiscoSans Thin"/>
              </a:rPr>
              <a:t>© 2020 Cisco and/or its affiliates. All rights reserved. Cisco Confidential</a:t>
            </a:r>
          </a:p>
        </p:txBody>
      </p:sp>
    </p:spTree>
    <p:extLst>
      <p:ext uri="{BB962C8B-B14F-4D97-AF65-F5344CB8AC3E}">
        <p14:creationId xmlns:p14="http://schemas.microsoft.com/office/powerpoint/2010/main" val="1333307716"/>
      </p:ext>
    </p:extLst>
  </p:cSld>
  <p:clrMapOvr>
    <a:masterClrMapping/>
  </p:clrMapOvr>
  <p:extLst>
    <p:ext uri="{DCECCB84-F9BA-43D5-87BE-67443E8EF086}">
      <p15:sldGuideLst xmlns:p15="http://schemas.microsoft.com/office/powerpoint/2012/main">
        <p15:guide id="4" pos="2675"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7"/>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000" b="0" i="0" spc="0" baseline="0">
                <a:solidFill>
                  <a:srgbClr val="0D274D"/>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5587260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90" y="2212977"/>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6786035" y="709086"/>
            <a:ext cx="4745567" cy="4486461"/>
          </a:xfrm>
          <a:prstGeom prst="rect">
            <a:avLst/>
          </a:prstGeom>
        </p:spPr>
        <p:txBody>
          <a:bodyPr anchor="ctr" anchorCtr="0"/>
          <a:lstStyle>
            <a:lvl1pPr marL="0" indent="0" algn="ctr">
              <a:buNone/>
              <a:defRPr/>
            </a:lvl1pPr>
          </a:lstStyle>
          <a:p>
            <a:r>
              <a:rPr lang="en-US" dirty="0"/>
              <a:t>Click icon to add picture</a:t>
            </a:r>
          </a:p>
        </p:txBody>
      </p:sp>
      <p:sp>
        <p:nvSpPr>
          <p:cNvPr id="9" name="Text Placeholder 8"/>
          <p:cNvSpPr>
            <a:spLocks noGrp="1"/>
          </p:cNvSpPr>
          <p:nvPr>
            <p:ph type="body" sz="quarter" idx="11"/>
          </p:nvPr>
        </p:nvSpPr>
        <p:spPr>
          <a:xfrm>
            <a:off x="6786035" y="5416470"/>
            <a:ext cx="4745567" cy="700193"/>
          </a:xfrm>
          <a:prstGeom prst="rect">
            <a:avLst/>
          </a:prstGeom>
        </p:spPr>
        <p:txBody>
          <a:bodyPr lIns="0" tIns="0" rIns="0" bIns="0"/>
          <a:lstStyle>
            <a:lvl1pPr marL="0" indent="0">
              <a:buNone/>
              <a:defRPr sz="1867"/>
            </a:lvl1pPr>
          </a:lstStyle>
          <a:p>
            <a:pPr lvl="0"/>
            <a:r>
              <a:rPr lang="en-US"/>
              <a:t>Edit Master text styles</a:t>
            </a:r>
          </a:p>
        </p:txBody>
      </p:sp>
      <p:sp>
        <p:nvSpPr>
          <p:cNvPr id="2" name="Footer Placeholder 1">
            <a:extLst>
              <a:ext uri="{FF2B5EF4-FFF2-40B4-BE49-F238E27FC236}">
                <a16:creationId xmlns:a16="http://schemas.microsoft.com/office/drawing/2014/main" id="{B6B616C0-5F13-4D17-A9CC-FDDCE3FFB641}"/>
              </a:ext>
            </a:extLst>
          </p:cNvPr>
          <p:cNvSpPr>
            <a:spLocks noGrp="1"/>
          </p:cNvSpPr>
          <p:nvPr>
            <p:ph type="ftr" sz="quarter" idx="12"/>
          </p:nvPr>
        </p:nvSpPr>
        <p:spPr>
          <a:xfrm>
            <a:off x="533400" y="6365805"/>
            <a:ext cx="3568285" cy="123111"/>
          </a:xfrm>
        </p:spPr>
        <p:txBody>
          <a:bodyPr/>
          <a:lstStyle>
            <a:lvl1pPr>
              <a:defRPr>
                <a:solidFill>
                  <a:schemeClr val="accent1">
                    <a:lumMod val="75000"/>
                  </a:schemeClr>
                </a:solidFill>
              </a:defRPr>
            </a:lvl1pPr>
          </a:lstStyle>
          <a:p>
            <a:pPr>
              <a:defRPr/>
            </a:pPr>
            <a:r>
              <a:rPr lang="en-US" sz="800" spc="27" dirty="0">
                <a:cs typeface="CiscoSans Thin"/>
              </a:rPr>
              <a:t>© 2020 Cisco and/or its affiliates. All rights reserved. Cisco Confidential</a:t>
            </a:r>
          </a:p>
        </p:txBody>
      </p:sp>
    </p:spTree>
    <p:extLst>
      <p:ext uri="{BB962C8B-B14F-4D97-AF65-F5344CB8AC3E}">
        <p14:creationId xmlns:p14="http://schemas.microsoft.com/office/powerpoint/2010/main" val="2293287625"/>
      </p:ext>
    </p:extLst>
  </p:cSld>
  <p:clrMapOvr>
    <a:masterClrMapping/>
  </p:clrMapOvr>
  <p:extLst>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3" userDrawn="1">
          <p15:clr>
            <a:srgbClr val="FBAE40"/>
          </p15:clr>
        </p15:guide>
        <p15:guide id="4" pos="2675" userDrawn="1">
          <p15:clr>
            <a:srgbClr val="FBAE40"/>
          </p15:clr>
        </p15:guide>
        <p15:guide id="7" pos="320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90" y="2212977"/>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6786035" y="709086"/>
            <a:ext cx="4745567" cy="5412315"/>
          </a:xfrm>
          <a:prstGeom prst="rect">
            <a:avLst/>
          </a:prstGeom>
        </p:spPr>
        <p:txBody>
          <a:bodyPr anchor="ctr" anchorCtr="0"/>
          <a:lstStyle>
            <a:lvl1pPr marL="0" indent="0" algn="ctr">
              <a:buNone/>
              <a:defRPr/>
            </a:lvl1pPr>
          </a:lstStyle>
          <a:p>
            <a:r>
              <a:rPr lang="en-US" dirty="0"/>
              <a:t>Click icon to add picture</a:t>
            </a:r>
          </a:p>
        </p:txBody>
      </p:sp>
      <p:sp>
        <p:nvSpPr>
          <p:cNvPr id="2" name="Footer Placeholder 1">
            <a:extLst>
              <a:ext uri="{FF2B5EF4-FFF2-40B4-BE49-F238E27FC236}">
                <a16:creationId xmlns:a16="http://schemas.microsoft.com/office/drawing/2014/main" id="{0BF548A4-D401-4A88-8D71-3D86F4BDC8E9}"/>
              </a:ext>
            </a:extLst>
          </p:cNvPr>
          <p:cNvSpPr>
            <a:spLocks noGrp="1"/>
          </p:cNvSpPr>
          <p:nvPr>
            <p:ph type="ftr" sz="quarter" idx="11"/>
          </p:nvPr>
        </p:nvSpPr>
        <p:spPr>
          <a:xfrm>
            <a:off x="533400" y="6365805"/>
            <a:ext cx="3568285" cy="123111"/>
          </a:xfrm>
        </p:spPr>
        <p:txBody>
          <a:bodyPr/>
          <a:lstStyle>
            <a:lvl1pPr>
              <a:defRPr>
                <a:solidFill>
                  <a:schemeClr val="accent1">
                    <a:lumMod val="75000"/>
                  </a:schemeClr>
                </a:solidFill>
              </a:defRPr>
            </a:lvl1pPr>
          </a:lstStyle>
          <a:p>
            <a:pPr>
              <a:defRPr/>
            </a:pPr>
            <a:r>
              <a:rPr lang="en-US" sz="800" spc="27" dirty="0">
                <a:cs typeface="CiscoSans Thin"/>
              </a:rPr>
              <a:t>© 2020 Cisco and/or its affiliates. All rights reserved. Cisco Confidential</a:t>
            </a:r>
          </a:p>
        </p:txBody>
      </p:sp>
    </p:spTree>
    <p:extLst>
      <p:ext uri="{BB962C8B-B14F-4D97-AF65-F5344CB8AC3E}">
        <p14:creationId xmlns:p14="http://schemas.microsoft.com/office/powerpoint/2010/main" val="4246874834"/>
      </p:ext>
    </p:extLst>
  </p:cSld>
  <p:clrMapOvr>
    <a:masterClrMapping/>
  </p:clrMapOvr>
  <p:extLst>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3" userDrawn="1">
          <p15:clr>
            <a:srgbClr val="FBAE40"/>
          </p15:clr>
        </p15:guide>
        <p15:guide id="4" pos="2675" userDrawn="1">
          <p15:clr>
            <a:srgbClr val="FBAE40"/>
          </p15:clr>
        </p15:guide>
        <p15:guide id="7" pos="320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90" y="2212977"/>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527ED3FE-6B56-4BB1-B685-53DA83033CA7}"/>
              </a:ext>
            </a:extLst>
          </p:cNvPr>
          <p:cNvSpPr>
            <a:spLocks noGrp="1"/>
          </p:cNvSpPr>
          <p:nvPr>
            <p:ph type="ftr" sz="quarter" idx="10"/>
          </p:nvPr>
        </p:nvSpPr>
        <p:spPr>
          <a:xfrm>
            <a:off x="533400" y="6365805"/>
            <a:ext cx="3568285" cy="123111"/>
          </a:xfrm>
        </p:spPr>
        <p:txBody>
          <a:bodyPr/>
          <a:lstStyle>
            <a:lvl1pPr>
              <a:defRPr>
                <a:solidFill>
                  <a:schemeClr val="accent1">
                    <a:lumMod val="75000"/>
                  </a:schemeClr>
                </a:solidFill>
              </a:defRPr>
            </a:lvl1pPr>
          </a:lstStyle>
          <a:p>
            <a:pPr>
              <a:defRPr/>
            </a:pPr>
            <a:r>
              <a:rPr lang="en-US" sz="800" spc="27" dirty="0">
                <a:cs typeface="CiscoSans Thin"/>
              </a:rPr>
              <a:t>© 2020 Cisco and/or its affiliates. All rights reserved. Cisco Confidential</a:t>
            </a:r>
          </a:p>
        </p:txBody>
      </p:sp>
    </p:spTree>
    <p:extLst>
      <p:ext uri="{BB962C8B-B14F-4D97-AF65-F5344CB8AC3E}">
        <p14:creationId xmlns:p14="http://schemas.microsoft.com/office/powerpoint/2010/main" val="2249296374"/>
      </p:ext>
    </p:extLst>
  </p:cSld>
  <p:clrMapOvr>
    <a:masterClrMapping/>
  </p:clrMapOvr>
  <p:extLst>
    <p:ext uri="{DCECCB84-F9BA-43D5-87BE-67443E8EF086}">
      <p15:sldGuideLst xmlns:p15="http://schemas.microsoft.com/office/powerpoint/2012/main">
        <p15:guide id="1" orient="horz" pos="1044" userDrawn="1">
          <p15:clr>
            <a:srgbClr val="FBAE40"/>
          </p15:clr>
        </p15:guide>
        <p15:guide id="3" orient="horz" pos="2193" userDrawn="1">
          <p15:clr>
            <a:srgbClr val="FBAE40"/>
          </p15:clr>
        </p15:guide>
        <p15:guide id="4" pos="2675" userDrawn="1">
          <p15:clr>
            <a:srgbClr val="FBAE40"/>
          </p15:clr>
        </p15:guide>
        <p15:guide id="7" pos="320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90" y="2212977"/>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6106792" y="0"/>
            <a:ext cx="6085209" cy="6858000"/>
          </a:xfrm>
          <a:prstGeom prst="rect">
            <a:avLst/>
          </a:prstGeom>
        </p:spPr>
        <p:txBody>
          <a:bodyPr anchor="ctr" anchorCtr="0"/>
          <a:lstStyle>
            <a:lvl1pPr marL="0" indent="0" algn="ctr">
              <a:buNone/>
              <a:defRPr/>
            </a:lvl1pPr>
          </a:lstStyle>
          <a:p>
            <a:r>
              <a:rPr lang="en-US" dirty="0"/>
              <a:t>Click icon to add picture</a:t>
            </a:r>
          </a:p>
        </p:txBody>
      </p:sp>
      <p:sp>
        <p:nvSpPr>
          <p:cNvPr id="2" name="Footer Placeholder 1">
            <a:extLst>
              <a:ext uri="{FF2B5EF4-FFF2-40B4-BE49-F238E27FC236}">
                <a16:creationId xmlns:a16="http://schemas.microsoft.com/office/drawing/2014/main" id="{EC2256C1-1088-4BF1-9F35-7892DC0A2266}"/>
              </a:ext>
            </a:extLst>
          </p:cNvPr>
          <p:cNvSpPr>
            <a:spLocks noGrp="1"/>
          </p:cNvSpPr>
          <p:nvPr>
            <p:ph type="ftr" sz="quarter" idx="11"/>
          </p:nvPr>
        </p:nvSpPr>
        <p:spPr>
          <a:xfrm>
            <a:off x="533400" y="6365805"/>
            <a:ext cx="3568285" cy="123111"/>
          </a:xfrm>
        </p:spPr>
        <p:txBody>
          <a:bodyPr/>
          <a:lstStyle>
            <a:lvl1pPr>
              <a:defRPr>
                <a:solidFill>
                  <a:schemeClr val="accent1">
                    <a:lumMod val="75000"/>
                  </a:schemeClr>
                </a:solidFill>
              </a:defRPr>
            </a:lvl1pPr>
          </a:lstStyle>
          <a:p>
            <a:pPr>
              <a:defRPr/>
            </a:pPr>
            <a:r>
              <a:rPr lang="en-US" sz="800" spc="27" dirty="0">
                <a:cs typeface="CiscoSans Thin"/>
              </a:rPr>
              <a:t>© 2020 Cisco and/or its affiliates. All rights reserved. Cisco Confidential</a:t>
            </a:r>
          </a:p>
        </p:txBody>
      </p:sp>
    </p:spTree>
    <p:extLst>
      <p:ext uri="{BB962C8B-B14F-4D97-AF65-F5344CB8AC3E}">
        <p14:creationId xmlns:p14="http://schemas.microsoft.com/office/powerpoint/2010/main" val="2959631465"/>
      </p:ext>
    </p:extLst>
  </p:cSld>
  <p:clrMapOvr>
    <a:masterClrMapping/>
  </p:clrMapOvr>
  <p:extLst>
    <p:ext uri="{DCECCB84-F9BA-43D5-87BE-67443E8EF086}">
      <p15:sldGuideLst xmlns:p15="http://schemas.microsoft.com/office/powerpoint/2012/main">
        <p15:guide id="1" orient="horz" pos="1044" userDrawn="1">
          <p15:clr>
            <a:srgbClr val="FBAE40"/>
          </p15:clr>
        </p15:guide>
        <p15:guide id="3" orient="horz" pos="2193" userDrawn="1">
          <p15:clr>
            <a:srgbClr val="FBAE40"/>
          </p15:clr>
        </p15:guide>
        <p15:guide id="4" pos="2675" userDrawn="1">
          <p15:clr>
            <a:srgbClr val="FBAE40"/>
          </p15:clr>
        </p15:guide>
        <p15:guide id="7" pos="3207"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90" y="2212977"/>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6786035" y="670984"/>
            <a:ext cx="4745567" cy="5450416"/>
          </a:xfrm>
          <a:prstGeom prst="rect">
            <a:avLst/>
          </a:prstGeom>
        </p:spPr>
        <p:txBody>
          <a:bodyPr anchor="ctr" anchorCtr="0"/>
          <a:lstStyle>
            <a:lvl1pPr marL="0" indent="0" algn="ctr">
              <a:buNone/>
              <a:defRPr/>
            </a:lvl1pPr>
          </a:lstStyle>
          <a:p>
            <a:r>
              <a:rPr lang="en-US" dirty="0"/>
              <a:t>Click icon to add chart</a:t>
            </a:r>
          </a:p>
        </p:txBody>
      </p:sp>
      <p:sp>
        <p:nvSpPr>
          <p:cNvPr id="2" name="Footer Placeholder 1">
            <a:extLst>
              <a:ext uri="{FF2B5EF4-FFF2-40B4-BE49-F238E27FC236}">
                <a16:creationId xmlns:a16="http://schemas.microsoft.com/office/drawing/2014/main" id="{45277B53-227D-4A3F-A03A-074F288090C1}"/>
              </a:ext>
            </a:extLst>
          </p:cNvPr>
          <p:cNvSpPr>
            <a:spLocks noGrp="1"/>
          </p:cNvSpPr>
          <p:nvPr>
            <p:ph type="ftr" sz="quarter" idx="11"/>
          </p:nvPr>
        </p:nvSpPr>
        <p:spPr>
          <a:xfrm>
            <a:off x="533400" y="6365805"/>
            <a:ext cx="3568285" cy="123111"/>
          </a:xfrm>
        </p:spPr>
        <p:txBody>
          <a:bodyPr/>
          <a:lstStyle>
            <a:lvl1pPr>
              <a:defRPr>
                <a:solidFill>
                  <a:schemeClr val="accent1">
                    <a:lumMod val="75000"/>
                  </a:schemeClr>
                </a:solidFill>
              </a:defRPr>
            </a:lvl1pPr>
          </a:lstStyle>
          <a:p>
            <a:pPr>
              <a:defRPr/>
            </a:pPr>
            <a:r>
              <a:rPr lang="en-US" sz="800" spc="27" dirty="0">
                <a:cs typeface="CiscoSans Thin"/>
              </a:rPr>
              <a:t>© 2020 Cisco and/or its affiliates. All rights reserved. Cisco Confidential</a:t>
            </a:r>
          </a:p>
        </p:txBody>
      </p:sp>
    </p:spTree>
    <p:extLst>
      <p:ext uri="{BB962C8B-B14F-4D97-AF65-F5344CB8AC3E}">
        <p14:creationId xmlns:p14="http://schemas.microsoft.com/office/powerpoint/2010/main" val="1017538805"/>
      </p:ext>
    </p:extLst>
  </p:cSld>
  <p:clrMapOvr>
    <a:masterClrMapping/>
  </p:clrMapOvr>
  <p:extLst>
    <p:ext uri="{DCECCB84-F9BA-43D5-87BE-67443E8EF086}">
      <p15:sldGuideLst xmlns:p15="http://schemas.microsoft.com/office/powerpoint/2012/main">
        <p15:guide id="3" orient="horz" pos="2196" userDrawn="1">
          <p15:clr>
            <a:srgbClr val="FBAE40"/>
          </p15:clr>
        </p15:guide>
        <p15:guide id="4" pos="2675" userDrawn="1">
          <p15:clr>
            <a:srgbClr val="FBAE40"/>
          </p15:clr>
        </p15:guide>
        <p15:guide id="7" pos="3207"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90" y="2212977"/>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39"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6786035" y="670984"/>
            <a:ext cx="4745567" cy="5450416"/>
          </a:xfrm>
          <a:prstGeom prst="rect">
            <a:avLst/>
          </a:prstGeom>
        </p:spPr>
        <p:txBody>
          <a:bodyPr anchor="ctr" anchorCtr="0"/>
          <a:lstStyle>
            <a:lvl1pPr marL="0" indent="0" algn="ctr">
              <a:buNone/>
              <a:defRPr/>
            </a:lvl1pPr>
          </a:lstStyle>
          <a:p>
            <a:r>
              <a:rPr lang="en-US" dirty="0"/>
              <a:t>Click icon to add table</a:t>
            </a:r>
          </a:p>
        </p:txBody>
      </p:sp>
      <p:sp>
        <p:nvSpPr>
          <p:cNvPr id="2" name="Footer Placeholder 1">
            <a:extLst>
              <a:ext uri="{FF2B5EF4-FFF2-40B4-BE49-F238E27FC236}">
                <a16:creationId xmlns:a16="http://schemas.microsoft.com/office/drawing/2014/main" id="{871FF866-9C4D-418C-B685-2006049353C3}"/>
              </a:ext>
            </a:extLst>
          </p:cNvPr>
          <p:cNvSpPr>
            <a:spLocks noGrp="1"/>
          </p:cNvSpPr>
          <p:nvPr>
            <p:ph type="ftr" sz="quarter" idx="11"/>
          </p:nvPr>
        </p:nvSpPr>
        <p:spPr>
          <a:xfrm>
            <a:off x="533400" y="6365805"/>
            <a:ext cx="3568285" cy="123111"/>
          </a:xfrm>
        </p:spPr>
        <p:txBody>
          <a:bodyPr/>
          <a:lstStyle>
            <a:lvl1pPr>
              <a:defRPr>
                <a:solidFill>
                  <a:schemeClr val="accent1">
                    <a:lumMod val="75000"/>
                  </a:schemeClr>
                </a:solidFill>
              </a:defRPr>
            </a:lvl1pPr>
          </a:lstStyle>
          <a:p>
            <a:pPr>
              <a:defRPr/>
            </a:pPr>
            <a:r>
              <a:rPr lang="en-US" sz="800" spc="27" dirty="0">
                <a:cs typeface="CiscoSans Thin"/>
              </a:rPr>
              <a:t>© 2020 Cisco and/or its affiliates. All rights reserved. Cisco Confidential</a:t>
            </a:r>
          </a:p>
        </p:txBody>
      </p:sp>
    </p:spTree>
    <p:extLst>
      <p:ext uri="{BB962C8B-B14F-4D97-AF65-F5344CB8AC3E}">
        <p14:creationId xmlns:p14="http://schemas.microsoft.com/office/powerpoint/2010/main" val="1855249931"/>
      </p:ext>
    </p:extLst>
  </p:cSld>
  <p:clrMapOvr>
    <a:masterClrMapping/>
  </p:clrMapOvr>
  <p:extLst>
    <p:ext uri="{DCECCB84-F9BA-43D5-87BE-67443E8EF086}">
      <p15:sldGuideLst xmlns:p15="http://schemas.microsoft.com/office/powerpoint/2012/main">
        <p15:guide id="1" orient="horz" pos="1044" userDrawn="1">
          <p15:clr>
            <a:srgbClr val="FBAE40"/>
          </p15:clr>
        </p15:guide>
        <p15:guide id="3" orient="horz" pos="2196" userDrawn="1">
          <p15:clr>
            <a:srgbClr val="FBAE40"/>
          </p15:clr>
        </p15:guide>
        <p15:guide id="4" pos="2675" userDrawn="1">
          <p15:clr>
            <a:srgbClr val="FBAE40"/>
          </p15:clr>
        </p15:guide>
        <p15:guide id="7" pos="3207"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p:nvSpPr>
        <p:spPr bwMode="auto">
          <a:xfrm>
            <a:off x="5017327" y="2838771"/>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rgbClr val="1E447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solidFill>
                <a:schemeClr val="bg1"/>
              </a:solidFill>
            </a:endParaRPr>
          </a:p>
        </p:txBody>
      </p:sp>
    </p:spTree>
    <p:extLst>
      <p:ext uri="{BB962C8B-B14F-4D97-AF65-F5344CB8AC3E}">
        <p14:creationId xmlns:p14="http://schemas.microsoft.com/office/powerpoint/2010/main" val="2934274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6B4E8F-AF2D-4013-AA14-04971FB4EA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6DBAEBB-21C9-4724-9BD9-CCEB0BFAA0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8E458AF-DB97-454B-BE07-77563E045224}"/>
              </a:ext>
            </a:extLst>
          </p:cNvPr>
          <p:cNvSpPr>
            <a:spLocks noGrp="1"/>
          </p:cNvSpPr>
          <p:nvPr>
            <p:ph type="ftr" sz="quarter" idx="10"/>
          </p:nvPr>
        </p:nvSpPr>
        <p:spPr>
          <a:xfrm>
            <a:off x="533400" y="6365805"/>
            <a:ext cx="3568285" cy="123111"/>
          </a:xfrm>
        </p:spPr>
        <p:txBody>
          <a:bodyPr/>
          <a:lstStyle/>
          <a:p>
            <a:pPr>
              <a:defRPr/>
            </a:pPr>
            <a:r>
              <a:rPr lang="en-US" sz="800" spc="27" dirty="0">
                <a:solidFill>
                  <a:srgbClr val="FFFFFF">
                    <a:lumMod val="65000"/>
                  </a:srgbClr>
                </a:solidFill>
                <a:cs typeface="CiscoSans Thin"/>
              </a:rPr>
              <a:t>© 2020 Cisco and/or its affiliates. All rights reserved. Cisco Confidential</a:t>
            </a:r>
          </a:p>
        </p:txBody>
      </p:sp>
    </p:spTree>
    <p:extLst>
      <p:ext uri="{BB962C8B-B14F-4D97-AF65-F5344CB8AC3E}">
        <p14:creationId xmlns:p14="http://schemas.microsoft.com/office/powerpoint/2010/main" val="27759293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7" y="5142317"/>
            <a:ext cx="11061895" cy="384175"/>
          </a:xfrm>
          <a:prstGeom prst="rect">
            <a:avLst/>
          </a:prstGeom>
        </p:spPr>
        <p:txBody>
          <a:bodyPr lIns="91420" tIns="45710" rIns="91420" bIns="45710" anchor="b" anchorCtr="0">
            <a:noAutofit/>
          </a:bodyPr>
          <a:lstStyle>
            <a:lvl1pPr marL="0" indent="0" algn="l">
              <a:buNone/>
              <a:defRPr sz="2400" b="0" i="0">
                <a:solidFill>
                  <a:schemeClr val="bg1"/>
                </a:solidFill>
                <a:latin typeface="+mn-lt"/>
                <a:cs typeface="CiscoSansTT ExtraLight"/>
              </a:defRPr>
            </a:lvl1pPr>
            <a:lvl2pPr marL="457119" indent="0" algn="ctr">
              <a:buNone/>
              <a:defRPr>
                <a:solidFill>
                  <a:schemeClr val="tx1">
                    <a:tint val="75000"/>
                  </a:schemeClr>
                </a:solidFill>
              </a:defRPr>
            </a:lvl2pPr>
            <a:lvl3pPr marL="914248" indent="0" algn="ctr">
              <a:buNone/>
              <a:defRPr>
                <a:solidFill>
                  <a:schemeClr val="tx1">
                    <a:tint val="75000"/>
                  </a:schemeClr>
                </a:solidFill>
              </a:defRPr>
            </a:lvl3pPr>
            <a:lvl4pPr marL="1371370" indent="0" algn="ctr">
              <a:buNone/>
              <a:defRPr>
                <a:solidFill>
                  <a:schemeClr val="tx1">
                    <a:tint val="75000"/>
                  </a:schemeClr>
                </a:solidFill>
              </a:defRPr>
            </a:lvl4pPr>
            <a:lvl5pPr marL="1828497" indent="0" algn="ctr">
              <a:buNone/>
              <a:defRPr>
                <a:solidFill>
                  <a:schemeClr val="tx1">
                    <a:tint val="75000"/>
                  </a:schemeClr>
                </a:solidFill>
              </a:defRPr>
            </a:lvl5pPr>
            <a:lvl6pPr marL="2285615" indent="0" algn="ctr">
              <a:buNone/>
              <a:defRPr>
                <a:solidFill>
                  <a:schemeClr val="tx1">
                    <a:tint val="75000"/>
                  </a:schemeClr>
                </a:solidFill>
              </a:defRPr>
            </a:lvl6pPr>
            <a:lvl7pPr marL="2742745" indent="0" algn="ctr">
              <a:buNone/>
              <a:defRPr>
                <a:solidFill>
                  <a:schemeClr val="tx1">
                    <a:tint val="75000"/>
                  </a:schemeClr>
                </a:solidFill>
              </a:defRPr>
            </a:lvl7pPr>
            <a:lvl8pPr marL="3199867" indent="0" algn="ctr">
              <a:buNone/>
              <a:defRPr>
                <a:solidFill>
                  <a:schemeClr val="tx1">
                    <a:tint val="75000"/>
                  </a:schemeClr>
                </a:solidFill>
              </a:defRPr>
            </a:lvl8pPr>
            <a:lvl9pPr marL="365699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625997" y="5430227"/>
            <a:ext cx="11061895" cy="384175"/>
          </a:xfrm>
          <a:prstGeom prst="rect">
            <a:avLst/>
          </a:prstGeom>
        </p:spPr>
        <p:txBody>
          <a:bodyPr lIns="91420" tIns="45710" rIns="91420" bIns="45710"/>
          <a:lstStyle>
            <a:lvl1pPr marL="0" indent="0" algn="l">
              <a:buFontTx/>
              <a:buNone/>
              <a:defRPr lang="en-US" sz="2400"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625997" y="5798351"/>
            <a:ext cx="11061895" cy="384175"/>
          </a:xfrm>
          <a:prstGeom prst="rect">
            <a:avLst/>
          </a:prstGeom>
        </p:spPr>
        <p:txBody>
          <a:bodyPr lIns="91420" tIns="45710" rIns="91420" bIns="45710"/>
          <a:lstStyle>
            <a:lvl1pPr marL="0" indent="0" algn="l">
              <a:buFontTx/>
              <a:buNone/>
              <a:defRPr lang="en-US" sz="2400"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617725" y="4058206"/>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solidFill>
                <a:latin typeface="+mj-lt"/>
                <a:cs typeface="CiscoSansTT ExtraLight"/>
              </a:defRPr>
            </a:lvl1pPr>
            <a:lvl2pPr marL="406355" indent="0">
              <a:buNone/>
              <a:defRPr/>
            </a:lvl2pPr>
            <a:lvl3pPr marL="569840" indent="0">
              <a:buNone/>
              <a:defRPr/>
            </a:lvl3pPr>
            <a:lvl4pPr marL="688891" indent="0">
              <a:buNone/>
              <a:defRPr/>
            </a:lvl4pPr>
            <a:lvl5pPr marL="801588" indent="0">
              <a:buNone/>
              <a:defRPr/>
            </a:lvl5pPr>
          </a:lstStyle>
          <a:p>
            <a:pPr lvl="0"/>
            <a:r>
              <a:rPr lang="en-GB"/>
              <a:t>Subtitle Goes Here</a:t>
            </a:r>
          </a:p>
        </p:txBody>
      </p:sp>
      <p:sp>
        <p:nvSpPr>
          <p:cNvPr id="20" name="Title 1"/>
          <p:cNvSpPr>
            <a:spLocks noGrp="1"/>
          </p:cNvSpPr>
          <p:nvPr>
            <p:ph type="ctrTitle" hasCustomPrompt="1"/>
          </p:nvPr>
        </p:nvSpPr>
        <p:spPr>
          <a:xfrm>
            <a:off x="567688"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p:nvSpPr>
        <p:spPr bwMode="auto">
          <a:xfrm>
            <a:off x="625995" y="521746"/>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solidFill>
                <a:schemeClr val="bg1"/>
              </a:solidFill>
            </a:endParaRPr>
          </a:p>
        </p:txBody>
      </p:sp>
    </p:spTree>
    <p:extLst>
      <p:ext uri="{BB962C8B-B14F-4D97-AF65-F5344CB8AC3E}">
        <p14:creationId xmlns:p14="http://schemas.microsoft.com/office/powerpoint/2010/main" val="11053422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41598639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7"/>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rgbClr val="1E4471"/>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5878543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42559551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27">
              <a:lnSpc>
                <a:spcPct val="100000"/>
              </a:lnSpc>
              <a:spcBef>
                <a:spcPct val="50000"/>
              </a:spcBef>
              <a:buNone/>
              <a:defRPr sz="2933" b="0" i="0">
                <a:solidFill>
                  <a:schemeClr val="tx2"/>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70"/>
            <a:ext cx="10629664" cy="3038449"/>
          </a:xfrm>
          <a:prstGeom prst="rect">
            <a:avLst/>
          </a:prstGeom>
        </p:spPr>
        <p:txBody>
          <a:bodyPr>
            <a:noAutofit/>
          </a:bodyPr>
          <a:lstStyle>
            <a:lvl1pPr marL="244789" indent="-533264" algn="l">
              <a:lnSpc>
                <a:spcPct val="90000"/>
              </a:lnSpc>
              <a:defRPr sz="5333"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4039646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27">
              <a:lnSpc>
                <a:spcPct val="100000"/>
              </a:lnSpc>
              <a:spcBef>
                <a:spcPct val="50000"/>
              </a:spcBef>
              <a:buNone/>
              <a:defRPr sz="2933" b="0" i="0">
                <a:solidFill>
                  <a:schemeClr val="tx2"/>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70"/>
            <a:ext cx="10629664" cy="3038449"/>
          </a:xfrm>
          <a:prstGeom prst="rect">
            <a:avLst/>
          </a:prstGeom>
        </p:spPr>
        <p:txBody>
          <a:bodyPr>
            <a:noAutofit/>
          </a:bodyPr>
          <a:lstStyle>
            <a:lvl1pPr marL="244789" indent="-533264" algn="l">
              <a:lnSpc>
                <a:spcPct val="90000"/>
              </a:lnSpc>
              <a:defRPr sz="5333"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35259258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2"/>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666752" y="5231191"/>
            <a:ext cx="10852149" cy="668132"/>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0137863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p:nvSpPr>
        <p:spPr bwMode="auto">
          <a:xfrm>
            <a:off x="5017327" y="2838770"/>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solidFill>
                <a:schemeClr val="tx2"/>
              </a:solidFill>
            </a:endParaRPr>
          </a:p>
        </p:txBody>
      </p:sp>
    </p:spTree>
    <p:extLst>
      <p:ext uri="{BB962C8B-B14F-4D97-AF65-F5344CB8AC3E}">
        <p14:creationId xmlns:p14="http://schemas.microsoft.com/office/powerpoint/2010/main" val="8478696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C4AA656-9944-4E93-833F-D07278F21B1C}"/>
              </a:ext>
            </a:extLst>
          </p:cNvPr>
          <p:cNvSpPr>
            <a:spLocks noGrp="1"/>
          </p:cNvSpPr>
          <p:nvPr>
            <p:ph type="title"/>
          </p:nvPr>
        </p:nvSpPr>
        <p:spPr bwMode="auto">
          <a:xfrm>
            <a:off x="533400" y="484965"/>
            <a:ext cx="1112520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spAutoFit/>
          </a:bodyPr>
          <a:lstStyle>
            <a:lvl1pPr>
              <a:defRPr sz="3600">
                <a:solidFill>
                  <a:srgbClr val="1E4471"/>
                </a:solidFill>
              </a:defRPr>
            </a:lvl1pPr>
          </a:lstStyle>
          <a:p>
            <a:pPr lvl="0"/>
            <a:r>
              <a:rPr lang="en-GB"/>
              <a:t>Click to edit Master title style</a:t>
            </a:r>
          </a:p>
        </p:txBody>
      </p:sp>
      <p:sp>
        <p:nvSpPr>
          <p:cNvPr id="2" name="Footer Placeholder 1">
            <a:extLst>
              <a:ext uri="{FF2B5EF4-FFF2-40B4-BE49-F238E27FC236}">
                <a16:creationId xmlns:a16="http://schemas.microsoft.com/office/drawing/2014/main" id="{219C5932-4133-4E52-944A-2194D7528E52}"/>
              </a:ext>
            </a:extLst>
          </p:cNvPr>
          <p:cNvSpPr>
            <a:spLocks noGrp="1"/>
          </p:cNvSpPr>
          <p:nvPr>
            <p:ph type="ftr" sz="quarter" idx="10"/>
          </p:nvPr>
        </p:nvSpPr>
        <p:spPr>
          <a:xfrm>
            <a:off x="533400" y="6365805"/>
            <a:ext cx="3568285" cy="123111"/>
          </a:xfrm>
        </p:spPr>
        <p:txBody>
          <a:bodyPr/>
          <a:lstStyle/>
          <a:p>
            <a:pPr>
              <a:defRPr/>
            </a:pPr>
            <a:r>
              <a:rPr lang="en-US" sz="800" spc="27" dirty="0">
                <a:solidFill>
                  <a:srgbClr val="FFFFFF">
                    <a:lumMod val="65000"/>
                  </a:srgbClr>
                </a:solidFill>
                <a:cs typeface="CiscoSans Thin"/>
              </a:rPr>
              <a:t>© 2020 Cisco and/or its affiliates. All rights reserved. Cisco Confidential</a:t>
            </a:r>
          </a:p>
        </p:txBody>
      </p:sp>
      <p:sp>
        <p:nvSpPr>
          <p:cNvPr id="6" name="Subtitle Placeholder 1">
            <a:extLst>
              <a:ext uri="{FF2B5EF4-FFF2-40B4-BE49-F238E27FC236}">
                <a16:creationId xmlns:a16="http://schemas.microsoft.com/office/drawing/2014/main" id="{8C94CEB6-F39E-4636-BDBD-CCE4D1A4B8F0}"/>
              </a:ext>
            </a:extLst>
          </p:cNvPr>
          <p:cNvSpPr>
            <a:spLocks noGrp="1"/>
          </p:cNvSpPr>
          <p:nvPr>
            <p:ph type="body" sz="quarter" idx="11"/>
          </p:nvPr>
        </p:nvSpPr>
        <p:spPr>
          <a:xfrm>
            <a:off x="533399" y="1152144"/>
            <a:ext cx="11125199" cy="219456"/>
          </a:xfrm>
          <a:prstGeom prst="rect">
            <a:avLst/>
          </a:prstGeom>
          <a:noFill/>
        </p:spPr>
        <p:txBody>
          <a:bodyPr wrap="square" lIns="0" tIns="0" rIns="0" bIns="0" rtlCol="0">
            <a:noAutofit/>
          </a:bodyPr>
          <a:lstStyle>
            <a:lvl1pPr marL="0" indent="0">
              <a:buNone/>
              <a:defRPr lang="en-US" sz="1400" smtClean="0">
                <a:solidFill>
                  <a:schemeClr val="accent1"/>
                </a:solidFill>
                <a:ea typeface="+mn-ea"/>
                <a:cs typeface="+mn-cs"/>
              </a:defRPr>
            </a:lvl1pPr>
            <a:lvl2pPr marL="169349" indent="0">
              <a:buNone/>
              <a:defRPr lang="en-US" sz="1800" smtClean="0">
                <a:ea typeface="+mn-ea"/>
                <a:cs typeface="+mn-cs"/>
              </a:defRPr>
            </a:lvl2pPr>
            <a:lvl3pPr>
              <a:defRPr lang="en-US" sz="1800" smtClean="0">
                <a:ea typeface="+mn-ea"/>
                <a:cs typeface="+mn-cs"/>
              </a:defRPr>
            </a:lvl3pPr>
            <a:lvl4pPr>
              <a:defRPr lang="en-US" sz="1800" smtClean="0">
                <a:ea typeface="+mn-ea"/>
                <a:cs typeface="+mn-cs"/>
              </a:defRPr>
            </a:lvl4pPr>
            <a:lvl5pPr>
              <a:defRPr lang="en-US" sz="1800">
                <a:ea typeface="+mn-ea"/>
                <a:cs typeface="+mn-cs"/>
              </a:defRPr>
            </a:lvl5pPr>
          </a:lstStyle>
          <a:p>
            <a:pPr marL="0" lvl="0" defTabSz="457189" latinLnBrk="0"/>
            <a:r>
              <a:rPr lang="en-US"/>
              <a:t>Click to edit Master text styles</a:t>
            </a:r>
          </a:p>
        </p:txBody>
      </p:sp>
    </p:spTree>
    <p:extLst>
      <p:ext uri="{BB962C8B-B14F-4D97-AF65-F5344CB8AC3E}">
        <p14:creationId xmlns:p14="http://schemas.microsoft.com/office/powerpoint/2010/main" val="36899954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27">
              <a:lnSpc>
                <a:spcPct val="100000"/>
              </a:lnSpc>
              <a:spcBef>
                <a:spcPct val="50000"/>
              </a:spcBef>
              <a:buNone/>
              <a:defRPr sz="2933" b="0" i="0">
                <a:solidFill>
                  <a:schemeClr val="bg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4" name="Title 1"/>
          <p:cNvSpPr>
            <a:spLocks noGrp="1"/>
          </p:cNvSpPr>
          <p:nvPr>
            <p:ph type="ctrTitle"/>
          </p:nvPr>
        </p:nvSpPr>
        <p:spPr>
          <a:xfrm>
            <a:off x="383897" y="2054071"/>
            <a:ext cx="10629664" cy="3038449"/>
          </a:xfrm>
          <a:prstGeom prst="rect">
            <a:avLst/>
          </a:prstGeom>
        </p:spPr>
        <p:txBody>
          <a:bodyPr>
            <a:noAutofit/>
          </a:bodyPr>
          <a:lstStyle>
            <a:lvl1pPr marL="244789" indent="-533264" algn="l">
              <a:lnSpc>
                <a:spcPct val="90000"/>
              </a:lnSpc>
              <a:defRPr sz="5333" b="0" i="1" spc="0" baseline="0">
                <a:solidFill>
                  <a:schemeClr val="bg1"/>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31648524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2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4" name="Title 1"/>
          <p:cNvSpPr>
            <a:spLocks noGrp="1"/>
          </p:cNvSpPr>
          <p:nvPr>
            <p:ph type="ctrTitle"/>
          </p:nvPr>
        </p:nvSpPr>
        <p:spPr>
          <a:xfrm>
            <a:off x="383897" y="2054071"/>
            <a:ext cx="10629664" cy="3038449"/>
          </a:xfrm>
          <a:prstGeom prst="rect">
            <a:avLst/>
          </a:prstGeom>
        </p:spPr>
        <p:txBody>
          <a:bodyPr>
            <a:noAutofit/>
          </a:bodyPr>
          <a:lstStyle>
            <a:lvl1pPr marL="244789" indent="-533264" algn="l">
              <a:lnSpc>
                <a:spcPct val="90000"/>
              </a:lnSpc>
              <a:defRPr sz="5333"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7048073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666752" y="5231194"/>
            <a:ext cx="10852149" cy="668132"/>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a:t>Edit Master text styles</a:t>
            </a:r>
          </a:p>
        </p:txBody>
      </p:sp>
    </p:spTree>
    <p:extLst>
      <p:ext uri="{BB962C8B-B14F-4D97-AF65-F5344CB8AC3E}">
        <p14:creationId xmlns:p14="http://schemas.microsoft.com/office/powerpoint/2010/main" val="1569010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4"/>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598381" y="4072692"/>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a:t>Edit Master text styles</a:t>
            </a:r>
          </a:p>
        </p:txBody>
      </p:sp>
      <p:sp>
        <p:nvSpPr>
          <p:cNvPr id="2" name="Footer Placeholder 1">
            <a:extLst>
              <a:ext uri="{FF2B5EF4-FFF2-40B4-BE49-F238E27FC236}">
                <a16:creationId xmlns:a16="http://schemas.microsoft.com/office/drawing/2014/main" id="{B3AB4ED2-4188-4242-8D36-D30AFE940B22}"/>
              </a:ext>
            </a:extLst>
          </p:cNvPr>
          <p:cNvSpPr>
            <a:spLocks noGrp="1"/>
          </p:cNvSpPr>
          <p:nvPr>
            <p:ph type="ftr" sz="quarter" idx="12"/>
          </p:nvPr>
        </p:nvSpPr>
        <p:spPr>
          <a:xfrm>
            <a:off x="533400" y="6365805"/>
            <a:ext cx="3568285" cy="123111"/>
          </a:xfrm>
        </p:spPr>
        <p:txBody>
          <a:bodyPr/>
          <a:lstStyle/>
          <a:p>
            <a:pPr>
              <a:defRPr/>
            </a:pPr>
            <a:r>
              <a:rPr lang="en-US" sz="800" spc="27" dirty="0">
                <a:solidFill>
                  <a:srgbClr val="FFFFFF">
                    <a:lumMod val="65000"/>
                  </a:srgbClr>
                </a:solidFill>
                <a:cs typeface="CiscoSans Thin"/>
              </a:rPr>
              <a:t>© 2020 Cisco and/or its affiliates. All rights reserved. Cisco Confidential</a:t>
            </a:r>
          </a:p>
        </p:txBody>
      </p:sp>
    </p:spTree>
    <p:extLst>
      <p:ext uri="{BB962C8B-B14F-4D97-AF65-F5344CB8AC3E}">
        <p14:creationId xmlns:p14="http://schemas.microsoft.com/office/powerpoint/2010/main" val="36730297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941432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33400" y="481807"/>
            <a:ext cx="11127317"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en-GB"/>
              <a:t>Title Goes Here</a:t>
            </a:r>
          </a:p>
        </p:txBody>
      </p:sp>
      <p:sp>
        <p:nvSpPr>
          <p:cNvPr id="2" name="Footer Placeholder 1">
            <a:extLst>
              <a:ext uri="{FF2B5EF4-FFF2-40B4-BE49-F238E27FC236}">
                <a16:creationId xmlns:a16="http://schemas.microsoft.com/office/drawing/2014/main" id="{0B05702D-EA35-4179-B6DC-BD684859F012}"/>
              </a:ext>
            </a:extLst>
          </p:cNvPr>
          <p:cNvSpPr>
            <a:spLocks noGrp="1"/>
          </p:cNvSpPr>
          <p:nvPr>
            <p:ph type="ftr" sz="quarter" idx="3"/>
          </p:nvPr>
        </p:nvSpPr>
        <p:spPr>
          <a:xfrm>
            <a:off x="533400" y="6335028"/>
            <a:ext cx="5035033" cy="184666"/>
          </a:xfrm>
          <a:prstGeom prst="rect">
            <a:avLst/>
          </a:prstGeom>
        </p:spPr>
        <p:txBody>
          <a:bodyPr vert="horz" wrap="none" lIns="0" tIns="0" rIns="0" bIns="0" rtlCol="0" anchor="ctr">
            <a:spAutoFit/>
          </a:bodyPr>
          <a:lstStyle>
            <a:lvl1pPr marL="0" marR="0" indent="0" algn="l" defTabSz="814285" rtl="0" eaLnBrk="1" fontAlgn="auto" latinLnBrk="0" hangingPunct="1">
              <a:lnSpc>
                <a:spcPct val="100000"/>
              </a:lnSpc>
              <a:spcBef>
                <a:spcPts val="0"/>
              </a:spcBef>
              <a:spcAft>
                <a:spcPts val="0"/>
              </a:spcAft>
              <a:buClrTx/>
              <a:buSzTx/>
              <a:buFontTx/>
              <a:buNone/>
              <a:tabLst/>
              <a:defRPr lang="en-US" sz="1200" kern="1200" smtClean="0">
                <a:solidFill>
                  <a:schemeClr val="tx1">
                    <a:tint val="75000"/>
                  </a:schemeClr>
                </a:solidFill>
                <a:latin typeface="+mn-lt"/>
                <a:ea typeface="+mn-ea"/>
                <a:cs typeface="+mn-cs"/>
              </a:defRPr>
            </a:lvl1pPr>
          </a:lstStyle>
          <a:p>
            <a:pPr>
              <a:defRPr/>
            </a:pPr>
            <a:r>
              <a:rPr lang="en-US" dirty="0"/>
              <a:t>© 2020 Cisco and/or its affiliates. All rights reserved. Cisco Confidential</a:t>
            </a:r>
          </a:p>
        </p:txBody>
      </p:sp>
    </p:spTree>
    <p:extLst>
      <p:ext uri="{BB962C8B-B14F-4D97-AF65-F5344CB8AC3E}">
        <p14:creationId xmlns:p14="http://schemas.microsoft.com/office/powerpoint/2010/main" val="1375140033"/>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4025"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939" r:id="rId27"/>
  </p:sldLayoutIdLst>
  <p:hf sldNum="0" hdr="0" dt="0"/>
  <p:txStyles>
    <p:titleStyle>
      <a:lvl1pPr algn="l" defTabSz="912239" rtl="0" eaLnBrk="1" fontAlgn="base" hangingPunct="1">
        <a:lnSpc>
          <a:spcPct val="80000"/>
        </a:lnSpc>
        <a:spcBef>
          <a:spcPct val="0"/>
        </a:spcBef>
        <a:spcAft>
          <a:spcPct val="0"/>
        </a:spcAft>
        <a:defRPr lang="en-US" sz="3600" b="0" i="0" kern="1200" dirty="0">
          <a:solidFill>
            <a:srgbClr val="1E4471"/>
          </a:solidFill>
          <a:latin typeface="+mj-lt"/>
          <a:ea typeface="CiscoSansTT Thin" charset="0"/>
          <a:cs typeface="CiscoSansTT Thin" charset="0"/>
        </a:defRPr>
      </a:lvl1pPr>
      <a:lvl2pPr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70"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40"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09"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278"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3" indent="-226473" algn="l" defTabSz="912239"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43" indent="-287851" algn="l" defTabSz="912239"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04" indent="-226473" algn="l" defTabSz="912239"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50" indent="-226473" algn="l" defTabSz="912239"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196" indent="-226473" algn="l" defTabSz="912239"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50" indent="-228582" algn="l" defTabSz="914324"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30" indent="-228552" algn="l" defTabSz="914324"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133" indent="0" algn="l" defTabSz="914324" rtl="0" eaLnBrk="1" latinLnBrk="0" hangingPunct="1">
        <a:spcBef>
          <a:spcPct val="20000"/>
        </a:spcBef>
        <a:buFont typeface="Arial" pitchFamily="34" charset="0"/>
        <a:buNone/>
        <a:defRPr sz="2000" kern="1200">
          <a:solidFill>
            <a:schemeClr val="tx1"/>
          </a:solidFill>
          <a:latin typeface="+mn-lt"/>
          <a:ea typeface="+mn-ea"/>
          <a:cs typeface="+mn-cs"/>
        </a:defRPr>
      </a:lvl8pPr>
      <a:lvl9pPr marL="3885878" indent="-228582" algn="l" defTabSz="91432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4" rtl="0" eaLnBrk="1" latinLnBrk="0" hangingPunct="1">
        <a:defRPr sz="1867" kern="1200">
          <a:solidFill>
            <a:schemeClr val="tx1"/>
          </a:solidFill>
          <a:latin typeface="+mn-lt"/>
          <a:ea typeface="+mn-ea"/>
          <a:cs typeface="+mn-cs"/>
        </a:defRPr>
      </a:lvl1pPr>
      <a:lvl2pPr marL="457159" algn="l" defTabSz="914324" rtl="0" eaLnBrk="1" latinLnBrk="0" hangingPunct="1">
        <a:defRPr sz="1867" kern="1200">
          <a:solidFill>
            <a:schemeClr val="tx1"/>
          </a:solidFill>
          <a:latin typeface="+mn-lt"/>
          <a:ea typeface="+mn-ea"/>
          <a:cs typeface="+mn-cs"/>
        </a:defRPr>
      </a:lvl2pPr>
      <a:lvl3pPr marL="914324" algn="l" defTabSz="914324" rtl="0" eaLnBrk="1" latinLnBrk="0" hangingPunct="1">
        <a:defRPr sz="1867" kern="1200">
          <a:solidFill>
            <a:schemeClr val="tx1"/>
          </a:solidFill>
          <a:latin typeface="+mn-lt"/>
          <a:ea typeface="+mn-ea"/>
          <a:cs typeface="+mn-cs"/>
        </a:defRPr>
      </a:lvl3pPr>
      <a:lvl4pPr marL="1371484" algn="l" defTabSz="914324" rtl="0" eaLnBrk="1" latinLnBrk="0" hangingPunct="1">
        <a:defRPr sz="1867" kern="1200">
          <a:solidFill>
            <a:schemeClr val="tx1"/>
          </a:solidFill>
          <a:latin typeface="+mn-lt"/>
          <a:ea typeface="+mn-ea"/>
          <a:cs typeface="+mn-cs"/>
        </a:defRPr>
      </a:lvl4pPr>
      <a:lvl5pPr marL="1828649" algn="l" defTabSz="914324" rtl="0" eaLnBrk="1" latinLnBrk="0" hangingPunct="1">
        <a:defRPr sz="1867" kern="1200">
          <a:solidFill>
            <a:schemeClr val="tx1"/>
          </a:solidFill>
          <a:latin typeface="+mn-lt"/>
          <a:ea typeface="+mn-ea"/>
          <a:cs typeface="+mn-cs"/>
        </a:defRPr>
      </a:lvl5pPr>
      <a:lvl6pPr marL="2285807" algn="l" defTabSz="914324" rtl="0" eaLnBrk="1" latinLnBrk="0" hangingPunct="1">
        <a:defRPr sz="1867" kern="1200">
          <a:solidFill>
            <a:schemeClr val="tx1"/>
          </a:solidFill>
          <a:latin typeface="+mn-lt"/>
          <a:ea typeface="+mn-ea"/>
          <a:cs typeface="+mn-cs"/>
        </a:defRPr>
      </a:lvl6pPr>
      <a:lvl7pPr marL="2742973" algn="l" defTabSz="914324" rtl="0" eaLnBrk="1" latinLnBrk="0" hangingPunct="1">
        <a:defRPr sz="1867" kern="1200">
          <a:solidFill>
            <a:schemeClr val="tx1"/>
          </a:solidFill>
          <a:latin typeface="+mn-lt"/>
          <a:ea typeface="+mn-ea"/>
          <a:cs typeface="+mn-cs"/>
        </a:defRPr>
      </a:lvl7pPr>
      <a:lvl8pPr marL="3200133" algn="l" defTabSz="914324" rtl="0" eaLnBrk="1" latinLnBrk="0" hangingPunct="1">
        <a:defRPr sz="1867" kern="1200">
          <a:solidFill>
            <a:schemeClr val="tx1"/>
          </a:solidFill>
          <a:latin typeface="+mn-lt"/>
          <a:ea typeface="+mn-ea"/>
          <a:cs typeface="+mn-cs"/>
        </a:defRPr>
      </a:lvl8pPr>
      <a:lvl9pPr marL="3657298" algn="l" defTabSz="914324"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userDrawn="1">
          <p15:clr>
            <a:srgbClr val="F26B43"/>
          </p15:clr>
        </p15:guide>
        <p15:guide id="2" pos="336" userDrawn="1">
          <p15:clr>
            <a:srgbClr val="F26B43"/>
          </p15:clr>
        </p15:guide>
        <p15:guide id="3" pos="5448" userDrawn="1">
          <p15:clr>
            <a:srgbClr val="F26B43"/>
          </p15:clr>
        </p15:guide>
        <p15:guide id="4" orient="horz" pos="864" userDrawn="1">
          <p15:clr>
            <a:srgbClr val="F26B43"/>
          </p15:clr>
        </p15:guide>
        <p15:guide id="5" orient="horz" pos="360" userDrawn="1">
          <p15:clr>
            <a:srgbClr val="F26B43"/>
          </p15:clr>
        </p15:guide>
        <p15:guide id="6" pos="2876" userDrawn="1">
          <p15:clr>
            <a:srgbClr val="F26B43"/>
          </p15:clr>
        </p15:guide>
        <p15:guide id="7" orient="horz" pos="720" userDrawn="1">
          <p15:clr>
            <a:srgbClr val="F26B43"/>
          </p15:clr>
        </p15:guide>
        <p15:guide id="8" pos="7344" userDrawn="1">
          <p15:clr>
            <a:srgbClr val="F26B43"/>
          </p15:clr>
        </p15:guide>
        <p15:guide id="9" orient="horz" pos="4008" userDrawn="1">
          <p15:clr>
            <a:srgbClr val="F26B43"/>
          </p15:clr>
        </p15:guide>
        <p15:guide id="10" orient="horz" pos="9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6"/>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p:nvSpPr>
        <p:spPr bwMode="ltGray">
          <a:xfrm>
            <a:off x="636907"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285" fontAlgn="auto">
              <a:spcBef>
                <a:spcPts val="0"/>
              </a:spcBef>
              <a:spcAft>
                <a:spcPts val="0"/>
              </a:spcAft>
              <a:defRPr/>
            </a:pPr>
            <a:r>
              <a:rPr lang="en-US" sz="800" spc="27" baseline="0" dirty="0">
                <a:solidFill>
                  <a:schemeClr val="bg2">
                    <a:lumMod val="65000"/>
                  </a:schemeClr>
                </a:solidFill>
                <a:latin typeface="+mn-lt"/>
                <a:ea typeface="+mn-ea"/>
                <a:cs typeface="CiscoSans Thin"/>
              </a:rPr>
              <a:t>© 2019  Cisco and/or its affiliates. All rights reserved.   Cisco Confidential</a:t>
            </a:r>
          </a:p>
        </p:txBody>
      </p:sp>
      <p:sp>
        <p:nvSpPr>
          <p:cNvPr id="4" name="ToolsToo_Slide" descr="ToolsToo_Slide">
            <a:extLst>
              <a:ext uri="{FF2B5EF4-FFF2-40B4-BE49-F238E27FC236}">
                <a16:creationId xmlns:a16="http://schemas.microsoft.com/office/drawing/2014/main" id="{6FDD8C79-3247-4F43-9561-F51AED9D01C3}"/>
              </a:ext>
            </a:extLst>
          </p:cNvPr>
          <p:cNvSpPr/>
          <p:nvPr userDrawn="1"/>
        </p:nvSpPr>
        <p:spPr>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Tree>
    <p:extLst>
      <p:ext uri="{BB962C8B-B14F-4D97-AF65-F5344CB8AC3E}">
        <p14:creationId xmlns:p14="http://schemas.microsoft.com/office/powerpoint/2010/main" val="1599814672"/>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52" r:id="rId7"/>
  </p:sldLayoutIdLst>
  <p:txStyles>
    <p:titleStyle>
      <a:lvl1pPr algn="l" defTabSz="912239"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70"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40"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09"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278" algn="l" defTabSz="912239"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3" indent="-226473" algn="l" defTabSz="912239"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43" indent="-287851" algn="l" defTabSz="912239"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04" indent="-226473" algn="l" defTabSz="912239"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50" indent="-226473" algn="l" defTabSz="912239"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196" indent="-226473" algn="l" defTabSz="912239"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50" indent="-228582" algn="l" defTabSz="914324"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30" indent="-228552" algn="l" defTabSz="914324"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133" indent="0" algn="l" defTabSz="914324" rtl="0" eaLnBrk="1" latinLnBrk="0" hangingPunct="1">
        <a:spcBef>
          <a:spcPct val="20000"/>
        </a:spcBef>
        <a:buFont typeface="Arial" pitchFamily="34" charset="0"/>
        <a:buNone/>
        <a:defRPr sz="2000" kern="1200">
          <a:solidFill>
            <a:schemeClr val="tx1"/>
          </a:solidFill>
          <a:latin typeface="+mn-lt"/>
          <a:ea typeface="+mn-ea"/>
          <a:cs typeface="+mn-cs"/>
        </a:defRPr>
      </a:lvl8pPr>
      <a:lvl9pPr marL="3885878" indent="-228582" algn="l" defTabSz="91432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4" rtl="0" eaLnBrk="1" latinLnBrk="0" hangingPunct="1">
        <a:defRPr sz="1867" kern="1200">
          <a:solidFill>
            <a:schemeClr val="tx1"/>
          </a:solidFill>
          <a:latin typeface="+mn-lt"/>
          <a:ea typeface="+mn-ea"/>
          <a:cs typeface="+mn-cs"/>
        </a:defRPr>
      </a:lvl1pPr>
      <a:lvl2pPr marL="457159" algn="l" defTabSz="914324" rtl="0" eaLnBrk="1" latinLnBrk="0" hangingPunct="1">
        <a:defRPr sz="1867" kern="1200">
          <a:solidFill>
            <a:schemeClr val="tx1"/>
          </a:solidFill>
          <a:latin typeface="+mn-lt"/>
          <a:ea typeface="+mn-ea"/>
          <a:cs typeface="+mn-cs"/>
        </a:defRPr>
      </a:lvl2pPr>
      <a:lvl3pPr marL="914324" algn="l" defTabSz="914324" rtl="0" eaLnBrk="1" latinLnBrk="0" hangingPunct="1">
        <a:defRPr sz="1867" kern="1200">
          <a:solidFill>
            <a:schemeClr val="tx1"/>
          </a:solidFill>
          <a:latin typeface="+mn-lt"/>
          <a:ea typeface="+mn-ea"/>
          <a:cs typeface="+mn-cs"/>
        </a:defRPr>
      </a:lvl3pPr>
      <a:lvl4pPr marL="1371484" algn="l" defTabSz="914324" rtl="0" eaLnBrk="1" latinLnBrk="0" hangingPunct="1">
        <a:defRPr sz="1867" kern="1200">
          <a:solidFill>
            <a:schemeClr val="tx1"/>
          </a:solidFill>
          <a:latin typeface="+mn-lt"/>
          <a:ea typeface="+mn-ea"/>
          <a:cs typeface="+mn-cs"/>
        </a:defRPr>
      </a:lvl4pPr>
      <a:lvl5pPr marL="1828649" algn="l" defTabSz="914324" rtl="0" eaLnBrk="1" latinLnBrk="0" hangingPunct="1">
        <a:defRPr sz="1867" kern="1200">
          <a:solidFill>
            <a:schemeClr val="tx1"/>
          </a:solidFill>
          <a:latin typeface="+mn-lt"/>
          <a:ea typeface="+mn-ea"/>
          <a:cs typeface="+mn-cs"/>
        </a:defRPr>
      </a:lvl5pPr>
      <a:lvl6pPr marL="2285807" algn="l" defTabSz="914324" rtl="0" eaLnBrk="1" latinLnBrk="0" hangingPunct="1">
        <a:defRPr sz="1867" kern="1200">
          <a:solidFill>
            <a:schemeClr val="tx1"/>
          </a:solidFill>
          <a:latin typeface="+mn-lt"/>
          <a:ea typeface="+mn-ea"/>
          <a:cs typeface="+mn-cs"/>
        </a:defRPr>
      </a:lvl6pPr>
      <a:lvl7pPr marL="2742973" algn="l" defTabSz="914324" rtl="0" eaLnBrk="1" latinLnBrk="0" hangingPunct="1">
        <a:defRPr sz="1867" kern="1200">
          <a:solidFill>
            <a:schemeClr val="tx1"/>
          </a:solidFill>
          <a:latin typeface="+mn-lt"/>
          <a:ea typeface="+mn-ea"/>
          <a:cs typeface="+mn-cs"/>
        </a:defRPr>
      </a:lvl7pPr>
      <a:lvl8pPr marL="3200133" algn="l" defTabSz="914324" rtl="0" eaLnBrk="1" latinLnBrk="0" hangingPunct="1">
        <a:defRPr sz="1867" kern="1200">
          <a:solidFill>
            <a:schemeClr val="tx1"/>
          </a:solidFill>
          <a:latin typeface="+mn-lt"/>
          <a:ea typeface="+mn-ea"/>
          <a:cs typeface="+mn-cs"/>
        </a:defRPr>
      </a:lvl8pPr>
      <a:lvl9pPr marL="3657298" algn="l" defTabSz="914324"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2169">
          <p15:clr>
            <a:srgbClr val="F26B43"/>
          </p15:clr>
        </p15:guide>
        <p15:guide id="9" pos="252">
          <p15:clr>
            <a:srgbClr val="F26B43"/>
          </p15:clr>
        </p15:guide>
        <p15:guide id="10" pos="4086">
          <p15:clr>
            <a:srgbClr val="F26B43"/>
          </p15:clr>
        </p15:guide>
        <p15:guide id="11" orient="horz" pos="568">
          <p15:clr>
            <a:srgbClr val="F26B43"/>
          </p15:clr>
        </p15:guide>
        <p15:guide id="12" orient="horz" pos="251">
          <p15:clr>
            <a:srgbClr val="F26B43"/>
          </p15:clr>
        </p15:guide>
        <p15:guide id="13" pos="2157">
          <p15:clr>
            <a:srgbClr val="F26B43"/>
          </p15:clr>
        </p15:guide>
        <p15:guide id="14" orient="horz" pos="78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3.xml"/><Relationship Id="rId5" Type="http://schemas.openxmlformats.org/officeDocument/2006/relationships/image" Target="../media/image29.png"/><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0.png"/><Relationship Id="rId7"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32.png"/><Relationship Id="rId5" Type="http://schemas.openxmlformats.org/officeDocument/2006/relationships/image" Target="../media/image31.png"/><Relationship Id="rId4" Type="http://schemas.microsoft.com/office/2007/relationships/hdphoto" Target="../media/hdphoto2.wdp"/><Relationship Id="rId9"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13.xml"/><Relationship Id="rId5" Type="http://schemas.openxmlformats.org/officeDocument/2006/relationships/image" Target="../media/image41.png"/><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44.png"/><Relationship Id="rId5" Type="http://schemas.openxmlformats.org/officeDocument/2006/relationships/image" Target="../media/image43.png"/><Relationship Id="rId4" Type="http://schemas.microsoft.com/office/2007/relationships/hdphoto" Target="../media/hdphoto3.wdp"/></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13.xml"/><Relationship Id="rId6" Type="http://schemas.openxmlformats.org/officeDocument/2006/relationships/image" Target="../media/image15.png"/><Relationship Id="rId5" Type="http://schemas.openxmlformats.org/officeDocument/2006/relationships/image" Target="../media/image17.sv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0.xml"/><Relationship Id="rId1" Type="http://schemas.openxmlformats.org/officeDocument/2006/relationships/slideLayout" Target="../slideLayouts/slideLayout1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png"/></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13.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0.png"/><Relationship Id="rId18" Type="http://schemas.openxmlformats.org/officeDocument/2006/relationships/image" Target="../media/image65.svg"/><Relationship Id="rId26" Type="http://schemas.openxmlformats.org/officeDocument/2006/relationships/image" Target="../media/image73.svg"/><Relationship Id="rId3" Type="http://schemas.openxmlformats.org/officeDocument/2006/relationships/image" Target="../media/image51.svg"/><Relationship Id="rId21" Type="http://schemas.openxmlformats.org/officeDocument/2006/relationships/image" Target="../media/image68.png"/><Relationship Id="rId7" Type="http://schemas.openxmlformats.org/officeDocument/2006/relationships/image" Target="../media/image54.png"/><Relationship Id="rId12" Type="http://schemas.openxmlformats.org/officeDocument/2006/relationships/image" Target="../media/image59.svg"/><Relationship Id="rId17" Type="http://schemas.openxmlformats.org/officeDocument/2006/relationships/image" Target="../media/image64.png"/><Relationship Id="rId25" Type="http://schemas.openxmlformats.org/officeDocument/2006/relationships/image" Target="../media/image72.png"/><Relationship Id="rId2" Type="http://schemas.openxmlformats.org/officeDocument/2006/relationships/image" Target="../media/image50.png"/><Relationship Id="rId16" Type="http://schemas.openxmlformats.org/officeDocument/2006/relationships/image" Target="../media/image63.svg"/><Relationship Id="rId20" Type="http://schemas.openxmlformats.org/officeDocument/2006/relationships/image" Target="../media/image67.svg"/><Relationship Id="rId1" Type="http://schemas.openxmlformats.org/officeDocument/2006/relationships/slideLayout" Target="../slideLayouts/slideLayout13.xml"/><Relationship Id="rId6" Type="http://schemas.microsoft.com/office/2007/relationships/hdphoto" Target="../media/hdphoto4.wdp"/><Relationship Id="rId11" Type="http://schemas.openxmlformats.org/officeDocument/2006/relationships/image" Target="../media/image58.png"/><Relationship Id="rId24" Type="http://schemas.openxmlformats.org/officeDocument/2006/relationships/image" Target="../media/image71.svg"/><Relationship Id="rId5" Type="http://schemas.openxmlformats.org/officeDocument/2006/relationships/image" Target="../media/image53.png"/><Relationship Id="rId15" Type="http://schemas.openxmlformats.org/officeDocument/2006/relationships/image" Target="../media/image62.png"/><Relationship Id="rId23" Type="http://schemas.openxmlformats.org/officeDocument/2006/relationships/image" Target="../media/image70.png"/><Relationship Id="rId10" Type="http://schemas.openxmlformats.org/officeDocument/2006/relationships/image" Target="../media/image57.svg"/><Relationship Id="rId19" Type="http://schemas.openxmlformats.org/officeDocument/2006/relationships/image" Target="../media/image66.png"/><Relationship Id="rId4" Type="http://schemas.openxmlformats.org/officeDocument/2006/relationships/image" Target="../media/image52.png"/><Relationship Id="rId9" Type="http://schemas.openxmlformats.org/officeDocument/2006/relationships/image" Target="../media/image56.png"/><Relationship Id="rId14" Type="http://schemas.openxmlformats.org/officeDocument/2006/relationships/image" Target="../media/image61.svg"/><Relationship Id="rId22" Type="http://schemas.openxmlformats.org/officeDocument/2006/relationships/image" Target="../media/image69.svg"/></Relationships>
</file>

<file path=ppt/slides/_rels/slide2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3.xml"/><Relationship Id="rId4" Type="http://schemas.microsoft.com/office/2007/relationships/hdphoto" Target="../media/hdphoto5.wdp"/></Relationships>
</file>

<file path=ppt/slides/_rels/slide25.xml.rels><?xml version="1.0" encoding="UTF-8" standalone="yes"?>
<Relationships xmlns="http://schemas.openxmlformats.org/package/2006/relationships"><Relationship Id="rId3" Type="http://schemas.openxmlformats.org/officeDocument/2006/relationships/hyperlink" Target="https://www.cisco.com/c/en/us/products/security/secure-remote-worker-solution.html#~offer" TargetMode="External"/><Relationship Id="rId2" Type="http://schemas.openxmlformats.org/officeDocument/2006/relationships/hyperlink" Target="https://engage2demand.cisco.com/LP=20368?ccid=cc001651&amp;dtid=odicdc000016&amp;oid=trlsc020886" TargetMode="External"/><Relationship Id="rId1" Type="http://schemas.openxmlformats.org/officeDocument/2006/relationships/slideLayout" Target="../slideLayouts/slideLayout13.xml"/><Relationship Id="rId6" Type="http://schemas.openxmlformats.org/officeDocument/2006/relationships/hyperlink" Target="https://www.cisco.com/c/en/us/products/security/secure-remote-worker-solution.html?socialshare=lightbox_marquee" TargetMode="External"/><Relationship Id="rId5" Type="http://schemas.openxmlformats.org/officeDocument/2006/relationships/hyperlink" Target="https://www.cisco.com/c/dam/en/us/products/collateral/security/secure-remote-worker-solution/srw-aag-en.pdf?ccid=cc001651&amp;dtid=odicdc000016&amp;oid=aagsc020782" TargetMode="External"/><Relationship Id="rId4" Type="http://schemas.openxmlformats.org/officeDocument/2006/relationships/hyperlink" Target="https://www.cisco.com/c/en/us/products/security/secure-remote-worker-solution.html"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xml"/><Relationship Id="rId7" Type="http://schemas.openxmlformats.org/officeDocument/2006/relationships/image" Target="../media/image1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8.xml"/><Relationship Id="rId10" Type="http://schemas.microsoft.com/office/2007/relationships/hdphoto" Target="../media/hdphoto1.wdp"/><Relationship Id="rId4" Type="http://schemas.openxmlformats.org/officeDocument/2006/relationships/slideLayout" Target="../slideLayouts/slideLayout13.xml"/><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7455D04-38F1-4856-B81B-9739F3FC0D99}"/>
              </a:ext>
            </a:extLst>
          </p:cNvPr>
          <p:cNvSpPr>
            <a:spLocks noGrp="1"/>
          </p:cNvSpPr>
          <p:nvPr>
            <p:ph type="ctrTitle"/>
          </p:nvPr>
        </p:nvSpPr>
        <p:spPr/>
        <p:txBody>
          <a:bodyPr/>
          <a:lstStyle/>
          <a:p>
            <a:r>
              <a:rPr lang="en-US" dirty="0"/>
              <a:t>Cisco Secure Remote Worker</a:t>
            </a:r>
          </a:p>
        </p:txBody>
      </p:sp>
    </p:spTree>
    <p:extLst>
      <p:ext uri="{BB962C8B-B14F-4D97-AF65-F5344CB8AC3E}">
        <p14:creationId xmlns:p14="http://schemas.microsoft.com/office/powerpoint/2010/main" val="31248509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EF25D-20AD-4B82-A691-B2E9CEFE7628}"/>
              </a:ext>
            </a:extLst>
          </p:cNvPr>
          <p:cNvSpPr>
            <a:spLocks noGrp="1"/>
          </p:cNvSpPr>
          <p:nvPr>
            <p:ph type="ctrTitle"/>
          </p:nvPr>
        </p:nvSpPr>
        <p:spPr>
          <a:xfrm>
            <a:off x="555233" y="2921516"/>
            <a:ext cx="5026261" cy="1014968"/>
          </a:xfrm>
        </p:spPr>
        <p:txBody>
          <a:bodyPr anchor="ctr"/>
          <a:lstStyle/>
          <a:p>
            <a:r>
              <a:rPr lang="en-US" sz="5400" dirty="0">
                <a:latin typeface="CiscoSansTT" panose="020B0503020201020303" pitchFamily="34" charset="0"/>
              </a:rPr>
              <a:t>Cisco Duo</a:t>
            </a:r>
          </a:p>
        </p:txBody>
      </p:sp>
      <p:sp>
        <p:nvSpPr>
          <p:cNvPr id="498" name="Freeform: Shape 497">
            <a:extLst>
              <a:ext uri="{FF2B5EF4-FFF2-40B4-BE49-F238E27FC236}">
                <a16:creationId xmlns:a16="http://schemas.microsoft.com/office/drawing/2014/main" id="{492BCB39-1E5F-4B97-9A3C-A084F4E21719}"/>
              </a:ext>
            </a:extLst>
          </p:cNvPr>
          <p:cNvSpPr>
            <a:spLocks/>
          </p:cNvSpPr>
          <p:nvPr/>
        </p:nvSpPr>
        <p:spPr bwMode="auto">
          <a:xfrm>
            <a:off x="5711146" y="2766050"/>
            <a:ext cx="3725222" cy="3779444"/>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chemeClr val="bg2">
              <a:alpha val="2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499" name="Group 498">
            <a:extLst>
              <a:ext uri="{FF2B5EF4-FFF2-40B4-BE49-F238E27FC236}">
                <a16:creationId xmlns:a16="http://schemas.microsoft.com/office/drawing/2014/main" id="{EEFF541A-C414-4C5D-A377-890FE2CECC0F}"/>
              </a:ext>
            </a:extLst>
          </p:cNvPr>
          <p:cNvGrpSpPr/>
          <p:nvPr/>
        </p:nvGrpSpPr>
        <p:grpSpPr>
          <a:xfrm>
            <a:off x="5981252" y="529133"/>
            <a:ext cx="5799736" cy="5799734"/>
            <a:chOff x="6970542" y="497928"/>
            <a:chExt cx="7873326" cy="7873324"/>
          </a:xfrm>
        </p:grpSpPr>
        <p:grpSp>
          <p:nvGrpSpPr>
            <p:cNvPr id="500" name="Group 499">
              <a:extLst>
                <a:ext uri="{FF2B5EF4-FFF2-40B4-BE49-F238E27FC236}">
                  <a16:creationId xmlns:a16="http://schemas.microsoft.com/office/drawing/2014/main" id="{D647CE57-F79B-4702-A4EF-8481BFAE96EC}"/>
                </a:ext>
              </a:extLst>
            </p:cNvPr>
            <p:cNvGrpSpPr/>
            <p:nvPr/>
          </p:nvGrpSpPr>
          <p:grpSpPr>
            <a:xfrm>
              <a:off x="6970542" y="497928"/>
              <a:ext cx="7873326" cy="7873324"/>
              <a:chOff x="6193587" y="1153533"/>
              <a:chExt cx="8147076" cy="8147074"/>
            </a:xfrm>
          </p:grpSpPr>
          <p:sp>
            <p:nvSpPr>
              <p:cNvPr id="503" name="Oval 502">
                <a:extLst>
                  <a:ext uri="{FF2B5EF4-FFF2-40B4-BE49-F238E27FC236}">
                    <a16:creationId xmlns:a16="http://schemas.microsoft.com/office/drawing/2014/main" id="{24900D88-BF4C-44A3-8E2E-5E71BFFF422F}"/>
                  </a:ext>
                </a:extLst>
              </p:cNvPr>
              <p:cNvSpPr/>
              <p:nvPr/>
            </p:nvSpPr>
            <p:spPr>
              <a:xfrm>
                <a:off x="6193587" y="1153533"/>
                <a:ext cx="8147076" cy="8147074"/>
              </a:xfrm>
              <a:prstGeom prst="ellipse">
                <a:avLst/>
              </a:prstGeom>
              <a:noFill/>
              <a:ln>
                <a:solidFill>
                  <a:schemeClr val="bg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4" name="Oval 503">
                <a:extLst>
                  <a:ext uri="{FF2B5EF4-FFF2-40B4-BE49-F238E27FC236}">
                    <a16:creationId xmlns:a16="http://schemas.microsoft.com/office/drawing/2014/main" id="{6562A0D5-EBCB-48A5-8A58-4D7E88EE63F3}"/>
                  </a:ext>
                </a:extLst>
              </p:cNvPr>
              <p:cNvSpPr/>
              <p:nvPr/>
            </p:nvSpPr>
            <p:spPr>
              <a:xfrm>
                <a:off x="6472717" y="1432663"/>
                <a:ext cx="7588816" cy="7588814"/>
              </a:xfrm>
              <a:prstGeom prst="ellipse">
                <a:avLst/>
              </a:prstGeom>
              <a:noFill/>
              <a:ln>
                <a:solidFill>
                  <a:schemeClr val="tx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01" name="Oval 500">
              <a:extLst>
                <a:ext uri="{FF2B5EF4-FFF2-40B4-BE49-F238E27FC236}">
                  <a16:creationId xmlns:a16="http://schemas.microsoft.com/office/drawing/2014/main" id="{DF371318-AE00-4863-B72B-CDB56A6F2A24}"/>
                </a:ext>
              </a:extLst>
            </p:cNvPr>
            <p:cNvSpPr/>
            <p:nvPr/>
          </p:nvSpPr>
          <p:spPr>
            <a:xfrm>
              <a:off x="7509037" y="1036423"/>
              <a:ext cx="6796336" cy="6796334"/>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2" name="Oval 501">
              <a:extLst>
                <a:ext uri="{FF2B5EF4-FFF2-40B4-BE49-F238E27FC236}">
                  <a16:creationId xmlns:a16="http://schemas.microsoft.com/office/drawing/2014/main" id="{B219E88F-7795-4177-A4FB-32378A4B7A6B}"/>
                </a:ext>
              </a:extLst>
            </p:cNvPr>
            <p:cNvSpPr/>
            <p:nvPr/>
          </p:nvSpPr>
          <p:spPr>
            <a:xfrm>
              <a:off x="7740735" y="1268120"/>
              <a:ext cx="6332941" cy="633294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05" name="Freeform: Shape 504">
            <a:extLst>
              <a:ext uri="{FF2B5EF4-FFF2-40B4-BE49-F238E27FC236}">
                <a16:creationId xmlns:a16="http://schemas.microsoft.com/office/drawing/2014/main" id="{F89E78A3-3C9E-446F-AA67-416DD2CB1137}"/>
              </a:ext>
            </a:extLst>
          </p:cNvPr>
          <p:cNvSpPr>
            <a:spLocks noChangeAspect="1"/>
          </p:cNvSpPr>
          <p:nvPr/>
        </p:nvSpPr>
        <p:spPr>
          <a:xfrm rot="17628662">
            <a:off x="7676574" y="1874318"/>
            <a:ext cx="2283345" cy="443213"/>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gradFill flip="none" rotWithShape="1">
            <a:gsLst>
              <a:gs pos="0">
                <a:schemeClr val="accent1">
                  <a:lumMod val="20000"/>
                  <a:lumOff val="80000"/>
                  <a:alpha val="0"/>
                </a:schemeClr>
              </a:gs>
              <a:gs pos="100000">
                <a:schemeClr val="accent1">
                  <a:lumMod val="20000"/>
                  <a:lumOff val="80000"/>
                </a:schemeClr>
              </a:gs>
            </a:gsLst>
            <a:lin ang="0" scaled="1"/>
            <a:tileRect/>
          </a:gra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506" name="Freeform: Shape 505">
            <a:extLst>
              <a:ext uri="{FF2B5EF4-FFF2-40B4-BE49-F238E27FC236}">
                <a16:creationId xmlns:a16="http://schemas.microsoft.com/office/drawing/2014/main" id="{55CD0C5E-0769-4E4B-808D-C61FA070C094}"/>
              </a:ext>
            </a:extLst>
          </p:cNvPr>
          <p:cNvSpPr>
            <a:spLocks/>
          </p:cNvSpPr>
          <p:nvPr/>
        </p:nvSpPr>
        <p:spPr bwMode="auto">
          <a:xfrm>
            <a:off x="7971320" y="2181362"/>
            <a:ext cx="2804162" cy="2844979"/>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rgbClr val="6CBD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07" name="Oval 506">
            <a:extLst>
              <a:ext uri="{FF2B5EF4-FFF2-40B4-BE49-F238E27FC236}">
                <a16:creationId xmlns:a16="http://schemas.microsoft.com/office/drawing/2014/main" id="{8046A661-4D26-4642-B7FF-A491E5A332B7}"/>
              </a:ext>
            </a:extLst>
          </p:cNvPr>
          <p:cNvSpPr/>
          <p:nvPr/>
        </p:nvSpPr>
        <p:spPr>
          <a:xfrm>
            <a:off x="7377197" y="2142169"/>
            <a:ext cx="2804162" cy="2804160"/>
          </a:xfrm>
          <a:prstGeom prst="ellipse">
            <a:avLst/>
          </a:prstGeom>
          <a:solidFill>
            <a:schemeClr val="bg2"/>
          </a:solidFill>
          <a:ln w="28575" cap="rnd">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08" name="Group 507">
            <a:extLst>
              <a:ext uri="{FF2B5EF4-FFF2-40B4-BE49-F238E27FC236}">
                <a16:creationId xmlns:a16="http://schemas.microsoft.com/office/drawing/2014/main" id="{6B037EB5-490E-4AE5-B238-9FCF99627C8D}"/>
              </a:ext>
            </a:extLst>
          </p:cNvPr>
          <p:cNvGrpSpPr/>
          <p:nvPr/>
        </p:nvGrpSpPr>
        <p:grpSpPr>
          <a:xfrm>
            <a:off x="7137150" y="4172048"/>
            <a:ext cx="1588318" cy="601339"/>
            <a:chOff x="4559301" y="5662613"/>
            <a:chExt cx="769938" cy="292100"/>
          </a:xfrm>
          <a:solidFill>
            <a:schemeClr val="accent1"/>
          </a:solidFill>
        </p:grpSpPr>
        <p:sp>
          <p:nvSpPr>
            <p:cNvPr id="509" name="Freeform 87">
              <a:extLst>
                <a:ext uri="{FF2B5EF4-FFF2-40B4-BE49-F238E27FC236}">
                  <a16:creationId xmlns:a16="http://schemas.microsoft.com/office/drawing/2014/main" id="{ADE347B7-F9C4-4226-89AC-2ED62152D387}"/>
                </a:ext>
              </a:extLst>
            </p:cNvPr>
            <p:cNvSpPr>
              <a:spLocks/>
            </p:cNvSpPr>
            <p:nvPr/>
          </p:nvSpPr>
          <p:spPr bwMode="auto">
            <a:xfrm>
              <a:off x="4559301" y="566261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4 h 46"/>
                <a:gd name="T46" fmla="*/ 355 w 358"/>
                <a:gd name="T47" fmla="*/ 41 h 46"/>
                <a:gd name="T48" fmla="*/ 342 w 358"/>
                <a:gd name="T49" fmla="*/ 36 h 46"/>
                <a:gd name="T50" fmla="*/ 327 w 358"/>
                <a:gd name="T51" fmla="*/ 14 h 46"/>
                <a:gd name="T52" fmla="*/ 305 w 358"/>
                <a:gd name="T53" fmla="*/ 1 h 46"/>
                <a:gd name="T54" fmla="*/ 288 w 358"/>
                <a:gd name="T55" fmla="*/ 8 h 46"/>
                <a:gd name="T56" fmla="*/ 273 w 358"/>
                <a:gd name="T57" fmla="*/ 30 h 46"/>
                <a:gd name="T58" fmla="*/ 254 w 358"/>
                <a:gd name="T59" fmla="*/ 41 h 46"/>
                <a:gd name="T60" fmla="*/ 241 w 358"/>
                <a:gd name="T61" fmla="*/ 36 h 46"/>
                <a:gd name="T62" fmla="*/ 226 w 358"/>
                <a:gd name="T63" fmla="*/ 14 h 46"/>
                <a:gd name="T64" fmla="*/ 204 w 358"/>
                <a:gd name="T65" fmla="*/ 1 h 46"/>
                <a:gd name="T66" fmla="*/ 187 w 358"/>
                <a:gd name="T67" fmla="*/ 8 h 46"/>
                <a:gd name="T68" fmla="*/ 172 w 358"/>
                <a:gd name="T69" fmla="*/ 30 h 46"/>
                <a:gd name="T70" fmla="*/ 154 w 358"/>
                <a:gd name="T71" fmla="*/ 41 h 46"/>
                <a:gd name="T72" fmla="*/ 140 w 358"/>
                <a:gd name="T73" fmla="*/ 36 h 46"/>
                <a:gd name="T74" fmla="*/ 126 w 358"/>
                <a:gd name="T75" fmla="*/ 14 h 46"/>
                <a:gd name="T76" fmla="*/ 103 w 358"/>
                <a:gd name="T77" fmla="*/ 1 h 46"/>
                <a:gd name="T78" fmla="*/ 87 w 358"/>
                <a:gd name="T79" fmla="*/ 8 h 46"/>
                <a:gd name="T80" fmla="*/ 72 w 358"/>
                <a:gd name="T81" fmla="*/ 30 h 46"/>
                <a:gd name="T82" fmla="*/ 53 w 358"/>
                <a:gd name="T83" fmla="*/ 41 h 46"/>
                <a:gd name="T84" fmla="*/ 40 w 358"/>
                <a:gd name="T85" fmla="*/ 36 h 46"/>
                <a:gd name="T86" fmla="*/ 25 w 358"/>
                <a:gd name="T87" fmla="*/ 14 h 46"/>
                <a:gd name="T88" fmla="*/ 3 w 358"/>
                <a:gd name="T89" fmla="*/ 1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5"/>
                    <a:pt x="31" y="32"/>
                  </a:cubicBezTo>
                  <a:cubicBezTo>
                    <a:pt x="36" y="40"/>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5"/>
                    <a:pt x="131" y="32"/>
                  </a:cubicBezTo>
                  <a:cubicBezTo>
                    <a:pt x="137" y="40"/>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5"/>
                    <a:pt x="232" y="32"/>
                  </a:cubicBezTo>
                  <a:cubicBezTo>
                    <a:pt x="237" y="40"/>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5"/>
                    <a:pt x="333" y="32"/>
                  </a:cubicBezTo>
                  <a:cubicBezTo>
                    <a:pt x="338" y="40"/>
                    <a:pt x="345" y="46"/>
                    <a:pt x="355" y="46"/>
                  </a:cubicBezTo>
                  <a:cubicBezTo>
                    <a:pt x="356" y="46"/>
                    <a:pt x="358" y="45"/>
                    <a:pt x="358" y="44"/>
                  </a:cubicBezTo>
                  <a:cubicBezTo>
                    <a:pt x="358" y="43"/>
                    <a:pt x="356" y="41"/>
                    <a:pt x="355" y="41"/>
                  </a:cubicBezTo>
                  <a:cubicBezTo>
                    <a:pt x="350" y="41"/>
                    <a:pt x="346" y="39"/>
                    <a:pt x="342" y="36"/>
                  </a:cubicBezTo>
                  <a:cubicBezTo>
                    <a:pt x="336" y="30"/>
                    <a:pt x="332" y="22"/>
                    <a:pt x="327" y="14"/>
                  </a:cubicBezTo>
                  <a:cubicBezTo>
                    <a:pt x="322" y="7"/>
                    <a:pt x="315" y="0"/>
                    <a:pt x="305" y="1"/>
                  </a:cubicBezTo>
                  <a:cubicBezTo>
                    <a:pt x="298" y="0"/>
                    <a:pt x="292" y="3"/>
                    <a:pt x="288" y="8"/>
                  </a:cubicBezTo>
                  <a:cubicBezTo>
                    <a:pt x="282" y="14"/>
                    <a:pt x="278" y="23"/>
                    <a:pt x="273" y="30"/>
                  </a:cubicBezTo>
                  <a:cubicBezTo>
                    <a:pt x="268" y="37"/>
                    <a:pt x="263" y="41"/>
                    <a:pt x="254" y="41"/>
                  </a:cubicBezTo>
                  <a:cubicBezTo>
                    <a:pt x="249" y="41"/>
                    <a:pt x="245" y="39"/>
                    <a:pt x="241" y="36"/>
                  </a:cubicBezTo>
                  <a:cubicBezTo>
                    <a:pt x="236" y="30"/>
                    <a:pt x="232" y="22"/>
                    <a:pt x="226" y="14"/>
                  </a:cubicBezTo>
                  <a:cubicBezTo>
                    <a:pt x="221" y="7"/>
                    <a:pt x="215" y="0"/>
                    <a:pt x="204" y="1"/>
                  </a:cubicBezTo>
                  <a:cubicBezTo>
                    <a:pt x="197" y="0"/>
                    <a:pt x="192" y="3"/>
                    <a:pt x="187" y="8"/>
                  </a:cubicBezTo>
                  <a:cubicBezTo>
                    <a:pt x="181" y="14"/>
                    <a:pt x="177" y="23"/>
                    <a:pt x="172" y="30"/>
                  </a:cubicBezTo>
                  <a:cubicBezTo>
                    <a:pt x="167" y="37"/>
                    <a:pt x="162" y="41"/>
                    <a:pt x="154" y="41"/>
                  </a:cubicBezTo>
                  <a:cubicBezTo>
                    <a:pt x="148" y="41"/>
                    <a:pt x="144" y="39"/>
                    <a:pt x="140" y="36"/>
                  </a:cubicBezTo>
                  <a:cubicBezTo>
                    <a:pt x="135" y="30"/>
                    <a:pt x="131" y="22"/>
                    <a:pt x="126" y="14"/>
                  </a:cubicBezTo>
                  <a:cubicBezTo>
                    <a:pt x="121" y="7"/>
                    <a:pt x="114" y="0"/>
                    <a:pt x="103" y="1"/>
                  </a:cubicBezTo>
                  <a:cubicBezTo>
                    <a:pt x="96" y="0"/>
                    <a:pt x="91" y="3"/>
                    <a:pt x="87" y="8"/>
                  </a:cubicBezTo>
                  <a:cubicBezTo>
                    <a:pt x="81" y="14"/>
                    <a:pt x="76" y="23"/>
                    <a:pt x="72" y="30"/>
                  </a:cubicBezTo>
                  <a:cubicBezTo>
                    <a:pt x="67" y="37"/>
                    <a:pt x="61" y="41"/>
                    <a:pt x="53" y="41"/>
                  </a:cubicBezTo>
                  <a:cubicBezTo>
                    <a:pt x="48" y="41"/>
                    <a:pt x="44" y="39"/>
                    <a:pt x="40" y="36"/>
                  </a:cubicBezTo>
                  <a:cubicBezTo>
                    <a:pt x="34" y="30"/>
                    <a:pt x="30" y="22"/>
                    <a:pt x="25" y="14"/>
                  </a:cubicBezTo>
                  <a:cubicBezTo>
                    <a:pt x="20" y="7"/>
                    <a:pt x="13" y="0"/>
                    <a:pt x="3" y="1"/>
                  </a:cubicBezTo>
                  <a:cubicBezTo>
                    <a:pt x="2" y="1"/>
                    <a:pt x="0" y="2"/>
                    <a:pt x="0" y="3"/>
                  </a:cubicBezTo>
                  <a:cubicBezTo>
                    <a:pt x="0" y="4"/>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0" name="Freeform 88">
              <a:extLst>
                <a:ext uri="{FF2B5EF4-FFF2-40B4-BE49-F238E27FC236}">
                  <a16:creationId xmlns:a16="http://schemas.microsoft.com/office/drawing/2014/main" id="{54C64340-33AC-4B75-A211-E750F5FA0997}"/>
                </a:ext>
              </a:extLst>
            </p:cNvPr>
            <p:cNvSpPr>
              <a:spLocks/>
            </p:cNvSpPr>
            <p:nvPr/>
          </p:nvSpPr>
          <p:spPr bwMode="auto">
            <a:xfrm>
              <a:off x="4559301" y="575786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4"/>
                    <a:pt x="31" y="32"/>
                  </a:cubicBezTo>
                  <a:cubicBezTo>
                    <a:pt x="36" y="39"/>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4"/>
                    <a:pt x="131" y="32"/>
                  </a:cubicBezTo>
                  <a:cubicBezTo>
                    <a:pt x="137" y="39"/>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4"/>
                    <a:pt x="232" y="32"/>
                  </a:cubicBezTo>
                  <a:cubicBezTo>
                    <a:pt x="237" y="39"/>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4"/>
                    <a:pt x="333" y="32"/>
                  </a:cubicBezTo>
                  <a:cubicBezTo>
                    <a:pt x="338" y="39"/>
                    <a:pt x="345" y="46"/>
                    <a:pt x="355" y="46"/>
                  </a:cubicBezTo>
                  <a:cubicBezTo>
                    <a:pt x="356" y="46"/>
                    <a:pt x="358" y="45"/>
                    <a:pt x="358" y="43"/>
                  </a:cubicBezTo>
                  <a:cubicBezTo>
                    <a:pt x="358" y="42"/>
                    <a:pt x="356" y="41"/>
                    <a:pt x="355" y="41"/>
                  </a:cubicBezTo>
                  <a:cubicBezTo>
                    <a:pt x="350" y="41"/>
                    <a:pt x="346" y="39"/>
                    <a:pt x="342" y="35"/>
                  </a:cubicBezTo>
                  <a:cubicBezTo>
                    <a:pt x="336" y="30"/>
                    <a:pt x="332" y="22"/>
                    <a:pt x="327" y="14"/>
                  </a:cubicBezTo>
                  <a:cubicBezTo>
                    <a:pt x="322" y="7"/>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2"/>
                    <a:pt x="226" y="14"/>
                  </a:cubicBezTo>
                  <a:cubicBezTo>
                    <a:pt x="221" y="7"/>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2"/>
                    <a:pt x="126" y="14"/>
                  </a:cubicBezTo>
                  <a:cubicBezTo>
                    <a:pt x="121" y="7"/>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2"/>
                    <a:pt x="25" y="14"/>
                  </a:cubicBezTo>
                  <a:cubicBezTo>
                    <a:pt x="20" y="7"/>
                    <a:pt x="13" y="0"/>
                    <a:pt x="3" y="0"/>
                  </a:cubicBezTo>
                  <a:cubicBezTo>
                    <a:pt x="2" y="0"/>
                    <a:pt x="0" y="1"/>
                    <a:pt x="0" y="3"/>
                  </a:cubicBezTo>
                  <a:cubicBezTo>
                    <a:pt x="0" y="4"/>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1" name="Freeform 89">
              <a:extLst>
                <a:ext uri="{FF2B5EF4-FFF2-40B4-BE49-F238E27FC236}">
                  <a16:creationId xmlns:a16="http://schemas.microsoft.com/office/drawing/2014/main" id="{AE843026-D564-486B-8264-C42492FC95A5}"/>
                </a:ext>
              </a:extLst>
            </p:cNvPr>
            <p:cNvSpPr>
              <a:spLocks/>
            </p:cNvSpPr>
            <p:nvPr/>
          </p:nvSpPr>
          <p:spPr bwMode="auto">
            <a:xfrm>
              <a:off x="4559301" y="5853113"/>
              <a:ext cx="769938" cy="101600"/>
            </a:xfrm>
            <a:custGeom>
              <a:avLst/>
              <a:gdLst>
                <a:gd name="T0" fmla="*/ 3 w 358"/>
                <a:gd name="T1" fmla="*/ 5 h 46"/>
                <a:gd name="T2" fmla="*/ 16 w 358"/>
                <a:gd name="T3" fmla="*/ 10 h 46"/>
                <a:gd name="T4" fmla="*/ 31 w 358"/>
                <a:gd name="T5" fmla="*/ 32 h 46"/>
                <a:gd name="T6" fmla="*/ 53 w 358"/>
                <a:gd name="T7" fmla="*/ 45 h 46"/>
                <a:gd name="T8" fmla="*/ 70 w 358"/>
                <a:gd name="T9" fmla="*/ 38 h 46"/>
                <a:gd name="T10" fmla="*/ 85 w 358"/>
                <a:gd name="T11" fmla="*/ 16 h 46"/>
                <a:gd name="T12" fmla="*/ 103 w 358"/>
                <a:gd name="T13" fmla="*/ 5 h 46"/>
                <a:gd name="T14" fmla="*/ 117 w 358"/>
                <a:gd name="T15" fmla="*/ 10 h 46"/>
                <a:gd name="T16" fmla="*/ 131 w 358"/>
                <a:gd name="T17" fmla="*/ 32 h 46"/>
                <a:gd name="T18" fmla="*/ 154 w 358"/>
                <a:gd name="T19" fmla="*/ 45 h 46"/>
                <a:gd name="T20" fmla="*/ 170 w 358"/>
                <a:gd name="T21" fmla="*/ 38 h 46"/>
                <a:gd name="T22" fmla="*/ 186 w 358"/>
                <a:gd name="T23" fmla="*/ 16 h 46"/>
                <a:gd name="T24" fmla="*/ 204 w 358"/>
                <a:gd name="T25" fmla="*/ 5 h 46"/>
                <a:gd name="T26" fmla="*/ 217 w 358"/>
                <a:gd name="T27" fmla="*/ 10 h 46"/>
                <a:gd name="T28" fmla="*/ 232 w 358"/>
                <a:gd name="T29" fmla="*/ 32 h 46"/>
                <a:gd name="T30" fmla="*/ 254 w 358"/>
                <a:gd name="T31" fmla="*/ 45 h 46"/>
                <a:gd name="T32" fmla="*/ 271 w 358"/>
                <a:gd name="T33" fmla="*/ 38 h 46"/>
                <a:gd name="T34" fmla="*/ 286 w 358"/>
                <a:gd name="T35" fmla="*/ 16 h 46"/>
                <a:gd name="T36" fmla="*/ 305 w 358"/>
                <a:gd name="T37" fmla="*/ 5 h 46"/>
                <a:gd name="T38" fmla="*/ 318 w 358"/>
                <a:gd name="T39" fmla="*/ 10 h 46"/>
                <a:gd name="T40" fmla="*/ 333 w 358"/>
                <a:gd name="T41" fmla="*/ 32 h 46"/>
                <a:gd name="T42" fmla="*/ 355 w 358"/>
                <a:gd name="T43" fmla="*/ 45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2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0"/>
                  </a:cubicBezTo>
                  <a:cubicBezTo>
                    <a:pt x="22" y="16"/>
                    <a:pt x="26" y="24"/>
                    <a:pt x="31" y="32"/>
                  </a:cubicBezTo>
                  <a:cubicBezTo>
                    <a:pt x="36" y="39"/>
                    <a:pt x="43" y="46"/>
                    <a:pt x="53" y="45"/>
                  </a:cubicBezTo>
                  <a:cubicBezTo>
                    <a:pt x="60" y="46"/>
                    <a:pt x="66" y="43"/>
                    <a:pt x="70" y="38"/>
                  </a:cubicBezTo>
                  <a:cubicBezTo>
                    <a:pt x="76" y="32"/>
                    <a:pt x="80" y="23"/>
                    <a:pt x="85" y="16"/>
                  </a:cubicBezTo>
                  <a:cubicBezTo>
                    <a:pt x="90" y="9"/>
                    <a:pt x="95" y="5"/>
                    <a:pt x="103" y="5"/>
                  </a:cubicBezTo>
                  <a:cubicBezTo>
                    <a:pt x="109" y="5"/>
                    <a:pt x="113" y="7"/>
                    <a:pt x="117" y="10"/>
                  </a:cubicBezTo>
                  <a:cubicBezTo>
                    <a:pt x="122" y="16"/>
                    <a:pt x="126" y="24"/>
                    <a:pt x="131" y="32"/>
                  </a:cubicBezTo>
                  <a:cubicBezTo>
                    <a:pt x="137" y="39"/>
                    <a:pt x="143" y="46"/>
                    <a:pt x="154" y="45"/>
                  </a:cubicBezTo>
                  <a:cubicBezTo>
                    <a:pt x="161" y="46"/>
                    <a:pt x="166" y="43"/>
                    <a:pt x="170" y="38"/>
                  </a:cubicBezTo>
                  <a:cubicBezTo>
                    <a:pt x="177" y="32"/>
                    <a:pt x="181" y="23"/>
                    <a:pt x="186" y="16"/>
                  </a:cubicBezTo>
                  <a:cubicBezTo>
                    <a:pt x="191" y="9"/>
                    <a:pt x="196" y="5"/>
                    <a:pt x="204" y="5"/>
                  </a:cubicBezTo>
                  <a:cubicBezTo>
                    <a:pt x="210" y="5"/>
                    <a:pt x="214" y="7"/>
                    <a:pt x="217" y="10"/>
                  </a:cubicBezTo>
                  <a:cubicBezTo>
                    <a:pt x="223" y="16"/>
                    <a:pt x="227" y="24"/>
                    <a:pt x="232" y="32"/>
                  </a:cubicBezTo>
                  <a:cubicBezTo>
                    <a:pt x="237" y="39"/>
                    <a:pt x="244" y="46"/>
                    <a:pt x="254" y="45"/>
                  </a:cubicBezTo>
                  <a:cubicBezTo>
                    <a:pt x="261" y="46"/>
                    <a:pt x="267" y="43"/>
                    <a:pt x="271" y="38"/>
                  </a:cubicBezTo>
                  <a:cubicBezTo>
                    <a:pt x="277" y="32"/>
                    <a:pt x="281" y="23"/>
                    <a:pt x="286" y="16"/>
                  </a:cubicBezTo>
                  <a:cubicBezTo>
                    <a:pt x="291" y="9"/>
                    <a:pt x="296" y="5"/>
                    <a:pt x="305" y="5"/>
                  </a:cubicBezTo>
                  <a:cubicBezTo>
                    <a:pt x="310" y="5"/>
                    <a:pt x="314" y="7"/>
                    <a:pt x="318" y="10"/>
                  </a:cubicBezTo>
                  <a:cubicBezTo>
                    <a:pt x="324" y="16"/>
                    <a:pt x="328" y="24"/>
                    <a:pt x="333" y="32"/>
                  </a:cubicBezTo>
                  <a:cubicBezTo>
                    <a:pt x="338" y="39"/>
                    <a:pt x="345" y="46"/>
                    <a:pt x="355" y="45"/>
                  </a:cubicBezTo>
                  <a:cubicBezTo>
                    <a:pt x="356" y="45"/>
                    <a:pt x="358" y="44"/>
                    <a:pt x="358" y="43"/>
                  </a:cubicBezTo>
                  <a:cubicBezTo>
                    <a:pt x="358" y="42"/>
                    <a:pt x="356" y="41"/>
                    <a:pt x="355" y="41"/>
                  </a:cubicBezTo>
                  <a:cubicBezTo>
                    <a:pt x="350" y="41"/>
                    <a:pt x="346" y="39"/>
                    <a:pt x="342" y="35"/>
                  </a:cubicBezTo>
                  <a:cubicBezTo>
                    <a:pt x="336" y="30"/>
                    <a:pt x="332" y="21"/>
                    <a:pt x="327" y="14"/>
                  </a:cubicBezTo>
                  <a:cubicBezTo>
                    <a:pt x="322" y="6"/>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1"/>
                    <a:pt x="226" y="14"/>
                  </a:cubicBezTo>
                  <a:cubicBezTo>
                    <a:pt x="221" y="6"/>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1"/>
                    <a:pt x="126" y="14"/>
                  </a:cubicBezTo>
                  <a:cubicBezTo>
                    <a:pt x="121" y="6"/>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1"/>
                    <a:pt x="25" y="14"/>
                  </a:cubicBezTo>
                  <a:cubicBezTo>
                    <a:pt x="20" y="6"/>
                    <a:pt x="13" y="0"/>
                    <a:pt x="3" y="0"/>
                  </a:cubicBezTo>
                  <a:cubicBezTo>
                    <a:pt x="2" y="0"/>
                    <a:pt x="0" y="1"/>
                    <a:pt x="0" y="2"/>
                  </a:cubicBezTo>
                  <a:cubicBezTo>
                    <a:pt x="0" y="3"/>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512" name="Picture 511" descr="A picture containing dark, black, fireworks, sitting&#10;&#10;Description generated with very high confidence">
            <a:extLst>
              <a:ext uri="{FF2B5EF4-FFF2-40B4-BE49-F238E27FC236}">
                <a16:creationId xmlns:a16="http://schemas.microsoft.com/office/drawing/2014/main" id="{ED06A6DE-FE89-4C51-91AD-097D810DF90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34720" y="2458416"/>
            <a:ext cx="1781497" cy="2226871"/>
          </a:xfrm>
          <a:prstGeom prst="rect">
            <a:avLst/>
          </a:prstGeom>
        </p:spPr>
      </p:pic>
      <p:grpSp>
        <p:nvGrpSpPr>
          <p:cNvPr id="513" name="Group 512">
            <a:extLst>
              <a:ext uri="{FF2B5EF4-FFF2-40B4-BE49-F238E27FC236}">
                <a16:creationId xmlns:a16="http://schemas.microsoft.com/office/drawing/2014/main" id="{F0F2102B-D1DB-4250-AC93-72383B7F86D6}"/>
              </a:ext>
            </a:extLst>
          </p:cNvPr>
          <p:cNvGrpSpPr/>
          <p:nvPr/>
        </p:nvGrpSpPr>
        <p:grpSpPr>
          <a:xfrm>
            <a:off x="6986757" y="3403517"/>
            <a:ext cx="1143978" cy="200334"/>
            <a:chOff x="2518087" y="2866189"/>
            <a:chExt cx="1143978" cy="200334"/>
          </a:xfrm>
        </p:grpSpPr>
        <p:sp>
          <p:nvSpPr>
            <p:cNvPr id="514" name="Freeform: Shape 513">
              <a:extLst>
                <a:ext uri="{FF2B5EF4-FFF2-40B4-BE49-F238E27FC236}">
                  <a16:creationId xmlns:a16="http://schemas.microsoft.com/office/drawing/2014/main" id="{2BA4D6C7-8E7E-4D2B-A92D-29CD71FA06A8}"/>
                </a:ext>
              </a:extLst>
            </p:cNvPr>
            <p:cNvSpPr/>
            <p:nvPr/>
          </p:nvSpPr>
          <p:spPr>
            <a:xfrm>
              <a:off x="3473658" y="2866189"/>
              <a:ext cx="188407" cy="200334"/>
            </a:xfrm>
            <a:custGeom>
              <a:avLst/>
              <a:gdLst>
                <a:gd name="connsiteX0" fmla="*/ 115789 w 247228"/>
                <a:gd name="connsiteY0" fmla="*/ 0 h 262878"/>
                <a:gd name="connsiteX1" fmla="*/ 247228 w 247228"/>
                <a:gd name="connsiteY1" fmla="*/ 131439 h 262878"/>
                <a:gd name="connsiteX2" fmla="*/ 115789 w 247228"/>
                <a:gd name="connsiteY2" fmla="*/ 262878 h 262878"/>
                <a:gd name="connsiteX3" fmla="*/ 22847 w 247228"/>
                <a:gd name="connsiteY3" fmla="*/ 224381 h 262878"/>
                <a:gd name="connsiteX4" fmla="*/ 6679 w 247228"/>
                <a:gd name="connsiteY4" fmla="*/ 200400 h 262878"/>
                <a:gd name="connsiteX5" fmla="*/ 107019 w 247228"/>
                <a:gd name="connsiteY5" fmla="*/ 200400 h 262878"/>
                <a:gd name="connsiteX6" fmla="*/ 171027 w 247228"/>
                <a:gd name="connsiteY6" fmla="*/ 136392 h 262878"/>
                <a:gd name="connsiteX7" fmla="*/ 107019 w 247228"/>
                <a:gd name="connsiteY7" fmla="*/ 72384 h 262878"/>
                <a:gd name="connsiteX8" fmla="*/ 0 w 247228"/>
                <a:gd name="connsiteY8" fmla="*/ 72384 h 262878"/>
                <a:gd name="connsiteX9" fmla="*/ 22847 w 247228"/>
                <a:gd name="connsiteY9" fmla="*/ 38497 h 262878"/>
                <a:gd name="connsiteX10" fmla="*/ 115789 w 247228"/>
                <a:gd name="connsiteY10" fmla="*/ 0 h 26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228" h="262878">
                  <a:moveTo>
                    <a:pt x="115789" y="0"/>
                  </a:moveTo>
                  <a:cubicBezTo>
                    <a:pt x="188381" y="0"/>
                    <a:pt x="247228" y="58847"/>
                    <a:pt x="247228" y="131439"/>
                  </a:cubicBezTo>
                  <a:cubicBezTo>
                    <a:pt x="247228" y="204031"/>
                    <a:pt x="188381" y="262878"/>
                    <a:pt x="115789" y="262878"/>
                  </a:cubicBezTo>
                  <a:cubicBezTo>
                    <a:pt x="79493" y="262878"/>
                    <a:pt x="46633" y="248166"/>
                    <a:pt x="22847" y="224381"/>
                  </a:cubicBezTo>
                  <a:lnTo>
                    <a:pt x="6679" y="200400"/>
                  </a:lnTo>
                  <a:lnTo>
                    <a:pt x="107019" y="200400"/>
                  </a:lnTo>
                  <a:cubicBezTo>
                    <a:pt x="142370" y="200400"/>
                    <a:pt x="171027" y="171743"/>
                    <a:pt x="171027" y="136392"/>
                  </a:cubicBezTo>
                  <a:cubicBezTo>
                    <a:pt x="171027" y="101041"/>
                    <a:pt x="142370" y="72384"/>
                    <a:pt x="107019" y="72384"/>
                  </a:cubicBezTo>
                  <a:lnTo>
                    <a:pt x="0" y="72384"/>
                  </a:lnTo>
                  <a:lnTo>
                    <a:pt x="22847" y="38497"/>
                  </a:lnTo>
                  <a:cubicBezTo>
                    <a:pt x="46633" y="14712"/>
                    <a:pt x="79493" y="0"/>
                    <a:pt x="115789" y="0"/>
                  </a:cubicBezTo>
                  <a:close/>
                </a:path>
              </a:pathLst>
            </a:custGeom>
            <a:solidFill>
              <a:srgbClr val="00BCEB">
                <a:lumMod val="75000"/>
                <a:alpha val="80000"/>
              </a:srgbClr>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515" name="Freeform: Shape 514">
              <a:extLst>
                <a:ext uri="{FF2B5EF4-FFF2-40B4-BE49-F238E27FC236}">
                  <a16:creationId xmlns:a16="http://schemas.microsoft.com/office/drawing/2014/main" id="{FABD6844-A3AA-43C0-A367-CF426FF57268}"/>
                </a:ext>
              </a:extLst>
            </p:cNvPr>
            <p:cNvSpPr/>
            <p:nvPr/>
          </p:nvSpPr>
          <p:spPr>
            <a:xfrm>
              <a:off x="2518087" y="2921351"/>
              <a:ext cx="960660" cy="97558"/>
            </a:xfrm>
            <a:custGeom>
              <a:avLst/>
              <a:gdLst>
                <a:gd name="connsiteX0" fmla="*/ 64008 w 1260577"/>
                <a:gd name="connsiteY0" fmla="*/ 0 h 128016"/>
                <a:gd name="connsiteX1" fmla="*/ 1253898 w 1260577"/>
                <a:gd name="connsiteY1" fmla="*/ 0 h 128016"/>
                <a:gd name="connsiteX2" fmla="*/ 1248577 w 1260577"/>
                <a:gd name="connsiteY2" fmla="*/ 7893 h 128016"/>
                <a:gd name="connsiteX3" fmla="*/ 1238248 w 1260577"/>
                <a:gd name="connsiteY3" fmla="*/ 59055 h 128016"/>
                <a:gd name="connsiteX4" fmla="*/ 1248577 w 1260577"/>
                <a:gd name="connsiteY4" fmla="*/ 110217 h 128016"/>
                <a:gd name="connsiteX5" fmla="*/ 1260577 w 1260577"/>
                <a:gd name="connsiteY5" fmla="*/ 128016 h 128016"/>
                <a:gd name="connsiteX6" fmla="*/ 64008 w 1260577"/>
                <a:gd name="connsiteY6" fmla="*/ 128016 h 128016"/>
                <a:gd name="connsiteX7" fmla="*/ 0 w 1260577"/>
                <a:gd name="connsiteY7" fmla="*/ 64008 h 128016"/>
                <a:gd name="connsiteX8" fmla="*/ 64008 w 1260577"/>
                <a:gd name="connsiteY8" fmla="*/ 0 h 12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577" h="128016">
                  <a:moveTo>
                    <a:pt x="64008" y="0"/>
                  </a:moveTo>
                  <a:lnTo>
                    <a:pt x="1253898" y="0"/>
                  </a:lnTo>
                  <a:lnTo>
                    <a:pt x="1248577" y="7893"/>
                  </a:lnTo>
                  <a:cubicBezTo>
                    <a:pt x="1241926" y="23618"/>
                    <a:pt x="1238248" y="40907"/>
                    <a:pt x="1238248" y="59055"/>
                  </a:cubicBezTo>
                  <a:cubicBezTo>
                    <a:pt x="1238248" y="77203"/>
                    <a:pt x="1241926" y="94492"/>
                    <a:pt x="1248577" y="110217"/>
                  </a:cubicBezTo>
                  <a:lnTo>
                    <a:pt x="1260577" y="128016"/>
                  </a:lnTo>
                  <a:lnTo>
                    <a:pt x="64008" y="128016"/>
                  </a:lnTo>
                  <a:cubicBezTo>
                    <a:pt x="28657" y="128016"/>
                    <a:pt x="0" y="99359"/>
                    <a:pt x="0" y="64008"/>
                  </a:cubicBezTo>
                  <a:cubicBezTo>
                    <a:pt x="0" y="28657"/>
                    <a:pt x="28657" y="0"/>
                    <a:pt x="64008" y="0"/>
                  </a:cubicBezTo>
                  <a:close/>
                </a:path>
              </a:pathLst>
            </a:custGeom>
            <a:solidFill>
              <a:srgbClr val="00BCEB">
                <a:lumMod val="60000"/>
                <a:lumOff val="40000"/>
              </a:srgbClr>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516" name="Freeform: Shape 515">
              <a:extLst>
                <a:ext uri="{FF2B5EF4-FFF2-40B4-BE49-F238E27FC236}">
                  <a16:creationId xmlns:a16="http://schemas.microsoft.com/office/drawing/2014/main" id="{3DB6D071-F3EA-4176-984B-1C69D48F0130}"/>
                </a:ext>
              </a:extLst>
            </p:cNvPr>
            <p:cNvSpPr/>
            <p:nvPr/>
          </p:nvSpPr>
          <p:spPr>
            <a:xfrm>
              <a:off x="3461732" y="2921351"/>
              <a:ext cx="142263" cy="97558"/>
            </a:xfrm>
            <a:custGeom>
              <a:avLst/>
              <a:gdLst>
                <a:gd name="connsiteX0" fmla="*/ 15650 w 186677"/>
                <a:gd name="connsiteY0" fmla="*/ 0 h 128016"/>
                <a:gd name="connsiteX1" fmla="*/ 122669 w 186677"/>
                <a:gd name="connsiteY1" fmla="*/ 0 h 128016"/>
                <a:gd name="connsiteX2" fmla="*/ 186677 w 186677"/>
                <a:gd name="connsiteY2" fmla="*/ 64008 h 128016"/>
                <a:gd name="connsiteX3" fmla="*/ 122669 w 186677"/>
                <a:gd name="connsiteY3" fmla="*/ 128016 h 128016"/>
                <a:gd name="connsiteX4" fmla="*/ 22329 w 186677"/>
                <a:gd name="connsiteY4" fmla="*/ 128016 h 128016"/>
                <a:gd name="connsiteX5" fmla="*/ 10329 w 186677"/>
                <a:gd name="connsiteY5" fmla="*/ 110217 h 128016"/>
                <a:gd name="connsiteX6" fmla="*/ 0 w 186677"/>
                <a:gd name="connsiteY6" fmla="*/ 59055 h 128016"/>
                <a:gd name="connsiteX7" fmla="*/ 10329 w 186677"/>
                <a:gd name="connsiteY7" fmla="*/ 7893 h 128016"/>
                <a:gd name="connsiteX8" fmla="*/ 15650 w 186677"/>
                <a:gd name="connsiteY8" fmla="*/ 0 h 12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77" h="128016">
                  <a:moveTo>
                    <a:pt x="15650" y="0"/>
                  </a:moveTo>
                  <a:lnTo>
                    <a:pt x="122669" y="0"/>
                  </a:lnTo>
                  <a:cubicBezTo>
                    <a:pt x="158020" y="0"/>
                    <a:pt x="186677" y="28657"/>
                    <a:pt x="186677" y="64008"/>
                  </a:cubicBezTo>
                  <a:cubicBezTo>
                    <a:pt x="186677" y="99359"/>
                    <a:pt x="158020" y="128016"/>
                    <a:pt x="122669" y="128016"/>
                  </a:cubicBezTo>
                  <a:lnTo>
                    <a:pt x="22329" y="128016"/>
                  </a:lnTo>
                  <a:lnTo>
                    <a:pt x="10329" y="110217"/>
                  </a:lnTo>
                  <a:cubicBezTo>
                    <a:pt x="3678" y="94492"/>
                    <a:pt x="0" y="77203"/>
                    <a:pt x="0" y="59055"/>
                  </a:cubicBezTo>
                  <a:cubicBezTo>
                    <a:pt x="0" y="40907"/>
                    <a:pt x="3678" y="23618"/>
                    <a:pt x="10329" y="7893"/>
                  </a:cubicBezTo>
                  <a:lnTo>
                    <a:pt x="15650" y="0"/>
                  </a:lnTo>
                  <a:close/>
                </a:path>
              </a:pathLst>
            </a:custGeom>
            <a:solidFill>
              <a:srgbClr val="00BCEB">
                <a:lumMod val="75000"/>
              </a:srgbClr>
            </a:solidFill>
            <a:ln w="6350" cap="flat" cmpd="sng" algn="ctr">
              <a:solidFill>
                <a:srgbClr val="008DB0"/>
              </a:solid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grpSp>
        <p:nvGrpSpPr>
          <p:cNvPr id="517" name="Group 516">
            <a:extLst>
              <a:ext uri="{FF2B5EF4-FFF2-40B4-BE49-F238E27FC236}">
                <a16:creationId xmlns:a16="http://schemas.microsoft.com/office/drawing/2014/main" id="{FB6300A8-53F4-460F-A405-EF85276369F6}"/>
              </a:ext>
            </a:extLst>
          </p:cNvPr>
          <p:cNvGrpSpPr/>
          <p:nvPr/>
        </p:nvGrpSpPr>
        <p:grpSpPr>
          <a:xfrm>
            <a:off x="7174851" y="2677290"/>
            <a:ext cx="657279" cy="545601"/>
            <a:chOff x="3792463" y="5510398"/>
            <a:chExt cx="825566" cy="685294"/>
          </a:xfrm>
        </p:grpSpPr>
        <p:sp>
          <p:nvSpPr>
            <p:cNvPr id="518" name="Freeform: Shape 517">
              <a:extLst>
                <a:ext uri="{FF2B5EF4-FFF2-40B4-BE49-F238E27FC236}">
                  <a16:creationId xmlns:a16="http://schemas.microsoft.com/office/drawing/2014/main" id="{5E32273D-DB2A-42D2-AD32-CFC1B2C7CE71}"/>
                </a:ext>
              </a:extLst>
            </p:cNvPr>
            <p:cNvSpPr/>
            <p:nvPr/>
          </p:nvSpPr>
          <p:spPr>
            <a:xfrm>
              <a:off x="3908091" y="5548421"/>
              <a:ext cx="686759" cy="200305"/>
            </a:xfrm>
            <a:custGeom>
              <a:avLst/>
              <a:gdLst>
                <a:gd name="connsiteX0" fmla="*/ 654066 w 686759"/>
                <a:gd name="connsiteY0" fmla="*/ 16096 h 200304"/>
                <a:gd name="connsiteX1" fmla="*/ 682681 w 686759"/>
                <a:gd name="connsiteY1" fmla="*/ 44711 h 200304"/>
                <a:gd name="connsiteX2" fmla="*/ 682681 w 686759"/>
                <a:gd name="connsiteY2" fmla="*/ 160458 h 200304"/>
                <a:gd name="connsiteX3" fmla="*/ 654066 w 686759"/>
                <a:gd name="connsiteY3" fmla="*/ 189073 h 200304"/>
                <a:gd name="connsiteX4" fmla="*/ 44711 w 686759"/>
                <a:gd name="connsiteY4" fmla="*/ 189073 h 200304"/>
                <a:gd name="connsiteX5" fmla="*/ 16096 w 686759"/>
                <a:gd name="connsiteY5" fmla="*/ 160458 h 200304"/>
                <a:gd name="connsiteX6" fmla="*/ 16096 w 686759"/>
                <a:gd name="connsiteY6" fmla="*/ 44854 h 200304"/>
                <a:gd name="connsiteX7" fmla="*/ 44711 w 686759"/>
                <a:gd name="connsiteY7" fmla="*/ 16239 h 20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759" h="200304">
                  <a:moveTo>
                    <a:pt x="654066" y="16096"/>
                  </a:moveTo>
                  <a:cubicBezTo>
                    <a:pt x="669871" y="16096"/>
                    <a:pt x="682681" y="28907"/>
                    <a:pt x="682681" y="44711"/>
                  </a:cubicBezTo>
                  <a:lnTo>
                    <a:pt x="682681" y="160458"/>
                  </a:lnTo>
                  <a:cubicBezTo>
                    <a:pt x="682681" y="176262"/>
                    <a:pt x="669871" y="189073"/>
                    <a:pt x="654066" y="189073"/>
                  </a:cubicBezTo>
                  <a:lnTo>
                    <a:pt x="44711" y="189073"/>
                  </a:lnTo>
                  <a:cubicBezTo>
                    <a:pt x="28907" y="189073"/>
                    <a:pt x="16096" y="176262"/>
                    <a:pt x="16096" y="160458"/>
                  </a:cubicBezTo>
                  <a:lnTo>
                    <a:pt x="16096" y="44854"/>
                  </a:lnTo>
                  <a:cubicBezTo>
                    <a:pt x="16096" y="29050"/>
                    <a:pt x="28907" y="16239"/>
                    <a:pt x="44711" y="16239"/>
                  </a:cubicBezTo>
                  <a:close/>
                </a:path>
              </a:pathLst>
            </a:custGeom>
            <a:solidFill>
              <a:srgbClr val="9E9EA2">
                <a:alpha val="73000"/>
              </a:srgbClr>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19" name="Freeform: Shape 518">
              <a:extLst>
                <a:ext uri="{FF2B5EF4-FFF2-40B4-BE49-F238E27FC236}">
                  <a16:creationId xmlns:a16="http://schemas.microsoft.com/office/drawing/2014/main" id="{27E892AC-8938-438F-AD58-06D3ECF6F82E}"/>
                </a:ext>
              </a:extLst>
            </p:cNvPr>
            <p:cNvSpPr/>
            <p:nvPr/>
          </p:nvSpPr>
          <p:spPr>
            <a:xfrm>
              <a:off x="3888752" y="5510398"/>
              <a:ext cx="686759" cy="200305"/>
            </a:xfrm>
            <a:custGeom>
              <a:avLst/>
              <a:gdLst>
                <a:gd name="connsiteX0" fmla="*/ 654066 w 686759"/>
                <a:gd name="connsiteY0" fmla="*/ 16096 h 200304"/>
                <a:gd name="connsiteX1" fmla="*/ 682681 w 686759"/>
                <a:gd name="connsiteY1" fmla="*/ 44711 h 200304"/>
                <a:gd name="connsiteX2" fmla="*/ 682681 w 686759"/>
                <a:gd name="connsiteY2" fmla="*/ 160172 h 200304"/>
                <a:gd name="connsiteX3" fmla="*/ 654066 w 686759"/>
                <a:gd name="connsiteY3" fmla="*/ 188787 h 200304"/>
                <a:gd name="connsiteX4" fmla="*/ 44711 w 686759"/>
                <a:gd name="connsiteY4" fmla="*/ 188787 h 200304"/>
                <a:gd name="connsiteX5" fmla="*/ 16096 w 686759"/>
                <a:gd name="connsiteY5" fmla="*/ 160172 h 200304"/>
                <a:gd name="connsiteX6" fmla="*/ 16096 w 686759"/>
                <a:gd name="connsiteY6" fmla="*/ 44997 h 200304"/>
                <a:gd name="connsiteX7" fmla="*/ 44711 w 686759"/>
                <a:gd name="connsiteY7" fmla="*/ 16382 h 20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759" h="200304">
                  <a:moveTo>
                    <a:pt x="654066" y="16096"/>
                  </a:moveTo>
                  <a:cubicBezTo>
                    <a:pt x="669871" y="16096"/>
                    <a:pt x="682681" y="28907"/>
                    <a:pt x="682681" y="44711"/>
                  </a:cubicBezTo>
                  <a:lnTo>
                    <a:pt x="682681" y="160172"/>
                  </a:lnTo>
                  <a:cubicBezTo>
                    <a:pt x="682681" y="175976"/>
                    <a:pt x="669871" y="188787"/>
                    <a:pt x="654066" y="188787"/>
                  </a:cubicBezTo>
                  <a:lnTo>
                    <a:pt x="44711" y="188787"/>
                  </a:lnTo>
                  <a:cubicBezTo>
                    <a:pt x="28907" y="188787"/>
                    <a:pt x="16096" y="175976"/>
                    <a:pt x="16096" y="160172"/>
                  </a:cubicBezTo>
                  <a:lnTo>
                    <a:pt x="16096" y="44997"/>
                  </a:lnTo>
                  <a:cubicBezTo>
                    <a:pt x="16096" y="29193"/>
                    <a:pt x="28907" y="16382"/>
                    <a:pt x="44711" y="16382"/>
                  </a:cubicBezTo>
                  <a:close/>
                </a:path>
              </a:pathLst>
            </a:custGeom>
            <a:solidFill>
              <a:srgbClr val="1E4471">
                <a:alpha val="81000"/>
              </a:srgbClr>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20" name="Freeform: Shape 519">
              <a:extLst>
                <a:ext uri="{FF2B5EF4-FFF2-40B4-BE49-F238E27FC236}">
                  <a16:creationId xmlns:a16="http://schemas.microsoft.com/office/drawing/2014/main" id="{46A84510-B891-4E7A-A42C-0C665C31BB8C}"/>
                </a:ext>
              </a:extLst>
            </p:cNvPr>
            <p:cNvSpPr/>
            <p:nvPr/>
          </p:nvSpPr>
          <p:spPr>
            <a:xfrm>
              <a:off x="3873181" y="5697362"/>
              <a:ext cx="686759" cy="200305"/>
            </a:xfrm>
            <a:custGeom>
              <a:avLst/>
              <a:gdLst>
                <a:gd name="connsiteX0" fmla="*/ 653780 w 686759"/>
                <a:gd name="connsiteY0" fmla="*/ 16096 h 200304"/>
                <a:gd name="connsiteX1" fmla="*/ 682395 w 686759"/>
                <a:gd name="connsiteY1" fmla="*/ 44711 h 200304"/>
                <a:gd name="connsiteX2" fmla="*/ 682395 w 686759"/>
                <a:gd name="connsiteY2" fmla="*/ 160172 h 200304"/>
                <a:gd name="connsiteX3" fmla="*/ 653780 w 686759"/>
                <a:gd name="connsiteY3" fmla="*/ 188787 h 200304"/>
                <a:gd name="connsiteX4" fmla="*/ 44711 w 686759"/>
                <a:gd name="connsiteY4" fmla="*/ 188787 h 200304"/>
                <a:gd name="connsiteX5" fmla="*/ 16096 w 686759"/>
                <a:gd name="connsiteY5" fmla="*/ 160172 h 200304"/>
                <a:gd name="connsiteX6" fmla="*/ 16096 w 686759"/>
                <a:gd name="connsiteY6" fmla="*/ 44997 h 200304"/>
                <a:gd name="connsiteX7" fmla="*/ 44711 w 686759"/>
                <a:gd name="connsiteY7" fmla="*/ 16382 h 20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759" h="200304">
                  <a:moveTo>
                    <a:pt x="653780" y="16096"/>
                  </a:moveTo>
                  <a:cubicBezTo>
                    <a:pt x="669584" y="16096"/>
                    <a:pt x="682395" y="28907"/>
                    <a:pt x="682395" y="44711"/>
                  </a:cubicBezTo>
                  <a:lnTo>
                    <a:pt x="682395" y="160172"/>
                  </a:lnTo>
                  <a:cubicBezTo>
                    <a:pt x="682395" y="175976"/>
                    <a:pt x="669584" y="188787"/>
                    <a:pt x="653780" y="188787"/>
                  </a:cubicBezTo>
                  <a:lnTo>
                    <a:pt x="44711" y="188787"/>
                  </a:lnTo>
                  <a:cubicBezTo>
                    <a:pt x="28907" y="188787"/>
                    <a:pt x="16096" y="175976"/>
                    <a:pt x="16096" y="160172"/>
                  </a:cubicBezTo>
                  <a:lnTo>
                    <a:pt x="16096" y="44997"/>
                  </a:lnTo>
                  <a:cubicBezTo>
                    <a:pt x="16096" y="29193"/>
                    <a:pt x="28907" y="16382"/>
                    <a:pt x="44711" y="16382"/>
                  </a:cubicBezTo>
                  <a:close/>
                </a:path>
              </a:pathLst>
            </a:custGeom>
            <a:solidFill>
              <a:srgbClr val="9E9EA2">
                <a:alpha val="73000"/>
              </a:srgbClr>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21" name="Freeform: Shape 520">
              <a:extLst>
                <a:ext uri="{FF2B5EF4-FFF2-40B4-BE49-F238E27FC236}">
                  <a16:creationId xmlns:a16="http://schemas.microsoft.com/office/drawing/2014/main" id="{81A677F3-5CB0-4091-BF8C-AC657F0C9C7D}"/>
                </a:ext>
              </a:extLst>
            </p:cNvPr>
            <p:cNvSpPr/>
            <p:nvPr/>
          </p:nvSpPr>
          <p:spPr>
            <a:xfrm>
              <a:off x="3853842" y="5659482"/>
              <a:ext cx="686759" cy="200305"/>
            </a:xfrm>
            <a:custGeom>
              <a:avLst/>
              <a:gdLst>
                <a:gd name="connsiteX0" fmla="*/ 653780 w 686759"/>
                <a:gd name="connsiteY0" fmla="*/ 16096 h 200304"/>
                <a:gd name="connsiteX1" fmla="*/ 682395 w 686759"/>
                <a:gd name="connsiteY1" fmla="*/ 44711 h 200304"/>
                <a:gd name="connsiteX2" fmla="*/ 682395 w 686759"/>
                <a:gd name="connsiteY2" fmla="*/ 160315 h 200304"/>
                <a:gd name="connsiteX3" fmla="*/ 653780 w 686759"/>
                <a:gd name="connsiteY3" fmla="*/ 188930 h 200304"/>
                <a:gd name="connsiteX4" fmla="*/ 44711 w 686759"/>
                <a:gd name="connsiteY4" fmla="*/ 188930 h 200304"/>
                <a:gd name="connsiteX5" fmla="*/ 16096 w 686759"/>
                <a:gd name="connsiteY5" fmla="*/ 160315 h 200304"/>
                <a:gd name="connsiteX6" fmla="*/ 16096 w 686759"/>
                <a:gd name="connsiteY6" fmla="*/ 44854 h 200304"/>
                <a:gd name="connsiteX7" fmla="*/ 44711 w 686759"/>
                <a:gd name="connsiteY7" fmla="*/ 16239 h 20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759" h="200304">
                  <a:moveTo>
                    <a:pt x="653780" y="16096"/>
                  </a:moveTo>
                  <a:cubicBezTo>
                    <a:pt x="669584" y="16096"/>
                    <a:pt x="682395" y="28907"/>
                    <a:pt x="682395" y="44711"/>
                  </a:cubicBezTo>
                  <a:lnTo>
                    <a:pt x="682395" y="160315"/>
                  </a:lnTo>
                  <a:cubicBezTo>
                    <a:pt x="682395" y="176119"/>
                    <a:pt x="669584" y="188930"/>
                    <a:pt x="653780" y="188930"/>
                  </a:cubicBezTo>
                  <a:lnTo>
                    <a:pt x="44711" y="188930"/>
                  </a:lnTo>
                  <a:cubicBezTo>
                    <a:pt x="28907" y="188930"/>
                    <a:pt x="16096" y="176119"/>
                    <a:pt x="16096" y="160315"/>
                  </a:cubicBezTo>
                  <a:lnTo>
                    <a:pt x="16096" y="44854"/>
                  </a:lnTo>
                  <a:cubicBezTo>
                    <a:pt x="16096" y="29050"/>
                    <a:pt x="28907" y="16239"/>
                    <a:pt x="44711" y="16239"/>
                  </a:cubicBezTo>
                  <a:close/>
                </a:path>
              </a:pathLst>
            </a:custGeom>
            <a:solidFill>
              <a:srgbClr val="FFFFFF">
                <a:alpha val="73000"/>
              </a:srgbClr>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22" name="Freeform: Shape 521">
              <a:extLst>
                <a:ext uri="{FF2B5EF4-FFF2-40B4-BE49-F238E27FC236}">
                  <a16:creationId xmlns:a16="http://schemas.microsoft.com/office/drawing/2014/main" id="{35674514-0601-407F-9B27-E9C99468D66A}"/>
                </a:ext>
              </a:extLst>
            </p:cNvPr>
            <p:cNvSpPr/>
            <p:nvPr/>
          </p:nvSpPr>
          <p:spPr>
            <a:xfrm>
              <a:off x="3931270" y="5846446"/>
              <a:ext cx="686759" cy="200305"/>
            </a:xfrm>
            <a:custGeom>
              <a:avLst/>
              <a:gdLst>
                <a:gd name="connsiteX0" fmla="*/ 653780 w 686759"/>
                <a:gd name="connsiteY0" fmla="*/ 16096 h 200304"/>
                <a:gd name="connsiteX1" fmla="*/ 682395 w 686759"/>
                <a:gd name="connsiteY1" fmla="*/ 44711 h 200304"/>
                <a:gd name="connsiteX2" fmla="*/ 682395 w 686759"/>
                <a:gd name="connsiteY2" fmla="*/ 160029 h 200304"/>
                <a:gd name="connsiteX3" fmla="*/ 653780 w 686759"/>
                <a:gd name="connsiteY3" fmla="*/ 188644 h 200304"/>
                <a:gd name="connsiteX4" fmla="*/ 44711 w 686759"/>
                <a:gd name="connsiteY4" fmla="*/ 188644 h 200304"/>
                <a:gd name="connsiteX5" fmla="*/ 16096 w 686759"/>
                <a:gd name="connsiteY5" fmla="*/ 160029 h 200304"/>
                <a:gd name="connsiteX6" fmla="*/ 16096 w 686759"/>
                <a:gd name="connsiteY6" fmla="*/ 45569 h 200304"/>
                <a:gd name="connsiteX7" fmla="*/ 44711 w 686759"/>
                <a:gd name="connsiteY7" fmla="*/ 16954 h 20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759" h="200304">
                  <a:moveTo>
                    <a:pt x="653780" y="16096"/>
                  </a:moveTo>
                  <a:cubicBezTo>
                    <a:pt x="669584" y="16096"/>
                    <a:pt x="682395" y="28907"/>
                    <a:pt x="682395" y="44711"/>
                  </a:cubicBezTo>
                  <a:lnTo>
                    <a:pt x="682395" y="160029"/>
                  </a:lnTo>
                  <a:cubicBezTo>
                    <a:pt x="682395" y="175833"/>
                    <a:pt x="669584" y="188644"/>
                    <a:pt x="653780" y="188644"/>
                  </a:cubicBezTo>
                  <a:lnTo>
                    <a:pt x="44711" y="188644"/>
                  </a:lnTo>
                  <a:cubicBezTo>
                    <a:pt x="28907" y="188644"/>
                    <a:pt x="16096" y="175833"/>
                    <a:pt x="16096" y="160029"/>
                  </a:cubicBezTo>
                  <a:lnTo>
                    <a:pt x="16096" y="45569"/>
                  </a:lnTo>
                  <a:cubicBezTo>
                    <a:pt x="16096" y="29765"/>
                    <a:pt x="28907" y="16954"/>
                    <a:pt x="44711" y="16954"/>
                  </a:cubicBezTo>
                  <a:close/>
                </a:path>
              </a:pathLst>
            </a:custGeom>
            <a:solidFill>
              <a:srgbClr val="9E9EA2">
                <a:alpha val="73000"/>
              </a:srgbClr>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23" name="Freeform: Shape 522">
              <a:extLst>
                <a:ext uri="{FF2B5EF4-FFF2-40B4-BE49-F238E27FC236}">
                  <a16:creationId xmlns:a16="http://schemas.microsoft.com/office/drawing/2014/main" id="{471BFD67-DF47-47B1-A6CE-2664FA1E15F4}"/>
                </a:ext>
              </a:extLst>
            </p:cNvPr>
            <p:cNvSpPr/>
            <p:nvPr/>
          </p:nvSpPr>
          <p:spPr>
            <a:xfrm>
              <a:off x="3911931" y="5808423"/>
              <a:ext cx="686759" cy="200305"/>
            </a:xfrm>
            <a:custGeom>
              <a:avLst/>
              <a:gdLst>
                <a:gd name="connsiteX0" fmla="*/ 653780 w 686759"/>
                <a:gd name="connsiteY0" fmla="*/ 16096 h 200304"/>
                <a:gd name="connsiteX1" fmla="*/ 682395 w 686759"/>
                <a:gd name="connsiteY1" fmla="*/ 44711 h 200304"/>
                <a:gd name="connsiteX2" fmla="*/ 682395 w 686759"/>
                <a:gd name="connsiteY2" fmla="*/ 160172 h 200304"/>
                <a:gd name="connsiteX3" fmla="*/ 653780 w 686759"/>
                <a:gd name="connsiteY3" fmla="*/ 188787 h 200304"/>
                <a:gd name="connsiteX4" fmla="*/ 44711 w 686759"/>
                <a:gd name="connsiteY4" fmla="*/ 188787 h 200304"/>
                <a:gd name="connsiteX5" fmla="*/ 16096 w 686759"/>
                <a:gd name="connsiteY5" fmla="*/ 160172 h 200304"/>
                <a:gd name="connsiteX6" fmla="*/ 16096 w 686759"/>
                <a:gd name="connsiteY6" fmla="*/ 44997 h 200304"/>
                <a:gd name="connsiteX7" fmla="*/ 44711 w 686759"/>
                <a:gd name="connsiteY7" fmla="*/ 16382 h 20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759" h="200304">
                  <a:moveTo>
                    <a:pt x="653780" y="16096"/>
                  </a:moveTo>
                  <a:cubicBezTo>
                    <a:pt x="669584" y="16096"/>
                    <a:pt x="682395" y="28907"/>
                    <a:pt x="682395" y="44711"/>
                  </a:cubicBezTo>
                  <a:lnTo>
                    <a:pt x="682395" y="160172"/>
                  </a:lnTo>
                  <a:cubicBezTo>
                    <a:pt x="682395" y="175976"/>
                    <a:pt x="669584" y="188787"/>
                    <a:pt x="653780" y="188787"/>
                  </a:cubicBezTo>
                  <a:lnTo>
                    <a:pt x="44711" y="188787"/>
                  </a:lnTo>
                  <a:cubicBezTo>
                    <a:pt x="28907" y="188787"/>
                    <a:pt x="16096" y="175976"/>
                    <a:pt x="16096" y="160172"/>
                  </a:cubicBezTo>
                  <a:lnTo>
                    <a:pt x="16096" y="44997"/>
                  </a:lnTo>
                  <a:cubicBezTo>
                    <a:pt x="16096" y="29193"/>
                    <a:pt x="28907" y="16382"/>
                    <a:pt x="44711" y="16382"/>
                  </a:cubicBezTo>
                  <a:close/>
                </a:path>
              </a:pathLst>
            </a:custGeom>
            <a:solidFill>
              <a:srgbClr val="1E4471">
                <a:alpha val="81000"/>
              </a:srgbClr>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24" name="Freeform: Shape 523">
              <a:extLst>
                <a:ext uri="{FF2B5EF4-FFF2-40B4-BE49-F238E27FC236}">
                  <a16:creationId xmlns:a16="http://schemas.microsoft.com/office/drawing/2014/main" id="{C6BF95A1-8AB2-4306-A9E2-AE4A2FF82688}"/>
                </a:ext>
              </a:extLst>
            </p:cNvPr>
            <p:cNvSpPr/>
            <p:nvPr/>
          </p:nvSpPr>
          <p:spPr>
            <a:xfrm>
              <a:off x="3811802" y="5995387"/>
              <a:ext cx="686759" cy="200305"/>
            </a:xfrm>
            <a:custGeom>
              <a:avLst/>
              <a:gdLst>
                <a:gd name="connsiteX0" fmla="*/ 653923 w 686759"/>
                <a:gd name="connsiteY0" fmla="*/ 16096 h 200304"/>
                <a:gd name="connsiteX1" fmla="*/ 682538 w 686759"/>
                <a:gd name="connsiteY1" fmla="*/ 44711 h 200304"/>
                <a:gd name="connsiteX2" fmla="*/ 682538 w 686759"/>
                <a:gd name="connsiteY2" fmla="*/ 160172 h 200304"/>
                <a:gd name="connsiteX3" fmla="*/ 653923 w 686759"/>
                <a:gd name="connsiteY3" fmla="*/ 188787 h 200304"/>
                <a:gd name="connsiteX4" fmla="*/ 44711 w 686759"/>
                <a:gd name="connsiteY4" fmla="*/ 188787 h 200304"/>
                <a:gd name="connsiteX5" fmla="*/ 16096 w 686759"/>
                <a:gd name="connsiteY5" fmla="*/ 160172 h 200304"/>
                <a:gd name="connsiteX6" fmla="*/ 16096 w 686759"/>
                <a:gd name="connsiteY6" fmla="*/ 44997 h 200304"/>
                <a:gd name="connsiteX7" fmla="*/ 44711 w 686759"/>
                <a:gd name="connsiteY7" fmla="*/ 16382 h 20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759" h="200304">
                  <a:moveTo>
                    <a:pt x="653923" y="16096"/>
                  </a:moveTo>
                  <a:cubicBezTo>
                    <a:pt x="669727" y="16096"/>
                    <a:pt x="682538" y="28907"/>
                    <a:pt x="682538" y="44711"/>
                  </a:cubicBezTo>
                  <a:lnTo>
                    <a:pt x="682538" y="160172"/>
                  </a:lnTo>
                  <a:cubicBezTo>
                    <a:pt x="682538" y="175976"/>
                    <a:pt x="669727" y="188787"/>
                    <a:pt x="653923" y="188787"/>
                  </a:cubicBezTo>
                  <a:lnTo>
                    <a:pt x="44711" y="188787"/>
                  </a:lnTo>
                  <a:cubicBezTo>
                    <a:pt x="28907" y="188787"/>
                    <a:pt x="16096" y="175976"/>
                    <a:pt x="16096" y="160172"/>
                  </a:cubicBezTo>
                  <a:lnTo>
                    <a:pt x="16096" y="44997"/>
                  </a:lnTo>
                  <a:cubicBezTo>
                    <a:pt x="16096" y="29193"/>
                    <a:pt x="28907" y="16382"/>
                    <a:pt x="44711" y="16382"/>
                  </a:cubicBezTo>
                  <a:close/>
                </a:path>
              </a:pathLst>
            </a:custGeom>
            <a:solidFill>
              <a:srgbClr val="9E9EA2">
                <a:alpha val="73000"/>
              </a:srgbClr>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25" name="Freeform: Shape 524">
              <a:extLst>
                <a:ext uri="{FF2B5EF4-FFF2-40B4-BE49-F238E27FC236}">
                  <a16:creationId xmlns:a16="http://schemas.microsoft.com/office/drawing/2014/main" id="{54A19CAA-E8D3-42B8-9EB7-6661802747FB}"/>
                </a:ext>
              </a:extLst>
            </p:cNvPr>
            <p:cNvSpPr/>
            <p:nvPr/>
          </p:nvSpPr>
          <p:spPr>
            <a:xfrm>
              <a:off x="3792463" y="5957507"/>
              <a:ext cx="686759" cy="200305"/>
            </a:xfrm>
            <a:custGeom>
              <a:avLst/>
              <a:gdLst>
                <a:gd name="connsiteX0" fmla="*/ 653923 w 686759"/>
                <a:gd name="connsiteY0" fmla="*/ 16096 h 200304"/>
                <a:gd name="connsiteX1" fmla="*/ 682538 w 686759"/>
                <a:gd name="connsiteY1" fmla="*/ 44711 h 200304"/>
                <a:gd name="connsiteX2" fmla="*/ 682538 w 686759"/>
                <a:gd name="connsiteY2" fmla="*/ 160172 h 200304"/>
                <a:gd name="connsiteX3" fmla="*/ 653923 w 686759"/>
                <a:gd name="connsiteY3" fmla="*/ 188787 h 200304"/>
                <a:gd name="connsiteX4" fmla="*/ 44711 w 686759"/>
                <a:gd name="connsiteY4" fmla="*/ 188787 h 200304"/>
                <a:gd name="connsiteX5" fmla="*/ 16096 w 686759"/>
                <a:gd name="connsiteY5" fmla="*/ 160172 h 200304"/>
                <a:gd name="connsiteX6" fmla="*/ 16096 w 686759"/>
                <a:gd name="connsiteY6" fmla="*/ 44854 h 200304"/>
                <a:gd name="connsiteX7" fmla="*/ 44711 w 686759"/>
                <a:gd name="connsiteY7" fmla="*/ 16239 h 20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759" h="200304">
                  <a:moveTo>
                    <a:pt x="653923" y="16096"/>
                  </a:moveTo>
                  <a:cubicBezTo>
                    <a:pt x="669727" y="16096"/>
                    <a:pt x="682538" y="28907"/>
                    <a:pt x="682538" y="44711"/>
                  </a:cubicBezTo>
                  <a:lnTo>
                    <a:pt x="682538" y="160172"/>
                  </a:lnTo>
                  <a:cubicBezTo>
                    <a:pt x="682538" y="175976"/>
                    <a:pt x="669727" y="188787"/>
                    <a:pt x="653923" y="188787"/>
                  </a:cubicBezTo>
                  <a:lnTo>
                    <a:pt x="44711" y="188787"/>
                  </a:lnTo>
                  <a:cubicBezTo>
                    <a:pt x="28907" y="188787"/>
                    <a:pt x="16096" y="175976"/>
                    <a:pt x="16096" y="160172"/>
                  </a:cubicBezTo>
                  <a:lnTo>
                    <a:pt x="16096" y="44854"/>
                  </a:lnTo>
                  <a:cubicBezTo>
                    <a:pt x="16096" y="29050"/>
                    <a:pt x="28907" y="16239"/>
                    <a:pt x="44711" y="16239"/>
                  </a:cubicBezTo>
                  <a:close/>
                </a:path>
              </a:pathLst>
            </a:custGeom>
            <a:solidFill>
              <a:srgbClr val="FFFFFF">
                <a:alpha val="73000"/>
              </a:srgbClr>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526" name="Group 525">
            <a:extLst>
              <a:ext uri="{FF2B5EF4-FFF2-40B4-BE49-F238E27FC236}">
                <a16:creationId xmlns:a16="http://schemas.microsoft.com/office/drawing/2014/main" id="{2FFD64BF-0909-4862-AAE2-E49E02B83A2D}"/>
              </a:ext>
            </a:extLst>
          </p:cNvPr>
          <p:cNvGrpSpPr/>
          <p:nvPr/>
        </p:nvGrpSpPr>
        <p:grpSpPr>
          <a:xfrm>
            <a:off x="7239115" y="2111978"/>
            <a:ext cx="1022270" cy="218761"/>
            <a:chOff x="2736154" y="1943610"/>
            <a:chExt cx="1022270" cy="218761"/>
          </a:xfrm>
        </p:grpSpPr>
        <p:sp>
          <p:nvSpPr>
            <p:cNvPr id="527" name="Freeform: Shape 526">
              <a:extLst>
                <a:ext uri="{FF2B5EF4-FFF2-40B4-BE49-F238E27FC236}">
                  <a16:creationId xmlns:a16="http://schemas.microsoft.com/office/drawing/2014/main" id="{9FD48685-37F8-4D57-86EF-A9A5A595CAD9}"/>
                </a:ext>
              </a:extLst>
            </p:cNvPr>
            <p:cNvSpPr/>
            <p:nvPr/>
          </p:nvSpPr>
          <p:spPr>
            <a:xfrm>
              <a:off x="3114587" y="1943610"/>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28" name="Freeform: Shape 527">
              <a:extLst>
                <a:ext uri="{FF2B5EF4-FFF2-40B4-BE49-F238E27FC236}">
                  <a16:creationId xmlns:a16="http://schemas.microsoft.com/office/drawing/2014/main" id="{7553832E-DEB3-4EB6-AB1B-645A6DF57007}"/>
                </a:ext>
              </a:extLst>
            </p:cNvPr>
            <p:cNvSpPr/>
            <p:nvPr/>
          </p:nvSpPr>
          <p:spPr>
            <a:xfrm>
              <a:off x="2988395" y="2011857"/>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29" name="Freeform: Shape 528">
              <a:extLst>
                <a:ext uri="{FF2B5EF4-FFF2-40B4-BE49-F238E27FC236}">
                  <a16:creationId xmlns:a16="http://schemas.microsoft.com/office/drawing/2014/main" id="{83461B59-E23C-4558-AEF9-D2B972C9D1F8}"/>
                </a:ext>
              </a:extLst>
            </p:cNvPr>
            <p:cNvSpPr/>
            <p:nvPr/>
          </p:nvSpPr>
          <p:spPr>
            <a:xfrm>
              <a:off x="2862346" y="2079960"/>
              <a:ext cx="643837" cy="14307"/>
            </a:xfrm>
            <a:custGeom>
              <a:avLst/>
              <a:gdLst>
                <a:gd name="connsiteX0" fmla="*/ 8048 w 643836"/>
                <a:gd name="connsiteY0" fmla="*/ 8048 h 14307"/>
                <a:gd name="connsiteX1" fmla="*/ 646019 w 643836"/>
                <a:gd name="connsiteY1" fmla="*/ 8048 h 14307"/>
              </a:gdLst>
              <a:ahLst/>
              <a:cxnLst>
                <a:cxn ang="0">
                  <a:pos x="connsiteX0" y="connsiteY0"/>
                </a:cxn>
                <a:cxn ang="0">
                  <a:pos x="connsiteX1" y="connsiteY1"/>
                </a:cxn>
              </a:cxnLst>
              <a:rect l="l" t="t" r="r" b="b"/>
              <a:pathLst>
                <a:path w="643836" h="14307">
                  <a:moveTo>
                    <a:pt x="8048" y="8048"/>
                  </a:moveTo>
                  <a:lnTo>
                    <a:pt x="646019" y="8048"/>
                  </a:lnTo>
                </a:path>
              </a:pathLst>
            </a:custGeom>
            <a:ln w="7144" cap="flat">
              <a:solidFill>
                <a:schemeClr val="accent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30" name="Freeform: Shape 529">
              <a:extLst>
                <a:ext uri="{FF2B5EF4-FFF2-40B4-BE49-F238E27FC236}">
                  <a16:creationId xmlns:a16="http://schemas.microsoft.com/office/drawing/2014/main" id="{1DA1CF56-C92C-4EC2-8C9B-06EE67DE0519}"/>
                </a:ext>
              </a:extLst>
            </p:cNvPr>
            <p:cNvSpPr/>
            <p:nvPr/>
          </p:nvSpPr>
          <p:spPr>
            <a:xfrm>
              <a:off x="2736154" y="2148064"/>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531" name="Freeform: Shape 530">
            <a:extLst>
              <a:ext uri="{FF2B5EF4-FFF2-40B4-BE49-F238E27FC236}">
                <a16:creationId xmlns:a16="http://schemas.microsoft.com/office/drawing/2014/main" id="{53F098C3-8D15-48A9-A504-718191391F79}"/>
              </a:ext>
            </a:extLst>
          </p:cNvPr>
          <p:cNvSpPr>
            <a:spLocks noChangeAspect="1"/>
          </p:cNvSpPr>
          <p:nvPr/>
        </p:nvSpPr>
        <p:spPr>
          <a:xfrm rot="17628662">
            <a:off x="8170825" y="2098281"/>
            <a:ext cx="2283345" cy="443213"/>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gradFill flip="none" rotWithShape="1">
            <a:gsLst>
              <a:gs pos="0">
                <a:schemeClr val="accent1">
                  <a:lumMod val="20000"/>
                  <a:lumOff val="80000"/>
                  <a:alpha val="0"/>
                </a:schemeClr>
              </a:gs>
              <a:gs pos="100000">
                <a:schemeClr val="accent1">
                  <a:lumMod val="20000"/>
                  <a:lumOff val="80000"/>
                </a:schemeClr>
              </a:gs>
            </a:gsLst>
            <a:lin ang="0" scaled="1"/>
            <a:tileRect/>
          </a:gra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Tree>
    <p:extLst>
      <p:ext uri="{BB962C8B-B14F-4D97-AF65-F5344CB8AC3E}">
        <p14:creationId xmlns:p14="http://schemas.microsoft.com/office/powerpoint/2010/main" val="5271598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7E7D7BB-00FF-4ECD-927E-0043A1DD8655}"/>
              </a:ext>
            </a:extLst>
          </p:cNvPr>
          <p:cNvSpPr/>
          <p:nvPr/>
        </p:nvSpPr>
        <p:spPr>
          <a:xfrm>
            <a:off x="0" y="2435069"/>
            <a:ext cx="10788661" cy="27987"/>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ooter Placeholder 4">
            <a:extLst>
              <a:ext uri="{FF2B5EF4-FFF2-40B4-BE49-F238E27FC236}">
                <a16:creationId xmlns:a16="http://schemas.microsoft.com/office/drawing/2014/main" id="{02585BCB-11B7-4747-97D5-FADFE507C1C8}"/>
              </a:ext>
            </a:extLst>
          </p:cNvPr>
          <p:cNvSpPr>
            <a:spLocks noGrp="1"/>
          </p:cNvSpPr>
          <p:nvPr>
            <p:ph type="ftr" sz="quarter" idx="10"/>
          </p:nvPr>
        </p:nvSpPr>
        <p:spPr/>
        <p:txBody>
          <a:bodyPr/>
          <a:lstStyle/>
          <a:p>
            <a:r>
              <a:rPr lang="en-US" dirty="0"/>
              <a:t>© 2020 Cisco and/or its affiliates. All rights reserved. Cisco Confidential</a:t>
            </a:r>
          </a:p>
        </p:txBody>
      </p:sp>
      <p:sp>
        <p:nvSpPr>
          <p:cNvPr id="2" name="Title 1">
            <a:extLst>
              <a:ext uri="{FF2B5EF4-FFF2-40B4-BE49-F238E27FC236}">
                <a16:creationId xmlns:a16="http://schemas.microsoft.com/office/drawing/2014/main" id="{FA0BE187-2788-4615-8701-F892CE34BE42}"/>
              </a:ext>
            </a:extLst>
          </p:cNvPr>
          <p:cNvSpPr>
            <a:spLocks noGrp="1"/>
          </p:cNvSpPr>
          <p:nvPr>
            <p:ph type="title"/>
          </p:nvPr>
        </p:nvSpPr>
        <p:spPr>
          <a:xfrm>
            <a:off x="533400" y="481807"/>
            <a:ext cx="11127317" cy="787908"/>
          </a:xfrm>
        </p:spPr>
        <p:txBody>
          <a:bodyPr/>
          <a:lstStyle/>
          <a:p>
            <a:r>
              <a:rPr lang="en-US" sz="3200" dirty="0"/>
              <a:t>Verify the identity of all users before granting access to company-approved applications</a:t>
            </a:r>
          </a:p>
        </p:txBody>
      </p:sp>
      <p:sp>
        <p:nvSpPr>
          <p:cNvPr id="16" name="Text Placeholder 3">
            <a:extLst>
              <a:ext uri="{FF2B5EF4-FFF2-40B4-BE49-F238E27FC236}">
                <a16:creationId xmlns:a16="http://schemas.microsoft.com/office/drawing/2014/main" id="{28CA6A8E-13FD-41DF-9B64-8A2C759442D7}"/>
              </a:ext>
            </a:extLst>
          </p:cNvPr>
          <p:cNvSpPr txBox="1">
            <a:spLocks/>
          </p:cNvSpPr>
          <p:nvPr/>
        </p:nvSpPr>
        <p:spPr>
          <a:xfrm>
            <a:off x="533399" y="1456307"/>
            <a:ext cx="8660653" cy="347231"/>
          </a:xfrm>
          <a:prstGeom prst="rect">
            <a:avLst/>
          </a:prstGeom>
          <a:noFill/>
        </p:spPr>
        <p:txBody>
          <a:bodyPr wrap="square" lIns="0" tIns="0" rIns="0" bIns="0" rtlCol="0">
            <a:noAutofit/>
          </a:bodyPr>
          <a:lstStyle>
            <a:lvl1pPr marL="0" indent="0" algn="l" defTabSz="912239" rtl="0" eaLnBrk="1" fontAlgn="base" hangingPunct="1">
              <a:lnSpc>
                <a:spcPct val="95000"/>
              </a:lnSpc>
              <a:spcBef>
                <a:spcPts val="1433"/>
              </a:spcBef>
              <a:spcAft>
                <a:spcPct val="0"/>
              </a:spcAft>
              <a:buClr>
                <a:schemeClr val="tx2"/>
              </a:buClr>
              <a:buSzPct val="90000"/>
              <a:buFont typeface="Arial" charset="0"/>
              <a:buNone/>
              <a:defRPr lang="en-US" sz="1400" kern="1200" smtClean="0">
                <a:solidFill>
                  <a:schemeClr val="accent1"/>
                </a:solidFill>
                <a:latin typeface="+mn-lt"/>
                <a:ea typeface="+mn-ea"/>
                <a:cs typeface="+mn-cs"/>
              </a:defRPr>
            </a:lvl1pPr>
            <a:lvl2pPr marL="169349" indent="0" algn="l" defTabSz="912239" rtl="0" eaLnBrk="1" fontAlgn="base" hangingPunct="1">
              <a:lnSpc>
                <a:spcPct val="95000"/>
              </a:lnSpc>
              <a:spcBef>
                <a:spcPts val="800"/>
              </a:spcBef>
              <a:spcAft>
                <a:spcPct val="0"/>
              </a:spcAft>
              <a:buClr>
                <a:schemeClr val="tx2"/>
              </a:buClr>
              <a:buFont typeface="Arial" charset="0"/>
              <a:buNone/>
              <a:defRPr lang="en-US" sz="1800" kern="1200" smtClean="0">
                <a:solidFill>
                  <a:schemeClr val="tx1"/>
                </a:solidFill>
                <a:latin typeface="+mn-lt"/>
                <a:ea typeface="+mn-ea"/>
                <a:cs typeface="+mn-cs"/>
              </a:defRPr>
            </a:lvl2pPr>
            <a:lvl3pPr marL="575704" indent="-226473" algn="l" defTabSz="912239" rtl="0" eaLnBrk="1" fontAlgn="base" hangingPunct="1">
              <a:lnSpc>
                <a:spcPct val="95000"/>
              </a:lnSpc>
              <a:spcBef>
                <a:spcPts val="833"/>
              </a:spcBef>
              <a:spcAft>
                <a:spcPct val="0"/>
              </a:spcAft>
              <a:buFont typeface="Arial" charset="0"/>
              <a:buChar char="•"/>
              <a:defRPr lang="en-US" sz="1800" kern="1200" smtClean="0">
                <a:solidFill>
                  <a:schemeClr val="tx1"/>
                </a:solidFill>
                <a:latin typeface="+mn-lt"/>
                <a:ea typeface="+mn-ea"/>
                <a:cs typeface="+mn-cs"/>
              </a:defRPr>
            </a:lvl3pPr>
            <a:lvl4pPr marL="670950" indent="-226473" algn="l" defTabSz="912239" rtl="0" eaLnBrk="1" fontAlgn="base" hangingPunct="1">
              <a:lnSpc>
                <a:spcPct val="95000"/>
              </a:lnSpc>
              <a:spcBef>
                <a:spcPts val="833"/>
              </a:spcBef>
              <a:spcAft>
                <a:spcPct val="0"/>
              </a:spcAft>
              <a:buFont typeface="Arial" charset="0"/>
              <a:buChar char="•"/>
              <a:defRPr lang="en-US" sz="1800" kern="1200" smtClean="0">
                <a:solidFill>
                  <a:schemeClr val="tx1"/>
                </a:solidFill>
                <a:latin typeface="+mn-lt"/>
                <a:ea typeface="+mn-ea"/>
                <a:cs typeface="+mn-cs"/>
              </a:defRPr>
            </a:lvl4pPr>
            <a:lvl5pPr marL="766196" indent="-226473" algn="l" defTabSz="912239" rtl="0" eaLnBrk="1" fontAlgn="base" hangingPunct="1">
              <a:lnSpc>
                <a:spcPct val="95000"/>
              </a:lnSpc>
              <a:spcBef>
                <a:spcPts val="833"/>
              </a:spcBef>
              <a:spcAft>
                <a:spcPct val="0"/>
              </a:spcAft>
              <a:buFont typeface="Arial" charset="0"/>
              <a:buChar char="•"/>
              <a:defRPr lang="en-US" sz="1800" kern="1200">
                <a:solidFill>
                  <a:schemeClr val="tx1"/>
                </a:solidFill>
                <a:latin typeface="+mn-lt"/>
                <a:ea typeface="+mn-ea"/>
                <a:cs typeface="+mn-cs"/>
              </a:defRPr>
            </a:lvl5pPr>
            <a:lvl6pPr marL="1151750" indent="-228582" algn="l" defTabSz="914324"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30" indent="-228552" algn="l" defTabSz="914324"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133" indent="0" algn="l" defTabSz="914324" rtl="0" eaLnBrk="1" latinLnBrk="0" hangingPunct="1">
              <a:spcBef>
                <a:spcPct val="20000"/>
              </a:spcBef>
              <a:buFont typeface="Arial" pitchFamily="34" charset="0"/>
              <a:buNone/>
              <a:defRPr sz="2000" kern="1200">
                <a:solidFill>
                  <a:schemeClr val="tx1"/>
                </a:solidFill>
                <a:latin typeface="+mn-lt"/>
                <a:ea typeface="+mn-ea"/>
                <a:cs typeface="+mn-cs"/>
              </a:defRPr>
            </a:lvl8pPr>
            <a:lvl9pPr marL="3885878" indent="-228582" algn="l" defTabSz="91432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ctr"/>
            <a:r>
              <a:rPr lang="en-US" sz="2400" dirty="0"/>
              <a:t>World’s easiest and most secure MFA</a:t>
            </a:r>
          </a:p>
        </p:txBody>
      </p:sp>
      <p:sp>
        <p:nvSpPr>
          <p:cNvPr id="11" name="Rectangle 10">
            <a:extLst>
              <a:ext uri="{FF2B5EF4-FFF2-40B4-BE49-F238E27FC236}">
                <a16:creationId xmlns:a16="http://schemas.microsoft.com/office/drawing/2014/main" id="{B584BDDC-6CD0-4E73-BFF0-DF5AA71DB446}"/>
              </a:ext>
            </a:extLst>
          </p:cNvPr>
          <p:cNvSpPr/>
          <p:nvPr/>
        </p:nvSpPr>
        <p:spPr>
          <a:xfrm>
            <a:off x="11204294" y="2303362"/>
            <a:ext cx="0" cy="3840480"/>
          </a:xfrm>
          <a:custGeom>
            <a:avLst/>
            <a:gdLst>
              <a:gd name="connsiteX0" fmla="*/ 0 w 11658600"/>
              <a:gd name="connsiteY0" fmla="*/ 0 h 5139159"/>
              <a:gd name="connsiteX1" fmla="*/ 11658600 w 11658600"/>
              <a:gd name="connsiteY1" fmla="*/ 0 h 5139159"/>
              <a:gd name="connsiteX2" fmla="*/ 11658600 w 11658600"/>
              <a:gd name="connsiteY2" fmla="*/ 5139159 h 5139159"/>
              <a:gd name="connsiteX3" fmla="*/ 0 w 11658600"/>
              <a:gd name="connsiteY3" fmla="*/ 5139159 h 5139159"/>
              <a:gd name="connsiteX4" fmla="*/ 0 w 11658600"/>
              <a:gd name="connsiteY4" fmla="*/ 0 h 5139159"/>
              <a:gd name="connsiteX0" fmla="*/ 0 w 11658600"/>
              <a:gd name="connsiteY0" fmla="*/ 0 h 5139159"/>
              <a:gd name="connsiteX1" fmla="*/ 11658600 w 11658600"/>
              <a:gd name="connsiteY1" fmla="*/ 0 h 5139159"/>
              <a:gd name="connsiteX2" fmla="*/ 11658600 w 11658600"/>
              <a:gd name="connsiteY2" fmla="*/ 5139159 h 5139159"/>
              <a:gd name="connsiteX3" fmla="*/ 0 w 11658600"/>
              <a:gd name="connsiteY3" fmla="*/ 5139159 h 5139159"/>
              <a:gd name="connsiteX4" fmla="*/ 91440 w 11658600"/>
              <a:gd name="connsiteY4" fmla="*/ 91440 h 5139159"/>
              <a:gd name="connsiteX0" fmla="*/ 0 w 11658600"/>
              <a:gd name="connsiteY0" fmla="*/ 0 h 5139159"/>
              <a:gd name="connsiteX1" fmla="*/ 11658600 w 11658600"/>
              <a:gd name="connsiteY1" fmla="*/ 0 h 5139159"/>
              <a:gd name="connsiteX2" fmla="*/ 11658600 w 11658600"/>
              <a:gd name="connsiteY2" fmla="*/ 5139159 h 5139159"/>
              <a:gd name="connsiteX3" fmla="*/ 0 w 11658600"/>
              <a:gd name="connsiteY3" fmla="*/ 5139159 h 5139159"/>
              <a:gd name="connsiteX0" fmla="*/ 0 w 11658600"/>
              <a:gd name="connsiteY0" fmla="*/ 0 h 5139159"/>
              <a:gd name="connsiteX1" fmla="*/ 11658600 w 11658600"/>
              <a:gd name="connsiteY1" fmla="*/ 0 h 5139159"/>
              <a:gd name="connsiteX2" fmla="*/ 11658600 w 11658600"/>
              <a:gd name="connsiteY2" fmla="*/ 5139159 h 5139159"/>
              <a:gd name="connsiteX0" fmla="*/ 0 w 0"/>
              <a:gd name="connsiteY0" fmla="*/ 0 h 5139159"/>
              <a:gd name="connsiteX1" fmla="*/ 0 w 0"/>
              <a:gd name="connsiteY1" fmla="*/ 5139159 h 5139159"/>
            </a:gdLst>
            <a:ahLst/>
            <a:cxnLst>
              <a:cxn ang="0">
                <a:pos x="connsiteX0" y="connsiteY0"/>
              </a:cxn>
              <a:cxn ang="0">
                <a:pos x="connsiteX1" y="connsiteY1"/>
              </a:cxn>
            </a:cxnLst>
            <a:rect l="l" t="t" r="r" b="b"/>
            <a:pathLst>
              <a:path h="5139159">
                <a:moveTo>
                  <a:pt x="0" y="0"/>
                </a:moveTo>
                <a:lnTo>
                  <a:pt x="0" y="5139159"/>
                </a:lnTo>
              </a:path>
            </a:pathLst>
          </a:custGeom>
          <a:no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C28DE66D-B5FD-44DD-A6E9-80508A22AF72}"/>
              </a:ext>
            </a:extLst>
          </p:cNvPr>
          <p:cNvSpPr/>
          <p:nvPr/>
        </p:nvSpPr>
        <p:spPr>
          <a:xfrm>
            <a:off x="10412694" y="1517905"/>
            <a:ext cx="1570916" cy="1570914"/>
          </a:xfrm>
          <a:prstGeom prst="ellipse">
            <a:avLst/>
          </a:prstGeom>
          <a:solidFill>
            <a:schemeClr val="bg2"/>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3" name="Oval 442">
            <a:extLst>
              <a:ext uri="{FF2B5EF4-FFF2-40B4-BE49-F238E27FC236}">
                <a16:creationId xmlns:a16="http://schemas.microsoft.com/office/drawing/2014/main" id="{FB39039A-BD3A-4F6D-A92D-8F0E3BD4B3DD}"/>
              </a:ext>
            </a:extLst>
          </p:cNvPr>
          <p:cNvSpPr/>
          <p:nvPr/>
        </p:nvSpPr>
        <p:spPr>
          <a:xfrm>
            <a:off x="9158843" y="2874713"/>
            <a:ext cx="693008" cy="693008"/>
          </a:xfrm>
          <a:prstGeom prst="ellipse">
            <a:avLst/>
          </a:prstGeom>
          <a:pattFill prst="wdUpDiag">
            <a:fgClr>
              <a:schemeClr val="bg2">
                <a:lumMod val="65000"/>
              </a:schemeClr>
            </a:fgClr>
            <a:bgClr>
              <a:schemeClr val="bg2">
                <a:lumMod val="95000"/>
              </a:schemeClr>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nvGrpSpPr>
          <p:cNvPr id="82" name="Group 81">
            <a:extLst>
              <a:ext uri="{FF2B5EF4-FFF2-40B4-BE49-F238E27FC236}">
                <a16:creationId xmlns:a16="http://schemas.microsoft.com/office/drawing/2014/main" id="{3BF7AB64-F7C8-4602-95DA-EA7B4811E645}"/>
              </a:ext>
            </a:extLst>
          </p:cNvPr>
          <p:cNvGrpSpPr/>
          <p:nvPr/>
        </p:nvGrpSpPr>
        <p:grpSpPr>
          <a:xfrm>
            <a:off x="8770693" y="3362589"/>
            <a:ext cx="746986" cy="545898"/>
            <a:chOff x="5065273" y="5505855"/>
            <a:chExt cx="1222040" cy="893068"/>
          </a:xfrm>
        </p:grpSpPr>
        <p:sp>
          <p:nvSpPr>
            <p:cNvPr id="83" name="Freeform: Shape 82">
              <a:extLst>
                <a:ext uri="{FF2B5EF4-FFF2-40B4-BE49-F238E27FC236}">
                  <a16:creationId xmlns:a16="http://schemas.microsoft.com/office/drawing/2014/main" id="{39153B65-C698-495E-86BE-28BB015E9154}"/>
                </a:ext>
              </a:extLst>
            </p:cNvPr>
            <p:cNvSpPr/>
            <p:nvPr/>
          </p:nvSpPr>
          <p:spPr>
            <a:xfrm>
              <a:off x="5694802" y="5754519"/>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027B17B2-2742-40A4-9B58-9081236E9764}"/>
                </a:ext>
              </a:extLst>
            </p:cNvPr>
            <p:cNvSpPr/>
            <p:nvPr/>
          </p:nvSpPr>
          <p:spPr>
            <a:xfrm>
              <a:off x="5694659" y="5704872"/>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85" name="Freeform: Shape 84">
              <a:extLst>
                <a:ext uri="{FF2B5EF4-FFF2-40B4-BE49-F238E27FC236}">
                  <a16:creationId xmlns:a16="http://schemas.microsoft.com/office/drawing/2014/main" id="{E8279739-F44B-4C82-8ADA-3737046B62BB}"/>
                </a:ext>
              </a:extLst>
            </p:cNvPr>
            <p:cNvSpPr/>
            <p:nvPr/>
          </p:nvSpPr>
          <p:spPr>
            <a:xfrm>
              <a:off x="5536275" y="5705873"/>
              <a:ext cx="42922" cy="42922"/>
            </a:xfrm>
            <a:custGeom>
              <a:avLst/>
              <a:gdLst>
                <a:gd name="connsiteX0" fmla="*/ 23893 w 42922"/>
                <a:gd name="connsiteY0" fmla="*/ 37056 h 42922"/>
                <a:gd name="connsiteX1" fmla="*/ 37056 w 42922"/>
                <a:gd name="connsiteY1" fmla="*/ 23894 h 42922"/>
                <a:gd name="connsiteX2" fmla="*/ 23893 w 42922"/>
                <a:gd name="connsiteY2" fmla="*/ 10731 h 42922"/>
                <a:gd name="connsiteX3" fmla="*/ 10731 w 42922"/>
                <a:gd name="connsiteY3" fmla="*/ 23894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4"/>
                  </a:cubicBezTo>
                  <a:cubicBezTo>
                    <a:pt x="37056" y="16624"/>
                    <a:pt x="31163" y="10731"/>
                    <a:pt x="23893" y="10731"/>
                  </a:cubicBezTo>
                  <a:cubicBezTo>
                    <a:pt x="16624" y="10731"/>
                    <a:pt x="10731" y="16624"/>
                    <a:pt x="10731" y="23894"/>
                  </a:cubicBezTo>
                  <a:cubicBezTo>
                    <a:pt x="10731" y="31163"/>
                    <a:pt x="16624" y="37056"/>
                    <a:pt x="23893"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0E12C3C8-3A49-42A4-BA9E-F1E6F697F8AF}"/>
                </a:ext>
              </a:extLst>
            </p:cNvPr>
            <p:cNvSpPr/>
            <p:nvPr/>
          </p:nvSpPr>
          <p:spPr>
            <a:xfrm>
              <a:off x="5694659" y="5655225"/>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87" name="Freeform: Shape 86">
              <a:extLst>
                <a:ext uri="{FF2B5EF4-FFF2-40B4-BE49-F238E27FC236}">
                  <a16:creationId xmlns:a16="http://schemas.microsoft.com/office/drawing/2014/main" id="{A7C5CBA3-58E7-40E9-8990-5C42DC4E35BD}"/>
                </a:ext>
              </a:extLst>
            </p:cNvPr>
            <p:cNvSpPr/>
            <p:nvPr/>
          </p:nvSpPr>
          <p:spPr>
            <a:xfrm>
              <a:off x="5536847" y="5755663"/>
              <a:ext cx="42922" cy="42922"/>
            </a:xfrm>
            <a:custGeom>
              <a:avLst/>
              <a:gdLst>
                <a:gd name="connsiteX0" fmla="*/ 23894 w 42922"/>
                <a:gd name="connsiteY0" fmla="*/ 10731 h 42922"/>
                <a:gd name="connsiteX1" fmla="*/ 10731 w 42922"/>
                <a:gd name="connsiteY1" fmla="*/ 23894 h 42922"/>
                <a:gd name="connsiteX2" fmla="*/ 23894 w 42922"/>
                <a:gd name="connsiteY2" fmla="*/ 37056 h 42922"/>
                <a:gd name="connsiteX3" fmla="*/ 37056 w 42922"/>
                <a:gd name="connsiteY3" fmla="*/ 23894 h 42922"/>
                <a:gd name="connsiteX4" fmla="*/ 23894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4" y="10731"/>
                  </a:moveTo>
                  <a:cubicBezTo>
                    <a:pt x="16624" y="10731"/>
                    <a:pt x="10731" y="16624"/>
                    <a:pt x="10731" y="23894"/>
                  </a:cubicBezTo>
                  <a:cubicBezTo>
                    <a:pt x="10731" y="31163"/>
                    <a:pt x="16624" y="37056"/>
                    <a:pt x="23894" y="37056"/>
                  </a:cubicBezTo>
                  <a:cubicBezTo>
                    <a:pt x="31163" y="37056"/>
                    <a:pt x="37056" y="31163"/>
                    <a:pt x="37056" y="23894"/>
                  </a:cubicBezTo>
                  <a:cubicBezTo>
                    <a:pt x="37056" y="16624"/>
                    <a:pt x="31163" y="10731"/>
                    <a:pt x="2389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88" name="Freeform: Shape 87">
              <a:extLst>
                <a:ext uri="{FF2B5EF4-FFF2-40B4-BE49-F238E27FC236}">
                  <a16:creationId xmlns:a16="http://schemas.microsoft.com/office/drawing/2014/main" id="{170E63A8-F4A6-40C4-A65D-5977551FD57A}"/>
                </a:ext>
              </a:extLst>
            </p:cNvPr>
            <p:cNvSpPr/>
            <p:nvPr/>
          </p:nvSpPr>
          <p:spPr>
            <a:xfrm>
              <a:off x="5694659" y="5505855"/>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89" name="Freeform: Shape 88">
              <a:extLst>
                <a:ext uri="{FF2B5EF4-FFF2-40B4-BE49-F238E27FC236}">
                  <a16:creationId xmlns:a16="http://schemas.microsoft.com/office/drawing/2014/main" id="{5734AA97-14D0-4000-A750-360B03FECC77}"/>
                </a:ext>
              </a:extLst>
            </p:cNvPr>
            <p:cNvSpPr/>
            <p:nvPr/>
          </p:nvSpPr>
          <p:spPr>
            <a:xfrm>
              <a:off x="5694659" y="5605435"/>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2962422E-9B8A-40B5-ADE5-34AE4AF635DB}"/>
                </a:ext>
              </a:extLst>
            </p:cNvPr>
            <p:cNvSpPr/>
            <p:nvPr/>
          </p:nvSpPr>
          <p:spPr>
            <a:xfrm>
              <a:off x="5694802" y="5555502"/>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281ABAE3-A8E4-4ED0-815B-CF0B94AFD79E}"/>
                </a:ext>
              </a:extLst>
            </p:cNvPr>
            <p:cNvSpPr/>
            <p:nvPr/>
          </p:nvSpPr>
          <p:spPr>
            <a:xfrm>
              <a:off x="5457727" y="5706875"/>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2" name="Freeform: Shape 91">
              <a:extLst>
                <a:ext uri="{FF2B5EF4-FFF2-40B4-BE49-F238E27FC236}">
                  <a16:creationId xmlns:a16="http://schemas.microsoft.com/office/drawing/2014/main" id="{1C4FE31F-7C2F-4C02-8F3A-678E381928B5}"/>
                </a:ext>
              </a:extLst>
            </p:cNvPr>
            <p:cNvSpPr/>
            <p:nvPr/>
          </p:nvSpPr>
          <p:spPr>
            <a:xfrm>
              <a:off x="5458299" y="5756235"/>
              <a:ext cx="42922" cy="42922"/>
            </a:xfrm>
            <a:custGeom>
              <a:avLst/>
              <a:gdLst>
                <a:gd name="connsiteX0" fmla="*/ 22892 w 42922"/>
                <a:gd name="connsiteY0" fmla="*/ 11160 h 42922"/>
                <a:gd name="connsiteX1" fmla="*/ 10731 w 42922"/>
                <a:gd name="connsiteY1" fmla="*/ 22892 h 42922"/>
                <a:gd name="connsiteX2" fmla="*/ 10731 w 42922"/>
                <a:gd name="connsiteY2" fmla="*/ 22892 h 42922"/>
                <a:gd name="connsiteX3" fmla="*/ 22892 w 42922"/>
                <a:gd name="connsiteY3" fmla="*/ 35053 h 42922"/>
                <a:gd name="connsiteX4" fmla="*/ 35053 w 42922"/>
                <a:gd name="connsiteY4" fmla="*/ 22892 h 42922"/>
                <a:gd name="connsiteX5" fmla="*/ 22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2" y="11160"/>
                  </a:moveTo>
                  <a:cubicBezTo>
                    <a:pt x="16309" y="11080"/>
                    <a:pt x="10887" y="16311"/>
                    <a:pt x="10731" y="22892"/>
                  </a:cubicBezTo>
                  <a:lnTo>
                    <a:pt x="10731" y="22892"/>
                  </a:ln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3" name="Freeform: Shape 92">
              <a:extLst>
                <a:ext uri="{FF2B5EF4-FFF2-40B4-BE49-F238E27FC236}">
                  <a16:creationId xmlns:a16="http://schemas.microsoft.com/office/drawing/2014/main" id="{85D53E66-3BD4-4E4F-9CD8-6865ED014B36}"/>
                </a:ext>
              </a:extLst>
            </p:cNvPr>
            <p:cNvSpPr/>
            <p:nvPr/>
          </p:nvSpPr>
          <p:spPr>
            <a:xfrm>
              <a:off x="5615109" y="5754662"/>
              <a:ext cx="42922" cy="42922"/>
            </a:xfrm>
            <a:custGeom>
              <a:avLst/>
              <a:gdLst>
                <a:gd name="connsiteX0" fmla="*/ 25038 w 42922"/>
                <a:gd name="connsiteY0" fmla="*/ 10731 h 42922"/>
                <a:gd name="connsiteX1" fmla="*/ 10731 w 42922"/>
                <a:gd name="connsiteY1" fmla="*/ 25038 h 42922"/>
                <a:gd name="connsiteX2" fmla="*/ 10731 w 42922"/>
                <a:gd name="connsiteY2" fmla="*/ 25038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lnTo>
                    <a:pt x="10731" y="25038"/>
                  </a:lnTo>
                  <a:cubicBezTo>
                    <a:pt x="10731" y="32940"/>
                    <a:pt x="17136" y="39346"/>
                    <a:pt x="25038" y="39346"/>
                  </a:cubicBez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E5B1E1E6-6E99-4B33-994A-FA70ACD34A95}"/>
                </a:ext>
              </a:extLst>
            </p:cNvPr>
            <p:cNvSpPr/>
            <p:nvPr/>
          </p:nvSpPr>
          <p:spPr>
            <a:xfrm>
              <a:off x="5457727" y="5557648"/>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5" name="Freeform: Shape 94">
              <a:extLst>
                <a:ext uri="{FF2B5EF4-FFF2-40B4-BE49-F238E27FC236}">
                  <a16:creationId xmlns:a16="http://schemas.microsoft.com/office/drawing/2014/main" id="{56C0DD95-248C-4CC4-9A1E-B3A390C137AB}"/>
                </a:ext>
              </a:extLst>
            </p:cNvPr>
            <p:cNvSpPr/>
            <p:nvPr/>
          </p:nvSpPr>
          <p:spPr>
            <a:xfrm>
              <a:off x="5457727" y="5657228"/>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A0831B30-414B-4080-B573-0BF0258AFEFF}"/>
                </a:ext>
              </a:extLst>
            </p:cNvPr>
            <p:cNvSpPr/>
            <p:nvPr/>
          </p:nvSpPr>
          <p:spPr>
            <a:xfrm>
              <a:off x="5536990" y="5508430"/>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7" name="Freeform: Shape 96">
              <a:extLst>
                <a:ext uri="{FF2B5EF4-FFF2-40B4-BE49-F238E27FC236}">
                  <a16:creationId xmlns:a16="http://schemas.microsoft.com/office/drawing/2014/main" id="{F621F261-D407-4DD3-BE56-F61CDF54D8FE}"/>
                </a:ext>
              </a:extLst>
            </p:cNvPr>
            <p:cNvSpPr/>
            <p:nvPr/>
          </p:nvSpPr>
          <p:spPr>
            <a:xfrm>
              <a:off x="5536990" y="5606007"/>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8" name="Freeform: Shape 97">
              <a:extLst>
                <a:ext uri="{FF2B5EF4-FFF2-40B4-BE49-F238E27FC236}">
                  <a16:creationId xmlns:a16="http://schemas.microsoft.com/office/drawing/2014/main" id="{96E768B3-3E69-4932-8BB8-950D2CA57ED6}"/>
                </a:ext>
              </a:extLst>
            </p:cNvPr>
            <p:cNvSpPr/>
            <p:nvPr/>
          </p:nvSpPr>
          <p:spPr>
            <a:xfrm>
              <a:off x="5536275" y="5556646"/>
              <a:ext cx="42922" cy="42922"/>
            </a:xfrm>
            <a:custGeom>
              <a:avLst/>
              <a:gdLst>
                <a:gd name="connsiteX0" fmla="*/ 23893 w 42922"/>
                <a:gd name="connsiteY0" fmla="*/ 37056 h 42922"/>
                <a:gd name="connsiteX1" fmla="*/ 37056 w 42922"/>
                <a:gd name="connsiteY1" fmla="*/ 23893 h 42922"/>
                <a:gd name="connsiteX2" fmla="*/ 23893 w 42922"/>
                <a:gd name="connsiteY2" fmla="*/ 10731 h 42922"/>
                <a:gd name="connsiteX3" fmla="*/ 10731 w 42922"/>
                <a:gd name="connsiteY3" fmla="*/ 23893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3"/>
                  </a:cubicBezTo>
                  <a:cubicBezTo>
                    <a:pt x="37056" y="16624"/>
                    <a:pt x="31163" y="10731"/>
                    <a:pt x="23893" y="10731"/>
                  </a:cubicBezTo>
                  <a:cubicBezTo>
                    <a:pt x="16624" y="10731"/>
                    <a:pt x="10731" y="16624"/>
                    <a:pt x="10731" y="23893"/>
                  </a:cubicBezTo>
                  <a:cubicBezTo>
                    <a:pt x="10731" y="31163"/>
                    <a:pt x="16624" y="37056"/>
                    <a:pt x="23893"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9" name="Freeform: Shape 98">
              <a:extLst>
                <a:ext uri="{FF2B5EF4-FFF2-40B4-BE49-F238E27FC236}">
                  <a16:creationId xmlns:a16="http://schemas.microsoft.com/office/drawing/2014/main" id="{1A35ADED-FC44-49C6-8351-892DD48FE546}"/>
                </a:ext>
              </a:extLst>
            </p:cNvPr>
            <p:cNvSpPr/>
            <p:nvPr/>
          </p:nvSpPr>
          <p:spPr>
            <a:xfrm>
              <a:off x="5458585" y="5507089"/>
              <a:ext cx="42922" cy="42922"/>
            </a:xfrm>
            <a:custGeom>
              <a:avLst/>
              <a:gdLst>
                <a:gd name="connsiteX0" fmla="*/ 24753 w 42922"/>
                <a:gd name="connsiteY0" fmla="*/ 10784 h 42922"/>
                <a:gd name="connsiteX1" fmla="*/ 22893 w 42922"/>
                <a:gd name="connsiteY1" fmla="*/ 10784 h 42922"/>
                <a:gd name="connsiteX2" fmla="*/ 10732 w 42922"/>
                <a:gd name="connsiteY2" fmla="*/ 22946 h 42922"/>
                <a:gd name="connsiteX3" fmla="*/ 10732 w 42922"/>
                <a:gd name="connsiteY3" fmla="*/ 24663 h 42922"/>
                <a:gd name="connsiteX4" fmla="*/ 22464 w 42922"/>
                <a:gd name="connsiteY4" fmla="*/ 36824 h 42922"/>
                <a:gd name="connsiteX5" fmla="*/ 22464 w 42922"/>
                <a:gd name="connsiteY5" fmla="*/ 36824 h 42922"/>
                <a:gd name="connsiteX6" fmla="*/ 34841 w 42922"/>
                <a:gd name="connsiteY6" fmla="*/ 22920 h 42922"/>
                <a:gd name="connsiteX7" fmla="*/ 24324 w 42922"/>
                <a:gd name="connsiteY7" fmla="*/ 1078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4753" y="10784"/>
                  </a:moveTo>
                  <a:cubicBezTo>
                    <a:pt x="24135" y="10713"/>
                    <a:pt x="23511" y="10713"/>
                    <a:pt x="22893" y="10784"/>
                  </a:cubicBezTo>
                  <a:cubicBezTo>
                    <a:pt x="16177" y="10784"/>
                    <a:pt x="10732" y="16230"/>
                    <a:pt x="10732" y="22946"/>
                  </a:cubicBezTo>
                  <a:lnTo>
                    <a:pt x="10732" y="24663"/>
                  </a:lnTo>
                  <a:cubicBezTo>
                    <a:pt x="10651" y="31245"/>
                    <a:pt x="15882" y="36668"/>
                    <a:pt x="22464" y="36824"/>
                  </a:cubicBezTo>
                  <a:lnTo>
                    <a:pt x="22464" y="36824"/>
                  </a:lnTo>
                  <a:cubicBezTo>
                    <a:pt x="29720" y="36402"/>
                    <a:pt x="35263" y="30178"/>
                    <a:pt x="34841" y="22920"/>
                  </a:cubicBezTo>
                  <a:cubicBezTo>
                    <a:pt x="34495" y="16957"/>
                    <a:pt x="30177" y="11975"/>
                    <a:pt x="24324" y="1078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DBB50DDC-4F4C-4EF0-8DF7-D165B55E29F7}"/>
                </a:ext>
              </a:extLst>
            </p:cNvPr>
            <p:cNvSpPr/>
            <p:nvPr/>
          </p:nvSpPr>
          <p:spPr>
            <a:xfrm>
              <a:off x="5855761" y="5657228"/>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1" name="Freeform: Shape 100">
              <a:extLst>
                <a:ext uri="{FF2B5EF4-FFF2-40B4-BE49-F238E27FC236}">
                  <a16:creationId xmlns:a16="http://schemas.microsoft.com/office/drawing/2014/main" id="{A35E44F1-3F5F-420A-BD08-9E00D772089C}"/>
                </a:ext>
              </a:extLst>
            </p:cNvPr>
            <p:cNvSpPr/>
            <p:nvPr/>
          </p:nvSpPr>
          <p:spPr>
            <a:xfrm>
              <a:off x="5855761" y="5706875"/>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2" name="Freeform: Shape 101">
              <a:extLst>
                <a:ext uri="{FF2B5EF4-FFF2-40B4-BE49-F238E27FC236}">
                  <a16:creationId xmlns:a16="http://schemas.microsoft.com/office/drawing/2014/main" id="{A12B0B02-CF42-4077-8659-2D5DB66E5805}"/>
                </a:ext>
              </a:extLst>
            </p:cNvPr>
            <p:cNvSpPr/>
            <p:nvPr/>
          </p:nvSpPr>
          <p:spPr>
            <a:xfrm>
              <a:off x="5856190" y="5756664"/>
              <a:ext cx="42922" cy="42922"/>
            </a:xfrm>
            <a:custGeom>
              <a:avLst/>
              <a:gdLst>
                <a:gd name="connsiteX0" fmla="*/ 22892 w 42922"/>
                <a:gd name="connsiteY0" fmla="*/ 10732 h 42922"/>
                <a:gd name="connsiteX1" fmla="*/ 22892 w 42922"/>
                <a:gd name="connsiteY1" fmla="*/ 10732 h 42922"/>
                <a:gd name="connsiteX2" fmla="*/ 10731 w 42922"/>
                <a:gd name="connsiteY2" fmla="*/ 22893 h 42922"/>
                <a:gd name="connsiteX3" fmla="*/ 22892 w 42922"/>
                <a:gd name="connsiteY3" fmla="*/ 35054 h 42922"/>
                <a:gd name="connsiteX4" fmla="*/ 35053 w 42922"/>
                <a:gd name="connsiteY4" fmla="*/ 22893 h 42922"/>
                <a:gd name="connsiteX5" fmla="*/ 23180 w 42922"/>
                <a:gd name="connsiteY5" fmla="*/ 10732 h 42922"/>
                <a:gd name="connsiteX6" fmla="*/ 22892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2"/>
                  </a:moveTo>
                  <a:lnTo>
                    <a:pt x="22892" y="10732"/>
                  </a:lnTo>
                  <a:cubicBezTo>
                    <a:pt x="16176" y="10732"/>
                    <a:pt x="10731" y="16177"/>
                    <a:pt x="10731" y="22893"/>
                  </a:cubicBezTo>
                  <a:cubicBezTo>
                    <a:pt x="10731" y="29609"/>
                    <a:pt x="16176" y="35054"/>
                    <a:pt x="22892" y="35054"/>
                  </a:cubicBezTo>
                  <a:cubicBezTo>
                    <a:pt x="29608" y="35054"/>
                    <a:pt x="35053" y="29609"/>
                    <a:pt x="35053" y="22893"/>
                  </a:cubicBezTo>
                  <a:cubicBezTo>
                    <a:pt x="35132" y="16256"/>
                    <a:pt x="29817" y="10812"/>
                    <a:pt x="23180" y="10732"/>
                  </a:cubicBezTo>
                  <a:cubicBezTo>
                    <a:pt x="23084" y="10730"/>
                    <a:pt x="22988" y="10730"/>
                    <a:pt x="2289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3" name="Freeform: Shape 102">
              <a:extLst>
                <a:ext uri="{FF2B5EF4-FFF2-40B4-BE49-F238E27FC236}">
                  <a16:creationId xmlns:a16="http://schemas.microsoft.com/office/drawing/2014/main" id="{950134AD-6752-45C1-8D19-17B5E3FED9B4}"/>
                </a:ext>
              </a:extLst>
            </p:cNvPr>
            <p:cNvSpPr/>
            <p:nvPr/>
          </p:nvSpPr>
          <p:spPr>
            <a:xfrm>
              <a:off x="5855761" y="5607295"/>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3321 h 42922"/>
                <a:gd name="connsiteX4" fmla="*/ 35053 w 42922"/>
                <a:gd name="connsiteY4" fmla="*/ 23321 h 42922"/>
                <a:gd name="connsiteX5" fmla="*/ 23328 w 42922"/>
                <a:gd name="connsiteY5" fmla="*/ 10738 h 42922"/>
                <a:gd name="connsiteX6" fmla="*/ 22892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1"/>
                  </a:moveTo>
                  <a:cubicBezTo>
                    <a:pt x="16176" y="10731"/>
                    <a:pt x="10731" y="16176"/>
                    <a:pt x="10731" y="22892"/>
                  </a:cubicBezTo>
                  <a:cubicBezTo>
                    <a:pt x="10731" y="29608"/>
                    <a:pt x="16176" y="35053"/>
                    <a:pt x="22892" y="35053"/>
                  </a:cubicBezTo>
                  <a:cubicBezTo>
                    <a:pt x="29475" y="35133"/>
                    <a:pt x="34897" y="29903"/>
                    <a:pt x="35053" y="23321"/>
                  </a:cubicBezTo>
                  <a:lnTo>
                    <a:pt x="35053" y="23321"/>
                  </a:lnTo>
                  <a:cubicBezTo>
                    <a:pt x="35291" y="16610"/>
                    <a:pt x="30041" y="10975"/>
                    <a:pt x="23328" y="10738"/>
                  </a:cubicBezTo>
                  <a:cubicBezTo>
                    <a:pt x="23184" y="10733"/>
                    <a:pt x="2303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4" name="Freeform: Shape 103">
              <a:extLst>
                <a:ext uri="{FF2B5EF4-FFF2-40B4-BE49-F238E27FC236}">
                  <a16:creationId xmlns:a16="http://schemas.microsoft.com/office/drawing/2014/main" id="{0120C6BD-4948-4CC2-91B3-404326103E5A}"/>
                </a:ext>
              </a:extLst>
            </p:cNvPr>
            <p:cNvSpPr/>
            <p:nvPr/>
          </p:nvSpPr>
          <p:spPr>
            <a:xfrm>
              <a:off x="5614537" y="5654939"/>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5" name="Freeform: Shape 104">
              <a:extLst>
                <a:ext uri="{FF2B5EF4-FFF2-40B4-BE49-F238E27FC236}">
                  <a16:creationId xmlns:a16="http://schemas.microsoft.com/office/drawing/2014/main" id="{668FB14A-5CE8-4959-99E6-0D5AFE6818A0}"/>
                </a:ext>
              </a:extLst>
            </p:cNvPr>
            <p:cNvSpPr/>
            <p:nvPr/>
          </p:nvSpPr>
          <p:spPr>
            <a:xfrm>
              <a:off x="5855761" y="5557648"/>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6" name="Freeform: Shape 105">
              <a:extLst>
                <a:ext uri="{FF2B5EF4-FFF2-40B4-BE49-F238E27FC236}">
                  <a16:creationId xmlns:a16="http://schemas.microsoft.com/office/drawing/2014/main" id="{65419FD9-814C-4263-A9E6-6EB8341F0FE7}"/>
                </a:ext>
              </a:extLst>
            </p:cNvPr>
            <p:cNvSpPr/>
            <p:nvPr/>
          </p:nvSpPr>
          <p:spPr>
            <a:xfrm>
              <a:off x="5614680" y="5604719"/>
              <a:ext cx="42922" cy="42922"/>
            </a:xfrm>
            <a:custGeom>
              <a:avLst/>
              <a:gdLst>
                <a:gd name="connsiteX0" fmla="*/ 25753 w 42922"/>
                <a:gd name="connsiteY0" fmla="*/ 39346 h 42922"/>
                <a:gd name="connsiteX1" fmla="*/ 40061 w 42922"/>
                <a:gd name="connsiteY1" fmla="*/ 25038 h 42922"/>
                <a:gd name="connsiteX2" fmla="*/ 25753 w 42922"/>
                <a:gd name="connsiteY2" fmla="*/ 10731 h 42922"/>
                <a:gd name="connsiteX3" fmla="*/ 11446 w 42922"/>
                <a:gd name="connsiteY3" fmla="*/ 25038 h 42922"/>
                <a:gd name="connsiteX4" fmla="*/ 10731 w 42922"/>
                <a:gd name="connsiteY4" fmla="*/ 26040 h 42922"/>
                <a:gd name="connsiteX5" fmla="*/ 25753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753" y="39346"/>
                  </a:moveTo>
                  <a:cubicBezTo>
                    <a:pt x="33655" y="39346"/>
                    <a:pt x="40061" y="32940"/>
                    <a:pt x="40061" y="25038"/>
                  </a:cubicBezTo>
                  <a:cubicBezTo>
                    <a:pt x="40061" y="17136"/>
                    <a:pt x="33655" y="10731"/>
                    <a:pt x="25753" y="10731"/>
                  </a:cubicBezTo>
                  <a:cubicBezTo>
                    <a:pt x="17851" y="10731"/>
                    <a:pt x="11446" y="17136"/>
                    <a:pt x="11446" y="25038"/>
                  </a:cubicBezTo>
                  <a:lnTo>
                    <a:pt x="10731" y="26040"/>
                  </a:lnTo>
                  <a:cubicBezTo>
                    <a:pt x="11267" y="33831"/>
                    <a:pt x="17953" y="39755"/>
                    <a:pt x="25753"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7" name="Freeform: Shape 106">
              <a:extLst>
                <a:ext uri="{FF2B5EF4-FFF2-40B4-BE49-F238E27FC236}">
                  <a16:creationId xmlns:a16="http://schemas.microsoft.com/office/drawing/2014/main" id="{28311292-6899-42A5-88CE-6A60A42E732A}"/>
                </a:ext>
              </a:extLst>
            </p:cNvPr>
            <p:cNvSpPr/>
            <p:nvPr/>
          </p:nvSpPr>
          <p:spPr>
            <a:xfrm>
              <a:off x="5854903" y="5507033"/>
              <a:ext cx="42922" cy="42922"/>
            </a:xfrm>
            <a:custGeom>
              <a:avLst/>
              <a:gdLst>
                <a:gd name="connsiteX0" fmla="*/ 24609 w 42922"/>
                <a:gd name="connsiteY0" fmla="*/ 10840 h 42922"/>
                <a:gd name="connsiteX1" fmla="*/ 22892 w 42922"/>
                <a:gd name="connsiteY1" fmla="*/ 10840 h 42922"/>
                <a:gd name="connsiteX2" fmla="*/ 10731 w 42922"/>
                <a:gd name="connsiteY2" fmla="*/ 23001 h 42922"/>
                <a:gd name="connsiteX3" fmla="*/ 22892 w 42922"/>
                <a:gd name="connsiteY3" fmla="*/ 35163 h 42922"/>
                <a:gd name="connsiteX4" fmla="*/ 35050 w 42922"/>
                <a:gd name="connsiteY4" fmla="*/ 23577 h 42922"/>
                <a:gd name="connsiteX5" fmla="*/ 35053 w 42922"/>
                <a:gd name="connsiteY5" fmla="*/ 23288 h 42922"/>
                <a:gd name="connsiteX6" fmla="*/ 35053 w 42922"/>
                <a:gd name="connsiteY6" fmla="*/ 23288 h 42922"/>
                <a:gd name="connsiteX7" fmla="*/ 35912 w 42922"/>
                <a:gd name="connsiteY7" fmla="*/ 23288 h 42922"/>
                <a:gd name="connsiteX8" fmla="*/ 24609 w 42922"/>
                <a:gd name="connsiteY8" fmla="*/ 1084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22" h="42922">
                  <a:moveTo>
                    <a:pt x="24609" y="10840"/>
                  </a:moveTo>
                  <a:cubicBezTo>
                    <a:pt x="24047" y="10694"/>
                    <a:pt x="23456" y="10694"/>
                    <a:pt x="22892" y="10840"/>
                  </a:cubicBezTo>
                  <a:cubicBezTo>
                    <a:pt x="16176" y="10840"/>
                    <a:pt x="10731" y="16285"/>
                    <a:pt x="10731" y="23001"/>
                  </a:cubicBezTo>
                  <a:cubicBezTo>
                    <a:pt x="10731" y="29717"/>
                    <a:pt x="16176" y="35163"/>
                    <a:pt x="22892" y="35163"/>
                  </a:cubicBezTo>
                  <a:cubicBezTo>
                    <a:pt x="29449" y="35320"/>
                    <a:pt x="34892" y="30134"/>
                    <a:pt x="35050" y="23577"/>
                  </a:cubicBezTo>
                  <a:cubicBezTo>
                    <a:pt x="35052" y="23481"/>
                    <a:pt x="35053" y="23383"/>
                    <a:pt x="35053" y="23288"/>
                  </a:cubicBezTo>
                  <a:lnTo>
                    <a:pt x="35053" y="23288"/>
                  </a:lnTo>
                  <a:lnTo>
                    <a:pt x="35912" y="23288"/>
                  </a:lnTo>
                  <a:cubicBezTo>
                    <a:pt x="36156" y="16755"/>
                    <a:pt x="31135" y="11225"/>
                    <a:pt x="24609" y="1084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8" name="Freeform: Shape 107">
              <a:extLst>
                <a:ext uri="{FF2B5EF4-FFF2-40B4-BE49-F238E27FC236}">
                  <a16:creationId xmlns:a16="http://schemas.microsoft.com/office/drawing/2014/main" id="{41188AF2-F07C-41E3-A50B-931D29C78CCB}"/>
                </a:ext>
              </a:extLst>
            </p:cNvPr>
            <p:cNvSpPr/>
            <p:nvPr/>
          </p:nvSpPr>
          <p:spPr>
            <a:xfrm>
              <a:off x="5775210" y="5705873"/>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9" name="Freeform: Shape 108">
              <a:extLst>
                <a:ext uri="{FF2B5EF4-FFF2-40B4-BE49-F238E27FC236}">
                  <a16:creationId xmlns:a16="http://schemas.microsoft.com/office/drawing/2014/main" id="{FC0A185A-D025-4E97-BBA4-4AD1A0AAA1FE}"/>
                </a:ext>
              </a:extLst>
            </p:cNvPr>
            <p:cNvSpPr/>
            <p:nvPr/>
          </p:nvSpPr>
          <p:spPr>
            <a:xfrm>
              <a:off x="5775210" y="5656226"/>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0" name="Freeform: Shape 109">
              <a:extLst>
                <a:ext uri="{FF2B5EF4-FFF2-40B4-BE49-F238E27FC236}">
                  <a16:creationId xmlns:a16="http://schemas.microsoft.com/office/drawing/2014/main" id="{BD8CE25C-40F3-4E18-A8FC-92E24E2750FA}"/>
                </a:ext>
              </a:extLst>
            </p:cNvPr>
            <p:cNvSpPr/>
            <p:nvPr/>
          </p:nvSpPr>
          <p:spPr>
            <a:xfrm>
              <a:off x="5536275" y="5656226"/>
              <a:ext cx="42922" cy="42922"/>
            </a:xfrm>
            <a:custGeom>
              <a:avLst/>
              <a:gdLst>
                <a:gd name="connsiteX0" fmla="*/ 23893 w 42922"/>
                <a:gd name="connsiteY0" fmla="*/ 37056 h 42922"/>
                <a:gd name="connsiteX1" fmla="*/ 37056 w 42922"/>
                <a:gd name="connsiteY1" fmla="*/ 23893 h 42922"/>
                <a:gd name="connsiteX2" fmla="*/ 23893 w 42922"/>
                <a:gd name="connsiteY2" fmla="*/ 10731 h 42922"/>
                <a:gd name="connsiteX3" fmla="*/ 10731 w 42922"/>
                <a:gd name="connsiteY3" fmla="*/ 23893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3"/>
                  </a:cubicBezTo>
                  <a:cubicBezTo>
                    <a:pt x="37056" y="16624"/>
                    <a:pt x="31163" y="10731"/>
                    <a:pt x="23893" y="10731"/>
                  </a:cubicBezTo>
                  <a:cubicBezTo>
                    <a:pt x="16624" y="10731"/>
                    <a:pt x="10731" y="16624"/>
                    <a:pt x="10731" y="23893"/>
                  </a:cubicBezTo>
                  <a:cubicBezTo>
                    <a:pt x="10731" y="31163"/>
                    <a:pt x="16624" y="37056"/>
                    <a:pt x="23893"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1" name="Freeform: Shape 110">
              <a:extLst>
                <a:ext uri="{FF2B5EF4-FFF2-40B4-BE49-F238E27FC236}">
                  <a16:creationId xmlns:a16="http://schemas.microsoft.com/office/drawing/2014/main" id="{F7543DC0-C6A3-431A-8460-6EC37F7EF90F}"/>
                </a:ext>
              </a:extLst>
            </p:cNvPr>
            <p:cNvSpPr/>
            <p:nvPr/>
          </p:nvSpPr>
          <p:spPr>
            <a:xfrm>
              <a:off x="5775210" y="5755663"/>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2" name="Freeform: Shape 111">
              <a:extLst>
                <a:ext uri="{FF2B5EF4-FFF2-40B4-BE49-F238E27FC236}">
                  <a16:creationId xmlns:a16="http://schemas.microsoft.com/office/drawing/2014/main" id="{A4EA414D-0132-4804-85AC-82234B5B4346}"/>
                </a:ext>
              </a:extLst>
            </p:cNvPr>
            <p:cNvSpPr/>
            <p:nvPr/>
          </p:nvSpPr>
          <p:spPr>
            <a:xfrm>
              <a:off x="5614394" y="5704729"/>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25038 w 42922"/>
                <a:gd name="connsiteY3" fmla="*/ 10731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lnTo>
                    <a:pt x="25038" y="10731"/>
                  </a:lnTo>
                  <a:cubicBezTo>
                    <a:pt x="17136" y="10731"/>
                    <a:pt x="10731" y="17136"/>
                    <a:pt x="10731" y="25038"/>
                  </a:cubicBez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3" name="Freeform: Shape 112">
              <a:extLst>
                <a:ext uri="{FF2B5EF4-FFF2-40B4-BE49-F238E27FC236}">
                  <a16:creationId xmlns:a16="http://schemas.microsoft.com/office/drawing/2014/main" id="{79B295D2-606A-4B3D-8422-00FC4BA1705D}"/>
                </a:ext>
              </a:extLst>
            </p:cNvPr>
            <p:cNvSpPr/>
            <p:nvPr/>
          </p:nvSpPr>
          <p:spPr>
            <a:xfrm>
              <a:off x="5775210" y="5506856"/>
              <a:ext cx="42922" cy="42922"/>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4" name="Freeform: Shape 113">
              <a:extLst>
                <a:ext uri="{FF2B5EF4-FFF2-40B4-BE49-F238E27FC236}">
                  <a16:creationId xmlns:a16="http://schemas.microsoft.com/office/drawing/2014/main" id="{1DF45522-9440-440C-89EB-2424B7B3B0C3}"/>
                </a:ext>
              </a:extLst>
            </p:cNvPr>
            <p:cNvSpPr/>
            <p:nvPr/>
          </p:nvSpPr>
          <p:spPr>
            <a:xfrm>
              <a:off x="5775210" y="5606293"/>
              <a:ext cx="42922" cy="42922"/>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5" name="Freeform: Shape 114">
              <a:extLst>
                <a:ext uri="{FF2B5EF4-FFF2-40B4-BE49-F238E27FC236}">
                  <a16:creationId xmlns:a16="http://schemas.microsoft.com/office/drawing/2014/main" id="{D9043369-CF60-4989-9F40-7E50958F341D}"/>
                </a:ext>
              </a:extLst>
            </p:cNvPr>
            <p:cNvSpPr/>
            <p:nvPr/>
          </p:nvSpPr>
          <p:spPr>
            <a:xfrm>
              <a:off x="5775211" y="5556789"/>
              <a:ext cx="42922" cy="42922"/>
            </a:xfrm>
            <a:custGeom>
              <a:avLst/>
              <a:gdLst>
                <a:gd name="connsiteX0" fmla="*/ 23892 w 42922"/>
                <a:gd name="connsiteY0" fmla="*/ 10731 h 42922"/>
                <a:gd name="connsiteX1" fmla="*/ 10731 w 42922"/>
                <a:gd name="connsiteY1" fmla="*/ 23895 h 42922"/>
                <a:gd name="connsiteX2" fmla="*/ 23893 w 42922"/>
                <a:gd name="connsiteY2" fmla="*/ 37056 h 42922"/>
                <a:gd name="connsiteX3" fmla="*/ 37056 w 42922"/>
                <a:gd name="connsiteY3" fmla="*/ 23892 h 42922"/>
                <a:gd name="connsiteX4" fmla="*/ 37055 w 42922"/>
                <a:gd name="connsiteY4" fmla="*/ 23750 h 42922"/>
                <a:gd name="connsiteX5" fmla="*/ 23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2" y="10731"/>
                  </a:moveTo>
                  <a:cubicBezTo>
                    <a:pt x="16622" y="10731"/>
                    <a:pt x="10729" y="16625"/>
                    <a:pt x="10731" y="23895"/>
                  </a:cubicBezTo>
                  <a:cubicBezTo>
                    <a:pt x="10731" y="31165"/>
                    <a:pt x="16624" y="37056"/>
                    <a:pt x="23893" y="37056"/>
                  </a:cubicBezTo>
                  <a:cubicBezTo>
                    <a:pt x="31163" y="37056"/>
                    <a:pt x="37056" y="31162"/>
                    <a:pt x="37056" y="23892"/>
                  </a:cubicBezTo>
                  <a:cubicBezTo>
                    <a:pt x="37056" y="23845"/>
                    <a:pt x="37055" y="23798"/>
                    <a:pt x="37055" y="23750"/>
                  </a:cubicBezTo>
                  <a:cubicBezTo>
                    <a:pt x="36976" y="16537"/>
                    <a:pt x="31106" y="10731"/>
                    <a:pt x="23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6" name="Freeform: Shape 115">
              <a:extLst>
                <a:ext uri="{FF2B5EF4-FFF2-40B4-BE49-F238E27FC236}">
                  <a16:creationId xmlns:a16="http://schemas.microsoft.com/office/drawing/2014/main" id="{7DC041A4-7CA9-4128-95F4-9DAC746D9BF9}"/>
                </a:ext>
              </a:extLst>
            </p:cNvPr>
            <p:cNvSpPr/>
            <p:nvPr/>
          </p:nvSpPr>
          <p:spPr>
            <a:xfrm>
              <a:off x="5144285" y="5758860"/>
              <a:ext cx="28615" cy="28615"/>
            </a:xfrm>
            <a:custGeom>
              <a:avLst/>
              <a:gdLst>
                <a:gd name="connsiteX0" fmla="*/ 10839 w 28614"/>
                <a:gd name="connsiteY0" fmla="*/ 17836 h 28614"/>
                <a:gd name="connsiteX1" fmla="*/ 10839 w 28614"/>
                <a:gd name="connsiteY1" fmla="*/ 20411 h 28614"/>
                <a:gd name="connsiteX2" fmla="*/ 20392 w 28614"/>
                <a:gd name="connsiteY2" fmla="*/ 27569 h 28614"/>
                <a:gd name="connsiteX3" fmla="*/ 20425 w 28614"/>
                <a:gd name="connsiteY3" fmla="*/ 27565 h 28614"/>
                <a:gd name="connsiteX4" fmla="*/ 27579 w 28614"/>
                <a:gd name="connsiteY4" fmla="*/ 20411 h 28614"/>
                <a:gd name="connsiteX5" fmla="*/ 20425 w 28614"/>
                <a:gd name="connsiteY5" fmla="*/ 10825 h 28614"/>
                <a:gd name="connsiteX6" fmla="*/ 10839 w 28614"/>
                <a:gd name="connsiteY6" fmla="*/ 178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0839" y="17836"/>
                  </a:moveTo>
                  <a:cubicBezTo>
                    <a:pt x="10694" y="18688"/>
                    <a:pt x="10694" y="19558"/>
                    <a:pt x="10839" y="20411"/>
                  </a:cubicBezTo>
                  <a:cubicBezTo>
                    <a:pt x="11500" y="25026"/>
                    <a:pt x="15778" y="28231"/>
                    <a:pt x="20392" y="27569"/>
                  </a:cubicBezTo>
                  <a:cubicBezTo>
                    <a:pt x="20404" y="27567"/>
                    <a:pt x="20414" y="27566"/>
                    <a:pt x="20425" y="27565"/>
                  </a:cubicBezTo>
                  <a:cubicBezTo>
                    <a:pt x="24132" y="27031"/>
                    <a:pt x="27045" y="24118"/>
                    <a:pt x="27579" y="20411"/>
                  </a:cubicBezTo>
                  <a:cubicBezTo>
                    <a:pt x="28180" y="15807"/>
                    <a:pt x="25009" y="11560"/>
                    <a:pt x="20425" y="10825"/>
                  </a:cubicBezTo>
                  <a:cubicBezTo>
                    <a:pt x="15848" y="10140"/>
                    <a:pt x="11573" y="13266"/>
                    <a:pt x="10839" y="1783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7" name="Freeform: Shape 116">
              <a:extLst>
                <a:ext uri="{FF2B5EF4-FFF2-40B4-BE49-F238E27FC236}">
                  <a16:creationId xmlns:a16="http://schemas.microsoft.com/office/drawing/2014/main" id="{3F7CACC0-3F25-42CB-9723-0D45459E37C5}"/>
                </a:ext>
              </a:extLst>
            </p:cNvPr>
            <p:cNvSpPr/>
            <p:nvPr/>
          </p:nvSpPr>
          <p:spPr>
            <a:xfrm>
              <a:off x="5222226" y="5710595"/>
              <a:ext cx="28615" cy="28615"/>
            </a:xfrm>
            <a:custGeom>
              <a:avLst/>
              <a:gdLst>
                <a:gd name="connsiteX0" fmla="*/ 20030 w 28614"/>
                <a:gd name="connsiteY0" fmla="*/ 29330 h 28614"/>
                <a:gd name="connsiteX1" fmla="*/ 29473 w 28614"/>
                <a:gd name="connsiteY1" fmla="*/ 19887 h 28614"/>
                <a:gd name="connsiteX2" fmla="*/ 20030 w 28614"/>
                <a:gd name="connsiteY2" fmla="*/ 10731 h 28614"/>
                <a:gd name="connsiteX3" fmla="*/ 10731 w 28614"/>
                <a:gd name="connsiteY3" fmla="*/ 19887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83" y="29182"/>
                    <a:pt x="29325" y="25040"/>
                    <a:pt x="29473" y="19887"/>
                  </a:cubicBezTo>
                  <a:cubicBezTo>
                    <a:pt x="29319" y="14784"/>
                    <a:pt x="25135" y="10728"/>
                    <a:pt x="20030" y="10731"/>
                  </a:cubicBezTo>
                  <a:cubicBezTo>
                    <a:pt x="14950" y="10731"/>
                    <a:pt x="10809" y="14807"/>
                    <a:pt x="10731" y="19887"/>
                  </a:cubicBezTo>
                  <a:cubicBezTo>
                    <a:pt x="10731" y="25047"/>
                    <a:pt x="14871" y="29252"/>
                    <a:pt x="20030" y="2933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BD819E49-984B-4869-9183-2496DF259731}"/>
                </a:ext>
              </a:extLst>
            </p:cNvPr>
            <p:cNvSpPr/>
            <p:nvPr/>
          </p:nvSpPr>
          <p:spPr>
            <a:xfrm>
              <a:off x="5065843" y="5611730"/>
              <a:ext cx="28615" cy="28615"/>
            </a:xfrm>
            <a:custGeom>
              <a:avLst/>
              <a:gdLst>
                <a:gd name="connsiteX0" fmla="*/ 18459 w 28614"/>
                <a:gd name="connsiteY0" fmla="*/ 10731 h 28614"/>
                <a:gd name="connsiteX1" fmla="*/ 11019 w 28614"/>
                <a:gd name="connsiteY1" fmla="*/ 18171 h 28614"/>
                <a:gd name="connsiteX2" fmla="*/ 16129 w 28614"/>
                <a:gd name="connsiteY2" fmla="*/ 27367 h 28614"/>
                <a:gd name="connsiteX3" fmla="*/ 25326 w 28614"/>
                <a:gd name="connsiteY3" fmla="*/ 22258 h 28614"/>
                <a:gd name="connsiteX4" fmla="*/ 25326 w 28614"/>
                <a:gd name="connsiteY4" fmla="*/ 18171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1"/>
                  </a:cubicBezTo>
                  <a:cubicBezTo>
                    <a:pt x="9890" y="22121"/>
                    <a:pt x="12178" y="26238"/>
                    <a:pt x="16129" y="27367"/>
                  </a:cubicBezTo>
                  <a:cubicBezTo>
                    <a:pt x="20080" y="28496"/>
                    <a:pt x="24198" y="26208"/>
                    <a:pt x="25326" y="22258"/>
                  </a:cubicBezTo>
                  <a:cubicBezTo>
                    <a:pt x="25708" y="20922"/>
                    <a:pt x="25708" y="19507"/>
                    <a:pt x="25326" y="18171"/>
                  </a:cubicBezTo>
                  <a:cubicBezTo>
                    <a:pt x="25338" y="14275"/>
                    <a:pt x="22342" y="11030"/>
                    <a:pt x="1845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9" name="Freeform: Shape 118">
              <a:extLst>
                <a:ext uri="{FF2B5EF4-FFF2-40B4-BE49-F238E27FC236}">
                  <a16:creationId xmlns:a16="http://schemas.microsoft.com/office/drawing/2014/main" id="{20C7840A-B20B-4AB3-9B9B-C1F69378541E}"/>
                </a:ext>
              </a:extLst>
            </p:cNvPr>
            <p:cNvSpPr/>
            <p:nvPr/>
          </p:nvSpPr>
          <p:spPr>
            <a:xfrm>
              <a:off x="5065273" y="5712312"/>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0" name="Freeform: Shape 119">
              <a:extLst>
                <a:ext uri="{FF2B5EF4-FFF2-40B4-BE49-F238E27FC236}">
                  <a16:creationId xmlns:a16="http://schemas.microsoft.com/office/drawing/2014/main" id="{D486364B-A3D6-4F11-BBA9-B23D4DBAB512}"/>
                </a:ext>
              </a:extLst>
            </p:cNvPr>
            <p:cNvSpPr/>
            <p:nvPr/>
          </p:nvSpPr>
          <p:spPr>
            <a:xfrm>
              <a:off x="5222226" y="5659946"/>
              <a:ext cx="28615" cy="28615"/>
            </a:xfrm>
            <a:custGeom>
              <a:avLst/>
              <a:gdLst>
                <a:gd name="connsiteX0" fmla="*/ 20030 w 28614"/>
                <a:gd name="connsiteY0" fmla="*/ 29330 h 28614"/>
                <a:gd name="connsiteX1" fmla="*/ 29473 w 28614"/>
                <a:gd name="connsiteY1" fmla="*/ 20174 h 28614"/>
                <a:gd name="connsiteX2" fmla="*/ 20030 w 28614"/>
                <a:gd name="connsiteY2" fmla="*/ 10731 h 28614"/>
                <a:gd name="connsiteX3" fmla="*/ 10731 w 28614"/>
                <a:gd name="connsiteY3" fmla="*/ 20174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35" y="29333"/>
                    <a:pt x="29319" y="25277"/>
                    <a:pt x="29473" y="20174"/>
                  </a:cubicBezTo>
                  <a:cubicBezTo>
                    <a:pt x="29325" y="15021"/>
                    <a:pt x="25183" y="10879"/>
                    <a:pt x="20030" y="10731"/>
                  </a:cubicBezTo>
                  <a:cubicBezTo>
                    <a:pt x="14871" y="10809"/>
                    <a:pt x="10731" y="15014"/>
                    <a:pt x="10731" y="20174"/>
                  </a:cubicBezTo>
                  <a:cubicBezTo>
                    <a:pt x="10809" y="25254"/>
                    <a:pt x="14950" y="29330"/>
                    <a:pt x="20030" y="2933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1" name="Freeform: Shape 120">
              <a:extLst>
                <a:ext uri="{FF2B5EF4-FFF2-40B4-BE49-F238E27FC236}">
                  <a16:creationId xmlns:a16="http://schemas.microsoft.com/office/drawing/2014/main" id="{5EA12C24-0BE0-48E2-BBF9-232C8CAF7CC5}"/>
                </a:ext>
              </a:extLst>
            </p:cNvPr>
            <p:cNvSpPr/>
            <p:nvPr/>
          </p:nvSpPr>
          <p:spPr>
            <a:xfrm>
              <a:off x="5222226" y="5561225"/>
              <a:ext cx="28615" cy="28615"/>
            </a:xfrm>
            <a:custGeom>
              <a:avLst/>
              <a:gdLst>
                <a:gd name="connsiteX0" fmla="*/ 20030 w 28614"/>
                <a:gd name="connsiteY0" fmla="*/ 10731 h 28614"/>
                <a:gd name="connsiteX1" fmla="*/ 10731 w 28614"/>
                <a:gd name="connsiteY1" fmla="*/ 20174 h 28614"/>
                <a:gd name="connsiteX2" fmla="*/ 19886 w 28614"/>
                <a:gd name="connsiteY2" fmla="*/ 29332 h 28614"/>
                <a:gd name="connsiteX3" fmla="*/ 20030 w 28614"/>
                <a:gd name="connsiteY3" fmla="*/ 29330 h 28614"/>
                <a:gd name="connsiteX4" fmla="*/ 29473 w 28614"/>
                <a:gd name="connsiteY4" fmla="*/ 20174 h 28614"/>
                <a:gd name="connsiteX5" fmla="*/ 20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0" y="10731"/>
                  </a:moveTo>
                  <a:cubicBezTo>
                    <a:pt x="14871" y="10809"/>
                    <a:pt x="10731" y="15014"/>
                    <a:pt x="10731" y="20174"/>
                  </a:cubicBezTo>
                  <a:cubicBezTo>
                    <a:pt x="10731" y="25231"/>
                    <a:pt x="14830" y="29330"/>
                    <a:pt x="19886" y="29332"/>
                  </a:cubicBezTo>
                  <a:cubicBezTo>
                    <a:pt x="19935" y="29332"/>
                    <a:pt x="19982" y="29332"/>
                    <a:pt x="20030" y="29330"/>
                  </a:cubicBezTo>
                  <a:cubicBezTo>
                    <a:pt x="25135" y="29333"/>
                    <a:pt x="29319" y="25277"/>
                    <a:pt x="29473" y="20174"/>
                  </a:cubicBezTo>
                  <a:cubicBezTo>
                    <a:pt x="29325" y="15021"/>
                    <a:pt x="25183" y="10879"/>
                    <a:pt x="20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2" name="Freeform: Shape 121">
              <a:extLst>
                <a:ext uri="{FF2B5EF4-FFF2-40B4-BE49-F238E27FC236}">
                  <a16:creationId xmlns:a16="http://schemas.microsoft.com/office/drawing/2014/main" id="{1BA8BDC5-8C76-42FA-8949-713246F5BE2D}"/>
                </a:ext>
              </a:extLst>
            </p:cNvPr>
            <p:cNvSpPr/>
            <p:nvPr/>
          </p:nvSpPr>
          <p:spPr>
            <a:xfrm>
              <a:off x="5223084" y="5609870"/>
              <a:ext cx="28615" cy="28615"/>
            </a:xfrm>
            <a:custGeom>
              <a:avLst/>
              <a:gdLst>
                <a:gd name="connsiteX0" fmla="*/ 10731 w 28614"/>
                <a:gd name="connsiteY0" fmla="*/ 20030 h 28614"/>
                <a:gd name="connsiteX1" fmla="*/ 19887 w 28614"/>
                <a:gd name="connsiteY1" fmla="*/ 29473 h 28614"/>
                <a:gd name="connsiteX2" fmla="*/ 29330 w 28614"/>
                <a:gd name="connsiteY2" fmla="*/ 20030 h 28614"/>
                <a:gd name="connsiteX3" fmla="*/ 19887 w 28614"/>
                <a:gd name="connsiteY3" fmla="*/ 10731 h 28614"/>
                <a:gd name="connsiteX4" fmla="*/ 10731 w 28614"/>
                <a:gd name="connsiteY4" fmla="*/ 200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0731" y="20030"/>
                  </a:moveTo>
                  <a:cubicBezTo>
                    <a:pt x="10728" y="25135"/>
                    <a:pt x="14784" y="29319"/>
                    <a:pt x="19887" y="29473"/>
                  </a:cubicBezTo>
                  <a:cubicBezTo>
                    <a:pt x="25071" y="29396"/>
                    <a:pt x="29253" y="25214"/>
                    <a:pt x="29330" y="20030"/>
                  </a:cubicBezTo>
                  <a:cubicBezTo>
                    <a:pt x="29252" y="14871"/>
                    <a:pt x="25047" y="10731"/>
                    <a:pt x="19887" y="10731"/>
                  </a:cubicBezTo>
                  <a:cubicBezTo>
                    <a:pt x="14807" y="10809"/>
                    <a:pt x="10731" y="14950"/>
                    <a:pt x="10731" y="2003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3" name="Freeform: Shape 122">
              <a:extLst>
                <a:ext uri="{FF2B5EF4-FFF2-40B4-BE49-F238E27FC236}">
                  <a16:creationId xmlns:a16="http://schemas.microsoft.com/office/drawing/2014/main" id="{A4DDFD7F-22B1-41C5-A266-4E96B4A254FD}"/>
                </a:ext>
              </a:extLst>
            </p:cNvPr>
            <p:cNvSpPr/>
            <p:nvPr/>
          </p:nvSpPr>
          <p:spPr>
            <a:xfrm>
              <a:off x="5222937" y="5758523"/>
              <a:ext cx="28615" cy="28615"/>
            </a:xfrm>
            <a:custGeom>
              <a:avLst/>
              <a:gdLst>
                <a:gd name="connsiteX0" fmla="*/ 19892 w 28614"/>
                <a:gd name="connsiteY0" fmla="*/ 30333 h 28614"/>
                <a:gd name="connsiteX1" fmla="*/ 29764 w 28614"/>
                <a:gd name="connsiteY1" fmla="*/ 20461 h 28614"/>
                <a:gd name="connsiteX2" fmla="*/ 20036 w 28614"/>
                <a:gd name="connsiteY2" fmla="*/ 10731 h 28614"/>
                <a:gd name="connsiteX3" fmla="*/ 19892 w 28614"/>
                <a:gd name="connsiteY3" fmla="*/ 10732 h 28614"/>
                <a:gd name="connsiteX4" fmla="*/ 10735 w 28614"/>
                <a:gd name="connsiteY4" fmla="*/ 19600 h 28614"/>
                <a:gd name="connsiteX5" fmla="*/ 10735 w 28614"/>
                <a:gd name="connsiteY5" fmla="*/ 19889 h 28614"/>
                <a:gd name="connsiteX6" fmla="*/ 10735 w 28614"/>
                <a:gd name="connsiteY6" fmla="*/ 19889 h 28614"/>
                <a:gd name="connsiteX7" fmla="*/ 10735 w 28614"/>
                <a:gd name="connsiteY7" fmla="*/ 20890 h 28614"/>
                <a:gd name="connsiteX8" fmla="*/ 19601 w 28614"/>
                <a:gd name="connsiteY8" fmla="*/ 30329 h 28614"/>
                <a:gd name="connsiteX9" fmla="*/ 19892 w 28614"/>
                <a:gd name="connsiteY9" fmla="*/ 30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19892" y="30333"/>
                  </a:moveTo>
                  <a:cubicBezTo>
                    <a:pt x="25345" y="30333"/>
                    <a:pt x="29764" y="25914"/>
                    <a:pt x="29764" y="20461"/>
                  </a:cubicBezTo>
                  <a:cubicBezTo>
                    <a:pt x="29764" y="15087"/>
                    <a:pt x="25409" y="10732"/>
                    <a:pt x="20036" y="10731"/>
                  </a:cubicBezTo>
                  <a:cubicBezTo>
                    <a:pt x="19988" y="10731"/>
                    <a:pt x="19941" y="10731"/>
                    <a:pt x="19892" y="10732"/>
                  </a:cubicBezTo>
                  <a:cubicBezTo>
                    <a:pt x="14914" y="10652"/>
                    <a:pt x="10815" y="14622"/>
                    <a:pt x="10735" y="19600"/>
                  </a:cubicBezTo>
                  <a:cubicBezTo>
                    <a:pt x="10734" y="19697"/>
                    <a:pt x="10734" y="19793"/>
                    <a:pt x="10735" y="19889"/>
                  </a:cubicBezTo>
                  <a:lnTo>
                    <a:pt x="10735" y="19889"/>
                  </a:lnTo>
                  <a:lnTo>
                    <a:pt x="10735" y="20890"/>
                  </a:lnTo>
                  <a:cubicBezTo>
                    <a:pt x="10578" y="25945"/>
                    <a:pt x="14547" y="30170"/>
                    <a:pt x="19601" y="30329"/>
                  </a:cubicBezTo>
                  <a:cubicBezTo>
                    <a:pt x="19699" y="30332"/>
                    <a:pt x="19795" y="30333"/>
                    <a:pt x="19892" y="3033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E319BB81-4F21-4239-85E4-C95F9239B6DB}"/>
                </a:ext>
              </a:extLst>
            </p:cNvPr>
            <p:cNvSpPr/>
            <p:nvPr/>
          </p:nvSpPr>
          <p:spPr>
            <a:xfrm>
              <a:off x="5458585" y="5607008"/>
              <a:ext cx="42922" cy="42922"/>
            </a:xfrm>
            <a:custGeom>
              <a:avLst/>
              <a:gdLst>
                <a:gd name="connsiteX0" fmla="*/ 22893 w 42922"/>
                <a:gd name="connsiteY0" fmla="*/ 10731 h 42922"/>
                <a:gd name="connsiteX1" fmla="*/ 10732 w 42922"/>
                <a:gd name="connsiteY1" fmla="*/ 22892 h 42922"/>
                <a:gd name="connsiteX2" fmla="*/ 22464 w 42922"/>
                <a:gd name="connsiteY2" fmla="*/ 35053 h 42922"/>
                <a:gd name="connsiteX3" fmla="*/ 22464 w 42922"/>
                <a:gd name="connsiteY3" fmla="*/ 35053 h 42922"/>
                <a:gd name="connsiteX4" fmla="*/ 34625 w 42922"/>
                <a:gd name="connsiteY4" fmla="*/ 22892 h 42922"/>
                <a:gd name="connsiteX5" fmla="*/ 22464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3" y="10731"/>
                  </a:moveTo>
                  <a:cubicBezTo>
                    <a:pt x="16177" y="10731"/>
                    <a:pt x="10732" y="16176"/>
                    <a:pt x="10732" y="22892"/>
                  </a:cubicBezTo>
                  <a:cubicBezTo>
                    <a:pt x="10651" y="29475"/>
                    <a:pt x="15882" y="34897"/>
                    <a:pt x="22464" y="35053"/>
                  </a:cubicBezTo>
                  <a:lnTo>
                    <a:pt x="22464" y="35053"/>
                  </a:lnTo>
                  <a:cubicBezTo>
                    <a:pt x="29180" y="35053"/>
                    <a:pt x="34625" y="29608"/>
                    <a:pt x="34625" y="22892"/>
                  </a:cubicBezTo>
                  <a:cubicBezTo>
                    <a:pt x="34625" y="16176"/>
                    <a:pt x="29180" y="10731"/>
                    <a:pt x="2246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5" name="Freeform: Shape 124">
              <a:extLst>
                <a:ext uri="{FF2B5EF4-FFF2-40B4-BE49-F238E27FC236}">
                  <a16:creationId xmlns:a16="http://schemas.microsoft.com/office/drawing/2014/main" id="{76883A99-C900-4DAA-89FA-37F68FB97C8D}"/>
                </a:ext>
              </a:extLst>
            </p:cNvPr>
            <p:cNvSpPr/>
            <p:nvPr/>
          </p:nvSpPr>
          <p:spPr>
            <a:xfrm>
              <a:off x="5067314" y="5563513"/>
              <a:ext cx="28615" cy="28615"/>
            </a:xfrm>
            <a:custGeom>
              <a:avLst/>
              <a:gdLst>
                <a:gd name="connsiteX0" fmla="*/ 16129 w 28614"/>
                <a:gd name="connsiteY0" fmla="*/ 25325 h 28614"/>
                <a:gd name="connsiteX1" fmla="*/ 25326 w 28614"/>
                <a:gd name="connsiteY1" fmla="*/ 20214 h 28614"/>
                <a:gd name="connsiteX2" fmla="*/ 20216 w 28614"/>
                <a:gd name="connsiteY2" fmla="*/ 11017 h 28614"/>
                <a:gd name="connsiteX3" fmla="*/ 16129 w 28614"/>
                <a:gd name="connsiteY3" fmla="*/ 11017 h 28614"/>
                <a:gd name="connsiteX4" fmla="*/ 11019 w 28614"/>
                <a:gd name="connsiteY4" fmla="*/ 20214 h 28614"/>
                <a:gd name="connsiteX5" fmla="*/ 16129 w 28614"/>
                <a:gd name="connsiteY5"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6129" y="25325"/>
                  </a:moveTo>
                  <a:cubicBezTo>
                    <a:pt x="20080" y="26453"/>
                    <a:pt x="24198" y="24166"/>
                    <a:pt x="25326" y="20214"/>
                  </a:cubicBezTo>
                  <a:cubicBezTo>
                    <a:pt x="26455" y="16264"/>
                    <a:pt x="24167" y="12146"/>
                    <a:pt x="20216" y="11017"/>
                  </a:cubicBezTo>
                  <a:cubicBezTo>
                    <a:pt x="18880" y="10635"/>
                    <a:pt x="17464" y="10635"/>
                    <a:pt x="16129" y="11017"/>
                  </a:cubicBezTo>
                  <a:cubicBezTo>
                    <a:pt x="12178" y="12146"/>
                    <a:pt x="9890" y="16264"/>
                    <a:pt x="11019" y="20214"/>
                  </a:cubicBezTo>
                  <a:cubicBezTo>
                    <a:pt x="11725" y="22686"/>
                    <a:pt x="13657" y="24618"/>
                    <a:pt x="16129" y="253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6" name="Freeform: Shape 125">
              <a:extLst>
                <a:ext uri="{FF2B5EF4-FFF2-40B4-BE49-F238E27FC236}">
                  <a16:creationId xmlns:a16="http://schemas.microsoft.com/office/drawing/2014/main" id="{25628821-F3AE-4DA7-AE98-61C26D75EBE9}"/>
                </a:ext>
              </a:extLst>
            </p:cNvPr>
            <p:cNvSpPr/>
            <p:nvPr/>
          </p:nvSpPr>
          <p:spPr>
            <a:xfrm>
              <a:off x="5067314" y="5662522"/>
              <a:ext cx="28615" cy="28615"/>
            </a:xfrm>
            <a:custGeom>
              <a:avLst/>
              <a:gdLst>
                <a:gd name="connsiteX0" fmla="*/ 16129 w 28614"/>
                <a:gd name="connsiteY0" fmla="*/ 25038 h 28614"/>
                <a:gd name="connsiteX1" fmla="*/ 21239 w 28614"/>
                <a:gd name="connsiteY1" fmla="*/ 15841 h 28614"/>
                <a:gd name="connsiteX2" fmla="*/ 16129 w 28614"/>
                <a:gd name="connsiteY2" fmla="*/ 10731 h 28614"/>
                <a:gd name="connsiteX3" fmla="*/ 11019 w 28614"/>
                <a:gd name="connsiteY3" fmla="*/ 19927 h 28614"/>
                <a:gd name="connsiteX4" fmla="*/ 16129 w 28614"/>
                <a:gd name="connsiteY4" fmla="*/ 25038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6129" y="25038"/>
                  </a:moveTo>
                  <a:cubicBezTo>
                    <a:pt x="20080" y="23909"/>
                    <a:pt x="22368" y="19792"/>
                    <a:pt x="21239" y="15841"/>
                  </a:cubicBezTo>
                  <a:cubicBezTo>
                    <a:pt x="20533" y="13369"/>
                    <a:pt x="18601" y="11437"/>
                    <a:pt x="16129" y="10731"/>
                  </a:cubicBezTo>
                  <a:cubicBezTo>
                    <a:pt x="12178" y="11859"/>
                    <a:pt x="9890" y="15977"/>
                    <a:pt x="11019" y="19927"/>
                  </a:cubicBezTo>
                  <a:cubicBezTo>
                    <a:pt x="11725" y="22400"/>
                    <a:pt x="13657" y="24331"/>
                    <a:pt x="16129" y="25038"/>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7" name="Freeform: Shape 126">
              <a:extLst>
                <a:ext uri="{FF2B5EF4-FFF2-40B4-BE49-F238E27FC236}">
                  <a16:creationId xmlns:a16="http://schemas.microsoft.com/office/drawing/2014/main" id="{71FF7966-36FC-4944-AFC9-46A156654BA4}"/>
                </a:ext>
              </a:extLst>
            </p:cNvPr>
            <p:cNvSpPr/>
            <p:nvPr/>
          </p:nvSpPr>
          <p:spPr>
            <a:xfrm>
              <a:off x="5143712" y="5561787"/>
              <a:ext cx="28615" cy="28615"/>
            </a:xfrm>
            <a:custGeom>
              <a:avLst/>
              <a:gdLst>
                <a:gd name="connsiteX0" fmla="*/ 20425 w 28614"/>
                <a:gd name="connsiteY0" fmla="*/ 26622 h 28614"/>
                <a:gd name="connsiteX1" fmla="*/ 27436 w 28614"/>
                <a:gd name="connsiteY1" fmla="*/ 19611 h 28614"/>
                <a:gd name="connsiteX2" fmla="*/ 19445 w 28614"/>
                <a:gd name="connsiteY2" fmla="*/ 10742 h 28614"/>
                <a:gd name="connsiteX3" fmla="*/ 10839 w 28614"/>
                <a:gd name="connsiteY3" fmla="*/ 17036 h 28614"/>
                <a:gd name="connsiteX4" fmla="*/ 10839 w 28614"/>
                <a:gd name="connsiteY4" fmla="*/ 19611 h 28614"/>
                <a:gd name="connsiteX5" fmla="*/ 20425 w 28614"/>
                <a:gd name="connsiteY5" fmla="*/ 2662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425" y="26622"/>
                  </a:moveTo>
                  <a:cubicBezTo>
                    <a:pt x="24078" y="26137"/>
                    <a:pt x="26951" y="23264"/>
                    <a:pt x="27436" y="19611"/>
                  </a:cubicBezTo>
                  <a:cubicBezTo>
                    <a:pt x="27679" y="14956"/>
                    <a:pt x="24101" y="10985"/>
                    <a:pt x="19445" y="10742"/>
                  </a:cubicBezTo>
                  <a:cubicBezTo>
                    <a:pt x="15447" y="10533"/>
                    <a:pt x="11852" y="13163"/>
                    <a:pt x="10839" y="17036"/>
                  </a:cubicBezTo>
                  <a:cubicBezTo>
                    <a:pt x="10694" y="17889"/>
                    <a:pt x="10694" y="18759"/>
                    <a:pt x="10839" y="19611"/>
                  </a:cubicBezTo>
                  <a:cubicBezTo>
                    <a:pt x="11573" y="24181"/>
                    <a:pt x="15848" y="27307"/>
                    <a:pt x="20425" y="2662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8" name="Freeform: Shape 127">
              <a:extLst>
                <a:ext uri="{FF2B5EF4-FFF2-40B4-BE49-F238E27FC236}">
                  <a16:creationId xmlns:a16="http://schemas.microsoft.com/office/drawing/2014/main" id="{E5A04226-4D76-4FEC-BC7B-A4100960F6C1}"/>
                </a:ext>
              </a:extLst>
            </p:cNvPr>
            <p:cNvSpPr/>
            <p:nvPr/>
          </p:nvSpPr>
          <p:spPr>
            <a:xfrm>
              <a:off x="5144244" y="5711596"/>
              <a:ext cx="28615" cy="28615"/>
            </a:xfrm>
            <a:custGeom>
              <a:avLst/>
              <a:gdLst>
                <a:gd name="connsiteX0" fmla="*/ 18463 w 28614"/>
                <a:gd name="connsiteY0" fmla="*/ 27613 h 28614"/>
                <a:gd name="connsiteX1" fmla="*/ 27190 w 28614"/>
                <a:gd name="connsiteY1" fmla="*/ 19315 h 28614"/>
                <a:gd name="connsiteX2" fmla="*/ 19182 w 28614"/>
                <a:gd name="connsiteY2" fmla="*/ 10735 h 28614"/>
                <a:gd name="connsiteX3" fmla="*/ 18892 w 28614"/>
                <a:gd name="connsiteY3" fmla="*/ 10731 h 28614"/>
                <a:gd name="connsiteX4" fmla="*/ 18892 w 28614"/>
                <a:gd name="connsiteY4" fmla="*/ 10731 h 28614"/>
                <a:gd name="connsiteX5" fmla="*/ 10737 w 28614"/>
                <a:gd name="connsiteY5" fmla="*/ 18886 h 28614"/>
                <a:gd name="connsiteX6" fmla="*/ 18463 w 28614"/>
                <a:gd name="connsiteY6" fmla="*/ 2761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63" y="27613"/>
                  </a:moveTo>
                  <a:cubicBezTo>
                    <a:pt x="23150" y="27694"/>
                    <a:pt x="27034" y="24001"/>
                    <a:pt x="27190" y="19315"/>
                  </a:cubicBezTo>
                  <a:cubicBezTo>
                    <a:pt x="27348" y="14735"/>
                    <a:pt x="23764" y="10894"/>
                    <a:pt x="19182" y="10735"/>
                  </a:cubicBezTo>
                  <a:cubicBezTo>
                    <a:pt x="19086" y="10732"/>
                    <a:pt x="18989" y="10731"/>
                    <a:pt x="18892" y="10731"/>
                  </a:cubicBezTo>
                  <a:lnTo>
                    <a:pt x="18892" y="10731"/>
                  </a:lnTo>
                  <a:cubicBezTo>
                    <a:pt x="14388" y="10731"/>
                    <a:pt x="10737" y="14382"/>
                    <a:pt x="10737" y="18886"/>
                  </a:cubicBezTo>
                  <a:cubicBezTo>
                    <a:pt x="10568" y="23391"/>
                    <a:pt x="13970" y="27234"/>
                    <a:pt x="18463" y="2761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E4AC0801-44AF-4B43-B09C-4C8D1E44A282}"/>
                </a:ext>
              </a:extLst>
            </p:cNvPr>
            <p:cNvSpPr/>
            <p:nvPr/>
          </p:nvSpPr>
          <p:spPr>
            <a:xfrm>
              <a:off x="5143712" y="5660508"/>
              <a:ext cx="28615" cy="28615"/>
            </a:xfrm>
            <a:custGeom>
              <a:avLst/>
              <a:gdLst>
                <a:gd name="connsiteX0" fmla="*/ 20425 w 28614"/>
                <a:gd name="connsiteY0" fmla="*/ 26622 h 28614"/>
                <a:gd name="connsiteX1" fmla="*/ 27436 w 28614"/>
                <a:gd name="connsiteY1" fmla="*/ 19611 h 28614"/>
                <a:gd name="connsiteX2" fmla="*/ 19445 w 28614"/>
                <a:gd name="connsiteY2" fmla="*/ 10742 h 28614"/>
                <a:gd name="connsiteX3" fmla="*/ 10839 w 28614"/>
                <a:gd name="connsiteY3" fmla="*/ 17036 h 28614"/>
                <a:gd name="connsiteX4" fmla="*/ 10839 w 28614"/>
                <a:gd name="connsiteY4" fmla="*/ 19611 h 28614"/>
                <a:gd name="connsiteX5" fmla="*/ 20425 w 28614"/>
                <a:gd name="connsiteY5" fmla="*/ 2662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425" y="26622"/>
                  </a:moveTo>
                  <a:cubicBezTo>
                    <a:pt x="24078" y="26137"/>
                    <a:pt x="26951" y="23264"/>
                    <a:pt x="27436" y="19611"/>
                  </a:cubicBezTo>
                  <a:cubicBezTo>
                    <a:pt x="27679" y="14956"/>
                    <a:pt x="24101" y="10984"/>
                    <a:pt x="19445" y="10742"/>
                  </a:cubicBezTo>
                  <a:cubicBezTo>
                    <a:pt x="15447" y="10533"/>
                    <a:pt x="11852" y="13163"/>
                    <a:pt x="10839" y="17036"/>
                  </a:cubicBezTo>
                  <a:cubicBezTo>
                    <a:pt x="10694" y="17889"/>
                    <a:pt x="10694" y="18759"/>
                    <a:pt x="10839" y="19611"/>
                  </a:cubicBezTo>
                  <a:cubicBezTo>
                    <a:pt x="11573" y="24181"/>
                    <a:pt x="15848" y="27307"/>
                    <a:pt x="20425" y="2662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0" name="Freeform: Shape 129">
              <a:extLst>
                <a:ext uri="{FF2B5EF4-FFF2-40B4-BE49-F238E27FC236}">
                  <a16:creationId xmlns:a16="http://schemas.microsoft.com/office/drawing/2014/main" id="{8C99D356-D4D4-4A06-AF0F-684CE45E7C76}"/>
                </a:ext>
              </a:extLst>
            </p:cNvPr>
            <p:cNvSpPr/>
            <p:nvPr/>
          </p:nvSpPr>
          <p:spPr>
            <a:xfrm>
              <a:off x="5614537" y="5555358"/>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1" name="Freeform: Shape 130">
              <a:extLst>
                <a:ext uri="{FF2B5EF4-FFF2-40B4-BE49-F238E27FC236}">
                  <a16:creationId xmlns:a16="http://schemas.microsoft.com/office/drawing/2014/main" id="{E34D7DFC-8ADE-47E4-9249-4F2E3D25C241}"/>
                </a:ext>
              </a:extLst>
            </p:cNvPr>
            <p:cNvSpPr/>
            <p:nvPr/>
          </p:nvSpPr>
          <p:spPr>
            <a:xfrm>
              <a:off x="5144965" y="5610872"/>
              <a:ext cx="28615" cy="28615"/>
            </a:xfrm>
            <a:custGeom>
              <a:avLst/>
              <a:gdLst>
                <a:gd name="connsiteX0" fmla="*/ 19029 w 28614"/>
                <a:gd name="connsiteY0" fmla="*/ 10731 h 28614"/>
                <a:gd name="connsiteX1" fmla="*/ 19029 w 28614"/>
                <a:gd name="connsiteY1" fmla="*/ 10731 h 28614"/>
                <a:gd name="connsiteX2" fmla="*/ 10731 w 28614"/>
                <a:gd name="connsiteY2" fmla="*/ 19029 h 28614"/>
                <a:gd name="connsiteX3" fmla="*/ 19029 w 28614"/>
                <a:gd name="connsiteY3" fmla="*/ 27613 h 28614"/>
                <a:gd name="connsiteX4" fmla="*/ 27470 w 28614"/>
                <a:gd name="connsiteY4" fmla="*/ 19172 h 28614"/>
                <a:gd name="connsiteX5" fmla="*/ 1902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29" y="10731"/>
                  </a:moveTo>
                  <a:lnTo>
                    <a:pt x="19029" y="10731"/>
                  </a:lnTo>
                  <a:cubicBezTo>
                    <a:pt x="14446" y="10731"/>
                    <a:pt x="10731" y="14446"/>
                    <a:pt x="10731" y="19029"/>
                  </a:cubicBezTo>
                  <a:cubicBezTo>
                    <a:pt x="10728" y="23660"/>
                    <a:pt x="14400" y="27459"/>
                    <a:pt x="19029" y="27613"/>
                  </a:cubicBezTo>
                  <a:cubicBezTo>
                    <a:pt x="23690" y="27613"/>
                    <a:pt x="27470" y="23833"/>
                    <a:pt x="27470" y="19172"/>
                  </a:cubicBezTo>
                  <a:cubicBezTo>
                    <a:pt x="27470" y="14511"/>
                    <a:pt x="23690" y="10731"/>
                    <a:pt x="1902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2" name="Freeform: Shape 131">
              <a:extLst>
                <a:ext uri="{FF2B5EF4-FFF2-40B4-BE49-F238E27FC236}">
                  <a16:creationId xmlns:a16="http://schemas.microsoft.com/office/drawing/2014/main" id="{23B05AF2-9D30-4A5D-8AFE-554164FAE8FA}"/>
                </a:ext>
              </a:extLst>
            </p:cNvPr>
            <p:cNvSpPr/>
            <p:nvPr/>
          </p:nvSpPr>
          <p:spPr>
            <a:xfrm>
              <a:off x="5065845" y="5511291"/>
              <a:ext cx="28615" cy="28615"/>
            </a:xfrm>
            <a:custGeom>
              <a:avLst/>
              <a:gdLst>
                <a:gd name="connsiteX0" fmla="*/ 18171 w 28614"/>
                <a:gd name="connsiteY0" fmla="*/ 25325 h 28614"/>
                <a:gd name="connsiteX1" fmla="*/ 27368 w 28614"/>
                <a:gd name="connsiteY1" fmla="*/ 20214 h 28614"/>
                <a:gd name="connsiteX2" fmla="*/ 22258 w 28614"/>
                <a:gd name="connsiteY2" fmla="*/ 11017 h 28614"/>
                <a:gd name="connsiteX3" fmla="*/ 18171 w 28614"/>
                <a:gd name="connsiteY3" fmla="*/ 11017 h 28614"/>
                <a:gd name="connsiteX4" fmla="*/ 18171 w 28614"/>
                <a:gd name="connsiteY4" fmla="*/ 11017 h 28614"/>
                <a:gd name="connsiteX5" fmla="*/ 10732 w 28614"/>
                <a:gd name="connsiteY5" fmla="*/ 18169 h 28614"/>
                <a:gd name="connsiteX6" fmla="*/ 10731 w 28614"/>
                <a:gd name="connsiteY6" fmla="*/ 18314 h 28614"/>
                <a:gd name="connsiteX7" fmla="*/ 18171 w 28614"/>
                <a:gd name="connsiteY7"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8171" y="25325"/>
                  </a:moveTo>
                  <a:cubicBezTo>
                    <a:pt x="22121" y="26453"/>
                    <a:pt x="26239" y="24166"/>
                    <a:pt x="27368" y="20214"/>
                  </a:cubicBezTo>
                  <a:cubicBezTo>
                    <a:pt x="28496" y="16264"/>
                    <a:pt x="26208" y="12146"/>
                    <a:pt x="22258" y="11017"/>
                  </a:cubicBezTo>
                  <a:cubicBezTo>
                    <a:pt x="20922" y="10635"/>
                    <a:pt x="19506" y="10635"/>
                    <a:pt x="18171" y="11017"/>
                  </a:cubicBezTo>
                  <a:lnTo>
                    <a:pt x="18171" y="11017"/>
                  </a:lnTo>
                  <a:cubicBezTo>
                    <a:pt x="14141" y="10938"/>
                    <a:pt x="10811" y="14140"/>
                    <a:pt x="10732" y="18169"/>
                  </a:cubicBezTo>
                  <a:cubicBezTo>
                    <a:pt x="10731" y="18218"/>
                    <a:pt x="10731" y="18265"/>
                    <a:pt x="10731" y="18314"/>
                  </a:cubicBezTo>
                  <a:cubicBezTo>
                    <a:pt x="10958" y="22254"/>
                    <a:pt x="14223" y="25332"/>
                    <a:pt x="18171" y="253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3" name="Freeform: Shape 132">
              <a:extLst>
                <a:ext uri="{FF2B5EF4-FFF2-40B4-BE49-F238E27FC236}">
                  <a16:creationId xmlns:a16="http://schemas.microsoft.com/office/drawing/2014/main" id="{043E3EFC-D64C-460A-94EA-73D9278B712F}"/>
                </a:ext>
              </a:extLst>
            </p:cNvPr>
            <p:cNvSpPr/>
            <p:nvPr/>
          </p:nvSpPr>
          <p:spPr>
            <a:xfrm>
              <a:off x="5065845" y="5760385"/>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6E0135D6-E6F8-4EEF-ADE0-E6251FAAB87D}"/>
                </a:ext>
              </a:extLst>
            </p:cNvPr>
            <p:cNvSpPr/>
            <p:nvPr/>
          </p:nvSpPr>
          <p:spPr>
            <a:xfrm>
              <a:off x="5300774" y="5570667"/>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cubicBezTo>
                    <a:pt x="10731" y="10731"/>
                    <a:pt x="10731" y="10731"/>
                    <a:pt x="1073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5" name="Freeform: Shape 134">
              <a:extLst>
                <a:ext uri="{FF2B5EF4-FFF2-40B4-BE49-F238E27FC236}">
                  <a16:creationId xmlns:a16="http://schemas.microsoft.com/office/drawing/2014/main" id="{8A94D40A-7F9D-488D-A10A-071EBF194958}"/>
                </a:ext>
              </a:extLst>
            </p:cNvPr>
            <p:cNvSpPr/>
            <p:nvPr/>
          </p:nvSpPr>
          <p:spPr>
            <a:xfrm>
              <a:off x="5379604" y="5707875"/>
              <a:ext cx="42922" cy="42922"/>
            </a:xfrm>
            <a:custGeom>
              <a:avLst/>
              <a:gdLst>
                <a:gd name="connsiteX0" fmla="*/ 21608 w 42922"/>
                <a:gd name="connsiteY0" fmla="*/ 33480 h 42922"/>
                <a:gd name="connsiteX1" fmla="*/ 33197 w 42922"/>
                <a:gd name="connsiteY1" fmla="*/ 22321 h 42922"/>
                <a:gd name="connsiteX2" fmla="*/ 22185 w 42922"/>
                <a:gd name="connsiteY2" fmla="*/ 10734 h 42922"/>
                <a:gd name="connsiteX3" fmla="*/ 22037 w 42922"/>
                <a:gd name="connsiteY3" fmla="*/ 10732 h 42922"/>
                <a:gd name="connsiteX4" fmla="*/ 22037 w 42922"/>
                <a:gd name="connsiteY4" fmla="*/ 10732 h 42922"/>
                <a:gd name="connsiteX5" fmla="*/ 10736 w 42922"/>
                <a:gd name="connsiteY5" fmla="*/ 21747 h 42922"/>
                <a:gd name="connsiteX6" fmla="*/ 10735 w 42922"/>
                <a:gd name="connsiteY6" fmla="*/ 21891 h 42922"/>
                <a:gd name="connsiteX7" fmla="*/ 21608 w 42922"/>
                <a:gd name="connsiteY7" fmla="*/ 334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1608" y="33480"/>
                  </a:moveTo>
                  <a:cubicBezTo>
                    <a:pt x="27875" y="33561"/>
                    <a:pt x="33041" y="28586"/>
                    <a:pt x="33197" y="22321"/>
                  </a:cubicBezTo>
                  <a:cubicBezTo>
                    <a:pt x="33356" y="16080"/>
                    <a:pt x="28426" y="10893"/>
                    <a:pt x="22185" y="10734"/>
                  </a:cubicBezTo>
                  <a:cubicBezTo>
                    <a:pt x="22136" y="10733"/>
                    <a:pt x="22086" y="10732"/>
                    <a:pt x="22037" y="10732"/>
                  </a:cubicBezTo>
                  <a:lnTo>
                    <a:pt x="22037" y="10732"/>
                  </a:lnTo>
                  <a:cubicBezTo>
                    <a:pt x="15875" y="10653"/>
                    <a:pt x="10815" y="15585"/>
                    <a:pt x="10736" y="21747"/>
                  </a:cubicBezTo>
                  <a:cubicBezTo>
                    <a:pt x="10735" y="21796"/>
                    <a:pt x="10735" y="21843"/>
                    <a:pt x="10735" y="21891"/>
                  </a:cubicBezTo>
                  <a:cubicBezTo>
                    <a:pt x="10573" y="28081"/>
                    <a:pt x="15422" y="33247"/>
                    <a:pt x="21608" y="3348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6" name="Freeform: Shape 135">
              <a:extLst>
                <a:ext uri="{FF2B5EF4-FFF2-40B4-BE49-F238E27FC236}">
                  <a16:creationId xmlns:a16="http://schemas.microsoft.com/office/drawing/2014/main" id="{60349EF9-4969-423E-9F9D-5EADBD74E8C4}"/>
                </a:ext>
              </a:extLst>
            </p:cNvPr>
            <p:cNvSpPr/>
            <p:nvPr/>
          </p:nvSpPr>
          <p:spPr>
            <a:xfrm>
              <a:off x="5379780" y="5758984"/>
              <a:ext cx="42922" cy="42922"/>
            </a:xfrm>
            <a:custGeom>
              <a:avLst/>
              <a:gdLst>
                <a:gd name="connsiteX0" fmla="*/ 20574 w 42922"/>
                <a:gd name="connsiteY0" fmla="*/ 10843 h 42922"/>
                <a:gd name="connsiteX1" fmla="*/ 10845 w 42922"/>
                <a:gd name="connsiteY1" fmla="*/ 20572 h 42922"/>
                <a:gd name="connsiteX2" fmla="*/ 20574 w 42922"/>
                <a:gd name="connsiteY2" fmla="*/ 33509 h 42922"/>
                <a:gd name="connsiteX3" fmla="*/ 33511 w 42922"/>
                <a:gd name="connsiteY3" fmla="*/ 23780 h 42922"/>
                <a:gd name="connsiteX4" fmla="*/ 23782 w 42922"/>
                <a:gd name="connsiteY4" fmla="*/ 10843 h 42922"/>
                <a:gd name="connsiteX5" fmla="*/ 20574 w 42922"/>
                <a:gd name="connsiteY5" fmla="*/ 1084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74" y="10843"/>
                  </a:moveTo>
                  <a:cubicBezTo>
                    <a:pt x="15526" y="11557"/>
                    <a:pt x="11559" y="15525"/>
                    <a:pt x="10845" y="20572"/>
                  </a:cubicBezTo>
                  <a:cubicBezTo>
                    <a:pt x="9959" y="26832"/>
                    <a:pt x="14314" y="32624"/>
                    <a:pt x="20574" y="33509"/>
                  </a:cubicBezTo>
                  <a:cubicBezTo>
                    <a:pt x="26834" y="34395"/>
                    <a:pt x="32625" y="30040"/>
                    <a:pt x="33511" y="23780"/>
                  </a:cubicBezTo>
                  <a:cubicBezTo>
                    <a:pt x="34396" y="17521"/>
                    <a:pt x="30041" y="11729"/>
                    <a:pt x="23782" y="10843"/>
                  </a:cubicBezTo>
                  <a:cubicBezTo>
                    <a:pt x="22717" y="10693"/>
                    <a:pt x="21638" y="10693"/>
                    <a:pt x="20574" y="1084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7" name="Freeform: Shape 136">
              <a:extLst>
                <a:ext uri="{FF2B5EF4-FFF2-40B4-BE49-F238E27FC236}">
                  <a16:creationId xmlns:a16="http://schemas.microsoft.com/office/drawing/2014/main" id="{688BF84B-BD85-498F-B37B-12A79F332E98}"/>
                </a:ext>
              </a:extLst>
            </p:cNvPr>
            <p:cNvSpPr/>
            <p:nvPr/>
          </p:nvSpPr>
          <p:spPr>
            <a:xfrm>
              <a:off x="5300917" y="5560079"/>
              <a:ext cx="42922" cy="28615"/>
            </a:xfrm>
            <a:custGeom>
              <a:avLst/>
              <a:gdLst>
                <a:gd name="connsiteX0" fmla="*/ 26469 w 42922"/>
                <a:gd name="connsiteY0" fmla="*/ 11161 h 28614"/>
                <a:gd name="connsiteX1" fmla="*/ 20746 w 42922"/>
                <a:gd name="connsiteY1" fmla="*/ 11161 h 28614"/>
                <a:gd name="connsiteX2" fmla="*/ 10731 w 42922"/>
                <a:gd name="connsiteY2" fmla="*/ 20890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25" y="11158"/>
                    <a:pt x="10885" y="15470"/>
                    <a:pt x="10731" y="20890"/>
                  </a:cubicBezTo>
                  <a:cubicBezTo>
                    <a:pt x="10884" y="26333"/>
                    <a:pt x="15300" y="30688"/>
                    <a:pt x="20746" y="30762"/>
                  </a:cubicBezTo>
                  <a:cubicBezTo>
                    <a:pt x="26158" y="32343"/>
                    <a:pt x="31827" y="29236"/>
                    <a:pt x="33408" y="23823"/>
                  </a:cubicBezTo>
                  <a:cubicBezTo>
                    <a:pt x="34989" y="18411"/>
                    <a:pt x="31881" y="12742"/>
                    <a:pt x="26469" y="1116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8" name="Freeform: Shape 137">
              <a:extLst>
                <a:ext uri="{FF2B5EF4-FFF2-40B4-BE49-F238E27FC236}">
                  <a16:creationId xmlns:a16="http://schemas.microsoft.com/office/drawing/2014/main" id="{778ABFD8-10BB-446F-94D2-27C40C8B5E37}"/>
                </a:ext>
              </a:extLst>
            </p:cNvPr>
            <p:cNvSpPr/>
            <p:nvPr/>
          </p:nvSpPr>
          <p:spPr>
            <a:xfrm>
              <a:off x="5379274" y="5656607"/>
              <a:ext cx="42922" cy="42922"/>
            </a:xfrm>
            <a:custGeom>
              <a:avLst/>
              <a:gdLst>
                <a:gd name="connsiteX0" fmla="*/ 23512 w 42922"/>
                <a:gd name="connsiteY0" fmla="*/ 33241 h 42922"/>
                <a:gd name="connsiteX1" fmla="*/ 33241 w 42922"/>
                <a:gd name="connsiteY1" fmla="*/ 23512 h 42922"/>
                <a:gd name="connsiteX2" fmla="*/ 23512 w 42922"/>
                <a:gd name="connsiteY2" fmla="*/ 10829 h 42922"/>
                <a:gd name="connsiteX3" fmla="*/ 10829 w 42922"/>
                <a:gd name="connsiteY3" fmla="*/ 20558 h 42922"/>
                <a:gd name="connsiteX4" fmla="*/ 20558 w 42922"/>
                <a:gd name="connsiteY4" fmla="*/ 33241 h 42922"/>
                <a:gd name="connsiteX5" fmla="*/ 23512 w 42922"/>
                <a:gd name="connsiteY5" fmla="*/ 3324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512" y="33241"/>
                  </a:moveTo>
                  <a:cubicBezTo>
                    <a:pt x="28607" y="32621"/>
                    <a:pt x="32620" y="28607"/>
                    <a:pt x="33241" y="23512"/>
                  </a:cubicBezTo>
                  <a:cubicBezTo>
                    <a:pt x="34057" y="17323"/>
                    <a:pt x="29702" y="11646"/>
                    <a:pt x="23512" y="10829"/>
                  </a:cubicBezTo>
                  <a:cubicBezTo>
                    <a:pt x="17323" y="10013"/>
                    <a:pt x="11646" y="14370"/>
                    <a:pt x="10829" y="20558"/>
                  </a:cubicBezTo>
                  <a:cubicBezTo>
                    <a:pt x="10013" y="26747"/>
                    <a:pt x="14370" y="32426"/>
                    <a:pt x="20558" y="33241"/>
                  </a:cubicBezTo>
                  <a:cubicBezTo>
                    <a:pt x="21539" y="33370"/>
                    <a:pt x="22532" y="33370"/>
                    <a:pt x="23512" y="3324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9" name="Freeform: Shape 138">
              <a:extLst>
                <a:ext uri="{FF2B5EF4-FFF2-40B4-BE49-F238E27FC236}">
                  <a16:creationId xmlns:a16="http://schemas.microsoft.com/office/drawing/2014/main" id="{E7B1C797-0696-470C-9B71-5DE903344EA8}"/>
                </a:ext>
              </a:extLst>
            </p:cNvPr>
            <p:cNvSpPr/>
            <p:nvPr/>
          </p:nvSpPr>
          <p:spPr>
            <a:xfrm>
              <a:off x="5379893" y="5508375"/>
              <a:ext cx="42922" cy="42922"/>
            </a:xfrm>
            <a:custGeom>
              <a:avLst/>
              <a:gdLst>
                <a:gd name="connsiteX0" fmla="*/ 22178 w 42922"/>
                <a:gd name="connsiteY0" fmla="*/ 10786 h 42922"/>
                <a:gd name="connsiteX1" fmla="*/ 22178 w 42922"/>
                <a:gd name="connsiteY1" fmla="*/ 10786 h 42922"/>
                <a:gd name="connsiteX2" fmla="*/ 10732 w 42922"/>
                <a:gd name="connsiteY2" fmla="*/ 22089 h 42922"/>
                <a:gd name="connsiteX3" fmla="*/ 21890 w 42922"/>
                <a:gd name="connsiteY3" fmla="*/ 33535 h 42922"/>
                <a:gd name="connsiteX4" fmla="*/ 21891 w 42922"/>
                <a:gd name="connsiteY4" fmla="*/ 33535 h 42922"/>
                <a:gd name="connsiteX5" fmla="*/ 34662 w 42922"/>
                <a:gd name="connsiteY5" fmla="*/ 23590 h 42922"/>
                <a:gd name="connsiteX6" fmla="*/ 24717 w 42922"/>
                <a:gd name="connsiteY6" fmla="*/ 10817 h 42922"/>
                <a:gd name="connsiteX7" fmla="*/ 22178 w 42922"/>
                <a:gd name="connsiteY7" fmla="*/ 1078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2178" y="10786"/>
                  </a:moveTo>
                  <a:lnTo>
                    <a:pt x="22178" y="10786"/>
                  </a:lnTo>
                  <a:cubicBezTo>
                    <a:pt x="15911" y="10786"/>
                    <a:pt x="10810" y="15824"/>
                    <a:pt x="10732" y="22089"/>
                  </a:cubicBezTo>
                  <a:cubicBezTo>
                    <a:pt x="10651" y="28331"/>
                    <a:pt x="15648" y="33455"/>
                    <a:pt x="21890" y="33535"/>
                  </a:cubicBezTo>
                  <a:cubicBezTo>
                    <a:pt x="21890" y="33535"/>
                    <a:pt x="21891" y="33535"/>
                    <a:pt x="21891" y="33535"/>
                  </a:cubicBezTo>
                  <a:cubicBezTo>
                    <a:pt x="28164" y="34315"/>
                    <a:pt x="33882" y="29862"/>
                    <a:pt x="34662" y="23590"/>
                  </a:cubicBezTo>
                  <a:cubicBezTo>
                    <a:pt x="35442" y="17316"/>
                    <a:pt x="30990" y="11599"/>
                    <a:pt x="24717" y="10817"/>
                  </a:cubicBezTo>
                  <a:cubicBezTo>
                    <a:pt x="23874" y="10713"/>
                    <a:pt x="23023" y="10703"/>
                    <a:pt x="22178" y="1078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0" name="Freeform: Shape 139">
              <a:extLst>
                <a:ext uri="{FF2B5EF4-FFF2-40B4-BE49-F238E27FC236}">
                  <a16:creationId xmlns:a16="http://schemas.microsoft.com/office/drawing/2014/main" id="{1FC51E5F-3F0E-4145-8535-C233EA2F4664}"/>
                </a:ext>
              </a:extLst>
            </p:cNvPr>
            <p:cNvSpPr/>
            <p:nvPr/>
          </p:nvSpPr>
          <p:spPr>
            <a:xfrm>
              <a:off x="5381171" y="5608579"/>
              <a:ext cx="42922" cy="42922"/>
            </a:xfrm>
            <a:custGeom>
              <a:avLst/>
              <a:gdLst>
                <a:gd name="connsiteX0" fmla="*/ 20900 w 42922"/>
                <a:gd name="connsiteY0" fmla="*/ 10734 h 42922"/>
                <a:gd name="connsiteX1" fmla="*/ 20900 w 42922"/>
                <a:gd name="connsiteY1" fmla="*/ 10734 h 42922"/>
                <a:gd name="connsiteX2" fmla="*/ 10803 w 42922"/>
                <a:gd name="connsiteY2" fmla="*/ 23386 h 42922"/>
                <a:gd name="connsiteX3" fmla="*/ 20900 w 42922"/>
                <a:gd name="connsiteY3" fmla="*/ 33483 h 42922"/>
                <a:gd name="connsiteX4" fmla="*/ 32489 w 42922"/>
                <a:gd name="connsiteY4" fmla="*/ 22180 h 42922"/>
                <a:gd name="connsiteX5" fmla="*/ 21333 w 42922"/>
                <a:gd name="connsiteY5" fmla="*/ 10731 h 42922"/>
                <a:gd name="connsiteX6" fmla="*/ 20900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0900" y="10734"/>
                  </a:moveTo>
                  <a:lnTo>
                    <a:pt x="20900" y="10734"/>
                  </a:lnTo>
                  <a:cubicBezTo>
                    <a:pt x="14617" y="11440"/>
                    <a:pt x="10098" y="17104"/>
                    <a:pt x="10803" y="23386"/>
                  </a:cubicBezTo>
                  <a:cubicBezTo>
                    <a:pt x="11400" y="28696"/>
                    <a:pt x="15590" y="32887"/>
                    <a:pt x="20900" y="33483"/>
                  </a:cubicBezTo>
                  <a:cubicBezTo>
                    <a:pt x="27191" y="33485"/>
                    <a:pt x="32333" y="28468"/>
                    <a:pt x="32489" y="22180"/>
                  </a:cubicBezTo>
                  <a:cubicBezTo>
                    <a:pt x="32571" y="15938"/>
                    <a:pt x="27576" y="10813"/>
                    <a:pt x="21333" y="10731"/>
                  </a:cubicBezTo>
                  <a:cubicBezTo>
                    <a:pt x="21189" y="10730"/>
                    <a:pt x="21044" y="10730"/>
                    <a:pt x="20900"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1" name="Freeform: Shape 140">
              <a:extLst>
                <a:ext uri="{FF2B5EF4-FFF2-40B4-BE49-F238E27FC236}">
                  <a16:creationId xmlns:a16="http://schemas.microsoft.com/office/drawing/2014/main" id="{CD916954-D9D4-4248-98C0-AE603EA6B6F2}"/>
                </a:ext>
              </a:extLst>
            </p:cNvPr>
            <p:cNvSpPr/>
            <p:nvPr/>
          </p:nvSpPr>
          <p:spPr>
            <a:xfrm>
              <a:off x="5379322" y="5560311"/>
              <a:ext cx="28615" cy="28615"/>
            </a:xfrm>
            <a:custGeom>
              <a:avLst/>
              <a:gdLst>
                <a:gd name="connsiteX0" fmla="*/ 23464 w 28614"/>
                <a:gd name="connsiteY0" fmla="*/ 30387 h 28614"/>
                <a:gd name="connsiteX1" fmla="*/ 30382 w 28614"/>
                <a:gd name="connsiteY1" fmla="*/ 18027 h 28614"/>
                <a:gd name="connsiteX2" fmla="*/ 18022 w 28614"/>
                <a:gd name="connsiteY2" fmla="*/ 11110 h 28614"/>
                <a:gd name="connsiteX3" fmla="*/ 10731 w 28614"/>
                <a:gd name="connsiteY3" fmla="*/ 20515 h 28614"/>
                <a:gd name="connsiteX4" fmla="*/ 23284 w 28614"/>
                <a:gd name="connsiteY4" fmla="*/ 30410 h 28614"/>
                <a:gd name="connsiteX5" fmla="*/ 23464 w 28614"/>
                <a:gd name="connsiteY5" fmla="*/ 3038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464" y="30387"/>
                  </a:moveTo>
                  <a:cubicBezTo>
                    <a:pt x="28788" y="28884"/>
                    <a:pt x="31884" y="23350"/>
                    <a:pt x="30382" y="18027"/>
                  </a:cubicBezTo>
                  <a:cubicBezTo>
                    <a:pt x="28878" y="12704"/>
                    <a:pt x="23346" y="9607"/>
                    <a:pt x="18022" y="11110"/>
                  </a:cubicBezTo>
                  <a:cubicBezTo>
                    <a:pt x="13791" y="12305"/>
                    <a:pt x="10834" y="16119"/>
                    <a:pt x="10731" y="20515"/>
                  </a:cubicBezTo>
                  <a:cubicBezTo>
                    <a:pt x="11465" y="26714"/>
                    <a:pt x="17086" y="31144"/>
                    <a:pt x="23284" y="30410"/>
                  </a:cubicBezTo>
                  <a:cubicBezTo>
                    <a:pt x="23344" y="30402"/>
                    <a:pt x="23404" y="30395"/>
                    <a:pt x="23464" y="3038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2" name="Freeform: Shape 141">
              <a:extLst>
                <a:ext uri="{FF2B5EF4-FFF2-40B4-BE49-F238E27FC236}">
                  <a16:creationId xmlns:a16="http://schemas.microsoft.com/office/drawing/2014/main" id="{D29A7E1F-3EE7-405F-B2E9-166D7F45AE64}"/>
                </a:ext>
              </a:extLst>
            </p:cNvPr>
            <p:cNvSpPr/>
            <p:nvPr/>
          </p:nvSpPr>
          <p:spPr>
            <a:xfrm>
              <a:off x="5300774" y="5658945"/>
              <a:ext cx="28615" cy="28615"/>
            </a:xfrm>
            <a:custGeom>
              <a:avLst/>
              <a:gdLst>
                <a:gd name="connsiteX0" fmla="*/ 10731 w 28614"/>
                <a:gd name="connsiteY0" fmla="*/ 21175 h 28614"/>
                <a:gd name="connsiteX1" fmla="*/ 21032 w 28614"/>
                <a:gd name="connsiteY1" fmla="*/ 31476 h 28614"/>
                <a:gd name="connsiteX2" fmla="*/ 31333 w 28614"/>
                <a:gd name="connsiteY2" fmla="*/ 21175 h 28614"/>
                <a:gd name="connsiteX3" fmla="*/ 31333 w 28614"/>
                <a:gd name="connsiteY3" fmla="*/ 21175 h 28614"/>
                <a:gd name="connsiteX4" fmla="*/ 20889 w 28614"/>
                <a:gd name="connsiteY4" fmla="*/ 10731 h 28614"/>
                <a:gd name="connsiteX5" fmla="*/ 10731 w 28614"/>
                <a:gd name="connsiteY5" fmla="*/ 2088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0731" y="21175"/>
                  </a:moveTo>
                  <a:cubicBezTo>
                    <a:pt x="10731" y="26864"/>
                    <a:pt x="15343" y="31476"/>
                    <a:pt x="21032" y="31476"/>
                  </a:cubicBezTo>
                  <a:cubicBezTo>
                    <a:pt x="26721" y="31476"/>
                    <a:pt x="31333" y="26864"/>
                    <a:pt x="31333" y="21175"/>
                  </a:cubicBezTo>
                  <a:lnTo>
                    <a:pt x="31333" y="21175"/>
                  </a:lnTo>
                  <a:cubicBezTo>
                    <a:pt x="31333" y="15406"/>
                    <a:pt x="26658" y="10731"/>
                    <a:pt x="20889" y="10731"/>
                  </a:cubicBezTo>
                  <a:cubicBezTo>
                    <a:pt x="15279" y="10731"/>
                    <a:pt x="10731" y="15279"/>
                    <a:pt x="10731" y="2088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3" name="Freeform: Shape 142">
              <a:extLst>
                <a:ext uri="{FF2B5EF4-FFF2-40B4-BE49-F238E27FC236}">
                  <a16:creationId xmlns:a16="http://schemas.microsoft.com/office/drawing/2014/main" id="{0F300319-2FB3-4330-8CCE-EA8ABC0AFE70}"/>
                </a:ext>
              </a:extLst>
            </p:cNvPr>
            <p:cNvSpPr/>
            <p:nvPr/>
          </p:nvSpPr>
          <p:spPr>
            <a:xfrm>
              <a:off x="5144965" y="5510004"/>
              <a:ext cx="28615" cy="28615"/>
            </a:xfrm>
            <a:custGeom>
              <a:avLst/>
              <a:gdLst>
                <a:gd name="connsiteX0" fmla="*/ 19029 w 28614"/>
                <a:gd name="connsiteY0" fmla="*/ 10731 h 28614"/>
                <a:gd name="connsiteX1" fmla="*/ 19029 w 28614"/>
                <a:gd name="connsiteY1" fmla="*/ 10731 h 28614"/>
                <a:gd name="connsiteX2" fmla="*/ 10731 w 28614"/>
                <a:gd name="connsiteY2" fmla="*/ 19029 h 28614"/>
                <a:gd name="connsiteX3" fmla="*/ 19029 w 28614"/>
                <a:gd name="connsiteY3" fmla="*/ 27613 h 28614"/>
                <a:gd name="connsiteX4" fmla="*/ 27470 w 28614"/>
                <a:gd name="connsiteY4" fmla="*/ 19172 h 28614"/>
                <a:gd name="connsiteX5" fmla="*/ 1902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29" y="10731"/>
                  </a:moveTo>
                  <a:lnTo>
                    <a:pt x="19029" y="10731"/>
                  </a:lnTo>
                  <a:cubicBezTo>
                    <a:pt x="14446" y="10731"/>
                    <a:pt x="10731" y="14446"/>
                    <a:pt x="10731" y="19029"/>
                  </a:cubicBezTo>
                  <a:cubicBezTo>
                    <a:pt x="10728" y="23660"/>
                    <a:pt x="14400" y="27459"/>
                    <a:pt x="19029" y="27613"/>
                  </a:cubicBezTo>
                  <a:cubicBezTo>
                    <a:pt x="23690" y="27613"/>
                    <a:pt x="27470" y="23833"/>
                    <a:pt x="27470" y="19172"/>
                  </a:cubicBezTo>
                  <a:cubicBezTo>
                    <a:pt x="27470" y="14511"/>
                    <a:pt x="23690" y="10731"/>
                    <a:pt x="1902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4" name="Freeform: Shape 143">
              <a:extLst>
                <a:ext uri="{FF2B5EF4-FFF2-40B4-BE49-F238E27FC236}">
                  <a16:creationId xmlns:a16="http://schemas.microsoft.com/office/drawing/2014/main" id="{194C922B-8A32-434D-B2B7-084DA3A3EC19}"/>
                </a:ext>
              </a:extLst>
            </p:cNvPr>
            <p:cNvSpPr/>
            <p:nvPr/>
          </p:nvSpPr>
          <p:spPr>
            <a:xfrm>
              <a:off x="5300917" y="5709163"/>
              <a:ext cx="42922" cy="28615"/>
            </a:xfrm>
            <a:custGeom>
              <a:avLst/>
              <a:gdLst>
                <a:gd name="connsiteX0" fmla="*/ 26469 w 42922"/>
                <a:gd name="connsiteY0" fmla="*/ 11161 h 28614"/>
                <a:gd name="connsiteX1" fmla="*/ 20746 w 42922"/>
                <a:gd name="connsiteY1" fmla="*/ 11161 h 28614"/>
                <a:gd name="connsiteX2" fmla="*/ 10731 w 42922"/>
                <a:gd name="connsiteY2" fmla="*/ 21033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00" y="11235"/>
                    <a:pt x="10884" y="15590"/>
                    <a:pt x="10731" y="21033"/>
                  </a:cubicBezTo>
                  <a:cubicBezTo>
                    <a:pt x="10885" y="26453"/>
                    <a:pt x="15325" y="30765"/>
                    <a:pt x="20746" y="30762"/>
                  </a:cubicBezTo>
                  <a:cubicBezTo>
                    <a:pt x="26158" y="32343"/>
                    <a:pt x="31827" y="29236"/>
                    <a:pt x="33408" y="23823"/>
                  </a:cubicBezTo>
                  <a:cubicBezTo>
                    <a:pt x="34989" y="18410"/>
                    <a:pt x="31881" y="12742"/>
                    <a:pt x="26469" y="1116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5" name="Freeform: Shape 144">
              <a:extLst>
                <a:ext uri="{FF2B5EF4-FFF2-40B4-BE49-F238E27FC236}">
                  <a16:creationId xmlns:a16="http://schemas.microsoft.com/office/drawing/2014/main" id="{E815A08C-1E4C-409D-8153-D5307B20415D}"/>
                </a:ext>
              </a:extLst>
            </p:cNvPr>
            <p:cNvSpPr/>
            <p:nvPr/>
          </p:nvSpPr>
          <p:spPr>
            <a:xfrm>
              <a:off x="5301485" y="5608868"/>
              <a:ext cx="28615" cy="28615"/>
            </a:xfrm>
            <a:custGeom>
              <a:avLst/>
              <a:gdLst>
                <a:gd name="connsiteX0" fmla="*/ 20750 w 28614"/>
                <a:gd name="connsiteY0" fmla="*/ 31333 h 28614"/>
                <a:gd name="connsiteX1" fmla="*/ 20750 w 28614"/>
                <a:gd name="connsiteY1" fmla="*/ 31333 h 28614"/>
                <a:gd name="connsiteX2" fmla="*/ 31194 w 28614"/>
                <a:gd name="connsiteY2" fmla="*/ 21032 h 28614"/>
                <a:gd name="connsiteX3" fmla="*/ 20893 w 28614"/>
                <a:gd name="connsiteY3" fmla="*/ 10731 h 28614"/>
                <a:gd name="connsiteX4" fmla="*/ 20893 w 28614"/>
                <a:gd name="connsiteY4" fmla="*/ 10731 h 28614"/>
                <a:gd name="connsiteX5" fmla="*/ 10733 w 28614"/>
                <a:gd name="connsiteY5" fmla="*/ 20887 h 28614"/>
                <a:gd name="connsiteX6" fmla="*/ 10735 w 28614"/>
                <a:gd name="connsiteY6" fmla="*/ 21032 h 28614"/>
                <a:gd name="connsiteX7" fmla="*/ 20460 w 28614"/>
                <a:gd name="connsiteY7" fmla="*/ 31329 h 28614"/>
                <a:gd name="connsiteX8" fmla="*/ 20750 w 28614"/>
                <a:gd name="connsiteY8"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750" y="31333"/>
                  </a:moveTo>
                  <a:lnTo>
                    <a:pt x="20750" y="31333"/>
                  </a:lnTo>
                  <a:cubicBezTo>
                    <a:pt x="26463" y="31333"/>
                    <a:pt x="31116" y="26745"/>
                    <a:pt x="31194" y="21032"/>
                  </a:cubicBezTo>
                  <a:cubicBezTo>
                    <a:pt x="31194" y="15343"/>
                    <a:pt x="26582" y="10731"/>
                    <a:pt x="20893" y="10731"/>
                  </a:cubicBezTo>
                  <a:lnTo>
                    <a:pt x="20893" y="10731"/>
                  </a:lnTo>
                  <a:cubicBezTo>
                    <a:pt x="15283" y="10731"/>
                    <a:pt x="10735" y="15278"/>
                    <a:pt x="10733" y="20887"/>
                  </a:cubicBezTo>
                  <a:cubicBezTo>
                    <a:pt x="10733" y="20936"/>
                    <a:pt x="10735" y="20983"/>
                    <a:pt x="10735" y="21032"/>
                  </a:cubicBezTo>
                  <a:cubicBezTo>
                    <a:pt x="10577" y="26560"/>
                    <a:pt x="14931" y="31172"/>
                    <a:pt x="20460" y="31329"/>
                  </a:cubicBezTo>
                  <a:cubicBezTo>
                    <a:pt x="20557" y="31332"/>
                    <a:pt x="20653" y="31333"/>
                    <a:pt x="20750" y="3133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6" name="Freeform: Shape 145">
              <a:extLst>
                <a:ext uri="{FF2B5EF4-FFF2-40B4-BE49-F238E27FC236}">
                  <a16:creationId xmlns:a16="http://schemas.microsoft.com/office/drawing/2014/main" id="{69998221-E591-4011-9BBB-CB057B0876F1}"/>
                </a:ext>
              </a:extLst>
            </p:cNvPr>
            <p:cNvSpPr/>
            <p:nvPr/>
          </p:nvSpPr>
          <p:spPr>
            <a:xfrm>
              <a:off x="5223080" y="5508430"/>
              <a:ext cx="28615" cy="28615"/>
            </a:xfrm>
            <a:custGeom>
              <a:avLst/>
              <a:gdLst>
                <a:gd name="connsiteX0" fmla="*/ 19892 w 28614"/>
                <a:gd name="connsiteY0" fmla="*/ 10731 h 28614"/>
                <a:gd name="connsiteX1" fmla="*/ 10735 w 28614"/>
                <a:gd name="connsiteY1" fmla="*/ 20030 h 28614"/>
                <a:gd name="connsiteX2" fmla="*/ 10735 w 28614"/>
                <a:gd name="connsiteY2" fmla="*/ 21032 h 28614"/>
                <a:gd name="connsiteX3" fmla="*/ 19458 w 28614"/>
                <a:gd name="connsiteY3" fmla="*/ 30328 h 28614"/>
                <a:gd name="connsiteX4" fmla="*/ 19749 w 28614"/>
                <a:gd name="connsiteY4" fmla="*/ 30332 h 28614"/>
                <a:gd name="connsiteX5" fmla="*/ 19749 w 28614"/>
                <a:gd name="connsiteY5" fmla="*/ 30332 h 28614"/>
                <a:gd name="connsiteX6" fmla="*/ 29620 w 28614"/>
                <a:gd name="connsiteY6" fmla="*/ 20747 h 28614"/>
                <a:gd name="connsiteX7" fmla="*/ 29621 w 28614"/>
                <a:gd name="connsiteY7" fmla="*/ 20603 h 28614"/>
                <a:gd name="connsiteX8" fmla="*/ 19892 w 28614"/>
                <a:gd name="connsiteY8"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19892" y="10731"/>
                  </a:moveTo>
                  <a:cubicBezTo>
                    <a:pt x="14811" y="10809"/>
                    <a:pt x="10735" y="14950"/>
                    <a:pt x="10735" y="20030"/>
                  </a:cubicBezTo>
                  <a:lnTo>
                    <a:pt x="10735" y="21032"/>
                  </a:lnTo>
                  <a:cubicBezTo>
                    <a:pt x="10578" y="26008"/>
                    <a:pt x="14482" y="30169"/>
                    <a:pt x="19458" y="30328"/>
                  </a:cubicBezTo>
                  <a:cubicBezTo>
                    <a:pt x="19556" y="30330"/>
                    <a:pt x="19652" y="30332"/>
                    <a:pt x="19749" y="30332"/>
                  </a:cubicBezTo>
                  <a:lnTo>
                    <a:pt x="19749" y="30332"/>
                  </a:lnTo>
                  <a:cubicBezTo>
                    <a:pt x="25121" y="30411"/>
                    <a:pt x="29541" y="26120"/>
                    <a:pt x="29620" y="20747"/>
                  </a:cubicBezTo>
                  <a:cubicBezTo>
                    <a:pt x="29621" y="20699"/>
                    <a:pt x="29621" y="20651"/>
                    <a:pt x="29621" y="20603"/>
                  </a:cubicBezTo>
                  <a:cubicBezTo>
                    <a:pt x="29621" y="15206"/>
                    <a:pt x="25289" y="10809"/>
                    <a:pt x="19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7" name="Freeform: Shape 146">
              <a:extLst>
                <a:ext uri="{FF2B5EF4-FFF2-40B4-BE49-F238E27FC236}">
                  <a16:creationId xmlns:a16="http://schemas.microsoft.com/office/drawing/2014/main" id="{5515C471-057D-4DBA-A665-A3CE925F220F}"/>
                </a:ext>
              </a:extLst>
            </p:cNvPr>
            <p:cNvSpPr/>
            <p:nvPr/>
          </p:nvSpPr>
          <p:spPr>
            <a:xfrm>
              <a:off x="5300774" y="5719751"/>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148" name="Freeform: Shape 147">
              <a:extLst>
                <a:ext uri="{FF2B5EF4-FFF2-40B4-BE49-F238E27FC236}">
                  <a16:creationId xmlns:a16="http://schemas.microsoft.com/office/drawing/2014/main" id="{7E9C1EFC-B16C-47F5-BD24-D655C2CA2169}"/>
                </a:ext>
              </a:extLst>
            </p:cNvPr>
            <p:cNvSpPr/>
            <p:nvPr/>
          </p:nvSpPr>
          <p:spPr>
            <a:xfrm>
              <a:off x="5301346" y="5758524"/>
              <a:ext cx="28615" cy="28615"/>
            </a:xfrm>
            <a:custGeom>
              <a:avLst/>
              <a:gdLst>
                <a:gd name="connsiteX0" fmla="*/ 21032 w 28614"/>
                <a:gd name="connsiteY0" fmla="*/ 10732 h 28614"/>
                <a:gd name="connsiteX1" fmla="*/ 10732 w 28614"/>
                <a:gd name="connsiteY1" fmla="*/ 20745 h 28614"/>
                <a:gd name="connsiteX2" fmla="*/ 10731 w 28614"/>
                <a:gd name="connsiteY2" fmla="*/ 20890 h 28614"/>
                <a:gd name="connsiteX3" fmla="*/ 10731 w 28614"/>
                <a:gd name="connsiteY3" fmla="*/ 20890 h 28614"/>
                <a:gd name="connsiteX4" fmla="*/ 21032 w 28614"/>
                <a:gd name="connsiteY4" fmla="*/ 31191 h 28614"/>
                <a:gd name="connsiteX5" fmla="*/ 31333 w 28614"/>
                <a:gd name="connsiteY5" fmla="*/ 20890 h 28614"/>
                <a:gd name="connsiteX6" fmla="*/ 31333 w 28614"/>
                <a:gd name="connsiteY6" fmla="*/ 20890 h 28614"/>
                <a:gd name="connsiteX7" fmla="*/ 21032 w 28614"/>
                <a:gd name="connsiteY7"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032" y="10732"/>
                  </a:moveTo>
                  <a:cubicBezTo>
                    <a:pt x="15422" y="10653"/>
                    <a:pt x="10811" y="15135"/>
                    <a:pt x="10732" y="20745"/>
                  </a:cubicBezTo>
                  <a:cubicBezTo>
                    <a:pt x="10731" y="20794"/>
                    <a:pt x="10731" y="20841"/>
                    <a:pt x="10731" y="20890"/>
                  </a:cubicBezTo>
                  <a:lnTo>
                    <a:pt x="10731" y="20890"/>
                  </a:lnTo>
                  <a:cubicBezTo>
                    <a:pt x="10731" y="26579"/>
                    <a:pt x="15343" y="31191"/>
                    <a:pt x="21032" y="31191"/>
                  </a:cubicBezTo>
                  <a:cubicBezTo>
                    <a:pt x="26721" y="31191"/>
                    <a:pt x="31333" y="26579"/>
                    <a:pt x="31333" y="20890"/>
                  </a:cubicBezTo>
                  <a:lnTo>
                    <a:pt x="31333" y="20890"/>
                  </a:lnTo>
                  <a:cubicBezTo>
                    <a:pt x="31255" y="15257"/>
                    <a:pt x="26666" y="10732"/>
                    <a:pt x="2103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9" name="Freeform: Shape 148">
              <a:extLst>
                <a:ext uri="{FF2B5EF4-FFF2-40B4-BE49-F238E27FC236}">
                  <a16:creationId xmlns:a16="http://schemas.microsoft.com/office/drawing/2014/main" id="{C6ADF551-9229-42F2-9C80-2E4B35DAE3BB}"/>
                </a:ext>
              </a:extLst>
            </p:cNvPr>
            <p:cNvSpPr/>
            <p:nvPr/>
          </p:nvSpPr>
          <p:spPr>
            <a:xfrm>
              <a:off x="5301346" y="5509002"/>
              <a:ext cx="28615" cy="28615"/>
            </a:xfrm>
            <a:custGeom>
              <a:avLst/>
              <a:gdLst>
                <a:gd name="connsiteX0" fmla="*/ 20889 w 28614"/>
                <a:gd name="connsiteY0" fmla="*/ 31333 h 28614"/>
                <a:gd name="connsiteX1" fmla="*/ 20889 w 28614"/>
                <a:gd name="connsiteY1" fmla="*/ 31333 h 28614"/>
                <a:gd name="connsiteX2" fmla="*/ 31333 w 28614"/>
                <a:gd name="connsiteY2" fmla="*/ 21032 h 28614"/>
                <a:gd name="connsiteX3" fmla="*/ 21032 w 28614"/>
                <a:gd name="connsiteY3" fmla="*/ 10731 h 28614"/>
                <a:gd name="connsiteX4" fmla="*/ 21032 w 28614"/>
                <a:gd name="connsiteY4" fmla="*/ 10731 h 28614"/>
                <a:gd name="connsiteX5" fmla="*/ 10731 w 28614"/>
                <a:gd name="connsiteY5" fmla="*/ 21032 h 28614"/>
                <a:gd name="connsiteX6" fmla="*/ 21032 w 28614"/>
                <a:gd name="connsiteY6"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889" y="31333"/>
                  </a:moveTo>
                  <a:lnTo>
                    <a:pt x="20889" y="31333"/>
                  </a:lnTo>
                  <a:cubicBezTo>
                    <a:pt x="26602" y="31333"/>
                    <a:pt x="31255" y="26745"/>
                    <a:pt x="31333" y="21032"/>
                  </a:cubicBezTo>
                  <a:cubicBezTo>
                    <a:pt x="31333" y="15343"/>
                    <a:pt x="26721" y="10731"/>
                    <a:pt x="21032" y="10731"/>
                  </a:cubicBezTo>
                  <a:lnTo>
                    <a:pt x="21032" y="10731"/>
                  </a:lnTo>
                  <a:cubicBezTo>
                    <a:pt x="15343" y="10731"/>
                    <a:pt x="10731" y="15343"/>
                    <a:pt x="10731" y="21032"/>
                  </a:cubicBezTo>
                  <a:cubicBezTo>
                    <a:pt x="10731" y="26721"/>
                    <a:pt x="15343" y="31333"/>
                    <a:pt x="21032" y="3133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0" name="Freeform: Shape 149">
              <a:extLst>
                <a:ext uri="{FF2B5EF4-FFF2-40B4-BE49-F238E27FC236}">
                  <a16:creationId xmlns:a16="http://schemas.microsoft.com/office/drawing/2014/main" id="{1A853FA9-1A99-4964-BD7C-2E20A49C5DE2}"/>
                </a:ext>
              </a:extLst>
            </p:cNvPr>
            <p:cNvSpPr/>
            <p:nvPr/>
          </p:nvSpPr>
          <p:spPr>
            <a:xfrm>
              <a:off x="6016434" y="5659517"/>
              <a:ext cx="28615" cy="28615"/>
            </a:xfrm>
            <a:custGeom>
              <a:avLst/>
              <a:gdLst>
                <a:gd name="connsiteX0" fmla="*/ 21175 w 28614"/>
                <a:gd name="connsiteY0" fmla="*/ 31333 h 28614"/>
                <a:gd name="connsiteX1" fmla="*/ 31476 w 28614"/>
                <a:gd name="connsiteY1" fmla="*/ 21032 h 28614"/>
                <a:gd name="connsiteX2" fmla="*/ 21175 w 28614"/>
                <a:gd name="connsiteY2" fmla="*/ 10731 h 28614"/>
                <a:gd name="connsiteX3" fmla="*/ 21175 w 28614"/>
                <a:gd name="connsiteY3" fmla="*/ 10731 h 28614"/>
                <a:gd name="connsiteX4" fmla="*/ 10731 w 28614"/>
                <a:gd name="connsiteY4" fmla="*/ 21175 h 28614"/>
                <a:gd name="connsiteX5" fmla="*/ 20889 w 28614"/>
                <a:gd name="connsiteY5"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1175" y="31333"/>
                  </a:moveTo>
                  <a:cubicBezTo>
                    <a:pt x="26864" y="31333"/>
                    <a:pt x="31476" y="26721"/>
                    <a:pt x="31476" y="21032"/>
                  </a:cubicBezTo>
                  <a:cubicBezTo>
                    <a:pt x="31476" y="15343"/>
                    <a:pt x="26864" y="10731"/>
                    <a:pt x="21175" y="10731"/>
                  </a:cubicBezTo>
                  <a:lnTo>
                    <a:pt x="21175" y="10731"/>
                  </a:lnTo>
                  <a:cubicBezTo>
                    <a:pt x="15406" y="10731"/>
                    <a:pt x="10731" y="15406"/>
                    <a:pt x="10731" y="21175"/>
                  </a:cubicBezTo>
                  <a:cubicBezTo>
                    <a:pt x="10731" y="26785"/>
                    <a:pt x="15279" y="31333"/>
                    <a:pt x="20889" y="3133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1" name="Freeform: Shape 150">
              <a:extLst>
                <a:ext uri="{FF2B5EF4-FFF2-40B4-BE49-F238E27FC236}">
                  <a16:creationId xmlns:a16="http://schemas.microsoft.com/office/drawing/2014/main" id="{5869BC78-6D44-4FB8-BDEB-7238E597428F}"/>
                </a:ext>
              </a:extLst>
            </p:cNvPr>
            <p:cNvSpPr/>
            <p:nvPr/>
          </p:nvSpPr>
          <p:spPr>
            <a:xfrm>
              <a:off x="6016434" y="5609297"/>
              <a:ext cx="28615" cy="28615"/>
            </a:xfrm>
            <a:custGeom>
              <a:avLst/>
              <a:gdLst>
                <a:gd name="connsiteX0" fmla="*/ 21175 w 28614"/>
                <a:gd name="connsiteY0" fmla="*/ 10732 h 28614"/>
                <a:gd name="connsiteX1" fmla="*/ 10731 w 28614"/>
                <a:gd name="connsiteY1" fmla="*/ 20747 h 28614"/>
                <a:gd name="connsiteX2" fmla="*/ 10731 w 28614"/>
                <a:gd name="connsiteY2" fmla="*/ 20747 h 28614"/>
                <a:gd name="connsiteX3" fmla="*/ 21175 w 28614"/>
                <a:gd name="connsiteY3" fmla="*/ 31191 h 28614"/>
                <a:gd name="connsiteX4" fmla="*/ 31333 w 28614"/>
                <a:gd name="connsiteY4" fmla="*/ 21033 h 28614"/>
                <a:gd name="connsiteX5" fmla="*/ 31333 w 28614"/>
                <a:gd name="connsiteY5" fmla="*/ 21033 h 28614"/>
                <a:gd name="connsiteX6" fmla="*/ 21320 w 28614"/>
                <a:gd name="connsiteY6" fmla="*/ 10733 h 28614"/>
                <a:gd name="connsiteX7" fmla="*/ 21175 w 28614"/>
                <a:gd name="connsiteY7"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175" y="10732"/>
                  </a:moveTo>
                  <a:cubicBezTo>
                    <a:pt x="15541" y="10652"/>
                    <a:pt x="10886" y="15114"/>
                    <a:pt x="10731" y="20747"/>
                  </a:cubicBezTo>
                  <a:lnTo>
                    <a:pt x="10731" y="20747"/>
                  </a:lnTo>
                  <a:cubicBezTo>
                    <a:pt x="10731" y="26516"/>
                    <a:pt x="15406" y="31191"/>
                    <a:pt x="21175" y="31191"/>
                  </a:cubicBezTo>
                  <a:cubicBezTo>
                    <a:pt x="26785" y="31191"/>
                    <a:pt x="31333" y="26643"/>
                    <a:pt x="31333" y="21033"/>
                  </a:cubicBezTo>
                  <a:lnTo>
                    <a:pt x="31333" y="21033"/>
                  </a:lnTo>
                  <a:cubicBezTo>
                    <a:pt x="31412" y="15423"/>
                    <a:pt x="26929" y="10812"/>
                    <a:pt x="21320" y="10733"/>
                  </a:cubicBezTo>
                  <a:cubicBezTo>
                    <a:pt x="21271" y="10732"/>
                    <a:pt x="21224" y="10732"/>
                    <a:pt x="21175"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2" name="Freeform: Shape 151">
              <a:extLst>
                <a:ext uri="{FF2B5EF4-FFF2-40B4-BE49-F238E27FC236}">
                  <a16:creationId xmlns:a16="http://schemas.microsoft.com/office/drawing/2014/main" id="{F1CB57CB-1CB6-4593-8465-57C44D0470E4}"/>
                </a:ext>
              </a:extLst>
            </p:cNvPr>
            <p:cNvSpPr/>
            <p:nvPr/>
          </p:nvSpPr>
          <p:spPr>
            <a:xfrm>
              <a:off x="6177102" y="5660662"/>
              <a:ext cx="28615" cy="28615"/>
            </a:xfrm>
            <a:custGeom>
              <a:avLst/>
              <a:gdLst>
                <a:gd name="connsiteX0" fmla="*/ 19463 w 28614"/>
                <a:gd name="connsiteY0" fmla="*/ 10731 h 28614"/>
                <a:gd name="connsiteX1" fmla="*/ 10736 w 28614"/>
                <a:gd name="connsiteY1" fmla="*/ 19029 h 28614"/>
                <a:gd name="connsiteX2" fmla="*/ 18744 w 28614"/>
                <a:gd name="connsiteY2" fmla="*/ 27609 h 28614"/>
                <a:gd name="connsiteX3" fmla="*/ 19034 w 28614"/>
                <a:gd name="connsiteY3" fmla="*/ 27613 h 28614"/>
                <a:gd name="connsiteX4" fmla="*/ 19034 w 28614"/>
                <a:gd name="connsiteY4" fmla="*/ 27613 h 28614"/>
                <a:gd name="connsiteX5" fmla="*/ 27189 w 28614"/>
                <a:gd name="connsiteY5" fmla="*/ 19747 h 28614"/>
                <a:gd name="connsiteX6" fmla="*/ 27189 w 28614"/>
                <a:gd name="connsiteY6" fmla="*/ 19458 h 28614"/>
                <a:gd name="connsiteX7" fmla="*/ 19463 w 28614"/>
                <a:gd name="connsiteY7"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63" y="10731"/>
                  </a:moveTo>
                  <a:cubicBezTo>
                    <a:pt x="14806" y="10725"/>
                    <a:pt x="10965" y="14378"/>
                    <a:pt x="10736" y="19029"/>
                  </a:cubicBezTo>
                  <a:cubicBezTo>
                    <a:pt x="10578" y="23609"/>
                    <a:pt x="14162" y="27450"/>
                    <a:pt x="18744" y="27609"/>
                  </a:cubicBezTo>
                  <a:cubicBezTo>
                    <a:pt x="18839" y="27612"/>
                    <a:pt x="18937" y="27613"/>
                    <a:pt x="19034" y="27613"/>
                  </a:cubicBezTo>
                  <a:lnTo>
                    <a:pt x="19034" y="27613"/>
                  </a:lnTo>
                  <a:cubicBezTo>
                    <a:pt x="23458" y="27694"/>
                    <a:pt x="27109" y="24171"/>
                    <a:pt x="27189" y="19747"/>
                  </a:cubicBezTo>
                  <a:cubicBezTo>
                    <a:pt x="27191" y="19651"/>
                    <a:pt x="27191" y="19554"/>
                    <a:pt x="27189" y="19458"/>
                  </a:cubicBezTo>
                  <a:cubicBezTo>
                    <a:pt x="27358" y="14953"/>
                    <a:pt x="23956" y="11110"/>
                    <a:pt x="1946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3" name="Freeform: Shape 152">
              <a:extLst>
                <a:ext uri="{FF2B5EF4-FFF2-40B4-BE49-F238E27FC236}">
                  <a16:creationId xmlns:a16="http://schemas.microsoft.com/office/drawing/2014/main" id="{42B2FB9C-A866-4253-94CF-CA8E6ADEC8DC}"/>
                </a:ext>
              </a:extLst>
            </p:cNvPr>
            <p:cNvSpPr/>
            <p:nvPr/>
          </p:nvSpPr>
          <p:spPr>
            <a:xfrm>
              <a:off x="6177058" y="5612351"/>
              <a:ext cx="28615" cy="28615"/>
            </a:xfrm>
            <a:custGeom>
              <a:avLst/>
              <a:gdLst>
                <a:gd name="connsiteX0" fmla="*/ 18077 w 28614"/>
                <a:gd name="connsiteY0" fmla="*/ 10825 h 28614"/>
                <a:gd name="connsiteX1" fmla="*/ 10803 w 28614"/>
                <a:gd name="connsiteY1" fmla="*/ 20291 h 28614"/>
                <a:gd name="connsiteX2" fmla="*/ 18077 w 28614"/>
                <a:gd name="connsiteY2" fmla="*/ 27565 h 28614"/>
                <a:gd name="connsiteX3" fmla="*/ 27659 w 28614"/>
                <a:gd name="connsiteY3" fmla="*/ 20444 h 28614"/>
                <a:gd name="connsiteX4" fmla="*/ 27663 w 28614"/>
                <a:gd name="connsiteY4" fmla="*/ 20411 h 28614"/>
                <a:gd name="connsiteX5" fmla="*/ 27663 w 28614"/>
                <a:gd name="connsiteY5" fmla="*/ 17835 h 28614"/>
                <a:gd name="connsiteX6" fmla="*/ 18077 w 28614"/>
                <a:gd name="connsiteY6"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077" y="10825"/>
                  </a:moveTo>
                  <a:cubicBezTo>
                    <a:pt x="13454" y="11430"/>
                    <a:pt x="10198" y="15669"/>
                    <a:pt x="10803" y="20291"/>
                  </a:cubicBezTo>
                  <a:cubicBezTo>
                    <a:pt x="11301" y="24084"/>
                    <a:pt x="14285" y="27068"/>
                    <a:pt x="18077" y="27565"/>
                  </a:cubicBezTo>
                  <a:cubicBezTo>
                    <a:pt x="22690" y="28244"/>
                    <a:pt x="26979" y="25055"/>
                    <a:pt x="27659" y="20444"/>
                  </a:cubicBezTo>
                  <a:cubicBezTo>
                    <a:pt x="27660" y="20432"/>
                    <a:pt x="27661" y="20422"/>
                    <a:pt x="27663" y="20411"/>
                  </a:cubicBezTo>
                  <a:cubicBezTo>
                    <a:pt x="27807" y="19558"/>
                    <a:pt x="27807" y="18688"/>
                    <a:pt x="27663" y="17835"/>
                  </a:cubicBezTo>
                  <a:cubicBezTo>
                    <a:pt x="26929" y="13266"/>
                    <a:pt x="22654" y="10139"/>
                    <a:pt x="18077" y="108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4" name="Freeform: Shape 153">
              <a:extLst>
                <a:ext uri="{FF2B5EF4-FFF2-40B4-BE49-F238E27FC236}">
                  <a16:creationId xmlns:a16="http://schemas.microsoft.com/office/drawing/2014/main" id="{1D97FF3F-4B95-44C4-A87E-F48B29AC2820}"/>
                </a:ext>
              </a:extLst>
            </p:cNvPr>
            <p:cNvSpPr/>
            <p:nvPr/>
          </p:nvSpPr>
          <p:spPr>
            <a:xfrm>
              <a:off x="6177106" y="5761238"/>
              <a:ext cx="28615" cy="28615"/>
            </a:xfrm>
            <a:custGeom>
              <a:avLst/>
              <a:gdLst>
                <a:gd name="connsiteX0" fmla="*/ 19459 w 28614"/>
                <a:gd name="connsiteY0" fmla="*/ 10736 h 28614"/>
                <a:gd name="connsiteX1" fmla="*/ 10732 w 28614"/>
                <a:gd name="connsiteY1" fmla="*/ 18881 h 28614"/>
                <a:gd name="connsiteX2" fmla="*/ 10732 w 28614"/>
                <a:gd name="connsiteY2" fmla="*/ 18891 h 28614"/>
                <a:gd name="connsiteX3" fmla="*/ 19030 w 28614"/>
                <a:gd name="connsiteY3" fmla="*/ 27619 h 28614"/>
                <a:gd name="connsiteX4" fmla="*/ 19030 w 28614"/>
                <a:gd name="connsiteY4" fmla="*/ 27619 h 28614"/>
                <a:gd name="connsiteX5" fmla="*/ 27187 w 28614"/>
                <a:gd name="connsiteY5" fmla="*/ 19465 h 28614"/>
                <a:gd name="connsiteX6" fmla="*/ 27186 w 28614"/>
                <a:gd name="connsiteY6" fmla="*/ 19320 h 28614"/>
                <a:gd name="connsiteX7" fmla="*/ 19459 w 28614"/>
                <a:gd name="connsiteY7" fmla="*/ 107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59" y="10736"/>
                  </a:moveTo>
                  <a:cubicBezTo>
                    <a:pt x="14800" y="10575"/>
                    <a:pt x="10894" y="14222"/>
                    <a:pt x="10732" y="18881"/>
                  </a:cubicBezTo>
                  <a:cubicBezTo>
                    <a:pt x="10732" y="18884"/>
                    <a:pt x="10732" y="18888"/>
                    <a:pt x="10732" y="18891"/>
                  </a:cubicBezTo>
                  <a:cubicBezTo>
                    <a:pt x="10652" y="23578"/>
                    <a:pt x="14345" y="27463"/>
                    <a:pt x="19030" y="27619"/>
                  </a:cubicBezTo>
                  <a:lnTo>
                    <a:pt x="19030" y="27619"/>
                  </a:lnTo>
                  <a:cubicBezTo>
                    <a:pt x="23534" y="27619"/>
                    <a:pt x="27186" y="23969"/>
                    <a:pt x="27187" y="19465"/>
                  </a:cubicBezTo>
                  <a:cubicBezTo>
                    <a:pt x="27187" y="19416"/>
                    <a:pt x="27187" y="19369"/>
                    <a:pt x="27186" y="19320"/>
                  </a:cubicBezTo>
                  <a:cubicBezTo>
                    <a:pt x="27277" y="14869"/>
                    <a:pt x="23896" y="11112"/>
                    <a:pt x="19459" y="1073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5" name="Freeform: Shape 154">
              <a:extLst>
                <a:ext uri="{FF2B5EF4-FFF2-40B4-BE49-F238E27FC236}">
                  <a16:creationId xmlns:a16="http://schemas.microsoft.com/office/drawing/2014/main" id="{E5A86ACA-72B9-4AE0-8666-A3B0787C6B07}"/>
                </a:ext>
              </a:extLst>
            </p:cNvPr>
            <p:cNvSpPr/>
            <p:nvPr/>
          </p:nvSpPr>
          <p:spPr>
            <a:xfrm>
              <a:off x="6177197" y="5711073"/>
              <a:ext cx="28615" cy="28615"/>
            </a:xfrm>
            <a:custGeom>
              <a:avLst/>
              <a:gdLst>
                <a:gd name="connsiteX0" fmla="*/ 17938 w 28614"/>
                <a:gd name="connsiteY0" fmla="*/ 10825 h 28614"/>
                <a:gd name="connsiteX1" fmla="*/ 10823 w 28614"/>
                <a:gd name="connsiteY1" fmla="*/ 20411 h 28614"/>
                <a:gd name="connsiteX2" fmla="*/ 20409 w 28614"/>
                <a:gd name="connsiteY2" fmla="*/ 27526 h 28614"/>
                <a:gd name="connsiteX3" fmla="*/ 27524 w 28614"/>
                <a:gd name="connsiteY3" fmla="*/ 20411 h 28614"/>
                <a:gd name="connsiteX4" fmla="*/ 27524 w 28614"/>
                <a:gd name="connsiteY4" fmla="*/ 17836 h 28614"/>
                <a:gd name="connsiteX5" fmla="*/ 17938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938" y="10825"/>
                  </a:moveTo>
                  <a:cubicBezTo>
                    <a:pt x="13326" y="11507"/>
                    <a:pt x="10140" y="15800"/>
                    <a:pt x="10823" y="20411"/>
                  </a:cubicBezTo>
                  <a:cubicBezTo>
                    <a:pt x="11505" y="25022"/>
                    <a:pt x="15797" y="28208"/>
                    <a:pt x="20409" y="27526"/>
                  </a:cubicBezTo>
                  <a:cubicBezTo>
                    <a:pt x="24089" y="26981"/>
                    <a:pt x="26979" y="24091"/>
                    <a:pt x="27524" y="20411"/>
                  </a:cubicBezTo>
                  <a:cubicBezTo>
                    <a:pt x="27668" y="19558"/>
                    <a:pt x="27668" y="18688"/>
                    <a:pt x="27524" y="17836"/>
                  </a:cubicBezTo>
                  <a:cubicBezTo>
                    <a:pt x="26790" y="13266"/>
                    <a:pt x="22515" y="10140"/>
                    <a:pt x="17938" y="108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6" name="Freeform: Shape 155">
              <a:extLst>
                <a:ext uri="{FF2B5EF4-FFF2-40B4-BE49-F238E27FC236}">
                  <a16:creationId xmlns:a16="http://schemas.microsoft.com/office/drawing/2014/main" id="{F8E23573-4E1F-4B25-B395-0D333129A359}"/>
                </a:ext>
              </a:extLst>
            </p:cNvPr>
            <p:cNvSpPr/>
            <p:nvPr/>
          </p:nvSpPr>
          <p:spPr>
            <a:xfrm>
              <a:off x="6257658" y="5561654"/>
              <a:ext cx="28615" cy="28615"/>
            </a:xfrm>
            <a:custGeom>
              <a:avLst/>
              <a:gdLst>
                <a:gd name="connsiteX0" fmla="*/ 25610 w 28614"/>
                <a:gd name="connsiteY0" fmla="*/ 18170 h 28614"/>
                <a:gd name="connsiteX1" fmla="*/ 18170 w 28614"/>
                <a:gd name="connsiteY1" fmla="*/ 25610 h 28614"/>
                <a:gd name="connsiteX2" fmla="*/ 10731 w 28614"/>
                <a:gd name="connsiteY2" fmla="*/ 18170 h 28614"/>
                <a:gd name="connsiteX3" fmla="*/ 18170 w 28614"/>
                <a:gd name="connsiteY3" fmla="*/ 10731 h 28614"/>
                <a:gd name="connsiteX4" fmla="*/ 25610 w 28614"/>
                <a:gd name="connsiteY4" fmla="*/ 1817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0"/>
                  </a:moveTo>
                  <a:cubicBezTo>
                    <a:pt x="25610" y="22279"/>
                    <a:pt x="22279" y="25610"/>
                    <a:pt x="18170" y="25610"/>
                  </a:cubicBezTo>
                  <a:cubicBezTo>
                    <a:pt x="14062" y="25610"/>
                    <a:pt x="10731" y="22279"/>
                    <a:pt x="10731" y="18170"/>
                  </a:cubicBezTo>
                  <a:cubicBezTo>
                    <a:pt x="10731" y="14062"/>
                    <a:pt x="14062" y="10731"/>
                    <a:pt x="18170" y="10731"/>
                  </a:cubicBezTo>
                  <a:cubicBezTo>
                    <a:pt x="22279" y="10731"/>
                    <a:pt x="25610" y="14062"/>
                    <a:pt x="25610" y="1817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7" name="Freeform: Shape 156">
              <a:extLst>
                <a:ext uri="{FF2B5EF4-FFF2-40B4-BE49-F238E27FC236}">
                  <a16:creationId xmlns:a16="http://schemas.microsoft.com/office/drawing/2014/main" id="{0C5121A3-86C9-48A0-AD7B-56E17902E810}"/>
                </a:ext>
              </a:extLst>
            </p:cNvPr>
            <p:cNvSpPr/>
            <p:nvPr/>
          </p:nvSpPr>
          <p:spPr>
            <a:xfrm>
              <a:off x="6256657" y="5512581"/>
              <a:ext cx="28615" cy="28615"/>
            </a:xfrm>
            <a:custGeom>
              <a:avLst/>
              <a:gdLst>
                <a:gd name="connsiteX0" fmla="*/ 18170 w 28614"/>
                <a:gd name="connsiteY0" fmla="*/ 25895 h 28614"/>
                <a:gd name="connsiteX1" fmla="*/ 25895 w 28614"/>
                <a:gd name="connsiteY1" fmla="*/ 18457 h 28614"/>
                <a:gd name="connsiteX2" fmla="*/ 18457 w 28614"/>
                <a:gd name="connsiteY2" fmla="*/ 10732 h 28614"/>
                <a:gd name="connsiteX3" fmla="*/ 10732 w 28614"/>
                <a:gd name="connsiteY3" fmla="*/ 18170 h 28614"/>
                <a:gd name="connsiteX4" fmla="*/ 10731 w 28614"/>
                <a:gd name="connsiteY4" fmla="*/ 18312 h 28614"/>
                <a:gd name="connsiteX5" fmla="*/ 18170 w 28614"/>
                <a:gd name="connsiteY5" fmla="*/ 2589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170" y="25895"/>
                  </a:moveTo>
                  <a:cubicBezTo>
                    <a:pt x="22358" y="25974"/>
                    <a:pt x="25816" y="22644"/>
                    <a:pt x="25895" y="18457"/>
                  </a:cubicBezTo>
                  <a:cubicBezTo>
                    <a:pt x="25974" y="14269"/>
                    <a:pt x="22644" y="10811"/>
                    <a:pt x="18457" y="10732"/>
                  </a:cubicBezTo>
                  <a:cubicBezTo>
                    <a:pt x="14269" y="10653"/>
                    <a:pt x="10811" y="13983"/>
                    <a:pt x="10732" y="18170"/>
                  </a:cubicBezTo>
                  <a:cubicBezTo>
                    <a:pt x="10731" y="18218"/>
                    <a:pt x="10731" y="18265"/>
                    <a:pt x="10731" y="18312"/>
                  </a:cubicBezTo>
                  <a:cubicBezTo>
                    <a:pt x="10729" y="22444"/>
                    <a:pt x="14038" y="25816"/>
                    <a:pt x="18170" y="2589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8" name="Freeform: Shape 157">
              <a:extLst>
                <a:ext uri="{FF2B5EF4-FFF2-40B4-BE49-F238E27FC236}">
                  <a16:creationId xmlns:a16="http://schemas.microsoft.com/office/drawing/2014/main" id="{67B8B720-6C33-48CF-A063-14FB18077FAF}"/>
                </a:ext>
              </a:extLst>
            </p:cNvPr>
            <p:cNvSpPr/>
            <p:nvPr/>
          </p:nvSpPr>
          <p:spPr>
            <a:xfrm>
              <a:off x="6177106" y="5560504"/>
              <a:ext cx="28615" cy="28615"/>
            </a:xfrm>
            <a:custGeom>
              <a:avLst/>
              <a:gdLst>
                <a:gd name="connsiteX0" fmla="*/ 19459 w 28614"/>
                <a:gd name="connsiteY0" fmla="*/ 10736 h 28614"/>
                <a:gd name="connsiteX1" fmla="*/ 10732 w 28614"/>
                <a:gd name="connsiteY1" fmla="*/ 18881 h 28614"/>
                <a:gd name="connsiteX2" fmla="*/ 10732 w 28614"/>
                <a:gd name="connsiteY2" fmla="*/ 18891 h 28614"/>
                <a:gd name="connsiteX3" fmla="*/ 19030 w 28614"/>
                <a:gd name="connsiteY3" fmla="*/ 27619 h 28614"/>
                <a:gd name="connsiteX4" fmla="*/ 19030 w 28614"/>
                <a:gd name="connsiteY4" fmla="*/ 27619 h 28614"/>
                <a:gd name="connsiteX5" fmla="*/ 27472 w 28614"/>
                <a:gd name="connsiteY5" fmla="*/ 19177 h 28614"/>
                <a:gd name="connsiteX6" fmla="*/ 19030 w 28614"/>
                <a:gd name="connsiteY6" fmla="*/ 107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459" y="10736"/>
                  </a:moveTo>
                  <a:cubicBezTo>
                    <a:pt x="14800" y="10575"/>
                    <a:pt x="10894" y="14222"/>
                    <a:pt x="10732" y="18881"/>
                  </a:cubicBezTo>
                  <a:cubicBezTo>
                    <a:pt x="10732" y="18884"/>
                    <a:pt x="10732" y="18888"/>
                    <a:pt x="10732" y="18891"/>
                  </a:cubicBezTo>
                  <a:cubicBezTo>
                    <a:pt x="10652" y="23578"/>
                    <a:pt x="14345" y="27463"/>
                    <a:pt x="19030" y="27619"/>
                  </a:cubicBezTo>
                  <a:lnTo>
                    <a:pt x="19030" y="27619"/>
                  </a:lnTo>
                  <a:cubicBezTo>
                    <a:pt x="23693" y="27619"/>
                    <a:pt x="27472" y="23838"/>
                    <a:pt x="27472" y="19177"/>
                  </a:cubicBezTo>
                  <a:cubicBezTo>
                    <a:pt x="27472" y="14516"/>
                    <a:pt x="23692" y="10736"/>
                    <a:pt x="19030" y="1073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9" name="Freeform: Shape 158">
              <a:extLst>
                <a:ext uri="{FF2B5EF4-FFF2-40B4-BE49-F238E27FC236}">
                  <a16:creationId xmlns:a16="http://schemas.microsoft.com/office/drawing/2014/main" id="{E29BFB84-4527-4780-A1FA-2B8EFCE41A1A}"/>
                </a:ext>
              </a:extLst>
            </p:cNvPr>
            <p:cNvSpPr/>
            <p:nvPr/>
          </p:nvSpPr>
          <p:spPr>
            <a:xfrm>
              <a:off x="6016576" y="5758525"/>
              <a:ext cx="28615" cy="28615"/>
            </a:xfrm>
            <a:custGeom>
              <a:avLst/>
              <a:gdLst>
                <a:gd name="connsiteX0" fmla="*/ 21176 w 28614"/>
                <a:gd name="connsiteY0" fmla="*/ 10731 h 28614"/>
                <a:gd name="connsiteX1" fmla="*/ 21176 w 28614"/>
                <a:gd name="connsiteY1" fmla="*/ 10731 h 28614"/>
                <a:gd name="connsiteX2" fmla="*/ 10732 w 28614"/>
                <a:gd name="connsiteY2" fmla="*/ 21032 h 28614"/>
                <a:gd name="connsiteX3" fmla="*/ 20746 w 28614"/>
                <a:gd name="connsiteY3" fmla="*/ 31332 h 28614"/>
                <a:gd name="connsiteX4" fmla="*/ 20890 w 28614"/>
                <a:gd name="connsiteY4" fmla="*/ 31333 h 28614"/>
                <a:gd name="connsiteX5" fmla="*/ 20890 w 28614"/>
                <a:gd name="connsiteY5" fmla="*/ 31333 h 28614"/>
                <a:gd name="connsiteX6" fmla="*/ 31050 w 28614"/>
                <a:gd name="connsiteY6" fmla="*/ 21176 h 28614"/>
                <a:gd name="connsiteX7" fmla="*/ 31048 w 28614"/>
                <a:gd name="connsiteY7" fmla="*/ 21032 h 28614"/>
                <a:gd name="connsiteX8" fmla="*/ 21325 w 28614"/>
                <a:gd name="connsiteY8" fmla="*/ 10734 h 28614"/>
                <a:gd name="connsiteX9" fmla="*/ 21176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176" y="10731"/>
                  </a:moveTo>
                  <a:lnTo>
                    <a:pt x="21176" y="10731"/>
                  </a:lnTo>
                  <a:cubicBezTo>
                    <a:pt x="15463" y="10731"/>
                    <a:pt x="10810" y="15319"/>
                    <a:pt x="10732" y="21032"/>
                  </a:cubicBezTo>
                  <a:cubicBezTo>
                    <a:pt x="10653" y="26642"/>
                    <a:pt x="15135" y="31253"/>
                    <a:pt x="20746" y="31332"/>
                  </a:cubicBezTo>
                  <a:cubicBezTo>
                    <a:pt x="20794" y="31333"/>
                    <a:pt x="20841" y="31333"/>
                    <a:pt x="20890" y="31333"/>
                  </a:cubicBezTo>
                  <a:lnTo>
                    <a:pt x="20890" y="31333"/>
                  </a:lnTo>
                  <a:cubicBezTo>
                    <a:pt x="26500" y="31333"/>
                    <a:pt x="31048" y="26786"/>
                    <a:pt x="31050" y="21176"/>
                  </a:cubicBezTo>
                  <a:cubicBezTo>
                    <a:pt x="31050" y="21128"/>
                    <a:pt x="31048" y="21081"/>
                    <a:pt x="31048" y="21032"/>
                  </a:cubicBezTo>
                  <a:cubicBezTo>
                    <a:pt x="31207" y="15504"/>
                    <a:pt x="26853" y="10892"/>
                    <a:pt x="21325" y="10734"/>
                  </a:cubicBezTo>
                  <a:cubicBezTo>
                    <a:pt x="21275" y="10732"/>
                    <a:pt x="21226" y="10731"/>
                    <a:pt x="21176"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0" name="Freeform: Shape 159">
              <a:extLst>
                <a:ext uri="{FF2B5EF4-FFF2-40B4-BE49-F238E27FC236}">
                  <a16:creationId xmlns:a16="http://schemas.microsoft.com/office/drawing/2014/main" id="{E8FEFBDC-FD68-4C3E-B084-774695F06039}"/>
                </a:ext>
              </a:extLst>
            </p:cNvPr>
            <p:cNvSpPr/>
            <p:nvPr/>
          </p:nvSpPr>
          <p:spPr>
            <a:xfrm>
              <a:off x="6095698" y="5510004"/>
              <a:ext cx="28615" cy="28615"/>
            </a:xfrm>
            <a:custGeom>
              <a:avLst/>
              <a:gdLst>
                <a:gd name="connsiteX0" fmla="*/ 20603 w 28614"/>
                <a:gd name="connsiteY0" fmla="*/ 30332 h 28614"/>
                <a:gd name="connsiteX1" fmla="*/ 29759 w 28614"/>
                <a:gd name="connsiteY1" fmla="*/ 21175 h 28614"/>
                <a:gd name="connsiteX2" fmla="*/ 29759 w 28614"/>
                <a:gd name="connsiteY2" fmla="*/ 20030 h 28614"/>
                <a:gd name="connsiteX3" fmla="*/ 20603 w 28614"/>
                <a:gd name="connsiteY3" fmla="*/ 10731 h 28614"/>
                <a:gd name="connsiteX4" fmla="*/ 10731 w 28614"/>
                <a:gd name="connsiteY4" fmla="*/ 20603 h 28614"/>
                <a:gd name="connsiteX5" fmla="*/ 20458 w 28614"/>
                <a:gd name="connsiteY5" fmla="*/ 30333 h 28614"/>
                <a:gd name="connsiteX6" fmla="*/ 20603 w 28614"/>
                <a:gd name="connsiteY6" fmla="*/ 303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603" y="30332"/>
                  </a:moveTo>
                  <a:cubicBezTo>
                    <a:pt x="25660" y="30332"/>
                    <a:pt x="29759" y="26233"/>
                    <a:pt x="29759" y="21175"/>
                  </a:cubicBezTo>
                  <a:lnTo>
                    <a:pt x="29759" y="20030"/>
                  </a:lnTo>
                  <a:cubicBezTo>
                    <a:pt x="29759" y="14950"/>
                    <a:pt x="25683" y="10809"/>
                    <a:pt x="20603" y="10731"/>
                  </a:cubicBezTo>
                  <a:cubicBezTo>
                    <a:pt x="15150" y="10731"/>
                    <a:pt x="10731" y="15150"/>
                    <a:pt x="10731" y="20603"/>
                  </a:cubicBezTo>
                  <a:cubicBezTo>
                    <a:pt x="10731" y="25977"/>
                    <a:pt x="15086" y="30332"/>
                    <a:pt x="20458" y="30333"/>
                  </a:cubicBezTo>
                  <a:cubicBezTo>
                    <a:pt x="20507" y="30333"/>
                    <a:pt x="20554" y="30332"/>
                    <a:pt x="20603" y="303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1" name="Freeform: Shape 160">
              <a:extLst>
                <a:ext uri="{FF2B5EF4-FFF2-40B4-BE49-F238E27FC236}">
                  <a16:creationId xmlns:a16="http://schemas.microsoft.com/office/drawing/2014/main" id="{AEE7BFC7-DBDD-482C-9A2F-27252663DAD3}"/>
                </a:ext>
              </a:extLst>
            </p:cNvPr>
            <p:cNvSpPr/>
            <p:nvPr/>
          </p:nvSpPr>
          <p:spPr>
            <a:xfrm>
              <a:off x="6176342" y="5513057"/>
              <a:ext cx="28615" cy="28615"/>
            </a:xfrm>
            <a:custGeom>
              <a:avLst/>
              <a:gdLst>
                <a:gd name="connsiteX0" fmla="*/ 18077 w 28614"/>
                <a:gd name="connsiteY0" fmla="*/ 27565 h 28614"/>
                <a:gd name="connsiteX1" fmla="*/ 27659 w 28614"/>
                <a:gd name="connsiteY1" fmla="*/ 20444 h 28614"/>
                <a:gd name="connsiteX2" fmla="*/ 27663 w 28614"/>
                <a:gd name="connsiteY2" fmla="*/ 20411 h 28614"/>
                <a:gd name="connsiteX3" fmla="*/ 27663 w 28614"/>
                <a:gd name="connsiteY3" fmla="*/ 17835 h 28614"/>
                <a:gd name="connsiteX4" fmla="*/ 18077 w 28614"/>
                <a:gd name="connsiteY4" fmla="*/ 10825 h 28614"/>
                <a:gd name="connsiteX5" fmla="*/ 10803 w 28614"/>
                <a:gd name="connsiteY5" fmla="*/ 20291 h 28614"/>
                <a:gd name="connsiteX6" fmla="*/ 18077 w 28614"/>
                <a:gd name="connsiteY6" fmla="*/ 2756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077" y="27565"/>
                  </a:moveTo>
                  <a:cubicBezTo>
                    <a:pt x="22690" y="28244"/>
                    <a:pt x="26979" y="25055"/>
                    <a:pt x="27659" y="20444"/>
                  </a:cubicBezTo>
                  <a:cubicBezTo>
                    <a:pt x="27660" y="20432"/>
                    <a:pt x="27661" y="20422"/>
                    <a:pt x="27663" y="20411"/>
                  </a:cubicBezTo>
                  <a:cubicBezTo>
                    <a:pt x="27807" y="19558"/>
                    <a:pt x="27807" y="18688"/>
                    <a:pt x="27663" y="17835"/>
                  </a:cubicBezTo>
                  <a:cubicBezTo>
                    <a:pt x="26929" y="13266"/>
                    <a:pt x="22654" y="10140"/>
                    <a:pt x="18077" y="10825"/>
                  </a:cubicBezTo>
                  <a:cubicBezTo>
                    <a:pt x="13454" y="11430"/>
                    <a:pt x="10198" y="15669"/>
                    <a:pt x="10803" y="20291"/>
                  </a:cubicBezTo>
                  <a:cubicBezTo>
                    <a:pt x="11301" y="24084"/>
                    <a:pt x="14285" y="27068"/>
                    <a:pt x="18077" y="2756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2" name="Freeform: Shape 161">
              <a:extLst>
                <a:ext uri="{FF2B5EF4-FFF2-40B4-BE49-F238E27FC236}">
                  <a16:creationId xmlns:a16="http://schemas.microsoft.com/office/drawing/2014/main" id="{EA711EB2-7FE6-4942-8156-40FD4F7A19D9}"/>
                </a:ext>
              </a:extLst>
            </p:cNvPr>
            <p:cNvSpPr/>
            <p:nvPr/>
          </p:nvSpPr>
          <p:spPr>
            <a:xfrm>
              <a:off x="6015718" y="5509144"/>
              <a:ext cx="28615" cy="28615"/>
            </a:xfrm>
            <a:custGeom>
              <a:avLst/>
              <a:gdLst>
                <a:gd name="connsiteX0" fmla="*/ 21033 w 28614"/>
                <a:gd name="connsiteY0" fmla="*/ 31191 h 28614"/>
                <a:gd name="connsiteX1" fmla="*/ 31333 w 28614"/>
                <a:gd name="connsiteY1" fmla="*/ 21178 h 28614"/>
                <a:gd name="connsiteX2" fmla="*/ 31334 w 28614"/>
                <a:gd name="connsiteY2" fmla="*/ 21033 h 28614"/>
                <a:gd name="connsiteX3" fmla="*/ 31334 w 28614"/>
                <a:gd name="connsiteY3" fmla="*/ 21033 h 28614"/>
                <a:gd name="connsiteX4" fmla="*/ 21033 w 28614"/>
                <a:gd name="connsiteY4" fmla="*/ 10732 h 28614"/>
                <a:gd name="connsiteX5" fmla="*/ 10732 w 28614"/>
                <a:gd name="connsiteY5" fmla="*/ 20745 h 28614"/>
                <a:gd name="connsiteX6" fmla="*/ 10732 w 28614"/>
                <a:gd name="connsiteY6" fmla="*/ 20747 h 28614"/>
                <a:gd name="connsiteX7" fmla="*/ 10732 w 28614"/>
                <a:gd name="connsiteY7" fmla="*/ 20747 h 28614"/>
                <a:gd name="connsiteX8" fmla="*/ 20888 w 28614"/>
                <a:gd name="connsiteY8" fmla="*/ 31190 h 28614"/>
                <a:gd name="connsiteX9" fmla="*/ 21033 w 28614"/>
                <a:gd name="connsiteY9" fmla="*/ 3119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033" y="31191"/>
                  </a:moveTo>
                  <a:cubicBezTo>
                    <a:pt x="26643" y="31270"/>
                    <a:pt x="31254" y="26788"/>
                    <a:pt x="31333" y="21178"/>
                  </a:cubicBezTo>
                  <a:cubicBezTo>
                    <a:pt x="31334" y="21129"/>
                    <a:pt x="31334" y="21082"/>
                    <a:pt x="31334" y="21033"/>
                  </a:cubicBezTo>
                  <a:lnTo>
                    <a:pt x="31334" y="21033"/>
                  </a:lnTo>
                  <a:cubicBezTo>
                    <a:pt x="31334" y="15344"/>
                    <a:pt x="26722" y="10732"/>
                    <a:pt x="21033" y="10732"/>
                  </a:cubicBezTo>
                  <a:cubicBezTo>
                    <a:pt x="15423" y="10652"/>
                    <a:pt x="10812" y="15136"/>
                    <a:pt x="10732" y="20745"/>
                  </a:cubicBezTo>
                  <a:cubicBezTo>
                    <a:pt x="10732" y="20745"/>
                    <a:pt x="10732" y="20747"/>
                    <a:pt x="10732" y="20747"/>
                  </a:cubicBezTo>
                  <a:lnTo>
                    <a:pt x="10732" y="20747"/>
                  </a:lnTo>
                  <a:cubicBezTo>
                    <a:pt x="10653" y="26436"/>
                    <a:pt x="15200" y="31111"/>
                    <a:pt x="20888" y="31190"/>
                  </a:cubicBezTo>
                  <a:cubicBezTo>
                    <a:pt x="20937" y="31191"/>
                    <a:pt x="20984" y="31191"/>
                    <a:pt x="21033" y="3119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3" name="Freeform: Shape 162">
              <a:extLst>
                <a:ext uri="{FF2B5EF4-FFF2-40B4-BE49-F238E27FC236}">
                  <a16:creationId xmlns:a16="http://schemas.microsoft.com/office/drawing/2014/main" id="{6E4EB95F-18D6-4164-BF76-91B15173B0C4}"/>
                </a:ext>
              </a:extLst>
            </p:cNvPr>
            <p:cNvSpPr/>
            <p:nvPr/>
          </p:nvSpPr>
          <p:spPr>
            <a:xfrm>
              <a:off x="6097271" y="5708735"/>
              <a:ext cx="28615" cy="28615"/>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80" y="25040"/>
                    <a:pt x="15021" y="29182"/>
                    <a:pt x="20174" y="29330"/>
                  </a:cubicBezTo>
                  <a:cubicBezTo>
                    <a:pt x="25333" y="29252"/>
                    <a:pt x="29473" y="25047"/>
                    <a:pt x="29473" y="19887"/>
                  </a:cubicBezTo>
                  <a:cubicBezTo>
                    <a:pt x="29395" y="14807"/>
                    <a:pt x="25254" y="10731"/>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4" name="Freeform: Shape 163">
              <a:extLst>
                <a:ext uri="{FF2B5EF4-FFF2-40B4-BE49-F238E27FC236}">
                  <a16:creationId xmlns:a16="http://schemas.microsoft.com/office/drawing/2014/main" id="{AD461281-C4E3-49A5-9F26-B48927C01AA3}"/>
                </a:ext>
              </a:extLst>
            </p:cNvPr>
            <p:cNvSpPr/>
            <p:nvPr/>
          </p:nvSpPr>
          <p:spPr>
            <a:xfrm>
              <a:off x="6097271" y="5659946"/>
              <a:ext cx="28615" cy="28615"/>
            </a:xfrm>
            <a:custGeom>
              <a:avLst/>
              <a:gdLst>
                <a:gd name="connsiteX0" fmla="*/ 20174 w 28614"/>
                <a:gd name="connsiteY0" fmla="*/ 10731 h 28614"/>
                <a:gd name="connsiteX1" fmla="*/ 10731 w 28614"/>
                <a:gd name="connsiteY1" fmla="*/ 20174 h 28614"/>
                <a:gd name="connsiteX2" fmla="*/ 20174 w 28614"/>
                <a:gd name="connsiteY2" fmla="*/ 29330 h 28614"/>
                <a:gd name="connsiteX3" fmla="*/ 29473 w 28614"/>
                <a:gd name="connsiteY3" fmla="*/ 20174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21" y="10879"/>
                    <a:pt x="10880" y="15021"/>
                    <a:pt x="10731" y="20174"/>
                  </a:cubicBezTo>
                  <a:cubicBezTo>
                    <a:pt x="10885" y="25277"/>
                    <a:pt x="15069" y="29333"/>
                    <a:pt x="20174" y="29330"/>
                  </a:cubicBezTo>
                  <a:cubicBezTo>
                    <a:pt x="25254" y="29330"/>
                    <a:pt x="29395" y="25254"/>
                    <a:pt x="29473" y="20174"/>
                  </a:cubicBezTo>
                  <a:cubicBezTo>
                    <a:pt x="29473" y="15014"/>
                    <a:pt x="25333" y="10809"/>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5" name="Freeform: Shape 164">
              <a:extLst>
                <a:ext uri="{FF2B5EF4-FFF2-40B4-BE49-F238E27FC236}">
                  <a16:creationId xmlns:a16="http://schemas.microsoft.com/office/drawing/2014/main" id="{5F6325C0-9EAA-4076-8C08-8C5AB7DA5AE3}"/>
                </a:ext>
              </a:extLst>
            </p:cNvPr>
            <p:cNvSpPr/>
            <p:nvPr/>
          </p:nvSpPr>
          <p:spPr>
            <a:xfrm>
              <a:off x="5614924" y="5506713"/>
              <a:ext cx="42922" cy="42922"/>
            </a:xfrm>
            <a:custGeom>
              <a:avLst/>
              <a:gdLst>
                <a:gd name="connsiteX0" fmla="*/ 23506 w 42922"/>
                <a:gd name="connsiteY0" fmla="*/ 39346 h 42922"/>
                <a:gd name="connsiteX1" fmla="*/ 38958 w 42922"/>
                <a:gd name="connsiteY1" fmla="*/ 26183 h 42922"/>
                <a:gd name="connsiteX2" fmla="*/ 25795 w 42922"/>
                <a:gd name="connsiteY2" fmla="*/ 10731 h 42922"/>
                <a:gd name="connsiteX3" fmla="*/ 25795 w 42922"/>
                <a:gd name="connsiteY3" fmla="*/ 10731 h 42922"/>
                <a:gd name="connsiteX4" fmla="*/ 11488 w 42922"/>
                <a:gd name="connsiteY4" fmla="*/ 25038 h 42922"/>
                <a:gd name="connsiteX5" fmla="*/ 10772 w 42922"/>
                <a:gd name="connsiteY5" fmla="*/ 24037 h 42922"/>
                <a:gd name="connsiteX6" fmla="*/ 23506 w 42922"/>
                <a:gd name="connsiteY6"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3506" y="39346"/>
                  </a:moveTo>
                  <a:cubicBezTo>
                    <a:pt x="31408" y="39978"/>
                    <a:pt x="38326" y="34085"/>
                    <a:pt x="38958" y="26183"/>
                  </a:cubicBezTo>
                  <a:cubicBezTo>
                    <a:pt x="39590" y="18281"/>
                    <a:pt x="33697" y="11363"/>
                    <a:pt x="25795" y="10731"/>
                  </a:cubicBezTo>
                  <a:lnTo>
                    <a:pt x="25795" y="10731"/>
                  </a:lnTo>
                  <a:cubicBezTo>
                    <a:pt x="17893" y="10731"/>
                    <a:pt x="11488" y="17136"/>
                    <a:pt x="11488" y="25038"/>
                  </a:cubicBezTo>
                  <a:lnTo>
                    <a:pt x="10772" y="24037"/>
                  </a:lnTo>
                  <a:cubicBezTo>
                    <a:pt x="10187" y="31741"/>
                    <a:pt x="15824" y="38517"/>
                    <a:pt x="23506"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6" name="Freeform: Shape 165">
              <a:extLst>
                <a:ext uri="{FF2B5EF4-FFF2-40B4-BE49-F238E27FC236}">
                  <a16:creationId xmlns:a16="http://schemas.microsoft.com/office/drawing/2014/main" id="{12E72588-D942-449B-B881-30F092D7E41A}"/>
                </a:ext>
              </a:extLst>
            </p:cNvPr>
            <p:cNvSpPr/>
            <p:nvPr/>
          </p:nvSpPr>
          <p:spPr>
            <a:xfrm>
              <a:off x="6097271" y="5559651"/>
              <a:ext cx="28615" cy="28615"/>
            </a:xfrm>
            <a:custGeom>
              <a:avLst/>
              <a:gdLst>
                <a:gd name="connsiteX0" fmla="*/ 20174 w 28614"/>
                <a:gd name="connsiteY0" fmla="*/ 10731 h 28614"/>
                <a:gd name="connsiteX1" fmla="*/ 10731 w 28614"/>
                <a:gd name="connsiteY1" fmla="*/ 20174 h 28614"/>
                <a:gd name="connsiteX2" fmla="*/ 20174 w 28614"/>
                <a:gd name="connsiteY2" fmla="*/ 29330 h 28614"/>
                <a:gd name="connsiteX3" fmla="*/ 29472 w 28614"/>
                <a:gd name="connsiteY3" fmla="*/ 20318 h 28614"/>
                <a:gd name="connsiteX4" fmla="*/ 29473 w 28614"/>
                <a:gd name="connsiteY4" fmla="*/ 20174 h 28614"/>
                <a:gd name="connsiteX5" fmla="*/ 20174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174" y="10731"/>
                  </a:moveTo>
                  <a:cubicBezTo>
                    <a:pt x="15021" y="10879"/>
                    <a:pt x="10880" y="15021"/>
                    <a:pt x="10731" y="20174"/>
                  </a:cubicBezTo>
                  <a:cubicBezTo>
                    <a:pt x="10885" y="25277"/>
                    <a:pt x="15069" y="29333"/>
                    <a:pt x="20174" y="29330"/>
                  </a:cubicBezTo>
                  <a:cubicBezTo>
                    <a:pt x="25230" y="29409"/>
                    <a:pt x="29393" y="25374"/>
                    <a:pt x="29472" y="20318"/>
                  </a:cubicBezTo>
                  <a:cubicBezTo>
                    <a:pt x="29473" y="20269"/>
                    <a:pt x="29473" y="20222"/>
                    <a:pt x="29473" y="20174"/>
                  </a:cubicBezTo>
                  <a:cubicBezTo>
                    <a:pt x="29473" y="15014"/>
                    <a:pt x="25333" y="10809"/>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7" name="Freeform: Shape 166">
              <a:extLst>
                <a:ext uri="{FF2B5EF4-FFF2-40B4-BE49-F238E27FC236}">
                  <a16:creationId xmlns:a16="http://schemas.microsoft.com/office/drawing/2014/main" id="{6FD5B76E-95E7-48EF-AABD-151CCEAAC05E}"/>
                </a:ext>
              </a:extLst>
            </p:cNvPr>
            <p:cNvSpPr/>
            <p:nvPr/>
          </p:nvSpPr>
          <p:spPr>
            <a:xfrm>
              <a:off x="6013459" y="5708478"/>
              <a:ext cx="42922" cy="28615"/>
            </a:xfrm>
            <a:custGeom>
              <a:avLst/>
              <a:gdLst>
                <a:gd name="connsiteX0" fmla="*/ 18141 w 42922"/>
                <a:gd name="connsiteY0" fmla="*/ 30731 h 28614"/>
                <a:gd name="connsiteX1" fmla="*/ 23721 w 42922"/>
                <a:gd name="connsiteY1" fmla="*/ 30731 h 28614"/>
                <a:gd name="connsiteX2" fmla="*/ 33879 w 42922"/>
                <a:gd name="connsiteY2" fmla="*/ 20859 h 28614"/>
                <a:gd name="connsiteX3" fmla="*/ 23721 w 42922"/>
                <a:gd name="connsiteY3" fmla="*/ 11130 h 28614"/>
                <a:gd name="connsiteX4" fmla="*/ 11147 w 42922"/>
                <a:gd name="connsiteY4" fmla="*/ 18079 h 28614"/>
                <a:gd name="connsiteX5" fmla="*/ 11130 w 42922"/>
                <a:gd name="connsiteY5" fmla="*/ 18141 h 28614"/>
                <a:gd name="connsiteX6" fmla="*/ 18079 w 42922"/>
                <a:gd name="connsiteY6" fmla="*/ 30714 h 28614"/>
                <a:gd name="connsiteX7" fmla="*/ 18141 w 42922"/>
                <a:gd name="connsiteY7" fmla="*/ 3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28614">
                  <a:moveTo>
                    <a:pt x="18141" y="30731"/>
                  </a:moveTo>
                  <a:cubicBezTo>
                    <a:pt x="19976" y="31159"/>
                    <a:pt x="21885" y="31159"/>
                    <a:pt x="23721" y="30731"/>
                  </a:cubicBezTo>
                  <a:cubicBezTo>
                    <a:pt x="29190" y="30660"/>
                    <a:pt x="33651" y="26325"/>
                    <a:pt x="33879" y="20859"/>
                  </a:cubicBezTo>
                  <a:cubicBezTo>
                    <a:pt x="33649" y="15417"/>
                    <a:pt x="29167" y="11126"/>
                    <a:pt x="23721" y="11130"/>
                  </a:cubicBezTo>
                  <a:cubicBezTo>
                    <a:pt x="18329" y="9578"/>
                    <a:pt x="12701" y="12688"/>
                    <a:pt x="11147" y="18079"/>
                  </a:cubicBezTo>
                  <a:cubicBezTo>
                    <a:pt x="11141" y="18101"/>
                    <a:pt x="11136" y="18121"/>
                    <a:pt x="11130" y="18141"/>
                  </a:cubicBezTo>
                  <a:cubicBezTo>
                    <a:pt x="9578" y="23532"/>
                    <a:pt x="12688" y="29162"/>
                    <a:pt x="18079" y="30714"/>
                  </a:cubicBezTo>
                  <a:cubicBezTo>
                    <a:pt x="18101" y="30720"/>
                    <a:pt x="18121" y="30726"/>
                    <a:pt x="18141" y="3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8" name="Freeform: Shape 167">
              <a:extLst>
                <a:ext uri="{FF2B5EF4-FFF2-40B4-BE49-F238E27FC236}">
                  <a16:creationId xmlns:a16="http://schemas.microsoft.com/office/drawing/2014/main" id="{F4B2ABCF-F4C4-4AE7-A7A4-AAF1FDCDF43A}"/>
                </a:ext>
              </a:extLst>
            </p:cNvPr>
            <p:cNvSpPr/>
            <p:nvPr/>
          </p:nvSpPr>
          <p:spPr>
            <a:xfrm>
              <a:off x="5935740" y="5558359"/>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3336 w 42922"/>
                <a:gd name="connsiteY5" fmla="*/ 22180 h 42922"/>
                <a:gd name="connsiteX6" fmla="*/ 22467 w 42922"/>
                <a:gd name="connsiteY6" fmla="*/ 10737 h 42922"/>
                <a:gd name="connsiteX7" fmla="*/ 22320 w 42922"/>
                <a:gd name="connsiteY7"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276" y="33483"/>
                    <a:pt x="33336" y="28423"/>
                    <a:pt x="33336" y="22180"/>
                  </a:cubicBezTo>
                  <a:cubicBezTo>
                    <a:pt x="33495" y="16020"/>
                    <a:pt x="28629" y="10896"/>
                    <a:pt x="22467" y="10737"/>
                  </a:cubicBezTo>
                  <a:cubicBezTo>
                    <a:pt x="22418" y="10736"/>
                    <a:pt x="22368" y="10734"/>
                    <a:pt x="22320"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9" name="Freeform: Shape 168">
              <a:extLst>
                <a:ext uri="{FF2B5EF4-FFF2-40B4-BE49-F238E27FC236}">
                  <a16:creationId xmlns:a16="http://schemas.microsoft.com/office/drawing/2014/main" id="{6F28180B-F2FF-4BEB-887F-05FC89EF85DD}"/>
                </a:ext>
              </a:extLst>
            </p:cNvPr>
            <p:cNvSpPr/>
            <p:nvPr/>
          </p:nvSpPr>
          <p:spPr>
            <a:xfrm>
              <a:off x="6096842" y="5759383"/>
              <a:ext cx="28615" cy="28615"/>
            </a:xfrm>
            <a:custGeom>
              <a:avLst/>
              <a:gdLst>
                <a:gd name="connsiteX0" fmla="*/ 20603 w 28614"/>
                <a:gd name="connsiteY0" fmla="*/ 10731 h 28614"/>
                <a:gd name="connsiteX1" fmla="*/ 20603 w 28614"/>
                <a:gd name="connsiteY1" fmla="*/ 10731 h 28614"/>
                <a:gd name="connsiteX2" fmla="*/ 10731 w 28614"/>
                <a:gd name="connsiteY2" fmla="*/ 20603 h 28614"/>
                <a:gd name="connsiteX3" fmla="*/ 20603 w 28614"/>
                <a:gd name="connsiteY3" fmla="*/ 30475 h 28614"/>
                <a:gd name="connsiteX4" fmla="*/ 29903 w 28614"/>
                <a:gd name="connsiteY4" fmla="*/ 21175 h 28614"/>
                <a:gd name="connsiteX5" fmla="*/ 29903 w 28614"/>
                <a:gd name="connsiteY5" fmla="*/ 20174 h 28614"/>
                <a:gd name="connsiteX6" fmla="*/ 20603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603" y="10731"/>
                  </a:moveTo>
                  <a:lnTo>
                    <a:pt x="20603" y="10731"/>
                  </a:lnTo>
                  <a:cubicBezTo>
                    <a:pt x="15150" y="10731"/>
                    <a:pt x="10731" y="15150"/>
                    <a:pt x="10731" y="20603"/>
                  </a:cubicBezTo>
                  <a:cubicBezTo>
                    <a:pt x="10731" y="26055"/>
                    <a:pt x="15150" y="30475"/>
                    <a:pt x="20603" y="30475"/>
                  </a:cubicBezTo>
                  <a:cubicBezTo>
                    <a:pt x="25739" y="30475"/>
                    <a:pt x="29903" y="26311"/>
                    <a:pt x="29903" y="21175"/>
                  </a:cubicBezTo>
                  <a:lnTo>
                    <a:pt x="29903" y="20174"/>
                  </a:lnTo>
                  <a:cubicBezTo>
                    <a:pt x="29903" y="15014"/>
                    <a:pt x="25762" y="10809"/>
                    <a:pt x="2060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0" name="Freeform: Shape 169">
              <a:extLst>
                <a:ext uri="{FF2B5EF4-FFF2-40B4-BE49-F238E27FC236}">
                  <a16:creationId xmlns:a16="http://schemas.microsoft.com/office/drawing/2014/main" id="{AE578A70-6C6A-4B40-8116-6251CC440900}"/>
                </a:ext>
              </a:extLst>
            </p:cNvPr>
            <p:cNvSpPr/>
            <p:nvPr/>
          </p:nvSpPr>
          <p:spPr>
            <a:xfrm>
              <a:off x="6037037" y="5569094"/>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171" name="Freeform: Shape 170">
              <a:extLst>
                <a:ext uri="{FF2B5EF4-FFF2-40B4-BE49-F238E27FC236}">
                  <a16:creationId xmlns:a16="http://schemas.microsoft.com/office/drawing/2014/main" id="{6CB4DDD4-44CB-4856-ADF9-30F7E1AE204D}"/>
                </a:ext>
              </a:extLst>
            </p:cNvPr>
            <p:cNvSpPr/>
            <p:nvPr/>
          </p:nvSpPr>
          <p:spPr>
            <a:xfrm>
              <a:off x="6013467" y="5559974"/>
              <a:ext cx="42922" cy="28615"/>
            </a:xfrm>
            <a:custGeom>
              <a:avLst/>
              <a:gdLst>
                <a:gd name="connsiteX0" fmla="*/ 18133 w 42922"/>
                <a:gd name="connsiteY0" fmla="*/ 30724 h 28614"/>
                <a:gd name="connsiteX1" fmla="*/ 23713 w 42922"/>
                <a:gd name="connsiteY1" fmla="*/ 30724 h 28614"/>
                <a:gd name="connsiteX2" fmla="*/ 33871 w 42922"/>
                <a:gd name="connsiteY2" fmla="*/ 20995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60" y="30728"/>
                    <a:pt x="33641" y="26437"/>
                    <a:pt x="33871" y="20995"/>
                  </a:cubicBezTo>
                  <a:cubicBezTo>
                    <a:pt x="33644" y="15529"/>
                    <a:pt x="29183" y="11194"/>
                    <a:pt x="23713" y="11123"/>
                  </a:cubicBezTo>
                  <a:cubicBezTo>
                    <a:pt x="18301" y="9582"/>
                    <a:pt x="12664" y="12721"/>
                    <a:pt x="11123" y="18133"/>
                  </a:cubicBezTo>
                  <a:cubicBezTo>
                    <a:pt x="9582" y="23546"/>
                    <a:pt x="12721" y="29183"/>
                    <a:pt x="18133" y="3072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2" name="Freeform: Shape 171">
              <a:extLst>
                <a:ext uri="{FF2B5EF4-FFF2-40B4-BE49-F238E27FC236}">
                  <a16:creationId xmlns:a16="http://schemas.microsoft.com/office/drawing/2014/main" id="{CC01BC3D-AA28-4753-97F1-1BA9FEDC9810}"/>
                </a:ext>
              </a:extLst>
            </p:cNvPr>
            <p:cNvSpPr/>
            <p:nvPr/>
          </p:nvSpPr>
          <p:spPr>
            <a:xfrm>
              <a:off x="6037037" y="5718178"/>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173" name="Freeform: Shape 172">
              <a:extLst>
                <a:ext uri="{FF2B5EF4-FFF2-40B4-BE49-F238E27FC236}">
                  <a16:creationId xmlns:a16="http://schemas.microsoft.com/office/drawing/2014/main" id="{6B806199-6076-4CB6-97B7-D70683411A79}"/>
                </a:ext>
              </a:extLst>
            </p:cNvPr>
            <p:cNvSpPr/>
            <p:nvPr/>
          </p:nvSpPr>
          <p:spPr>
            <a:xfrm>
              <a:off x="6257370" y="5710738"/>
              <a:ext cx="28615" cy="28615"/>
            </a:xfrm>
            <a:custGeom>
              <a:avLst/>
              <a:gdLst>
                <a:gd name="connsiteX0" fmla="*/ 18459 w 28614"/>
                <a:gd name="connsiteY0" fmla="*/ 10731 h 28614"/>
                <a:gd name="connsiteX1" fmla="*/ 11019 w 28614"/>
                <a:gd name="connsiteY1" fmla="*/ 18171 h 28614"/>
                <a:gd name="connsiteX2" fmla="*/ 16129 w 28614"/>
                <a:gd name="connsiteY2" fmla="*/ 27367 h 28614"/>
                <a:gd name="connsiteX3" fmla="*/ 25326 w 28614"/>
                <a:gd name="connsiteY3" fmla="*/ 22258 h 28614"/>
                <a:gd name="connsiteX4" fmla="*/ 25326 w 28614"/>
                <a:gd name="connsiteY4" fmla="*/ 18171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1"/>
                  </a:cubicBezTo>
                  <a:cubicBezTo>
                    <a:pt x="9890" y="22121"/>
                    <a:pt x="12178" y="26238"/>
                    <a:pt x="16129" y="27367"/>
                  </a:cubicBezTo>
                  <a:cubicBezTo>
                    <a:pt x="20080" y="28496"/>
                    <a:pt x="24197" y="26208"/>
                    <a:pt x="25326" y="22258"/>
                  </a:cubicBezTo>
                  <a:cubicBezTo>
                    <a:pt x="25708" y="20922"/>
                    <a:pt x="25708" y="19507"/>
                    <a:pt x="25326" y="18171"/>
                  </a:cubicBezTo>
                  <a:cubicBezTo>
                    <a:pt x="25338" y="14275"/>
                    <a:pt x="22343" y="11030"/>
                    <a:pt x="1845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4" name="Freeform: Shape 173">
              <a:extLst>
                <a:ext uri="{FF2B5EF4-FFF2-40B4-BE49-F238E27FC236}">
                  <a16:creationId xmlns:a16="http://schemas.microsoft.com/office/drawing/2014/main" id="{35152B3D-EED4-4678-8CBB-143ABD847FC5}"/>
                </a:ext>
              </a:extLst>
            </p:cNvPr>
            <p:cNvSpPr/>
            <p:nvPr/>
          </p:nvSpPr>
          <p:spPr>
            <a:xfrm>
              <a:off x="6097271" y="5610299"/>
              <a:ext cx="28615" cy="28615"/>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08" y="25071"/>
                    <a:pt x="14990" y="29253"/>
                    <a:pt x="20174" y="29330"/>
                  </a:cubicBezTo>
                  <a:cubicBezTo>
                    <a:pt x="25333" y="29252"/>
                    <a:pt x="29473" y="25047"/>
                    <a:pt x="29473" y="19887"/>
                  </a:cubicBezTo>
                  <a:cubicBezTo>
                    <a:pt x="29395" y="14807"/>
                    <a:pt x="25254" y="10731"/>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5" name="Freeform: Shape 174">
              <a:extLst>
                <a:ext uri="{FF2B5EF4-FFF2-40B4-BE49-F238E27FC236}">
                  <a16:creationId xmlns:a16="http://schemas.microsoft.com/office/drawing/2014/main" id="{6AAA35DA-D460-488E-89E2-06E921DA9927}"/>
                </a:ext>
              </a:extLst>
            </p:cNvPr>
            <p:cNvSpPr/>
            <p:nvPr/>
          </p:nvSpPr>
          <p:spPr>
            <a:xfrm>
              <a:off x="6257658" y="5762388"/>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6" name="Freeform: Shape 175">
              <a:extLst>
                <a:ext uri="{FF2B5EF4-FFF2-40B4-BE49-F238E27FC236}">
                  <a16:creationId xmlns:a16="http://schemas.microsoft.com/office/drawing/2014/main" id="{1A969E5A-3A24-43E4-8860-B513D6E6A426}"/>
                </a:ext>
              </a:extLst>
            </p:cNvPr>
            <p:cNvSpPr/>
            <p:nvPr/>
          </p:nvSpPr>
          <p:spPr>
            <a:xfrm>
              <a:off x="5935740" y="5657796"/>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7" name="Freeform: Shape 176">
              <a:extLst>
                <a:ext uri="{FF2B5EF4-FFF2-40B4-BE49-F238E27FC236}">
                  <a16:creationId xmlns:a16="http://schemas.microsoft.com/office/drawing/2014/main" id="{06F5ADBE-0801-449E-82E9-30568E9577AF}"/>
                </a:ext>
              </a:extLst>
            </p:cNvPr>
            <p:cNvSpPr/>
            <p:nvPr/>
          </p:nvSpPr>
          <p:spPr>
            <a:xfrm>
              <a:off x="5934604" y="5757164"/>
              <a:ext cx="42922" cy="42922"/>
            </a:xfrm>
            <a:custGeom>
              <a:avLst/>
              <a:gdLst>
                <a:gd name="connsiteX0" fmla="*/ 23455 w 42922"/>
                <a:gd name="connsiteY0" fmla="*/ 10803 h 42922"/>
                <a:gd name="connsiteX1" fmla="*/ 10803 w 42922"/>
                <a:gd name="connsiteY1" fmla="*/ 20900 h 42922"/>
                <a:gd name="connsiteX2" fmla="*/ 20900 w 42922"/>
                <a:gd name="connsiteY2" fmla="*/ 33552 h 42922"/>
                <a:gd name="connsiteX3" fmla="*/ 23455 w 42922"/>
                <a:gd name="connsiteY3" fmla="*/ 33552 h 42922"/>
                <a:gd name="connsiteX4" fmla="*/ 23455 w 42922"/>
                <a:gd name="connsiteY4" fmla="*/ 33552 h 42922"/>
                <a:gd name="connsiteX5" fmla="*/ 34757 w 42922"/>
                <a:gd name="connsiteY5" fmla="*/ 22537 h 42922"/>
                <a:gd name="connsiteX6" fmla="*/ 34758 w 42922"/>
                <a:gd name="connsiteY6" fmla="*/ 22392 h 42922"/>
                <a:gd name="connsiteX7" fmla="*/ 23744 w 42922"/>
                <a:gd name="connsiteY7" fmla="*/ 10807 h 42922"/>
                <a:gd name="connsiteX8" fmla="*/ 23455 w 42922"/>
                <a:gd name="connsiteY8" fmla="*/ 1080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22" h="42922">
                  <a:moveTo>
                    <a:pt x="23455" y="10803"/>
                  </a:moveTo>
                  <a:cubicBezTo>
                    <a:pt x="17173" y="10098"/>
                    <a:pt x="11509" y="14618"/>
                    <a:pt x="10803" y="20900"/>
                  </a:cubicBezTo>
                  <a:cubicBezTo>
                    <a:pt x="10098" y="27182"/>
                    <a:pt x="14618" y="32847"/>
                    <a:pt x="20900" y="33552"/>
                  </a:cubicBezTo>
                  <a:cubicBezTo>
                    <a:pt x="21748" y="33648"/>
                    <a:pt x="22607" y="33648"/>
                    <a:pt x="23455" y="33552"/>
                  </a:cubicBezTo>
                  <a:lnTo>
                    <a:pt x="23455" y="33552"/>
                  </a:lnTo>
                  <a:cubicBezTo>
                    <a:pt x="29618" y="33631"/>
                    <a:pt x="34678" y="28699"/>
                    <a:pt x="34757" y="22537"/>
                  </a:cubicBezTo>
                  <a:cubicBezTo>
                    <a:pt x="34758" y="22488"/>
                    <a:pt x="34758" y="22441"/>
                    <a:pt x="34758" y="22392"/>
                  </a:cubicBezTo>
                  <a:cubicBezTo>
                    <a:pt x="34916" y="16151"/>
                    <a:pt x="29985" y="10965"/>
                    <a:pt x="23744" y="10807"/>
                  </a:cubicBezTo>
                  <a:cubicBezTo>
                    <a:pt x="23648" y="10805"/>
                    <a:pt x="23551" y="10803"/>
                    <a:pt x="23455" y="1080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8" name="Freeform: Shape 177">
              <a:extLst>
                <a:ext uri="{FF2B5EF4-FFF2-40B4-BE49-F238E27FC236}">
                  <a16:creationId xmlns:a16="http://schemas.microsoft.com/office/drawing/2014/main" id="{2CF436FD-E9E2-44E9-87BF-0278A47C4E10}"/>
                </a:ext>
              </a:extLst>
            </p:cNvPr>
            <p:cNvSpPr/>
            <p:nvPr/>
          </p:nvSpPr>
          <p:spPr>
            <a:xfrm>
              <a:off x="5935928" y="5609630"/>
              <a:ext cx="42922" cy="42922"/>
            </a:xfrm>
            <a:custGeom>
              <a:avLst/>
              <a:gdLst>
                <a:gd name="connsiteX0" fmla="*/ 20558 w 42922"/>
                <a:gd name="connsiteY0" fmla="*/ 10827 h 42922"/>
                <a:gd name="connsiteX1" fmla="*/ 10829 w 42922"/>
                <a:gd name="connsiteY1" fmla="*/ 20556 h 42922"/>
                <a:gd name="connsiteX2" fmla="*/ 20558 w 42922"/>
                <a:gd name="connsiteY2" fmla="*/ 33240 h 42922"/>
                <a:gd name="connsiteX3" fmla="*/ 33241 w 42922"/>
                <a:gd name="connsiteY3" fmla="*/ 23511 h 42922"/>
                <a:gd name="connsiteX4" fmla="*/ 23512 w 42922"/>
                <a:gd name="connsiteY4" fmla="*/ 10827 h 42922"/>
                <a:gd name="connsiteX5" fmla="*/ 20558 w 42922"/>
                <a:gd name="connsiteY5" fmla="*/ 1082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58" y="10827"/>
                  </a:moveTo>
                  <a:cubicBezTo>
                    <a:pt x="15510" y="11541"/>
                    <a:pt x="11543" y="15509"/>
                    <a:pt x="10829" y="20556"/>
                  </a:cubicBezTo>
                  <a:cubicBezTo>
                    <a:pt x="10013" y="26746"/>
                    <a:pt x="14368" y="32423"/>
                    <a:pt x="20558" y="33240"/>
                  </a:cubicBezTo>
                  <a:cubicBezTo>
                    <a:pt x="26747" y="34055"/>
                    <a:pt x="32424" y="29699"/>
                    <a:pt x="33241" y="23511"/>
                  </a:cubicBezTo>
                  <a:cubicBezTo>
                    <a:pt x="34057" y="17321"/>
                    <a:pt x="29700" y="11643"/>
                    <a:pt x="23512" y="10827"/>
                  </a:cubicBezTo>
                  <a:cubicBezTo>
                    <a:pt x="22531" y="10698"/>
                    <a:pt x="21538" y="10698"/>
                    <a:pt x="20558" y="1082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9" name="Freeform: Shape 178">
              <a:extLst>
                <a:ext uri="{FF2B5EF4-FFF2-40B4-BE49-F238E27FC236}">
                  <a16:creationId xmlns:a16="http://schemas.microsoft.com/office/drawing/2014/main" id="{1A7DE181-DCDF-4342-9069-11D1E03D8A42}"/>
                </a:ext>
              </a:extLst>
            </p:cNvPr>
            <p:cNvSpPr/>
            <p:nvPr/>
          </p:nvSpPr>
          <p:spPr>
            <a:xfrm>
              <a:off x="5936026" y="5708632"/>
              <a:ext cx="42922" cy="28615"/>
            </a:xfrm>
            <a:custGeom>
              <a:avLst/>
              <a:gdLst>
                <a:gd name="connsiteX0" fmla="*/ 20460 w 42922"/>
                <a:gd name="connsiteY0" fmla="*/ 10833 h 28614"/>
                <a:gd name="connsiteX1" fmla="*/ 10731 w 42922"/>
                <a:gd name="connsiteY1" fmla="*/ 20705 h 28614"/>
                <a:gd name="connsiteX2" fmla="*/ 23407 w 42922"/>
                <a:gd name="connsiteY2" fmla="*/ 30441 h 28614"/>
                <a:gd name="connsiteX3" fmla="*/ 23464 w 42922"/>
                <a:gd name="connsiteY3" fmla="*/ 30434 h 28614"/>
                <a:gd name="connsiteX4" fmla="*/ 33193 w 42922"/>
                <a:gd name="connsiteY4" fmla="*/ 20705 h 28614"/>
                <a:gd name="connsiteX5" fmla="*/ 20640 w 42922"/>
                <a:gd name="connsiteY5" fmla="*/ 10810 h 28614"/>
                <a:gd name="connsiteX6" fmla="*/ 20460 w 42922"/>
                <a:gd name="connsiteY6" fmla="*/ 108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28614">
                  <a:moveTo>
                    <a:pt x="20460" y="10833"/>
                  </a:moveTo>
                  <a:cubicBezTo>
                    <a:pt x="15366" y="11563"/>
                    <a:pt x="11386" y="15602"/>
                    <a:pt x="10731" y="20705"/>
                  </a:cubicBezTo>
                  <a:cubicBezTo>
                    <a:pt x="11543" y="26895"/>
                    <a:pt x="17219" y="31254"/>
                    <a:pt x="23407" y="30441"/>
                  </a:cubicBezTo>
                  <a:cubicBezTo>
                    <a:pt x="23427" y="30440"/>
                    <a:pt x="23446" y="30437"/>
                    <a:pt x="23464" y="30434"/>
                  </a:cubicBezTo>
                  <a:cubicBezTo>
                    <a:pt x="28559" y="29813"/>
                    <a:pt x="32572" y="25800"/>
                    <a:pt x="33193" y="20705"/>
                  </a:cubicBezTo>
                  <a:cubicBezTo>
                    <a:pt x="32459" y="14506"/>
                    <a:pt x="26838" y="10076"/>
                    <a:pt x="20640" y="10810"/>
                  </a:cubicBezTo>
                  <a:cubicBezTo>
                    <a:pt x="20580" y="10817"/>
                    <a:pt x="20520" y="10824"/>
                    <a:pt x="20460" y="1083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0" name="Freeform: Shape 179">
              <a:extLst>
                <a:ext uri="{FF2B5EF4-FFF2-40B4-BE49-F238E27FC236}">
                  <a16:creationId xmlns:a16="http://schemas.microsoft.com/office/drawing/2014/main" id="{B8BF91DC-C113-4D6D-A0E8-86EB65B61177}"/>
                </a:ext>
              </a:extLst>
            </p:cNvPr>
            <p:cNvSpPr/>
            <p:nvPr/>
          </p:nvSpPr>
          <p:spPr>
            <a:xfrm>
              <a:off x="6257658" y="5661949"/>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1" name="Freeform: Shape 180">
              <a:extLst>
                <a:ext uri="{FF2B5EF4-FFF2-40B4-BE49-F238E27FC236}">
                  <a16:creationId xmlns:a16="http://schemas.microsoft.com/office/drawing/2014/main" id="{0D1FC625-E99E-401D-9161-BD60E89CB053}"/>
                </a:ext>
              </a:extLst>
            </p:cNvPr>
            <p:cNvSpPr/>
            <p:nvPr/>
          </p:nvSpPr>
          <p:spPr>
            <a:xfrm>
              <a:off x="6257658" y="5612016"/>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2" name="Freeform: Shape 181">
              <a:extLst>
                <a:ext uri="{FF2B5EF4-FFF2-40B4-BE49-F238E27FC236}">
                  <a16:creationId xmlns:a16="http://schemas.microsoft.com/office/drawing/2014/main" id="{6B1AA9B0-0956-4777-947B-A51D897F5022}"/>
                </a:ext>
              </a:extLst>
            </p:cNvPr>
            <p:cNvSpPr/>
            <p:nvPr/>
          </p:nvSpPr>
          <p:spPr>
            <a:xfrm>
              <a:off x="5935130" y="5509346"/>
              <a:ext cx="42922" cy="28615"/>
            </a:xfrm>
            <a:custGeom>
              <a:avLst/>
              <a:gdLst>
                <a:gd name="connsiteX0" fmla="*/ 23645 w 42922"/>
                <a:gd name="connsiteY0" fmla="*/ 30417 h 28614"/>
                <a:gd name="connsiteX1" fmla="*/ 33374 w 42922"/>
                <a:gd name="connsiteY1" fmla="*/ 20688 h 28614"/>
                <a:gd name="connsiteX2" fmla="*/ 20640 w 42922"/>
                <a:gd name="connsiteY2" fmla="*/ 10816 h 28614"/>
                <a:gd name="connsiteX3" fmla="*/ 10731 w 42922"/>
                <a:gd name="connsiteY3" fmla="*/ 20937 h 28614"/>
                <a:gd name="connsiteX4" fmla="*/ 20852 w 42922"/>
                <a:gd name="connsiteY4" fmla="*/ 30845 h 28614"/>
                <a:gd name="connsiteX5" fmla="*/ 23645 w 42922"/>
                <a:gd name="connsiteY5" fmla="*/ 3041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645" y="30417"/>
                  </a:moveTo>
                  <a:cubicBezTo>
                    <a:pt x="28671" y="29659"/>
                    <a:pt x="32616" y="25714"/>
                    <a:pt x="33374" y="20688"/>
                  </a:cubicBezTo>
                  <a:cubicBezTo>
                    <a:pt x="32557" y="14461"/>
                    <a:pt x="26874" y="10056"/>
                    <a:pt x="20640" y="10816"/>
                  </a:cubicBezTo>
                  <a:cubicBezTo>
                    <a:pt x="15109" y="10874"/>
                    <a:pt x="10674" y="15406"/>
                    <a:pt x="10731" y="20937"/>
                  </a:cubicBezTo>
                  <a:cubicBezTo>
                    <a:pt x="10790" y="26467"/>
                    <a:pt x="15321" y="30904"/>
                    <a:pt x="20852" y="30845"/>
                  </a:cubicBezTo>
                  <a:cubicBezTo>
                    <a:pt x="21799" y="30835"/>
                    <a:pt x="22739" y="30690"/>
                    <a:pt x="23645" y="3041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3" name="Freeform: Shape 182">
              <a:extLst>
                <a:ext uri="{FF2B5EF4-FFF2-40B4-BE49-F238E27FC236}">
                  <a16:creationId xmlns:a16="http://schemas.microsoft.com/office/drawing/2014/main" id="{FCEE49D8-09E5-42AB-A6E3-7C31971A1EDA}"/>
                </a:ext>
              </a:extLst>
            </p:cNvPr>
            <p:cNvSpPr/>
            <p:nvPr/>
          </p:nvSpPr>
          <p:spPr>
            <a:xfrm>
              <a:off x="5379891" y="5912473"/>
              <a:ext cx="42922" cy="42922"/>
            </a:xfrm>
            <a:custGeom>
              <a:avLst/>
              <a:gdLst>
                <a:gd name="connsiteX0" fmla="*/ 22180 w 42922"/>
                <a:gd name="connsiteY0" fmla="*/ 10731 h 42922"/>
                <a:gd name="connsiteX1" fmla="*/ 22180 w 42922"/>
                <a:gd name="connsiteY1" fmla="*/ 10731 h 42922"/>
                <a:gd name="connsiteX2" fmla="*/ 10734 w 42922"/>
                <a:gd name="connsiteY2" fmla="*/ 21890 h 42922"/>
                <a:gd name="connsiteX3" fmla="*/ 21891 w 42922"/>
                <a:gd name="connsiteY3" fmla="*/ 33618 h 42922"/>
                <a:gd name="connsiteX4" fmla="*/ 33619 w 42922"/>
                <a:gd name="connsiteY4" fmla="*/ 22461 h 42922"/>
                <a:gd name="connsiteX5" fmla="*/ 22462 w 42922"/>
                <a:gd name="connsiteY5" fmla="*/ 10733 h 42922"/>
                <a:gd name="connsiteX6" fmla="*/ 22323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180" y="10731"/>
                  </a:moveTo>
                  <a:lnTo>
                    <a:pt x="22180" y="10731"/>
                  </a:lnTo>
                  <a:cubicBezTo>
                    <a:pt x="15969" y="10729"/>
                    <a:pt x="10890" y="15681"/>
                    <a:pt x="10734" y="21890"/>
                  </a:cubicBezTo>
                  <a:cubicBezTo>
                    <a:pt x="10577" y="28210"/>
                    <a:pt x="15572" y="33461"/>
                    <a:pt x="21891" y="33618"/>
                  </a:cubicBezTo>
                  <a:cubicBezTo>
                    <a:pt x="28211" y="33776"/>
                    <a:pt x="33462" y="28781"/>
                    <a:pt x="33619" y="22461"/>
                  </a:cubicBezTo>
                  <a:cubicBezTo>
                    <a:pt x="33776" y="16142"/>
                    <a:pt x="28782" y="10891"/>
                    <a:pt x="22462" y="10733"/>
                  </a:cubicBezTo>
                  <a:cubicBezTo>
                    <a:pt x="22416" y="10732"/>
                    <a:pt x="22369" y="10731"/>
                    <a:pt x="2232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4" name="Freeform: Shape 183">
              <a:extLst>
                <a:ext uri="{FF2B5EF4-FFF2-40B4-BE49-F238E27FC236}">
                  <a16:creationId xmlns:a16="http://schemas.microsoft.com/office/drawing/2014/main" id="{DE56BF5F-C9B8-477B-A72F-0739FF0A888C}"/>
                </a:ext>
              </a:extLst>
            </p:cNvPr>
            <p:cNvSpPr/>
            <p:nvPr/>
          </p:nvSpPr>
          <p:spPr>
            <a:xfrm>
              <a:off x="5300774" y="5875274"/>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lnTo>
                    <a:pt x="10731" y="10731"/>
                  </a:lnTo>
                  <a:cubicBezTo>
                    <a:pt x="10731" y="10731"/>
                    <a:pt x="10731" y="10731"/>
                    <a:pt x="1073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5" name="Freeform: Shape 184">
              <a:extLst>
                <a:ext uri="{FF2B5EF4-FFF2-40B4-BE49-F238E27FC236}">
                  <a16:creationId xmlns:a16="http://schemas.microsoft.com/office/drawing/2014/main" id="{ED807063-7D55-43D8-B3AC-E897E7525313}"/>
                </a:ext>
              </a:extLst>
            </p:cNvPr>
            <p:cNvSpPr/>
            <p:nvPr/>
          </p:nvSpPr>
          <p:spPr>
            <a:xfrm>
              <a:off x="5301632" y="5813604"/>
              <a:ext cx="28615" cy="28615"/>
            </a:xfrm>
            <a:custGeom>
              <a:avLst/>
              <a:gdLst>
                <a:gd name="connsiteX0" fmla="*/ 21032 w 28614"/>
                <a:gd name="connsiteY0" fmla="*/ 10735 h 28614"/>
                <a:gd name="connsiteX1" fmla="*/ 21032 w 28614"/>
                <a:gd name="connsiteY1" fmla="*/ 10735 h 28614"/>
                <a:gd name="connsiteX2" fmla="*/ 10731 w 28614"/>
                <a:gd name="connsiteY2" fmla="*/ 21036 h 28614"/>
                <a:gd name="connsiteX3" fmla="*/ 21032 w 28614"/>
                <a:gd name="connsiteY3" fmla="*/ 31338 h 28614"/>
                <a:gd name="connsiteX4" fmla="*/ 21032 w 28614"/>
                <a:gd name="connsiteY4" fmla="*/ 31338 h 28614"/>
                <a:gd name="connsiteX5" fmla="*/ 31476 w 28614"/>
                <a:gd name="connsiteY5" fmla="*/ 20893 h 28614"/>
                <a:gd name="connsiteX6" fmla="*/ 21322 w 28614"/>
                <a:gd name="connsiteY6" fmla="*/ 10731 h 28614"/>
                <a:gd name="connsiteX7" fmla="*/ 21032 w 28614"/>
                <a:gd name="connsiteY7"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032" y="10735"/>
                  </a:moveTo>
                  <a:lnTo>
                    <a:pt x="21032" y="10735"/>
                  </a:lnTo>
                  <a:cubicBezTo>
                    <a:pt x="15343" y="10735"/>
                    <a:pt x="10731" y="15348"/>
                    <a:pt x="10731" y="21036"/>
                  </a:cubicBezTo>
                  <a:cubicBezTo>
                    <a:pt x="10731" y="26725"/>
                    <a:pt x="15343" y="31338"/>
                    <a:pt x="21032" y="31338"/>
                  </a:cubicBezTo>
                  <a:lnTo>
                    <a:pt x="21032" y="31338"/>
                  </a:lnTo>
                  <a:cubicBezTo>
                    <a:pt x="26801" y="31338"/>
                    <a:pt x="31476" y="26662"/>
                    <a:pt x="31476" y="20893"/>
                  </a:cubicBezTo>
                  <a:cubicBezTo>
                    <a:pt x="31479" y="15283"/>
                    <a:pt x="26932" y="10733"/>
                    <a:pt x="21322" y="10731"/>
                  </a:cubicBezTo>
                  <a:cubicBezTo>
                    <a:pt x="21225" y="10731"/>
                    <a:pt x="21129" y="10732"/>
                    <a:pt x="21032" y="107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6" name="Freeform: Shape 185">
              <a:extLst>
                <a:ext uri="{FF2B5EF4-FFF2-40B4-BE49-F238E27FC236}">
                  <a16:creationId xmlns:a16="http://schemas.microsoft.com/office/drawing/2014/main" id="{58DB88B7-55F0-4D1C-98CF-AD4186582D79}"/>
                </a:ext>
              </a:extLst>
            </p:cNvPr>
            <p:cNvSpPr/>
            <p:nvPr/>
          </p:nvSpPr>
          <p:spPr>
            <a:xfrm>
              <a:off x="6177393" y="5965268"/>
              <a:ext cx="28615" cy="28615"/>
            </a:xfrm>
            <a:custGeom>
              <a:avLst/>
              <a:gdLst>
                <a:gd name="connsiteX0" fmla="*/ 19172 w 28614"/>
                <a:gd name="connsiteY0" fmla="*/ 10731 h 28614"/>
                <a:gd name="connsiteX1" fmla="*/ 10731 w 28614"/>
                <a:gd name="connsiteY1" fmla="*/ 19172 h 28614"/>
                <a:gd name="connsiteX2" fmla="*/ 19172 w 28614"/>
                <a:gd name="connsiteY2" fmla="*/ 27613 h 28614"/>
                <a:gd name="connsiteX3" fmla="*/ 19172 w 28614"/>
                <a:gd name="connsiteY3" fmla="*/ 27613 h 28614"/>
                <a:gd name="connsiteX4" fmla="*/ 27327 w 28614"/>
                <a:gd name="connsiteY4" fmla="*/ 19458 h 28614"/>
                <a:gd name="connsiteX5" fmla="*/ 19182 w 28614"/>
                <a:gd name="connsiteY5" fmla="*/ 10731 h 28614"/>
                <a:gd name="connsiteX6" fmla="*/ 19172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172" y="10731"/>
                  </a:moveTo>
                  <a:cubicBezTo>
                    <a:pt x="14509" y="10731"/>
                    <a:pt x="10731" y="14511"/>
                    <a:pt x="10731" y="19172"/>
                  </a:cubicBezTo>
                  <a:cubicBezTo>
                    <a:pt x="10731" y="23833"/>
                    <a:pt x="14511" y="27613"/>
                    <a:pt x="19172" y="27613"/>
                  </a:cubicBezTo>
                  <a:lnTo>
                    <a:pt x="19172" y="27613"/>
                  </a:lnTo>
                  <a:cubicBezTo>
                    <a:pt x="23676" y="27613"/>
                    <a:pt x="27327" y="23962"/>
                    <a:pt x="27327" y="19458"/>
                  </a:cubicBezTo>
                  <a:cubicBezTo>
                    <a:pt x="27487" y="14798"/>
                    <a:pt x="23841" y="10891"/>
                    <a:pt x="19182" y="10731"/>
                  </a:cubicBezTo>
                  <a:cubicBezTo>
                    <a:pt x="19178" y="10731"/>
                    <a:pt x="19175" y="10731"/>
                    <a:pt x="1917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7" name="Freeform: Shape 186">
              <a:extLst>
                <a:ext uri="{FF2B5EF4-FFF2-40B4-BE49-F238E27FC236}">
                  <a16:creationId xmlns:a16="http://schemas.microsoft.com/office/drawing/2014/main" id="{88729BDF-A566-45FD-9604-64AF9A71A48F}"/>
                </a:ext>
              </a:extLst>
            </p:cNvPr>
            <p:cNvSpPr/>
            <p:nvPr/>
          </p:nvSpPr>
          <p:spPr>
            <a:xfrm>
              <a:off x="5300774" y="6024358"/>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188" name="Freeform: Shape 187">
              <a:extLst>
                <a:ext uri="{FF2B5EF4-FFF2-40B4-BE49-F238E27FC236}">
                  <a16:creationId xmlns:a16="http://schemas.microsoft.com/office/drawing/2014/main" id="{B965F135-719A-4F6F-B0E1-BBDB9916CE6A}"/>
                </a:ext>
              </a:extLst>
            </p:cNvPr>
            <p:cNvSpPr/>
            <p:nvPr/>
          </p:nvSpPr>
          <p:spPr>
            <a:xfrm>
              <a:off x="5300917" y="6013769"/>
              <a:ext cx="42922" cy="28615"/>
            </a:xfrm>
            <a:custGeom>
              <a:avLst/>
              <a:gdLst>
                <a:gd name="connsiteX0" fmla="*/ 26469 w 42922"/>
                <a:gd name="connsiteY0" fmla="*/ 11161 h 28614"/>
                <a:gd name="connsiteX1" fmla="*/ 20746 w 42922"/>
                <a:gd name="connsiteY1" fmla="*/ 11161 h 28614"/>
                <a:gd name="connsiteX2" fmla="*/ 10731 w 42922"/>
                <a:gd name="connsiteY2" fmla="*/ 20890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25" y="11158"/>
                    <a:pt x="10885" y="15470"/>
                    <a:pt x="10731" y="20890"/>
                  </a:cubicBezTo>
                  <a:cubicBezTo>
                    <a:pt x="10884" y="26333"/>
                    <a:pt x="15300" y="30688"/>
                    <a:pt x="20746" y="30762"/>
                  </a:cubicBezTo>
                  <a:cubicBezTo>
                    <a:pt x="26158" y="32343"/>
                    <a:pt x="31827" y="29236"/>
                    <a:pt x="33408" y="23823"/>
                  </a:cubicBezTo>
                  <a:cubicBezTo>
                    <a:pt x="34989" y="18411"/>
                    <a:pt x="31881" y="12742"/>
                    <a:pt x="26469" y="1116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9" name="Freeform: Shape 188">
              <a:extLst>
                <a:ext uri="{FF2B5EF4-FFF2-40B4-BE49-F238E27FC236}">
                  <a16:creationId xmlns:a16="http://schemas.microsoft.com/office/drawing/2014/main" id="{A720826A-74C7-4704-8840-763AECFF126E}"/>
                </a:ext>
              </a:extLst>
            </p:cNvPr>
            <p:cNvSpPr/>
            <p:nvPr/>
          </p:nvSpPr>
          <p:spPr>
            <a:xfrm>
              <a:off x="5379322" y="5864258"/>
              <a:ext cx="42922" cy="28615"/>
            </a:xfrm>
            <a:custGeom>
              <a:avLst/>
              <a:gdLst>
                <a:gd name="connsiteX0" fmla="*/ 23464 w 42922"/>
                <a:gd name="connsiteY0" fmla="*/ 30760 h 28614"/>
                <a:gd name="connsiteX1" fmla="*/ 33374 w 42922"/>
                <a:gd name="connsiteY1" fmla="*/ 20639 h 28614"/>
                <a:gd name="connsiteX2" fmla="*/ 23253 w 42922"/>
                <a:gd name="connsiteY2" fmla="*/ 10731 h 28614"/>
                <a:gd name="connsiteX3" fmla="*/ 20460 w 42922"/>
                <a:gd name="connsiteY3" fmla="*/ 11159 h 28614"/>
                <a:gd name="connsiteX4" fmla="*/ 10731 w 42922"/>
                <a:gd name="connsiteY4" fmla="*/ 20888 h 28614"/>
                <a:gd name="connsiteX5" fmla="*/ 23284 w 42922"/>
                <a:gd name="connsiteY5" fmla="*/ 30783 h 28614"/>
                <a:gd name="connsiteX6" fmla="*/ 23464 w 42922"/>
                <a:gd name="connsiteY6" fmla="*/ 3076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28614">
                  <a:moveTo>
                    <a:pt x="23464" y="30760"/>
                  </a:moveTo>
                  <a:cubicBezTo>
                    <a:pt x="28996" y="30702"/>
                    <a:pt x="33431" y="26170"/>
                    <a:pt x="33374" y="20639"/>
                  </a:cubicBezTo>
                  <a:cubicBezTo>
                    <a:pt x="33315" y="15109"/>
                    <a:pt x="28784" y="10673"/>
                    <a:pt x="23253" y="10731"/>
                  </a:cubicBezTo>
                  <a:cubicBezTo>
                    <a:pt x="22305" y="10741"/>
                    <a:pt x="21365" y="10886"/>
                    <a:pt x="20460" y="11159"/>
                  </a:cubicBezTo>
                  <a:cubicBezTo>
                    <a:pt x="15342" y="11730"/>
                    <a:pt x="11301" y="15770"/>
                    <a:pt x="10731" y="20888"/>
                  </a:cubicBezTo>
                  <a:cubicBezTo>
                    <a:pt x="11465" y="27088"/>
                    <a:pt x="17086" y="31517"/>
                    <a:pt x="23284" y="30783"/>
                  </a:cubicBezTo>
                  <a:cubicBezTo>
                    <a:pt x="23344" y="30776"/>
                    <a:pt x="23404" y="30769"/>
                    <a:pt x="23464" y="3076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0" name="Freeform: Shape 189">
              <a:extLst>
                <a:ext uri="{FF2B5EF4-FFF2-40B4-BE49-F238E27FC236}">
                  <a16:creationId xmlns:a16="http://schemas.microsoft.com/office/drawing/2014/main" id="{AC08D7A0-EF2C-423C-B891-94AC29E018EA}"/>
                </a:ext>
              </a:extLst>
            </p:cNvPr>
            <p:cNvSpPr/>
            <p:nvPr/>
          </p:nvSpPr>
          <p:spPr>
            <a:xfrm>
              <a:off x="5301346" y="6062988"/>
              <a:ext cx="28615" cy="28615"/>
            </a:xfrm>
            <a:custGeom>
              <a:avLst/>
              <a:gdLst>
                <a:gd name="connsiteX0" fmla="*/ 21032 w 28614"/>
                <a:gd name="connsiteY0" fmla="*/ 10731 h 28614"/>
                <a:gd name="connsiteX1" fmla="*/ 10731 w 28614"/>
                <a:gd name="connsiteY1" fmla="*/ 21032 h 28614"/>
                <a:gd name="connsiteX2" fmla="*/ 10731 w 28614"/>
                <a:gd name="connsiteY2" fmla="*/ 21032 h 28614"/>
                <a:gd name="connsiteX3" fmla="*/ 20888 w 28614"/>
                <a:gd name="connsiteY3" fmla="*/ 31192 h 28614"/>
                <a:gd name="connsiteX4" fmla="*/ 21032 w 28614"/>
                <a:gd name="connsiteY4" fmla="*/ 31190 h 28614"/>
                <a:gd name="connsiteX5" fmla="*/ 31333 w 28614"/>
                <a:gd name="connsiteY5" fmla="*/ 21177 h 28614"/>
                <a:gd name="connsiteX6" fmla="*/ 31333 w 28614"/>
                <a:gd name="connsiteY6" fmla="*/ 21175 h 28614"/>
                <a:gd name="connsiteX7" fmla="*/ 31333 w 28614"/>
                <a:gd name="connsiteY7" fmla="*/ 21175 h 28614"/>
                <a:gd name="connsiteX8" fmla="*/ 21032 w 28614"/>
                <a:gd name="connsiteY8"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032" y="10731"/>
                  </a:moveTo>
                  <a:cubicBezTo>
                    <a:pt x="15343" y="10731"/>
                    <a:pt x="10731" y="15343"/>
                    <a:pt x="10731" y="21032"/>
                  </a:cubicBezTo>
                  <a:lnTo>
                    <a:pt x="10731" y="21032"/>
                  </a:lnTo>
                  <a:cubicBezTo>
                    <a:pt x="10731" y="26642"/>
                    <a:pt x="15278" y="31190"/>
                    <a:pt x="20888" y="31192"/>
                  </a:cubicBezTo>
                  <a:cubicBezTo>
                    <a:pt x="20936" y="31192"/>
                    <a:pt x="20983" y="31190"/>
                    <a:pt x="21032" y="31190"/>
                  </a:cubicBezTo>
                  <a:cubicBezTo>
                    <a:pt x="26642" y="31270"/>
                    <a:pt x="31253" y="26786"/>
                    <a:pt x="31333" y="21177"/>
                  </a:cubicBezTo>
                  <a:cubicBezTo>
                    <a:pt x="31333" y="21177"/>
                    <a:pt x="31333" y="21175"/>
                    <a:pt x="31333" y="21175"/>
                  </a:cubicBezTo>
                  <a:lnTo>
                    <a:pt x="31333" y="21175"/>
                  </a:lnTo>
                  <a:cubicBezTo>
                    <a:pt x="31333" y="15462"/>
                    <a:pt x="26745" y="10809"/>
                    <a:pt x="2103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1" name="Freeform: Shape 190">
              <a:extLst>
                <a:ext uri="{FF2B5EF4-FFF2-40B4-BE49-F238E27FC236}">
                  <a16:creationId xmlns:a16="http://schemas.microsoft.com/office/drawing/2014/main" id="{EF3500A7-66DD-41A1-8242-4F2801B75315}"/>
                </a:ext>
              </a:extLst>
            </p:cNvPr>
            <p:cNvSpPr/>
            <p:nvPr/>
          </p:nvSpPr>
          <p:spPr>
            <a:xfrm>
              <a:off x="6257370" y="5866117"/>
              <a:ext cx="28615" cy="28615"/>
            </a:xfrm>
            <a:custGeom>
              <a:avLst/>
              <a:gdLst>
                <a:gd name="connsiteX0" fmla="*/ 18459 w 28614"/>
                <a:gd name="connsiteY0" fmla="*/ 10731 h 28614"/>
                <a:gd name="connsiteX1" fmla="*/ 11019 w 28614"/>
                <a:gd name="connsiteY1" fmla="*/ 18171 h 28614"/>
                <a:gd name="connsiteX2" fmla="*/ 16129 w 28614"/>
                <a:gd name="connsiteY2" fmla="*/ 27367 h 28614"/>
                <a:gd name="connsiteX3" fmla="*/ 25326 w 28614"/>
                <a:gd name="connsiteY3" fmla="*/ 22258 h 28614"/>
                <a:gd name="connsiteX4" fmla="*/ 25326 w 28614"/>
                <a:gd name="connsiteY4" fmla="*/ 18171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1"/>
                  </a:cubicBezTo>
                  <a:cubicBezTo>
                    <a:pt x="9890" y="22121"/>
                    <a:pt x="12178" y="26238"/>
                    <a:pt x="16129" y="27367"/>
                  </a:cubicBezTo>
                  <a:cubicBezTo>
                    <a:pt x="20080" y="28496"/>
                    <a:pt x="24197" y="26208"/>
                    <a:pt x="25326" y="22258"/>
                  </a:cubicBezTo>
                  <a:cubicBezTo>
                    <a:pt x="25708" y="20922"/>
                    <a:pt x="25708" y="19507"/>
                    <a:pt x="25326" y="18171"/>
                  </a:cubicBezTo>
                  <a:cubicBezTo>
                    <a:pt x="25338" y="14275"/>
                    <a:pt x="22343" y="11030"/>
                    <a:pt x="1845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2" name="Freeform: Shape 191">
              <a:extLst>
                <a:ext uri="{FF2B5EF4-FFF2-40B4-BE49-F238E27FC236}">
                  <a16:creationId xmlns:a16="http://schemas.microsoft.com/office/drawing/2014/main" id="{A11D634B-0C24-4F03-9551-578C797CA239}"/>
                </a:ext>
              </a:extLst>
            </p:cNvPr>
            <p:cNvSpPr/>
            <p:nvPr/>
          </p:nvSpPr>
          <p:spPr>
            <a:xfrm>
              <a:off x="5300917" y="5864650"/>
              <a:ext cx="42922" cy="28615"/>
            </a:xfrm>
            <a:custGeom>
              <a:avLst/>
              <a:gdLst>
                <a:gd name="connsiteX0" fmla="*/ 26469 w 42922"/>
                <a:gd name="connsiteY0" fmla="*/ 11053 h 28614"/>
                <a:gd name="connsiteX1" fmla="*/ 20746 w 42922"/>
                <a:gd name="connsiteY1" fmla="*/ 11053 h 28614"/>
                <a:gd name="connsiteX2" fmla="*/ 10731 w 42922"/>
                <a:gd name="connsiteY2" fmla="*/ 20925 h 28614"/>
                <a:gd name="connsiteX3" fmla="*/ 20746 w 42922"/>
                <a:gd name="connsiteY3" fmla="*/ 30654 h 28614"/>
                <a:gd name="connsiteX4" fmla="*/ 33480 w 42922"/>
                <a:gd name="connsiteY4" fmla="*/ 23643 h 28614"/>
                <a:gd name="connsiteX5" fmla="*/ 26469 w 42922"/>
                <a:gd name="connsiteY5" fmla="*/ 1105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053"/>
                  </a:moveTo>
                  <a:cubicBezTo>
                    <a:pt x="24586" y="10623"/>
                    <a:pt x="22629" y="10623"/>
                    <a:pt x="20746" y="11053"/>
                  </a:cubicBezTo>
                  <a:cubicBezTo>
                    <a:pt x="15300" y="11127"/>
                    <a:pt x="10884" y="15482"/>
                    <a:pt x="10731" y="20925"/>
                  </a:cubicBezTo>
                  <a:cubicBezTo>
                    <a:pt x="10885" y="26344"/>
                    <a:pt x="15325" y="30655"/>
                    <a:pt x="20746" y="30654"/>
                  </a:cubicBezTo>
                  <a:cubicBezTo>
                    <a:pt x="26197" y="32220"/>
                    <a:pt x="31889" y="29087"/>
                    <a:pt x="33480" y="23643"/>
                  </a:cubicBezTo>
                  <a:cubicBezTo>
                    <a:pt x="34876" y="18248"/>
                    <a:pt x="31790" y="12706"/>
                    <a:pt x="26469" y="11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3" name="Freeform: Shape 192">
              <a:extLst>
                <a:ext uri="{FF2B5EF4-FFF2-40B4-BE49-F238E27FC236}">
                  <a16:creationId xmlns:a16="http://schemas.microsoft.com/office/drawing/2014/main" id="{A5FBE00D-1683-4E7E-97D4-BF1281B16E1A}"/>
                </a:ext>
              </a:extLst>
            </p:cNvPr>
            <p:cNvSpPr/>
            <p:nvPr/>
          </p:nvSpPr>
          <p:spPr>
            <a:xfrm>
              <a:off x="5143712" y="5962987"/>
              <a:ext cx="28615" cy="28615"/>
            </a:xfrm>
            <a:custGeom>
              <a:avLst/>
              <a:gdLst>
                <a:gd name="connsiteX0" fmla="*/ 20425 w 28614"/>
                <a:gd name="connsiteY0" fmla="*/ 28321 h 28614"/>
                <a:gd name="connsiteX1" fmla="*/ 27436 w 28614"/>
                <a:gd name="connsiteY1" fmla="*/ 21310 h 28614"/>
                <a:gd name="connsiteX2" fmla="*/ 21405 w 28614"/>
                <a:gd name="connsiteY2" fmla="*/ 11007 h 28614"/>
                <a:gd name="connsiteX3" fmla="*/ 11102 w 28614"/>
                <a:gd name="connsiteY3" fmla="*/ 17038 h 28614"/>
                <a:gd name="connsiteX4" fmla="*/ 10839 w 28614"/>
                <a:gd name="connsiteY4" fmla="*/ 18735 h 28614"/>
                <a:gd name="connsiteX5" fmla="*/ 10839 w 28614"/>
                <a:gd name="connsiteY5" fmla="*/ 21310 h 28614"/>
                <a:gd name="connsiteX6" fmla="*/ 20425 w 28614"/>
                <a:gd name="connsiteY6" fmla="*/ 283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425" y="28321"/>
                  </a:moveTo>
                  <a:cubicBezTo>
                    <a:pt x="24078" y="27836"/>
                    <a:pt x="26951" y="24963"/>
                    <a:pt x="27436" y="21310"/>
                  </a:cubicBezTo>
                  <a:cubicBezTo>
                    <a:pt x="28616" y="16800"/>
                    <a:pt x="25915" y="12187"/>
                    <a:pt x="21405" y="11007"/>
                  </a:cubicBezTo>
                  <a:cubicBezTo>
                    <a:pt x="16894" y="9828"/>
                    <a:pt x="12283" y="12528"/>
                    <a:pt x="11102" y="17038"/>
                  </a:cubicBezTo>
                  <a:cubicBezTo>
                    <a:pt x="10958" y="17593"/>
                    <a:pt x="10869" y="18162"/>
                    <a:pt x="10839" y="18735"/>
                  </a:cubicBezTo>
                  <a:cubicBezTo>
                    <a:pt x="10694" y="19587"/>
                    <a:pt x="10694" y="20457"/>
                    <a:pt x="10839" y="21310"/>
                  </a:cubicBezTo>
                  <a:cubicBezTo>
                    <a:pt x="11573" y="25880"/>
                    <a:pt x="15848" y="29006"/>
                    <a:pt x="20425" y="2832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4" name="Freeform: Shape 193">
              <a:extLst>
                <a:ext uri="{FF2B5EF4-FFF2-40B4-BE49-F238E27FC236}">
                  <a16:creationId xmlns:a16="http://schemas.microsoft.com/office/drawing/2014/main" id="{AB812841-F5E9-4246-A5DB-7A2CB2A3C3D7}"/>
                </a:ext>
              </a:extLst>
            </p:cNvPr>
            <p:cNvSpPr/>
            <p:nvPr/>
          </p:nvSpPr>
          <p:spPr>
            <a:xfrm>
              <a:off x="6177117" y="6015679"/>
              <a:ext cx="28615" cy="28615"/>
            </a:xfrm>
            <a:custGeom>
              <a:avLst/>
              <a:gdLst>
                <a:gd name="connsiteX0" fmla="*/ 18018 w 28614"/>
                <a:gd name="connsiteY0" fmla="*/ 10825 h 28614"/>
                <a:gd name="connsiteX1" fmla="*/ 11007 w 28614"/>
                <a:gd name="connsiteY1" fmla="*/ 17836 h 28614"/>
                <a:gd name="connsiteX2" fmla="*/ 17038 w 28614"/>
                <a:gd name="connsiteY2" fmla="*/ 28138 h 28614"/>
                <a:gd name="connsiteX3" fmla="*/ 27340 w 28614"/>
                <a:gd name="connsiteY3" fmla="*/ 22108 h 28614"/>
                <a:gd name="connsiteX4" fmla="*/ 27604 w 28614"/>
                <a:gd name="connsiteY4" fmla="*/ 20411 h 28614"/>
                <a:gd name="connsiteX5" fmla="*/ 27604 w 28614"/>
                <a:gd name="connsiteY5" fmla="*/ 17836 h 28614"/>
                <a:gd name="connsiteX6" fmla="*/ 18018 w 28614"/>
                <a:gd name="connsiteY6"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018" y="10825"/>
                  </a:moveTo>
                  <a:cubicBezTo>
                    <a:pt x="14409" y="11399"/>
                    <a:pt x="11581" y="14227"/>
                    <a:pt x="11007" y="17836"/>
                  </a:cubicBezTo>
                  <a:cubicBezTo>
                    <a:pt x="9828" y="22345"/>
                    <a:pt x="12528" y="26958"/>
                    <a:pt x="17038" y="28138"/>
                  </a:cubicBezTo>
                  <a:cubicBezTo>
                    <a:pt x="21549" y="29317"/>
                    <a:pt x="26162" y="26617"/>
                    <a:pt x="27340" y="22108"/>
                  </a:cubicBezTo>
                  <a:cubicBezTo>
                    <a:pt x="27486" y="21553"/>
                    <a:pt x="27574" y="20983"/>
                    <a:pt x="27604" y="20411"/>
                  </a:cubicBezTo>
                  <a:cubicBezTo>
                    <a:pt x="27748" y="19558"/>
                    <a:pt x="27748" y="18688"/>
                    <a:pt x="27604" y="17836"/>
                  </a:cubicBezTo>
                  <a:cubicBezTo>
                    <a:pt x="26871" y="13266"/>
                    <a:pt x="22595" y="10140"/>
                    <a:pt x="18018" y="108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5" name="Freeform: Shape 194">
              <a:extLst>
                <a:ext uri="{FF2B5EF4-FFF2-40B4-BE49-F238E27FC236}">
                  <a16:creationId xmlns:a16="http://schemas.microsoft.com/office/drawing/2014/main" id="{7CDE833B-0047-429A-AA1C-03E17C69F968}"/>
                </a:ext>
              </a:extLst>
            </p:cNvPr>
            <p:cNvSpPr/>
            <p:nvPr/>
          </p:nvSpPr>
          <p:spPr>
            <a:xfrm>
              <a:off x="5379322" y="5964068"/>
              <a:ext cx="28615" cy="28615"/>
            </a:xfrm>
            <a:custGeom>
              <a:avLst/>
              <a:gdLst>
                <a:gd name="connsiteX0" fmla="*/ 23464 w 28614"/>
                <a:gd name="connsiteY0" fmla="*/ 30387 h 28614"/>
                <a:gd name="connsiteX1" fmla="*/ 30385 w 28614"/>
                <a:gd name="connsiteY1" fmla="*/ 18030 h 28614"/>
                <a:gd name="connsiteX2" fmla="*/ 18026 w 28614"/>
                <a:gd name="connsiteY2" fmla="*/ 11110 h 28614"/>
                <a:gd name="connsiteX3" fmla="*/ 10731 w 28614"/>
                <a:gd name="connsiteY3" fmla="*/ 20658 h 28614"/>
                <a:gd name="connsiteX4" fmla="*/ 23407 w 28614"/>
                <a:gd name="connsiteY4" fmla="*/ 30395 h 28614"/>
                <a:gd name="connsiteX5" fmla="*/ 23464 w 28614"/>
                <a:gd name="connsiteY5" fmla="*/ 3038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464" y="30387"/>
                  </a:moveTo>
                  <a:cubicBezTo>
                    <a:pt x="28788" y="28887"/>
                    <a:pt x="31886" y="23352"/>
                    <a:pt x="30385" y="18030"/>
                  </a:cubicBezTo>
                  <a:cubicBezTo>
                    <a:pt x="28883" y="12706"/>
                    <a:pt x="23350" y="9607"/>
                    <a:pt x="18026" y="11110"/>
                  </a:cubicBezTo>
                  <a:cubicBezTo>
                    <a:pt x="13742" y="12317"/>
                    <a:pt x="10771" y="16207"/>
                    <a:pt x="10731" y="20658"/>
                  </a:cubicBezTo>
                  <a:cubicBezTo>
                    <a:pt x="11543" y="26848"/>
                    <a:pt x="17218" y="31207"/>
                    <a:pt x="23407" y="30395"/>
                  </a:cubicBezTo>
                  <a:cubicBezTo>
                    <a:pt x="23427" y="30393"/>
                    <a:pt x="23446" y="30390"/>
                    <a:pt x="23464" y="3038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6" name="Freeform: Shape 195">
              <a:extLst>
                <a:ext uri="{FF2B5EF4-FFF2-40B4-BE49-F238E27FC236}">
                  <a16:creationId xmlns:a16="http://schemas.microsoft.com/office/drawing/2014/main" id="{9298BA3B-5EA5-4269-AB0C-ED6E6A0C6A43}"/>
                </a:ext>
              </a:extLst>
            </p:cNvPr>
            <p:cNvSpPr/>
            <p:nvPr/>
          </p:nvSpPr>
          <p:spPr>
            <a:xfrm>
              <a:off x="5379752" y="5812606"/>
              <a:ext cx="42922" cy="42922"/>
            </a:xfrm>
            <a:custGeom>
              <a:avLst/>
              <a:gdLst>
                <a:gd name="connsiteX0" fmla="*/ 22319 w 42922"/>
                <a:gd name="connsiteY0" fmla="*/ 10732 h 42922"/>
                <a:gd name="connsiteX1" fmla="*/ 22319 w 42922"/>
                <a:gd name="connsiteY1" fmla="*/ 10732 h 42922"/>
                <a:gd name="connsiteX2" fmla="*/ 10732 w 42922"/>
                <a:gd name="connsiteY2" fmla="*/ 22034 h 42922"/>
                <a:gd name="connsiteX3" fmla="*/ 22034 w 42922"/>
                <a:gd name="connsiteY3" fmla="*/ 33622 h 42922"/>
                <a:gd name="connsiteX4" fmla="*/ 33622 w 42922"/>
                <a:gd name="connsiteY4" fmla="*/ 22321 h 42922"/>
                <a:gd name="connsiteX5" fmla="*/ 22321 w 42922"/>
                <a:gd name="connsiteY5" fmla="*/ 10732 h 42922"/>
                <a:gd name="connsiteX6" fmla="*/ 22319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19" y="10732"/>
                  </a:moveTo>
                  <a:lnTo>
                    <a:pt x="22319" y="10732"/>
                  </a:lnTo>
                  <a:cubicBezTo>
                    <a:pt x="15998" y="10653"/>
                    <a:pt x="10810" y="15713"/>
                    <a:pt x="10732" y="22034"/>
                  </a:cubicBezTo>
                  <a:cubicBezTo>
                    <a:pt x="10653" y="28355"/>
                    <a:pt x="15713" y="33543"/>
                    <a:pt x="22034" y="33622"/>
                  </a:cubicBezTo>
                  <a:cubicBezTo>
                    <a:pt x="28355" y="33701"/>
                    <a:pt x="33542" y="28640"/>
                    <a:pt x="33622" y="22321"/>
                  </a:cubicBezTo>
                  <a:cubicBezTo>
                    <a:pt x="33702" y="16000"/>
                    <a:pt x="28642" y="10812"/>
                    <a:pt x="22321" y="10732"/>
                  </a:cubicBezTo>
                  <a:cubicBezTo>
                    <a:pt x="22321" y="10732"/>
                    <a:pt x="22319" y="10732"/>
                    <a:pt x="22319"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7" name="Freeform: Shape 196">
              <a:extLst>
                <a:ext uri="{FF2B5EF4-FFF2-40B4-BE49-F238E27FC236}">
                  <a16:creationId xmlns:a16="http://schemas.microsoft.com/office/drawing/2014/main" id="{22C4B6F4-E719-4344-A191-70B53F5316BE}"/>
                </a:ext>
              </a:extLst>
            </p:cNvPr>
            <p:cNvSpPr/>
            <p:nvPr/>
          </p:nvSpPr>
          <p:spPr>
            <a:xfrm>
              <a:off x="5143712" y="5864694"/>
              <a:ext cx="28615" cy="28615"/>
            </a:xfrm>
            <a:custGeom>
              <a:avLst/>
              <a:gdLst>
                <a:gd name="connsiteX0" fmla="*/ 20425 w 28614"/>
                <a:gd name="connsiteY0" fmla="*/ 28321 h 28614"/>
                <a:gd name="connsiteX1" fmla="*/ 27436 w 28614"/>
                <a:gd name="connsiteY1" fmla="*/ 21310 h 28614"/>
                <a:gd name="connsiteX2" fmla="*/ 21405 w 28614"/>
                <a:gd name="connsiteY2" fmla="*/ 11007 h 28614"/>
                <a:gd name="connsiteX3" fmla="*/ 11102 w 28614"/>
                <a:gd name="connsiteY3" fmla="*/ 17038 h 28614"/>
                <a:gd name="connsiteX4" fmla="*/ 10839 w 28614"/>
                <a:gd name="connsiteY4" fmla="*/ 18735 h 28614"/>
                <a:gd name="connsiteX5" fmla="*/ 10839 w 28614"/>
                <a:gd name="connsiteY5" fmla="*/ 21310 h 28614"/>
                <a:gd name="connsiteX6" fmla="*/ 20425 w 28614"/>
                <a:gd name="connsiteY6" fmla="*/ 283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425" y="28321"/>
                  </a:moveTo>
                  <a:cubicBezTo>
                    <a:pt x="24078" y="27836"/>
                    <a:pt x="26951" y="24963"/>
                    <a:pt x="27436" y="21310"/>
                  </a:cubicBezTo>
                  <a:cubicBezTo>
                    <a:pt x="28616" y="16800"/>
                    <a:pt x="25915" y="12187"/>
                    <a:pt x="21405" y="11007"/>
                  </a:cubicBezTo>
                  <a:cubicBezTo>
                    <a:pt x="16894" y="9828"/>
                    <a:pt x="12283" y="12528"/>
                    <a:pt x="11102" y="17038"/>
                  </a:cubicBezTo>
                  <a:cubicBezTo>
                    <a:pt x="10958" y="17593"/>
                    <a:pt x="10869" y="18162"/>
                    <a:pt x="10839" y="18735"/>
                  </a:cubicBezTo>
                  <a:cubicBezTo>
                    <a:pt x="10694" y="19587"/>
                    <a:pt x="10694" y="20457"/>
                    <a:pt x="10839" y="21310"/>
                  </a:cubicBezTo>
                  <a:cubicBezTo>
                    <a:pt x="11573" y="25880"/>
                    <a:pt x="15848" y="29006"/>
                    <a:pt x="20425" y="2832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8" name="Freeform: Shape 197">
              <a:extLst>
                <a:ext uri="{FF2B5EF4-FFF2-40B4-BE49-F238E27FC236}">
                  <a16:creationId xmlns:a16="http://schemas.microsoft.com/office/drawing/2014/main" id="{D4154A6B-8A24-409D-8685-D78A5257B054}"/>
                </a:ext>
              </a:extLst>
            </p:cNvPr>
            <p:cNvSpPr/>
            <p:nvPr/>
          </p:nvSpPr>
          <p:spPr>
            <a:xfrm>
              <a:off x="6095681" y="5814037"/>
              <a:ext cx="28615" cy="28615"/>
            </a:xfrm>
            <a:custGeom>
              <a:avLst/>
              <a:gdLst>
                <a:gd name="connsiteX0" fmla="*/ 20620 w 28614"/>
                <a:gd name="connsiteY0" fmla="*/ 30905 h 28614"/>
                <a:gd name="connsiteX1" fmla="*/ 29776 w 28614"/>
                <a:gd name="connsiteY1" fmla="*/ 21605 h 28614"/>
                <a:gd name="connsiteX2" fmla="*/ 29776 w 28614"/>
                <a:gd name="connsiteY2" fmla="*/ 21605 h 28614"/>
                <a:gd name="connsiteX3" fmla="*/ 29776 w 28614"/>
                <a:gd name="connsiteY3" fmla="*/ 19888 h 28614"/>
                <a:gd name="connsiteX4" fmla="*/ 20620 w 28614"/>
                <a:gd name="connsiteY4" fmla="*/ 10732 h 28614"/>
                <a:gd name="connsiteX5" fmla="*/ 10749 w 28614"/>
                <a:gd name="connsiteY5" fmla="*/ 20316 h 28614"/>
                <a:gd name="connsiteX6" fmla="*/ 10748 w 28614"/>
                <a:gd name="connsiteY6" fmla="*/ 20461 h 28614"/>
                <a:gd name="connsiteX7" fmla="*/ 20030 w 28614"/>
                <a:gd name="connsiteY7" fmla="*/ 30888 h 28614"/>
                <a:gd name="connsiteX8" fmla="*/ 20620 w 28614"/>
                <a:gd name="connsiteY8" fmla="*/ 3090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620" y="30905"/>
                  </a:moveTo>
                  <a:cubicBezTo>
                    <a:pt x="25700" y="30827"/>
                    <a:pt x="29776" y="26686"/>
                    <a:pt x="29776" y="21605"/>
                  </a:cubicBezTo>
                  <a:lnTo>
                    <a:pt x="29776" y="21605"/>
                  </a:lnTo>
                  <a:lnTo>
                    <a:pt x="29776" y="19888"/>
                  </a:lnTo>
                  <a:cubicBezTo>
                    <a:pt x="29776" y="14831"/>
                    <a:pt x="25677" y="10732"/>
                    <a:pt x="20620" y="10732"/>
                  </a:cubicBezTo>
                  <a:cubicBezTo>
                    <a:pt x="15247" y="10653"/>
                    <a:pt x="10828" y="14944"/>
                    <a:pt x="10749" y="20316"/>
                  </a:cubicBezTo>
                  <a:cubicBezTo>
                    <a:pt x="10748" y="20365"/>
                    <a:pt x="10748" y="20412"/>
                    <a:pt x="10748" y="20461"/>
                  </a:cubicBezTo>
                  <a:cubicBezTo>
                    <a:pt x="10431" y="25903"/>
                    <a:pt x="14588" y="30572"/>
                    <a:pt x="20030" y="30888"/>
                  </a:cubicBezTo>
                  <a:cubicBezTo>
                    <a:pt x="20226" y="30899"/>
                    <a:pt x="20424" y="30905"/>
                    <a:pt x="20620" y="3090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9" name="Freeform: Shape 198">
              <a:extLst>
                <a:ext uri="{FF2B5EF4-FFF2-40B4-BE49-F238E27FC236}">
                  <a16:creationId xmlns:a16="http://schemas.microsoft.com/office/drawing/2014/main" id="{FF1024CB-263A-496B-86AB-718314AFC104}"/>
                </a:ext>
              </a:extLst>
            </p:cNvPr>
            <p:cNvSpPr/>
            <p:nvPr/>
          </p:nvSpPr>
          <p:spPr>
            <a:xfrm>
              <a:off x="6177102" y="6066420"/>
              <a:ext cx="28615" cy="28615"/>
            </a:xfrm>
            <a:custGeom>
              <a:avLst/>
              <a:gdLst>
                <a:gd name="connsiteX0" fmla="*/ 19463 w 28614"/>
                <a:gd name="connsiteY0" fmla="*/ 10732 h 28614"/>
                <a:gd name="connsiteX1" fmla="*/ 10736 w 28614"/>
                <a:gd name="connsiteY1" fmla="*/ 19030 h 28614"/>
                <a:gd name="connsiteX2" fmla="*/ 18744 w 28614"/>
                <a:gd name="connsiteY2" fmla="*/ 27610 h 28614"/>
                <a:gd name="connsiteX3" fmla="*/ 19034 w 28614"/>
                <a:gd name="connsiteY3" fmla="*/ 27615 h 28614"/>
                <a:gd name="connsiteX4" fmla="*/ 19034 w 28614"/>
                <a:gd name="connsiteY4" fmla="*/ 27615 h 28614"/>
                <a:gd name="connsiteX5" fmla="*/ 27189 w 28614"/>
                <a:gd name="connsiteY5" fmla="*/ 19748 h 28614"/>
                <a:gd name="connsiteX6" fmla="*/ 27189 w 28614"/>
                <a:gd name="connsiteY6" fmla="*/ 19459 h 28614"/>
                <a:gd name="connsiteX7" fmla="*/ 19463 w 28614"/>
                <a:gd name="connsiteY7"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63" y="10732"/>
                  </a:moveTo>
                  <a:cubicBezTo>
                    <a:pt x="14776" y="10652"/>
                    <a:pt x="10892" y="14345"/>
                    <a:pt x="10736" y="19030"/>
                  </a:cubicBezTo>
                  <a:cubicBezTo>
                    <a:pt x="10578" y="23610"/>
                    <a:pt x="14162" y="27452"/>
                    <a:pt x="18744" y="27610"/>
                  </a:cubicBezTo>
                  <a:cubicBezTo>
                    <a:pt x="18839" y="27613"/>
                    <a:pt x="18937" y="27615"/>
                    <a:pt x="19034" y="27615"/>
                  </a:cubicBezTo>
                  <a:lnTo>
                    <a:pt x="19034" y="27615"/>
                  </a:lnTo>
                  <a:cubicBezTo>
                    <a:pt x="23458" y="27695"/>
                    <a:pt x="27109" y="24172"/>
                    <a:pt x="27189" y="19748"/>
                  </a:cubicBezTo>
                  <a:cubicBezTo>
                    <a:pt x="27191" y="19653"/>
                    <a:pt x="27191" y="19555"/>
                    <a:pt x="27189" y="19459"/>
                  </a:cubicBezTo>
                  <a:cubicBezTo>
                    <a:pt x="27358" y="14954"/>
                    <a:pt x="23956" y="11111"/>
                    <a:pt x="19463"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0" name="Freeform: Shape 199">
              <a:extLst>
                <a:ext uri="{FF2B5EF4-FFF2-40B4-BE49-F238E27FC236}">
                  <a16:creationId xmlns:a16="http://schemas.microsoft.com/office/drawing/2014/main" id="{6DE1D1F2-36C6-4B22-A8C6-67E73CFD999B}"/>
                </a:ext>
              </a:extLst>
            </p:cNvPr>
            <p:cNvSpPr/>
            <p:nvPr/>
          </p:nvSpPr>
          <p:spPr>
            <a:xfrm>
              <a:off x="5144285" y="6062751"/>
              <a:ext cx="28615" cy="28615"/>
            </a:xfrm>
            <a:custGeom>
              <a:avLst/>
              <a:gdLst>
                <a:gd name="connsiteX0" fmla="*/ 10839 w 28614"/>
                <a:gd name="connsiteY0" fmla="*/ 17836 h 28614"/>
                <a:gd name="connsiteX1" fmla="*/ 10839 w 28614"/>
                <a:gd name="connsiteY1" fmla="*/ 20411 h 28614"/>
                <a:gd name="connsiteX2" fmla="*/ 20425 w 28614"/>
                <a:gd name="connsiteY2" fmla="*/ 27422 h 28614"/>
                <a:gd name="connsiteX3" fmla="*/ 27579 w 28614"/>
                <a:gd name="connsiteY3" fmla="*/ 20411 h 28614"/>
                <a:gd name="connsiteX4" fmla="*/ 20425 w 28614"/>
                <a:gd name="connsiteY4" fmla="*/ 10825 h 28614"/>
                <a:gd name="connsiteX5" fmla="*/ 10839 w 28614"/>
                <a:gd name="connsiteY5" fmla="*/ 178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0839" y="17836"/>
                  </a:moveTo>
                  <a:cubicBezTo>
                    <a:pt x="10694" y="18688"/>
                    <a:pt x="10694" y="19558"/>
                    <a:pt x="10839" y="20411"/>
                  </a:cubicBezTo>
                  <a:cubicBezTo>
                    <a:pt x="11573" y="24981"/>
                    <a:pt x="15848" y="28107"/>
                    <a:pt x="20425" y="27422"/>
                  </a:cubicBezTo>
                  <a:cubicBezTo>
                    <a:pt x="24088" y="26905"/>
                    <a:pt x="26988" y="24064"/>
                    <a:pt x="27579" y="20411"/>
                  </a:cubicBezTo>
                  <a:cubicBezTo>
                    <a:pt x="28180" y="15807"/>
                    <a:pt x="25009" y="11560"/>
                    <a:pt x="20425" y="10825"/>
                  </a:cubicBezTo>
                  <a:cubicBezTo>
                    <a:pt x="15848" y="10139"/>
                    <a:pt x="11573" y="13266"/>
                    <a:pt x="10839" y="1783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1" name="Freeform: Shape 200">
              <a:extLst>
                <a:ext uri="{FF2B5EF4-FFF2-40B4-BE49-F238E27FC236}">
                  <a16:creationId xmlns:a16="http://schemas.microsoft.com/office/drawing/2014/main" id="{FD7DD4A7-E780-4064-9795-8F3050A7BFE7}"/>
                </a:ext>
              </a:extLst>
            </p:cNvPr>
            <p:cNvSpPr/>
            <p:nvPr/>
          </p:nvSpPr>
          <p:spPr>
            <a:xfrm>
              <a:off x="5222226" y="6015200"/>
              <a:ext cx="28615" cy="28615"/>
            </a:xfrm>
            <a:custGeom>
              <a:avLst/>
              <a:gdLst>
                <a:gd name="connsiteX0" fmla="*/ 20030 w 28614"/>
                <a:gd name="connsiteY0" fmla="*/ 29332 h 28614"/>
                <a:gd name="connsiteX1" fmla="*/ 29473 w 28614"/>
                <a:gd name="connsiteY1" fmla="*/ 19889 h 28614"/>
                <a:gd name="connsiteX2" fmla="*/ 20030 w 28614"/>
                <a:gd name="connsiteY2" fmla="*/ 10732 h 28614"/>
                <a:gd name="connsiteX3" fmla="*/ 10732 w 28614"/>
                <a:gd name="connsiteY3" fmla="*/ 19744 h 28614"/>
                <a:gd name="connsiteX4" fmla="*/ 10731 w 28614"/>
                <a:gd name="connsiteY4" fmla="*/ 19889 h 28614"/>
                <a:gd name="connsiteX5" fmla="*/ 20030 w 28614"/>
                <a:gd name="connsiteY5" fmla="*/ 293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0" y="29332"/>
                  </a:moveTo>
                  <a:cubicBezTo>
                    <a:pt x="25183" y="29183"/>
                    <a:pt x="29325" y="25041"/>
                    <a:pt x="29473" y="19889"/>
                  </a:cubicBezTo>
                  <a:cubicBezTo>
                    <a:pt x="29319" y="14785"/>
                    <a:pt x="25135" y="10729"/>
                    <a:pt x="20030" y="10732"/>
                  </a:cubicBezTo>
                  <a:cubicBezTo>
                    <a:pt x="14974" y="10653"/>
                    <a:pt x="10811" y="14688"/>
                    <a:pt x="10732" y="19744"/>
                  </a:cubicBezTo>
                  <a:cubicBezTo>
                    <a:pt x="10731" y="19793"/>
                    <a:pt x="10731" y="19840"/>
                    <a:pt x="10731" y="19889"/>
                  </a:cubicBezTo>
                  <a:cubicBezTo>
                    <a:pt x="10731" y="25048"/>
                    <a:pt x="14871" y="29253"/>
                    <a:pt x="20030" y="293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2" name="Freeform: Shape 201">
              <a:extLst>
                <a:ext uri="{FF2B5EF4-FFF2-40B4-BE49-F238E27FC236}">
                  <a16:creationId xmlns:a16="http://schemas.microsoft.com/office/drawing/2014/main" id="{1C87D82F-13E5-42F7-8916-63D3F52FC6B7}"/>
                </a:ext>
              </a:extLst>
            </p:cNvPr>
            <p:cNvSpPr/>
            <p:nvPr/>
          </p:nvSpPr>
          <p:spPr>
            <a:xfrm>
              <a:off x="5143535" y="6016059"/>
              <a:ext cx="28615" cy="28615"/>
            </a:xfrm>
            <a:custGeom>
              <a:avLst/>
              <a:gdLst>
                <a:gd name="connsiteX0" fmla="*/ 19172 w 28614"/>
                <a:gd name="connsiteY0" fmla="*/ 27613 h 28614"/>
                <a:gd name="connsiteX1" fmla="*/ 27613 w 28614"/>
                <a:gd name="connsiteY1" fmla="*/ 19172 h 28614"/>
                <a:gd name="connsiteX2" fmla="*/ 19172 w 28614"/>
                <a:gd name="connsiteY2" fmla="*/ 10731 h 28614"/>
                <a:gd name="connsiteX3" fmla="*/ 19172 w 28614"/>
                <a:gd name="connsiteY3" fmla="*/ 10731 h 28614"/>
                <a:gd name="connsiteX4" fmla="*/ 10731 w 28614"/>
                <a:gd name="connsiteY4" fmla="*/ 19172 h 28614"/>
                <a:gd name="connsiteX5" fmla="*/ 19172 w 28614"/>
                <a:gd name="connsiteY5" fmla="*/ 2761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172" y="27613"/>
                  </a:moveTo>
                  <a:cubicBezTo>
                    <a:pt x="23833" y="27613"/>
                    <a:pt x="27613" y="23833"/>
                    <a:pt x="27613" y="19172"/>
                  </a:cubicBezTo>
                  <a:cubicBezTo>
                    <a:pt x="27613" y="14511"/>
                    <a:pt x="23833" y="10731"/>
                    <a:pt x="19172" y="10731"/>
                  </a:cubicBezTo>
                  <a:lnTo>
                    <a:pt x="19172" y="10731"/>
                  </a:lnTo>
                  <a:cubicBezTo>
                    <a:pt x="14511" y="10731"/>
                    <a:pt x="10731" y="14511"/>
                    <a:pt x="10731" y="19172"/>
                  </a:cubicBezTo>
                  <a:cubicBezTo>
                    <a:pt x="10731" y="23833"/>
                    <a:pt x="14511" y="27613"/>
                    <a:pt x="19172" y="2761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3" name="Freeform: Shape 202">
              <a:extLst>
                <a:ext uri="{FF2B5EF4-FFF2-40B4-BE49-F238E27FC236}">
                  <a16:creationId xmlns:a16="http://schemas.microsoft.com/office/drawing/2014/main" id="{7C46C794-DE17-4C3A-AAE1-953310F17E13}"/>
                </a:ext>
              </a:extLst>
            </p:cNvPr>
            <p:cNvSpPr/>
            <p:nvPr/>
          </p:nvSpPr>
          <p:spPr>
            <a:xfrm>
              <a:off x="6258698" y="5817614"/>
              <a:ext cx="28615" cy="28615"/>
            </a:xfrm>
            <a:custGeom>
              <a:avLst/>
              <a:gdLst>
                <a:gd name="connsiteX0" fmla="*/ 16129 w 28614"/>
                <a:gd name="connsiteY0" fmla="*/ 25325 h 28614"/>
                <a:gd name="connsiteX1" fmla="*/ 25326 w 28614"/>
                <a:gd name="connsiteY1" fmla="*/ 20214 h 28614"/>
                <a:gd name="connsiteX2" fmla="*/ 20217 w 28614"/>
                <a:gd name="connsiteY2" fmla="*/ 11017 h 28614"/>
                <a:gd name="connsiteX3" fmla="*/ 16129 w 28614"/>
                <a:gd name="connsiteY3" fmla="*/ 11017 h 28614"/>
                <a:gd name="connsiteX4" fmla="*/ 11019 w 28614"/>
                <a:gd name="connsiteY4" fmla="*/ 20214 h 28614"/>
                <a:gd name="connsiteX5" fmla="*/ 16129 w 28614"/>
                <a:gd name="connsiteY5"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6129" y="25325"/>
                  </a:moveTo>
                  <a:cubicBezTo>
                    <a:pt x="20080" y="26453"/>
                    <a:pt x="24197" y="24166"/>
                    <a:pt x="25326" y="20214"/>
                  </a:cubicBezTo>
                  <a:cubicBezTo>
                    <a:pt x="26455" y="16264"/>
                    <a:pt x="24167" y="12146"/>
                    <a:pt x="20217" y="11017"/>
                  </a:cubicBezTo>
                  <a:cubicBezTo>
                    <a:pt x="18881" y="10635"/>
                    <a:pt x="17466" y="10635"/>
                    <a:pt x="16129" y="11017"/>
                  </a:cubicBezTo>
                  <a:cubicBezTo>
                    <a:pt x="12179" y="12146"/>
                    <a:pt x="9890" y="16264"/>
                    <a:pt x="11019" y="20214"/>
                  </a:cubicBezTo>
                  <a:cubicBezTo>
                    <a:pt x="11725" y="22686"/>
                    <a:pt x="13657" y="24619"/>
                    <a:pt x="16129" y="253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4" name="Freeform: Shape 203">
              <a:extLst>
                <a:ext uri="{FF2B5EF4-FFF2-40B4-BE49-F238E27FC236}">
                  <a16:creationId xmlns:a16="http://schemas.microsoft.com/office/drawing/2014/main" id="{4C4B5A4E-B20F-4F05-9529-058959BFFF66}"/>
                </a:ext>
              </a:extLst>
            </p:cNvPr>
            <p:cNvSpPr/>
            <p:nvPr/>
          </p:nvSpPr>
          <p:spPr>
            <a:xfrm>
              <a:off x="5066131" y="5916193"/>
              <a:ext cx="28615" cy="28615"/>
            </a:xfrm>
            <a:custGeom>
              <a:avLst/>
              <a:gdLst>
                <a:gd name="connsiteX0" fmla="*/ 25610 w 28614"/>
                <a:gd name="connsiteY0" fmla="*/ 18171 h 28614"/>
                <a:gd name="connsiteX1" fmla="*/ 18171 w 28614"/>
                <a:gd name="connsiteY1" fmla="*/ 25610 h 28614"/>
                <a:gd name="connsiteX2" fmla="*/ 10731 w 28614"/>
                <a:gd name="connsiteY2" fmla="*/ 18171 h 28614"/>
                <a:gd name="connsiteX3" fmla="*/ 18171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1" y="25610"/>
                  </a:cubicBezTo>
                  <a:cubicBezTo>
                    <a:pt x="14062" y="25610"/>
                    <a:pt x="10731" y="22279"/>
                    <a:pt x="10731" y="18171"/>
                  </a:cubicBezTo>
                  <a:cubicBezTo>
                    <a:pt x="10731" y="14062"/>
                    <a:pt x="14062" y="10731"/>
                    <a:pt x="18171"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5" name="Freeform: Shape 204">
              <a:extLst>
                <a:ext uri="{FF2B5EF4-FFF2-40B4-BE49-F238E27FC236}">
                  <a16:creationId xmlns:a16="http://schemas.microsoft.com/office/drawing/2014/main" id="{D5EBC67F-7338-42BD-9F1D-68E36E7CD28C}"/>
                </a:ext>
              </a:extLst>
            </p:cNvPr>
            <p:cNvSpPr/>
            <p:nvPr/>
          </p:nvSpPr>
          <p:spPr>
            <a:xfrm>
              <a:off x="5066168" y="5966412"/>
              <a:ext cx="28615" cy="28615"/>
            </a:xfrm>
            <a:custGeom>
              <a:avLst/>
              <a:gdLst>
                <a:gd name="connsiteX0" fmla="*/ 17275 w 28614"/>
                <a:gd name="connsiteY0" fmla="*/ 25754 h 28614"/>
                <a:gd name="connsiteX1" fmla="*/ 23748 w 28614"/>
                <a:gd name="connsiteY1" fmla="*/ 17203 h 28614"/>
                <a:gd name="connsiteX2" fmla="*/ 17275 w 28614"/>
                <a:gd name="connsiteY2" fmla="*/ 10731 h 28614"/>
                <a:gd name="connsiteX3" fmla="*/ 10803 w 28614"/>
                <a:gd name="connsiteY3" fmla="*/ 19281 h 28614"/>
                <a:gd name="connsiteX4" fmla="*/ 17275 w 28614"/>
                <a:gd name="connsiteY4" fmla="*/ 25754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7275" y="25754"/>
                  </a:moveTo>
                  <a:cubicBezTo>
                    <a:pt x="21424" y="25180"/>
                    <a:pt x="24321" y="21351"/>
                    <a:pt x="23748" y="17203"/>
                  </a:cubicBezTo>
                  <a:cubicBezTo>
                    <a:pt x="23282" y="13840"/>
                    <a:pt x="20638" y="11196"/>
                    <a:pt x="17275" y="10731"/>
                  </a:cubicBezTo>
                  <a:cubicBezTo>
                    <a:pt x="13127" y="11304"/>
                    <a:pt x="10229" y="15133"/>
                    <a:pt x="10803" y="19281"/>
                  </a:cubicBezTo>
                  <a:cubicBezTo>
                    <a:pt x="11268" y="22644"/>
                    <a:pt x="13912" y="25288"/>
                    <a:pt x="17275" y="2575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6" name="Freeform: Shape 205">
              <a:extLst>
                <a:ext uri="{FF2B5EF4-FFF2-40B4-BE49-F238E27FC236}">
                  <a16:creationId xmlns:a16="http://schemas.microsoft.com/office/drawing/2014/main" id="{0E069455-B084-4ACD-9924-CDF78D8C7CB6}"/>
                </a:ext>
              </a:extLst>
            </p:cNvPr>
            <p:cNvSpPr/>
            <p:nvPr/>
          </p:nvSpPr>
          <p:spPr>
            <a:xfrm>
              <a:off x="6176443" y="5817663"/>
              <a:ext cx="28615" cy="28615"/>
            </a:xfrm>
            <a:custGeom>
              <a:avLst/>
              <a:gdLst>
                <a:gd name="connsiteX0" fmla="*/ 17976 w 28614"/>
                <a:gd name="connsiteY0" fmla="*/ 27421 h 28614"/>
                <a:gd name="connsiteX1" fmla="*/ 27562 w 28614"/>
                <a:gd name="connsiteY1" fmla="*/ 20411 h 28614"/>
                <a:gd name="connsiteX2" fmla="*/ 27562 w 28614"/>
                <a:gd name="connsiteY2" fmla="*/ 17836 h 28614"/>
                <a:gd name="connsiteX3" fmla="*/ 17976 w 28614"/>
                <a:gd name="connsiteY3" fmla="*/ 10825 h 28614"/>
                <a:gd name="connsiteX4" fmla="*/ 10822 w 28614"/>
                <a:gd name="connsiteY4" fmla="*/ 17836 h 28614"/>
                <a:gd name="connsiteX5" fmla="*/ 17943 w 28614"/>
                <a:gd name="connsiteY5" fmla="*/ 27417 h 28614"/>
                <a:gd name="connsiteX6" fmla="*/ 17976 w 28614"/>
                <a:gd name="connsiteY6" fmla="*/ 274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7976" y="27421"/>
                  </a:moveTo>
                  <a:cubicBezTo>
                    <a:pt x="22553" y="28107"/>
                    <a:pt x="26828" y="24981"/>
                    <a:pt x="27562" y="20411"/>
                  </a:cubicBezTo>
                  <a:cubicBezTo>
                    <a:pt x="27706" y="19558"/>
                    <a:pt x="27706" y="18688"/>
                    <a:pt x="27562" y="17836"/>
                  </a:cubicBezTo>
                  <a:cubicBezTo>
                    <a:pt x="26828" y="13266"/>
                    <a:pt x="22553" y="10140"/>
                    <a:pt x="17976" y="10825"/>
                  </a:cubicBezTo>
                  <a:cubicBezTo>
                    <a:pt x="14313" y="11341"/>
                    <a:pt x="11413" y="14183"/>
                    <a:pt x="10822" y="17836"/>
                  </a:cubicBezTo>
                  <a:cubicBezTo>
                    <a:pt x="10142" y="22448"/>
                    <a:pt x="13331" y="26738"/>
                    <a:pt x="17943" y="27417"/>
                  </a:cubicBezTo>
                  <a:cubicBezTo>
                    <a:pt x="17954" y="27419"/>
                    <a:pt x="17964" y="27420"/>
                    <a:pt x="17976" y="2742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7" name="Freeform: Shape 206">
              <a:extLst>
                <a:ext uri="{FF2B5EF4-FFF2-40B4-BE49-F238E27FC236}">
                  <a16:creationId xmlns:a16="http://schemas.microsoft.com/office/drawing/2014/main" id="{0E565889-6B16-48C2-B687-3CE3F9FA0165}"/>
                </a:ext>
              </a:extLst>
            </p:cNvPr>
            <p:cNvSpPr/>
            <p:nvPr/>
          </p:nvSpPr>
          <p:spPr>
            <a:xfrm>
              <a:off x="5222226" y="5865831"/>
              <a:ext cx="28615" cy="28615"/>
            </a:xfrm>
            <a:custGeom>
              <a:avLst/>
              <a:gdLst>
                <a:gd name="connsiteX0" fmla="*/ 20030 w 28614"/>
                <a:gd name="connsiteY0" fmla="*/ 29330 h 28614"/>
                <a:gd name="connsiteX1" fmla="*/ 29473 w 28614"/>
                <a:gd name="connsiteY1" fmla="*/ 20174 h 28614"/>
                <a:gd name="connsiteX2" fmla="*/ 20030 w 28614"/>
                <a:gd name="connsiteY2" fmla="*/ 10731 h 28614"/>
                <a:gd name="connsiteX3" fmla="*/ 10731 w 28614"/>
                <a:gd name="connsiteY3" fmla="*/ 20174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35" y="29333"/>
                    <a:pt x="29319" y="25277"/>
                    <a:pt x="29473" y="20174"/>
                  </a:cubicBezTo>
                  <a:cubicBezTo>
                    <a:pt x="29325" y="15021"/>
                    <a:pt x="25183" y="10879"/>
                    <a:pt x="20030" y="10731"/>
                  </a:cubicBezTo>
                  <a:cubicBezTo>
                    <a:pt x="14871" y="10809"/>
                    <a:pt x="10731" y="15014"/>
                    <a:pt x="10731" y="20174"/>
                  </a:cubicBezTo>
                  <a:cubicBezTo>
                    <a:pt x="10809" y="25254"/>
                    <a:pt x="14950" y="29330"/>
                    <a:pt x="20030" y="2933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8" name="Freeform: Shape 207">
              <a:extLst>
                <a:ext uri="{FF2B5EF4-FFF2-40B4-BE49-F238E27FC236}">
                  <a16:creationId xmlns:a16="http://schemas.microsoft.com/office/drawing/2014/main" id="{7948D4F5-02E3-4696-B10B-AC4252569D07}"/>
                </a:ext>
              </a:extLst>
            </p:cNvPr>
            <p:cNvSpPr/>
            <p:nvPr/>
          </p:nvSpPr>
          <p:spPr>
            <a:xfrm>
              <a:off x="5067643" y="5868406"/>
              <a:ext cx="28615" cy="28615"/>
            </a:xfrm>
            <a:custGeom>
              <a:avLst/>
              <a:gdLst>
                <a:gd name="connsiteX0" fmla="*/ 15801 w 28614"/>
                <a:gd name="connsiteY0" fmla="*/ 25038 h 28614"/>
                <a:gd name="connsiteX1" fmla="*/ 20439 w 28614"/>
                <a:gd name="connsiteY1" fmla="*/ 15369 h 28614"/>
                <a:gd name="connsiteX2" fmla="*/ 15801 w 28614"/>
                <a:gd name="connsiteY2" fmla="*/ 10731 h 28614"/>
                <a:gd name="connsiteX3" fmla="*/ 11162 w 28614"/>
                <a:gd name="connsiteY3" fmla="*/ 20400 h 28614"/>
                <a:gd name="connsiteX4" fmla="*/ 15801 w 28614"/>
                <a:gd name="connsiteY4" fmla="*/ 25038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5801" y="25038"/>
                  </a:moveTo>
                  <a:cubicBezTo>
                    <a:pt x="19752" y="23649"/>
                    <a:pt x="21828" y="19321"/>
                    <a:pt x="20439" y="15369"/>
                  </a:cubicBezTo>
                  <a:cubicBezTo>
                    <a:pt x="19677" y="13200"/>
                    <a:pt x="17970" y="11493"/>
                    <a:pt x="15801" y="10731"/>
                  </a:cubicBezTo>
                  <a:cubicBezTo>
                    <a:pt x="11850" y="12120"/>
                    <a:pt x="9773" y="16448"/>
                    <a:pt x="11162" y="20400"/>
                  </a:cubicBezTo>
                  <a:cubicBezTo>
                    <a:pt x="11925" y="22569"/>
                    <a:pt x="13631" y="24276"/>
                    <a:pt x="15801" y="25038"/>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9" name="Freeform: Shape 208">
              <a:extLst>
                <a:ext uri="{FF2B5EF4-FFF2-40B4-BE49-F238E27FC236}">
                  <a16:creationId xmlns:a16="http://schemas.microsoft.com/office/drawing/2014/main" id="{5D2AC2F3-6306-4E29-B4DD-51252B96A632}"/>
                </a:ext>
              </a:extLst>
            </p:cNvPr>
            <p:cNvSpPr/>
            <p:nvPr/>
          </p:nvSpPr>
          <p:spPr>
            <a:xfrm>
              <a:off x="5222224" y="5964552"/>
              <a:ext cx="28615" cy="28615"/>
            </a:xfrm>
            <a:custGeom>
              <a:avLst/>
              <a:gdLst>
                <a:gd name="connsiteX0" fmla="*/ 20032 w 28614"/>
                <a:gd name="connsiteY0" fmla="*/ 29330 h 28614"/>
                <a:gd name="connsiteX1" fmla="*/ 29330 w 28614"/>
                <a:gd name="connsiteY1" fmla="*/ 20029 h 28614"/>
                <a:gd name="connsiteX2" fmla="*/ 20029 w 28614"/>
                <a:gd name="connsiteY2" fmla="*/ 10731 h 28614"/>
                <a:gd name="connsiteX3" fmla="*/ 10731 w 28614"/>
                <a:gd name="connsiteY3" fmla="*/ 20032 h 28614"/>
                <a:gd name="connsiteX4" fmla="*/ 10732 w 28614"/>
                <a:gd name="connsiteY4" fmla="*/ 20174 h 28614"/>
                <a:gd name="connsiteX5" fmla="*/ 20032 w 28614"/>
                <a:gd name="connsiteY5" fmla="*/ 293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2" y="29330"/>
                  </a:moveTo>
                  <a:cubicBezTo>
                    <a:pt x="25168" y="29330"/>
                    <a:pt x="29332" y="25165"/>
                    <a:pt x="29330" y="20029"/>
                  </a:cubicBezTo>
                  <a:cubicBezTo>
                    <a:pt x="29330" y="14893"/>
                    <a:pt x="25165" y="10731"/>
                    <a:pt x="20029" y="10731"/>
                  </a:cubicBezTo>
                  <a:cubicBezTo>
                    <a:pt x="14894" y="10731"/>
                    <a:pt x="10731" y="14896"/>
                    <a:pt x="10731" y="20032"/>
                  </a:cubicBezTo>
                  <a:cubicBezTo>
                    <a:pt x="10731" y="20079"/>
                    <a:pt x="10731" y="20126"/>
                    <a:pt x="10732" y="20174"/>
                  </a:cubicBezTo>
                  <a:cubicBezTo>
                    <a:pt x="10811" y="25254"/>
                    <a:pt x="14951" y="29330"/>
                    <a:pt x="20032" y="2933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0" name="Freeform: Shape 209">
              <a:extLst>
                <a:ext uri="{FF2B5EF4-FFF2-40B4-BE49-F238E27FC236}">
                  <a16:creationId xmlns:a16="http://schemas.microsoft.com/office/drawing/2014/main" id="{6791E9B7-BE6B-41BE-981C-D573E1D09F6C}"/>
                </a:ext>
              </a:extLst>
            </p:cNvPr>
            <p:cNvSpPr/>
            <p:nvPr/>
          </p:nvSpPr>
          <p:spPr>
            <a:xfrm>
              <a:off x="6257658" y="6066422"/>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1" name="Freeform: Shape 210">
              <a:extLst>
                <a:ext uri="{FF2B5EF4-FFF2-40B4-BE49-F238E27FC236}">
                  <a16:creationId xmlns:a16="http://schemas.microsoft.com/office/drawing/2014/main" id="{9B949454-E349-4E7D-A3B0-2A5F3E87FF59}"/>
                </a:ext>
              </a:extLst>
            </p:cNvPr>
            <p:cNvSpPr/>
            <p:nvPr/>
          </p:nvSpPr>
          <p:spPr>
            <a:xfrm>
              <a:off x="5065988" y="6064989"/>
              <a:ext cx="28615" cy="28615"/>
            </a:xfrm>
            <a:custGeom>
              <a:avLst/>
              <a:gdLst>
                <a:gd name="connsiteX0" fmla="*/ 18027 w 28614"/>
                <a:gd name="connsiteY0" fmla="*/ 10732 h 28614"/>
                <a:gd name="connsiteX1" fmla="*/ 10732 w 28614"/>
                <a:gd name="connsiteY1" fmla="*/ 18314 h 28614"/>
                <a:gd name="connsiteX2" fmla="*/ 18314 w 28614"/>
                <a:gd name="connsiteY2" fmla="*/ 25609 h 28614"/>
                <a:gd name="connsiteX3" fmla="*/ 25610 w 28614"/>
                <a:gd name="connsiteY3" fmla="*/ 18172 h 28614"/>
                <a:gd name="connsiteX4" fmla="*/ 18172 w 28614"/>
                <a:gd name="connsiteY4" fmla="*/ 10731 h 28614"/>
                <a:gd name="connsiteX5" fmla="*/ 18027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027" y="10732"/>
                  </a:moveTo>
                  <a:cubicBezTo>
                    <a:pt x="13919" y="10811"/>
                    <a:pt x="10653" y="14206"/>
                    <a:pt x="10732" y="18314"/>
                  </a:cubicBezTo>
                  <a:cubicBezTo>
                    <a:pt x="10811" y="22421"/>
                    <a:pt x="14205" y="25688"/>
                    <a:pt x="18314" y="25609"/>
                  </a:cubicBezTo>
                  <a:cubicBezTo>
                    <a:pt x="22365" y="25532"/>
                    <a:pt x="25610" y="22225"/>
                    <a:pt x="25610" y="18172"/>
                  </a:cubicBezTo>
                  <a:cubicBezTo>
                    <a:pt x="25611" y="14063"/>
                    <a:pt x="22281" y="10732"/>
                    <a:pt x="18172" y="10731"/>
                  </a:cubicBezTo>
                  <a:cubicBezTo>
                    <a:pt x="18124" y="10731"/>
                    <a:pt x="18076" y="10731"/>
                    <a:pt x="18027"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2" name="Freeform: Shape 211">
              <a:extLst>
                <a:ext uri="{FF2B5EF4-FFF2-40B4-BE49-F238E27FC236}">
                  <a16:creationId xmlns:a16="http://schemas.microsoft.com/office/drawing/2014/main" id="{716B13F6-9055-4DCF-8595-34E63743A9A6}"/>
                </a:ext>
              </a:extLst>
            </p:cNvPr>
            <p:cNvSpPr/>
            <p:nvPr/>
          </p:nvSpPr>
          <p:spPr>
            <a:xfrm>
              <a:off x="5222937" y="6062988"/>
              <a:ext cx="28615" cy="28615"/>
            </a:xfrm>
            <a:custGeom>
              <a:avLst/>
              <a:gdLst>
                <a:gd name="connsiteX0" fmla="*/ 19892 w 28614"/>
                <a:gd name="connsiteY0" fmla="*/ 30332 h 28614"/>
                <a:gd name="connsiteX1" fmla="*/ 29763 w 28614"/>
                <a:gd name="connsiteY1" fmla="*/ 20747 h 28614"/>
                <a:gd name="connsiteX2" fmla="*/ 29764 w 28614"/>
                <a:gd name="connsiteY2" fmla="*/ 20603 h 28614"/>
                <a:gd name="connsiteX3" fmla="*/ 19892 w 28614"/>
                <a:gd name="connsiteY3" fmla="*/ 10731 h 28614"/>
                <a:gd name="connsiteX4" fmla="*/ 10734 w 28614"/>
                <a:gd name="connsiteY4" fmla="*/ 19886 h 28614"/>
                <a:gd name="connsiteX5" fmla="*/ 10735 w 28614"/>
                <a:gd name="connsiteY5" fmla="*/ 20030 h 28614"/>
                <a:gd name="connsiteX6" fmla="*/ 10735 w 28614"/>
                <a:gd name="connsiteY6" fmla="*/ 20030 h 28614"/>
                <a:gd name="connsiteX7" fmla="*/ 10735 w 28614"/>
                <a:gd name="connsiteY7" fmla="*/ 21032 h 28614"/>
                <a:gd name="connsiteX8" fmla="*/ 19457 w 28614"/>
                <a:gd name="connsiteY8" fmla="*/ 30329 h 28614"/>
                <a:gd name="connsiteX9" fmla="*/ 19892 w 28614"/>
                <a:gd name="connsiteY9" fmla="*/ 303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19892" y="30332"/>
                  </a:moveTo>
                  <a:cubicBezTo>
                    <a:pt x="25265" y="30411"/>
                    <a:pt x="29684" y="26120"/>
                    <a:pt x="29763" y="20747"/>
                  </a:cubicBezTo>
                  <a:cubicBezTo>
                    <a:pt x="29764" y="20699"/>
                    <a:pt x="29764" y="20651"/>
                    <a:pt x="29764" y="20603"/>
                  </a:cubicBezTo>
                  <a:cubicBezTo>
                    <a:pt x="29764" y="15150"/>
                    <a:pt x="25345" y="10731"/>
                    <a:pt x="19892" y="10731"/>
                  </a:cubicBezTo>
                  <a:cubicBezTo>
                    <a:pt x="14834" y="10731"/>
                    <a:pt x="10735" y="14830"/>
                    <a:pt x="10734" y="19886"/>
                  </a:cubicBezTo>
                  <a:cubicBezTo>
                    <a:pt x="10734" y="19935"/>
                    <a:pt x="10734" y="19982"/>
                    <a:pt x="10735" y="20030"/>
                  </a:cubicBezTo>
                  <a:lnTo>
                    <a:pt x="10735" y="20030"/>
                  </a:lnTo>
                  <a:lnTo>
                    <a:pt x="10735" y="21032"/>
                  </a:lnTo>
                  <a:cubicBezTo>
                    <a:pt x="10576" y="26008"/>
                    <a:pt x="14481" y="30170"/>
                    <a:pt x="19457" y="30329"/>
                  </a:cubicBezTo>
                  <a:cubicBezTo>
                    <a:pt x="19602" y="30333"/>
                    <a:pt x="19748" y="30335"/>
                    <a:pt x="19892" y="303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3" name="Freeform: Shape 212">
              <a:extLst>
                <a:ext uri="{FF2B5EF4-FFF2-40B4-BE49-F238E27FC236}">
                  <a16:creationId xmlns:a16="http://schemas.microsoft.com/office/drawing/2014/main" id="{83E1C879-EBCD-46BD-B01D-65A780932A02}"/>
                </a:ext>
              </a:extLst>
            </p:cNvPr>
            <p:cNvSpPr/>
            <p:nvPr/>
          </p:nvSpPr>
          <p:spPr>
            <a:xfrm>
              <a:off x="5067314" y="6017490"/>
              <a:ext cx="28615" cy="28615"/>
            </a:xfrm>
            <a:custGeom>
              <a:avLst/>
              <a:gdLst>
                <a:gd name="connsiteX0" fmla="*/ 16129 w 28614"/>
                <a:gd name="connsiteY0" fmla="*/ 25038 h 28614"/>
                <a:gd name="connsiteX1" fmla="*/ 21239 w 28614"/>
                <a:gd name="connsiteY1" fmla="*/ 15841 h 28614"/>
                <a:gd name="connsiteX2" fmla="*/ 16129 w 28614"/>
                <a:gd name="connsiteY2" fmla="*/ 10731 h 28614"/>
                <a:gd name="connsiteX3" fmla="*/ 11019 w 28614"/>
                <a:gd name="connsiteY3" fmla="*/ 19927 h 28614"/>
                <a:gd name="connsiteX4" fmla="*/ 16129 w 28614"/>
                <a:gd name="connsiteY4" fmla="*/ 25038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6129" y="25038"/>
                  </a:moveTo>
                  <a:cubicBezTo>
                    <a:pt x="20080" y="23909"/>
                    <a:pt x="22368" y="19791"/>
                    <a:pt x="21239" y="15841"/>
                  </a:cubicBezTo>
                  <a:cubicBezTo>
                    <a:pt x="20533" y="13369"/>
                    <a:pt x="18601" y="11437"/>
                    <a:pt x="16129" y="10731"/>
                  </a:cubicBezTo>
                  <a:cubicBezTo>
                    <a:pt x="12178" y="11859"/>
                    <a:pt x="9890" y="15977"/>
                    <a:pt x="11019" y="19927"/>
                  </a:cubicBezTo>
                  <a:cubicBezTo>
                    <a:pt x="11725" y="22400"/>
                    <a:pt x="13657" y="24333"/>
                    <a:pt x="16129" y="25038"/>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4" name="Freeform: Shape 213">
              <a:extLst>
                <a:ext uri="{FF2B5EF4-FFF2-40B4-BE49-F238E27FC236}">
                  <a16:creationId xmlns:a16="http://schemas.microsoft.com/office/drawing/2014/main" id="{DA21CB54-6F74-4FD3-8207-2A377B7681D1}"/>
                </a:ext>
              </a:extLst>
            </p:cNvPr>
            <p:cNvSpPr/>
            <p:nvPr/>
          </p:nvSpPr>
          <p:spPr>
            <a:xfrm>
              <a:off x="5223083" y="5914189"/>
              <a:ext cx="28615" cy="28615"/>
            </a:xfrm>
            <a:custGeom>
              <a:avLst/>
              <a:gdLst>
                <a:gd name="connsiteX0" fmla="*/ 10732 w 28614"/>
                <a:gd name="connsiteY0" fmla="*/ 19888 h 28614"/>
                <a:gd name="connsiteX1" fmla="*/ 19889 w 28614"/>
                <a:gd name="connsiteY1" fmla="*/ 29329 h 28614"/>
                <a:gd name="connsiteX2" fmla="*/ 29329 w 28614"/>
                <a:gd name="connsiteY2" fmla="*/ 20172 h 28614"/>
                <a:gd name="connsiteX3" fmla="*/ 20172 w 28614"/>
                <a:gd name="connsiteY3" fmla="*/ 10732 h 28614"/>
                <a:gd name="connsiteX4" fmla="*/ 19889 w 28614"/>
                <a:gd name="connsiteY4" fmla="*/ 10732 h 28614"/>
                <a:gd name="connsiteX5" fmla="*/ 10732 w 28614"/>
                <a:gd name="connsiteY5" fmla="*/ 1988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0732" y="19888"/>
                  </a:moveTo>
                  <a:cubicBezTo>
                    <a:pt x="10653" y="25023"/>
                    <a:pt x="14754" y="29251"/>
                    <a:pt x="19889" y="29329"/>
                  </a:cubicBezTo>
                  <a:cubicBezTo>
                    <a:pt x="25023" y="29407"/>
                    <a:pt x="29251" y="25308"/>
                    <a:pt x="29329" y="20172"/>
                  </a:cubicBezTo>
                  <a:cubicBezTo>
                    <a:pt x="29407" y="15037"/>
                    <a:pt x="25308" y="10810"/>
                    <a:pt x="20172" y="10732"/>
                  </a:cubicBezTo>
                  <a:cubicBezTo>
                    <a:pt x="20077" y="10730"/>
                    <a:pt x="19983" y="10730"/>
                    <a:pt x="19889" y="10732"/>
                  </a:cubicBezTo>
                  <a:cubicBezTo>
                    <a:pt x="14831" y="10732"/>
                    <a:pt x="10732" y="14831"/>
                    <a:pt x="10732" y="19888"/>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5" name="Freeform: Shape 214">
              <a:extLst>
                <a:ext uri="{FF2B5EF4-FFF2-40B4-BE49-F238E27FC236}">
                  <a16:creationId xmlns:a16="http://schemas.microsoft.com/office/drawing/2014/main" id="{8CAEA925-C116-4773-B647-4029A563DAD7}"/>
                </a:ext>
              </a:extLst>
            </p:cNvPr>
            <p:cNvSpPr/>
            <p:nvPr/>
          </p:nvSpPr>
          <p:spPr>
            <a:xfrm>
              <a:off x="6177393" y="5864972"/>
              <a:ext cx="28615" cy="28615"/>
            </a:xfrm>
            <a:custGeom>
              <a:avLst/>
              <a:gdLst>
                <a:gd name="connsiteX0" fmla="*/ 19172 w 28614"/>
                <a:gd name="connsiteY0" fmla="*/ 10731 h 28614"/>
                <a:gd name="connsiteX1" fmla="*/ 10731 w 28614"/>
                <a:gd name="connsiteY1" fmla="*/ 19172 h 28614"/>
                <a:gd name="connsiteX2" fmla="*/ 19172 w 28614"/>
                <a:gd name="connsiteY2" fmla="*/ 27613 h 28614"/>
                <a:gd name="connsiteX3" fmla="*/ 19172 w 28614"/>
                <a:gd name="connsiteY3" fmla="*/ 27613 h 28614"/>
                <a:gd name="connsiteX4" fmla="*/ 27327 w 28614"/>
                <a:gd name="connsiteY4" fmla="*/ 19458 h 28614"/>
                <a:gd name="connsiteX5" fmla="*/ 19182 w 28614"/>
                <a:gd name="connsiteY5" fmla="*/ 10731 h 28614"/>
                <a:gd name="connsiteX6" fmla="*/ 19172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172" y="10731"/>
                  </a:moveTo>
                  <a:cubicBezTo>
                    <a:pt x="14509" y="10731"/>
                    <a:pt x="10731" y="14511"/>
                    <a:pt x="10731" y="19172"/>
                  </a:cubicBezTo>
                  <a:cubicBezTo>
                    <a:pt x="10731" y="23833"/>
                    <a:pt x="14511" y="27613"/>
                    <a:pt x="19172" y="27613"/>
                  </a:cubicBezTo>
                  <a:lnTo>
                    <a:pt x="19172" y="27613"/>
                  </a:lnTo>
                  <a:cubicBezTo>
                    <a:pt x="23676" y="27613"/>
                    <a:pt x="27327" y="23962"/>
                    <a:pt x="27327" y="19458"/>
                  </a:cubicBezTo>
                  <a:cubicBezTo>
                    <a:pt x="27487" y="14798"/>
                    <a:pt x="23841" y="10891"/>
                    <a:pt x="19182" y="10731"/>
                  </a:cubicBezTo>
                  <a:cubicBezTo>
                    <a:pt x="19178" y="10731"/>
                    <a:pt x="19175" y="10731"/>
                    <a:pt x="1917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6" name="Freeform: Shape 215">
              <a:extLst>
                <a:ext uri="{FF2B5EF4-FFF2-40B4-BE49-F238E27FC236}">
                  <a16:creationId xmlns:a16="http://schemas.microsoft.com/office/drawing/2014/main" id="{87ED34EB-428E-456D-A15E-78838A560FB0}"/>
                </a:ext>
              </a:extLst>
            </p:cNvPr>
            <p:cNvSpPr/>
            <p:nvPr/>
          </p:nvSpPr>
          <p:spPr>
            <a:xfrm>
              <a:off x="6257372" y="5966268"/>
              <a:ext cx="28615" cy="28615"/>
            </a:xfrm>
            <a:custGeom>
              <a:avLst/>
              <a:gdLst>
                <a:gd name="connsiteX0" fmla="*/ 18457 w 28614"/>
                <a:gd name="connsiteY0" fmla="*/ 10732 h 28614"/>
                <a:gd name="connsiteX1" fmla="*/ 10732 w 28614"/>
                <a:gd name="connsiteY1" fmla="*/ 18170 h 28614"/>
                <a:gd name="connsiteX2" fmla="*/ 18171 w 28614"/>
                <a:gd name="connsiteY2" fmla="*/ 25895 h 28614"/>
                <a:gd name="connsiteX3" fmla="*/ 25895 w 28614"/>
                <a:gd name="connsiteY3" fmla="*/ 18457 h 28614"/>
                <a:gd name="connsiteX4" fmla="*/ 25896 w 28614"/>
                <a:gd name="connsiteY4" fmla="*/ 18315 h 28614"/>
                <a:gd name="connsiteX5" fmla="*/ 18601 w 28614"/>
                <a:gd name="connsiteY5" fmla="*/ 10733 h 28614"/>
                <a:gd name="connsiteX6" fmla="*/ 18457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57" y="10732"/>
                  </a:moveTo>
                  <a:cubicBezTo>
                    <a:pt x="14269" y="10653"/>
                    <a:pt x="10811" y="13983"/>
                    <a:pt x="10732" y="18170"/>
                  </a:cubicBezTo>
                  <a:cubicBezTo>
                    <a:pt x="10653" y="22358"/>
                    <a:pt x="13983" y="25816"/>
                    <a:pt x="18171" y="25895"/>
                  </a:cubicBezTo>
                  <a:cubicBezTo>
                    <a:pt x="22358" y="25974"/>
                    <a:pt x="25816" y="22644"/>
                    <a:pt x="25895" y="18457"/>
                  </a:cubicBezTo>
                  <a:cubicBezTo>
                    <a:pt x="25896" y="18409"/>
                    <a:pt x="25896" y="18362"/>
                    <a:pt x="25896" y="18315"/>
                  </a:cubicBezTo>
                  <a:cubicBezTo>
                    <a:pt x="25975" y="14207"/>
                    <a:pt x="22709" y="10812"/>
                    <a:pt x="18601" y="10733"/>
                  </a:cubicBezTo>
                  <a:cubicBezTo>
                    <a:pt x="18552" y="10732"/>
                    <a:pt x="18505" y="10732"/>
                    <a:pt x="18457"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7" name="Freeform: Shape 216">
              <a:extLst>
                <a:ext uri="{FF2B5EF4-FFF2-40B4-BE49-F238E27FC236}">
                  <a16:creationId xmlns:a16="http://schemas.microsoft.com/office/drawing/2014/main" id="{3E289C38-DBBB-450E-8BCC-A471AB320469}"/>
                </a:ext>
              </a:extLst>
            </p:cNvPr>
            <p:cNvSpPr/>
            <p:nvPr/>
          </p:nvSpPr>
          <p:spPr>
            <a:xfrm>
              <a:off x="5380313" y="6012339"/>
              <a:ext cx="28615" cy="42922"/>
            </a:xfrm>
            <a:custGeom>
              <a:avLst/>
              <a:gdLst>
                <a:gd name="connsiteX0" fmla="*/ 20900 w 28614"/>
                <a:gd name="connsiteY0" fmla="*/ 33480 h 42922"/>
                <a:gd name="connsiteX1" fmla="*/ 30997 w 28614"/>
                <a:gd name="connsiteY1" fmla="*/ 20827 h 42922"/>
                <a:gd name="connsiteX2" fmla="*/ 20900 w 28614"/>
                <a:gd name="connsiteY2" fmla="*/ 10731 h 42922"/>
                <a:gd name="connsiteX3" fmla="*/ 20900 w 28614"/>
                <a:gd name="connsiteY3" fmla="*/ 10731 h 42922"/>
                <a:gd name="connsiteX4" fmla="*/ 10803 w 28614"/>
                <a:gd name="connsiteY4" fmla="*/ 23383 h 42922"/>
                <a:gd name="connsiteX5" fmla="*/ 20900 w 28614"/>
                <a:gd name="connsiteY5" fmla="*/ 334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42922">
                  <a:moveTo>
                    <a:pt x="20900" y="33480"/>
                  </a:moveTo>
                  <a:cubicBezTo>
                    <a:pt x="27182" y="32774"/>
                    <a:pt x="31702" y="27110"/>
                    <a:pt x="30997" y="20827"/>
                  </a:cubicBezTo>
                  <a:cubicBezTo>
                    <a:pt x="30400" y="15518"/>
                    <a:pt x="26209" y="11327"/>
                    <a:pt x="20900" y="10731"/>
                  </a:cubicBezTo>
                  <a:lnTo>
                    <a:pt x="20900" y="10731"/>
                  </a:lnTo>
                  <a:cubicBezTo>
                    <a:pt x="14617" y="11436"/>
                    <a:pt x="10098" y="17100"/>
                    <a:pt x="10803" y="23383"/>
                  </a:cubicBezTo>
                  <a:cubicBezTo>
                    <a:pt x="11400" y="28692"/>
                    <a:pt x="15590" y="32883"/>
                    <a:pt x="20900" y="3348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8" name="Freeform: Shape 217">
              <a:extLst>
                <a:ext uri="{FF2B5EF4-FFF2-40B4-BE49-F238E27FC236}">
                  <a16:creationId xmlns:a16="http://schemas.microsoft.com/office/drawing/2014/main" id="{1553E329-3846-4FF3-BEA9-1243FCF31DE9}"/>
                </a:ext>
              </a:extLst>
            </p:cNvPr>
            <p:cNvSpPr/>
            <p:nvPr/>
          </p:nvSpPr>
          <p:spPr>
            <a:xfrm>
              <a:off x="5223080" y="5812964"/>
              <a:ext cx="28615" cy="28615"/>
            </a:xfrm>
            <a:custGeom>
              <a:avLst/>
              <a:gdLst>
                <a:gd name="connsiteX0" fmla="*/ 19892 w 28614"/>
                <a:gd name="connsiteY0" fmla="*/ 11375 h 28614"/>
                <a:gd name="connsiteX1" fmla="*/ 10735 w 28614"/>
                <a:gd name="connsiteY1" fmla="*/ 20532 h 28614"/>
                <a:gd name="connsiteX2" fmla="*/ 10735 w 28614"/>
                <a:gd name="connsiteY2" fmla="*/ 20961 h 28614"/>
                <a:gd name="connsiteX3" fmla="*/ 19600 w 28614"/>
                <a:gd name="connsiteY3" fmla="*/ 30401 h 28614"/>
                <a:gd name="connsiteX4" fmla="*/ 19749 w 28614"/>
                <a:gd name="connsiteY4" fmla="*/ 30404 h 28614"/>
                <a:gd name="connsiteX5" fmla="*/ 19749 w 28614"/>
                <a:gd name="connsiteY5" fmla="*/ 30404 h 28614"/>
                <a:gd name="connsiteX6" fmla="*/ 30736 w 28614"/>
                <a:gd name="connsiteY6" fmla="*/ 21789 h 28614"/>
                <a:gd name="connsiteX7" fmla="*/ 22121 w 28614"/>
                <a:gd name="connsiteY7" fmla="*/ 10803 h 28614"/>
                <a:gd name="connsiteX8" fmla="*/ 19749 w 28614"/>
                <a:gd name="connsiteY8" fmla="*/ 1080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19892" y="11375"/>
                  </a:moveTo>
                  <a:cubicBezTo>
                    <a:pt x="14834" y="11375"/>
                    <a:pt x="10735" y="15474"/>
                    <a:pt x="10735" y="20532"/>
                  </a:cubicBezTo>
                  <a:lnTo>
                    <a:pt x="10735" y="20961"/>
                  </a:lnTo>
                  <a:cubicBezTo>
                    <a:pt x="10576" y="26016"/>
                    <a:pt x="14545" y="30242"/>
                    <a:pt x="19600" y="30401"/>
                  </a:cubicBezTo>
                  <a:cubicBezTo>
                    <a:pt x="19650" y="30402"/>
                    <a:pt x="19699" y="30404"/>
                    <a:pt x="19749" y="30404"/>
                  </a:cubicBezTo>
                  <a:lnTo>
                    <a:pt x="19749" y="30404"/>
                  </a:lnTo>
                  <a:cubicBezTo>
                    <a:pt x="25161" y="31059"/>
                    <a:pt x="30080" y="27202"/>
                    <a:pt x="30736" y="21789"/>
                  </a:cubicBezTo>
                  <a:cubicBezTo>
                    <a:pt x="31391" y="16377"/>
                    <a:pt x="27534" y="11458"/>
                    <a:pt x="22121" y="10803"/>
                  </a:cubicBezTo>
                  <a:cubicBezTo>
                    <a:pt x="21334" y="10707"/>
                    <a:pt x="20537" y="10707"/>
                    <a:pt x="19749" y="1080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9" name="Freeform: Shape 218">
              <a:extLst>
                <a:ext uri="{FF2B5EF4-FFF2-40B4-BE49-F238E27FC236}">
                  <a16:creationId xmlns:a16="http://schemas.microsoft.com/office/drawing/2014/main" id="{897F506A-C368-4961-955D-94632ED3CD66}"/>
                </a:ext>
              </a:extLst>
            </p:cNvPr>
            <p:cNvSpPr/>
            <p:nvPr/>
          </p:nvSpPr>
          <p:spPr>
            <a:xfrm>
              <a:off x="5144964" y="5915478"/>
              <a:ext cx="28615" cy="28615"/>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0" name="Freeform: Shape 219">
              <a:extLst>
                <a:ext uri="{FF2B5EF4-FFF2-40B4-BE49-F238E27FC236}">
                  <a16:creationId xmlns:a16="http://schemas.microsoft.com/office/drawing/2014/main" id="{15F9EE34-F0F7-4DCD-BFD9-D65B9AC09BF5}"/>
                </a:ext>
              </a:extLst>
            </p:cNvPr>
            <p:cNvSpPr/>
            <p:nvPr/>
          </p:nvSpPr>
          <p:spPr>
            <a:xfrm>
              <a:off x="5379894" y="6063474"/>
              <a:ext cx="42922" cy="28615"/>
            </a:xfrm>
            <a:custGeom>
              <a:avLst/>
              <a:gdLst>
                <a:gd name="connsiteX0" fmla="*/ 20460 w 42922"/>
                <a:gd name="connsiteY0" fmla="*/ 10817 h 28614"/>
                <a:gd name="connsiteX1" fmla="*/ 10731 w 42922"/>
                <a:gd name="connsiteY1" fmla="*/ 20689 h 28614"/>
                <a:gd name="connsiteX2" fmla="*/ 23464 w 42922"/>
                <a:gd name="connsiteY2" fmla="*/ 30418 h 28614"/>
                <a:gd name="connsiteX3" fmla="*/ 33336 w 42922"/>
                <a:gd name="connsiteY3" fmla="*/ 20689 h 28614"/>
                <a:gd name="connsiteX4" fmla="*/ 20460 w 42922"/>
                <a:gd name="connsiteY4" fmla="*/ 10817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28614">
                  <a:moveTo>
                    <a:pt x="20460" y="10817"/>
                  </a:moveTo>
                  <a:cubicBezTo>
                    <a:pt x="15389" y="11592"/>
                    <a:pt x="11432" y="15609"/>
                    <a:pt x="10731" y="20689"/>
                  </a:cubicBezTo>
                  <a:cubicBezTo>
                    <a:pt x="11619" y="26859"/>
                    <a:pt x="17279" y="31182"/>
                    <a:pt x="23464" y="30418"/>
                  </a:cubicBezTo>
                  <a:cubicBezTo>
                    <a:pt x="28591" y="29810"/>
                    <a:pt x="32654" y="25805"/>
                    <a:pt x="33336" y="20689"/>
                  </a:cubicBezTo>
                  <a:cubicBezTo>
                    <a:pt x="32448" y="14441"/>
                    <a:pt x="26724" y="10053"/>
                    <a:pt x="20460" y="1081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1" name="Freeform: Shape 220">
              <a:extLst>
                <a:ext uri="{FF2B5EF4-FFF2-40B4-BE49-F238E27FC236}">
                  <a16:creationId xmlns:a16="http://schemas.microsoft.com/office/drawing/2014/main" id="{74936281-EBE0-4EE0-97BE-E24D70A33A7A}"/>
                </a:ext>
              </a:extLst>
            </p:cNvPr>
            <p:cNvSpPr/>
            <p:nvPr/>
          </p:nvSpPr>
          <p:spPr>
            <a:xfrm>
              <a:off x="6177382" y="5916957"/>
              <a:ext cx="28615" cy="28615"/>
            </a:xfrm>
            <a:custGeom>
              <a:avLst/>
              <a:gdLst>
                <a:gd name="connsiteX0" fmla="*/ 17753 w 28614"/>
                <a:gd name="connsiteY0" fmla="*/ 10825 h 28614"/>
                <a:gd name="connsiteX1" fmla="*/ 10742 w 28614"/>
                <a:gd name="connsiteY1" fmla="*/ 17835 h 28614"/>
                <a:gd name="connsiteX2" fmla="*/ 18733 w 28614"/>
                <a:gd name="connsiteY2" fmla="*/ 26705 h 28614"/>
                <a:gd name="connsiteX3" fmla="*/ 27339 w 28614"/>
                <a:gd name="connsiteY3" fmla="*/ 20411 h 28614"/>
                <a:gd name="connsiteX4" fmla="*/ 27339 w 28614"/>
                <a:gd name="connsiteY4" fmla="*/ 17835 h 28614"/>
                <a:gd name="connsiteX5" fmla="*/ 17753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753" y="10825"/>
                  </a:moveTo>
                  <a:cubicBezTo>
                    <a:pt x="14145" y="11399"/>
                    <a:pt x="11316" y="14229"/>
                    <a:pt x="10742" y="17835"/>
                  </a:cubicBezTo>
                  <a:cubicBezTo>
                    <a:pt x="10499" y="22491"/>
                    <a:pt x="14077" y="26463"/>
                    <a:pt x="18733" y="26705"/>
                  </a:cubicBezTo>
                  <a:cubicBezTo>
                    <a:pt x="22731" y="26914"/>
                    <a:pt x="26326" y="24284"/>
                    <a:pt x="27339" y="20411"/>
                  </a:cubicBezTo>
                  <a:cubicBezTo>
                    <a:pt x="27483" y="19558"/>
                    <a:pt x="27483" y="18688"/>
                    <a:pt x="27339" y="17835"/>
                  </a:cubicBezTo>
                  <a:cubicBezTo>
                    <a:pt x="26605" y="13266"/>
                    <a:pt x="22330" y="10139"/>
                    <a:pt x="17753" y="108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2" name="Freeform: Shape 221">
              <a:extLst>
                <a:ext uri="{FF2B5EF4-FFF2-40B4-BE49-F238E27FC236}">
                  <a16:creationId xmlns:a16="http://schemas.microsoft.com/office/drawing/2014/main" id="{D9B5FD69-C202-43FB-B999-EF3E6D56176E}"/>
                </a:ext>
              </a:extLst>
            </p:cNvPr>
            <p:cNvSpPr/>
            <p:nvPr/>
          </p:nvSpPr>
          <p:spPr>
            <a:xfrm>
              <a:off x="6257658" y="5916622"/>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3" name="Freeform: Shape 222">
              <a:extLst>
                <a:ext uri="{FF2B5EF4-FFF2-40B4-BE49-F238E27FC236}">
                  <a16:creationId xmlns:a16="http://schemas.microsoft.com/office/drawing/2014/main" id="{3DC9EAC3-FB53-42BD-BEFB-3451D93AB170}"/>
                </a:ext>
              </a:extLst>
            </p:cNvPr>
            <p:cNvSpPr/>
            <p:nvPr/>
          </p:nvSpPr>
          <p:spPr>
            <a:xfrm>
              <a:off x="5144964" y="5814610"/>
              <a:ext cx="28615" cy="28615"/>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4" name="Freeform: Shape 223">
              <a:extLst>
                <a:ext uri="{FF2B5EF4-FFF2-40B4-BE49-F238E27FC236}">
                  <a16:creationId xmlns:a16="http://schemas.microsoft.com/office/drawing/2014/main" id="{30AD2BF7-B7C0-4605-B9B1-8A16BA56B50D}"/>
                </a:ext>
              </a:extLst>
            </p:cNvPr>
            <p:cNvSpPr/>
            <p:nvPr/>
          </p:nvSpPr>
          <p:spPr>
            <a:xfrm>
              <a:off x="5065843" y="5815182"/>
              <a:ext cx="28615" cy="28615"/>
            </a:xfrm>
            <a:custGeom>
              <a:avLst/>
              <a:gdLst>
                <a:gd name="connsiteX0" fmla="*/ 18459 w 28614"/>
                <a:gd name="connsiteY0" fmla="*/ 11160 h 28614"/>
                <a:gd name="connsiteX1" fmla="*/ 11019 w 28614"/>
                <a:gd name="connsiteY1" fmla="*/ 18311 h 28614"/>
                <a:gd name="connsiteX2" fmla="*/ 11019 w 28614"/>
                <a:gd name="connsiteY2" fmla="*/ 18314 h 28614"/>
                <a:gd name="connsiteX3" fmla="*/ 16129 w 28614"/>
                <a:gd name="connsiteY3" fmla="*/ 27510 h 28614"/>
                <a:gd name="connsiteX4" fmla="*/ 25326 w 28614"/>
                <a:gd name="connsiteY4" fmla="*/ 22401 h 28614"/>
                <a:gd name="connsiteX5" fmla="*/ 25326 w 28614"/>
                <a:gd name="connsiteY5" fmla="*/ 18314 h 28614"/>
                <a:gd name="connsiteX6" fmla="*/ 18321 w 28614"/>
                <a:gd name="connsiteY6" fmla="*/ 10736 h 28614"/>
                <a:gd name="connsiteX7" fmla="*/ 18029 w 28614"/>
                <a:gd name="connsiteY7"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8459" y="11160"/>
                  </a:moveTo>
                  <a:cubicBezTo>
                    <a:pt x="14429" y="11080"/>
                    <a:pt x="11099" y="14282"/>
                    <a:pt x="11019" y="18311"/>
                  </a:cubicBezTo>
                  <a:cubicBezTo>
                    <a:pt x="11019" y="18312"/>
                    <a:pt x="11019" y="18312"/>
                    <a:pt x="11019" y="18314"/>
                  </a:cubicBezTo>
                  <a:cubicBezTo>
                    <a:pt x="9890" y="22264"/>
                    <a:pt x="12178" y="26382"/>
                    <a:pt x="16129" y="27510"/>
                  </a:cubicBezTo>
                  <a:cubicBezTo>
                    <a:pt x="20080" y="28639"/>
                    <a:pt x="24198" y="26352"/>
                    <a:pt x="25326" y="22401"/>
                  </a:cubicBezTo>
                  <a:cubicBezTo>
                    <a:pt x="25708" y="21065"/>
                    <a:pt x="25708" y="19650"/>
                    <a:pt x="25326" y="18314"/>
                  </a:cubicBezTo>
                  <a:cubicBezTo>
                    <a:pt x="25484" y="14287"/>
                    <a:pt x="22348" y="10894"/>
                    <a:pt x="18321" y="10736"/>
                  </a:cubicBezTo>
                  <a:cubicBezTo>
                    <a:pt x="18224" y="10732"/>
                    <a:pt x="18127" y="10731"/>
                    <a:pt x="1802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5" name="Freeform: Shape 224">
              <a:extLst>
                <a:ext uri="{FF2B5EF4-FFF2-40B4-BE49-F238E27FC236}">
                  <a16:creationId xmlns:a16="http://schemas.microsoft.com/office/drawing/2014/main" id="{4A2A9DC7-1DAD-4781-BDD5-18D26BC8D928}"/>
                </a:ext>
              </a:extLst>
            </p:cNvPr>
            <p:cNvSpPr/>
            <p:nvPr/>
          </p:nvSpPr>
          <p:spPr>
            <a:xfrm>
              <a:off x="5300773" y="5963693"/>
              <a:ext cx="28615" cy="28615"/>
            </a:xfrm>
            <a:custGeom>
              <a:avLst/>
              <a:gdLst>
                <a:gd name="connsiteX0" fmla="*/ 20890 w 28614"/>
                <a:gd name="connsiteY0" fmla="*/ 31191 h 28614"/>
                <a:gd name="connsiteX1" fmla="*/ 31334 w 28614"/>
                <a:gd name="connsiteY1" fmla="*/ 21176 h 28614"/>
                <a:gd name="connsiteX2" fmla="*/ 31334 w 28614"/>
                <a:gd name="connsiteY2" fmla="*/ 21176 h 28614"/>
                <a:gd name="connsiteX3" fmla="*/ 21178 w 28614"/>
                <a:gd name="connsiteY3" fmla="*/ 10732 h 28614"/>
                <a:gd name="connsiteX4" fmla="*/ 20890 w 28614"/>
                <a:gd name="connsiteY4" fmla="*/ 10732 h 28614"/>
                <a:gd name="connsiteX5" fmla="*/ 10732 w 28614"/>
                <a:gd name="connsiteY5" fmla="*/ 20890 h 28614"/>
                <a:gd name="connsiteX6" fmla="*/ 10732 w 28614"/>
                <a:gd name="connsiteY6" fmla="*/ 20890 h 28614"/>
                <a:gd name="connsiteX7" fmla="*/ 20745 w 28614"/>
                <a:gd name="connsiteY7" fmla="*/ 31190 h 28614"/>
                <a:gd name="connsiteX8" fmla="*/ 20890 w 28614"/>
                <a:gd name="connsiteY8" fmla="*/ 3119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890" y="31191"/>
                  </a:moveTo>
                  <a:cubicBezTo>
                    <a:pt x="26524" y="31271"/>
                    <a:pt x="31178" y="26809"/>
                    <a:pt x="31334" y="21176"/>
                  </a:cubicBezTo>
                  <a:lnTo>
                    <a:pt x="31334" y="21176"/>
                  </a:lnTo>
                  <a:cubicBezTo>
                    <a:pt x="31415" y="15487"/>
                    <a:pt x="26866" y="10812"/>
                    <a:pt x="21178" y="10732"/>
                  </a:cubicBezTo>
                  <a:cubicBezTo>
                    <a:pt x="21082" y="10730"/>
                    <a:pt x="20986" y="10730"/>
                    <a:pt x="20890" y="10732"/>
                  </a:cubicBezTo>
                  <a:cubicBezTo>
                    <a:pt x="15280" y="10732"/>
                    <a:pt x="10732" y="15280"/>
                    <a:pt x="10732" y="20890"/>
                  </a:cubicBezTo>
                  <a:lnTo>
                    <a:pt x="10732" y="20890"/>
                  </a:lnTo>
                  <a:cubicBezTo>
                    <a:pt x="10653" y="26500"/>
                    <a:pt x="15135" y="31111"/>
                    <a:pt x="20745" y="31190"/>
                  </a:cubicBezTo>
                  <a:cubicBezTo>
                    <a:pt x="20794" y="31191"/>
                    <a:pt x="20841" y="31191"/>
                    <a:pt x="20890" y="3119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6" name="Freeform: Shape 225">
              <a:extLst>
                <a:ext uri="{FF2B5EF4-FFF2-40B4-BE49-F238E27FC236}">
                  <a16:creationId xmlns:a16="http://schemas.microsoft.com/office/drawing/2014/main" id="{A95808ED-A03B-4D41-8180-1F83910D47EB}"/>
                </a:ext>
              </a:extLst>
            </p:cNvPr>
            <p:cNvSpPr/>
            <p:nvPr/>
          </p:nvSpPr>
          <p:spPr>
            <a:xfrm>
              <a:off x="6257658" y="6015344"/>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7" name="Freeform: Shape 226">
              <a:extLst>
                <a:ext uri="{FF2B5EF4-FFF2-40B4-BE49-F238E27FC236}">
                  <a16:creationId xmlns:a16="http://schemas.microsoft.com/office/drawing/2014/main" id="{3E855AE1-4A50-420C-997A-BEEF1D24B410}"/>
                </a:ext>
              </a:extLst>
            </p:cNvPr>
            <p:cNvSpPr/>
            <p:nvPr/>
          </p:nvSpPr>
          <p:spPr>
            <a:xfrm>
              <a:off x="5301346" y="5913473"/>
              <a:ext cx="28615" cy="28615"/>
            </a:xfrm>
            <a:custGeom>
              <a:avLst/>
              <a:gdLst>
                <a:gd name="connsiteX0" fmla="*/ 20889 w 28614"/>
                <a:gd name="connsiteY0" fmla="*/ 31335 h 28614"/>
                <a:gd name="connsiteX1" fmla="*/ 20889 w 28614"/>
                <a:gd name="connsiteY1" fmla="*/ 31335 h 28614"/>
                <a:gd name="connsiteX2" fmla="*/ 31333 w 28614"/>
                <a:gd name="connsiteY2" fmla="*/ 20890 h 28614"/>
                <a:gd name="connsiteX3" fmla="*/ 21177 w 28614"/>
                <a:gd name="connsiteY3" fmla="*/ 10731 h 28614"/>
                <a:gd name="connsiteX4" fmla="*/ 21032 w 28614"/>
                <a:gd name="connsiteY4" fmla="*/ 10732 h 28614"/>
                <a:gd name="connsiteX5" fmla="*/ 21032 w 28614"/>
                <a:gd name="connsiteY5" fmla="*/ 10732 h 28614"/>
                <a:gd name="connsiteX6" fmla="*/ 10731 w 28614"/>
                <a:gd name="connsiteY6" fmla="*/ 21033 h 28614"/>
                <a:gd name="connsiteX7" fmla="*/ 21032 w 28614"/>
                <a:gd name="connsiteY7" fmla="*/ 313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0889" y="31335"/>
                  </a:moveTo>
                  <a:lnTo>
                    <a:pt x="20889" y="31335"/>
                  </a:lnTo>
                  <a:cubicBezTo>
                    <a:pt x="26658" y="31335"/>
                    <a:pt x="31333" y="26659"/>
                    <a:pt x="31333" y="20890"/>
                  </a:cubicBezTo>
                  <a:cubicBezTo>
                    <a:pt x="31333" y="15280"/>
                    <a:pt x="26786" y="10732"/>
                    <a:pt x="21177" y="10731"/>
                  </a:cubicBezTo>
                  <a:cubicBezTo>
                    <a:pt x="21128" y="10731"/>
                    <a:pt x="21081" y="10732"/>
                    <a:pt x="21032" y="10732"/>
                  </a:cubicBezTo>
                  <a:lnTo>
                    <a:pt x="21032" y="10732"/>
                  </a:lnTo>
                  <a:cubicBezTo>
                    <a:pt x="15343" y="10732"/>
                    <a:pt x="10731" y="15345"/>
                    <a:pt x="10731" y="21033"/>
                  </a:cubicBezTo>
                  <a:cubicBezTo>
                    <a:pt x="10731" y="26722"/>
                    <a:pt x="15343" y="31335"/>
                    <a:pt x="21032" y="313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8" name="Freeform: Shape 227">
              <a:extLst>
                <a:ext uri="{FF2B5EF4-FFF2-40B4-BE49-F238E27FC236}">
                  <a16:creationId xmlns:a16="http://schemas.microsoft.com/office/drawing/2014/main" id="{E548383D-2C4E-43B6-A96D-7071BDCF1A10}"/>
                </a:ext>
              </a:extLst>
            </p:cNvPr>
            <p:cNvSpPr/>
            <p:nvPr/>
          </p:nvSpPr>
          <p:spPr>
            <a:xfrm>
              <a:off x="5457726" y="5961548"/>
              <a:ext cx="42922" cy="42922"/>
            </a:xfrm>
            <a:custGeom>
              <a:avLst/>
              <a:gdLst>
                <a:gd name="connsiteX0" fmla="*/ 22893 w 42922"/>
                <a:gd name="connsiteY0" fmla="*/ 35339 h 42922"/>
                <a:gd name="connsiteX1" fmla="*/ 35339 w 42922"/>
                <a:gd name="connsiteY1" fmla="*/ 23178 h 42922"/>
                <a:gd name="connsiteX2" fmla="*/ 23178 w 42922"/>
                <a:gd name="connsiteY2" fmla="*/ 10731 h 42922"/>
                <a:gd name="connsiteX3" fmla="*/ 10732 w 42922"/>
                <a:gd name="connsiteY3" fmla="*/ 22893 h 42922"/>
                <a:gd name="connsiteX4" fmla="*/ 10732 w 42922"/>
                <a:gd name="connsiteY4" fmla="*/ 23178 h 42922"/>
                <a:gd name="connsiteX5" fmla="*/ 22893 w 42922"/>
                <a:gd name="connsiteY5" fmla="*/ 353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3" y="35339"/>
                  </a:moveTo>
                  <a:cubicBezTo>
                    <a:pt x="29688" y="35418"/>
                    <a:pt x="35260" y="29972"/>
                    <a:pt x="35339" y="23178"/>
                  </a:cubicBezTo>
                  <a:cubicBezTo>
                    <a:pt x="35418" y="16383"/>
                    <a:pt x="29972" y="10810"/>
                    <a:pt x="23178" y="10731"/>
                  </a:cubicBezTo>
                  <a:cubicBezTo>
                    <a:pt x="16383" y="10653"/>
                    <a:pt x="10810" y="16098"/>
                    <a:pt x="10732" y="22893"/>
                  </a:cubicBezTo>
                  <a:cubicBezTo>
                    <a:pt x="10730" y="22987"/>
                    <a:pt x="10730" y="23083"/>
                    <a:pt x="10732" y="23178"/>
                  </a:cubicBezTo>
                  <a:cubicBezTo>
                    <a:pt x="10809" y="29862"/>
                    <a:pt x="16209" y="35262"/>
                    <a:pt x="22893" y="3533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9" name="Freeform: Shape 228">
              <a:extLst>
                <a:ext uri="{FF2B5EF4-FFF2-40B4-BE49-F238E27FC236}">
                  <a16:creationId xmlns:a16="http://schemas.microsoft.com/office/drawing/2014/main" id="{B4973B3F-C5E2-4566-8EEE-BCA0D930234D}"/>
                </a:ext>
              </a:extLst>
            </p:cNvPr>
            <p:cNvSpPr/>
            <p:nvPr/>
          </p:nvSpPr>
          <p:spPr>
            <a:xfrm>
              <a:off x="5775210" y="5960832"/>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0" name="Freeform: Shape 229">
              <a:extLst>
                <a:ext uri="{FF2B5EF4-FFF2-40B4-BE49-F238E27FC236}">
                  <a16:creationId xmlns:a16="http://schemas.microsoft.com/office/drawing/2014/main" id="{25FC9941-5225-48C1-8DD3-C50AE37941CF}"/>
                </a:ext>
              </a:extLst>
            </p:cNvPr>
            <p:cNvSpPr/>
            <p:nvPr/>
          </p:nvSpPr>
          <p:spPr>
            <a:xfrm>
              <a:off x="5775210" y="5910899"/>
              <a:ext cx="42922" cy="42922"/>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1" name="Freeform: Shape 230">
              <a:extLst>
                <a:ext uri="{FF2B5EF4-FFF2-40B4-BE49-F238E27FC236}">
                  <a16:creationId xmlns:a16="http://schemas.microsoft.com/office/drawing/2014/main" id="{0D7F2D07-D141-4084-A9DD-B6B6B3E30999}"/>
                </a:ext>
              </a:extLst>
            </p:cNvPr>
            <p:cNvSpPr/>
            <p:nvPr/>
          </p:nvSpPr>
          <p:spPr>
            <a:xfrm>
              <a:off x="5775210" y="6010479"/>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2" name="Freeform: Shape 231">
              <a:extLst>
                <a:ext uri="{FF2B5EF4-FFF2-40B4-BE49-F238E27FC236}">
                  <a16:creationId xmlns:a16="http://schemas.microsoft.com/office/drawing/2014/main" id="{F51CCB86-5AF1-4E8E-A9CB-656489835118}"/>
                </a:ext>
              </a:extLst>
            </p:cNvPr>
            <p:cNvSpPr/>
            <p:nvPr/>
          </p:nvSpPr>
          <p:spPr>
            <a:xfrm>
              <a:off x="5775210" y="5811462"/>
              <a:ext cx="42922" cy="42922"/>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3" name="Freeform: Shape 232">
              <a:extLst>
                <a:ext uri="{FF2B5EF4-FFF2-40B4-BE49-F238E27FC236}">
                  <a16:creationId xmlns:a16="http://schemas.microsoft.com/office/drawing/2014/main" id="{72917FF8-0F3F-44B0-AFB1-EE010F512685}"/>
                </a:ext>
              </a:extLst>
            </p:cNvPr>
            <p:cNvSpPr/>
            <p:nvPr/>
          </p:nvSpPr>
          <p:spPr>
            <a:xfrm>
              <a:off x="5775210" y="5861252"/>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4" name="Freeform: Shape 233">
              <a:extLst>
                <a:ext uri="{FF2B5EF4-FFF2-40B4-BE49-F238E27FC236}">
                  <a16:creationId xmlns:a16="http://schemas.microsoft.com/office/drawing/2014/main" id="{C14EBB67-35FB-49E5-8D28-78CB813802CF}"/>
                </a:ext>
              </a:extLst>
            </p:cNvPr>
            <p:cNvSpPr/>
            <p:nvPr/>
          </p:nvSpPr>
          <p:spPr>
            <a:xfrm>
              <a:off x="5614537" y="5959402"/>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5" name="Freeform: Shape 234">
              <a:extLst>
                <a:ext uri="{FF2B5EF4-FFF2-40B4-BE49-F238E27FC236}">
                  <a16:creationId xmlns:a16="http://schemas.microsoft.com/office/drawing/2014/main" id="{CA05CE21-AA28-4BF7-92E6-F4FD09FC2C58}"/>
                </a:ext>
              </a:extLst>
            </p:cNvPr>
            <p:cNvSpPr/>
            <p:nvPr/>
          </p:nvSpPr>
          <p:spPr>
            <a:xfrm>
              <a:off x="5775210" y="6060269"/>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6" name="Freeform: Shape 235">
              <a:extLst>
                <a:ext uri="{FF2B5EF4-FFF2-40B4-BE49-F238E27FC236}">
                  <a16:creationId xmlns:a16="http://schemas.microsoft.com/office/drawing/2014/main" id="{0E3D71EE-A4ED-441D-A8C6-F880EA77C613}"/>
                </a:ext>
              </a:extLst>
            </p:cNvPr>
            <p:cNvSpPr/>
            <p:nvPr/>
          </p:nvSpPr>
          <p:spPr>
            <a:xfrm>
              <a:off x="6016434" y="5963551"/>
              <a:ext cx="28615" cy="28615"/>
            </a:xfrm>
            <a:custGeom>
              <a:avLst/>
              <a:gdLst>
                <a:gd name="connsiteX0" fmla="*/ 21175 w 28614"/>
                <a:gd name="connsiteY0" fmla="*/ 31333 h 28614"/>
                <a:gd name="connsiteX1" fmla="*/ 31476 w 28614"/>
                <a:gd name="connsiteY1" fmla="*/ 21032 h 28614"/>
                <a:gd name="connsiteX2" fmla="*/ 21175 w 28614"/>
                <a:gd name="connsiteY2" fmla="*/ 10731 h 28614"/>
                <a:gd name="connsiteX3" fmla="*/ 21175 w 28614"/>
                <a:gd name="connsiteY3" fmla="*/ 10731 h 28614"/>
                <a:gd name="connsiteX4" fmla="*/ 10731 w 28614"/>
                <a:gd name="connsiteY4" fmla="*/ 21175 h 28614"/>
                <a:gd name="connsiteX5" fmla="*/ 20889 w 28614"/>
                <a:gd name="connsiteY5"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1175" y="31333"/>
                  </a:moveTo>
                  <a:cubicBezTo>
                    <a:pt x="26864" y="31333"/>
                    <a:pt x="31476" y="26721"/>
                    <a:pt x="31476" y="21032"/>
                  </a:cubicBezTo>
                  <a:cubicBezTo>
                    <a:pt x="31476" y="15343"/>
                    <a:pt x="26864" y="10731"/>
                    <a:pt x="21175" y="10731"/>
                  </a:cubicBezTo>
                  <a:lnTo>
                    <a:pt x="21175" y="10731"/>
                  </a:lnTo>
                  <a:cubicBezTo>
                    <a:pt x="15406" y="10731"/>
                    <a:pt x="10731" y="15406"/>
                    <a:pt x="10731" y="21175"/>
                  </a:cubicBezTo>
                  <a:cubicBezTo>
                    <a:pt x="10731" y="26785"/>
                    <a:pt x="15279" y="31333"/>
                    <a:pt x="20889" y="3133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7" name="Freeform: Shape 236">
              <a:extLst>
                <a:ext uri="{FF2B5EF4-FFF2-40B4-BE49-F238E27FC236}">
                  <a16:creationId xmlns:a16="http://schemas.microsoft.com/office/drawing/2014/main" id="{B33442C0-F95A-49A0-91BB-9855D3C1480A}"/>
                </a:ext>
              </a:extLst>
            </p:cNvPr>
            <p:cNvSpPr/>
            <p:nvPr/>
          </p:nvSpPr>
          <p:spPr>
            <a:xfrm>
              <a:off x="6013467" y="5863865"/>
              <a:ext cx="42922" cy="28615"/>
            </a:xfrm>
            <a:custGeom>
              <a:avLst/>
              <a:gdLst>
                <a:gd name="connsiteX0" fmla="*/ 18133 w 42922"/>
                <a:gd name="connsiteY0" fmla="*/ 30724 h 28614"/>
                <a:gd name="connsiteX1" fmla="*/ 23713 w 42922"/>
                <a:gd name="connsiteY1" fmla="*/ 30724 h 28614"/>
                <a:gd name="connsiteX2" fmla="*/ 33871 w 42922"/>
                <a:gd name="connsiteY2" fmla="*/ 20852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83" y="30652"/>
                    <a:pt x="33644" y="26317"/>
                    <a:pt x="33871" y="20852"/>
                  </a:cubicBezTo>
                  <a:cubicBezTo>
                    <a:pt x="33641" y="15409"/>
                    <a:pt x="29160" y="11118"/>
                    <a:pt x="23713" y="11123"/>
                  </a:cubicBezTo>
                  <a:cubicBezTo>
                    <a:pt x="18301" y="9582"/>
                    <a:pt x="12664" y="12721"/>
                    <a:pt x="11123" y="18133"/>
                  </a:cubicBezTo>
                  <a:cubicBezTo>
                    <a:pt x="9582" y="23546"/>
                    <a:pt x="12721" y="29183"/>
                    <a:pt x="18133" y="3072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8" name="Freeform: Shape 237">
              <a:extLst>
                <a:ext uri="{FF2B5EF4-FFF2-40B4-BE49-F238E27FC236}">
                  <a16:creationId xmlns:a16="http://schemas.microsoft.com/office/drawing/2014/main" id="{4452EA91-C3A6-49D4-930E-A8A55EBEA3AC}"/>
                </a:ext>
              </a:extLst>
            </p:cNvPr>
            <p:cNvSpPr/>
            <p:nvPr/>
          </p:nvSpPr>
          <p:spPr>
            <a:xfrm>
              <a:off x="6037037" y="6023499"/>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239" name="Freeform: Shape 238">
              <a:extLst>
                <a:ext uri="{FF2B5EF4-FFF2-40B4-BE49-F238E27FC236}">
                  <a16:creationId xmlns:a16="http://schemas.microsoft.com/office/drawing/2014/main" id="{C13AB1A4-EAAD-4F07-84E3-767B2DC287BA}"/>
                </a:ext>
              </a:extLst>
            </p:cNvPr>
            <p:cNvSpPr/>
            <p:nvPr/>
          </p:nvSpPr>
          <p:spPr>
            <a:xfrm>
              <a:off x="5694659" y="5810461"/>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0" name="Freeform: Shape 239">
              <a:extLst>
                <a:ext uri="{FF2B5EF4-FFF2-40B4-BE49-F238E27FC236}">
                  <a16:creationId xmlns:a16="http://schemas.microsoft.com/office/drawing/2014/main" id="{4677CD55-B82B-4C9A-B7DF-05E29070DFFA}"/>
                </a:ext>
              </a:extLst>
            </p:cNvPr>
            <p:cNvSpPr/>
            <p:nvPr/>
          </p:nvSpPr>
          <p:spPr>
            <a:xfrm>
              <a:off x="6016577" y="6062988"/>
              <a:ext cx="28615" cy="28615"/>
            </a:xfrm>
            <a:custGeom>
              <a:avLst/>
              <a:gdLst>
                <a:gd name="connsiteX0" fmla="*/ 21175 w 28614"/>
                <a:gd name="connsiteY0" fmla="*/ 10731 h 28614"/>
                <a:gd name="connsiteX1" fmla="*/ 21175 w 28614"/>
                <a:gd name="connsiteY1" fmla="*/ 10731 h 28614"/>
                <a:gd name="connsiteX2" fmla="*/ 10731 w 28614"/>
                <a:gd name="connsiteY2" fmla="*/ 21175 h 28614"/>
                <a:gd name="connsiteX3" fmla="*/ 20889 w 28614"/>
                <a:gd name="connsiteY3" fmla="*/ 31333 h 28614"/>
                <a:gd name="connsiteX4" fmla="*/ 20889 w 28614"/>
                <a:gd name="connsiteY4" fmla="*/ 31333 h 28614"/>
                <a:gd name="connsiteX5" fmla="*/ 31190 w 28614"/>
                <a:gd name="connsiteY5" fmla="*/ 21032 h 28614"/>
                <a:gd name="connsiteX6" fmla="*/ 20889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175" y="10731"/>
                  </a:moveTo>
                  <a:lnTo>
                    <a:pt x="21175" y="10731"/>
                  </a:lnTo>
                  <a:cubicBezTo>
                    <a:pt x="15406" y="10731"/>
                    <a:pt x="10731" y="15406"/>
                    <a:pt x="10731" y="21175"/>
                  </a:cubicBezTo>
                  <a:cubicBezTo>
                    <a:pt x="10731" y="26785"/>
                    <a:pt x="15279" y="31333"/>
                    <a:pt x="20889" y="31333"/>
                  </a:cubicBezTo>
                  <a:lnTo>
                    <a:pt x="20889" y="31333"/>
                  </a:lnTo>
                  <a:cubicBezTo>
                    <a:pt x="26578" y="31333"/>
                    <a:pt x="31190" y="26721"/>
                    <a:pt x="31190" y="21032"/>
                  </a:cubicBezTo>
                  <a:cubicBezTo>
                    <a:pt x="31190" y="15343"/>
                    <a:pt x="26578" y="10731"/>
                    <a:pt x="2088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1" name="Freeform: Shape 240">
              <a:extLst>
                <a:ext uri="{FF2B5EF4-FFF2-40B4-BE49-F238E27FC236}">
                  <a16:creationId xmlns:a16="http://schemas.microsoft.com/office/drawing/2014/main" id="{488AF9FF-4764-48AD-BFCC-6E671BA1AE99}"/>
                </a:ext>
              </a:extLst>
            </p:cNvPr>
            <p:cNvSpPr/>
            <p:nvPr/>
          </p:nvSpPr>
          <p:spPr>
            <a:xfrm>
              <a:off x="5614680" y="5909039"/>
              <a:ext cx="42922" cy="42922"/>
            </a:xfrm>
            <a:custGeom>
              <a:avLst/>
              <a:gdLst>
                <a:gd name="connsiteX0" fmla="*/ 25753 w 42922"/>
                <a:gd name="connsiteY0" fmla="*/ 39346 h 42922"/>
                <a:gd name="connsiteX1" fmla="*/ 40061 w 42922"/>
                <a:gd name="connsiteY1" fmla="*/ 25038 h 42922"/>
                <a:gd name="connsiteX2" fmla="*/ 25753 w 42922"/>
                <a:gd name="connsiteY2" fmla="*/ 10731 h 42922"/>
                <a:gd name="connsiteX3" fmla="*/ 11446 w 42922"/>
                <a:gd name="connsiteY3" fmla="*/ 25038 h 42922"/>
                <a:gd name="connsiteX4" fmla="*/ 10731 w 42922"/>
                <a:gd name="connsiteY4" fmla="*/ 26040 h 42922"/>
                <a:gd name="connsiteX5" fmla="*/ 25753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753" y="39346"/>
                  </a:moveTo>
                  <a:cubicBezTo>
                    <a:pt x="33655" y="39346"/>
                    <a:pt x="40061" y="32940"/>
                    <a:pt x="40061" y="25038"/>
                  </a:cubicBezTo>
                  <a:cubicBezTo>
                    <a:pt x="40061" y="17136"/>
                    <a:pt x="33655" y="10731"/>
                    <a:pt x="25753" y="10731"/>
                  </a:cubicBezTo>
                  <a:cubicBezTo>
                    <a:pt x="17851" y="10731"/>
                    <a:pt x="11446" y="17136"/>
                    <a:pt x="11446" y="25038"/>
                  </a:cubicBezTo>
                  <a:lnTo>
                    <a:pt x="10731" y="26040"/>
                  </a:lnTo>
                  <a:cubicBezTo>
                    <a:pt x="11267" y="33831"/>
                    <a:pt x="17953" y="39755"/>
                    <a:pt x="25753"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2" name="Freeform: Shape 241">
              <a:extLst>
                <a:ext uri="{FF2B5EF4-FFF2-40B4-BE49-F238E27FC236}">
                  <a16:creationId xmlns:a16="http://schemas.microsoft.com/office/drawing/2014/main" id="{7A16BF53-250A-46FC-94A5-12ED132B2E43}"/>
                </a:ext>
              </a:extLst>
            </p:cNvPr>
            <p:cNvSpPr/>
            <p:nvPr/>
          </p:nvSpPr>
          <p:spPr>
            <a:xfrm>
              <a:off x="5694802" y="5860108"/>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3" name="Freeform: Shape 242">
              <a:extLst>
                <a:ext uri="{FF2B5EF4-FFF2-40B4-BE49-F238E27FC236}">
                  <a16:creationId xmlns:a16="http://schemas.microsoft.com/office/drawing/2014/main" id="{1D7BAE9B-0F02-409D-8C64-102EACB8E6AF}"/>
                </a:ext>
              </a:extLst>
            </p:cNvPr>
            <p:cNvSpPr/>
            <p:nvPr/>
          </p:nvSpPr>
          <p:spPr>
            <a:xfrm>
              <a:off x="6013467" y="6012949"/>
              <a:ext cx="42922" cy="28615"/>
            </a:xfrm>
            <a:custGeom>
              <a:avLst/>
              <a:gdLst>
                <a:gd name="connsiteX0" fmla="*/ 18133 w 42922"/>
                <a:gd name="connsiteY0" fmla="*/ 30724 h 28614"/>
                <a:gd name="connsiteX1" fmla="*/ 23713 w 42922"/>
                <a:gd name="connsiteY1" fmla="*/ 30724 h 28614"/>
                <a:gd name="connsiteX2" fmla="*/ 33871 w 42922"/>
                <a:gd name="connsiteY2" fmla="*/ 20995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60" y="30728"/>
                    <a:pt x="33641" y="26437"/>
                    <a:pt x="33871" y="20995"/>
                  </a:cubicBezTo>
                  <a:cubicBezTo>
                    <a:pt x="33644" y="15529"/>
                    <a:pt x="29183" y="11194"/>
                    <a:pt x="23713" y="11123"/>
                  </a:cubicBezTo>
                  <a:cubicBezTo>
                    <a:pt x="18301" y="9582"/>
                    <a:pt x="12664" y="12721"/>
                    <a:pt x="11123" y="18133"/>
                  </a:cubicBezTo>
                  <a:cubicBezTo>
                    <a:pt x="9582" y="23546"/>
                    <a:pt x="12721" y="29183"/>
                    <a:pt x="18133" y="3072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4" name="Freeform: Shape 243">
              <a:extLst>
                <a:ext uri="{FF2B5EF4-FFF2-40B4-BE49-F238E27FC236}">
                  <a16:creationId xmlns:a16="http://schemas.microsoft.com/office/drawing/2014/main" id="{80DE2128-2530-4830-AB9B-89D01DE0E60E}"/>
                </a:ext>
              </a:extLst>
            </p:cNvPr>
            <p:cNvSpPr/>
            <p:nvPr/>
          </p:nvSpPr>
          <p:spPr>
            <a:xfrm>
              <a:off x="6016434" y="5913900"/>
              <a:ext cx="28615" cy="28615"/>
            </a:xfrm>
            <a:custGeom>
              <a:avLst/>
              <a:gdLst>
                <a:gd name="connsiteX0" fmla="*/ 21175 w 28614"/>
                <a:gd name="connsiteY0" fmla="*/ 10735 h 28614"/>
                <a:gd name="connsiteX1" fmla="*/ 10733 w 28614"/>
                <a:gd name="connsiteY1" fmla="*/ 20603 h 28614"/>
                <a:gd name="connsiteX2" fmla="*/ 10731 w 28614"/>
                <a:gd name="connsiteY2" fmla="*/ 20750 h 28614"/>
                <a:gd name="connsiteX3" fmla="*/ 10731 w 28614"/>
                <a:gd name="connsiteY3" fmla="*/ 20750 h 28614"/>
                <a:gd name="connsiteX4" fmla="*/ 21175 w 28614"/>
                <a:gd name="connsiteY4" fmla="*/ 31194 h 28614"/>
                <a:gd name="connsiteX5" fmla="*/ 31333 w 28614"/>
                <a:gd name="connsiteY5" fmla="*/ 21036 h 28614"/>
                <a:gd name="connsiteX6" fmla="*/ 31333 w 28614"/>
                <a:gd name="connsiteY6" fmla="*/ 21036 h 28614"/>
                <a:gd name="connsiteX7" fmla="*/ 21320 w 28614"/>
                <a:gd name="connsiteY7" fmla="*/ 10736 h 28614"/>
                <a:gd name="connsiteX8" fmla="*/ 21175 w 28614"/>
                <a:gd name="connsiteY8"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175" y="10735"/>
                  </a:moveTo>
                  <a:cubicBezTo>
                    <a:pt x="15567" y="10576"/>
                    <a:pt x="10892" y="14994"/>
                    <a:pt x="10733" y="20603"/>
                  </a:cubicBezTo>
                  <a:cubicBezTo>
                    <a:pt x="10732" y="20651"/>
                    <a:pt x="10731" y="20701"/>
                    <a:pt x="10731" y="20750"/>
                  </a:cubicBezTo>
                  <a:lnTo>
                    <a:pt x="10731" y="20750"/>
                  </a:lnTo>
                  <a:cubicBezTo>
                    <a:pt x="10731" y="26519"/>
                    <a:pt x="15406" y="31194"/>
                    <a:pt x="21175" y="31194"/>
                  </a:cubicBezTo>
                  <a:cubicBezTo>
                    <a:pt x="26785" y="31194"/>
                    <a:pt x="31333" y="26646"/>
                    <a:pt x="31333" y="21036"/>
                  </a:cubicBezTo>
                  <a:lnTo>
                    <a:pt x="31333" y="21036"/>
                  </a:lnTo>
                  <a:cubicBezTo>
                    <a:pt x="31412" y="15426"/>
                    <a:pt x="26929" y="10815"/>
                    <a:pt x="21320" y="10736"/>
                  </a:cubicBezTo>
                  <a:cubicBezTo>
                    <a:pt x="21271" y="10735"/>
                    <a:pt x="21224" y="10735"/>
                    <a:pt x="21175" y="107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5" name="Freeform: Shape 244">
              <a:extLst>
                <a:ext uri="{FF2B5EF4-FFF2-40B4-BE49-F238E27FC236}">
                  <a16:creationId xmlns:a16="http://schemas.microsoft.com/office/drawing/2014/main" id="{46737958-D2EC-4132-A4D6-CA52467B30B5}"/>
                </a:ext>
              </a:extLst>
            </p:cNvPr>
            <p:cNvSpPr/>
            <p:nvPr/>
          </p:nvSpPr>
          <p:spPr>
            <a:xfrm>
              <a:off x="5935740" y="5962403"/>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6" name="Freeform: Shape 245">
              <a:extLst>
                <a:ext uri="{FF2B5EF4-FFF2-40B4-BE49-F238E27FC236}">
                  <a16:creationId xmlns:a16="http://schemas.microsoft.com/office/drawing/2014/main" id="{FA0AD346-B216-4226-AB90-7FB84A8AA778}"/>
                </a:ext>
              </a:extLst>
            </p:cNvPr>
            <p:cNvSpPr/>
            <p:nvPr/>
          </p:nvSpPr>
          <p:spPr>
            <a:xfrm>
              <a:off x="5855761" y="5862254"/>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7" name="Freeform: Shape 246">
              <a:extLst>
                <a:ext uri="{FF2B5EF4-FFF2-40B4-BE49-F238E27FC236}">
                  <a16:creationId xmlns:a16="http://schemas.microsoft.com/office/drawing/2014/main" id="{5BF39348-5680-4184-AF5C-32D0A069C0FB}"/>
                </a:ext>
              </a:extLst>
            </p:cNvPr>
            <p:cNvSpPr/>
            <p:nvPr/>
          </p:nvSpPr>
          <p:spPr>
            <a:xfrm>
              <a:off x="5854903" y="5811605"/>
              <a:ext cx="42922" cy="42922"/>
            </a:xfrm>
            <a:custGeom>
              <a:avLst/>
              <a:gdLst>
                <a:gd name="connsiteX0" fmla="*/ 24609 w 42922"/>
                <a:gd name="connsiteY0" fmla="*/ 10731 h 42922"/>
                <a:gd name="connsiteX1" fmla="*/ 22892 w 42922"/>
                <a:gd name="connsiteY1" fmla="*/ 10731 h 42922"/>
                <a:gd name="connsiteX2" fmla="*/ 10731 w 42922"/>
                <a:gd name="connsiteY2" fmla="*/ 22892 h 42922"/>
                <a:gd name="connsiteX3" fmla="*/ 22892 w 42922"/>
                <a:gd name="connsiteY3" fmla="*/ 35053 h 42922"/>
                <a:gd name="connsiteX4" fmla="*/ 35045 w 42922"/>
                <a:gd name="connsiteY4" fmla="*/ 23758 h 42922"/>
                <a:gd name="connsiteX5" fmla="*/ 35053 w 42922"/>
                <a:gd name="connsiteY5" fmla="*/ 23321 h 42922"/>
                <a:gd name="connsiteX6" fmla="*/ 35053 w 42922"/>
                <a:gd name="connsiteY6" fmla="*/ 23321 h 42922"/>
                <a:gd name="connsiteX7" fmla="*/ 35912 w 42922"/>
                <a:gd name="connsiteY7" fmla="*/ 24180 h 42922"/>
                <a:gd name="connsiteX8" fmla="*/ 25135 w 42922"/>
                <a:gd name="connsiteY8" fmla="*/ 10776 h 42922"/>
                <a:gd name="connsiteX9" fmla="*/ 24609 w 42922"/>
                <a:gd name="connsiteY9"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4609" y="10731"/>
                  </a:moveTo>
                  <a:lnTo>
                    <a:pt x="22892" y="10731"/>
                  </a:lnTo>
                  <a:cubicBezTo>
                    <a:pt x="16176" y="10731"/>
                    <a:pt x="10731" y="16176"/>
                    <a:pt x="10731" y="22892"/>
                  </a:cubicBezTo>
                  <a:cubicBezTo>
                    <a:pt x="10731" y="29608"/>
                    <a:pt x="16176" y="35053"/>
                    <a:pt x="22892" y="35053"/>
                  </a:cubicBezTo>
                  <a:cubicBezTo>
                    <a:pt x="29367" y="35291"/>
                    <a:pt x="34809" y="30233"/>
                    <a:pt x="35045" y="23758"/>
                  </a:cubicBezTo>
                  <a:cubicBezTo>
                    <a:pt x="35050" y="23613"/>
                    <a:pt x="35053" y="23467"/>
                    <a:pt x="35053" y="23321"/>
                  </a:cubicBezTo>
                  <a:lnTo>
                    <a:pt x="35053" y="23321"/>
                  </a:lnTo>
                  <a:lnTo>
                    <a:pt x="35912" y="24180"/>
                  </a:lnTo>
                  <a:cubicBezTo>
                    <a:pt x="36637" y="17502"/>
                    <a:pt x="31813" y="11502"/>
                    <a:pt x="25135" y="10776"/>
                  </a:cubicBezTo>
                  <a:cubicBezTo>
                    <a:pt x="24959" y="10758"/>
                    <a:pt x="24785" y="10742"/>
                    <a:pt x="2460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8" name="Freeform: Shape 247">
              <a:extLst>
                <a:ext uri="{FF2B5EF4-FFF2-40B4-BE49-F238E27FC236}">
                  <a16:creationId xmlns:a16="http://schemas.microsoft.com/office/drawing/2014/main" id="{EFA5FF77-0B7C-4AB3-811D-3F50F87F764D}"/>
                </a:ext>
              </a:extLst>
            </p:cNvPr>
            <p:cNvSpPr/>
            <p:nvPr/>
          </p:nvSpPr>
          <p:spPr>
            <a:xfrm>
              <a:off x="5935928" y="5914237"/>
              <a:ext cx="42922" cy="42922"/>
            </a:xfrm>
            <a:custGeom>
              <a:avLst/>
              <a:gdLst>
                <a:gd name="connsiteX0" fmla="*/ 20558 w 42922"/>
                <a:gd name="connsiteY0" fmla="*/ 10827 h 42922"/>
                <a:gd name="connsiteX1" fmla="*/ 10829 w 42922"/>
                <a:gd name="connsiteY1" fmla="*/ 20556 h 42922"/>
                <a:gd name="connsiteX2" fmla="*/ 20558 w 42922"/>
                <a:gd name="connsiteY2" fmla="*/ 33240 h 42922"/>
                <a:gd name="connsiteX3" fmla="*/ 33241 w 42922"/>
                <a:gd name="connsiteY3" fmla="*/ 23511 h 42922"/>
                <a:gd name="connsiteX4" fmla="*/ 23512 w 42922"/>
                <a:gd name="connsiteY4" fmla="*/ 10827 h 42922"/>
                <a:gd name="connsiteX5" fmla="*/ 20558 w 42922"/>
                <a:gd name="connsiteY5" fmla="*/ 1082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58" y="10827"/>
                  </a:moveTo>
                  <a:cubicBezTo>
                    <a:pt x="15463" y="11448"/>
                    <a:pt x="11450" y="15461"/>
                    <a:pt x="10829" y="20556"/>
                  </a:cubicBezTo>
                  <a:cubicBezTo>
                    <a:pt x="10013" y="26746"/>
                    <a:pt x="14368" y="32423"/>
                    <a:pt x="20558" y="33240"/>
                  </a:cubicBezTo>
                  <a:cubicBezTo>
                    <a:pt x="26747" y="34055"/>
                    <a:pt x="32424" y="29699"/>
                    <a:pt x="33241" y="23511"/>
                  </a:cubicBezTo>
                  <a:cubicBezTo>
                    <a:pt x="34057" y="17321"/>
                    <a:pt x="29700" y="11643"/>
                    <a:pt x="23512" y="10827"/>
                  </a:cubicBezTo>
                  <a:cubicBezTo>
                    <a:pt x="22531" y="10698"/>
                    <a:pt x="21538" y="10698"/>
                    <a:pt x="20558" y="1082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9" name="Freeform: Shape 248">
              <a:extLst>
                <a:ext uri="{FF2B5EF4-FFF2-40B4-BE49-F238E27FC236}">
                  <a16:creationId xmlns:a16="http://schemas.microsoft.com/office/drawing/2014/main" id="{C639007F-A395-4255-9063-7DE81216ECDD}"/>
                </a:ext>
              </a:extLst>
            </p:cNvPr>
            <p:cNvSpPr/>
            <p:nvPr/>
          </p:nvSpPr>
          <p:spPr>
            <a:xfrm>
              <a:off x="5935946" y="6013671"/>
              <a:ext cx="42922" cy="42922"/>
            </a:xfrm>
            <a:custGeom>
              <a:avLst/>
              <a:gdLst>
                <a:gd name="connsiteX0" fmla="*/ 20540 w 42922"/>
                <a:gd name="connsiteY0" fmla="*/ 10829 h 42922"/>
                <a:gd name="connsiteX1" fmla="*/ 10810 w 42922"/>
                <a:gd name="connsiteY1" fmla="*/ 20702 h 42922"/>
                <a:gd name="connsiteX2" fmla="*/ 20703 w 42922"/>
                <a:gd name="connsiteY2" fmla="*/ 33258 h 42922"/>
                <a:gd name="connsiteX3" fmla="*/ 33259 w 42922"/>
                <a:gd name="connsiteY3" fmla="*/ 23364 h 42922"/>
                <a:gd name="connsiteX4" fmla="*/ 23367 w 42922"/>
                <a:gd name="connsiteY4" fmla="*/ 10809 h 42922"/>
                <a:gd name="connsiteX5" fmla="*/ 20540 w 42922"/>
                <a:gd name="connsiteY5" fmla="*/ 1082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40" y="10829"/>
                  </a:moveTo>
                  <a:cubicBezTo>
                    <a:pt x="15446" y="11559"/>
                    <a:pt x="11466" y="15598"/>
                    <a:pt x="10810" y="20702"/>
                  </a:cubicBezTo>
                  <a:cubicBezTo>
                    <a:pt x="10075" y="26901"/>
                    <a:pt x="14505" y="32522"/>
                    <a:pt x="20703" y="33258"/>
                  </a:cubicBezTo>
                  <a:cubicBezTo>
                    <a:pt x="26902" y="33993"/>
                    <a:pt x="32523" y="29564"/>
                    <a:pt x="33259" y="23364"/>
                  </a:cubicBezTo>
                  <a:cubicBezTo>
                    <a:pt x="33994" y="17166"/>
                    <a:pt x="29565" y="11545"/>
                    <a:pt x="23367" y="10809"/>
                  </a:cubicBezTo>
                  <a:cubicBezTo>
                    <a:pt x="22427" y="10698"/>
                    <a:pt x="21477" y="10705"/>
                    <a:pt x="20540" y="1082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0" name="Freeform: Shape 249">
              <a:extLst>
                <a:ext uri="{FF2B5EF4-FFF2-40B4-BE49-F238E27FC236}">
                  <a16:creationId xmlns:a16="http://schemas.microsoft.com/office/drawing/2014/main" id="{DAD59CFA-4C37-472F-9741-AFE34509C46B}"/>
                </a:ext>
              </a:extLst>
            </p:cNvPr>
            <p:cNvSpPr/>
            <p:nvPr/>
          </p:nvSpPr>
          <p:spPr>
            <a:xfrm>
              <a:off x="5935130" y="5813950"/>
              <a:ext cx="42922" cy="28615"/>
            </a:xfrm>
            <a:custGeom>
              <a:avLst/>
              <a:gdLst>
                <a:gd name="connsiteX0" fmla="*/ 23645 w 42922"/>
                <a:gd name="connsiteY0" fmla="*/ 30419 h 28614"/>
                <a:gd name="connsiteX1" fmla="*/ 33374 w 42922"/>
                <a:gd name="connsiteY1" fmla="*/ 20547 h 28614"/>
                <a:gd name="connsiteX2" fmla="*/ 20640 w 42922"/>
                <a:gd name="connsiteY2" fmla="*/ 10818 h 28614"/>
                <a:gd name="connsiteX3" fmla="*/ 10731 w 42922"/>
                <a:gd name="connsiteY3" fmla="*/ 20939 h 28614"/>
                <a:gd name="connsiteX4" fmla="*/ 20852 w 42922"/>
                <a:gd name="connsiteY4" fmla="*/ 30847 h 28614"/>
                <a:gd name="connsiteX5" fmla="*/ 23645 w 42922"/>
                <a:gd name="connsiteY5" fmla="*/ 3041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645" y="30419"/>
                  </a:moveTo>
                  <a:cubicBezTo>
                    <a:pt x="28716" y="29644"/>
                    <a:pt x="32673" y="25628"/>
                    <a:pt x="33374" y="20547"/>
                  </a:cubicBezTo>
                  <a:cubicBezTo>
                    <a:pt x="32487" y="14378"/>
                    <a:pt x="26826" y="10054"/>
                    <a:pt x="20640" y="10818"/>
                  </a:cubicBezTo>
                  <a:cubicBezTo>
                    <a:pt x="15109" y="10877"/>
                    <a:pt x="10674" y="15408"/>
                    <a:pt x="10731" y="20939"/>
                  </a:cubicBezTo>
                  <a:cubicBezTo>
                    <a:pt x="10790" y="26469"/>
                    <a:pt x="15321" y="30906"/>
                    <a:pt x="20852" y="30847"/>
                  </a:cubicBezTo>
                  <a:cubicBezTo>
                    <a:pt x="21799" y="30837"/>
                    <a:pt x="22739" y="30693"/>
                    <a:pt x="23645" y="3041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1" name="Freeform: Shape 250">
              <a:extLst>
                <a:ext uri="{FF2B5EF4-FFF2-40B4-BE49-F238E27FC236}">
                  <a16:creationId xmlns:a16="http://schemas.microsoft.com/office/drawing/2014/main" id="{82EBD296-12C9-40C8-8335-6654D8294041}"/>
                </a:ext>
              </a:extLst>
            </p:cNvPr>
            <p:cNvSpPr/>
            <p:nvPr/>
          </p:nvSpPr>
          <p:spPr>
            <a:xfrm>
              <a:off x="5935740" y="6061840"/>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2" name="Freeform: Shape 251">
              <a:extLst>
                <a:ext uri="{FF2B5EF4-FFF2-40B4-BE49-F238E27FC236}">
                  <a16:creationId xmlns:a16="http://schemas.microsoft.com/office/drawing/2014/main" id="{2FD2BC53-B181-4341-A432-AEA5BF50F9AA}"/>
                </a:ext>
              </a:extLst>
            </p:cNvPr>
            <p:cNvSpPr/>
            <p:nvPr/>
          </p:nvSpPr>
          <p:spPr>
            <a:xfrm>
              <a:off x="5855476" y="6011337"/>
              <a:ext cx="42922" cy="42922"/>
            </a:xfrm>
            <a:custGeom>
              <a:avLst/>
              <a:gdLst>
                <a:gd name="connsiteX0" fmla="*/ 23178 w 42922"/>
                <a:gd name="connsiteY0" fmla="*/ 10731 h 42922"/>
                <a:gd name="connsiteX1" fmla="*/ 10731 w 42922"/>
                <a:gd name="connsiteY1" fmla="*/ 22891 h 42922"/>
                <a:gd name="connsiteX2" fmla="*/ 22891 w 42922"/>
                <a:gd name="connsiteY2" fmla="*/ 35339 h 42922"/>
                <a:gd name="connsiteX3" fmla="*/ 35337 w 42922"/>
                <a:gd name="connsiteY3" fmla="*/ 23178 h 42922"/>
                <a:gd name="connsiteX4" fmla="*/ 35339 w 42922"/>
                <a:gd name="connsiteY4" fmla="*/ 23036 h 42922"/>
                <a:gd name="connsiteX5" fmla="*/ 2317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178" y="10731"/>
                  </a:moveTo>
                  <a:cubicBezTo>
                    <a:pt x="16383" y="10653"/>
                    <a:pt x="10810" y="16097"/>
                    <a:pt x="10731" y="22891"/>
                  </a:cubicBezTo>
                  <a:cubicBezTo>
                    <a:pt x="10651" y="29687"/>
                    <a:pt x="16097" y="35260"/>
                    <a:pt x="22891" y="35339"/>
                  </a:cubicBezTo>
                  <a:cubicBezTo>
                    <a:pt x="29686" y="35418"/>
                    <a:pt x="35259" y="29974"/>
                    <a:pt x="35337" y="23178"/>
                  </a:cubicBezTo>
                  <a:cubicBezTo>
                    <a:pt x="35339" y="23130"/>
                    <a:pt x="35339" y="23083"/>
                    <a:pt x="35339" y="23036"/>
                  </a:cubicBezTo>
                  <a:cubicBezTo>
                    <a:pt x="35339" y="16296"/>
                    <a:pt x="29918" y="10810"/>
                    <a:pt x="2317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3" name="Freeform: Shape 252">
              <a:extLst>
                <a:ext uri="{FF2B5EF4-FFF2-40B4-BE49-F238E27FC236}">
                  <a16:creationId xmlns:a16="http://schemas.microsoft.com/office/drawing/2014/main" id="{EB8FCE21-686A-4808-BE5A-812E2FE1829D}"/>
                </a:ext>
              </a:extLst>
            </p:cNvPr>
            <p:cNvSpPr/>
            <p:nvPr/>
          </p:nvSpPr>
          <p:spPr>
            <a:xfrm>
              <a:off x="5935739" y="5862823"/>
              <a:ext cx="42922" cy="42922"/>
            </a:xfrm>
            <a:custGeom>
              <a:avLst/>
              <a:gdLst>
                <a:gd name="connsiteX0" fmla="*/ 22321 w 42922"/>
                <a:gd name="connsiteY0" fmla="*/ 10734 h 42922"/>
                <a:gd name="connsiteX1" fmla="*/ 10734 w 42922"/>
                <a:gd name="connsiteY1" fmla="*/ 21747 h 42922"/>
                <a:gd name="connsiteX2" fmla="*/ 10732 w 42922"/>
                <a:gd name="connsiteY2" fmla="*/ 21894 h 42922"/>
                <a:gd name="connsiteX3" fmla="*/ 22033 w 42922"/>
                <a:gd name="connsiteY3" fmla="*/ 33483 h 42922"/>
                <a:gd name="connsiteX4" fmla="*/ 22034 w 42922"/>
                <a:gd name="connsiteY4" fmla="*/ 33483 h 42922"/>
                <a:gd name="connsiteX5" fmla="*/ 22034 w 42922"/>
                <a:gd name="connsiteY5" fmla="*/ 33483 h 42922"/>
                <a:gd name="connsiteX6" fmla="*/ 33336 w 42922"/>
                <a:gd name="connsiteY6" fmla="*/ 22468 h 42922"/>
                <a:gd name="connsiteX7" fmla="*/ 33337 w 42922"/>
                <a:gd name="connsiteY7" fmla="*/ 22323 h 42922"/>
                <a:gd name="connsiteX8" fmla="*/ 22328 w 42922"/>
                <a:gd name="connsiteY8" fmla="*/ 10734 h 42922"/>
                <a:gd name="connsiteX9" fmla="*/ 22321 w 42922"/>
                <a:gd name="connsiteY9"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2321" y="10734"/>
                  </a:moveTo>
                  <a:cubicBezTo>
                    <a:pt x="16080" y="10576"/>
                    <a:pt x="10893" y="15506"/>
                    <a:pt x="10734" y="21747"/>
                  </a:cubicBezTo>
                  <a:cubicBezTo>
                    <a:pt x="10733" y="21795"/>
                    <a:pt x="10732" y="21846"/>
                    <a:pt x="10732" y="21894"/>
                  </a:cubicBezTo>
                  <a:cubicBezTo>
                    <a:pt x="10651" y="28215"/>
                    <a:pt x="15712" y="33403"/>
                    <a:pt x="22033" y="33483"/>
                  </a:cubicBezTo>
                  <a:cubicBezTo>
                    <a:pt x="22033" y="33483"/>
                    <a:pt x="22034" y="33483"/>
                    <a:pt x="22034" y="33483"/>
                  </a:cubicBezTo>
                  <a:lnTo>
                    <a:pt x="22034" y="33483"/>
                  </a:lnTo>
                  <a:cubicBezTo>
                    <a:pt x="28197" y="33562"/>
                    <a:pt x="33257" y="28630"/>
                    <a:pt x="33336" y="22468"/>
                  </a:cubicBezTo>
                  <a:cubicBezTo>
                    <a:pt x="33337" y="22419"/>
                    <a:pt x="33337" y="22372"/>
                    <a:pt x="33337" y="22323"/>
                  </a:cubicBezTo>
                  <a:cubicBezTo>
                    <a:pt x="33498" y="16082"/>
                    <a:pt x="28569" y="10895"/>
                    <a:pt x="22328" y="10734"/>
                  </a:cubicBezTo>
                  <a:cubicBezTo>
                    <a:pt x="22325" y="10734"/>
                    <a:pt x="22323" y="10734"/>
                    <a:pt x="22321"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4" name="Freeform: Shape 253">
              <a:extLst>
                <a:ext uri="{FF2B5EF4-FFF2-40B4-BE49-F238E27FC236}">
                  <a16:creationId xmlns:a16="http://schemas.microsoft.com/office/drawing/2014/main" id="{59750AF2-9FB1-4C02-AA02-769174FF5433}"/>
                </a:ext>
              </a:extLst>
            </p:cNvPr>
            <p:cNvSpPr/>
            <p:nvPr/>
          </p:nvSpPr>
          <p:spPr>
            <a:xfrm>
              <a:off x="5614951" y="5811605"/>
              <a:ext cx="42922" cy="42922"/>
            </a:xfrm>
            <a:custGeom>
              <a:avLst/>
              <a:gdLst>
                <a:gd name="connsiteX0" fmla="*/ 23480 w 42922"/>
                <a:gd name="connsiteY0" fmla="*/ 38916 h 42922"/>
                <a:gd name="connsiteX1" fmla="*/ 38645 w 42922"/>
                <a:gd name="connsiteY1" fmla="*/ 26040 h 42922"/>
                <a:gd name="connsiteX2" fmla="*/ 25769 w 42922"/>
                <a:gd name="connsiteY2" fmla="*/ 10731 h 42922"/>
                <a:gd name="connsiteX3" fmla="*/ 25769 w 42922"/>
                <a:gd name="connsiteY3" fmla="*/ 10731 h 42922"/>
                <a:gd name="connsiteX4" fmla="*/ 11461 w 42922"/>
                <a:gd name="connsiteY4" fmla="*/ 25038 h 42922"/>
                <a:gd name="connsiteX5" fmla="*/ 10746 w 42922"/>
                <a:gd name="connsiteY5" fmla="*/ 24037 h 42922"/>
                <a:gd name="connsiteX6" fmla="*/ 23480 w 42922"/>
                <a:gd name="connsiteY6" fmla="*/ 3891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3480" y="38916"/>
                  </a:moveTo>
                  <a:cubicBezTo>
                    <a:pt x="31180" y="39417"/>
                    <a:pt x="37890" y="33720"/>
                    <a:pt x="38645" y="26040"/>
                  </a:cubicBezTo>
                  <a:cubicBezTo>
                    <a:pt x="39226" y="18285"/>
                    <a:pt x="33508" y="11486"/>
                    <a:pt x="25769" y="10731"/>
                  </a:cubicBezTo>
                  <a:lnTo>
                    <a:pt x="25769" y="10731"/>
                  </a:lnTo>
                  <a:cubicBezTo>
                    <a:pt x="17867" y="10731"/>
                    <a:pt x="11461" y="17136"/>
                    <a:pt x="11461" y="25038"/>
                  </a:cubicBezTo>
                  <a:lnTo>
                    <a:pt x="10746" y="24037"/>
                  </a:lnTo>
                  <a:cubicBezTo>
                    <a:pt x="10400" y="31580"/>
                    <a:pt x="15974" y="38094"/>
                    <a:pt x="23480" y="3891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5" name="Freeform: Shape 254">
              <a:extLst>
                <a:ext uri="{FF2B5EF4-FFF2-40B4-BE49-F238E27FC236}">
                  <a16:creationId xmlns:a16="http://schemas.microsoft.com/office/drawing/2014/main" id="{3A244B8F-A7AB-4A5C-AB31-93F6F2DB1FFB}"/>
                </a:ext>
              </a:extLst>
            </p:cNvPr>
            <p:cNvSpPr/>
            <p:nvPr/>
          </p:nvSpPr>
          <p:spPr>
            <a:xfrm>
              <a:off x="5855761" y="5911901"/>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3321 h 42922"/>
                <a:gd name="connsiteX4" fmla="*/ 35053 w 42922"/>
                <a:gd name="connsiteY4" fmla="*/ 23321 h 42922"/>
                <a:gd name="connsiteX5" fmla="*/ 23328 w 42922"/>
                <a:gd name="connsiteY5" fmla="*/ 10738 h 42922"/>
                <a:gd name="connsiteX6" fmla="*/ 22892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1"/>
                  </a:moveTo>
                  <a:cubicBezTo>
                    <a:pt x="16176" y="10731"/>
                    <a:pt x="10731" y="16176"/>
                    <a:pt x="10731" y="22892"/>
                  </a:cubicBezTo>
                  <a:cubicBezTo>
                    <a:pt x="10731" y="29608"/>
                    <a:pt x="16176" y="35053"/>
                    <a:pt x="22892" y="35053"/>
                  </a:cubicBezTo>
                  <a:cubicBezTo>
                    <a:pt x="29475" y="35133"/>
                    <a:pt x="34897" y="29903"/>
                    <a:pt x="35053" y="23321"/>
                  </a:cubicBezTo>
                  <a:lnTo>
                    <a:pt x="35053" y="23321"/>
                  </a:lnTo>
                  <a:cubicBezTo>
                    <a:pt x="35291" y="16610"/>
                    <a:pt x="30041" y="10975"/>
                    <a:pt x="23328" y="10738"/>
                  </a:cubicBezTo>
                  <a:cubicBezTo>
                    <a:pt x="23184" y="10733"/>
                    <a:pt x="2303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6" name="Freeform: Shape 255">
              <a:extLst>
                <a:ext uri="{FF2B5EF4-FFF2-40B4-BE49-F238E27FC236}">
                  <a16:creationId xmlns:a16="http://schemas.microsoft.com/office/drawing/2014/main" id="{4A83E866-FF76-497A-BA0C-AB31AFEA2713}"/>
                </a:ext>
              </a:extLst>
            </p:cNvPr>
            <p:cNvSpPr/>
            <p:nvPr/>
          </p:nvSpPr>
          <p:spPr>
            <a:xfrm>
              <a:off x="5856190" y="6061270"/>
              <a:ext cx="42922" cy="42922"/>
            </a:xfrm>
            <a:custGeom>
              <a:avLst/>
              <a:gdLst>
                <a:gd name="connsiteX0" fmla="*/ 22892 w 42922"/>
                <a:gd name="connsiteY0" fmla="*/ 10732 h 42922"/>
                <a:gd name="connsiteX1" fmla="*/ 22892 w 42922"/>
                <a:gd name="connsiteY1" fmla="*/ 10732 h 42922"/>
                <a:gd name="connsiteX2" fmla="*/ 10731 w 42922"/>
                <a:gd name="connsiteY2" fmla="*/ 22893 h 42922"/>
                <a:gd name="connsiteX3" fmla="*/ 22892 w 42922"/>
                <a:gd name="connsiteY3" fmla="*/ 35054 h 42922"/>
                <a:gd name="connsiteX4" fmla="*/ 35053 w 42922"/>
                <a:gd name="connsiteY4" fmla="*/ 22893 h 42922"/>
                <a:gd name="connsiteX5" fmla="*/ 23180 w 42922"/>
                <a:gd name="connsiteY5" fmla="*/ 10732 h 42922"/>
                <a:gd name="connsiteX6" fmla="*/ 22892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2"/>
                  </a:moveTo>
                  <a:lnTo>
                    <a:pt x="22892" y="10732"/>
                  </a:lnTo>
                  <a:cubicBezTo>
                    <a:pt x="16176" y="10732"/>
                    <a:pt x="10731" y="16177"/>
                    <a:pt x="10731" y="22893"/>
                  </a:cubicBezTo>
                  <a:cubicBezTo>
                    <a:pt x="10731" y="29609"/>
                    <a:pt x="16176" y="35054"/>
                    <a:pt x="22892" y="35054"/>
                  </a:cubicBezTo>
                  <a:cubicBezTo>
                    <a:pt x="29608" y="35054"/>
                    <a:pt x="35053" y="29609"/>
                    <a:pt x="35053" y="22893"/>
                  </a:cubicBezTo>
                  <a:cubicBezTo>
                    <a:pt x="35132" y="16256"/>
                    <a:pt x="29817" y="10812"/>
                    <a:pt x="23180" y="10732"/>
                  </a:cubicBezTo>
                  <a:cubicBezTo>
                    <a:pt x="23084" y="10730"/>
                    <a:pt x="22988" y="10730"/>
                    <a:pt x="2289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7" name="Freeform: Shape 256">
              <a:extLst>
                <a:ext uri="{FF2B5EF4-FFF2-40B4-BE49-F238E27FC236}">
                  <a16:creationId xmlns:a16="http://schemas.microsoft.com/office/drawing/2014/main" id="{57FCB00F-FCF0-4903-9458-56B461F2EA41}"/>
                </a:ext>
              </a:extLst>
            </p:cNvPr>
            <p:cNvSpPr/>
            <p:nvPr/>
          </p:nvSpPr>
          <p:spPr>
            <a:xfrm>
              <a:off x="5614537" y="5859965"/>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8" name="Freeform: Shape 257">
              <a:extLst>
                <a:ext uri="{FF2B5EF4-FFF2-40B4-BE49-F238E27FC236}">
                  <a16:creationId xmlns:a16="http://schemas.microsoft.com/office/drawing/2014/main" id="{6BBDB370-6705-413E-AB3A-9665942C88D3}"/>
                </a:ext>
              </a:extLst>
            </p:cNvPr>
            <p:cNvSpPr/>
            <p:nvPr/>
          </p:nvSpPr>
          <p:spPr>
            <a:xfrm>
              <a:off x="5855476" y="5961690"/>
              <a:ext cx="42922" cy="42922"/>
            </a:xfrm>
            <a:custGeom>
              <a:avLst/>
              <a:gdLst>
                <a:gd name="connsiteX0" fmla="*/ 23178 w 42922"/>
                <a:gd name="connsiteY0" fmla="*/ 10731 h 42922"/>
                <a:gd name="connsiteX1" fmla="*/ 10731 w 42922"/>
                <a:gd name="connsiteY1" fmla="*/ 22891 h 42922"/>
                <a:gd name="connsiteX2" fmla="*/ 22891 w 42922"/>
                <a:gd name="connsiteY2" fmla="*/ 35339 h 42922"/>
                <a:gd name="connsiteX3" fmla="*/ 35337 w 42922"/>
                <a:gd name="connsiteY3" fmla="*/ 23178 h 42922"/>
                <a:gd name="connsiteX4" fmla="*/ 35339 w 42922"/>
                <a:gd name="connsiteY4" fmla="*/ 23036 h 42922"/>
                <a:gd name="connsiteX5" fmla="*/ 2317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178" y="10731"/>
                  </a:moveTo>
                  <a:cubicBezTo>
                    <a:pt x="16383" y="10653"/>
                    <a:pt x="10810" y="16097"/>
                    <a:pt x="10731" y="22891"/>
                  </a:cubicBezTo>
                  <a:cubicBezTo>
                    <a:pt x="10651" y="29687"/>
                    <a:pt x="16097" y="35260"/>
                    <a:pt x="22891" y="35339"/>
                  </a:cubicBezTo>
                  <a:cubicBezTo>
                    <a:pt x="29686" y="35418"/>
                    <a:pt x="35259" y="29974"/>
                    <a:pt x="35337" y="23178"/>
                  </a:cubicBezTo>
                  <a:cubicBezTo>
                    <a:pt x="35339" y="23130"/>
                    <a:pt x="35339" y="23083"/>
                    <a:pt x="35339" y="23036"/>
                  </a:cubicBezTo>
                  <a:cubicBezTo>
                    <a:pt x="35339" y="16296"/>
                    <a:pt x="29918" y="10810"/>
                    <a:pt x="2317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9" name="Freeform: Shape 258">
              <a:extLst>
                <a:ext uri="{FF2B5EF4-FFF2-40B4-BE49-F238E27FC236}">
                  <a16:creationId xmlns:a16="http://schemas.microsoft.com/office/drawing/2014/main" id="{4D624426-2CAB-4C09-A6F8-183DD90885A2}"/>
                </a:ext>
              </a:extLst>
            </p:cNvPr>
            <p:cNvSpPr/>
            <p:nvPr/>
          </p:nvSpPr>
          <p:spPr>
            <a:xfrm>
              <a:off x="5614394" y="6009192"/>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25038 w 42922"/>
                <a:gd name="connsiteY3" fmla="*/ 10731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lnTo>
                    <a:pt x="25038" y="10731"/>
                  </a:lnTo>
                  <a:cubicBezTo>
                    <a:pt x="17136" y="10731"/>
                    <a:pt x="10731" y="17136"/>
                    <a:pt x="10731" y="25038"/>
                  </a:cubicBez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0" name="Freeform: Shape 259">
              <a:extLst>
                <a:ext uri="{FF2B5EF4-FFF2-40B4-BE49-F238E27FC236}">
                  <a16:creationId xmlns:a16="http://schemas.microsoft.com/office/drawing/2014/main" id="{E5DB01D0-13A2-487B-9478-A88845991311}"/>
                </a:ext>
              </a:extLst>
            </p:cNvPr>
            <p:cNvSpPr/>
            <p:nvPr/>
          </p:nvSpPr>
          <p:spPr>
            <a:xfrm>
              <a:off x="5536847" y="6060269"/>
              <a:ext cx="42922" cy="42922"/>
            </a:xfrm>
            <a:custGeom>
              <a:avLst/>
              <a:gdLst>
                <a:gd name="connsiteX0" fmla="*/ 23894 w 42922"/>
                <a:gd name="connsiteY0" fmla="*/ 10731 h 42922"/>
                <a:gd name="connsiteX1" fmla="*/ 10731 w 42922"/>
                <a:gd name="connsiteY1" fmla="*/ 23894 h 42922"/>
                <a:gd name="connsiteX2" fmla="*/ 23894 w 42922"/>
                <a:gd name="connsiteY2" fmla="*/ 37056 h 42922"/>
                <a:gd name="connsiteX3" fmla="*/ 37056 w 42922"/>
                <a:gd name="connsiteY3" fmla="*/ 23894 h 42922"/>
                <a:gd name="connsiteX4" fmla="*/ 23894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4" y="10731"/>
                  </a:moveTo>
                  <a:cubicBezTo>
                    <a:pt x="16624" y="10731"/>
                    <a:pt x="10731" y="16624"/>
                    <a:pt x="10731" y="23894"/>
                  </a:cubicBezTo>
                  <a:cubicBezTo>
                    <a:pt x="10731" y="31163"/>
                    <a:pt x="16624" y="37056"/>
                    <a:pt x="23894" y="37056"/>
                  </a:cubicBezTo>
                  <a:cubicBezTo>
                    <a:pt x="31163" y="37056"/>
                    <a:pt x="37056" y="31163"/>
                    <a:pt x="37056" y="23894"/>
                  </a:cubicBezTo>
                  <a:cubicBezTo>
                    <a:pt x="37056" y="16624"/>
                    <a:pt x="31163" y="10731"/>
                    <a:pt x="2389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1" name="Freeform: Shape 260">
              <a:extLst>
                <a:ext uri="{FF2B5EF4-FFF2-40B4-BE49-F238E27FC236}">
                  <a16:creationId xmlns:a16="http://schemas.microsoft.com/office/drawing/2014/main" id="{A25669DD-ED73-48C8-841F-A23577A519F4}"/>
                </a:ext>
              </a:extLst>
            </p:cNvPr>
            <p:cNvSpPr/>
            <p:nvPr/>
          </p:nvSpPr>
          <p:spPr>
            <a:xfrm>
              <a:off x="5615109" y="6059268"/>
              <a:ext cx="42922" cy="42922"/>
            </a:xfrm>
            <a:custGeom>
              <a:avLst/>
              <a:gdLst>
                <a:gd name="connsiteX0" fmla="*/ 25038 w 42922"/>
                <a:gd name="connsiteY0" fmla="*/ 10731 h 42922"/>
                <a:gd name="connsiteX1" fmla="*/ 10731 w 42922"/>
                <a:gd name="connsiteY1" fmla="*/ 25038 h 42922"/>
                <a:gd name="connsiteX2" fmla="*/ 10731 w 42922"/>
                <a:gd name="connsiteY2" fmla="*/ 25038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lnTo>
                    <a:pt x="10731" y="25038"/>
                  </a:lnTo>
                  <a:cubicBezTo>
                    <a:pt x="10731" y="32940"/>
                    <a:pt x="17136" y="39346"/>
                    <a:pt x="25038" y="39346"/>
                  </a:cubicBez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2" name="Freeform: Shape 261">
              <a:extLst>
                <a:ext uri="{FF2B5EF4-FFF2-40B4-BE49-F238E27FC236}">
                  <a16:creationId xmlns:a16="http://schemas.microsoft.com/office/drawing/2014/main" id="{1972A5E4-8A0E-4844-9B14-83A231991321}"/>
                </a:ext>
              </a:extLst>
            </p:cNvPr>
            <p:cNvSpPr/>
            <p:nvPr/>
          </p:nvSpPr>
          <p:spPr>
            <a:xfrm>
              <a:off x="5536990" y="5910470"/>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3" name="Freeform: Shape 262">
              <a:extLst>
                <a:ext uri="{FF2B5EF4-FFF2-40B4-BE49-F238E27FC236}">
                  <a16:creationId xmlns:a16="http://schemas.microsoft.com/office/drawing/2014/main" id="{ACE1D4AC-5DB5-40D5-A0B8-8100C64B72A0}"/>
                </a:ext>
              </a:extLst>
            </p:cNvPr>
            <p:cNvSpPr/>
            <p:nvPr/>
          </p:nvSpPr>
          <p:spPr>
            <a:xfrm>
              <a:off x="5536275" y="5861252"/>
              <a:ext cx="42922" cy="42922"/>
            </a:xfrm>
            <a:custGeom>
              <a:avLst/>
              <a:gdLst>
                <a:gd name="connsiteX0" fmla="*/ 23893 w 42922"/>
                <a:gd name="connsiteY0" fmla="*/ 37056 h 42922"/>
                <a:gd name="connsiteX1" fmla="*/ 37056 w 42922"/>
                <a:gd name="connsiteY1" fmla="*/ 23894 h 42922"/>
                <a:gd name="connsiteX2" fmla="*/ 23893 w 42922"/>
                <a:gd name="connsiteY2" fmla="*/ 10731 h 42922"/>
                <a:gd name="connsiteX3" fmla="*/ 10731 w 42922"/>
                <a:gd name="connsiteY3" fmla="*/ 23894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4"/>
                  </a:cubicBezTo>
                  <a:cubicBezTo>
                    <a:pt x="37056" y="16624"/>
                    <a:pt x="31163" y="10731"/>
                    <a:pt x="23893" y="10731"/>
                  </a:cubicBezTo>
                  <a:cubicBezTo>
                    <a:pt x="16624" y="10731"/>
                    <a:pt x="10731" y="16624"/>
                    <a:pt x="10731" y="23894"/>
                  </a:cubicBezTo>
                  <a:cubicBezTo>
                    <a:pt x="10731" y="31163"/>
                    <a:pt x="16624" y="37056"/>
                    <a:pt x="23893"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4" name="Freeform: Shape 263">
              <a:extLst>
                <a:ext uri="{FF2B5EF4-FFF2-40B4-BE49-F238E27FC236}">
                  <a16:creationId xmlns:a16="http://schemas.microsoft.com/office/drawing/2014/main" id="{6BF3D808-62A4-45B4-BB0F-06E33938E4B8}"/>
                </a:ext>
              </a:extLst>
            </p:cNvPr>
            <p:cNvSpPr/>
            <p:nvPr/>
          </p:nvSpPr>
          <p:spPr>
            <a:xfrm>
              <a:off x="5536274" y="5960689"/>
              <a:ext cx="42922" cy="42922"/>
            </a:xfrm>
            <a:custGeom>
              <a:avLst/>
              <a:gdLst>
                <a:gd name="connsiteX0" fmla="*/ 23895 w 42922"/>
                <a:gd name="connsiteY0" fmla="*/ 37056 h 42922"/>
                <a:gd name="connsiteX1" fmla="*/ 37056 w 42922"/>
                <a:gd name="connsiteY1" fmla="*/ 23892 h 42922"/>
                <a:gd name="connsiteX2" fmla="*/ 23893 w 42922"/>
                <a:gd name="connsiteY2" fmla="*/ 10731 h 42922"/>
                <a:gd name="connsiteX3" fmla="*/ 10731 w 42922"/>
                <a:gd name="connsiteY3" fmla="*/ 23895 h 42922"/>
                <a:gd name="connsiteX4" fmla="*/ 10732 w 42922"/>
                <a:gd name="connsiteY4" fmla="*/ 24037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2"/>
                    <a:pt x="37056" y="23892"/>
                  </a:cubicBezTo>
                  <a:cubicBezTo>
                    <a:pt x="37056" y="16622"/>
                    <a:pt x="31163" y="10731"/>
                    <a:pt x="23893" y="10731"/>
                  </a:cubicBezTo>
                  <a:cubicBezTo>
                    <a:pt x="16624" y="10731"/>
                    <a:pt x="10731" y="16625"/>
                    <a:pt x="10731" y="23895"/>
                  </a:cubicBezTo>
                  <a:cubicBezTo>
                    <a:pt x="10731" y="23942"/>
                    <a:pt x="10732" y="23989"/>
                    <a:pt x="10732" y="24037"/>
                  </a:cubicBezTo>
                  <a:cubicBezTo>
                    <a:pt x="10811" y="31250"/>
                    <a:pt x="16681" y="37056"/>
                    <a:pt x="23895"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5" name="Freeform: Shape 264">
              <a:extLst>
                <a:ext uri="{FF2B5EF4-FFF2-40B4-BE49-F238E27FC236}">
                  <a16:creationId xmlns:a16="http://schemas.microsoft.com/office/drawing/2014/main" id="{94BC325B-37BB-44FB-85E7-671E15CFA4E3}"/>
                </a:ext>
              </a:extLst>
            </p:cNvPr>
            <p:cNvSpPr/>
            <p:nvPr/>
          </p:nvSpPr>
          <p:spPr>
            <a:xfrm>
              <a:off x="5536274" y="6010336"/>
              <a:ext cx="42922" cy="42922"/>
            </a:xfrm>
            <a:custGeom>
              <a:avLst/>
              <a:gdLst>
                <a:gd name="connsiteX0" fmla="*/ 23895 w 42922"/>
                <a:gd name="connsiteY0" fmla="*/ 37056 h 42922"/>
                <a:gd name="connsiteX1" fmla="*/ 37056 w 42922"/>
                <a:gd name="connsiteY1" fmla="*/ 23892 h 42922"/>
                <a:gd name="connsiteX2" fmla="*/ 23893 w 42922"/>
                <a:gd name="connsiteY2" fmla="*/ 10731 h 42922"/>
                <a:gd name="connsiteX3" fmla="*/ 10731 w 42922"/>
                <a:gd name="connsiteY3" fmla="*/ 23895 h 42922"/>
                <a:gd name="connsiteX4" fmla="*/ 10732 w 42922"/>
                <a:gd name="connsiteY4" fmla="*/ 24037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2"/>
                    <a:pt x="37056" y="23892"/>
                  </a:cubicBezTo>
                  <a:cubicBezTo>
                    <a:pt x="37056" y="16622"/>
                    <a:pt x="31163" y="10731"/>
                    <a:pt x="23893" y="10731"/>
                  </a:cubicBezTo>
                  <a:cubicBezTo>
                    <a:pt x="16624" y="10731"/>
                    <a:pt x="10731" y="16625"/>
                    <a:pt x="10731" y="23895"/>
                  </a:cubicBezTo>
                  <a:cubicBezTo>
                    <a:pt x="10731" y="23942"/>
                    <a:pt x="10732" y="23989"/>
                    <a:pt x="10732" y="24037"/>
                  </a:cubicBezTo>
                  <a:cubicBezTo>
                    <a:pt x="10811" y="31250"/>
                    <a:pt x="16681" y="37056"/>
                    <a:pt x="23895"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6" name="Freeform: Shape 265">
              <a:extLst>
                <a:ext uri="{FF2B5EF4-FFF2-40B4-BE49-F238E27FC236}">
                  <a16:creationId xmlns:a16="http://schemas.microsoft.com/office/drawing/2014/main" id="{20A96A7C-AEF3-4F61-941A-A6BAA133D408}"/>
                </a:ext>
              </a:extLst>
            </p:cNvPr>
            <p:cNvSpPr/>
            <p:nvPr/>
          </p:nvSpPr>
          <p:spPr>
            <a:xfrm>
              <a:off x="5457727" y="5862254"/>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7" name="Freeform: Shape 266">
              <a:extLst>
                <a:ext uri="{FF2B5EF4-FFF2-40B4-BE49-F238E27FC236}">
                  <a16:creationId xmlns:a16="http://schemas.microsoft.com/office/drawing/2014/main" id="{94EF5DB7-19E5-4E37-A733-B47CE64665F6}"/>
                </a:ext>
              </a:extLst>
            </p:cNvPr>
            <p:cNvSpPr/>
            <p:nvPr/>
          </p:nvSpPr>
          <p:spPr>
            <a:xfrm>
              <a:off x="6097271" y="6013626"/>
              <a:ext cx="28615" cy="28615"/>
            </a:xfrm>
            <a:custGeom>
              <a:avLst/>
              <a:gdLst>
                <a:gd name="connsiteX0" fmla="*/ 20174 w 28614"/>
                <a:gd name="connsiteY0" fmla="*/ 10732 h 28614"/>
                <a:gd name="connsiteX1" fmla="*/ 10731 w 28614"/>
                <a:gd name="connsiteY1" fmla="*/ 19889 h 28614"/>
                <a:gd name="connsiteX2" fmla="*/ 20174 w 28614"/>
                <a:gd name="connsiteY2" fmla="*/ 29332 h 28614"/>
                <a:gd name="connsiteX3" fmla="*/ 29473 w 28614"/>
                <a:gd name="connsiteY3" fmla="*/ 19889 h 28614"/>
                <a:gd name="connsiteX4" fmla="*/ 20318 w 28614"/>
                <a:gd name="connsiteY4" fmla="*/ 10731 h 28614"/>
                <a:gd name="connsiteX5" fmla="*/ 20174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174" y="10732"/>
                  </a:moveTo>
                  <a:cubicBezTo>
                    <a:pt x="15069" y="10729"/>
                    <a:pt x="10885" y="14785"/>
                    <a:pt x="10731" y="19889"/>
                  </a:cubicBezTo>
                  <a:cubicBezTo>
                    <a:pt x="10880" y="25041"/>
                    <a:pt x="15021" y="29183"/>
                    <a:pt x="20174" y="29332"/>
                  </a:cubicBezTo>
                  <a:cubicBezTo>
                    <a:pt x="25333" y="29253"/>
                    <a:pt x="29473" y="25048"/>
                    <a:pt x="29473" y="19889"/>
                  </a:cubicBezTo>
                  <a:cubicBezTo>
                    <a:pt x="29473" y="14831"/>
                    <a:pt x="25374" y="10732"/>
                    <a:pt x="20318" y="10731"/>
                  </a:cubicBezTo>
                  <a:cubicBezTo>
                    <a:pt x="20269" y="10731"/>
                    <a:pt x="20222" y="10731"/>
                    <a:pt x="20174"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8" name="Freeform: Shape 267">
              <a:extLst>
                <a:ext uri="{FF2B5EF4-FFF2-40B4-BE49-F238E27FC236}">
                  <a16:creationId xmlns:a16="http://schemas.microsoft.com/office/drawing/2014/main" id="{18EF0626-174A-4FBB-AEB3-F4CF1D86C0E3}"/>
                </a:ext>
              </a:extLst>
            </p:cNvPr>
            <p:cNvSpPr/>
            <p:nvPr/>
          </p:nvSpPr>
          <p:spPr>
            <a:xfrm>
              <a:off x="5536990" y="5812464"/>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9" name="Freeform: Shape 268">
              <a:extLst>
                <a:ext uri="{FF2B5EF4-FFF2-40B4-BE49-F238E27FC236}">
                  <a16:creationId xmlns:a16="http://schemas.microsoft.com/office/drawing/2014/main" id="{D7F2F442-B18E-4200-BA72-14EF0D4DA033}"/>
                </a:ext>
              </a:extLst>
            </p:cNvPr>
            <p:cNvSpPr/>
            <p:nvPr/>
          </p:nvSpPr>
          <p:spPr>
            <a:xfrm>
              <a:off x="6096984" y="6063989"/>
              <a:ext cx="28615" cy="28615"/>
            </a:xfrm>
            <a:custGeom>
              <a:avLst/>
              <a:gdLst>
                <a:gd name="connsiteX0" fmla="*/ 20461 w 28614"/>
                <a:gd name="connsiteY0" fmla="*/ 10731 h 28614"/>
                <a:gd name="connsiteX1" fmla="*/ 20461 w 28614"/>
                <a:gd name="connsiteY1" fmla="*/ 10731 h 28614"/>
                <a:gd name="connsiteX2" fmla="*/ 10731 w 28614"/>
                <a:gd name="connsiteY2" fmla="*/ 20458 h 28614"/>
                <a:gd name="connsiteX3" fmla="*/ 10732 w 28614"/>
                <a:gd name="connsiteY3" fmla="*/ 20603 h 28614"/>
                <a:gd name="connsiteX4" fmla="*/ 20173 w 28614"/>
                <a:gd name="connsiteY4" fmla="*/ 30332 h 28614"/>
                <a:gd name="connsiteX5" fmla="*/ 20461 w 28614"/>
                <a:gd name="connsiteY5" fmla="*/ 30332 h 28614"/>
                <a:gd name="connsiteX6" fmla="*/ 29761 w 28614"/>
                <a:gd name="connsiteY6" fmla="*/ 21175 h 28614"/>
                <a:gd name="connsiteX7" fmla="*/ 29761 w 28614"/>
                <a:gd name="connsiteY7" fmla="*/ 20174 h 28614"/>
                <a:gd name="connsiteX8" fmla="*/ 20606 w 28614"/>
                <a:gd name="connsiteY8" fmla="*/ 10732 h 28614"/>
                <a:gd name="connsiteX9" fmla="*/ 20461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0461" y="10731"/>
                  </a:moveTo>
                  <a:lnTo>
                    <a:pt x="20461" y="10731"/>
                  </a:lnTo>
                  <a:cubicBezTo>
                    <a:pt x="15087" y="10731"/>
                    <a:pt x="10732" y="15086"/>
                    <a:pt x="10731" y="20458"/>
                  </a:cubicBezTo>
                  <a:cubicBezTo>
                    <a:pt x="10731" y="20507"/>
                    <a:pt x="10731" y="20554"/>
                    <a:pt x="10732" y="20603"/>
                  </a:cubicBezTo>
                  <a:cubicBezTo>
                    <a:pt x="10652" y="25897"/>
                    <a:pt x="14880" y="30252"/>
                    <a:pt x="20173" y="30332"/>
                  </a:cubicBezTo>
                  <a:cubicBezTo>
                    <a:pt x="20269" y="30333"/>
                    <a:pt x="20365" y="30333"/>
                    <a:pt x="20461" y="30332"/>
                  </a:cubicBezTo>
                  <a:cubicBezTo>
                    <a:pt x="25542" y="30332"/>
                    <a:pt x="29682" y="26256"/>
                    <a:pt x="29761" y="21175"/>
                  </a:cubicBezTo>
                  <a:lnTo>
                    <a:pt x="29761" y="20174"/>
                  </a:lnTo>
                  <a:cubicBezTo>
                    <a:pt x="29840" y="15039"/>
                    <a:pt x="25741" y="10811"/>
                    <a:pt x="20606" y="10732"/>
                  </a:cubicBezTo>
                  <a:cubicBezTo>
                    <a:pt x="20557" y="10731"/>
                    <a:pt x="20510" y="10731"/>
                    <a:pt x="2046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0" name="Freeform: Shape 269">
              <a:extLst>
                <a:ext uri="{FF2B5EF4-FFF2-40B4-BE49-F238E27FC236}">
                  <a16:creationId xmlns:a16="http://schemas.microsoft.com/office/drawing/2014/main" id="{125ABBB6-B176-42C0-BFAF-C8983ED746D3}"/>
                </a:ext>
              </a:extLst>
            </p:cNvPr>
            <p:cNvSpPr/>
            <p:nvPr/>
          </p:nvSpPr>
          <p:spPr>
            <a:xfrm>
              <a:off x="6097271" y="5914905"/>
              <a:ext cx="28615" cy="28615"/>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80" y="25040"/>
                    <a:pt x="15021" y="29182"/>
                    <a:pt x="20174" y="29330"/>
                  </a:cubicBezTo>
                  <a:cubicBezTo>
                    <a:pt x="25333" y="29252"/>
                    <a:pt x="29473" y="25047"/>
                    <a:pt x="29473" y="19887"/>
                  </a:cubicBezTo>
                  <a:cubicBezTo>
                    <a:pt x="29395" y="14807"/>
                    <a:pt x="25254" y="10731"/>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1" name="Freeform: Shape 270">
              <a:extLst>
                <a:ext uri="{FF2B5EF4-FFF2-40B4-BE49-F238E27FC236}">
                  <a16:creationId xmlns:a16="http://schemas.microsoft.com/office/drawing/2014/main" id="{EDF3E298-ED5D-46B9-869D-2A997EC31198}"/>
                </a:ext>
              </a:extLst>
            </p:cNvPr>
            <p:cNvSpPr/>
            <p:nvPr/>
          </p:nvSpPr>
          <p:spPr>
            <a:xfrm>
              <a:off x="6097414" y="5964552"/>
              <a:ext cx="28615" cy="28615"/>
            </a:xfrm>
            <a:custGeom>
              <a:avLst/>
              <a:gdLst>
                <a:gd name="connsiteX0" fmla="*/ 20030 w 28614"/>
                <a:gd name="connsiteY0" fmla="*/ 10731 h 28614"/>
                <a:gd name="connsiteX1" fmla="*/ 10731 w 28614"/>
                <a:gd name="connsiteY1" fmla="*/ 20030 h 28614"/>
                <a:gd name="connsiteX2" fmla="*/ 20030 w 28614"/>
                <a:gd name="connsiteY2" fmla="*/ 29330 h 28614"/>
                <a:gd name="connsiteX3" fmla="*/ 29330 w 28614"/>
                <a:gd name="connsiteY3" fmla="*/ 20174 h 28614"/>
                <a:gd name="connsiteX4" fmla="*/ 2003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10731"/>
                  </a:moveTo>
                  <a:cubicBezTo>
                    <a:pt x="14894" y="10731"/>
                    <a:pt x="10731" y="14894"/>
                    <a:pt x="10731" y="20030"/>
                  </a:cubicBezTo>
                  <a:cubicBezTo>
                    <a:pt x="10731" y="25167"/>
                    <a:pt x="14894" y="29330"/>
                    <a:pt x="20030" y="29330"/>
                  </a:cubicBezTo>
                  <a:cubicBezTo>
                    <a:pt x="25111" y="29330"/>
                    <a:pt x="29252" y="25254"/>
                    <a:pt x="29330" y="20174"/>
                  </a:cubicBezTo>
                  <a:cubicBezTo>
                    <a:pt x="29330" y="15014"/>
                    <a:pt x="25190" y="10809"/>
                    <a:pt x="20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2" name="Freeform: Shape 271">
              <a:extLst>
                <a:ext uri="{FF2B5EF4-FFF2-40B4-BE49-F238E27FC236}">
                  <a16:creationId xmlns:a16="http://schemas.microsoft.com/office/drawing/2014/main" id="{83712906-6C3A-4CAA-A7AC-1A3BDC07ECF5}"/>
                </a:ext>
              </a:extLst>
            </p:cNvPr>
            <p:cNvSpPr/>
            <p:nvPr/>
          </p:nvSpPr>
          <p:spPr>
            <a:xfrm>
              <a:off x="6097271" y="5864257"/>
              <a:ext cx="28615" cy="28615"/>
            </a:xfrm>
            <a:custGeom>
              <a:avLst/>
              <a:gdLst>
                <a:gd name="connsiteX0" fmla="*/ 20174 w 28614"/>
                <a:gd name="connsiteY0" fmla="*/ 10731 h 28614"/>
                <a:gd name="connsiteX1" fmla="*/ 10731 w 28614"/>
                <a:gd name="connsiteY1" fmla="*/ 20174 h 28614"/>
                <a:gd name="connsiteX2" fmla="*/ 20174 w 28614"/>
                <a:gd name="connsiteY2" fmla="*/ 29330 h 28614"/>
                <a:gd name="connsiteX3" fmla="*/ 29473 w 28614"/>
                <a:gd name="connsiteY3" fmla="*/ 20174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21" y="10879"/>
                    <a:pt x="10880" y="15021"/>
                    <a:pt x="10731" y="20174"/>
                  </a:cubicBezTo>
                  <a:cubicBezTo>
                    <a:pt x="10885" y="25277"/>
                    <a:pt x="15069" y="29333"/>
                    <a:pt x="20174" y="29330"/>
                  </a:cubicBezTo>
                  <a:cubicBezTo>
                    <a:pt x="25254" y="29330"/>
                    <a:pt x="29395" y="25254"/>
                    <a:pt x="29473" y="20174"/>
                  </a:cubicBezTo>
                  <a:cubicBezTo>
                    <a:pt x="29473" y="15014"/>
                    <a:pt x="25333" y="10809"/>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3" name="Freeform: Shape 272">
              <a:extLst>
                <a:ext uri="{FF2B5EF4-FFF2-40B4-BE49-F238E27FC236}">
                  <a16:creationId xmlns:a16="http://schemas.microsoft.com/office/drawing/2014/main" id="{8516A94F-ED60-4C30-A268-7D3185F89C3C}"/>
                </a:ext>
              </a:extLst>
            </p:cNvPr>
            <p:cNvSpPr/>
            <p:nvPr/>
          </p:nvSpPr>
          <p:spPr>
            <a:xfrm>
              <a:off x="6015719" y="5813604"/>
              <a:ext cx="28615" cy="28615"/>
            </a:xfrm>
            <a:custGeom>
              <a:avLst/>
              <a:gdLst>
                <a:gd name="connsiteX0" fmla="*/ 21032 w 28614"/>
                <a:gd name="connsiteY0" fmla="*/ 10735 h 28614"/>
                <a:gd name="connsiteX1" fmla="*/ 10735 w 28614"/>
                <a:gd name="connsiteY1" fmla="*/ 20460 h 28614"/>
                <a:gd name="connsiteX2" fmla="*/ 10731 w 28614"/>
                <a:gd name="connsiteY2" fmla="*/ 20750 h 28614"/>
                <a:gd name="connsiteX3" fmla="*/ 10731 w 28614"/>
                <a:gd name="connsiteY3" fmla="*/ 20750 h 28614"/>
                <a:gd name="connsiteX4" fmla="*/ 21032 w 28614"/>
                <a:gd name="connsiteY4" fmla="*/ 31194 h 28614"/>
                <a:gd name="connsiteX5" fmla="*/ 31332 w 28614"/>
                <a:gd name="connsiteY5" fmla="*/ 21181 h 28614"/>
                <a:gd name="connsiteX6" fmla="*/ 31333 w 28614"/>
                <a:gd name="connsiteY6" fmla="*/ 21036 h 28614"/>
                <a:gd name="connsiteX7" fmla="*/ 31333 w 28614"/>
                <a:gd name="connsiteY7" fmla="*/ 21036 h 28614"/>
                <a:gd name="connsiteX8" fmla="*/ 21320 w 28614"/>
                <a:gd name="connsiteY8" fmla="*/ 10735 h 28614"/>
                <a:gd name="connsiteX9" fmla="*/ 21032 w 28614"/>
                <a:gd name="connsiteY9"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032" y="10735"/>
                  </a:moveTo>
                  <a:cubicBezTo>
                    <a:pt x="15504" y="10577"/>
                    <a:pt x="10892" y="14931"/>
                    <a:pt x="10735" y="20460"/>
                  </a:cubicBezTo>
                  <a:cubicBezTo>
                    <a:pt x="10732" y="20557"/>
                    <a:pt x="10731" y="20653"/>
                    <a:pt x="10731" y="20750"/>
                  </a:cubicBezTo>
                  <a:lnTo>
                    <a:pt x="10731" y="20750"/>
                  </a:lnTo>
                  <a:cubicBezTo>
                    <a:pt x="10731" y="26463"/>
                    <a:pt x="15319" y="31116"/>
                    <a:pt x="21032" y="31194"/>
                  </a:cubicBezTo>
                  <a:cubicBezTo>
                    <a:pt x="26642" y="31273"/>
                    <a:pt x="31253" y="26791"/>
                    <a:pt x="31332" y="21181"/>
                  </a:cubicBezTo>
                  <a:cubicBezTo>
                    <a:pt x="31333" y="21132"/>
                    <a:pt x="31333" y="21085"/>
                    <a:pt x="31333" y="21036"/>
                  </a:cubicBezTo>
                  <a:lnTo>
                    <a:pt x="31333" y="21036"/>
                  </a:lnTo>
                  <a:cubicBezTo>
                    <a:pt x="31414" y="15426"/>
                    <a:pt x="26930" y="10815"/>
                    <a:pt x="21320" y="10735"/>
                  </a:cubicBezTo>
                  <a:cubicBezTo>
                    <a:pt x="21224" y="10733"/>
                    <a:pt x="21128" y="10733"/>
                    <a:pt x="21032" y="107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4" name="Freeform: Shape 273">
              <a:extLst>
                <a:ext uri="{FF2B5EF4-FFF2-40B4-BE49-F238E27FC236}">
                  <a16:creationId xmlns:a16="http://schemas.microsoft.com/office/drawing/2014/main" id="{BBB2AC18-1FD0-4E42-8490-58A5241AE62B}"/>
                </a:ext>
              </a:extLst>
            </p:cNvPr>
            <p:cNvSpPr/>
            <p:nvPr/>
          </p:nvSpPr>
          <p:spPr>
            <a:xfrm>
              <a:off x="5458299" y="6060842"/>
              <a:ext cx="42922" cy="42922"/>
            </a:xfrm>
            <a:custGeom>
              <a:avLst/>
              <a:gdLst>
                <a:gd name="connsiteX0" fmla="*/ 22892 w 42922"/>
                <a:gd name="connsiteY0" fmla="*/ 11160 h 42922"/>
                <a:gd name="connsiteX1" fmla="*/ 10731 w 42922"/>
                <a:gd name="connsiteY1" fmla="*/ 22892 h 42922"/>
                <a:gd name="connsiteX2" fmla="*/ 10731 w 42922"/>
                <a:gd name="connsiteY2" fmla="*/ 22892 h 42922"/>
                <a:gd name="connsiteX3" fmla="*/ 22892 w 42922"/>
                <a:gd name="connsiteY3" fmla="*/ 35053 h 42922"/>
                <a:gd name="connsiteX4" fmla="*/ 35053 w 42922"/>
                <a:gd name="connsiteY4" fmla="*/ 22892 h 42922"/>
                <a:gd name="connsiteX5" fmla="*/ 22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2" y="11160"/>
                  </a:moveTo>
                  <a:cubicBezTo>
                    <a:pt x="16309" y="11080"/>
                    <a:pt x="10887" y="16311"/>
                    <a:pt x="10731" y="22892"/>
                  </a:cubicBezTo>
                  <a:lnTo>
                    <a:pt x="10731" y="22892"/>
                  </a:ln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5" name="Freeform: Shape 274">
              <a:extLst>
                <a:ext uri="{FF2B5EF4-FFF2-40B4-BE49-F238E27FC236}">
                  <a16:creationId xmlns:a16="http://schemas.microsoft.com/office/drawing/2014/main" id="{5A0EEDC1-9B52-42A7-9969-279E178A51DC}"/>
                </a:ext>
              </a:extLst>
            </p:cNvPr>
            <p:cNvSpPr/>
            <p:nvPr/>
          </p:nvSpPr>
          <p:spPr>
            <a:xfrm>
              <a:off x="6037037" y="5873700"/>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276" name="Freeform: Shape 275">
              <a:extLst>
                <a:ext uri="{FF2B5EF4-FFF2-40B4-BE49-F238E27FC236}">
                  <a16:creationId xmlns:a16="http://schemas.microsoft.com/office/drawing/2014/main" id="{25BA719D-20E6-4ABE-BE25-C2DA95E8B036}"/>
                </a:ext>
              </a:extLst>
            </p:cNvPr>
            <p:cNvSpPr/>
            <p:nvPr/>
          </p:nvSpPr>
          <p:spPr>
            <a:xfrm>
              <a:off x="5694659" y="6009192"/>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7" name="Freeform: Shape 276">
              <a:extLst>
                <a:ext uri="{FF2B5EF4-FFF2-40B4-BE49-F238E27FC236}">
                  <a16:creationId xmlns:a16="http://schemas.microsoft.com/office/drawing/2014/main" id="{ACABC5E4-5EEA-4E0D-BBEF-0A211F9F988E}"/>
                </a:ext>
              </a:extLst>
            </p:cNvPr>
            <p:cNvSpPr/>
            <p:nvPr/>
          </p:nvSpPr>
          <p:spPr>
            <a:xfrm>
              <a:off x="5694659" y="5959831"/>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8" name="Freeform: Shape 277">
              <a:extLst>
                <a:ext uri="{FF2B5EF4-FFF2-40B4-BE49-F238E27FC236}">
                  <a16:creationId xmlns:a16="http://schemas.microsoft.com/office/drawing/2014/main" id="{99FC39A9-1C44-4B21-87E0-9F42A4695F78}"/>
                </a:ext>
              </a:extLst>
            </p:cNvPr>
            <p:cNvSpPr/>
            <p:nvPr/>
          </p:nvSpPr>
          <p:spPr>
            <a:xfrm>
              <a:off x="5694802" y="6059125"/>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9" name="Freeform: Shape 278">
              <a:extLst>
                <a:ext uri="{FF2B5EF4-FFF2-40B4-BE49-F238E27FC236}">
                  <a16:creationId xmlns:a16="http://schemas.microsoft.com/office/drawing/2014/main" id="{B2ACFB8F-CEA1-48BE-997A-1E10B8B5F1DA}"/>
                </a:ext>
              </a:extLst>
            </p:cNvPr>
            <p:cNvSpPr/>
            <p:nvPr/>
          </p:nvSpPr>
          <p:spPr>
            <a:xfrm>
              <a:off x="5694659" y="5909898"/>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0" name="Freeform: Shape 279">
              <a:extLst>
                <a:ext uri="{FF2B5EF4-FFF2-40B4-BE49-F238E27FC236}">
                  <a16:creationId xmlns:a16="http://schemas.microsoft.com/office/drawing/2014/main" id="{55246F75-1232-40DF-81E3-AC105A754C68}"/>
                </a:ext>
              </a:extLst>
            </p:cNvPr>
            <p:cNvSpPr/>
            <p:nvPr/>
          </p:nvSpPr>
          <p:spPr>
            <a:xfrm>
              <a:off x="5458577" y="5911472"/>
              <a:ext cx="42922" cy="42922"/>
            </a:xfrm>
            <a:custGeom>
              <a:avLst/>
              <a:gdLst>
                <a:gd name="connsiteX0" fmla="*/ 22900 w 42922"/>
                <a:gd name="connsiteY0" fmla="*/ 10731 h 42922"/>
                <a:gd name="connsiteX1" fmla="*/ 10739 w 42922"/>
                <a:gd name="connsiteY1" fmla="*/ 22892 h 42922"/>
                <a:gd name="connsiteX2" fmla="*/ 22034 w 42922"/>
                <a:gd name="connsiteY2" fmla="*/ 35045 h 42922"/>
                <a:gd name="connsiteX3" fmla="*/ 22471 w 42922"/>
                <a:gd name="connsiteY3" fmla="*/ 35053 h 42922"/>
                <a:gd name="connsiteX4" fmla="*/ 22471 w 42922"/>
                <a:gd name="connsiteY4" fmla="*/ 35053 h 42922"/>
                <a:gd name="connsiteX5" fmla="*/ 34632 w 42922"/>
                <a:gd name="connsiteY5" fmla="*/ 22892 h 42922"/>
                <a:gd name="connsiteX6" fmla="*/ 22471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900" y="10731"/>
                  </a:moveTo>
                  <a:cubicBezTo>
                    <a:pt x="16184" y="10731"/>
                    <a:pt x="10739" y="16176"/>
                    <a:pt x="10739" y="22892"/>
                  </a:cubicBezTo>
                  <a:cubicBezTo>
                    <a:pt x="10501" y="29368"/>
                    <a:pt x="15559" y="34809"/>
                    <a:pt x="22034" y="35045"/>
                  </a:cubicBezTo>
                  <a:cubicBezTo>
                    <a:pt x="22179" y="35051"/>
                    <a:pt x="22325" y="35053"/>
                    <a:pt x="22471" y="35053"/>
                  </a:cubicBezTo>
                  <a:lnTo>
                    <a:pt x="22471" y="35053"/>
                  </a:lnTo>
                  <a:cubicBezTo>
                    <a:pt x="29187" y="35053"/>
                    <a:pt x="34632" y="29608"/>
                    <a:pt x="34632" y="22892"/>
                  </a:cubicBezTo>
                  <a:cubicBezTo>
                    <a:pt x="34632" y="16176"/>
                    <a:pt x="29187" y="10731"/>
                    <a:pt x="2247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1" name="Freeform: Shape 280">
              <a:extLst>
                <a:ext uri="{FF2B5EF4-FFF2-40B4-BE49-F238E27FC236}">
                  <a16:creationId xmlns:a16="http://schemas.microsoft.com/office/drawing/2014/main" id="{4569D490-2D0D-4714-9C1B-21211D5D502C}"/>
                </a:ext>
              </a:extLst>
            </p:cNvPr>
            <p:cNvSpPr/>
            <p:nvPr/>
          </p:nvSpPr>
          <p:spPr>
            <a:xfrm>
              <a:off x="5458585" y="5811749"/>
              <a:ext cx="42922" cy="42922"/>
            </a:xfrm>
            <a:custGeom>
              <a:avLst/>
              <a:gdLst>
                <a:gd name="connsiteX0" fmla="*/ 24753 w 42922"/>
                <a:gd name="connsiteY0" fmla="*/ 10731 h 42922"/>
                <a:gd name="connsiteX1" fmla="*/ 22893 w 42922"/>
                <a:gd name="connsiteY1" fmla="*/ 10731 h 42922"/>
                <a:gd name="connsiteX2" fmla="*/ 10732 w 42922"/>
                <a:gd name="connsiteY2" fmla="*/ 22892 h 42922"/>
                <a:gd name="connsiteX3" fmla="*/ 10732 w 42922"/>
                <a:gd name="connsiteY3" fmla="*/ 24752 h 42922"/>
                <a:gd name="connsiteX4" fmla="*/ 22464 w 42922"/>
                <a:gd name="connsiteY4" fmla="*/ 36913 h 42922"/>
                <a:gd name="connsiteX5" fmla="*/ 22464 w 42922"/>
                <a:gd name="connsiteY5" fmla="*/ 36913 h 42922"/>
                <a:gd name="connsiteX6" fmla="*/ 34841 w 42922"/>
                <a:gd name="connsiteY6" fmla="*/ 23009 h 42922"/>
                <a:gd name="connsiteX7" fmla="*/ 24324 w 42922"/>
                <a:gd name="connsiteY7" fmla="*/ 1087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4753" y="10731"/>
                  </a:moveTo>
                  <a:lnTo>
                    <a:pt x="22893" y="10731"/>
                  </a:lnTo>
                  <a:cubicBezTo>
                    <a:pt x="16177" y="10731"/>
                    <a:pt x="10732" y="16176"/>
                    <a:pt x="10732" y="22892"/>
                  </a:cubicBezTo>
                  <a:lnTo>
                    <a:pt x="10732" y="24752"/>
                  </a:lnTo>
                  <a:cubicBezTo>
                    <a:pt x="10651" y="31335"/>
                    <a:pt x="15882" y="36757"/>
                    <a:pt x="22464" y="36913"/>
                  </a:cubicBezTo>
                  <a:lnTo>
                    <a:pt x="22464" y="36913"/>
                  </a:lnTo>
                  <a:cubicBezTo>
                    <a:pt x="29720" y="36491"/>
                    <a:pt x="35263" y="30267"/>
                    <a:pt x="34841" y="23009"/>
                  </a:cubicBezTo>
                  <a:cubicBezTo>
                    <a:pt x="34495" y="17046"/>
                    <a:pt x="30177" y="12064"/>
                    <a:pt x="24324" y="1087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2" name="Freeform: Shape 281">
              <a:extLst>
                <a:ext uri="{FF2B5EF4-FFF2-40B4-BE49-F238E27FC236}">
                  <a16:creationId xmlns:a16="http://schemas.microsoft.com/office/drawing/2014/main" id="{38676E91-0C26-467D-82C6-496A8B4F4D1B}"/>
                </a:ext>
              </a:extLst>
            </p:cNvPr>
            <p:cNvSpPr/>
            <p:nvPr/>
          </p:nvSpPr>
          <p:spPr>
            <a:xfrm>
              <a:off x="5457726" y="6011195"/>
              <a:ext cx="42922" cy="42922"/>
            </a:xfrm>
            <a:custGeom>
              <a:avLst/>
              <a:gdLst>
                <a:gd name="connsiteX0" fmla="*/ 22893 w 42922"/>
                <a:gd name="connsiteY0" fmla="*/ 35339 h 42922"/>
                <a:gd name="connsiteX1" fmla="*/ 35339 w 42922"/>
                <a:gd name="connsiteY1" fmla="*/ 23178 h 42922"/>
                <a:gd name="connsiteX2" fmla="*/ 23178 w 42922"/>
                <a:gd name="connsiteY2" fmla="*/ 10731 h 42922"/>
                <a:gd name="connsiteX3" fmla="*/ 10732 w 42922"/>
                <a:gd name="connsiteY3" fmla="*/ 22893 h 42922"/>
                <a:gd name="connsiteX4" fmla="*/ 10732 w 42922"/>
                <a:gd name="connsiteY4" fmla="*/ 23178 h 42922"/>
                <a:gd name="connsiteX5" fmla="*/ 22893 w 42922"/>
                <a:gd name="connsiteY5" fmla="*/ 353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3" y="35339"/>
                  </a:moveTo>
                  <a:cubicBezTo>
                    <a:pt x="29688" y="35418"/>
                    <a:pt x="35260" y="29972"/>
                    <a:pt x="35339" y="23178"/>
                  </a:cubicBezTo>
                  <a:cubicBezTo>
                    <a:pt x="35418" y="16383"/>
                    <a:pt x="29972" y="10810"/>
                    <a:pt x="23178" y="10731"/>
                  </a:cubicBezTo>
                  <a:cubicBezTo>
                    <a:pt x="16383" y="10653"/>
                    <a:pt x="10810" y="16098"/>
                    <a:pt x="10732" y="22893"/>
                  </a:cubicBezTo>
                  <a:cubicBezTo>
                    <a:pt x="10730" y="22987"/>
                    <a:pt x="10730" y="23083"/>
                    <a:pt x="10732" y="23178"/>
                  </a:cubicBezTo>
                  <a:cubicBezTo>
                    <a:pt x="10809" y="29862"/>
                    <a:pt x="16209" y="35262"/>
                    <a:pt x="22893" y="3533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3" name="Freeform: Shape 282">
              <a:extLst>
                <a:ext uri="{FF2B5EF4-FFF2-40B4-BE49-F238E27FC236}">
                  <a16:creationId xmlns:a16="http://schemas.microsoft.com/office/drawing/2014/main" id="{48F21E90-4C83-44C9-9143-7D40C1DCCF18}"/>
                </a:ext>
              </a:extLst>
            </p:cNvPr>
            <p:cNvSpPr/>
            <p:nvPr/>
          </p:nvSpPr>
          <p:spPr>
            <a:xfrm>
              <a:off x="5457727" y="6256711"/>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4" name="Freeform: Shape 283">
              <a:extLst>
                <a:ext uri="{FF2B5EF4-FFF2-40B4-BE49-F238E27FC236}">
                  <a16:creationId xmlns:a16="http://schemas.microsoft.com/office/drawing/2014/main" id="{C579398B-A185-4019-89C7-66C9D9E43DFB}"/>
                </a:ext>
              </a:extLst>
            </p:cNvPr>
            <p:cNvSpPr/>
            <p:nvPr/>
          </p:nvSpPr>
          <p:spPr>
            <a:xfrm>
              <a:off x="5222226" y="6159993"/>
              <a:ext cx="28615" cy="28615"/>
            </a:xfrm>
            <a:custGeom>
              <a:avLst/>
              <a:gdLst>
                <a:gd name="connsiteX0" fmla="*/ 20030 w 28614"/>
                <a:gd name="connsiteY0" fmla="*/ 29330 h 28614"/>
                <a:gd name="connsiteX1" fmla="*/ 29473 w 28614"/>
                <a:gd name="connsiteY1" fmla="*/ 20173 h 28614"/>
                <a:gd name="connsiteX2" fmla="*/ 20030 w 28614"/>
                <a:gd name="connsiteY2" fmla="*/ 10731 h 28614"/>
                <a:gd name="connsiteX3" fmla="*/ 10731 w 28614"/>
                <a:gd name="connsiteY3" fmla="*/ 20173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35" y="29333"/>
                    <a:pt x="29319" y="25277"/>
                    <a:pt x="29473" y="20173"/>
                  </a:cubicBezTo>
                  <a:cubicBezTo>
                    <a:pt x="29325" y="15021"/>
                    <a:pt x="25183" y="10879"/>
                    <a:pt x="20030" y="10731"/>
                  </a:cubicBezTo>
                  <a:cubicBezTo>
                    <a:pt x="14871" y="10809"/>
                    <a:pt x="10731" y="15014"/>
                    <a:pt x="10731" y="20173"/>
                  </a:cubicBezTo>
                  <a:cubicBezTo>
                    <a:pt x="10809" y="25254"/>
                    <a:pt x="14950" y="29330"/>
                    <a:pt x="20030" y="2933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5" name="Freeform: Shape 284">
              <a:extLst>
                <a:ext uri="{FF2B5EF4-FFF2-40B4-BE49-F238E27FC236}">
                  <a16:creationId xmlns:a16="http://schemas.microsoft.com/office/drawing/2014/main" id="{7A0EF24E-DDD7-4E6F-8EE2-CE3EE0EA24AB}"/>
                </a:ext>
              </a:extLst>
            </p:cNvPr>
            <p:cNvSpPr/>
            <p:nvPr/>
          </p:nvSpPr>
          <p:spPr>
            <a:xfrm>
              <a:off x="6013467" y="6158027"/>
              <a:ext cx="42922" cy="28615"/>
            </a:xfrm>
            <a:custGeom>
              <a:avLst/>
              <a:gdLst>
                <a:gd name="connsiteX0" fmla="*/ 18133 w 42922"/>
                <a:gd name="connsiteY0" fmla="*/ 30724 h 28614"/>
                <a:gd name="connsiteX1" fmla="*/ 23713 w 42922"/>
                <a:gd name="connsiteY1" fmla="*/ 30724 h 28614"/>
                <a:gd name="connsiteX2" fmla="*/ 33871 w 42922"/>
                <a:gd name="connsiteY2" fmla="*/ 20852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83" y="30652"/>
                    <a:pt x="33644" y="26317"/>
                    <a:pt x="33871" y="20852"/>
                  </a:cubicBezTo>
                  <a:cubicBezTo>
                    <a:pt x="33641" y="15409"/>
                    <a:pt x="29160" y="11118"/>
                    <a:pt x="23713" y="11123"/>
                  </a:cubicBezTo>
                  <a:cubicBezTo>
                    <a:pt x="18301" y="9582"/>
                    <a:pt x="12664" y="12721"/>
                    <a:pt x="11123" y="18133"/>
                  </a:cubicBezTo>
                  <a:cubicBezTo>
                    <a:pt x="9582" y="23546"/>
                    <a:pt x="12721" y="29183"/>
                    <a:pt x="18133" y="3072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6" name="Freeform: Shape 285">
              <a:extLst>
                <a:ext uri="{FF2B5EF4-FFF2-40B4-BE49-F238E27FC236}">
                  <a16:creationId xmlns:a16="http://schemas.microsoft.com/office/drawing/2014/main" id="{9DE4405D-55E9-45A1-93AB-1B48E578CF25}"/>
                </a:ext>
              </a:extLst>
            </p:cNvPr>
            <p:cNvSpPr/>
            <p:nvPr/>
          </p:nvSpPr>
          <p:spPr>
            <a:xfrm>
              <a:off x="5614680" y="6203487"/>
              <a:ext cx="42922" cy="42922"/>
            </a:xfrm>
            <a:custGeom>
              <a:avLst/>
              <a:gdLst>
                <a:gd name="connsiteX0" fmla="*/ 25753 w 42922"/>
                <a:gd name="connsiteY0" fmla="*/ 39346 h 42922"/>
                <a:gd name="connsiteX1" fmla="*/ 40061 w 42922"/>
                <a:gd name="connsiteY1" fmla="*/ 25038 h 42922"/>
                <a:gd name="connsiteX2" fmla="*/ 25753 w 42922"/>
                <a:gd name="connsiteY2" fmla="*/ 10731 h 42922"/>
                <a:gd name="connsiteX3" fmla="*/ 11446 w 42922"/>
                <a:gd name="connsiteY3" fmla="*/ 25038 h 42922"/>
                <a:gd name="connsiteX4" fmla="*/ 10731 w 42922"/>
                <a:gd name="connsiteY4" fmla="*/ 26040 h 42922"/>
                <a:gd name="connsiteX5" fmla="*/ 25753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753" y="39346"/>
                  </a:moveTo>
                  <a:cubicBezTo>
                    <a:pt x="33655" y="39346"/>
                    <a:pt x="40061" y="32940"/>
                    <a:pt x="40061" y="25038"/>
                  </a:cubicBezTo>
                  <a:cubicBezTo>
                    <a:pt x="40061" y="17136"/>
                    <a:pt x="33655" y="10731"/>
                    <a:pt x="25753" y="10731"/>
                  </a:cubicBezTo>
                  <a:cubicBezTo>
                    <a:pt x="17851" y="10731"/>
                    <a:pt x="11446" y="17136"/>
                    <a:pt x="11446" y="25038"/>
                  </a:cubicBezTo>
                  <a:lnTo>
                    <a:pt x="10731" y="26040"/>
                  </a:lnTo>
                  <a:cubicBezTo>
                    <a:pt x="11267" y="33831"/>
                    <a:pt x="17953" y="39755"/>
                    <a:pt x="25753"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7" name="Freeform: Shape 286">
              <a:extLst>
                <a:ext uri="{FF2B5EF4-FFF2-40B4-BE49-F238E27FC236}">
                  <a16:creationId xmlns:a16="http://schemas.microsoft.com/office/drawing/2014/main" id="{DB683F94-13E4-4667-AB7F-C49CC53B8A8D}"/>
                </a:ext>
              </a:extLst>
            </p:cNvPr>
            <p:cNvSpPr/>
            <p:nvPr/>
          </p:nvSpPr>
          <p:spPr>
            <a:xfrm>
              <a:off x="5614537" y="6154126"/>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8" name="Freeform: Shape 287">
              <a:extLst>
                <a:ext uri="{FF2B5EF4-FFF2-40B4-BE49-F238E27FC236}">
                  <a16:creationId xmlns:a16="http://schemas.microsoft.com/office/drawing/2014/main" id="{BCDB6FBA-FE88-4248-AEA7-199C08C4D517}"/>
                </a:ext>
              </a:extLst>
            </p:cNvPr>
            <p:cNvSpPr/>
            <p:nvPr/>
          </p:nvSpPr>
          <p:spPr>
            <a:xfrm>
              <a:off x="5614951" y="6105767"/>
              <a:ext cx="42922" cy="42922"/>
            </a:xfrm>
            <a:custGeom>
              <a:avLst/>
              <a:gdLst>
                <a:gd name="connsiteX0" fmla="*/ 23480 w 42922"/>
                <a:gd name="connsiteY0" fmla="*/ 38916 h 42922"/>
                <a:gd name="connsiteX1" fmla="*/ 38645 w 42922"/>
                <a:gd name="connsiteY1" fmla="*/ 26040 h 42922"/>
                <a:gd name="connsiteX2" fmla="*/ 25769 w 42922"/>
                <a:gd name="connsiteY2" fmla="*/ 10731 h 42922"/>
                <a:gd name="connsiteX3" fmla="*/ 25769 w 42922"/>
                <a:gd name="connsiteY3" fmla="*/ 10731 h 42922"/>
                <a:gd name="connsiteX4" fmla="*/ 11461 w 42922"/>
                <a:gd name="connsiteY4" fmla="*/ 25038 h 42922"/>
                <a:gd name="connsiteX5" fmla="*/ 10746 w 42922"/>
                <a:gd name="connsiteY5" fmla="*/ 24037 h 42922"/>
                <a:gd name="connsiteX6" fmla="*/ 23480 w 42922"/>
                <a:gd name="connsiteY6" fmla="*/ 3891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3480" y="38916"/>
                  </a:moveTo>
                  <a:cubicBezTo>
                    <a:pt x="31180" y="39417"/>
                    <a:pt x="37890" y="33720"/>
                    <a:pt x="38645" y="26040"/>
                  </a:cubicBezTo>
                  <a:cubicBezTo>
                    <a:pt x="39226" y="18285"/>
                    <a:pt x="33508" y="11486"/>
                    <a:pt x="25769" y="10731"/>
                  </a:cubicBezTo>
                  <a:lnTo>
                    <a:pt x="25769" y="10731"/>
                  </a:lnTo>
                  <a:cubicBezTo>
                    <a:pt x="17867" y="10731"/>
                    <a:pt x="11461" y="17136"/>
                    <a:pt x="11461" y="25038"/>
                  </a:cubicBezTo>
                  <a:lnTo>
                    <a:pt x="10746" y="24037"/>
                  </a:lnTo>
                  <a:cubicBezTo>
                    <a:pt x="10400" y="31579"/>
                    <a:pt x="15974" y="38094"/>
                    <a:pt x="23480" y="3891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9" name="Freeform: Shape 288">
              <a:extLst>
                <a:ext uri="{FF2B5EF4-FFF2-40B4-BE49-F238E27FC236}">
                  <a16:creationId xmlns:a16="http://schemas.microsoft.com/office/drawing/2014/main" id="{D82B6FB8-75EF-4406-88B6-C302B4BAB81F}"/>
                </a:ext>
              </a:extLst>
            </p:cNvPr>
            <p:cNvSpPr/>
            <p:nvPr/>
          </p:nvSpPr>
          <p:spPr>
            <a:xfrm>
              <a:off x="5614537" y="6253564"/>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0" name="Freeform: Shape 289">
              <a:extLst>
                <a:ext uri="{FF2B5EF4-FFF2-40B4-BE49-F238E27FC236}">
                  <a16:creationId xmlns:a16="http://schemas.microsoft.com/office/drawing/2014/main" id="{BDD5B42B-D63C-4778-B807-121741DF0F25}"/>
                </a:ext>
              </a:extLst>
            </p:cNvPr>
            <p:cNvSpPr/>
            <p:nvPr/>
          </p:nvSpPr>
          <p:spPr>
            <a:xfrm>
              <a:off x="5379322" y="6258229"/>
              <a:ext cx="28615" cy="28615"/>
            </a:xfrm>
            <a:custGeom>
              <a:avLst/>
              <a:gdLst>
                <a:gd name="connsiteX0" fmla="*/ 23464 w 28614"/>
                <a:gd name="connsiteY0" fmla="*/ 30387 h 28614"/>
                <a:gd name="connsiteX1" fmla="*/ 30385 w 28614"/>
                <a:gd name="connsiteY1" fmla="*/ 18030 h 28614"/>
                <a:gd name="connsiteX2" fmla="*/ 18026 w 28614"/>
                <a:gd name="connsiteY2" fmla="*/ 11110 h 28614"/>
                <a:gd name="connsiteX3" fmla="*/ 10731 w 28614"/>
                <a:gd name="connsiteY3" fmla="*/ 20658 h 28614"/>
                <a:gd name="connsiteX4" fmla="*/ 23407 w 28614"/>
                <a:gd name="connsiteY4" fmla="*/ 30395 h 28614"/>
                <a:gd name="connsiteX5" fmla="*/ 23464 w 28614"/>
                <a:gd name="connsiteY5" fmla="*/ 3038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464" y="30387"/>
                  </a:moveTo>
                  <a:cubicBezTo>
                    <a:pt x="28788" y="28885"/>
                    <a:pt x="31886" y="23352"/>
                    <a:pt x="30385" y="18030"/>
                  </a:cubicBezTo>
                  <a:cubicBezTo>
                    <a:pt x="28883" y="12706"/>
                    <a:pt x="23350" y="9607"/>
                    <a:pt x="18026" y="11110"/>
                  </a:cubicBezTo>
                  <a:cubicBezTo>
                    <a:pt x="13742" y="12317"/>
                    <a:pt x="10771" y="16207"/>
                    <a:pt x="10731" y="20658"/>
                  </a:cubicBezTo>
                  <a:cubicBezTo>
                    <a:pt x="11543" y="26848"/>
                    <a:pt x="17218" y="31207"/>
                    <a:pt x="23407" y="30395"/>
                  </a:cubicBezTo>
                  <a:cubicBezTo>
                    <a:pt x="23427" y="30392"/>
                    <a:pt x="23446" y="30390"/>
                    <a:pt x="23464" y="3038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1" name="Freeform: Shape 290">
              <a:extLst>
                <a:ext uri="{FF2B5EF4-FFF2-40B4-BE49-F238E27FC236}">
                  <a16:creationId xmlns:a16="http://schemas.microsoft.com/office/drawing/2014/main" id="{3F71A350-2FA6-45A9-AC6E-FF290969DB05}"/>
                </a:ext>
              </a:extLst>
            </p:cNvPr>
            <p:cNvSpPr/>
            <p:nvPr/>
          </p:nvSpPr>
          <p:spPr>
            <a:xfrm>
              <a:off x="5379322" y="6158420"/>
              <a:ext cx="42922" cy="28615"/>
            </a:xfrm>
            <a:custGeom>
              <a:avLst/>
              <a:gdLst>
                <a:gd name="connsiteX0" fmla="*/ 23464 w 42922"/>
                <a:gd name="connsiteY0" fmla="*/ 30760 h 28614"/>
                <a:gd name="connsiteX1" fmla="*/ 33374 w 42922"/>
                <a:gd name="connsiteY1" fmla="*/ 20639 h 28614"/>
                <a:gd name="connsiteX2" fmla="*/ 23253 w 42922"/>
                <a:gd name="connsiteY2" fmla="*/ 10731 h 28614"/>
                <a:gd name="connsiteX3" fmla="*/ 20460 w 42922"/>
                <a:gd name="connsiteY3" fmla="*/ 11159 h 28614"/>
                <a:gd name="connsiteX4" fmla="*/ 10731 w 42922"/>
                <a:gd name="connsiteY4" fmla="*/ 20888 h 28614"/>
                <a:gd name="connsiteX5" fmla="*/ 23284 w 42922"/>
                <a:gd name="connsiteY5" fmla="*/ 30783 h 28614"/>
                <a:gd name="connsiteX6" fmla="*/ 23464 w 42922"/>
                <a:gd name="connsiteY6" fmla="*/ 3076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28614">
                  <a:moveTo>
                    <a:pt x="23464" y="30760"/>
                  </a:moveTo>
                  <a:cubicBezTo>
                    <a:pt x="28996" y="30702"/>
                    <a:pt x="33431" y="26170"/>
                    <a:pt x="33374" y="20639"/>
                  </a:cubicBezTo>
                  <a:cubicBezTo>
                    <a:pt x="33315" y="15109"/>
                    <a:pt x="28784" y="10673"/>
                    <a:pt x="23253" y="10731"/>
                  </a:cubicBezTo>
                  <a:cubicBezTo>
                    <a:pt x="22305" y="10741"/>
                    <a:pt x="21365" y="10884"/>
                    <a:pt x="20460" y="11159"/>
                  </a:cubicBezTo>
                  <a:cubicBezTo>
                    <a:pt x="15342" y="11730"/>
                    <a:pt x="11301" y="15769"/>
                    <a:pt x="10731" y="20888"/>
                  </a:cubicBezTo>
                  <a:cubicBezTo>
                    <a:pt x="11465" y="27088"/>
                    <a:pt x="17086" y="31517"/>
                    <a:pt x="23284" y="30783"/>
                  </a:cubicBezTo>
                  <a:cubicBezTo>
                    <a:pt x="23344" y="30776"/>
                    <a:pt x="23404" y="30769"/>
                    <a:pt x="23464" y="3076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2" name="Freeform: Shape 291">
              <a:extLst>
                <a:ext uri="{FF2B5EF4-FFF2-40B4-BE49-F238E27FC236}">
                  <a16:creationId xmlns:a16="http://schemas.microsoft.com/office/drawing/2014/main" id="{450BC1F1-7995-47E5-A85D-933E7F2778C1}"/>
                </a:ext>
              </a:extLst>
            </p:cNvPr>
            <p:cNvSpPr/>
            <p:nvPr/>
          </p:nvSpPr>
          <p:spPr>
            <a:xfrm>
              <a:off x="5223084" y="6208638"/>
              <a:ext cx="28615" cy="28615"/>
            </a:xfrm>
            <a:custGeom>
              <a:avLst/>
              <a:gdLst>
                <a:gd name="connsiteX0" fmla="*/ 10731 w 28614"/>
                <a:gd name="connsiteY0" fmla="*/ 19887 h 28614"/>
                <a:gd name="connsiteX1" fmla="*/ 19887 w 28614"/>
                <a:gd name="connsiteY1" fmla="*/ 29330 h 28614"/>
                <a:gd name="connsiteX2" fmla="*/ 29187 w 28614"/>
                <a:gd name="connsiteY2" fmla="*/ 20030 h 28614"/>
                <a:gd name="connsiteX3" fmla="*/ 19887 w 28614"/>
                <a:gd name="connsiteY3" fmla="*/ 10731 h 28614"/>
                <a:gd name="connsiteX4" fmla="*/ 10731 w 28614"/>
                <a:gd name="connsiteY4" fmla="*/ 19887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0731" y="19887"/>
                  </a:moveTo>
                  <a:cubicBezTo>
                    <a:pt x="10728" y="24992"/>
                    <a:pt x="14784" y="29176"/>
                    <a:pt x="19887" y="29330"/>
                  </a:cubicBezTo>
                  <a:cubicBezTo>
                    <a:pt x="25024" y="29330"/>
                    <a:pt x="29187" y="25167"/>
                    <a:pt x="29187" y="20030"/>
                  </a:cubicBezTo>
                  <a:cubicBezTo>
                    <a:pt x="29187" y="14894"/>
                    <a:pt x="25024" y="10731"/>
                    <a:pt x="19887" y="10731"/>
                  </a:cubicBezTo>
                  <a:cubicBezTo>
                    <a:pt x="14830" y="10731"/>
                    <a:pt x="10731" y="14830"/>
                    <a:pt x="10731" y="1988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3" name="Freeform: Shape 292">
              <a:extLst>
                <a:ext uri="{FF2B5EF4-FFF2-40B4-BE49-F238E27FC236}">
                  <a16:creationId xmlns:a16="http://schemas.microsoft.com/office/drawing/2014/main" id="{30F21083-71A5-4114-ADFC-DE4FA2D1FE54}"/>
                </a:ext>
              </a:extLst>
            </p:cNvPr>
            <p:cNvSpPr/>
            <p:nvPr/>
          </p:nvSpPr>
          <p:spPr>
            <a:xfrm>
              <a:off x="5536275" y="6155414"/>
              <a:ext cx="42922" cy="42922"/>
            </a:xfrm>
            <a:custGeom>
              <a:avLst/>
              <a:gdLst>
                <a:gd name="connsiteX0" fmla="*/ 23893 w 42922"/>
                <a:gd name="connsiteY0" fmla="*/ 37056 h 42922"/>
                <a:gd name="connsiteX1" fmla="*/ 37056 w 42922"/>
                <a:gd name="connsiteY1" fmla="*/ 23893 h 42922"/>
                <a:gd name="connsiteX2" fmla="*/ 23893 w 42922"/>
                <a:gd name="connsiteY2" fmla="*/ 10731 h 42922"/>
                <a:gd name="connsiteX3" fmla="*/ 10731 w 42922"/>
                <a:gd name="connsiteY3" fmla="*/ 23893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3"/>
                  </a:cubicBezTo>
                  <a:cubicBezTo>
                    <a:pt x="37056" y="16624"/>
                    <a:pt x="31163" y="10731"/>
                    <a:pt x="23893" y="10731"/>
                  </a:cubicBezTo>
                  <a:cubicBezTo>
                    <a:pt x="16624" y="10731"/>
                    <a:pt x="10731" y="16624"/>
                    <a:pt x="10731" y="23893"/>
                  </a:cubicBezTo>
                  <a:cubicBezTo>
                    <a:pt x="10731" y="31163"/>
                    <a:pt x="16624" y="37056"/>
                    <a:pt x="23893"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4" name="Freeform: Shape 293">
              <a:extLst>
                <a:ext uri="{FF2B5EF4-FFF2-40B4-BE49-F238E27FC236}">
                  <a16:creationId xmlns:a16="http://schemas.microsoft.com/office/drawing/2014/main" id="{6D24C94B-3198-4689-BDFE-F2E765EBDD05}"/>
                </a:ext>
              </a:extLst>
            </p:cNvPr>
            <p:cNvSpPr/>
            <p:nvPr/>
          </p:nvSpPr>
          <p:spPr>
            <a:xfrm>
              <a:off x="5457727" y="6156559"/>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5" name="Freeform: Shape 294">
              <a:extLst>
                <a:ext uri="{FF2B5EF4-FFF2-40B4-BE49-F238E27FC236}">
                  <a16:creationId xmlns:a16="http://schemas.microsoft.com/office/drawing/2014/main" id="{CC10C7D5-5B8F-422B-A0D6-912C262E293C}"/>
                </a:ext>
              </a:extLst>
            </p:cNvPr>
            <p:cNvSpPr/>
            <p:nvPr/>
          </p:nvSpPr>
          <p:spPr>
            <a:xfrm>
              <a:off x="5536274" y="6254708"/>
              <a:ext cx="42922" cy="42922"/>
            </a:xfrm>
            <a:custGeom>
              <a:avLst/>
              <a:gdLst>
                <a:gd name="connsiteX0" fmla="*/ 23895 w 42922"/>
                <a:gd name="connsiteY0" fmla="*/ 37056 h 42922"/>
                <a:gd name="connsiteX1" fmla="*/ 37056 w 42922"/>
                <a:gd name="connsiteY1" fmla="*/ 23892 h 42922"/>
                <a:gd name="connsiteX2" fmla="*/ 23893 w 42922"/>
                <a:gd name="connsiteY2" fmla="*/ 10731 h 42922"/>
                <a:gd name="connsiteX3" fmla="*/ 10731 w 42922"/>
                <a:gd name="connsiteY3" fmla="*/ 23895 h 42922"/>
                <a:gd name="connsiteX4" fmla="*/ 10732 w 42922"/>
                <a:gd name="connsiteY4" fmla="*/ 24036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3"/>
                    <a:pt x="37056" y="23892"/>
                  </a:cubicBezTo>
                  <a:cubicBezTo>
                    <a:pt x="37056" y="16622"/>
                    <a:pt x="31163" y="10731"/>
                    <a:pt x="23893" y="10731"/>
                  </a:cubicBezTo>
                  <a:cubicBezTo>
                    <a:pt x="16624" y="10731"/>
                    <a:pt x="10731" y="16625"/>
                    <a:pt x="10731" y="23895"/>
                  </a:cubicBezTo>
                  <a:cubicBezTo>
                    <a:pt x="10731" y="23942"/>
                    <a:pt x="10732" y="23989"/>
                    <a:pt x="10732" y="24036"/>
                  </a:cubicBezTo>
                  <a:cubicBezTo>
                    <a:pt x="10811" y="31250"/>
                    <a:pt x="16681" y="37056"/>
                    <a:pt x="23895"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6" name="Freeform: Shape 295">
              <a:extLst>
                <a:ext uri="{FF2B5EF4-FFF2-40B4-BE49-F238E27FC236}">
                  <a16:creationId xmlns:a16="http://schemas.microsoft.com/office/drawing/2014/main" id="{BFC8C0BE-E36E-4440-BB7E-7598F60CD48A}"/>
                </a:ext>
              </a:extLst>
            </p:cNvPr>
            <p:cNvSpPr/>
            <p:nvPr/>
          </p:nvSpPr>
          <p:spPr>
            <a:xfrm>
              <a:off x="6037037" y="6167862"/>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297" name="Freeform: Shape 296">
              <a:extLst>
                <a:ext uri="{FF2B5EF4-FFF2-40B4-BE49-F238E27FC236}">
                  <a16:creationId xmlns:a16="http://schemas.microsoft.com/office/drawing/2014/main" id="{80185095-9A95-43B6-87D4-F2D2DA6E7262}"/>
                </a:ext>
              </a:extLst>
            </p:cNvPr>
            <p:cNvSpPr/>
            <p:nvPr/>
          </p:nvSpPr>
          <p:spPr>
            <a:xfrm>
              <a:off x="6015719" y="6107769"/>
              <a:ext cx="28615" cy="28615"/>
            </a:xfrm>
            <a:custGeom>
              <a:avLst/>
              <a:gdLst>
                <a:gd name="connsiteX0" fmla="*/ 21032 w 28614"/>
                <a:gd name="connsiteY0" fmla="*/ 10732 h 28614"/>
                <a:gd name="connsiteX1" fmla="*/ 10731 w 28614"/>
                <a:gd name="connsiteY1" fmla="*/ 20745 h 28614"/>
                <a:gd name="connsiteX2" fmla="*/ 10731 w 28614"/>
                <a:gd name="connsiteY2" fmla="*/ 20747 h 28614"/>
                <a:gd name="connsiteX3" fmla="*/ 10731 w 28614"/>
                <a:gd name="connsiteY3" fmla="*/ 20747 h 28614"/>
                <a:gd name="connsiteX4" fmla="*/ 21032 w 28614"/>
                <a:gd name="connsiteY4" fmla="*/ 31191 h 28614"/>
                <a:gd name="connsiteX5" fmla="*/ 31332 w 28614"/>
                <a:gd name="connsiteY5" fmla="*/ 21178 h 28614"/>
                <a:gd name="connsiteX6" fmla="*/ 31333 w 28614"/>
                <a:gd name="connsiteY6" fmla="*/ 21033 h 28614"/>
                <a:gd name="connsiteX7" fmla="*/ 31333 w 28614"/>
                <a:gd name="connsiteY7" fmla="*/ 21033 h 28614"/>
                <a:gd name="connsiteX8" fmla="*/ 21320 w 28614"/>
                <a:gd name="connsiteY8" fmla="*/ 10732 h 28614"/>
                <a:gd name="connsiteX9" fmla="*/ 21032 w 28614"/>
                <a:gd name="connsiteY9"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032" y="10732"/>
                  </a:moveTo>
                  <a:cubicBezTo>
                    <a:pt x="15422" y="10652"/>
                    <a:pt x="10811" y="15136"/>
                    <a:pt x="10731" y="20745"/>
                  </a:cubicBezTo>
                  <a:cubicBezTo>
                    <a:pt x="10731" y="20745"/>
                    <a:pt x="10731" y="20747"/>
                    <a:pt x="10731" y="20747"/>
                  </a:cubicBezTo>
                  <a:lnTo>
                    <a:pt x="10731" y="20747"/>
                  </a:lnTo>
                  <a:cubicBezTo>
                    <a:pt x="10731" y="26460"/>
                    <a:pt x="15319" y="31113"/>
                    <a:pt x="21032" y="31191"/>
                  </a:cubicBezTo>
                  <a:cubicBezTo>
                    <a:pt x="26642" y="31270"/>
                    <a:pt x="31253" y="26788"/>
                    <a:pt x="31332" y="21178"/>
                  </a:cubicBezTo>
                  <a:cubicBezTo>
                    <a:pt x="31333" y="21129"/>
                    <a:pt x="31333" y="21082"/>
                    <a:pt x="31333" y="21033"/>
                  </a:cubicBezTo>
                  <a:lnTo>
                    <a:pt x="31333" y="21033"/>
                  </a:lnTo>
                  <a:cubicBezTo>
                    <a:pt x="31414" y="15423"/>
                    <a:pt x="26930" y="10812"/>
                    <a:pt x="21320" y="10732"/>
                  </a:cubicBezTo>
                  <a:cubicBezTo>
                    <a:pt x="21224" y="10730"/>
                    <a:pt x="21128" y="10730"/>
                    <a:pt x="2103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8" name="Freeform: Shape 297">
              <a:extLst>
                <a:ext uri="{FF2B5EF4-FFF2-40B4-BE49-F238E27FC236}">
                  <a16:creationId xmlns:a16="http://schemas.microsoft.com/office/drawing/2014/main" id="{8D34098D-9FA1-41D1-B081-C5AE67F794E1}"/>
                </a:ext>
              </a:extLst>
            </p:cNvPr>
            <p:cNvSpPr/>
            <p:nvPr/>
          </p:nvSpPr>
          <p:spPr>
            <a:xfrm>
              <a:off x="5067314" y="6311365"/>
              <a:ext cx="28615" cy="28615"/>
            </a:xfrm>
            <a:custGeom>
              <a:avLst/>
              <a:gdLst>
                <a:gd name="connsiteX0" fmla="*/ 16129 w 28614"/>
                <a:gd name="connsiteY0" fmla="*/ 25325 h 28614"/>
                <a:gd name="connsiteX1" fmla="*/ 25326 w 28614"/>
                <a:gd name="connsiteY1" fmla="*/ 20214 h 28614"/>
                <a:gd name="connsiteX2" fmla="*/ 20216 w 28614"/>
                <a:gd name="connsiteY2" fmla="*/ 11017 h 28614"/>
                <a:gd name="connsiteX3" fmla="*/ 16129 w 28614"/>
                <a:gd name="connsiteY3" fmla="*/ 11017 h 28614"/>
                <a:gd name="connsiteX4" fmla="*/ 11019 w 28614"/>
                <a:gd name="connsiteY4" fmla="*/ 20214 h 28614"/>
                <a:gd name="connsiteX5" fmla="*/ 16129 w 28614"/>
                <a:gd name="connsiteY5"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6129" y="25325"/>
                  </a:moveTo>
                  <a:cubicBezTo>
                    <a:pt x="20080" y="26454"/>
                    <a:pt x="24198" y="24166"/>
                    <a:pt x="25326" y="20214"/>
                  </a:cubicBezTo>
                  <a:cubicBezTo>
                    <a:pt x="26455" y="16264"/>
                    <a:pt x="24167" y="12146"/>
                    <a:pt x="20216" y="11017"/>
                  </a:cubicBezTo>
                  <a:cubicBezTo>
                    <a:pt x="18880" y="10635"/>
                    <a:pt x="17464" y="10635"/>
                    <a:pt x="16129" y="11017"/>
                  </a:cubicBezTo>
                  <a:cubicBezTo>
                    <a:pt x="12178" y="12146"/>
                    <a:pt x="9890" y="16264"/>
                    <a:pt x="11019" y="20214"/>
                  </a:cubicBezTo>
                  <a:cubicBezTo>
                    <a:pt x="11725" y="22686"/>
                    <a:pt x="13657" y="24618"/>
                    <a:pt x="16129" y="253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9" name="Freeform: Shape 298">
              <a:extLst>
                <a:ext uri="{FF2B5EF4-FFF2-40B4-BE49-F238E27FC236}">
                  <a16:creationId xmlns:a16="http://schemas.microsoft.com/office/drawing/2014/main" id="{B455D47D-CAA1-47E1-BCED-3059E70EEB2B}"/>
                </a:ext>
              </a:extLst>
            </p:cNvPr>
            <p:cNvSpPr/>
            <p:nvPr/>
          </p:nvSpPr>
          <p:spPr>
            <a:xfrm>
              <a:off x="5935740" y="6356001"/>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4"/>
                    <a:pt x="15745" y="33327"/>
                    <a:pt x="22033" y="33483"/>
                  </a:cubicBezTo>
                  <a:lnTo>
                    <a:pt x="22033" y="33483"/>
                  </a:lnTo>
                  <a:cubicBezTo>
                    <a:pt x="28316" y="32778"/>
                    <a:pt x="32836" y="27114"/>
                    <a:pt x="32130" y="20831"/>
                  </a:cubicBezTo>
                  <a:cubicBezTo>
                    <a:pt x="31534" y="15522"/>
                    <a:pt x="27343" y="11331"/>
                    <a:pt x="22033"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0" name="Freeform: Shape 299">
              <a:extLst>
                <a:ext uri="{FF2B5EF4-FFF2-40B4-BE49-F238E27FC236}">
                  <a16:creationId xmlns:a16="http://schemas.microsoft.com/office/drawing/2014/main" id="{AB5CF435-5FCF-4A6B-A912-5E65B53E7616}"/>
                </a:ext>
              </a:extLst>
            </p:cNvPr>
            <p:cNvSpPr/>
            <p:nvPr/>
          </p:nvSpPr>
          <p:spPr>
            <a:xfrm>
              <a:off x="5935740" y="6256564"/>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5"/>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1" name="Freeform: Shape 300">
              <a:extLst>
                <a:ext uri="{FF2B5EF4-FFF2-40B4-BE49-F238E27FC236}">
                  <a16:creationId xmlns:a16="http://schemas.microsoft.com/office/drawing/2014/main" id="{92F9858C-A3AC-4CDB-AD1A-668A3D166A1F}"/>
                </a:ext>
              </a:extLst>
            </p:cNvPr>
            <p:cNvSpPr/>
            <p:nvPr/>
          </p:nvSpPr>
          <p:spPr>
            <a:xfrm>
              <a:off x="6013620" y="6307050"/>
              <a:ext cx="42922" cy="28615"/>
            </a:xfrm>
            <a:custGeom>
              <a:avLst/>
              <a:gdLst>
                <a:gd name="connsiteX0" fmla="*/ 23989 w 42922"/>
                <a:gd name="connsiteY0" fmla="*/ 11184 h 28614"/>
                <a:gd name="connsiteX1" fmla="*/ 11184 w 42922"/>
                <a:gd name="connsiteY1" fmla="*/ 17980 h 28614"/>
                <a:gd name="connsiteX2" fmla="*/ 17980 w 42922"/>
                <a:gd name="connsiteY2" fmla="*/ 30785 h 28614"/>
                <a:gd name="connsiteX3" fmla="*/ 23560 w 42922"/>
                <a:gd name="connsiteY3" fmla="*/ 30785 h 28614"/>
                <a:gd name="connsiteX4" fmla="*/ 33718 w 42922"/>
                <a:gd name="connsiteY4" fmla="*/ 21056 h 28614"/>
                <a:gd name="connsiteX5" fmla="*/ 23989 w 42922"/>
                <a:gd name="connsiteY5" fmla="*/ 1118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989" y="11184"/>
                  </a:moveTo>
                  <a:cubicBezTo>
                    <a:pt x="18576" y="9524"/>
                    <a:pt x="12843" y="12567"/>
                    <a:pt x="11184" y="17980"/>
                  </a:cubicBezTo>
                  <a:cubicBezTo>
                    <a:pt x="9524" y="23392"/>
                    <a:pt x="12567" y="29125"/>
                    <a:pt x="17980" y="30785"/>
                  </a:cubicBezTo>
                  <a:cubicBezTo>
                    <a:pt x="19795" y="31356"/>
                    <a:pt x="21744" y="31356"/>
                    <a:pt x="23560" y="30785"/>
                  </a:cubicBezTo>
                  <a:cubicBezTo>
                    <a:pt x="29006" y="30789"/>
                    <a:pt x="33488" y="26497"/>
                    <a:pt x="33718" y="21056"/>
                  </a:cubicBezTo>
                  <a:cubicBezTo>
                    <a:pt x="33505" y="15749"/>
                    <a:pt x="29291" y="11474"/>
                    <a:pt x="23989" y="1118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2" name="Freeform: Shape 301">
              <a:extLst>
                <a:ext uri="{FF2B5EF4-FFF2-40B4-BE49-F238E27FC236}">
                  <a16:creationId xmlns:a16="http://schemas.microsoft.com/office/drawing/2014/main" id="{36C229D0-BBAF-4318-A797-490F6DF26242}"/>
                </a:ext>
              </a:extLst>
            </p:cNvPr>
            <p:cNvSpPr/>
            <p:nvPr/>
          </p:nvSpPr>
          <p:spPr>
            <a:xfrm>
              <a:off x="5854903" y="6105767"/>
              <a:ext cx="42922" cy="42922"/>
            </a:xfrm>
            <a:custGeom>
              <a:avLst/>
              <a:gdLst>
                <a:gd name="connsiteX0" fmla="*/ 24609 w 42922"/>
                <a:gd name="connsiteY0" fmla="*/ 10731 h 42922"/>
                <a:gd name="connsiteX1" fmla="*/ 22892 w 42922"/>
                <a:gd name="connsiteY1" fmla="*/ 10731 h 42922"/>
                <a:gd name="connsiteX2" fmla="*/ 10731 w 42922"/>
                <a:gd name="connsiteY2" fmla="*/ 22892 h 42922"/>
                <a:gd name="connsiteX3" fmla="*/ 22892 w 42922"/>
                <a:gd name="connsiteY3" fmla="*/ 35053 h 42922"/>
                <a:gd name="connsiteX4" fmla="*/ 35045 w 42922"/>
                <a:gd name="connsiteY4" fmla="*/ 23758 h 42922"/>
                <a:gd name="connsiteX5" fmla="*/ 35053 w 42922"/>
                <a:gd name="connsiteY5" fmla="*/ 23321 h 42922"/>
                <a:gd name="connsiteX6" fmla="*/ 35053 w 42922"/>
                <a:gd name="connsiteY6" fmla="*/ 23321 h 42922"/>
                <a:gd name="connsiteX7" fmla="*/ 35912 w 42922"/>
                <a:gd name="connsiteY7" fmla="*/ 24180 h 42922"/>
                <a:gd name="connsiteX8" fmla="*/ 25135 w 42922"/>
                <a:gd name="connsiteY8" fmla="*/ 10776 h 42922"/>
                <a:gd name="connsiteX9" fmla="*/ 24609 w 42922"/>
                <a:gd name="connsiteY9"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4609" y="10731"/>
                  </a:moveTo>
                  <a:lnTo>
                    <a:pt x="22892" y="10731"/>
                  </a:lnTo>
                  <a:cubicBezTo>
                    <a:pt x="16176" y="10731"/>
                    <a:pt x="10731" y="16176"/>
                    <a:pt x="10731" y="22892"/>
                  </a:cubicBezTo>
                  <a:cubicBezTo>
                    <a:pt x="10731" y="29608"/>
                    <a:pt x="16176" y="35053"/>
                    <a:pt x="22892" y="35053"/>
                  </a:cubicBezTo>
                  <a:cubicBezTo>
                    <a:pt x="29367" y="35291"/>
                    <a:pt x="34809" y="30233"/>
                    <a:pt x="35045" y="23758"/>
                  </a:cubicBezTo>
                  <a:cubicBezTo>
                    <a:pt x="35050" y="23613"/>
                    <a:pt x="35053" y="23467"/>
                    <a:pt x="35053" y="23321"/>
                  </a:cubicBezTo>
                  <a:lnTo>
                    <a:pt x="35053" y="23321"/>
                  </a:lnTo>
                  <a:lnTo>
                    <a:pt x="35912" y="24180"/>
                  </a:lnTo>
                  <a:cubicBezTo>
                    <a:pt x="36637" y="17502"/>
                    <a:pt x="31813" y="11502"/>
                    <a:pt x="25135" y="10776"/>
                  </a:cubicBezTo>
                  <a:cubicBezTo>
                    <a:pt x="24959" y="10758"/>
                    <a:pt x="24785" y="10742"/>
                    <a:pt x="2460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3" name="Freeform: Shape 302">
              <a:extLst>
                <a:ext uri="{FF2B5EF4-FFF2-40B4-BE49-F238E27FC236}">
                  <a16:creationId xmlns:a16="http://schemas.microsoft.com/office/drawing/2014/main" id="{D463E226-E371-460C-8EEA-F0E813470024}"/>
                </a:ext>
              </a:extLst>
            </p:cNvPr>
            <p:cNvSpPr/>
            <p:nvPr/>
          </p:nvSpPr>
          <p:spPr>
            <a:xfrm>
              <a:off x="5935130" y="6108112"/>
              <a:ext cx="42922" cy="28615"/>
            </a:xfrm>
            <a:custGeom>
              <a:avLst/>
              <a:gdLst>
                <a:gd name="connsiteX0" fmla="*/ 23645 w 42922"/>
                <a:gd name="connsiteY0" fmla="*/ 30419 h 28614"/>
                <a:gd name="connsiteX1" fmla="*/ 33374 w 42922"/>
                <a:gd name="connsiteY1" fmla="*/ 20547 h 28614"/>
                <a:gd name="connsiteX2" fmla="*/ 20640 w 42922"/>
                <a:gd name="connsiteY2" fmla="*/ 10818 h 28614"/>
                <a:gd name="connsiteX3" fmla="*/ 10731 w 42922"/>
                <a:gd name="connsiteY3" fmla="*/ 20939 h 28614"/>
                <a:gd name="connsiteX4" fmla="*/ 20852 w 42922"/>
                <a:gd name="connsiteY4" fmla="*/ 30847 h 28614"/>
                <a:gd name="connsiteX5" fmla="*/ 23645 w 42922"/>
                <a:gd name="connsiteY5" fmla="*/ 3041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645" y="30419"/>
                  </a:moveTo>
                  <a:cubicBezTo>
                    <a:pt x="28716" y="29644"/>
                    <a:pt x="32673" y="25628"/>
                    <a:pt x="33374" y="20547"/>
                  </a:cubicBezTo>
                  <a:cubicBezTo>
                    <a:pt x="32487" y="14378"/>
                    <a:pt x="26826" y="10054"/>
                    <a:pt x="20640" y="10818"/>
                  </a:cubicBezTo>
                  <a:cubicBezTo>
                    <a:pt x="15109" y="10877"/>
                    <a:pt x="10674" y="15408"/>
                    <a:pt x="10731" y="20939"/>
                  </a:cubicBezTo>
                  <a:cubicBezTo>
                    <a:pt x="10790" y="26469"/>
                    <a:pt x="15321" y="30906"/>
                    <a:pt x="20852" y="30847"/>
                  </a:cubicBezTo>
                  <a:cubicBezTo>
                    <a:pt x="21799" y="30837"/>
                    <a:pt x="22739" y="30694"/>
                    <a:pt x="23645" y="3041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4" name="Freeform: Shape 303">
              <a:extLst>
                <a:ext uri="{FF2B5EF4-FFF2-40B4-BE49-F238E27FC236}">
                  <a16:creationId xmlns:a16="http://schemas.microsoft.com/office/drawing/2014/main" id="{DE31AB79-4D3B-41D3-95F9-F18F78CCC39E}"/>
                </a:ext>
              </a:extLst>
            </p:cNvPr>
            <p:cNvSpPr/>
            <p:nvPr/>
          </p:nvSpPr>
          <p:spPr>
            <a:xfrm>
              <a:off x="6016577" y="6357150"/>
              <a:ext cx="28615" cy="28615"/>
            </a:xfrm>
            <a:custGeom>
              <a:avLst/>
              <a:gdLst>
                <a:gd name="connsiteX0" fmla="*/ 21175 w 28614"/>
                <a:gd name="connsiteY0" fmla="*/ 10731 h 28614"/>
                <a:gd name="connsiteX1" fmla="*/ 21175 w 28614"/>
                <a:gd name="connsiteY1" fmla="*/ 10731 h 28614"/>
                <a:gd name="connsiteX2" fmla="*/ 10731 w 28614"/>
                <a:gd name="connsiteY2" fmla="*/ 21175 h 28614"/>
                <a:gd name="connsiteX3" fmla="*/ 20889 w 28614"/>
                <a:gd name="connsiteY3" fmla="*/ 31333 h 28614"/>
                <a:gd name="connsiteX4" fmla="*/ 20889 w 28614"/>
                <a:gd name="connsiteY4" fmla="*/ 31333 h 28614"/>
                <a:gd name="connsiteX5" fmla="*/ 31190 w 28614"/>
                <a:gd name="connsiteY5" fmla="*/ 21032 h 28614"/>
                <a:gd name="connsiteX6" fmla="*/ 20889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175" y="10731"/>
                  </a:moveTo>
                  <a:lnTo>
                    <a:pt x="21175" y="10731"/>
                  </a:lnTo>
                  <a:cubicBezTo>
                    <a:pt x="15406" y="10731"/>
                    <a:pt x="10731" y="15406"/>
                    <a:pt x="10731" y="21175"/>
                  </a:cubicBezTo>
                  <a:cubicBezTo>
                    <a:pt x="10731" y="26785"/>
                    <a:pt x="15279" y="31333"/>
                    <a:pt x="20889" y="31333"/>
                  </a:cubicBezTo>
                  <a:lnTo>
                    <a:pt x="20889" y="31333"/>
                  </a:lnTo>
                  <a:cubicBezTo>
                    <a:pt x="26578" y="31333"/>
                    <a:pt x="31190" y="26721"/>
                    <a:pt x="31190" y="21032"/>
                  </a:cubicBezTo>
                  <a:cubicBezTo>
                    <a:pt x="31190" y="15343"/>
                    <a:pt x="26578" y="10731"/>
                    <a:pt x="2088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5" name="Freeform: Shape 304">
              <a:extLst>
                <a:ext uri="{FF2B5EF4-FFF2-40B4-BE49-F238E27FC236}">
                  <a16:creationId xmlns:a16="http://schemas.microsoft.com/office/drawing/2014/main" id="{C95338E3-19A0-4C2E-B4D8-905FE4F6D6DD}"/>
                </a:ext>
              </a:extLst>
            </p:cNvPr>
            <p:cNvSpPr/>
            <p:nvPr/>
          </p:nvSpPr>
          <p:spPr>
            <a:xfrm>
              <a:off x="5855761" y="6156416"/>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6" name="Freeform: Shape 305">
              <a:extLst>
                <a:ext uri="{FF2B5EF4-FFF2-40B4-BE49-F238E27FC236}">
                  <a16:creationId xmlns:a16="http://schemas.microsoft.com/office/drawing/2014/main" id="{52B4443E-A55F-4E2A-BE51-FC9D86E50137}"/>
                </a:ext>
              </a:extLst>
            </p:cNvPr>
            <p:cNvSpPr/>
            <p:nvPr/>
          </p:nvSpPr>
          <p:spPr>
            <a:xfrm>
              <a:off x="6037037" y="6317804"/>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307" name="Freeform: Shape 306">
              <a:extLst>
                <a:ext uri="{FF2B5EF4-FFF2-40B4-BE49-F238E27FC236}">
                  <a16:creationId xmlns:a16="http://schemas.microsoft.com/office/drawing/2014/main" id="{FFC48134-E69E-42F6-A8CA-1089C009F2AC}"/>
                </a:ext>
              </a:extLst>
            </p:cNvPr>
            <p:cNvSpPr/>
            <p:nvPr/>
          </p:nvSpPr>
          <p:spPr>
            <a:xfrm>
              <a:off x="5935739" y="6156984"/>
              <a:ext cx="42922" cy="42922"/>
            </a:xfrm>
            <a:custGeom>
              <a:avLst/>
              <a:gdLst>
                <a:gd name="connsiteX0" fmla="*/ 22321 w 42922"/>
                <a:gd name="connsiteY0" fmla="*/ 10734 h 42922"/>
                <a:gd name="connsiteX1" fmla="*/ 10734 w 42922"/>
                <a:gd name="connsiteY1" fmla="*/ 21747 h 42922"/>
                <a:gd name="connsiteX2" fmla="*/ 10732 w 42922"/>
                <a:gd name="connsiteY2" fmla="*/ 21894 h 42922"/>
                <a:gd name="connsiteX3" fmla="*/ 22033 w 42922"/>
                <a:gd name="connsiteY3" fmla="*/ 33483 h 42922"/>
                <a:gd name="connsiteX4" fmla="*/ 22034 w 42922"/>
                <a:gd name="connsiteY4" fmla="*/ 33483 h 42922"/>
                <a:gd name="connsiteX5" fmla="*/ 22034 w 42922"/>
                <a:gd name="connsiteY5" fmla="*/ 33483 h 42922"/>
                <a:gd name="connsiteX6" fmla="*/ 33336 w 42922"/>
                <a:gd name="connsiteY6" fmla="*/ 22468 h 42922"/>
                <a:gd name="connsiteX7" fmla="*/ 33337 w 42922"/>
                <a:gd name="connsiteY7" fmla="*/ 22323 h 42922"/>
                <a:gd name="connsiteX8" fmla="*/ 22328 w 42922"/>
                <a:gd name="connsiteY8" fmla="*/ 10734 h 42922"/>
                <a:gd name="connsiteX9" fmla="*/ 22321 w 42922"/>
                <a:gd name="connsiteY9"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2321" y="10734"/>
                  </a:moveTo>
                  <a:cubicBezTo>
                    <a:pt x="16080" y="10576"/>
                    <a:pt x="10893" y="15506"/>
                    <a:pt x="10734" y="21747"/>
                  </a:cubicBezTo>
                  <a:cubicBezTo>
                    <a:pt x="10733" y="21795"/>
                    <a:pt x="10732" y="21845"/>
                    <a:pt x="10732" y="21894"/>
                  </a:cubicBezTo>
                  <a:cubicBezTo>
                    <a:pt x="10651" y="28215"/>
                    <a:pt x="15712" y="33403"/>
                    <a:pt x="22033" y="33483"/>
                  </a:cubicBezTo>
                  <a:cubicBezTo>
                    <a:pt x="22033" y="33483"/>
                    <a:pt x="22034" y="33483"/>
                    <a:pt x="22034" y="33483"/>
                  </a:cubicBezTo>
                  <a:lnTo>
                    <a:pt x="22034" y="33483"/>
                  </a:lnTo>
                  <a:cubicBezTo>
                    <a:pt x="28197" y="33562"/>
                    <a:pt x="33257" y="28630"/>
                    <a:pt x="33336" y="22468"/>
                  </a:cubicBezTo>
                  <a:cubicBezTo>
                    <a:pt x="33337" y="22419"/>
                    <a:pt x="33337" y="22372"/>
                    <a:pt x="33337" y="22323"/>
                  </a:cubicBezTo>
                  <a:cubicBezTo>
                    <a:pt x="33498" y="16082"/>
                    <a:pt x="28569" y="10895"/>
                    <a:pt x="22328" y="10734"/>
                  </a:cubicBezTo>
                  <a:cubicBezTo>
                    <a:pt x="22325" y="10734"/>
                    <a:pt x="22323" y="10734"/>
                    <a:pt x="22321"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8" name="Freeform: Shape 307">
              <a:extLst>
                <a:ext uri="{FF2B5EF4-FFF2-40B4-BE49-F238E27FC236}">
                  <a16:creationId xmlns:a16="http://schemas.microsoft.com/office/drawing/2014/main" id="{8D397BF8-B3B5-493E-ACAE-23685964CC84}"/>
                </a:ext>
              </a:extLst>
            </p:cNvPr>
            <p:cNvSpPr/>
            <p:nvPr/>
          </p:nvSpPr>
          <p:spPr>
            <a:xfrm>
              <a:off x="5938456" y="6208390"/>
              <a:ext cx="28615" cy="28615"/>
            </a:xfrm>
            <a:custGeom>
              <a:avLst/>
              <a:gdLst>
                <a:gd name="connsiteX0" fmla="*/ 18030 w 28614"/>
                <a:gd name="connsiteY0" fmla="*/ 10835 h 28614"/>
                <a:gd name="connsiteX1" fmla="*/ 11109 w 28614"/>
                <a:gd name="connsiteY1" fmla="*/ 23193 h 28614"/>
                <a:gd name="connsiteX2" fmla="*/ 23468 w 28614"/>
                <a:gd name="connsiteY2" fmla="*/ 30113 h 28614"/>
                <a:gd name="connsiteX3" fmla="*/ 30763 w 28614"/>
                <a:gd name="connsiteY3" fmla="*/ 20564 h 28614"/>
                <a:gd name="connsiteX4" fmla="*/ 18085 w 28614"/>
                <a:gd name="connsiteY4" fmla="*/ 10828 h 28614"/>
                <a:gd name="connsiteX5" fmla="*/ 18030 w 28614"/>
                <a:gd name="connsiteY5" fmla="*/ 108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030" y="10835"/>
                  </a:moveTo>
                  <a:cubicBezTo>
                    <a:pt x="12706" y="12338"/>
                    <a:pt x="9608" y="17870"/>
                    <a:pt x="11109" y="23193"/>
                  </a:cubicBezTo>
                  <a:cubicBezTo>
                    <a:pt x="12611" y="28516"/>
                    <a:pt x="18144" y="31615"/>
                    <a:pt x="23468" y="30113"/>
                  </a:cubicBezTo>
                  <a:cubicBezTo>
                    <a:pt x="27751" y="28906"/>
                    <a:pt x="30723" y="25015"/>
                    <a:pt x="30763" y="20564"/>
                  </a:cubicBezTo>
                  <a:cubicBezTo>
                    <a:pt x="29951" y="14375"/>
                    <a:pt x="24275" y="10015"/>
                    <a:pt x="18085" y="10828"/>
                  </a:cubicBezTo>
                  <a:cubicBezTo>
                    <a:pt x="18067" y="10830"/>
                    <a:pt x="18048" y="10832"/>
                    <a:pt x="18030" y="108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9" name="Freeform: Shape 308">
              <a:extLst>
                <a:ext uri="{FF2B5EF4-FFF2-40B4-BE49-F238E27FC236}">
                  <a16:creationId xmlns:a16="http://schemas.microsoft.com/office/drawing/2014/main" id="{9DD92484-555A-46A7-A0A2-9D52DA2EBC20}"/>
                </a:ext>
              </a:extLst>
            </p:cNvPr>
            <p:cNvSpPr/>
            <p:nvPr/>
          </p:nvSpPr>
          <p:spPr>
            <a:xfrm>
              <a:off x="5935946" y="6307833"/>
              <a:ext cx="42922" cy="42922"/>
            </a:xfrm>
            <a:custGeom>
              <a:avLst/>
              <a:gdLst>
                <a:gd name="connsiteX0" fmla="*/ 20540 w 42922"/>
                <a:gd name="connsiteY0" fmla="*/ 10829 h 42922"/>
                <a:gd name="connsiteX1" fmla="*/ 10810 w 42922"/>
                <a:gd name="connsiteY1" fmla="*/ 20702 h 42922"/>
                <a:gd name="connsiteX2" fmla="*/ 20703 w 42922"/>
                <a:gd name="connsiteY2" fmla="*/ 33258 h 42922"/>
                <a:gd name="connsiteX3" fmla="*/ 33259 w 42922"/>
                <a:gd name="connsiteY3" fmla="*/ 23364 h 42922"/>
                <a:gd name="connsiteX4" fmla="*/ 23367 w 42922"/>
                <a:gd name="connsiteY4" fmla="*/ 10809 h 42922"/>
                <a:gd name="connsiteX5" fmla="*/ 20540 w 42922"/>
                <a:gd name="connsiteY5" fmla="*/ 1082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40" y="10829"/>
                  </a:moveTo>
                  <a:cubicBezTo>
                    <a:pt x="15446" y="11559"/>
                    <a:pt x="11466" y="15598"/>
                    <a:pt x="10810" y="20702"/>
                  </a:cubicBezTo>
                  <a:cubicBezTo>
                    <a:pt x="10075" y="26901"/>
                    <a:pt x="14505" y="32523"/>
                    <a:pt x="20703" y="33258"/>
                  </a:cubicBezTo>
                  <a:cubicBezTo>
                    <a:pt x="26902" y="33992"/>
                    <a:pt x="32523" y="29564"/>
                    <a:pt x="33259" y="23364"/>
                  </a:cubicBezTo>
                  <a:cubicBezTo>
                    <a:pt x="33994" y="17165"/>
                    <a:pt x="29565" y="11543"/>
                    <a:pt x="23367" y="10809"/>
                  </a:cubicBezTo>
                  <a:cubicBezTo>
                    <a:pt x="22427" y="10698"/>
                    <a:pt x="21477" y="10705"/>
                    <a:pt x="20540" y="1082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0" name="Freeform: Shape 309">
              <a:extLst>
                <a:ext uri="{FF2B5EF4-FFF2-40B4-BE49-F238E27FC236}">
                  <a16:creationId xmlns:a16="http://schemas.microsoft.com/office/drawing/2014/main" id="{4C81C575-3A27-4D2F-8F66-E2C430D2A39E}"/>
                </a:ext>
              </a:extLst>
            </p:cNvPr>
            <p:cNvSpPr/>
            <p:nvPr/>
          </p:nvSpPr>
          <p:spPr>
            <a:xfrm>
              <a:off x="5775210" y="6254994"/>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1" name="Freeform: Shape 310">
              <a:extLst>
                <a:ext uri="{FF2B5EF4-FFF2-40B4-BE49-F238E27FC236}">
                  <a16:creationId xmlns:a16="http://schemas.microsoft.com/office/drawing/2014/main" id="{8022A16F-6522-4F4D-949E-17346271DF14}"/>
                </a:ext>
              </a:extLst>
            </p:cNvPr>
            <p:cNvSpPr/>
            <p:nvPr/>
          </p:nvSpPr>
          <p:spPr>
            <a:xfrm>
              <a:off x="5775210" y="6205061"/>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2" name="Freeform: Shape 311">
              <a:extLst>
                <a:ext uri="{FF2B5EF4-FFF2-40B4-BE49-F238E27FC236}">
                  <a16:creationId xmlns:a16="http://schemas.microsoft.com/office/drawing/2014/main" id="{8F629CF2-A960-45D0-A69B-96F79C9E73E0}"/>
                </a:ext>
              </a:extLst>
            </p:cNvPr>
            <p:cNvSpPr/>
            <p:nvPr/>
          </p:nvSpPr>
          <p:spPr>
            <a:xfrm>
              <a:off x="5775210" y="6155414"/>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3" name="Freeform: Shape 312">
              <a:extLst>
                <a:ext uri="{FF2B5EF4-FFF2-40B4-BE49-F238E27FC236}">
                  <a16:creationId xmlns:a16="http://schemas.microsoft.com/office/drawing/2014/main" id="{57C1BFBC-9B12-405C-AE8C-3B0178495051}"/>
                </a:ext>
              </a:extLst>
            </p:cNvPr>
            <p:cNvSpPr/>
            <p:nvPr/>
          </p:nvSpPr>
          <p:spPr>
            <a:xfrm>
              <a:off x="5775210" y="6354431"/>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4" name="Freeform: Shape 313">
              <a:extLst>
                <a:ext uri="{FF2B5EF4-FFF2-40B4-BE49-F238E27FC236}">
                  <a16:creationId xmlns:a16="http://schemas.microsoft.com/office/drawing/2014/main" id="{C434B71F-5160-48A8-AF87-A504253712B8}"/>
                </a:ext>
              </a:extLst>
            </p:cNvPr>
            <p:cNvSpPr/>
            <p:nvPr/>
          </p:nvSpPr>
          <p:spPr>
            <a:xfrm>
              <a:off x="5775210" y="6304641"/>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5" name="Freeform: Shape 314">
              <a:extLst>
                <a:ext uri="{FF2B5EF4-FFF2-40B4-BE49-F238E27FC236}">
                  <a16:creationId xmlns:a16="http://schemas.microsoft.com/office/drawing/2014/main" id="{D62D9512-1405-4D83-9367-DC89492B586E}"/>
                </a:ext>
              </a:extLst>
            </p:cNvPr>
            <p:cNvSpPr/>
            <p:nvPr/>
          </p:nvSpPr>
          <p:spPr>
            <a:xfrm>
              <a:off x="5855761" y="6305643"/>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6" name="Freeform: Shape 315">
              <a:extLst>
                <a:ext uri="{FF2B5EF4-FFF2-40B4-BE49-F238E27FC236}">
                  <a16:creationId xmlns:a16="http://schemas.microsoft.com/office/drawing/2014/main" id="{0CC18C8B-749D-4A39-82FF-1ECB1D687FD5}"/>
                </a:ext>
              </a:extLst>
            </p:cNvPr>
            <p:cNvSpPr/>
            <p:nvPr/>
          </p:nvSpPr>
          <p:spPr>
            <a:xfrm>
              <a:off x="5775210" y="6105624"/>
              <a:ext cx="42922" cy="42922"/>
            </a:xfrm>
            <a:custGeom>
              <a:avLst/>
              <a:gdLst>
                <a:gd name="connsiteX0" fmla="*/ 37056 w 42922"/>
                <a:gd name="connsiteY0" fmla="*/ 23894 h 42922"/>
                <a:gd name="connsiteX1" fmla="*/ 23893 w 42922"/>
                <a:gd name="connsiteY1" fmla="*/ 37056 h 42922"/>
                <a:gd name="connsiteX2" fmla="*/ 10731 w 42922"/>
                <a:gd name="connsiteY2" fmla="*/ 23894 h 42922"/>
                <a:gd name="connsiteX3" fmla="*/ 23893 w 42922"/>
                <a:gd name="connsiteY3" fmla="*/ 10731 h 42922"/>
                <a:gd name="connsiteX4" fmla="*/ 37056 w 42922"/>
                <a:gd name="connsiteY4" fmla="*/ 23894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4"/>
                  </a:moveTo>
                  <a:cubicBezTo>
                    <a:pt x="37056" y="31163"/>
                    <a:pt x="31163" y="37056"/>
                    <a:pt x="23893" y="37056"/>
                  </a:cubicBezTo>
                  <a:cubicBezTo>
                    <a:pt x="16624" y="37056"/>
                    <a:pt x="10731" y="31163"/>
                    <a:pt x="10731" y="23894"/>
                  </a:cubicBezTo>
                  <a:cubicBezTo>
                    <a:pt x="10731" y="16624"/>
                    <a:pt x="16624" y="10731"/>
                    <a:pt x="23893" y="10731"/>
                  </a:cubicBezTo>
                  <a:cubicBezTo>
                    <a:pt x="31163" y="10731"/>
                    <a:pt x="37056" y="16624"/>
                    <a:pt x="37056" y="2389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7" name="Freeform: Shape 316">
              <a:extLst>
                <a:ext uri="{FF2B5EF4-FFF2-40B4-BE49-F238E27FC236}">
                  <a16:creationId xmlns:a16="http://schemas.microsoft.com/office/drawing/2014/main" id="{35E81582-DFB6-445C-B973-0A5F67B36046}"/>
                </a:ext>
              </a:extLst>
            </p:cNvPr>
            <p:cNvSpPr/>
            <p:nvPr/>
          </p:nvSpPr>
          <p:spPr>
            <a:xfrm>
              <a:off x="5855761" y="6255996"/>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8" name="Freeform: Shape 317">
              <a:extLst>
                <a:ext uri="{FF2B5EF4-FFF2-40B4-BE49-F238E27FC236}">
                  <a16:creationId xmlns:a16="http://schemas.microsoft.com/office/drawing/2014/main" id="{FC716268-F47E-435E-A83B-2E3F8F48CF66}"/>
                </a:ext>
              </a:extLst>
            </p:cNvPr>
            <p:cNvSpPr/>
            <p:nvPr/>
          </p:nvSpPr>
          <p:spPr>
            <a:xfrm>
              <a:off x="5855761" y="6206063"/>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3321 h 42922"/>
                <a:gd name="connsiteX4" fmla="*/ 35053 w 42922"/>
                <a:gd name="connsiteY4" fmla="*/ 23321 h 42922"/>
                <a:gd name="connsiteX5" fmla="*/ 23328 w 42922"/>
                <a:gd name="connsiteY5" fmla="*/ 10738 h 42922"/>
                <a:gd name="connsiteX6" fmla="*/ 22892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1"/>
                  </a:moveTo>
                  <a:cubicBezTo>
                    <a:pt x="16176" y="10731"/>
                    <a:pt x="10731" y="16176"/>
                    <a:pt x="10731" y="22892"/>
                  </a:cubicBezTo>
                  <a:cubicBezTo>
                    <a:pt x="10731" y="29608"/>
                    <a:pt x="16176" y="35053"/>
                    <a:pt x="22892" y="35053"/>
                  </a:cubicBezTo>
                  <a:cubicBezTo>
                    <a:pt x="29475" y="35133"/>
                    <a:pt x="34897" y="29903"/>
                    <a:pt x="35053" y="23321"/>
                  </a:cubicBezTo>
                  <a:lnTo>
                    <a:pt x="35053" y="23321"/>
                  </a:lnTo>
                  <a:cubicBezTo>
                    <a:pt x="35291" y="16610"/>
                    <a:pt x="30041" y="10975"/>
                    <a:pt x="23328" y="10738"/>
                  </a:cubicBezTo>
                  <a:cubicBezTo>
                    <a:pt x="23184" y="10733"/>
                    <a:pt x="2303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9" name="Freeform: Shape 318">
              <a:extLst>
                <a:ext uri="{FF2B5EF4-FFF2-40B4-BE49-F238E27FC236}">
                  <a16:creationId xmlns:a16="http://schemas.microsoft.com/office/drawing/2014/main" id="{178E89B4-AFC9-4198-BE65-B67528041A55}"/>
                </a:ext>
              </a:extLst>
            </p:cNvPr>
            <p:cNvSpPr/>
            <p:nvPr/>
          </p:nvSpPr>
          <p:spPr>
            <a:xfrm>
              <a:off x="5856190" y="6355432"/>
              <a:ext cx="42922" cy="42922"/>
            </a:xfrm>
            <a:custGeom>
              <a:avLst/>
              <a:gdLst>
                <a:gd name="connsiteX0" fmla="*/ 22892 w 42922"/>
                <a:gd name="connsiteY0" fmla="*/ 10732 h 42922"/>
                <a:gd name="connsiteX1" fmla="*/ 22892 w 42922"/>
                <a:gd name="connsiteY1" fmla="*/ 10732 h 42922"/>
                <a:gd name="connsiteX2" fmla="*/ 10731 w 42922"/>
                <a:gd name="connsiteY2" fmla="*/ 22893 h 42922"/>
                <a:gd name="connsiteX3" fmla="*/ 22892 w 42922"/>
                <a:gd name="connsiteY3" fmla="*/ 35054 h 42922"/>
                <a:gd name="connsiteX4" fmla="*/ 35053 w 42922"/>
                <a:gd name="connsiteY4" fmla="*/ 22893 h 42922"/>
                <a:gd name="connsiteX5" fmla="*/ 23180 w 42922"/>
                <a:gd name="connsiteY5" fmla="*/ 10732 h 42922"/>
                <a:gd name="connsiteX6" fmla="*/ 22892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2"/>
                  </a:moveTo>
                  <a:lnTo>
                    <a:pt x="22892" y="10732"/>
                  </a:lnTo>
                  <a:cubicBezTo>
                    <a:pt x="16176" y="10732"/>
                    <a:pt x="10731" y="16177"/>
                    <a:pt x="10731" y="22893"/>
                  </a:cubicBezTo>
                  <a:cubicBezTo>
                    <a:pt x="10731" y="29609"/>
                    <a:pt x="16176" y="35054"/>
                    <a:pt x="22892" y="35054"/>
                  </a:cubicBezTo>
                  <a:cubicBezTo>
                    <a:pt x="29608" y="35054"/>
                    <a:pt x="35053" y="29609"/>
                    <a:pt x="35053" y="22893"/>
                  </a:cubicBezTo>
                  <a:cubicBezTo>
                    <a:pt x="35132" y="16256"/>
                    <a:pt x="29817" y="10812"/>
                    <a:pt x="23180" y="10732"/>
                  </a:cubicBezTo>
                  <a:cubicBezTo>
                    <a:pt x="23084" y="10730"/>
                    <a:pt x="22988" y="10730"/>
                    <a:pt x="2289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20" name="Freeform: Shape 319">
              <a:extLst>
                <a:ext uri="{FF2B5EF4-FFF2-40B4-BE49-F238E27FC236}">
                  <a16:creationId xmlns:a16="http://schemas.microsoft.com/office/drawing/2014/main" id="{5C8E58E1-8044-486F-9251-39B91AC5D4BB}"/>
                </a:ext>
              </a:extLst>
            </p:cNvPr>
            <p:cNvSpPr/>
            <p:nvPr/>
          </p:nvSpPr>
          <p:spPr>
            <a:xfrm>
              <a:off x="6016434" y="6208062"/>
              <a:ext cx="28615" cy="28615"/>
            </a:xfrm>
            <a:custGeom>
              <a:avLst/>
              <a:gdLst>
                <a:gd name="connsiteX0" fmla="*/ 21175 w 28614"/>
                <a:gd name="connsiteY0" fmla="*/ 10735 h 28614"/>
                <a:gd name="connsiteX1" fmla="*/ 10733 w 28614"/>
                <a:gd name="connsiteY1" fmla="*/ 20603 h 28614"/>
                <a:gd name="connsiteX2" fmla="*/ 10731 w 28614"/>
                <a:gd name="connsiteY2" fmla="*/ 20750 h 28614"/>
                <a:gd name="connsiteX3" fmla="*/ 10731 w 28614"/>
                <a:gd name="connsiteY3" fmla="*/ 20750 h 28614"/>
                <a:gd name="connsiteX4" fmla="*/ 21175 w 28614"/>
                <a:gd name="connsiteY4" fmla="*/ 31194 h 28614"/>
                <a:gd name="connsiteX5" fmla="*/ 31333 w 28614"/>
                <a:gd name="connsiteY5" fmla="*/ 21036 h 28614"/>
                <a:gd name="connsiteX6" fmla="*/ 31333 w 28614"/>
                <a:gd name="connsiteY6" fmla="*/ 21036 h 28614"/>
                <a:gd name="connsiteX7" fmla="*/ 21320 w 28614"/>
                <a:gd name="connsiteY7" fmla="*/ 10736 h 28614"/>
                <a:gd name="connsiteX8" fmla="*/ 21175 w 28614"/>
                <a:gd name="connsiteY8"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175" y="10735"/>
                  </a:moveTo>
                  <a:cubicBezTo>
                    <a:pt x="15567" y="10576"/>
                    <a:pt x="10892" y="14994"/>
                    <a:pt x="10733" y="20603"/>
                  </a:cubicBezTo>
                  <a:cubicBezTo>
                    <a:pt x="10732" y="20651"/>
                    <a:pt x="10731" y="20700"/>
                    <a:pt x="10731" y="20750"/>
                  </a:cubicBezTo>
                  <a:lnTo>
                    <a:pt x="10731" y="20750"/>
                  </a:lnTo>
                  <a:cubicBezTo>
                    <a:pt x="10731" y="26519"/>
                    <a:pt x="15406" y="31194"/>
                    <a:pt x="21175" y="31194"/>
                  </a:cubicBezTo>
                  <a:cubicBezTo>
                    <a:pt x="26785" y="31194"/>
                    <a:pt x="31333" y="26646"/>
                    <a:pt x="31333" y="21036"/>
                  </a:cubicBezTo>
                  <a:lnTo>
                    <a:pt x="31333" y="21036"/>
                  </a:lnTo>
                  <a:cubicBezTo>
                    <a:pt x="31412" y="15426"/>
                    <a:pt x="26929" y="10815"/>
                    <a:pt x="21320" y="10736"/>
                  </a:cubicBezTo>
                  <a:cubicBezTo>
                    <a:pt x="21271" y="10735"/>
                    <a:pt x="21224" y="10735"/>
                    <a:pt x="21175" y="107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21" name="Freeform: Shape 320">
              <a:extLst>
                <a:ext uri="{FF2B5EF4-FFF2-40B4-BE49-F238E27FC236}">
                  <a16:creationId xmlns:a16="http://schemas.microsoft.com/office/drawing/2014/main" id="{BD2B0824-2752-4E3F-9723-C84DD6E0DD01}"/>
                </a:ext>
              </a:extLst>
            </p:cNvPr>
            <p:cNvSpPr/>
            <p:nvPr/>
          </p:nvSpPr>
          <p:spPr>
            <a:xfrm>
              <a:off x="6254612" y="6111774"/>
              <a:ext cx="28615" cy="28615"/>
            </a:xfrm>
            <a:custGeom>
              <a:avLst/>
              <a:gdLst>
                <a:gd name="connsiteX0" fmla="*/ 20216 w 28614"/>
                <a:gd name="connsiteY0" fmla="*/ 25326 h 28614"/>
                <a:gd name="connsiteX1" fmla="*/ 25326 w 28614"/>
                <a:gd name="connsiteY1" fmla="*/ 16129 h 28614"/>
                <a:gd name="connsiteX2" fmla="*/ 20216 w 28614"/>
                <a:gd name="connsiteY2" fmla="*/ 11019 h 28614"/>
                <a:gd name="connsiteX3" fmla="*/ 11019 w 28614"/>
                <a:gd name="connsiteY3" fmla="*/ 16129 h 28614"/>
                <a:gd name="connsiteX4" fmla="*/ 16128 w 28614"/>
                <a:gd name="connsiteY4" fmla="*/ 25326 h 28614"/>
                <a:gd name="connsiteX5" fmla="*/ 20216 w 28614"/>
                <a:gd name="connsiteY5" fmla="*/ 2532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216" y="25326"/>
                  </a:moveTo>
                  <a:cubicBezTo>
                    <a:pt x="24166" y="24197"/>
                    <a:pt x="26455" y="20080"/>
                    <a:pt x="25326" y="16129"/>
                  </a:cubicBezTo>
                  <a:cubicBezTo>
                    <a:pt x="24620" y="13657"/>
                    <a:pt x="22688" y="11726"/>
                    <a:pt x="20216" y="11019"/>
                  </a:cubicBezTo>
                  <a:cubicBezTo>
                    <a:pt x="16265" y="9890"/>
                    <a:pt x="12148" y="12178"/>
                    <a:pt x="11019" y="16129"/>
                  </a:cubicBezTo>
                  <a:cubicBezTo>
                    <a:pt x="9890" y="20080"/>
                    <a:pt x="12178" y="24197"/>
                    <a:pt x="16128" y="25326"/>
                  </a:cubicBezTo>
                  <a:cubicBezTo>
                    <a:pt x="17464" y="25708"/>
                    <a:pt x="18879" y="25708"/>
                    <a:pt x="20216" y="2532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22" name="Freeform: Shape 321">
              <a:extLst>
                <a:ext uri="{FF2B5EF4-FFF2-40B4-BE49-F238E27FC236}">
                  <a16:creationId xmlns:a16="http://schemas.microsoft.com/office/drawing/2014/main" id="{063E6F52-B370-478E-B6C9-ED7D23BFB440}"/>
                </a:ext>
              </a:extLst>
            </p:cNvPr>
            <p:cNvSpPr/>
            <p:nvPr/>
          </p:nvSpPr>
          <p:spPr>
            <a:xfrm>
              <a:off x="6257658" y="6361156"/>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23" name="Freeform: Shape 322">
              <a:extLst>
                <a:ext uri="{FF2B5EF4-FFF2-40B4-BE49-F238E27FC236}">
                  <a16:creationId xmlns:a16="http://schemas.microsoft.com/office/drawing/2014/main" id="{5F49A287-D7F9-48CC-AB83-6AA89032938E}"/>
                </a:ext>
              </a:extLst>
            </p:cNvPr>
            <p:cNvSpPr/>
            <p:nvPr/>
          </p:nvSpPr>
          <p:spPr>
            <a:xfrm>
              <a:off x="6177102" y="6159133"/>
              <a:ext cx="28615" cy="28615"/>
            </a:xfrm>
            <a:custGeom>
              <a:avLst/>
              <a:gdLst>
                <a:gd name="connsiteX0" fmla="*/ 19463 w 28614"/>
                <a:gd name="connsiteY0" fmla="*/ 10732 h 28614"/>
                <a:gd name="connsiteX1" fmla="*/ 10736 w 28614"/>
                <a:gd name="connsiteY1" fmla="*/ 19030 h 28614"/>
                <a:gd name="connsiteX2" fmla="*/ 18744 w 28614"/>
                <a:gd name="connsiteY2" fmla="*/ 27610 h 28614"/>
                <a:gd name="connsiteX3" fmla="*/ 19034 w 28614"/>
                <a:gd name="connsiteY3" fmla="*/ 27615 h 28614"/>
                <a:gd name="connsiteX4" fmla="*/ 19034 w 28614"/>
                <a:gd name="connsiteY4" fmla="*/ 27615 h 28614"/>
                <a:gd name="connsiteX5" fmla="*/ 27189 w 28614"/>
                <a:gd name="connsiteY5" fmla="*/ 19459 h 28614"/>
                <a:gd name="connsiteX6" fmla="*/ 19463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463" y="10732"/>
                  </a:moveTo>
                  <a:cubicBezTo>
                    <a:pt x="14776" y="10652"/>
                    <a:pt x="10892" y="14346"/>
                    <a:pt x="10736" y="19030"/>
                  </a:cubicBezTo>
                  <a:cubicBezTo>
                    <a:pt x="10578" y="23610"/>
                    <a:pt x="14162" y="27452"/>
                    <a:pt x="18744" y="27610"/>
                  </a:cubicBezTo>
                  <a:cubicBezTo>
                    <a:pt x="18839" y="27613"/>
                    <a:pt x="18937" y="27615"/>
                    <a:pt x="19034" y="27615"/>
                  </a:cubicBezTo>
                  <a:lnTo>
                    <a:pt x="19034" y="27615"/>
                  </a:lnTo>
                  <a:cubicBezTo>
                    <a:pt x="23538" y="27615"/>
                    <a:pt x="27189" y="23963"/>
                    <a:pt x="27189" y="19459"/>
                  </a:cubicBezTo>
                  <a:cubicBezTo>
                    <a:pt x="27358" y="14954"/>
                    <a:pt x="23956" y="11111"/>
                    <a:pt x="19463"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24" name="Freeform: Shape 323">
              <a:extLst>
                <a:ext uri="{FF2B5EF4-FFF2-40B4-BE49-F238E27FC236}">
                  <a16:creationId xmlns:a16="http://schemas.microsoft.com/office/drawing/2014/main" id="{734F8399-8DC5-43C5-88CA-B70EA077E1A0}"/>
                </a:ext>
              </a:extLst>
            </p:cNvPr>
            <p:cNvSpPr/>
            <p:nvPr/>
          </p:nvSpPr>
          <p:spPr>
            <a:xfrm>
              <a:off x="6177393" y="6259430"/>
              <a:ext cx="28615" cy="28615"/>
            </a:xfrm>
            <a:custGeom>
              <a:avLst/>
              <a:gdLst>
                <a:gd name="connsiteX0" fmla="*/ 19172 w 28614"/>
                <a:gd name="connsiteY0" fmla="*/ 10731 h 28614"/>
                <a:gd name="connsiteX1" fmla="*/ 10731 w 28614"/>
                <a:gd name="connsiteY1" fmla="*/ 19172 h 28614"/>
                <a:gd name="connsiteX2" fmla="*/ 19172 w 28614"/>
                <a:gd name="connsiteY2" fmla="*/ 27613 h 28614"/>
                <a:gd name="connsiteX3" fmla="*/ 19172 w 28614"/>
                <a:gd name="connsiteY3" fmla="*/ 27613 h 28614"/>
                <a:gd name="connsiteX4" fmla="*/ 27327 w 28614"/>
                <a:gd name="connsiteY4" fmla="*/ 19458 h 28614"/>
                <a:gd name="connsiteX5" fmla="*/ 19182 w 28614"/>
                <a:gd name="connsiteY5" fmla="*/ 10731 h 28614"/>
                <a:gd name="connsiteX6" fmla="*/ 19172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172" y="10731"/>
                  </a:moveTo>
                  <a:cubicBezTo>
                    <a:pt x="14509" y="10731"/>
                    <a:pt x="10731" y="14511"/>
                    <a:pt x="10731" y="19172"/>
                  </a:cubicBezTo>
                  <a:cubicBezTo>
                    <a:pt x="10731" y="23833"/>
                    <a:pt x="14511" y="27613"/>
                    <a:pt x="19172" y="27613"/>
                  </a:cubicBezTo>
                  <a:lnTo>
                    <a:pt x="19172" y="27613"/>
                  </a:lnTo>
                  <a:cubicBezTo>
                    <a:pt x="23676" y="27613"/>
                    <a:pt x="27327" y="23962"/>
                    <a:pt x="27327" y="19458"/>
                  </a:cubicBezTo>
                  <a:cubicBezTo>
                    <a:pt x="27487" y="14798"/>
                    <a:pt x="23841" y="10892"/>
                    <a:pt x="19182" y="10731"/>
                  </a:cubicBezTo>
                  <a:cubicBezTo>
                    <a:pt x="19178" y="10731"/>
                    <a:pt x="19175" y="10731"/>
                    <a:pt x="1917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25" name="Freeform: Shape 324">
              <a:extLst>
                <a:ext uri="{FF2B5EF4-FFF2-40B4-BE49-F238E27FC236}">
                  <a16:creationId xmlns:a16="http://schemas.microsoft.com/office/drawing/2014/main" id="{64B0CE14-A6E6-4E03-85FF-9B97BAA118E9}"/>
                </a:ext>
              </a:extLst>
            </p:cNvPr>
            <p:cNvSpPr/>
            <p:nvPr/>
          </p:nvSpPr>
          <p:spPr>
            <a:xfrm>
              <a:off x="6177382" y="6309554"/>
              <a:ext cx="28615" cy="28615"/>
            </a:xfrm>
            <a:custGeom>
              <a:avLst/>
              <a:gdLst>
                <a:gd name="connsiteX0" fmla="*/ 17753 w 28614"/>
                <a:gd name="connsiteY0" fmla="*/ 10825 h 28614"/>
                <a:gd name="connsiteX1" fmla="*/ 10742 w 28614"/>
                <a:gd name="connsiteY1" fmla="*/ 17836 h 28614"/>
                <a:gd name="connsiteX2" fmla="*/ 18733 w 28614"/>
                <a:gd name="connsiteY2" fmla="*/ 26705 h 28614"/>
                <a:gd name="connsiteX3" fmla="*/ 27339 w 28614"/>
                <a:gd name="connsiteY3" fmla="*/ 20411 h 28614"/>
                <a:gd name="connsiteX4" fmla="*/ 27339 w 28614"/>
                <a:gd name="connsiteY4" fmla="*/ 17836 h 28614"/>
                <a:gd name="connsiteX5" fmla="*/ 17753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753" y="10825"/>
                  </a:moveTo>
                  <a:cubicBezTo>
                    <a:pt x="14145" y="11399"/>
                    <a:pt x="11316" y="14227"/>
                    <a:pt x="10742" y="17836"/>
                  </a:cubicBezTo>
                  <a:cubicBezTo>
                    <a:pt x="10499" y="22491"/>
                    <a:pt x="14077" y="26462"/>
                    <a:pt x="18733" y="26705"/>
                  </a:cubicBezTo>
                  <a:cubicBezTo>
                    <a:pt x="22731" y="26914"/>
                    <a:pt x="26326" y="24284"/>
                    <a:pt x="27339" y="20411"/>
                  </a:cubicBezTo>
                  <a:cubicBezTo>
                    <a:pt x="27483" y="19558"/>
                    <a:pt x="27483" y="18689"/>
                    <a:pt x="27339" y="17836"/>
                  </a:cubicBezTo>
                  <a:cubicBezTo>
                    <a:pt x="26605" y="13266"/>
                    <a:pt x="22330" y="10138"/>
                    <a:pt x="17753" y="108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26" name="Freeform: Shape 325">
              <a:extLst>
                <a:ext uri="{FF2B5EF4-FFF2-40B4-BE49-F238E27FC236}">
                  <a16:creationId xmlns:a16="http://schemas.microsoft.com/office/drawing/2014/main" id="{4CB91C25-039D-4E97-B582-AD4614BA3C92}"/>
                </a:ext>
              </a:extLst>
            </p:cNvPr>
            <p:cNvSpPr/>
            <p:nvPr/>
          </p:nvSpPr>
          <p:spPr>
            <a:xfrm>
              <a:off x="6177382" y="6211119"/>
              <a:ext cx="28615" cy="28615"/>
            </a:xfrm>
            <a:custGeom>
              <a:avLst/>
              <a:gdLst>
                <a:gd name="connsiteX0" fmla="*/ 17753 w 28614"/>
                <a:gd name="connsiteY0" fmla="*/ 10825 h 28614"/>
                <a:gd name="connsiteX1" fmla="*/ 10742 w 28614"/>
                <a:gd name="connsiteY1" fmla="*/ 17835 h 28614"/>
                <a:gd name="connsiteX2" fmla="*/ 18733 w 28614"/>
                <a:gd name="connsiteY2" fmla="*/ 26705 h 28614"/>
                <a:gd name="connsiteX3" fmla="*/ 27339 w 28614"/>
                <a:gd name="connsiteY3" fmla="*/ 20411 h 28614"/>
                <a:gd name="connsiteX4" fmla="*/ 27339 w 28614"/>
                <a:gd name="connsiteY4" fmla="*/ 17835 h 28614"/>
                <a:gd name="connsiteX5" fmla="*/ 17753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753" y="10825"/>
                  </a:moveTo>
                  <a:cubicBezTo>
                    <a:pt x="14145" y="11399"/>
                    <a:pt x="11316" y="14227"/>
                    <a:pt x="10742" y="17835"/>
                  </a:cubicBezTo>
                  <a:cubicBezTo>
                    <a:pt x="10499" y="22491"/>
                    <a:pt x="14077" y="26463"/>
                    <a:pt x="18733" y="26705"/>
                  </a:cubicBezTo>
                  <a:cubicBezTo>
                    <a:pt x="22731" y="26914"/>
                    <a:pt x="26326" y="24284"/>
                    <a:pt x="27339" y="20411"/>
                  </a:cubicBezTo>
                  <a:cubicBezTo>
                    <a:pt x="27483" y="19558"/>
                    <a:pt x="27483" y="18688"/>
                    <a:pt x="27339" y="17835"/>
                  </a:cubicBezTo>
                  <a:cubicBezTo>
                    <a:pt x="26605" y="13266"/>
                    <a:pt x="22330" y="10139"/>
                    <a:pt x="17753" y="108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27" name="Freeform: Shape 326">
              <a:extLst>
                <a:ext uri="{FF2B5EF4-FFF2-40B4-BE49-F238E27FC236}">
                  <a16:creationId xmlns:a16="http://schemas.microsoft.com/office/drawing/2014/main" id="{EDBAD6DE-99E8-4126-92E0-0AFBB05CD409}"/>
                </a:ext>
              </a:extLst>
            </p:cNvPr>
            <p:cNvSpPr/>
            <p:nvPr/>
          </p:nvSpPr>
          <p:spPr>
            <a:xfrm>
              <a:off x="6257370" y="6160422"/>
              <a:ext cx="28615" cy="28615"/>
            </a:xfrm>
            <a:custGeom>
              <a:avLst/>
              <a:gdLst>
                <a:gd name="connsiteX0" fmla="*/ 18459 w 28614"/>
                <a:gd name="connsiteY0" fmla="*/ 10731 h 28614"/>
                <a:gd name="connsiteX1" fmla="*/ 11019 w 28614"/>
                <a:gd name="connsiteY1" fmla="*/ 18170 h 28614"/>
                <a:gd name="connsiteX2" fmla="*/ 16129 w 28614"/>
                <a:gd name="connsiteY2" fmla="*/ 27367 h 28614"/>
                <a:gd name="connsiteX3" fmla="*/ 25326 w 28614"/>
                <a:gd name="connsiteY3" fmla="*/ 22258 h 28614"/>
                <a:gd name="connsiteX4" fmla="*/ 25326 w 28614"/>
                <a:gd name="connsiteY4" fmla="*/ 18170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0"/>
                  </a:cubicBezTo>
                  <a:cubicBezTo>
                    <a:pt x="9890" y="22121"/>
                    <a:pt x="12178" y="26238"/>
                    <a:pt x="16129" y="27367"/>
                  </a:cubicBezTo>
                  <a:cubicBezTo>
                    <a:pt x="20080" y="28496"/>
                    <a:pt x="24197" y="26208"/>
                    <a:pt x="25326" y="22258"/>
                  </a:cubicBezTo>
                  <a:cubicBezTo>
                    <a:pt x="25708" y="20922"/>
                    <a:pt x="25708" y="19505"/>
                    <a:pt x="25326" y="18170"/>
                  </a:cubicBezTo>
                  <a:cubicBezTo>
                    <a:pt x="25338" y="14275"/>
                    <a:pt x="22343" y="11030"/>
                    <a:pt x="1845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28" name="Freeform: Shape 327">
              <a:extLst>
                <a:ext uri="{FF2B5EF4-FFF2-40B4-BE49-F238E27FC236}">
                  <a16:creationId xmlns:a16="http://schemas.microsoft.com/office/drawing/2014/main" id="{BE8D05BF-D93F-47C4-84D4-7E4567D8F118}"/>
                </a:ext>
              </a:extLst>
            </p:cNvPr>
            <p:cNvSpPr/>
            <p:nvPr/>
          </p:nvSpPr>
          <p:spPr>
            <a:xfrm>
              <a:off x="6257658" y="6210784"/>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29" name="Freeform: Shape 328">
              <a:extLst>
                <a:ext uri="{FF2B5EF4-FFF2-40B4-BE49-F238E27FC236}">
                  <a16:creationId xmlns:a16="http://schemas.microsoft.com/office/drawing/2014/main" id="{2E22682E-3D47-4E7D-B739-8B6CDBFE982F}"/>
                </a:ext>
              </a:extLst>
            </p:cNvPr>
            <p:cNvSpPr/>
            <p:nvPr/>
          </p:nvSpPr>
          <p:spPr>
            <a:xfrm>
              <a:off x="6257372" y="6260573"/>
              <a:ext cx="28615" cy="28615"/>
            </a:xfrm>
            <a:custGeom>
              <a:avLst/>
              <a:gdLst>
                <a:gd name="connsiteX0" fmla="*/ 18457 w 28614"/>
                <a:gd name="connsiteY0" fmla="*/ 10732 h 28614"/>
                <a:gd name="connsiteX1" fmla="*/ 10732 w 28614"/>
                <a:gd name="connsiteY1" fmla="*/ 18170 h 28614"/>
                <a:gd name="connsiteX2" fmla="*/ 18171 w 28614"/>
                <a:gd name="connsiteY2" fmla="*/ 25895 h 28614"/>
                <a:gd name="connsiteX3" fmla="*/ 25895 w 28614"/>
                <a:gd name="connsiteY3" fmla="*/ 18457 h 28614"/>
                <a:gd name="connsiteX4" fmla="*/ 25896 w 28614"/>
                <a:gd name="connsiteY4" fmla="*/ 18315 h 28614"/>
                <a:gd name="connsiteX5" fmla="*/ 18601 w 28614"/>
                <a:gd name="connsiteY5" fmla="*/ 10733 h 28614"/>
                <a:gd name="connsiteX6" fmla="*/ 18457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57" y="10732"/>
                  </a:moveTo>
                  <a:cubicBezTo>
                    <a:pt x="14269" y="10653"/>
                    <a:pt x="10811" y="13983"/>
                    <a:pt x="10732" y="18170"/>
                  </a:cubicBezTo>
                  <a:cubicBezTo>
                    <a:pt x="10653" y="22358"/>
                    <a:pt x="13983" y="25816"/>
                    <a:pt x="18171" y="25895"/>
                  </a:cubicBezTo>
                  <a:cubicBezTo>
                    <a:pt x="22358" y="25974"/>
                    <a:pt x="25816" y="22644"/>
                    <a:pt x="25895" y="18457"/>
                  </a:cubicBezTo>
                  <a:cubicBezTo>
                    <a:pt x="25896" y="18409"/>
                    <a:pt x="25896" y="18362"/>
                    <a:pt x="25896" y="18315"/>
                  </a:cubicBezTo>
                  <a:cubicBezTo>
                    <a:pt x="25975" y="14207"/>
                    <a:pt x="22709" y="10812"/>
                    <a:pt x="18601" y="10733"/>
                  </a:cubicBezTo>
                  <a:cubicBezTo>
                    <a:pt x="18552" y="10732"/>
                    <a:pt x="18505" y="10732"/>
                    <a:pt x="18457"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30" name="Freeform: Shape 329">
              <a:extLst>
                <a:ext uri="{FF2B5EF4-FFF2-40B4-BE49-F238E27FC236}">
                  <a16:creationId xmlns:a16="http://schemas.microsoft.com/office/drawing/2014/main" id="{75EE57F3-B06F-4FFB-B6AF-630A1FD5C95D}"/>
                </a:ext>
              </a:extLst>
            </p:cNvPr>
            <p:cNvSpPr/>
            <p:nvPr/>
          </p:nvSpPr>
          <p:spPr>
            <a:xfrm>
              <a:off x="6257658" y="6309506"/>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31" name="Freeform: Shape 330">
              <a:extLst>
                <a:ext uri="{FF2B5EF4-FFF2-40B4-BE49-F238E27FC236}">
                  <a16:creationId xmlns:a16="http://schemas.microsoft.com/office/drawing/2014/main" id="{B2FAB342-CFF3-4AF7-BA9A-7864F6B51594}"/>
                </a:ext>
              </a:extLst>
            </p:cNvPr>
            <p:cNvSpPr/>
            <p:nvPr/>
          </p:nvSpPr>
          <p:spPr>
            <a:xfrm>
              <a:off x="6097414" y="6258714"/>
              <a:ext cx="28615" cy="28615"/>
            </a:xfrm>
            <a:custGeom>
              <a:avLst/>
              <a:gdLst>
                <a:gd name="connsiteX0" fmla="*/ 20030 w 28614"/>
                <a:gd name="connsiteY0" fmla="*/ 10731 h 28614"/>
                <a:gd name="connsiteX1" fmla="*/ 10731 w 28614"/>
                <a:gd name="connsiteY1" fmla="*/ 20030 h 28614"/>
                <a:gd name="connsiteX2" fmla="*/ 20030 w 28614"/>
                <a:gd name="connsiteY2" fmla="*/ 29330 h 28614"/>
                <a:gd name="connsiteX3" fmla="*/ 29330 w 28614"/>
                <a:gd name="connsiteY3" fmla="*/ 20173 h 28614"/>
                <a:gd name="connsiteX4" fmla="*/ 2003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10731"/>
                  </a:moveTo>
                  <a:cubicBezTo>
                    <a:pt x="14894" y="10731"/>
                    <a:pt x="10731" y="14894"/>
                    <a:pt x="10731" y="20030"/>
                  </a:cubicBezTo>
                  <a:cubicBezTo>
                    <a:pt x="10731" y="25167"/>
                    <a:pt x="14894" y="29330"/>
                    <a:pt x="20030" y="29330"/>
                  </a:cubicBezTo>
                  <a:cubicBezTo>
                    <a:pt x="25111" y="29332"/>
                    <a:pt x="29252" y="25254"/>
                    <a:pt x="29330" y="20173"/>
                  </a:cubicBezTo>
                  <a:cubicBezTo>
                    <a:pt x="29330" y="15014"/>
                    <a:pt x="25190" y="10809"/>
                    <a:pt x="20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32" name="Freeform: Shape 331">
              <a:extLst>
                <a:ext uri="{FF2B5EF4-FFF2-40B4-BE49-F238E27FC236}">
                  <a16:creationId xmlns:a16="http://schemas.microsoft.com/office/drawing/2014/main" id="{E248A228-5336-4E0A-A510-48F881528C7E}"/>
                </a:ext>
              </a:extLst>
            </p:cNvPr>
            <p:cNvSpPr/>
            <p:nvPr/>
          </p:nvSpPr>
          <p:spPr>
            <a:xfrm>
              <a:off x="6094510" y="6108699"/>
              <a:ext cx="28615" cy="28615"/>
            </a:xfrm>
            <a:custGeom>
              <a:avLst/>
              <a:gdLst>
                <a:gd name="connsiteX0" fmla="*/ 21790 w 28614"/>
                <a:gd name="connsiteY0" fmla="*/ 30404 h 28614"/>
                <a:gd name="connsiteX1" fmla="*/ 30947 w 28614"/>
                <a:gd name="connsiteY1" fmla="*/ 21248 h 28614"/>
                <a:gd name="connsiteX2" fmla="*/ 30947 w 28614"/>
                <a:gd name="connsiteY2" fmla="*/ 19960 h 28614"/>
                <a:gd name="connsiteX3" fmla="*/ 21790 w 28614"/>
                <a:gd name="connsiteY3" fmla="*/ 10803 h 28614"/>
                <a:gd name="connsiteX4" fmla="*/ 10803 w 28614"/>
                <a:gd name="connsiteY4" fmla="*/ 19418 h 28614"/>
                <a:gd name="connsiteX5" fmla="*/ 19418 w 28614"/>
                <a:gd name="connsiteY5" fmla="*/ 30404 h 28614"/>
                <a:gd name="connsiteX6" fmla="*/ 21790 w 28614"/>
                <a:gd name="connsiteY6" fmla="*/ 3040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790" y="30404"/>
                  </a:moveTo>
                  <a:cubicBezTo>
                    <a:pt x="26848" y="30404"/>
                    <a:pt x="30947" y="26305"/>
                    <a:pt x="30947" y="21248"/>
                  </a:cubicBezTo>
                  <a:lnTo>
                    <a:pt x="30947" y="19960"/>
                  </a:lnTo>
                  <a:cubicBezTo>
                    <a:pt x="30947" y="14902"/>
                    <a:pt x="26848" y="10803"/>
                    <a:pt x="21790" y="10803"/>
                  </a:cubicBezTo>
                  <a:cubicBezTo>
                    <a:pt x="16377" y="10148"/>
                    <a:pt x="11458" y="14005"/>
                    <a:pt x="10803" y="19418"/>
                  </a:cubicBezTo>
                  <a:cubicBezTo>
                    <a:pt x="10148" y="24830"/>
                    <a:pt x="14005" y="29749"/>
                    <a:pt x="19418" y="30404"/>
                  </a:cubicBezTo>
                  <a:cubicBezTo>
                    <a:pt x="20205" y="30500"/>
                    <a:pt x="21002" y="30500"/>
                    <a:pt x="21790" y="3040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33" name="Freeform: Shape 332">
              <a:extLst>
                <a:ext uri="{FF2B5EF4-FFF2-40B4-BE49-F238E27FC236}">
                  <a16:creationId xmlns:a16="http://schemas.microsoft.com/office/drawing/2014/main" id="{3A76E238-36EF-4D15-BA4D-E87A4C0050FA}"/>
                </a:ext>
              </a:extLst>
            </p:cNvPr>
            <p:cNvSpPr/>
            <p:nvPr/>
          </p:nvSpPr>
          <p:spPr>
            <a:xfrm>
              <a:off x="6096984" y="6358151"/>
              <a:ext cx="28615" cy="28615"/>
            </a:xfrm>
            <a:custGeom>
              <a:avLst/>
              <a:gdLst>
                <a:gd name="connsiteX0" fmla="*/ 20461 w 28614"/>
                <a:gd name="connsiteY0" fmla="*/ 10731 h 28614"/>
                <a:gd name="connsiteX1" fmla="*/ 20461 w 28614"/>
                <a:gd name="connsiteY1" fmla="*/ 10731 h 28614"/>
                <a:gd name="connsiteX2" fmla="*/ 10731 w 28614"/>
                <a:gd name="connsiteY2" fmla="*/ 20458 h 28614"/>
                <a:gd name="connsiteX3" fmla="*/ 10732 w 28614"/>
                <a:gd name="connsiteY3" fmla="*/ 20603 h 28614"/>
                <a:gd name="connsiteX4" fmla="*/ 20173 w 28614"/>
                <a:gd name="connsiteY4" fmla="*/ 30332 h 28614"/>
                <a:gd name="connsiteX5" fmla="*/ 20461 w 28614"/>
                <a:gd name="connsiteY5" fmla="*/ 30332 h 28614"/>
                <a:gd name="connsiteX6" fmla="*/ 29761 w 28614"/>
                <a:gd name="connsiteY6" fmla="*/ 21175 h 28614"/>
                <a:gd name="connsiteX7" fmla="*/ 29761 w 28614"/>
                <a:gd name="connsiteY7" fmla="*/ 20174 h 28614"/>
                <a:gd name="connsiteX8" fmla="*/ 20606 w 28614"/>
                <a:gd name="connsiteY8" fmla="*/ 10732 h 28614"/>
                <a:gd name="connsiteX9" fmla="*/ 20461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0461" y="10731"/>
                  </a:moveTo>
                  <a:lnTo>
                    <a:pt x="20461" y="10731"/>
                  </a:lnTo>
                  <a:cubicBezTo>
                    <a:pt x="15087" y="10731"/>
                    <a:pt x="10732" y="15086"/>
                    <a:pt x="10731" y="20458"/>
                  </a:cubicBezTo>
                  <a:cubicBezTo>
                    <a:pt x="10731" y="20507"/>
                    <a:pt x="10731" y="20554"/>
                    <a:pt x="10732" y="20603"/>
                  </a:cubicBezTo>
                  <a:cubicBezTo>
                    <a:pt x="10652" y="25897"/>
                    <a:pt x="14880" y="30252"/>
                    <a:pt x="20173" y="30332"/>
                  </a:cubicBezTo>
                  <a:cubicBezTo>
                    <a:pt x="20269" y="30333"/>
                    <a:pt x="20365" y="30333"/>
                    <a:pt x="20461" y="30332"/>
                  </a:cubicBezTo>
                  <a:cubicBezTo>
                    <a:pt x="25542" y="30332"/>
                    <a:pt x="29682" y="26256"/>
                    <a:pt x="29761" y="21175"/>
                  </a:cubicBezTo>
                  <a:lnTo>
                    <a:pt x="29761" y="20174"/>
                  </a:lnTo>
                  <a:cubicBezTo>
                    <a:pt x="29840" y="15039"/>
                    <a:pt x="25741" y="10811"/>
                    <a:pt x="20606" y="10732"/>
                  </a:cubicBezTo>
                  <a:cubicBezTo>
                    <a:pt x="20557" y="10731"/>
                    <a:pt x="20510" y="10731"/>
                    <a:pt x="2046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34" name="Freeform: Shape 333">
              <a:extLst>
                <a:ext uri="{FF2B5EF4-FFF2-40B4-BE49-F238E27FC236}">
                  <a16:creationId xmlns:a16="http://schemas.microsoft.com/office/drawing/2014/main" id="{A284FE73-407A-4FD5-B989-CE34249C1048}"/>
                </a:ext>
              </a:extLst>
            </p:cNvPr>
            <p:cNvSpPr/>
            <p:nvPr/>
          </p:nvSpPr>
          <p:spPr>
            <a:xfrm>
              <a:off x="5694659" y="6104623"/>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35" name="Freeform: Shape 334">
              <a:extLst>
                <a:ext uri="{FF2B5EF4-FFF2-40B4-BE49-F238E27FC236}">
                  <a16:creationId xmlns:a16="http://schemas.microsoft.com/office/drawing/2014/main" id="{6681D17C-1EF0-49EE-952D-726C1CD5B04D}"/>
                </a:ext>
              </a:extLst>
            </p:cNvPr>
            <p:cNvSpPr/>
            <p:nvPr/>
          </p:nvSpPr>
          <p:spPr>
            <a:xfrm>
              <a:off x="6097271" y="6307787"/>
              <a:ext cx="28615" cy="28615"/>
            </a:xfrm>
            <a:custGeom>
              <a:avLst/>
              <a:gdLst>
                <a:gd name="connsiteX0" fmla="*/ 20174 w 28614"/>
                <a:gd name="connsiteY0" fmla="*/ 10732 h 28614"/>
                <a:gd name="connsiteX1" fmla="*/ 10731 w 28614"/>
                <a:gd name="connsiteY1" fmla="*/ 19889 h 28614"/>
                <a:gd name="connsiteX2" fmla="*/ 20174 w 28614"/>
                <a:gd name="connsiteY2" fmla="*/ 29332 h 28614"/>
                <a:gd name="connsiteX3" fmla="*/ 29473 w 28614"/>
                <a:gd name="connsiteY3" fmla="*/ 19889 h 28614"/>
                <a:gd name="connsiteX4" fmla="*/ 20318 w 28614"/>
                <a:gd name="connsiteY4" fmla="*/ 10731 h 28614"/>
                <a:gd name="connsiteX5" fmla="*/ 20174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174" y="10732"/>
                  </a:moveTo>
                  <a:cubicBezTo>
                    <a:pt x="15069" y="10729"/>
                    <a:pt x="10885" y="14785"/>
                    <a:pt x="10731" y="19889"/>
                  </a:cubicBezTo>
                  <a:cubicBezTo>
                    <a:pt x="10880" y="25041"/>
                    <a:pt x="15021" y="29183"/>
                    <a:pt x="20174" y="29332"/>
                  </a:cubicBezTo>
                  <a:cubicBezTo>
                    <a:pt x="25333" y="29253"/>
                    <a:pt x="29473" y="25048"/>
                    <a:pt x="29473" y="19889"/>
                  </a:cubicBezTo>
                  <a:cubicBezTo>
                    <a:pt x="29473" y="14831"/>
                    <a:pt x="25374" y="10732"/>
                    <a:pt x="20318" y="10731"/>
                  </a:cubicBezTo>
                  <a:cubicBezTo>
                    <a:pt x="20269" y="10731"/>
                    <a:pt x="20222" y="10731"/>
                    <a:pt x="20174"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36" name="Freeform: Shape 335">
              <a:extLst>
                <a:ext uri="{FF2B5EF4-FFF2-40B4-BE49-F238E27FC236}">
                  <a16:creationId xmlns:a16="http://schemas.microsoft.com/office/drawing/2014/main" id="{12C5A2C5-9F99-4AB8-8025-A9DB5FEF6396}"/>
                </a:ext>
              </a:extLst>
            </p:cNvPr>
            <p:cNvSpPr/>
            <p:nvPr/>
          </p:nvSpPr>
          <p:spPr>
            <a:xfrm>
              <a:off x="6016577" y="6257713"/>
              <a:ext cx="28615" cy="28615"/>
            </a:xfrm>
            <a:custGeom>
              <a:avLst/>
              <a:gdLst>
                <a:gd name="connsiteX0" fmla="*/ 21175 w 28614"/>
                <a:gd name="connsiteY0" fmla="*/ 10731 h 28614"/>
                <a:gd name="connsiteX1" fmla="*/ 21175 w 28614"/>
                <a:gd name="connsiteY1" fmla="*/ 10731 h 28614"/>
                <a:gd name="connsiteX2" fmla="*/ 10731 w 28614"/>
                <a:gd name="connsiteY2" fmla="*/ 21175 h 28614"/>
                <a:gd name="connsiteX3" fmla="*/ 20889 w 28614"/>
                <a:gd name="connsiteY3" fmla="*/ 31333 h 28614"/>
                <a:gd name="connsiteX4" fmla="*/ 20889 w 28614"/>
                <a:gd name="connsiteY4" fmla="*/ 31333 h 28614"/>
                <a:gd name="connsiteX5" fmla="*/ 31190 w 28614"/>
                <a:gd name="connsiteY5" fmla="*/ 21032 h 28614"/>
                <a:gd name="connsiteX6" fmla="*/ 20889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175" y="10731"/>
                  </a:moveTo>
                  <a:lnTo>
                    <a:pt x="21175" y="10731"/>
                  </a:lnTo>
                  <a:cubicBezTo>
                    <a:pt x="15406" y="10731"/>
                    <a:pt x="10731" y="15406"/>
                    <a:pt x="10731" y="21175"/>
                  </a:cubicBezTo>
                  <a:cubicBezTo>
                    <a:pt x="10731" y="26785"/>
                    <a:pt x="15279" y="31333"/>
                    <a:pt x="20889" y="31333"/>
                  </a:cubicBezTo>
                  <a:lnTo>
                    <a:pt x="20889" y="31333"/>
                  </a:lnTo>
                  <a:cubicBezTo>
                    <a:pt x="26578" y="31333"/>
                    <a:pt x="31190" y="26721"/>
                    <a:pt x="31190" y="21032"/>
                  </a:cubicBezTo>
                  <a:cubicBezTo>
                    <a:pt x="31190" y="15343"/>
                    <a:pt x="26578" y="10731"/>
                    <a:pt x="2088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37" name="Freeform: Shape 336">
              <a:extLst>
                <a:ext uri="{FF2B5EF4-FFF2-40B4-BE49-F238E27FC236}">
                  <a16:creationId xmlns:a16="http://schemas.microsoft.com/office/drawing/2014/main" id="{7BFCA346-8693-4FB8-9B35-610319AB40A8}"/>
                </a:ext>
              </a:extLst>
            </p:cNvPr>
            <p:cNvSpPr/>
            <p:nvPr/>
          </p:nvSpPr>
          <p:spPr>
            <a:xfrm>
              <a:off x="6177102" y="6359868"/>
              <a:ext cx="28615" cy="28615"/>
            </a:xfrm>
            <a:custGeom>
              <a:avLst/>
              <a:gdLst>
                <a:gd name="connsiteX0" fmla="*/ 19463 w 28614"/>
                <a:gd name="connsiteY0" fmla="*/ 10731 h 28614"/>
                <a:gd name="connsiteX1" fmla="*/ 10736 w 28614"/>
                <a:gd name="connsiteY1" fmla="*/ 19029 h 28614"/>
                <a:gd name="connsiteX2" fmla="*/ 18744 w 28614"/>
                <a:gd name="connsiteY2" fmla="*/ 27609 h 28614"/>
                <a:gd name="connsiteX3" fmla="*/ 19034 w 28614"/>
                <a:gd name="connsiteY3" fmla="*/ 27613 h 28614"/>
                <a:gd name="connsiteX4" fmla="*/ 19034 w 28614"/>
                <a:gd name="connsiteY4" fmla="*/ 27613 h 28614"/>
                <a:gd name="connsiteX5" fmla="*/ 27189 w 28614"/>
                <a:gd name="connsiteY5" fmla="*/ 19747 h 28614"/>
                <a:gd name="connsiteX6" fmla="*/ 27189 w 28614"/>
                <a:gd name="connsiteY6" fmla="*/ 19458 h 28614"/>
                <a:gd name="connsiteX7" fmla="*/ 19463 w 28614"/>
                <a:gd name="connsiteY7"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63" y="10731"/>
                  </a:moveTo>
                  <a:cubicBezTo>
                    <a:pt x="14806" y="10725"/>
                    <a:pt x="10965" y="14378"/>
                    <a:pt x="10736" y="19029"/>
                  </a:cubicBezTo>
                  <a:cubicBezTo>
                    <a:pt x="10578" y="23609"/>
                    <a:pt x="14162" y="27450"/>
                    <a:pt x="18744" y="27609"/>
                  </a:cubicBezTo>
                  <a:cubicBezTo>
                    <a:pt x="18839" y="27612"/>
                    <a:pt x="18937" y="27613"/>
                    <a:pt x="19034" y="27613"/>
                  </a:cubicBezTo>
                  <a:lnTo>
                    <a:pt x="19034" y="27613"/>
                  </a:lnTo>
                  <a:cubicBezTo>
                    <a:pt x="23458" y="27694"/>
                    <a:pt x="27109" y="24171"/>
                    <a:pt x="27189" y="19747"/>
                  </a:cubicBezTo>
                  <a:cubicBezTo>
                    <a:pt x="27191" y="19651"/>
                    <a:pt x="27191" y="19554"/>
                    <a:pt x="27189" y="19458"/>
                  </a:cubicBezTo>
                  <a:cubicBezTo>
                    <a:pt x="27358" y="14953"/>
                    <a:pt x="23956" y="11110"/>
                    <a:pt x="1946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38" name="Freeform: Shape 337">
              <a:extLst>
                <a:ext uri="{FF2B5EF4-FFF2-40B4-BE49-F238E27FC236}">
                  <a16:creationId xmlns:a16="http://schemas.microsoft.com/office/drawing/2014/main" id="{A4990867-6CFA-437E-87F4-7E2DEF4BEB44}"/>
                </a:ext>
              </a:extLst>
            </p:cNvPr>
            <p:cNvSpPr/>
            <p:nvPr/>
          </p:nvSpPr>
          <p:spPr>
            <a:xfrm>
              <a:off x="6176443" y="6111825"/>
              <a:ext cx="28615" cy="28615"/>
            </a:xfrm>
            <a:custGeom>
              <a:avLst/>
              <a:gdLst>
                <a:gd name="connsiteX0" fmla="*/ 17976 w 28614"/>
                <a:gd name="connsiteY0" fmla="*/ 27422 h 28614"/>
                <a:gd name="connsiteX1" fmla="*/ 27562 w 28614"/>
                <a:gd name="connsiteY1" fmla="*/ 20411 h 28614"/>
                <a:gd name="connsiteX2" fmla="*/ 27562 w 28614"/>
                <a:gd name="connsiteY2" fmla="*/ 17836 h 28614"/>
                <a:gd name="connsiteX3" fmla="*/ 17976 w 28614"/>
                <a:gd name="connsiteY3" fmla="*/ 10825 h 28614"/>
                <a:gd name="connsiteX4" fmla="*/ 10822 w 28614"/>
                <a:gd name="connsiteY4" fmla="*/ 17836 h 28614"/>
                <a:gd name="connsiteX5" fmla="*/ 17943 w 28614"/>
                <a:gd name="connsiteY5" fmla="*/ 27418 h 28614"/>
                <a:gd name="connsiteX6" fmla="*/ 17976 w 28614"/>
                <a:gd name="connsiteY6" fmla="*/ 2742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7976" y="27422"/>
                  </a:moveTo>
                  <a:cubicBezTo>
                    <a:pt x="22553" y="28107"/>
                    <a:pt x="26828" y="24981"/>
                    <a:pt x="27562" y="20411"/>
                  </a:cubicBezTo>
                  <a:cubicBezTo>
                    <a:pt x="27706" y="19558"/>
                    <a:pt x="27706" y="18689"/>
                    <a:pt x="27562" y="17836"/>
                  </a:cubicBezTo>
                  <a:cubicBezTo>
                    <a:pt x="26828" y="13266"/>
                    <a:pt x="22553" y="10138"/>
                    <a:pt x="17976" y="10825"/>
                  </a:cubicBezTo>
                  <a:cubicBezTo>
                    <a:pt x="14313" y="11342"/>
                    <a:pt x="11413" y="14183"/>
                    <a:pt x="10822" y="17836"/>
                  </a:cubicBezTo>
                  <a:cubicBezTo>
                    <a:pt x="10142" y="22449"/>
                    <a:pt x="13331" y="26738"/>
                    <a:pt x="17943" y="27418"/>
                  </a:cubicBezTo>
                  <a:cubicBezTo>
                    <a:pt x="17954" y="27419"/>
                    <a:pt x="17964" y="27420"/>
                    <a:pt x="17976" y="2742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39" name="Freeform: Shape 338">
              <a:extLst>
                <a:ext uri="{FF2B5EF4-FFF2-40B4-BE49-F238E27FC236}">
                  <a16:creationId xmlns:a16="http://schemas.microsoft.com/office/drawing/2014/main" id="{A7559C5B-6898-4CAD-BD67-699635BE5491}"/>
                </a:ext>
              </a:extLst>
            </p:cNvPr>
            <p:cNvSpPr/>
            <p:nvPr/>
          </p:nvSpPr>
          <p:spPr>
            <a:xfrm>
              <a:off x="5222224" y="6258714"/>
              <a:ext cx="28615" cy="28615"/>
            </a:xfrm>
            <a:custGeom>
              <a:avLst/>
              <a:gdLst>
                <a:gd name="connsiteX0" fmla="*/ 20032 w 28614"/>
                <a:gd name="connsiteY0" fmla="*/ 29330 h 28614"/>
                <a:gd name="connsiteX1" fmla="*/ 29330 w 28614"/>
                <a:gd name="connsiteY1" fmla="*/ 20029 h 28614"/>
                <a:gd name="connsiteX2" fmla="*/ 20029 w 28614"/>
                <a:gd name="connsiteY2" fmla="*/ 10731 h 28614"/>
                <a:gd name="connsiteX3" fmla="*/ 10731 w 28614"/>
                <a:gd name="connsiteY3" fmla="*/ 20032 h 28614"/>
                <a:gd name="connsiteX4" fmla="*/ 10732 w 28614"/>
                <a:gd name="connsiteY4" fmla="*/ 20173 h 28614"/>
                <a:gd name="connsiteX5" fmla="*/ 20032 w 28614"/>
                <a:gd name="connsiteY5" fmla="*/ 293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2" y="29330"/>
                  </a:moveTo>
                  <a:cubicBezTo>
                    <a:pt x="25168" y="29330"/>
                    <a:pt x="29332" y="25165"/>
                    <a:pt x="29330" y="20029"/>
                  </a:cubicBezTo>
                  <a:cubicBezTo>
                    <a:pt x="29330" y="14893"/>
                    <a:pt x="25165" y="10731"/>
                    <a:pt x="20029" y="10731"/>
                  </a:cubicBezTo>
                  <a:cubicBezTo>
                    <a:pt x="14894" y="10731"/>
                    <a:pt x="10731" y="14896"/>
                    <a:pt x="10731" y="20032"/>
                  </a:cubicBezTo>
                  <a:cubicBezTo>
                    <a:pt x="10731" y="20079"/>
                    <a:pt x="10731" y="20126"/>
                    <a:pt x="10732" y="20173"/>
                  </a:cubicBezTo>
                  <a:cubicBezTo>
                    <a:pt x="10811" y="25254"/>
                    <a:pt x="14951" y="29330"/>
                    <a:pt x="20032" y="2933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40" name="Freeform: Shape 339">
              <a:extLst>
                <a:ext uri="{FF2B5EF4-FFF2-40B4-BE49-F238E27FC236}">
                  <a16:creationId xmlns:a16="http://schemas.microsoft.com/office/drawing/2014/main" id="{4101011C-F4E0-4D43-B44D-AD046EDE30E1}"/>
                </a:ext>
              </a:extLst>
            </p:cNvPr>
            <p:cNvSpPr/>
            <p:nvPr/>
          </p:nvSpPr>
          <p:spPr>
            <a:xfrm>
              <a:off x="6097271" y="6209496"/>
              <a:ext cx="28615" cy="28615"/>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80" y="25040"/>
                    <a:pt x="15021" y="29181"/>
                    <a:pt x="20174" y="29330"/>
                  </a:cubicBezTo>
                  <a:cubicBezTo>
                    <a:pt x="25333" y="29252"/>
                    <a:pt x="29473" y="25047"/>
                    <a:pt x="29473" y="19887"/>
                  </a:cubicBezTo>
                  <a:cubicBezTo>
                    <a:pt x="29395" y="14807"/>
                    <a:pt x="25254" y="10731"/>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41" name="Freeform: Shape 340">
              <a:extLst>
                <a:ext uri="{FF2B5EF4-FFF2-40B4-BE49-F238E27FC236}">
                  <a16:creationId xmlns:a16="http://schemas.microsoft.com/office/drawing/2014/main" id="{1A438718-D06E-4C6C-80AB-7515058BBE6E}"/>
                </a:ext>
              </a:extLst>
            </p:cNvPr>
            <p:cNvSpPr/>
            <p:nvPr/>
          </p:nvSpPr>
          <p:spPr>
            <a:xfrm>
              <a:off x="6097271" y="6158419"/>
              <a:ext cx="28615" cy="28615"/>
            </a:xfrm>
            <a:custGeom>
              <a:avLst/>
              <a:gdLst>
                <a:gd name="connsiteX0" fmla="*/ 20174 w 28614"/>
                <a:gd name="connsiteY0" fmla="*/ 10731 h 28614"/>
                <a:gd name="connsiteX1" fmla="*/ 10731 w 28614"/>
                <a:gd name="connsiteY1" fmla="*/ 20173 h 28614"/>
                <a:gd name="connsiteX2" fmla="*/ 20174 w 28614"/>
                <a:gd name="connsiteY2" fmla="*/ 29330 h 28614"/>
                <a:gd name="connsiteX3" fmla="*/ 29473 w 28614"/>
                <a:gd name="connsiteY3" fmla="*/ 20173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21" y="10879"/>
                    <a:pt x="10880" y="15021"/>
                    <a:pt x="10731" y="20173"/>
                  </a:cubicBezTo>
                  <a:cubicBezTo>
                    <a:pt x="10885" y="25277"/>
                    <a:pt x="15069" y="29333"/>
                    <a:pt x="20174" y="29330"/>
                  </a:cubicBezTo>
                  <a:cubicBezTo>
                    <a:pt x="25254" y="29330"/>
                    <a:pt x="29395" y="25254"/>
                    <a:pt x="29473" y="20173"/>
                  </a:cubicBezTo>
                  <a:cubicBezTo>
                    <a:pt x="29473" y="15014"/>
                    <a:pt x="25333" y="10809"/>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42" name="Freeform: Shape 341">
              <a:extLst>
                <a:ext uri="{FF2B5EF4-FFF2-40B4-BE49-F238E27FC236}">
                  <a16:creationId xmlns:a16="http://schemas.microsoft.com/office/drawing/2014/main" id="{DEFCD3A2-FE84-46AB-A178-37A76CD049AC}"/>
                </a:ext>
              </a:extLst>
            </p:cNvPr>
            <p:cNvSpPr/>
            <p:nvPr/>
          </p:nvSpPr>
          <p:spPr>
            <a:xfrm>
              <a:off x="5223080" y="6107698"/>
              <a:ext cx="28615" cy="28615"/>
            </a:xfrm>
            <a:custGeom>
              <a:avLst/>
              <a:gdLst>
                <a:gd name="connsiteX0" fmla="*/ 19892 w 28614"/>
                <a:gd name="connsiteY0" fmla="*/ 10802 h 28614"/>
                <a:gd name="connsiteX1" fmla="*/ 10735 w 28614"/>
                <a:gd name="connsiteY1" fmla="*/ 19959 h 28614"/>
                <a:gd name="connsiteX2" fmla="*/ 10735 w 28614"/>
                <a:gd name="connsiteY2" fmla="*/ 20961 h 28614"/>
                <a:gd name="connsiteX3" fmla="*/ 19600 w 28614"/>
                <a:gd name="connsiteY3" fmla="*/ 30401 h 28614"/>
                <a:gd name="connsiteX4" fmla="*/ 19749 w 28614"/>
                <a:gd name="connsiteY4" fmla="*/ 30404 h 28614"/>
                <a:gd name="connsiteX5" fmla="*/ 19749 w 28614"/>
                <a:gd name="connsiteY5" fmla="*/ 30404 h 28614"/>
                <a:gd name="connsiteX6" fmla="*/ 30736 w 28614"/>
                <a:gd name="connsiteY6" fmla="*/ 21789 h 28614"/>
                <a:gd name="connsiteX7" fmla="*/ 22121 w 28614"/>
                <a:gd name="connsiteY7" fmla="*/ 10802 h 28614"/>
                <a:gd name="connsiteX8" fmla="*/ 19749 w 28614"/>
                <a:gd name="connsiteY8" fmla="*/ 1080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19892" y="10802"/>
                  </a:moveTo>
                  <a:cubicBezTo>
                    <a:pt x="14834" y="10802"/>
                    <a:pt x="10735" y="14902"/>
                    <a:pt x="10735" y="19959"/>
                  </a:cubicBezTo>
                  <a:lnTo>
                    <a:pt x="10735" y="20961"/>
                  </a:lnTo>
                  <a:cubicBezTo>
                    <a:pt x="10576" y="26016"/>
                    <a:pt x="14545" y="30242"/>
                    <a:pt x="19600" y="30401"/>
                  </a:cubicBezTo>
                  <a:cubicBezTo>
                    <a:pt x="19650" y="30402"/>
                    <a:pt x="19699" y="30402"/>
                    <a:pt x="19749" y="30404"/>
                  </a:cubicBezTo>
                  <a:lnTo>
                    <a:pt x="19749" y="30404"/>
                  </a:lnTo>
                  <a:cubicBezTo>
                    <a:pt x="25161" y="31059"/>
                    <a:pt x="30080" y="27202"/>
                    <a:pt x="30736" y="21789"/>
                  </a:cubicBezTo>
                  <a:cubicBezTo>
                    <a:pt x="31391" y="16377"/>
                    <a:pt x="27534" y="11458"/>
                    <a:pt x="22121" y="10802"/>
                  </a:cubicBezTo>
                  <a:cubicBezTo>
                    <a:pt x="21334" y="10707"/>
                    <a:pt x="20537" y="10707"/>
                    <a:pt x="19749" y="1080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43" name="Freeform: Shape 342">
              <a:extLst>
                <a:ext uri="{FF2B5EF4-FFF2-40B4-BE49-F238E27FC236}">
                  <a16:creationId xmlns:a16="http://schemas.microsoft.com/office/drawing/2014/main" id="{140AF005-42A7-4718-9550-CEDCE700B084}"/>
                </a:ext>
              </a:extLst>
            </p:cNvPr>
            <p:cNvSpPr/>
            <p:nvPr/>
          </p:nvSpPr>
          <p:spPr>
            <a:xfrm>
              <a:off x="5222940" y="6357150"/>
              <a:ext cx="28615" cy="28615"/>
            </a:xfrm>
            <a:custGeom>
              <a:avLst/>
              <a:gdLst>
                <a:gd name="connsiteX0" fmla="*/ 19889 w 28614"/>
                <a:gd name="connsiteY0" fmla="*/ 10731 h 28614"/>
                <a:gd name="connsiteX1" fmla="*/ 10731 w 28614"/>
                <a:gd name="connsiteY1" fmla="*/ 19886 h 28614"/>
                <a:gd name="connsiteX2" fmla="*/ 10732 w 28614"/>
                <a:gd name="connsiteY2" fmla="*/ 20030 h 28614"/>
                <a:gd name="connsiteX3" fmla="*/ 10732 w 28614"/>
                <a:gd name="connsiteY3" fmla="*/ 20030 h 28614"/>
                <a:gd name="connsiteX4" fmla="*/ 10732 w 28614"/>
                <a:gd name="connsiteY4" fmla="*/ 21032 h 28614"/>
                <a:gd name="connsiteX5" fmla="*/ 19600 w 28614"/>
                <a:gd name="connsiteY5" fmla="*/ 30189 h 28614"/>
                <a:gd name="connsiteX6" fmla="*/ 19889 w 28614"/>
                <a:gd name="connsiteY6" fmla="*/ 30189 h 28614"/>
                <a:gd name="connsiteX7" fmla="*/ 29760 w 28614"/>
                <a:gd name="connsiteY7" fmla="*/ 20604 h 28614"/>
                <a:gd name="connsiteX8" fmla="*/ 29761 w 28614"/>
                <a:gd name="connsiteY8" fmla="*/ 20460 h 28614"/>
                <a:gd name="connsiteX9" fmla="*/ 19889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19889" y="10731"/>
                  </a:moveTo>
                  <a:cubicBezTo>
                    <a:pt x="14831" y="10731"/>
                    <a:pt x="10732" y="14830"/>
                    <a:pt x="10731" y="19886"/>
                  </a:cubicBezTo>
                  <a:cubicBezTo>
                    <a:pt x="10731" y="19935"/>
                    <a:pt x="10731" y="19982"/>
                    <a:pt x="10732" y="20030"/>
                  </a:cubicBezTo>
                  <a:lnTo>
                    <a:pt x="10732" y="20030"/>
                  </a:lnTo>
                  <a:lnTo>
                    <a:pt x="10732" y="21032"/>
                  </a:lnTo>
                  <a:cubicBezTo>
                    <a:pt x="10652" y="26010"/>
                    <a:pt x="14622" y="30109"/>
                    <a:pt x="19600" y="30189"/>
                  </a:cubicBezTo>
                  <a:cubicBezTo>
                    <a:pt x="19697" y="30190"/>
                    <a:pt x="19793" y="30190"/>
                    <a:pt x="19889" y="30189"/>
                  </a:cubicBezTo>
                  <a:cubicBezTo>
                    <a:pt x="25261" y="30267"/>
                    <a:pt x="29681" y="25977"/>
                    <a:pt x="29760" y="20604"/>
                  </a:cubicBezTo>
                  <a:cubicBezTo>
                    <a:pt x="29761" y="20556"/>
                    <a:pt x="29761" y="20508"/>
                    <a:pt x="29761" y="20460"/>
                  </a:cubicBezTo>
                  <a:cubicBezTo>
                    <a:pt x="29682" y="15063"/>
                    <a:pt x="25286" y="10731"/>
                    <a:pt x="1988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44" name="Freeform: Shape 343">
              <a:extLst>
                <a:ext uri="{FF2B5EF4-FFF2-40B4-BE49-F238E27FC236}">
                  <a16:creationId xmlns:a16="http://schemas.microsoft.com/office/drawing/2014/main" id="{04D0F89F-6931-4288-A234-18ACCC252ED5}"/>
                </a:ext>
              </a:extLst>
            </p:cNvPr>
            <p:cNvSpPr/>
            <p:nvPr/>
          </p:nvSpPr>
          <p:spPr>
            <a:xfrm>
              <a:off x="5144964" y="6109344"/>
              <a:ext cx="28615" cy="28615"/>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45" name="Freeform: Shape 344">
              <a:extLst>
                <a:ext uri="{FF2B5EF4-FFF2-40B4-BE49-F238E27FC236}">
                  <a16:creationId xmlns:a16="http://schemas.microsoft.com/office/drawing/2014/main" id="{D0684A7F-0EDD-429E-8622-2DBC898DE899}"/>
                </a:ext>
              </a:extLst>
            </p:cNvPr>
            <p:cNvSpPr/>
            <p:nvPr/>
          </p:nvSpPr>
          <p:spPr>
            <a:xfrm>
              <a:off x="5300773" y="6257855"/>
              <a:ext cx="28615" cy="28615"/>
            </a:xfrm>
            <a:custGeom>
              <a:avLst/>
              <a:gdLst>
                <a:gd name="connsiteX0" fmla="*/ 20890 w 28614"/>
                <a:gd name="connsiteY0" fmla="*/ 31191 h 28614"/>
                <a:gd name="connsiteX1" fmla="*/ 31334 w 28614"/>
                <a:gd name="connsiteY1" fmla="*/ 21176 h 28614"/>
                <a:gd name="connsiteX2" fmla="*/ 31334 w 28614"/>
                <a:gd name="connsiteY2" fmla="*/ 21176 h 28614"/>
                <a:gd name="connsiteX3" fmla="*/ 21178 w 28614"/>
                <a:gd name="connsiteY3" fmla="*/ 10732 h 28614"/>
                <a:gd name="connsiteX4" fmla="*/ 20890 w 28614"/>
                <a:gd name="connsiteY4" fmla="*/ 10732 h 28614"/>
                <a:gd name="connsiteX5" fmla="*/ 10732 w 28614"/>
                <a:gd name="connsiteY5" fmla="*/ 20890 h 28614"/>
                <a:gd name="connsiteX6" fmla="*/ 10732 w 28614"/>
                <a:gd name="connsiteY6" fmla="*/ 20890 h 28614"/>
                <a:gd name="connsiteX7" fmla="*/ 20745 w 28614"/>
                <a:gd name="connsiteY7" fmla="*/ 31190 h 28614"/>
                <a:gd name="connsiteX8" fmla="*/ 20890 w 28614"/>
                <a:gd name="connsiteY8" fmla="*/ 3119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890" y="31191"/>
                  </a:moveTo>
                  <a:cubicBezTo>
                    <a:pt x="26524" y="31271"/>
                    <a:pt x="31178" y="26809"/>
                    <a:pt x="31334" y="21176"/>
                  </a:cubicBezTo>
                  <a:lnTo>
                    <a:pt x="31334" y="21176"/>
                  </a:lnTo>
                  <a:cubicBezTo>
                    <a:pt x="31415" y="15488"/>
                    <a:pt x="26866" y="10812"/>
                    <a:pt x="21178" y="10732"/>
                  </a:cubicBezTo>
                  <a:cubicBezTo>
                    <a:pt x="21082" y="10730"/>
                    <a:pt x="20986" y="10730"/>
                    <a:pt x="20890" y="10732"/>
                  </a:cubicBezTo>
                  <a:cubicBezTo>
                    <a:pt x="15280" y="10732"/>
                    <a:pt x="10732" y="15280"/>
                    <a:pt x="10732" y="20890"/>
                  </a:cubicBezTo>
                  <a:lnTo>
                    <a:pt x="10732" y="20890"/>
                  </a:lnTo>
                  <a:cubicBezTo>
                    <a:pt x="10653" y="26500"/>
                    <a:pt x="15135" y="31111"/>
                    <a:pt x="20745" y="31190"/>
                  </a:cubicBezTo>
                  <a:cubicBezTo>
                    <a:pt x="20794" y="31191"/>
                    <a:pt x="20841" y="31191"/>
                    <a:pt x="20890" y="3119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46" name="Freeform: Shape 345">
              <a:extLst>
                <a:ext uri="{FF2B5EF4-FFF2-40B4-BE49-F238E27FC236}">
                  <a16:creationId xmlns:a16="http://schemas.microsoft.com/office/drawing/2014/main" id="{C33EA42F-1F1A-4124-9603-3E379784DC07}"/>
                </a:ext>
              </a:extLst>
            </p:cNvPr>
            <p:cNvSpPr/>
            <p:nvPr/>
          </p:nvSpPr>
          <p:spPr>
            <a:xfrm>
              <a:off x="5222226" y="6309362"/>
              <a:ext cx="28615" cy="28615"/>
            </a:xfrm>
            <a:custGeom>
              <a:avLst/>
              <a:gdLst>
                <a:gd name="connsiteX0" fmla="*/ 20030 w 28614"/>
                <a:gd name="connsiteY0" fmla="*/ 29331 h 28614"/>
                <a:gd name="connsiteX1" fmla="*/ 29473 w 28614"/>
                <a:gd name="connsiteY1" fmla="*/ 19889 h 28614"/>
                <a:gd name="connsiteX2" fmla="*/ 20030 w 28614"/>
                <a:gd name="connsiteY2" fmla="*/ 10732 h 28614"/>
                <a:gd name="connsiteX3" fmla="*/ 10732 w 28614"/>
                <a:gd name="connsiteY3" fmla="*/ 19744 h 28614"/>
                <a:gd name="connsiteX4" fmla="*/ 10731 w 28614"/>
                <a:gd name="connsiteY4" fmla="*/ 19889 h 28614"/>
                <a:gd name="connsiteX5" fmla="*/ 20030 w 28614"/>
                <a:gd name="connsiteY5" fmla="*/ 293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0" y="29331"/>
                  </a:moveTo>
                  <a:cubicBezTo>
                    <a:pt x="25183" y="29183"/>
                    <a:pt x="29325" y="25041"/>
                    <a:pt x="29473" y="19889"/>
                  </a:cubicBezTo>
                  <a:cubicBezTo>
                    <a:pt x="29319" y="14785"/>
                    <a:pt x="25135" y="10729"/>
                    <a:pt x="20030" y="10732"/>
                  </a:cubicBezTo>
                  <a:cubicBezTo>
                    <a:pt x="14974" y="10653"/>
                    <a:pt x="10811" y="14688"/>
                    <a:pt x="10732" y="19744"/>
                  </a:cubicBezTo>
                  <a:cubicBezTo>
                    <a:pt x="10731" y="19793"/>
                    <a:pt x="10731" y="19840"/>
                    <a:pt x="10731" y="19889"/>
                  </a:cubicBezTo>
                  <a:cubicBezTo>
                    <a:pt x="10731" y="25048"/>
                    <a:pt x="14871" y="29253"/>
                    <a:pt x="20030" y="293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47" name="Freeform: Shape 346">
              <a:extLst>
                <a:ext uri="{FF2B5EF4-FFF2-40B4-BE49-F238E27FC236}">
                  <a16:creationId xmlns:a16="http://schemas.microsoft.com/office/drawing/2014/main" id="{12B61395-10B6-4CFD-A478-0FE4C151DAF2}"/>
                </a:ext>
              </a:extLst>
            </p:cNvPr>
            <p:cNvSpPr/>
            <p:nvPr/>
          </p:nvSpPr>
          <p:spPr>
            <a:xfrm>
              <a:off x="5300917" y="6307931"/>
              <a:ext cx="42922" cy="28615"/>
            </a:xfrm>
            <a:custGeom>
              <a:avLst/>
              <a:gdLst>
                <a:gd name="connsiteX0" fmla="*/ 26469 w 42922"/>
                <a:gd name="connsiteY0" fmla="*/ 11161 h 28614"/>
                <a:gd name="connsiteX1" fmla="*/ 20746 w 42922"/>
                <a:gd name="connsiteY1" fmla="*/ 11161 h 28614"/>
                <a:gd name="connsiteX2" fmla="*/ 10731 w 42922"/>
                <a:gd name="connsiteY2" fmla="*/ 20890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25" y="11159"/>
                    <a:pt x="10885" y="15470"/>
                    <a:pt x="10731" y="20890"/>
                  </a:cubicBezTo>
                  <a:cubicBezTo>
                    <a:pt x="10884" y="26332"/>
                    <a:pt x="15300" y="30688"/>
                    <a:pt x="20746" y="30762"/>
                  </a:cubicBezTo>
                  <a:cubicBezTo>
                    <a:pt x="26158" y="32343"/>
                    <a:pt x="31827" y="29236"/>
                    <a:pt x="33408" y="23823"/>
                  </a:cubicBezTo>
                  <a:cubicBezTo>
                    <a:pt x="34989" y="18410"/>
                    <a:pt x="31881" y="12742"/>
                    <a:pt x="26469" y="1116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48" name="Freeform: Shape 347">
              <a:extLst>
                <a:ext uri="{FF2B5EF4-FFF2-40B4-BE49-F238E27FC236}">
                  <a16:creationId xmlns:a16="http://schemas.microsoft.com/office/drawing/2014/main" id="{A3CB7792-4FC4-4C14-A45C-BA30A0B4EECF}"/>
                </a:ext>
              </a:extLst>
            </p:cNvPr>
            <p:cNvSpPr/>
            <p:nvPr/>
          </p:nvSpPr>
          <p:spPr>
            <a:xfrm>
              <a:off x="5694802" y="6154270"/>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49" name="Freeform: Shape 348">
              <a:extLst>
                <a:ext uri="{FF2B5EF4-FFF2-40B4-BE49-F238E27FC236}">
                  <a16:creationId xmlns:a16="http://schemas.microsoft.com/office/drawing/2014/main" id="{A32616B8-9B67-4054-A006-5B6E69D6ADFD}"/>
                </a:ext>
              </a:extLst>
            </p:cNvPr>
            <p:cNvSpPr/>
            <p:nvPr/>
          </p:nvSpPr>
          <p:spPr>
            <a:xfrm>
              <a:off x="5300774" y="6318520"/>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cubicBezTo>
                    <a:pt x="10731" y="10731"/>
                    <a:pt x="10731" y="10731"/>
                    <a:pt x="1073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50" name="Freeform: Shape 349">
              <a:extLst>
                <a:ext uri="{FF2B5EF4-FFF2-40B4-BE49-F238E27FC236}">
                  <a16:creationId xmlns:a16="http://schemas.microsoft.com/office/drawing/2014/main" id="{F6D564B6-3101-457B-A259-818576E3D531}"/>
                </a:ext>
              </a:extLst>
            </p:cNvPr>
            <p:cNvSpPr/>
            <p:nvPr/>
          </p:nvSpPr>
          <p:spPr>
            <a:xfrm>
              <a:off x="5301346" y="6207635"/>
              <a:ext cx="28615" cy="28615"/>
            </a:xfrm>
            <a:custGeom>
              <a:avLst/>
              <a:gdLst>
                <a:gd name="connsiteX0" fmla="*/ 20889 w 28614"/>
                <a:gd name="connsiteY0" fmla="*/ 31335 h 28614"/>
                <a:gd name="connsiteX1" fmla="*/ 20889 w 28614"/>
                <a:gd name="connsiteY1" fmla="*/ 31335 h 28614"/>
                <a:gd name="connsiteX2" fmla="*/ 31333 w 28614"/>
                <a:gd name="connsiteY2" fmla="*/ 20890 h 28614"/>
                <a:gd name="connsiteX3" fmla="*/ 21177 w 28614"/>
                <a:gd name="connsiteY3" fmla="*/ 10731 h 28614"/>
                <a:gd name="connsiteX4" fmla="*/ 21032 w 28614"/>
                <a:gd name="connsiteY4" fmla="*/ 10732 h 28614"/>
                <a:gd name="connsiteX5" fmla="*/ 21032 w 28614"/>
                <a:gd name="connsiteY5" fmla="*/ 10732 h 28614"/>
                <a:gd name="connsiteX6" fmla="*/ 10731 w 28614"/>
                <a:gd name="connsiteY6" fmla="*/ 21033 h 28614"/>
                <a:gd name="connsiteX7" fmla="*/ 21032 w 28614"/>
                <a:gd name="connsiteY7" fmla="*/ 313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0889" y="31335"/>
                  </a:moveTo>
                  <a:lnTo>
                    <a:pt x="20889" y="31335"/>
                  </a:lnTo>
                  <a:cubicBezTo>
                    <a:pt x="26658" y="31335"/>
                    <a:pt x="31333" y="26659"/>
                    <a:pt x="31333" y="20890"/>
                  </a:cubicBezTo>
                  <a:cubicBezTo>
                    <a:pt x="31333" y="15280"/>
                    <a:pt x="26786" y="10732"/>
                    <a:pt x="21177" y="10731"/>
                  </a:cubicBezTo>
                  <a:cubicBezTo>
                    <a:pt x="21128" y="10731"/>
                    <a:pt x="21081" y="10731"/>
                    <a:pt x="21032" y="10732"/>
                  </a:cubicBezTo>
                  <a:lnTo>
                    <a:pt x="21032" y="10732"/>
                  </a:lnTo>
                  <a:cubicBezTo>
                    <a:pt x="15343" y="10732"/>
                    <a:pt x="10731" y="15345"/>
                    <a:pt x="10731" y="21033"/>
                  </a:cubicBezTo>
                  <a:cubicBezTo>
                    <a:pt x="10731" y="26722"/>
                    <a:pt x="15343" y="31335"/>
                    <a:pt x="21032" y="313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51" name="Freeform: Shape 350">
              <a:extLst>
                <a:ext uri="{FF2B5EF4-FFF2-40B4-BE49-F238E27FC236}">
                  <a16:creationId xmlns:a16="http://schemas.microsoft.com/office/drawing/2014/main" id="{4503DD9D-9864-4D5F-B29D-C70DCBB5D92E}"/>
                </a:ext>
              </a:extLst>
            </p:cNvPr>
            <p:cNvSpPr/>
            <p:nvPr/>
          </p:nvSpPr>
          <p:spPr>
            <a:xfrm>
              <a:off x="5301346" y="6357150"/>
              <a:ext cx="28615" cy="28615"/>
            </a:xfrm>
            <a:custGeom>
              <a:avLst/>
              <a:gdLst>
                <a:gd name="connsiteX0" fmla="*/ 21032 w 28614"/>
                <a:gd name="connsiteY0" fmla="*/ 10731 h 28614"/>
                <a:gd name="connsiteX1" fmla="*/ 10731 w 28614"/>
                <a:gd name="connsiteY1" fmla="*/ 21032 h 28614"/>
                <a:gd name="connsiteX2" fmla="*/ 10731 w 28614"/>
                <a:gd name="connsiteY2" fmla="*/ 21032 h 28614"/>
                <a:gd name="connsiteX3" fmla="*/ 20888 w 28614"/>
                <a:gd name="connsiteY3" fmla="*/ 31192 h 28614"/>
                <a:gd name="connsiteX4" fmla="*/ 21032 w 28614"/>
                <a:gd name="connsiteY4" fmla="*/ 31190 h 28614"/>
                <a:gd name="connsiteX5" fmla="*/ 31333 w 28614"/>
                <a:gd name="connsiteY5" fmla="*/ 21177 h 28614"/>
                <a:gd name="connsiteX6" fmla="*/ 31333 w 28614"/>
                <a:gd name="connsiteY6" fmla="*/ 21175 h 28614"/>
                <a:gd name="connsiteX7" fmla="*/ 31333 w 28614"/>
                <a:gd name="connsiteY7" fmla="*/ 21175 h 28614"/>
                <a:gd name="connsiteX8" fmla="*/ 21032 w 28614"/>
                <a:gd name="connsiteY8"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032" y="10731"/>
                  </a:moveTo>
                  <a:cubicBezTo>
                    <a:pt x="15343" y="10731"/>
                    <a:pt x="10731" y="15343"/>
                    <a:pt x="10731" y="21032"/>
                  </a:cubicBezTo>
                  <a:lnTo>
                    <a:pt x="10731" y="21032"/>
                  </a:lnTo>
                  <a:cubicBezTo>
                    <a:pt x="10731" y="26642"/>
                    <a:pt x="15278" y="31190"/>
                    <a:pt x="20888" y="31192"/>
                  </a:cubicBezTo>
                  <a:cubicBezTo>
                    <a:pt x="20936" y="31192"/>
                    <a:pt x="20983" y="31190"/>
                    <a:pt x="21032" y="31190"/>
                  </a:cubicBezTo>
                  <a:cubicBezTo>
                    <a:pt x="26642" y="31270"/>
                    <a:pt x="31253" y="26786"/>
                    <a:pt x="31333" y="21177"/>
                  </a:cubicBezTo>
                  <a:cubicBezTo>
                    <a:pt x="31333" y="21177"/>
                    <a:pt x="31333" y="21175"/>
                    <a:pt x="31333" y="21175"/>
                  </a:cubicBezTo>
                  <a:lnTo>
                    <a:pt x="31333" y="21175"/>
                  </a:lnTo>
                  <a:cubicBezTo>
                    <a:pt x="31333" y="15462"/>
                    <a:pt x="26745" y="10809"/>
                    <a:pt x="2103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52" name="Freeform: Shape 351">
              <a:extLst>
                <a:ext uri="{FF2B5EF4-FFF2-40B4-BE49-F238E27FC236}">
                  <a16:creationId xmlns:a16="http://schemas.microsoft.com/office/drawing/2014/main" id="{54867E91-178F-4D08-B7EF-50BD0917D0D1}"/>
                </a:ext>
              </a:extLst>
            </p:cNvPr>
            <p:cNvSpPr/>
            <p:nvPr/>
          </p:nvSpPr>
          <p:spPr>
            <a:xfrm>
              <a:off x="5143712" y="6158980"/>
              <a:ext cx="28615" cy="28615"/>
            </a:xfrm>
            <a:custGeom>
              <a:avLst/>
              <a:gdLst>
                <a:gd name="connsiteX0" fmla="*/ 20425 w 28614"/>
                <a:gd name="connsiteY0" fmla="*/ 28197 h 28614"/>
                <a:gd name="connsiteX1" fmla="*/ 27436 w 28614"/>
                <a:gd name="connsiteY1" fmla="*/ 21186 h 28614"/>
                <a:gd name="connsiteX2" fmla="*/ 21249 w 28614"/>
                <a:gd name="connsiteY2" fmla="*/ 10976 h 28614"/>
                <a:gd name="connsiteX3" fmla="*/ 11039 w 28614"/>
                <a:gd name="connsiteY3" fmla="*/ 17161 h 28614"/>
                <a:gd name="connsiteX4" fmla="*/ 10839 w 28614"/>
                <a:gd name="connsiteY4" fmla="*/ 18324 h 28614"/>
                <a:gd name="connsiteX5" fmla="*/ 10839 w 28614"/>
                <a:gd name="connsiteY5" fmla="*/ 20900 h 28614"/>
                <a:gd name="connsiteX6" fmla="*/ 20272 w 28614"/>
                <a:gd name="connsiteY6" fmla="*/ 28218 h 28614"/>
                <a:gd name="connsiteX7" fmla="*/ 20425 w 28614"/>
                <a:gd name="connsiteY7" fmla="*/ 2819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0425" y="28197"/>
                  </a:moveTo>
                  <a:cubicBezTo>
                    <a:pt x="24078" y="27711"/>
                    <a:pt x="26951" y="24839"/>
                    <a:pt x="27436" y="21186"/>
                  </a:cubicBezTo>
                  <a:cubicBezTo>
                    <a:pt x="28547" y="16658"/>
                    <a:pt x="25777" y="12086"/>
                    <a:pt x="21249" y="10976"/>
                  </a:cubicBezTo>
                  <a:cubicBezTo>
                    <a:pt x="16722" y="9864"/>
                    <a:pt x="12151" y="12634"/>
                    <a:pt x="11039" y="17161"/>
                  </a:cubicBezTo>
                  <a:cubicBezTo>
                    <a:pt x="10946" y="17545"/>
                    <a:pt x="10879" y="17932"/>
                    <a:pt x="10839" y="18324"/>
                  </a:cubicBezTo>
                  <a:cubicBezTo>
                    <a:pt x="10694" y="19177"/>
                    <a:pt x="10694" y="20047"/>
                    <a:pt x="10839" y="20900"/>
                  </a:cubicBezTo>
                  <a:cubicBezTo>
                    <a:pt x="11423" y="25525"/>
                    <a:pt x="15646" y="28802"/>
                    <a:pt x="20272" y="28218"/>
                  </a:cubicBezTo>
                  <a:cubicBezTo>
                    <a:pt x="20322" y="28211"/>
                    <a:pt x="20373" y="28204"/>
                    <a:pt x="20425" y="2819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53" name="Freeform: Shape 352">
              <a:extLst>
                <a:ext uri="{FF2B5EF4-FFF2-40B4-BE49-F238E27FC236}">
                  <a16:creationId xmlns:a16="http://schemas.microsoft.com/office/drawing/2014/main" id="{84BE62E9-06FD-4B6C-B00E-EBB977A4E320}"/>
                </a:ext>
              </a:extLst>
            </p:cNvPr>
            <p:cNvSpPr/>
            <p:nvPr/>
          </p:nvSpPr>
          <p:spPr>
            <a:xfrm>
              <a:off x="5144285" y="6356912"/>
              <a:ext cx="28615" cy="28615"/>
            </a:xfrm>
            <a:custGeom>
              <a:avLst/>
              <a:gdLst>
                <a:gd name="connsiteX0" fmla="*/ 20425 w 28614"/>
                <a:gd name="connsiteY0" fmla="*/ 10825 h 28614"/>
                <a:gd name="connsiteX1" fmla="*/ 10839 w 28614"/>
                <a:gd name="connsiteY1" fmla="*/ 17836 h 28614"/>
                <a:gd name="connsiteX2" fmla="*/ 10839 w 28614"/>
                <a:gd name="connsiteY2" fmla="*/ 20411 h 28614"/>
                <a:gd name="connsiteX3" fmla="*/ 20305 w 28614"/>
                <a:gd name="connsiteY3" fmla="*/ 27683 h 28614"/>
                <a:gd name="connsiteX4" fmla="*/ 27579 w 28614"/>
                <a:gd name="connsiteY4" fmla="*/ 20411 h 28614"/>
                <a:gd name="connsiteX5" fmla="*/ 20425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425" y="10825"/>
                  </a:moveTo>
                  <a:cubicBezTo>
                    <a:pt x="15848" y="10140"/>
                    <a:pt x="11573" y="13266"/>
                    <a:pt x="10839" y="17836"/>
                  </a:cubicBezTo>
                  <a:cubicBezTo>
                    <a:pt x="10694" y="18688"/>
                    <a:pt x="10694" y="19558"/>
                    <a:pt x="10839" y="20411"/>
                  </a:cubicBezTo>
                  <a:cubicBezTo>
                    <a:pt x="11444" y="25034"/>
                    <a:pt x="15683" y="28290"/>
                    <a:pt x="20305" y="27683"/>
                  </a:cubicBezTo>
                  <a:cubicBezTo>
                    <a:pt x="24098" y="27187"/>
                    <a:pt x="27082" y="24202"/>
                    <a:pt x="27579" y="20411"/>
                  </a:cubicBezTo>
                  <a:cubicBezTo>
                    <a:pt x="28180" y="15807"/>
                    <a:pt x="25009" y="11560"/>
                    <a:pt x="20425" y="108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54" name="Freeform: Shape 353">
              <a:extLst>
                <a:ext uri="{FF2B5EF4-FFF2-40B4-BE49-F238E27FC236}">
                  <a16:creationId xmlns:a16="http://schemas.microsoft.com/office/drawing/2014/main" id="{B89D0E02-D46C-408F-B3D8-D1896D2C5C12}"/>
                </a:ext>
              </a:extLst>
            </p:cNvPr>
            <p:cNvSpPr/>
            <p:nvPr/>
          </p:nvSpPr>
          <p:spPr>
            <a:xfrm>
              <a:off x="5065843" y="6109343"/>
              <a:ext cx="28615" cy="28615"/>
            </a:xfrm>
            <a:custGeom>
              <a:avLst/>
              <a:gdLst>
                <a:gd name="connsiteX0" fmla="*/ 18459 w 28614"/>
                <a:gd name="connsiteY0" fmla="*/ 10732 h 28614"/>
                <a:gd name="connsiteX1" fmla="*/ 11019 w 28614"/>
                <a:gd name="connsiteY1" fmla="*/ 17883 h 28614"/>
                <a:gd name="connsiteX2" fmla="*/ 11019 w 28614"/>
                <a:gd name="connsiteY2" fmla="*/ 17886 h 28614"/>
                <a:gd name="connsiteX3" fmla="*/ 16129 w 28614"/>
                <a:gd name="connsiteY3" fmla="*/ 27083 h 28614"/>
                <a:gd name="connsiteX4" fmla="*/ 25326 w 28614"/>
                <a:gd name="connsiteY4" fmla="*/ 21973 h 28614"/>
                <a:gd name="connsiteX5" fmla="*/ 25326 w 28614"/>
                <a:gd name="connsiteY5" fmla="*/ 17886 h 28614"/>
                <a:gd name="connsiteX6" fmla="*/ 18602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59" y="10732"/>
                  </a:moveTo>
                  <a:cubicBezTo>
                    <a:pt x="14429" y="10652"/>
                    <a:pt x="11099" y="13854"/>
                    <a:pt x="11019" y="17883"/>
                  </a:cubicBezTo>
                  <a:cubicBezTo>
                    <a:pt x="11019" y="17884"/>
                    <a:pt x="11019" y="17884"/>
                    <a:pt x="11019" y="17886"/>
                  </a:cubicBezTo>
                  <a:cubicBezTo>
                    <a:pt x="9890" y="21836"/>
                    <a:pt x="12178" y="25954"/>
                    <a:pt x="16129" y="27083"/>
                  </a:cubicBezTo>
                  <a:cubicBezTo>
                    <a:pt x="20080" y="28212"/>
                    <a:pt x="24198" y="25924"/>
                    <a:pt x="25326" y="21973"/>
                  </a:cubicBezTo>
                  <a:cubicBezTo>
                    <a:pt x="25708" y="20637"/>
                    <a:pt x="25708" y="19222"/>
                    <a:pt x="25326" y="17886"/>
                  </a:cubicBezTo>
                  <a:cubicBezTo>
                    <a:pt x="25264" y="14124"/>
                    <a:pt x="22352" y="11027"/>
                    <a:pt x="1860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55" name="Freeform: Shape 354">
              <a:extLst>
                <a:ext uri="{FF2B5EF4-FFF2-40B4-BE49-F238E27FC236}">
                  <a16:creationId xmlns:a16="http://schemas.microsoft.com/office/drawing/2014/main" id="{DFE2A3DB-9C94-4580-B353-8B347BB82C9F}"/>
                </a:ext>
              </a:extLst>
            </p:cNvPr>
            <p:cNvSpPr/>
            <p:nvPr/>
          </p:nvSpPr>
          <p:spPr>
            <a:xfrm>
              <a:off x="5065273" y="6161996"/>
              <a:ext cx="28615" cy="28615"/>
            </a:xfrm>
            <a:custGeom>
              <a:avLst/>
              <a:gdLst>
                <a:gd name="connsiteX0" fmla="*/ 25610 w 28614"/>
                <a:gd name="connsiteY0" fmla="*/ 18170 h 28614"/>
                <a:gd name="connsiteX1" fmla="*/ 18170 w 28614"/>
                <a:gd name="connsiteY1" fmla="*/ 25610 h 28614"/>
                <a:gd name="connsiteX2" fmla="*/ 10731 w 28614"/>
                <a:gd name="connsiteY2" fmla="*/ 18170 h 28614"/>
                <a:gd name="connsiteX3" fmla="*/ 18170 w 28614"/>
                <a:gd name="connsiteY3" fmla="*/ 10731 h 28614"/>
                <a:gd name="connsiteX4" fmla="*/ 25610 w 28614"/>
                <a:gd name="connsiteY4" fmla="*/ 1817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0"/>
                  </a:moveTo>
                  <a:cubicBezTo>
                    <a:pt x="25610" y="22279"/>
                    <a:pt x="22279" y="25610"/>
                    <a:pt x="18170" y="25610"/>
                  </a:cubicBezTo>
                  <a:cubicBezTo>
                    <a:pt x="14062" y="25610"/>
                    <a:pt x="10731" y="22279"/>
                    <a:pt x="10731" y="18170"/>
                  </a:cubicBezTo>
                  <a:cubicBezTo>
                    <a:pt x="10731" y="14062"/>
                    <a:pt x="14062" y="10731"/>
                    <a:pt x="18170" y="10731"/>
                  </a:cubicBezTo>
                  <a:cubicBezTo>
                    <a:pt x="22279" y="10731"/>
                    <a:pt x="25610" y="14062"/>
                    <a:pt x="25610" y="1817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56" name="Freeform: Shape 355">
              <a:extLst>
                <a:ext uri="{FF2B5EF4-FFF2-40B4-BE49-F238E27FC236}">
                  <a16:creationId xmlns:a16="http://schemas.microsoft.com/office/drawing/2014/main" id="{A5D115CA-DF20-493A-9D1B-18D410EAA6A7}"/>
                </a:ext>
              </a:extLst>
            </p:cNvPr>
            <p:cNvSpPr/>
            <p:nvPr/>
          </p:nvSpPr>
          <p:spPr>
            <a:xfrm>
              <a:off x="5300774" y="6169435"/>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cubicBezTo>
                    <a:pt x="10731" y="10731"/>
                    <a:pt x="10731" y="10731"/>
                    <a:pt x="1073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57" name="Freeform: Shape 356">
              <a:extLst>
                <a:ext uri="{FF2B5EF4-FFF2-40B4-BE49-F238E27FC236}">
                  <a16:creationId xmlns:a16="http://schemas.microsoft.com/office/drawing/2014/main" id="{01BA320F-B966-4988-9B85-5B0E2D9F1377}"/>
                </a:ext>
              </a:extLst>
            </p:cNvPr>
            <p:cNvSpPr/>
            <p:nvPr/>
          </p:nvSpPr>
          <p:spPr>
            <a:xfrm>
              <a:off x="5143712" y="6257578"/>
              <a:ext cx="28615" cy="28615"/>
            </a:xfrm>
            <a:custGeom>
              <a:avLst/>
              <a:gdLst>
                <a:gd name="connsiteX0" fmla="*/ 20425 w 28614"/>
                <a:gd name="connsiteY0" fmla="*/ 28321 h 28614"/>
                <a:gd name="connsiteX1" fmla="*/ 27436 w 28614"/>
                <a:gd name="connsiteY1" fmla="*/ 21310 h 28614"/>
                <a:gd name="connsiteX2" fmla="*/ 21405 w 28614"/>
                <a:gd name="connsiteY2" fmla="*/ 11007 h 28614"/>
                <a:gd name="connsiteX3" fmla="*/ 11102 w 28614"/>
                <a:gd name="connsiteY3" fmla="*/ 17038 h 28614"/>
                <a:gd name="connsiteX4" fmla="*/ 10839 w 28614"/>
                <a:gd name="connsiteY4" fmla="*/ 18735 h 28614"/>
                <a:gd name="connsiteX5" fmla="*/ 10839 w 28614"/>
                <a:gd name="connsiteY5" fmla="*/ 21310 h 28614"/>
                <a:gd name="connsiteX6" fmla="*/ 20425 w 28614"/>
                <a:gd name="connsiteY6" fmla="*/ 283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425" y="28321"/>
                  </a:moveTo>
                  <a:cubicBezTo>
                    <a:pt x="24078" y="27836"/>
                    <a:pt x="26951" y="24963"/>
                    <a:pt x="27436" y="21310"/>
                  </a:cubicBezTo>
                  <a:cubicBezTo>
                    <a:pt x="28616" y="16800"/>
                    <a:pt x="25915" y="12188"/>
                    <a:pt x="21405" y="11007"/>
                  </a:cubicBezTo>
                  <a:cubicBezTo>
                    <a:pt x="16894" y="9828"/>
                    <a:pt x="12283" y="12528"/>
                    <a:pt x="11102" y="17038"/>
                  </a:cubicBezTo>
                  <a:cubicBezTo>
                    <a:pt x="10958" y="17593"/>
                    <a:pt x="10869" y="18161"/>
                    <a:pt x="10839" y="18735"/>
                  </a:cubicBezTo>
                  <a:cubicBezTo>
                    <a:pt x="10694" y="19587"/>
                    <a:pt x="10694" y="20457"/>
                    <a:pt x="10839" y="21310"/>
                  </a:cubicBezTo>
                  <a:cubicBezTo>
                    <a:pt x="11573" y="25880"/>
                    <a:pt x="15848" y="29006"/>
                    <a:pt x="20425" y="2832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58" name="Freeform: Shape 357">
              <a:extLst>
                <a:ext uri="{FF2B5EF4-FFF2-40B4-BE49-F238E27FC236}">
                  <a16:creationId xmlns:a16="http://schemas.microsoft.com/office/drawing/2014/main" id="{651A63FE-8F82-43C6-9FEC-7863CB920CAE}"/>
                </a:ext>
              </a:extLst>
            </p:cNvPr>
            <p:cNvSpPr/>
            <p:nvPr/>
          </p:nvSpPr>
          <p:spPr>
            <a:xfrm>
              <a:off x="5066168" y="6260574"/>
              <a:ext cx="28615" cy="28615"/>
            </a:xfrm>
            <a:custGeom>
              <a:avLst/>
              <a:gdLst>
                <a:gd name="connsiteX0" fmla="*/ 17275 w 28614"/>
                <a:gd name="connsiteY0" fmla="*/ 25754 h 28614"/>
                <a:gd name="connsiteX1" fmla="*/ 23748 w 28614"/>
                <a:gd name="connsiteY1" fmla="*/ 17203 h 28614"/>
                <a:gd name="connsiteX2" fmla="*/ 17275 w 28614"/>
                <a:gd name="connsiteY2" fmla="*/ 10731 h 28614"/>
                <a:gd name="connsiteX3" fmla="*/ 10803 w 28614"/>
                <a:gd name="connsiteY3" fmla="*/ 19281 h 28614"/>
                <a:gd name="connsiteX4" fmla="*/ 17275 w 28614"/>
                <a:gd name="connsiteY4" fmla="*/ 25754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7275" y="25754"/>
                  </a:moveTo>
                  <a:cubicBezTo>
                    <a:pt x="21424" y="25180"/>
                    <a:pt x="24321" y="21351"/>
                    <a:pt x="23748" y="17203"/>
                  </a:cubicBezTo>
                  <a:cubicBezTo>
                    <a:pt x="23282" y="13840"/>
                    <a:pt x="20638" y="11196"/>
                    <a:pt x="17275" y="10731"/>
                  </a:cubicBezTo>
                  <a:cubicBezTo>
                    <a:pt x="13127" y="11304"/>
                    <a:pt x="10229" y="15133"/>
                    <a:pt x="10803" y="19281"/>
                  </a:cubicBezTo>
                  <a:cubicBezTo>
                    <a:pt x="11268" y="22644"/>
                    <a:pt x="13912" y="25288"/>
                    <a:pt x="17275" y="2575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59" name="Freeform: Shape 358">
              <a:extLst>
                <a:ext uri="{FF2B5EF4-FFF2-40B4-BE49-F238E27FC236}">
                  <a16:creationId xmlns:a16="http://schemas.microsoft.com/office/drawing/2014/main" id="{95608EC7-4C6E-4D42-A3F0-4BA341518BBF}"/>
                </a:ext>
              </a:extLst>
            </p:cNvPr>
            <p:cNvSpPr/>
            <p:nvPr/>
          </p:nvSpPr>
          <p:spPr>
            <a:xfrm>
              <a:off x="5143535" y="6310221"/>
              <a:ext cx="28615" cy="28615"/>
            </a:xfrm>
            <a:custGeom>
              <a:avLst/>
              <a:gdLst>
                <a:gd name="connsiteX0" fmla="*/ 19172 w 28614"/>
                <a:gd name="connsiteY0" fmla="*/ 27613 h 28614"/>
                <a:gd name="connsiteX1" fmla="*/ 27613 w 28614"/>
                <a:gd name="connsiteY1" fmla="*/ 19172 h 28614"/>
                <a:gd name="connsiteX2" fmla="*/ 19172 w 28614"/>
                <a:gd name="connsiteY2" fmla="*/ 10731 h 28614"/>
                <a:gd name="connsiteX3" fmla="*/ 19172 w 28614"/>
                <a:gd name="connsiteY3" fmla="*/ 10731 h 28614"/>
                <a:gd name="connsiteX4" fmla="*/ 10731 w 28614"/>
                <a:gd name="connsiteY4" fmla="*/ 19172 h 28614"/>
                <a:gd name="connsiteX5" fmla="*/ 19172 w 28614"/>
                <a:gd name="connsiteY5" fmla="*/ 2761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172" y="27613"/>
                  </a:moveTo>
                  <a:cubicBezTo>
                    <a:pt x="23833" y="27613"/>
                    <a:pt x="27613" y="23833"/>
                    <a:pt x="27613" y="19172"/>
                  </a:cubicBezTo>
                  <a:cubicBezTo>
                    <a:pt x="27613" y="14511"/>
                    <a:pt x="23833" y="10731"/>
                    <a:pt x="19172" y="10731"/>
                  </a:cubicBezTo>
                  <a:lnTo>
                    <a:pt x="19172" y="10731"/>
                  </a:lnTo>
                  <a:cubicBezTo>
                    <a:pt x="14511" y="10731"/>
                    <a:pt x="10731" y="14511"/>
                    <a:pt x="10731" y="19172"/>
                  </a:cubicBezTo>
                  <a:cubicBezTo>
                    <a:pt x="10731" y="23833"/>
                    <a:pt x="14511" y="27613"/>
                    <a:pt x="19172" y="2761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60" name="Freeform: Shape 359">
              <a:extLst>
                <a:ext uri="{FF2B5EF4-FFF2-40B4-BE49-F238E27FC236}">
                  <a16:creationId xmlns:a16="http://schemas.microsoft.com/office/drawing/2014/main" id="{D650B190-0D05-4732-BB9A-953D2E056B9B}"/>
                </a:ext>
              </a:extLst>
            </p:cNvPr>
            <p:cNvSpPr/>
            <p:nvPr/>
          </p:nvSpPr>
          <p:spPr>
            <a:xfrm>
              <a:off x="5066131" y="6210355"/>
              <a:ext cx="28615" cy="28615"/>
            </a:xfrm>
            <a:custGeom>
              <a:avLst/>
              <a:gdLst>
                <a:gd name="connsiteX0" fmla="*/ 25610 w 28614"/>
                <a:gd name="connsiteY0" fmla="*/ 18171 h 28614"/>
                <a:gd name="connsiteX1" fmla="*/ 18171 w 28614"/>
                <a:gd name="connsiteY1" fmla="*/ 25610 h 28614"/>
                <a:gd name="connsiteX2" fmla="*/ 10731 w 28614"/>
                <a:gd name="connsiteY2" fmla="*/ 18171 h 28614"/>
                <a:gd name="connsiteX3" fmla="*/ 18171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1" y="25610"/>
                  </a:cubicBezTo>
                  <a:cubicBezTo>
                    <a:pt x="14062" y="25610"/>
                    <a:pt x="10731" y="22279"/>
                    <a:pt x="10731" y="18171"/>
                  </a:cubicBezTo>
                  <a:cubicBezTo>
                    <a:pt x="10731" y="14062"/>
                    <a:pt x="14062" y="10731"/>
                    <a:pt x="18171"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61" name="Freeform: Shape 360">
              <a:extLst>
                <a:ext uri="{FF2B5EF4-FFF2-40B4-BE49-F238E27FC236}">
                  <a16:creationId xmlns:a16="http://schemas.microsoft.com/office/drawing/2014/main" id="{7029AC54-35D4-4C39-81FA-9B7F8462DE44}"/>
                </a:ext>
              </a:extLst>
            </p:cNvPr>
            <p:cNvSpPr/>
            <p:nvPr/>
          </p:nvSpPr>
          <p:spPr>
            <a:xfrm>
              <a:off x="5065994" y="6359151"/>
              <a:ext cx="28615" cy="28615"/>
            </a:xfrm>
            <a:custGeom>
              <a:avLst/>
              <a:gdLst>
                <a:gd name="connsiteX0" fmla="*/ 18022 w 28614"/>
                <a:gd name="connsiteY0" fmla="*/ 10732 h 28614"/>
                <a:gd name="connsiteX1" fmla="*/ 10732 w 28614"/>
                <a:gd name="connsiteY1" fmla="*/ 18319 h 28614"/>
                <a:gd name="connsiteX2" fmla="*/ 18319 w 28614"/>
                <a:gd name="connsiteY2" fmla="*/ 25609 h 28614"/>
                <a:gd name="connsiteX3" fmla="*/ 25605 w 28614"/>
                <a:gd name="connsiteY3" fmla="*/ 18458 h 28614"/>
                <a:gd name="connsiteX4" fmla="*/ 18458 w 28614"/>
                <a:gd name="connsiteY4" fmla="*/ 10736 h 28614"/>
                <a:gd name="connsiteX5" fmla="*/ 18022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022" y="10732"/>
                  </a:moveTo>
                  <a:cubicBezTo>
                    <a:pt x="13914" y="10814"/>
                    <a:pt x="10650" y="14212"/>
                    <a:pt x="10732" y="18319"/>
                  </a:cubicBezTo>
                  <a:cubicBezTo>
                    <a:pt x="10814" y="22427"/>
                    <a:pt x="14211" y="25691"/>
                    <a:pt x="18319" y="25609"/>
                  </a:cubicBezTo>
                  <a:cubicBezTo>
                    <a:pt x="22258" y="25530"/>
                    <a:pt x="25453" y="22394"/>
                    <a:pt x="25605" y="18458"/>
                  </a:cubicBezTo>
                  <a:cubicBezTo>
                    <a:pt x="25764" y="14352"/>
                    <a:pt x="22564" y="10895"/>
                    <a:pt x="18458" y="10736"/>
                  </a:cubicBezTo>
                  <a:cubicBezTo>
                    <a:pt x="18313" y="10731"/>
                    <a:pt x="18167" y="10729"/>
                    <a:pt x="1802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62" name="Freeform: Shape 361">
              <a:extLst>
                <a:ext uri="{FF2B5EF4-FFF2-40B4-BE49-F238E27FC236}">
                  <a16:creationId xmlns:a16="http://schemas.microsoft.com/office/drawing/2014/main" id="{CA8F4714-ED7F-4F51-8718-59C709E2FA6D}"/>
                </a:ext>
              </a:extLst>
            </p:cNvPr>
            <p:cNvSpPr/>
            <p:nvPr/>
          </p:nvSpPr>
          <p:spPr>
            <a:xfrm>
              <a:off x="5144964" y="6209496"/>
              <a:ext cx="28615" cy="28615"/>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63" name="Freeform: Shape 362">
              <a:extLst>
                <a:ext uri="{FF2B5EF4-FFF2-40B4-BE49-F238E27FC236}">
                  <a16:creationId xmlns:a16="http://schemas.microsoft.com/office/drawing/2014/main" id="{CF871DAE-7189-4B7D-B029-2710A0C45C0D}"/>
                </a:ext>
              </a:extLst>
            </p:cNvPr>
            <p:cNvSpPr/>
            <p:nvPr/>
          </p:nvSpPr>
          <p:spPr>
            <a:xfrm>
              <a:off x="5614394" y="6303497"/>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25038 w 42922"/>
                <a:gd name="connsiteY3" fmla="*/ 10731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lnTo>
                    <a:pt x="25038" y="10731"/>
                  </a:lnTo>
                  <a:cubicBezTo>
                    <a:pt x="17136" y="10731"/>
                    <a:pt x="10731" y="17136"/>
                    <a:pt x="10731" y="25038"/>
                  </a:cubicBez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64" name="Freeform: Shape 363">
              <a:extLst>
                <a:ext uri="{FF2B5EF4-FFF2-40B4-BE49-F238E27FC236}">
                  <a16:creationId xmlns:a16="http://schemas.microsoft.com/office/drawing/2014/main" id="{489387B5-38F8-405A-8408-0BCD17B5257D}"/>
                </a:ext>
              </a:extLst>
            </p:cNvPr>
            <p:cNvSpPr/>
            <p:nvPr/>
          </p:nvSpPr>
          <p:spPr>
            <a:xfrm>
              <a:off x="5536990" y="6106626"/>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65" name="Freeform: Shape 364">
              <a:extLst>
                <a:ext uri="{FF2B5EF4-FFF2-40B4-BE49-F238E27FC236}">
                  <a16:creationId xmlns:a16="http://schemas.microsoft.com/office/drawing/2014/main" id="{5CD083B0-6C18-4B87-9BB8-E12C4B5DFD32}"/>
                </a:ext>
              </a:extLst>
            </p:cNvPr>
            <p:cNvSpPr/>
            <p:nvPr/>
          </p:nvSpPr>
          <p:spPr>
            <a:xfrm>
              <a:off x="5536992" y="6204775"/>
              <a:ext cx="42922" cy="42922"/>
            </a:xfrm>
            <a:custGeom>
              <a:avLst/>
              <a:gdLst>
                <a:gd name="connsiteX0" fmla="*/ 23892 w 42922"/>
                <a:gd name="connsiteY0" fmla="*/ 10731 h 42922"/>
                <a:gd name="connsiteX1" fmla="*/ 10731 w 42922"/>
                <a:gd name="connsiteY1" fmla="*/ 23893 h 42922"/>
                <a:gd name="connsiteX2" fmla="*/ 23894 w 42922"/>
                <a:gd name="connsiteY2" fmla="*/ 37056 h 42922"/>
                <a:gd name="connsiteX3" fmla="*/ 37056 w 42922"/>
                <a:gd name="connsiteY3" fmla="*/ 23892 h 42922"/>
                <a:gd name="connsiteX4" fmla="*/ 37055 w 42922"/>
                <a:gd name="connsiteY4" fmla="*/ 23750 h 42922"/>
                <a:gd name="connsiteX5" fmla="*/ 23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2" y="10731"/>
                  </a:moveTo>
                  <a:cubicBezTo>
                    <a:pt x="16622" y="10731"/>
                    <a:pt x="10729" y="16624"/>
                    <a:pt x="10731" y="23893"/>
                  </a:cubicBezTo>
                  <a:cubicBezTo>
                    <a:pt x="10731" y="31165"/>
                    <a:pt x="16624" y="37056"/>
                    <a:pt x="23894" y="37056"/>
                  </a:cubicBezTo>
                  <a:cubicBezTo>
                    <a:pt x="31163" y="37056"/>
                    <a:pt x="37056" y="31162"/>
                    <a:pt x="37056" y="23892"/>
                  </a:cubicBezTo>
                  <a:cubicBezTo>
                    <a:pt x="37056" y="23845"/>
                    <a:pt x="37055" y="23798"/>
                    <a:pt x="37055" y="23750"/>
                  </a:cubicBezTo>
                  <a:cubicBezTo>
                    <a:pt x="36976" y="16537"/>
                    <a:pt x="31106" y="10731"/>
                    <a:pt x="23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66" name="Freeform: Shape 365">
              <a:extLst>
                <a:ext uri="{FF2B5EF4-FFF2-40B4-BE49-F238E27FC236}">
                  <a16:creationId xmlns:a16="http://schemas.microsoft.com/office/drawing/2014/main" id="{F3F6CA3D-90E0-4F85-A7AE-3B85AEB2F365}"/>
                </a:ext>
              </a:extLst>
            </p:cNvPr>
            <p:cNvSpPr/>
            <p:nvPr/>
          </p:nvSpPr>
          <p:spPr>
            <a:xfrm>
              <a:off x="5300917" y="6158812"/>
              <a:ext cx="42922" cy="28615"/>
            </a:xfrm>
            <a:custGeom>
              <a:avLst/>
              <a:gdLst>
                <a:gd name="connsiteX0" fmla="*/ 26469 w 42922"/>
                <a:gd name="connsiteY0" fmla="*/ 11053 h 28614"/>
                <a:gd name="connsiteX1" fmla="*/ 20746 w 42922"/>
                <a:gd name="connsiteY1" fmla="*/ 11053 h 28614"/>
                <a:gd name="connsiteX2" fmla="*/ 10731 w 42922"/>
                <a:gd name="connsiteY2" fmla="*/ 20925 h 28614"/>
                <a:gd name="connsiteX3" fmla="*/ 20746 w 42922"/>
                <a:gd name="connsiteY3" fmla="*/ 30654 h 28614"/>
                <a:gd name="connsiteX4" fmla="*/ 33480 w 42922"/>
                <a:gd name="connsiteY4" fmla="*/ 23643 h 28614"/>
                <a:gd name="connsiteX5" fmla="*/ 26469 w 42922"/>
                <a:gd name="connsiteY5" fmla="*/ 1105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053"/>
                  </a:moveTo>
                  <a:cubicBezTo>
                    <a:pt x="24586" y="10623"/>
                    <a:pt x="22629" y="10623"/>
                    <a:pt x="20746" y="11053"/>
                  </a:cubicBezTo>
                  <a:cubicBezTo>
                    <a:pt x="15300" y="11127"/>
                    <a:pt x="10884" y="15482"/>
                    <a:pt x="10731" y="20925"/>
                  </a:cubicBezTo>
                  <a:cubicBezTo>
                    <a:pt x="10885" y="26344"/>
                    <a:pt x="15325" y="30657"/>
                    <a:pt x="20746" y="30654"/>
                  </a:cubicBezTo>
                  <a:cubicBezTo>
                    <a:pt x="26197" y="32221"/>
                    <a:pt x="31889" y="29087"/>
                    <a:pt x="33480" y="23643"/>
                  </a:cubicBezTo>
                  <a:cubicBezTo>
                    <a:pt x="34876" y="18248"/>
                    <a:pt x="31790" y="12706"/>
                    <a:pt x="26469" y="11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67" name="Freeform: Shape 366">
              <a:extLst>
                <a:ext uri="{FF2B5EF4-FFF2-40B4-BE49-F238E27FC236}">
                  <a16:creationId xmlns:a16="http://schemas.microsoft.com/office/drawing/2014/main" id="{F1859E8E-2F50-466C-9961-2B6E370C1B63}"/>
                </a:ext>
              </a:extLst>
            </p:cNvPr>
            <p:cNvSpPr/>
            <p:nvPr/>
          </p:nvSpPr>
          <p:spPr>
            <a:xfrm>
              <a:off x="5536847" y="6354431"/>
              <a:ext cx="42922" cy="42922"/>
            </a:xfrm>
            <a:custGeom>
              <a:avLst/>
              <a:gdLst>
                <a:gd name="connsiteX0" fmla="*/ 23894 w 42922"/>
                <a:gd name="connsiteY0" fmla="*/ 10731 h 42922"/>
                <a:gd name="connsiteX1" fmla="*/ 10731 w 42922"/>
                <a:gd name="connsiteY1" fmla="*/ 23894 h 42922"/>
                <a:gd name="connsiteX2" fmla="*/ 23894 w 42922"/>
                <a:gd name="connsiteY2" fmla="*/ 37056 h 42922"/>
                <a:gd name="connsiteX3" fmla="*/ 37056 w 42922"/>
                <a:gd name="connsiteY3" fmla="*/ 23894 h 42922"/>
                <a:gd name="connsiteX4" fmla="*/ 23894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4" y="10731"/>
                  </a:moveTo>
                  <a:cubicBezTo>
                    <a:pt x="16624" y="10731"/>
                    <a:pt x="10731" y="16624"/>
                    <a:pt x="10731" y="23894"/>
                  </a:cubicBezTo>
                  <a:cubicBezTo>
                    <a:pt x="10731" y="31163"/>
                    <a:pt x="16624" y="37056"/>
                    <a:pt x="23894" y="37056"/>
                  </a:cubicBezTo>
                  <a:cubicBezTo>
                    <a:pt x="31163" y="37056"/>
                    <a:pt x="37056" y="31163"/>
                    <a:pt x="37056" y="23894"/>
                  </a:cubicBezTo>
                  <a:cubicBezTo>
                    <a:pt x="37056" y="16624"/>
                    <a:pt x="31163" y="10731"/>
                    <a:pt x="2389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68" name="Freeform: Shape 367">
              <a:extLst>
                <a:ext uri="{FF2B5EF4-FFF2-40B4-BE49-F238E27FC236}">
                  <a16:creationId xmlns:a16="http://schemas.microsoft.com/office/drawing/2014/main" id="{DF0FCEE9-1382-4461-AC5C-20D09D15BF6F}"/>
                </a:ext>
              </a:extLst>
            </p:cNvPr>
            <p:cNvSpPr/>
            <p:nvPr/>
          </p:nvSpPr>
          <p:spPr>
            <a:xfrm>
              <a:off x="5694659" y="6204060"/>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69" name="Freeform: Shape 368">
              <a:extLst>
                <a:ext uri="{FF2B5EF4-FFF2-40B4-BE49-F238E27FC236}">
                  <a16:creationId xmlns:a16="http://schemas.microsoft.com/office/drawing/2014/main" id="{544224A5-98AD-47F2-80E2-D488A7CA1B5C}"/>
                </a:ext>
              </a:extLst>
            </p:cNvPr>
            <p:cNvSpPr/>
            <p:nvPr/>
          </p:nvSpPr>
          <p:spPr>
            <a:xfrm>
              <a:off x="5694659" y="6253993"/>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70" name="Freeform: Shape 369">
              <a:extLst>
                <a:ext uri="{FF2B5EF4-FFF2-40B4-BE49-F238E27FC236}">
                  <a16:creationId xmlns:a16="http://schemas.microsoft.com/office/drawing/2014/main" id="{DB37CD17-5364-4247-BD59-9AB7F97DE42B}"/>
                </a:ext>
              </a:extLst>
            </p:cNvPr>
            <p:cNvSpPr/>
            <p:nvPr/>
          </p:nvSpPr>
          <p:spPr>
            <a:xfrm>
              <a:off x="5536274" y="6304498"/>
              <a:ext cx="42922" cy="42922"/>
            </a:xfrm>
            <a:custGeom>
              <a:avLst/>
              <a:gdLst>
                <a:gd name="connsiteX0" fmla="*/ 23895 w 42922"/>
                <a:gd name="connsiteY0" fmla="*/ 37056 h 42922"/>
                <a:gd name="connsiteX1" fmla="*/ 37056 w 42922"/>
                <a:gd name="connsiteY1" fmla="*/ 23893 h 42922"/>
                <a:gd name="connsiteX2" fmla="*/ 23893 w 42922"/>
                <a:gd name="connsiteY2" fmla="*/ 10731 h 42922"/>
                <a:gd name="connsiteX3" fmla="*/ 10731 w 42922"/>
                <a:gd name="connsiteY3" fmla="*/ 23895 h 42922"/>
                <a:gd name="connsiteX4" fmla="*/ 10732 w 42922"/>
                <a:gd name="connsiteY4" fmla="*/ 24037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3"/>
                    <a:pt x="37056" y="23893"/>
                  </a:cubicBezTo>
                  <a:cubicBezTo>
                    <a:pt x="37056" y="16622"/>
                    <a:pt x="31163" y="10731"/>
                    <a:pt x="23893" y="10731"/>
                  </a:cubicBezTo>
                  <a:cubicBezTo>
                    <a:pt x="16624" y="10731"/>
                    <a:pt x="10731" y="16625"/>
                    <a:pt x="10731" y="23895"/>
                  </a:cubicBezTo>
                  <a:cubicBezTo>
                    <a:pt x="10731" y="23942"/>
                    <a:pt x="10732" y="23989"/>
                    <a:pt x="10732" y="24037"/>
                  </a:cubicBezTo>
                  <a:cubicBezTo>
                    <a:pt x="10811" y="31250"/>
                    <a:pt x="16681" y="37056"/>
                    <a:pt x="23895"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71" name="Freeform: Shape 370">
              <a:extLst>
                <a:ext uri="{FF2B5EF4-FFF2-40B4-BE49-F238E27FC236}">
                  <a16:creationId xmlns:a16="http://schemas.microsoft.com/office/drawing/2014/main" id="{0BB0DA2B-FBBD-4062-87A7-26DDB8914832}"/>
                </a:ext>
              </a:extLst>
            </p:cNvPr>
            <p:cNvSpPr/>
            <p:nvPr/>
          </p:nvSpPr>
          <p:spPr>
            <a:xfrm>
              <a:off x="5694802" y="6353287"/>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72" name="Freeform: Shape 371">
              <a:extLst>
                <a:ext uri="{FF2B5EF4-FFF2-40B4-BE49-F238E27FC236}">
                  <a16:creationId xmlns:a16="http://schemas.microsoft.com/office/drawing/2014/main" id="{5884C0B9-EC81-4F18-8736-CB6D662B04A4}"/>
                </a:ext>
              </a:extLst>
            </p:cNvPr>
            <p:cNvSpPr/>
            <p:nvPr/>
          </p:nvSpPr>
          <p:spPr>
            <a:xfrm>
              <a:off x="5694659" y="6303640"/>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73" name="Freeform: Shape 372">
              <a:extLst>
                <a:ext uri="{FF2B5EF4-FFF2-40B4-BE49-F238E27FC236}">
                  <a16:creationId xmlns:a16="http://schemas.microsoft.com/office/drawing/2014/main" id="{8223E3CF-4BF6-4EA1-A67A-C4EE1DF14BB5}"/>
                </a:ext>
              </a:extLst>
            </p:cNvPr>
            <p:cNvSpPr/>
            <p:nvPr/>
          </p:nvSpPr>
          <p:spPr>
            <a:xfrm>
              <a:off x="5615109" y="6353430"/>
              <a:ext cx="42922" cy="42922"/>
            </a:xfrm>
            <a:custGeom>
              <a:avLst/>
              <a:gdLst>
                <a:gd name="connsiteX0" fmla="*/ 25038 w 42922"/>
                <a:gd name="connsiteY0" fmla="*/ 10731 h 42922"/>
                <a:gd name="connsiteX1" fmla="*/ 10731 w 42922"/>
                <a:gd name="connsiteY1" fmla="*/ 25038 h 42922"/>
                <a:gd name="connsiteX2" fmla="*/ 10731 w 42922"/>
                <a:gd name="connsiteY2" fmla="*/ 25038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lnTo>
                    <a:pt x="10731" y="25038"/>
                  </a:lnTo>
                  <a:cubicBezTo>
                    <a:pt x="10731" y="32940"/>
                    <a:pt x="17136" y="39346"/>
                    <a:pt x="25038" y="39346"/>
                  </a:cubicBez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74" name="Freeform: Shape 373">
              <a:extLst>
                <a:ext uri="{FF2B5EF4-FFF2-40B4-BE49-F238E27FC236}">
                  <a16:creationId xmlns:a16="http://schemas.microsoft.com/office/drawing/2014/main" id="{B5388E6E-20AD-4EB3-860E-C3044AB52CBB}"/>
                </a:ext>
              </a:extLst>
            </p:cNvPr>
            <p:cNvSpPr/>
            <p:nvPr/>
          </p:nvSpPr>
          <p:spPr>
            <a:xfrm>
              <a:off x="5379894" y="6357636"/>
              <a:ext cx="42922" cy="28615"/>
            </a:xfrm>
            <a:custGeom>
              <a:avLst/>
              <a:gdLst>
                <a:gd name="connsiteX0" fmla="*/ 20460 w 42922"/>
                <a:gd name="connsiteY0" fmla="*/ 10817 h 28614"/>
                <a:gd name="connsiteX1" fmla="*/ 10731 w 42922"/>
                <a:gd name="connsiteY1" fmla="*/ 20689 h 28614"/>
                <a:gd name="connsiteX2" fmla="*/ 23838 w 42922"/>
                <a:gd name="connsiteY2" fmla="*/ 30188 h 28614"/>
                <a:gd name="connsiteX3" fmla="*/ 33336 w 42922"/>
                <a:gd name="connsiteY3" fmla="*/ 20689 h 28614"/>
                <a:gd name="connsiteX4" fmla="*/ 20460 w 42922"/>
                <a:gd name="connsiteY4" fmla="*/ 10817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28614">
                  <a:moveTo>
                    <a:pt x="20460" y="10817"/>
                  </a:moveTo>
                  <a:cubicBezTo>
                    <a:pt x="15389" y="11592"/>
                    <a:pt x="11432" y="15609"/>
                    <a:pt x="10731" y="20689"/>
                  </a:cubicBezTo>
                  <a:cubicBezTo>
                    <a:pt x="11726" y="26931"/>
                    <a:pt x="17595" y="31184"/>
                    <a:pt x="23838" y="30188"/>
                  </a:cubicBezTo>
                  <a:cubicBezTo>
                    <a:pt x="28724" y="29408"/>
                    <a:pt x="32557" y="25575"/>
                    <a:pt x="33336" y="20689"/>
                  </a:cubicBezTo>
                  <a:cubicBezTo>
                    <a:pt x="32448" y="14441"/>
                    <a:pt x="26724" y="10053"/>
                    <a:pt x="20460" y="1081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75" name="Freeform: Shape 374">
              <a:extLst>
                <a:ext uri="{FF2B5EF4-FFF2-40B4-BE49-F238E27FC236}">
                  <a16:creationId xmlns:a16="http://schemas.microsoft.com/office/drawing/2014/main" id="{AD948929-2932-45D4-AAFD-3A2D8442DD24}"/>
                </a:ext>
              </a:extLst>
            </p:cNvPr>
            <p:cNvSpPr/>
            <p:nvPr/>
          </p:nvSpPr>
          <p:spPr>
            <a:xfrm>
              <a:off x="5380313" y="6306429"/>
              <a:ext cx="42922" cy="42922"/>
            </a:xfrm>
            <a:custGeom>
              <a:avLst/>
              <a:gdLst>
                <a:gd name="connsiteX0" fmla="*/ 20900 w 42922"/>
                <a:gd name="connsiteY0" fmla="*/ 33551 h 42922"/>
                <a:gd name="connsiteX1" fmla="*/ 33552 w 42922"/>
                <a:gd name="connsiteY1" fmla="*/ 23455 h 42922"/>
                <a:gd name="connsiteX2" fmla="*/ 23455 w 42922"/>
                <a:gd name="connsiteY2" fmla="*/ 10802 h 42922"/>
                <a:gd name="connsiteX3" fmla="*/ 20900 w 42922"/>
                <a:gd name="connsiteY3" fmla="*/ 10802 h 42922"/>
                <a:gd name="connsiteX4" fmla="*/ 20900 w 42922"/>
                <a:gd name="connsiteY4" fmla="*/ 10802 h 42922"/>
                <a:gd name="connsiteX5" fmla="*/ 10803 w 42922"/>
                <a:gd name="connsiteY5" fmla="*/ 23455 h 42922"/>
                <a:gd name="connsiteX6" fmla="*/ 20900 w 42922"/>
                <a:gd name="connsiteY6" fmla="*/ 3355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0900" y="33551"/>
                  </a:moveTo>
                  <a:cubicBezTo>
                    <a:pt x="27182" y="34257"/>
                    <a:pt x="32847" y="29737"/>
                    <a:pt x="33552" y="23455"/>
                  </a:cubicBezTo>
                  <a:cubicBezTo>
                    <a:pt x="34257" y="17172"/>
                    <a:pt x="29738" y="11508"/>
                    <a:pt x="23455" y="10802"/>
                  </a:cubicBezTo>
                  <a:cubicBezTo>
                    <a:pt x="22607" y="10707"/>
                    <a:pt x="21748" y="10707"/>
                    <a:pt x="20900" y="10802"/>
                  </a:cubicBezTo>
                  <a:lnTo>
                    <a:pt x="20900" y="10802"/>
                  </a:lnTo>
                  <a:cubicBezTo>
                    <a:pt x="14617" y="11508"/>
                    <a:pt x="10098" y="17172"/>
                    <a:pt x="10803" y="23455"/>
                  </a:cubicBezTo>
                  <a:cubicBezTo>
                    <a:pt x="11400" y="28764"/>
                    <a:pt x="15590" y="32955"/>
                    <a:pt x="20900" y="3355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76" name="Freeform: Shape 375">
              <a:extLst>
                <a:ext uri="{FF2B5EF4-FFF2-40B4-BE49-F238E27FC236}">
                  <a16:creationId xmlns:a16="http://schemas.microsoft.com/office/drawing/2014/main" id="{5BD01427-62F6-43E2-87E7-289158122449}"/>
                </a:ext>
              </a:extLst>
            </p:cNvPr>
            <p:cNvSpPr/>
            <p:nvPr/>
          </p:nvSpPr>
          <p:spPr>
            <a:xfrm>
              <a:off x="5379891" y="6206635"/>
              <a:ext cx="42922" cy="42922"/>
            </a:xfrm>
            <a:custGeom>
              <a:avLst/>
              <a:gdLst>
                <a:gd name="connsiteX0" fmla="*/ 22180 w 42922"/>
                <a:gd name="connsiteY0" fmla="*/ 10731 h 42922"/>
                <a:gd name="connsiteX1" fmla="*/ 22180 w 42922"/>
                <a:gd name="connsiteY1" fmla="*/ 10731 h 42922"/>
                <a:gd name="connsiteX2" fmla="*/ 10734 w 42922"/>
                <a:gd name="connsiteY2" fmla="*/ 21890 h 42922"/>
                <a:gd name="connsiteX3" fmla="*/ 21891 w 42922"/>
                <a:gd name="connsiteY3" fmla="*/ 33618 h 42922"/>
                <a:gd name="connsiteX4" fmla="*/ 33619 w 42922"/>
                <a:gd name="connsiteY4" fmla="*/ 22463 h 42922"/>
                <a:gd name="connsiteX5" fmla="*/ 22463 w 42922"/>
                <a:gd name="connsiteY5" fmla="*/ 10735 h 42922"/>
                <a:gd name="connsiteX6" fmla="*/ 22180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180" y="10731"/>
                  </a:moveTo>
                  <a:lnTo>
                    <a:pt x="22180" y="10731"/>
                  </a:lnTo>
                  <a:cubicBezTo>
                    <a:pt x="15969" y="10729"/>
                    <a:pt x="10890" y="15681"/>
                    <a:pt x="10734" y="21890"/>
                  </a:cubicBezTo>
                  <a:cubicBezTo>
                    <a:pt x="10577" y="28210"/>
                    <a:pt x="15572" y="33461"/>
                    <a:pt x="21891" y="33618"/>
                  </a:cubicBezTo>
                  <a:cubicBezTo>
                    <a:pt x="28209" y="33777"/>
                    <a:pt x="33462" y="28782"/>
                    <a:pt x="33619" y="22463"/>
                  </a:cubicBezTo>
                  <a:cubicBezTo>
                    <a:pt x="33776" y="16143"/>
                    <a:pt x="28782" y="10892"/>
                    <a:pt x="22463" y="10735"/>
                  </a:cubicBezTo>
                  <a:cubicBezTo>
                    <a:pt x="22369" y="10732"/>
                    <a:pt x="22275" y="10731"/>
                    <a:pt x="2218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77" name="Freeform: Shape 376">
              <a:extLst>
                <a:ext uri="{FF2B5EF4-FFF2-40B4-BE49-F238E27FC236}">
                  <a16:creationId xmlns:a16="http://schemas.microsoft.com/office/drawing/2014/main" id="{71C42E4B-EE32-4E36-A1FF-E0221715D861}"/>
                </a:ext>
              </a:extLst>
            </p:cNvPr>
            <p:cNvSpPr/>
            <p:nvPr/>
          </p:nvSpPr>
          <p:spPr>
            <a:xfrm>
              <a:off x="5301632" y="6107766"/>
              <a:ext cx="28615" cy="28615"/>
            </a:xfrm>
            <a:custGeom>
              <a:avLst/>
              <a:gdLst>
                <a:gd name="connsiteX0" fmla="*/ 21032 w 28614"/>
                <a:gd name="connsiteY0" fmla="*/ 10735 h 28614"/>
                <a:gd name="connsiteX1" fmla="*/ 21032 w 28614"/>
                <a:gd name="connsiteY1" fmla="*/ 10735 h 28614"/>
                <a:gd name="connsiteX2" fmla="*/ 10731 w 28614"/>
                <a:gd name="connsiteY2" fmla="*/ 21036 h 28614"/>
                <a:gd name="connsiteX3" fmla="*/ 21032 w 28614"/>
                <a:gd name="connsiteY3" fmla="*/ 31338 h 28614"/>
                <a:gd name="connsiteX4" fmla="*/ 21032 w 28614"/>
                <a:gd name="connsiteY4" fmla="*/ 31338 h 28614"/>
                <a:gd name="connsiteX5" fmla="*/ 31476 w 28614"/>
                <a:gd name="connsiteY5" fmla="*/ 20893 h 28614"/>
                <a:gd name="connsiteX6" fmla="*/ 21322 w 28614"/>
                <a:gd name="connsiteY6" fmla="*/ 10731 h 28614"/>
                <a:gd name="connsiteX7" fmla="*/ 21032 w 28614"/>
                <a:gd name="connsiteY7"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032" y="10735"/>
                  </a:moveTo>
                  <a:lnTo>
                    <a:pt x="21032" y="10735"/>
                  </a:lnTo>
                  <a:cubicBezTo>
                    <a:pt x="15343" y="10735"/>
                    <a:pt x="10731" y="15348"/>
                    <a:pt x="10731" y="21036"/>
                  </a:cubicBezTo>
                  <a:cubicBezTo>
                    <a:pt x="10731" y="26725"/>
                    <a:pt x="15343" y="31338"/>
                    <a:pt x="21032" y="31338"/>
                  </a:cubicBezTo>
                  <a:lnTo>
                    <a:pt x="21032" y="31338"/>
                  </a:lnTo>
                  <a:cubicBezTo>
                    <a:pt x="26801" y="31338"/>
                    <a:pt x="31476" y="26662"/>
                    <a:pt x="31476" y="20893"/>
                  </a:cubicBezTo>
                  <a:cubicBezTo>
                    <a:pt x="31479" y="15283"/>
                    <a:pt x="26932" y="10733"/>
                    <a:pt x="21322" y="10731"/>
                  </a:cubicBezTo>
                  <a:cubicBezTo>
                    <a:pt x="21225" y="10731"/>
                    <a:pt x="21129" y="10732"/>
                    <a:pt x="21032" y="107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78" name="Freeform: Shape 377">
              <a:extLst>
                <a:ext uri="{FF2B5EF4-FFF2-40B4-BE49-F238E27FC236}">
                  <a16:creationId xmlns:a16="http://schemas.microsoft.com/office/drawing/2014/main" id="{08940B3E-A2F1-4B7C-9A90-8A41F3450429}"/>
                </a:ext>
              </a:extLst>
            </p:cNvPr>
            <p:cNvSpPr/>
            <p:nvPr/>
          </p:nvSpPr>
          <p:spPr>
            <a:xfrm>
              <a:off x="5379752" y="6106768"/>
              <a:ext cx="42922" cy="42922"/>
            </a:xfrm>
            <a:custGeom>
              <a:avLst/>
              <a:gdLst>
                <a:gd name="connsiteX0" fmla="*/ 22319 w 42922"/>
                <a:gd name="connsiteY0" fmla="*/ 10732 h 42922"/>
                <a:gd name="connsiteX1" fmla="*/ 22319 w 42922"/>
                <a:gd name="connsiteY1" fmla="*/ 10732 h 42922"/>
                <a:gd name="connsiteX2" fmla="*/ 10732 w 42922"/>
                <a:gd name="connsiteY2" fmla="*/ 22034 h 42922"/>
                <a:gd name="connsiteX3" fmla="*/ 22034 w 42922"/>
                <a:gd name="connsiteY3" fmla="*/ 33622 h 42922"/>
                <a:gd name="connsiteX4" fmla="*/ 33622 w 42922"/>
                <a:gd name="connsiteY4" fmla="*/ 22321 h 42922"/>
                <a:gd name="connsiteX5" fmla="*/ 22321 w 42922"/>
                <a:gd name="connsiteY5" fmla="*/ 10732 h 42922"/>
                <a:gd name="connsiteX6" fmla="*/ 22319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19" y="10732"/>
                  </a:moveTo>
                  <a:lnTo>
                    <a:pt x="22319" y="10732"/>
                  </a:lnTo>
                  <a:cubicBezTo>
                    <a:pt x="15998" y="10653"/>
                    <a:pt x="10810" y="15713"/>
                    <a:pt x="10732" y="22034"/>
                  </a:cubicBezTo>
                  <a:cubicBezTo>
                    <a:pt x="10653" y="28356"/>
                    <a:pt x="15713" y="33543"/>
                    <a:pt x="22034" y="33622"/>
                  </a:cubicBezTo>
                  <a:cubicBezTo>
                    <a:pt x="28355" y="33701"/>
                    <a:pt x="33542" y="28640"/>
                    <a:pt x="33622" y="22321"/>
                  </a:cubicBezTo>
                  <a:cubicBezTo>
                    <a:pt x="33702" y="16000"/>
                    <a:pt x="28642" y="10812"/>
                    <a:pt x="22321" y="10732"/>
                  </a:cubicBezTo>
                  <a:cubicBezTo>
                    <a:pt x="22321" y="10732"/>
                    <a:pt x="22319" y="10732"/>
                    <a:pt x="22319"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79" name="Freeform: Shape 378">
              <a:extLst>
                <a:ext uri="{FF2B5EF4-FFF2-40B4-BE49-F238E27FC236}">
                  <a16:creationId xmlns:a16="http://schemas.microsoft.com/office/drawing/2014/main" id="{5724BAB5-211B-48DC-A1F7-7DCD2ABA1E8F}"/>
                </a:ext>
              </a:extLst>
            </p:cNvPr>
            <p:cNvSpPr/>
            <p:nvPr/>
          </p:nvSpPr>
          <p:spPr>
            <a:xfrm>
              <a:off x="5458299" y="6355004"/>
              <a:ext cx="42922" cy="42922"/>
            </a:xfrm>
            <a:custGeom>
              <a:avLst/>
              <a:gdLst>
                <a:gd name="connsiteX0" fmla="*/ 22892 w 42922"/>
                <a:gd name="connsiteY0" fmla="*/ 11160 h 42922"/>
                <a:gd name="connsiteX1" fmla="*/ 10731 w 42922"/>
                <a:gd name="connsiteY1" fmla="*/ 22892 h 42922"/>
                <a:gd name="connsiteX2" fmla="*/ 10731 w 42922"/>
                <a:gd name="connsiteY2" fmla="*/ 22892 h 42922"/>
                <a:gd name="connsiteX3" fmla="*/ 22892 w 42922"/>
                <a:gd name="connsiteY3" fmla="*/ 35053 h 42922"/>
                <a:gd name="connsiteX4" fmla="*/ 35053 w 42922"/>
                <a:gd name="connsiteY4" fmla="*/ 22892 h 42922"/>
                <a:gd name="connsiteX5" fmla="*/ 22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2" y="11160"/>
                  </a:moveTo>
                  <a:cubicBezTo>
                    <a:pt x="16309" y="11080"/>
                    <a:pt x="10887" y="16311"/>
                    <a:pt x="10731" y="22892"/>
                  </a:cubicBezTo>
                  <a:lnTo>
                    <a:pt x="10731" y="22892"/>
                  </a:ln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80" name="Freeform: Shape 379">
              <a:extLst>
                <a:ext uri="{FF2B5EF4-FFF2-40B4-BE49-F238E27FC236}">
                  <a16:creationId xmlns:a16="http://schemas.microsoft.com/office/drawing/2014/main" id="{F4A3DCE8-2A10-4E37-8098-BF6D462ED620}"/>
                </a:ext>
              </a:extLst>
            </p:cNvPr>
            <p:cNvSpPr/>
            <p:nvPr/>
          </p:nvSpPr>
          <p:spPr>
            <a:xfrm>
              <a:off x="5458577" y="6205633"/>
              <a:ext cx="42922" cy="42922"/>
            </a:xfrm>
            <a:custGeom>
              <a:avLst/>
              <a:gdLst>
                <a:gd name="connsiteX0" fmla="*/ 22900 w 42922"/>
                <a:gd name="connsiteY0" fmla="*/ 10731 h 42922"/>
                <a:gd name="connsiteX1" fmla="*/ 10739 w 42922"/>
                <a:gd name="connsiteY1" fmla="*/ 22892 h 42922"/>
                <a:gd name="connsiteX2" fmla="*/ 22034 w 42922"/>
                <a:gd name="connsiteY2" fmla="*/ 35046 h 42922"/>
                <a:gd name="connsiteX3" fmla="*/ 22471 w 42922"/>
                <a:gd name="connsiteY3" fmla="*/ 35053 h 42922"/>
                <a:gd name="connsiteX4" fmla="*/ 22471 w 42922"/>
                <a:gd name="connsiteY4" fmla="*/ 35053 h 42922"/>
                <a:gd name="connsiteX5" fmla="*/ 34632 w 42922"/>
                <a:gd name="connsiteY5" fmla="*/ 22892 h 42922"/>
                <a:gd name="connsiteX6" fmla="*/ 22471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900" y="10731"/>
                  </a:moveTo>
                  <a:cubicBezTo>
                    <a:pt x="16184" y="10731"/>
                    <a:pt x="10739" y="16176"/>
                    <a:pt x="10739" y="22892"/>
                  </a:cubicBezTo>
                  <a:cubicBezTo>
                    <a:pt x="10501" y="29367"/>
                    <a:pt x="15559" y="34809"/>
                    <a:pt x="22034" y="35046"/>
                  </a:cubicBezTo>
                  <a:cubicBezTo>
                    <a:pt x="22179" y="35050"/>
                    <a:pt x="22325" y="35053"/>
                    <a:pt x="22471" y="35053"/>
                  </a:cubicBezTo>
                  <a:lnTo>
                    <a:pt x="22471" y="35053"/>
                  </a:lnTo>
                  <a:cubicBezTo>
                    <a:pt x="29187" y="35053"/>
                    <a:pt x="34632" y="29608"/>
                    <a:pt x="34632" y="22892"/>
                  </a:cubicBezTo>
                  <a:cubicBezTo>
                    <a:pt x="34632" y="16176"/>
                    <a:pt x="29187" y="10731"/>
                    <a:pt x="2247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81" name="Freeform: Shape 380">
              <a:extLst>
                <a:ext uri="{FF2B5EF4-FFF2-40B4-BE49-F238E27FC236}">
                  <a16:creationId xmlns:a16="http://schemas.microsoft.com/office/drawing/2014/main" id="{5FF9306B-CFD8-4C03-A24C-7D89D552C536}"/>
                </a:ext>
              </a:extLst>
            </p:cNvPr>
            <p:cNvSpPr/>
            <p:nvPr/>
          </p:nvSpPr>
          <p:spPr>
            <a:xfrm>
              <a:off x="5458585" y="6105910"/>
              <a:ext cx="42922" cy="42922"/>
            </a:xfrm>
            <a:custGeom>
              <a:avLst/>
              <a:gdLst>
                <a:gd name="connsiteX0" fmla="*/ 24753 w 42922"/>
                <a:gd name="connsiteY0" fmla="*/ 10731 h 42922"/>
                <a:gd name="connsiteX1" fmla="*/ 22893 w 42922"/>
                <a:gd name="connsiteY1" fmla="*/ 10731 h 42922"/>
                <a:gd name="connsiteX2" fmla="*/ 10732 w 42922"/>
                <a:gd name="connsiteY2" fmla="*/ 22892 h 42922"/>
                <a:gd name="connsiteX3" fmla="*/ 10732 w 42922"/>
                <a:gd name="connsiteY3" fmla="*/ 24752 h 42922"/>
                <a:gd name="connsiteX4" fmla="*/ 22464 w 42922"/>
                <a:gd name="connsiteY4" fmla="*/ 36913 h 42922"/>
                <a:gd name="connsiteX5" fmla="*/ 22464 w 42922"/>
                <a:gd name="connsiteY5" fmla="*/ 36913 h 42922"/>
                <a:gd name="connsiteX6" fmla="*/ 34841 w 42922"/>
                <a:gd name="connsiteY6" fmla="*/ 23009 h 42922"/>
                <a:gd name="connsiteX7" fmla="*/ 24324 w 42922"/>
                <a:gd name="connsiteY7" fmla="*/ 1087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4753" y="10731"/>
                  </a:moveTo>
                  <a:lnTo>
                    <a:pt x="22893" y="10731"/>
                  </a:lnTo>
                  <a:cubicBezTo>
                    <a:pt x="16177" y="10731"/>
                    <a:pt x="10732" y="16176"/>
                    <a:pt x="10732" y="22892"/>
                  </a:cubicBezTo>
                  <a:lnTo>
                    <a:pt x="10732" y="24752"/>
                  </a:lnTo>
                  <a:cubicBezTo>
                    <a:pt x="10651" y="31335"/>
                    <a:pt x="15882" y="36757"/>
                    <a:pt x="22464" y="36913"/>
                  </a:cubicBezTo>
                  <a:lnTo>
                    <a:pt x="22464" y="36913"/>
                  </a:lnTo>
                  <a:cubicBezTo>
                    <a:pt x="29720" y="36491"/>
                    <a:pt x="35263" y="30268"/>
                    <a:pt x="34841" y="23009"/>
                  </a:cubicBezTo>
                  <a:cubicBezTo>
                    <a:pt x="34495" y="17046"/>
                    <a:pt x="30177" y="12064"/>
                    <a:pt x="24324" y="1087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82" name="Freeform: Shape 381">
              <a:extLst>
                <a:ext uri="{FF2B5EF4-FFF2-40B4-BE49-F238E27FC236}">
                  <a16:creationId xmlns:a16="http://schemas.microsoft.com/office/drawing/2014/main" id="{BFE2D70E-DEA9-4CA3-B02E-1037A9FC1021}"/>
                </a:ext>
              </a:extLst>
            </p:cNvPr>
            <p:cNvSpPr/>
            <p:nvPr/>
          </p:nvSpPr>
          <p:spPr>
            <a:xfrm>
              <a:off x="5457727" y="6305643"/>
              <a:ext cx="42922" cy="42922"/>
            </a:xfrm>
            <a:custGeom>
              <a:avLst/>
              <a:gdLst>
                <a:gd name="connsiteX0" fmla="*/ 35053 w 42922"/>
                <a:gd name="connsiteY0" fmla="*/ 22892 h 42922"/>
                <a:gd name="connsiteX1" fmla="*/ 22892 w 42922"/>
                <a:gd name="connsiteY1" fmla="*/ 35053 h 42922"/>
                <a:gd name="connsiteX2" fmla="*/ 10731 w 42922"/>
                <a:gd name="connsiteY2" fmla="*/ 22892 h 42922"/>
                <a:gd name="connsiteX3" fmla="*/ 22892 w 42922"/>
                <a:gd name="connsiteY3" fmla="*/ 10731 h 42922"/>
                <a:gd name="connsiteX4" fmla="*/ 35053 w 42922"/>
                <a:gd name="connsiteY4" fmla="*/ 22892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5053" y="22892"/>
                  </a:moveTo>
                  <a:cubicBezTo>
                    <a:pt x="35053" y="29609"/>
                    <a:pt x="29609" y="35053"/>
                    <a:pt x="22892" y="35053"/>
                  </a:cubicBezTo>
                  <a:cubicBezTo>
                    <a:pt x="16175" y="35053"/>
                    <a:pt x="10731" y="29609"/>
                    <a:pt x="10731" y="22892"/>
                  </a:cubicBezTo>
                  <a:cubicBezTo>
                    <a:pt x="10731" y="16175"/>
                    <a:pt x="16175" y="10731"/>
                    <a:pt x="22892" y="10731"/>
                  </a:cubicBezTo>
                  <a:cubicBezTo>
                    <a:pt x="29609" y="10731"/>
                    <a:pt x="35053" y="16175"/>
                    <a:pt x="35053" y="22892"/>
                  </a:cubicBezTo>
                  <a:close/>
                </a:path>
              </a:pathLst>
            </a:custGeom>
            <a:solidFill>
              <a:srgbClr val="00BCEB">
                <a:alpha val="81000"/>
              </a:srgbClr>
            </a:solidFill>
            <a:ln w="9525" cap="flat">
              <a:noFill/>
              <a:prstDash val="solid"/>
              <a:miter/>
            </a:ln>
          </p:spPr>
          <p:txBody>
            <a:bodyPr rtlCol="0" anchor="ctr"/>
            <a:lstStyle/>
            <a:p>
              <a:endParaRPr lang="en-US" dirty="0"/>
            </a:p>
          </p:txBody>
        </p:sp>
      </p:grpSp>
      <p:pic>
        <p:nvPicPr>
          <p:cNvPr id="81" name="Picture 80">
            <a:extLst>
              <a:ext uri="{FF2B5EF4-FFF2-40B4-BE49-F238E27FC236}">
                <a16:creationId xmlns:a16="http://schemas.microsoft.com/office/drawing/2014/main" id="{021E70DC-56A1-4870-895D-0D2D144D34E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774760" y="2990780"/>
            <a:ext cx="1330230" cy="1305087"/>
          </a:xfrm>
          <a:prstGeom prst="ellipse">
            <a:avLst/>
          </a:prstGeom>
        </p:spPr>
      </p:pic>
      <p:grpSp>
        <p:nvGrpSpPr>
          <p:cNvPr id="402" name="Graphic 75">
            <a:extLst>
              <a:ext uri="{FF2B5EF4-FFF2-40B4-BE49-F238E27FC236}">
                <a16:creationId xmlns:a16="http://schemas.microsoft.com/office/drawing/2014/main" id="{D973A48E-4BE7-4166-BDE6-4A9126A1E915}"/>
              </a:ext>
            </a:extLst>
          </p:cNvPr>
          <p:cNvGrpSpPr/>
          <p:nvPr/>
        </p:nvGrpSpPr>
        <p:grpSpPr>
          <a:xfrm>
            <a:off x="8901702" y="3867551"/>
            <a:ext cx="315804" cy="323167"/>
            <a:chOff x="4820236" y="1931698"/>
            <a:chExt cx="926552" cy="948156"/>
          </a:xfrm>
          <a:solidFill>
            <a:schemeClr val="accent3"/>
          </a:solidFill>
        </p:grpSpPr>
        <p:sp>
          <p:nvSpPr>
            <p:cNvPr id="403" name="Freeform: Shape 402">
              <a:extLst>
                <a:ext uri="{FF2B5EF4-FFF2-40B4-BE49-F238E27FC236}">
                  <a16:creationId xmlns:a16="http://schemas.microsoft.com/office/drawing/2014/main" id="{ACD3C8BE-9E27-437B-A6D4-A1C6F06277A9}"/>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endParaRPr lang="en-US" dirty="0"/>
            </a:p>
          </p:txBody>
        </p:sp>
        <p:sp>
          <p:nvSpPr>
            <p:cNvPr id="404" name="Freeform: Shape 403">
              <a:extLst>
                <a:ext uri="{FF2B5EF4-FFF2-40B4-BE49-F238E27FC236}">
                  <a16:creationId xmlns:a16="http://schemas.microsoft.com/office/drawing/2014/main" id="{B2580047-12CC-491D-98DF-1C7909B8684F}"/>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endParaRPr lang="en-US" dirty="0"/>
            </a:p>
          </p:txBody>
        </p:sp>
        <p:sp>
          <p:nvSpPr>
            <p:cNvPr id="405" name="Freeform: Shape 404">
              <a:extLst>
                <a:ext uri="{FF2B5EF4-FFF2-40B4-BE49-F238E27FC236}">
                  <a16:creationId xmlns:a16="http://schemas.microsoft.com/office/drawing/2014/main" id="{FD35F953-00E2-421D-8765-7BF16D12A317}"/>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endParaRPr lang="en-US" dirty="0"/>
            </a:p>
          </p:txBody>
        </p:sp>
        <p:sp>
          <p:nvSpPr>
            <p:cNvPr id="406" name="Freeform: Shape 405">
              <a:extLst>
                <a:ext uri="{FF2B5EF4-FFF2-40B4-BE49-F238E27FC236}">
                  <a16:creationId xmlns:a16="http://schemas.microsoft.com/office/drawing/2014/main" id="{64D6314A-BF44-4689-BCD0-A0E4DA0E6916}"/>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endParaRPr lang="en-US" dirty="0"/>
            </a:p>
          </p:txBody>
        </p:sp>
        <p:sp>
          <p:nvSpPr>
            <p:cNvPr id="407" name="Freeform: Shape 406">
              <a:extLst>
                <a:ext uri="{FF2B5EF4-FFF2-40B4-BE49-F238E27FC236}">
                  <a16:creationId xmlns:a16="http://schemas.microsoft.com/office/drawing/2014/main" id="{F36E3547-5333-4F2C-B9B3-5DD44CC8A40F}"/>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endParaRPr lang="en-US" dirty="0"/>
            </a:p>
          </p:txBody>
        </p:sp>
        <p:sp>
          <p:nvSpPr>
            <p:cNvPr id="408" name="Freeform: Shape 407">
              <a:extLst>
                <a:ext uri="{FF2B5EF4-FFF2-40B4-BE49-F238E27FC236}">
                  <a16:creationId xmlns:a16="http://schemas.microsoft.com/office/drawing/2014/main" id="{007A1EAE-F953-4D85-B626-5E716CC8B456}"/>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endParaRPr lang="en-US" dirty="0"/>
            </a:p>
          </p:txBody>
        </p:sp>
        <p:sp>
          <p:nvSpPr>
            <p:cNvPr id="409" name="Freeform: Shape 408">
              <a:extLst>
                <a:ext uri="{FF2B5EF4-FFF2-40B4-BE49-F238E27FC236}">
                  <a16:creationId xmlns:a16="http://schemas.microsoft.com/office/drawing/2014/main" id="{79B822AE-A9A2-4232-8855-131FB6B5AD71}"/>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endParaRPr lang="en-US" dirty="0"/>
            </a:p>
          </p:txBody>
        </p:sp>
        <p:sp>
          <p:nvSpPr>
            <p:cNvPr id="410" name="Freeform: Shape 409">
              <a:extLst>
                <a:ext uri="{FF2B5EF4-FFF2-40B4-BE49-F238E27FC236}">
                  <a16:creationId xmlns:a16="http://schemas.microsoft.com/office/drawing/2014/main" id="{20E42C87-9DF2-4353-A52E-099DF8103B41}"/>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endParaRPr lang="en-US" dirty="0"/>
            </a:p>
          </p:txBody>
        </p:sp>
        <p:sp>
          <p:nvSpPr>
            <p:cNvPr id="411" name="Freeform: Shape 410">
              <a:extLst>
                <a:ext uri="{FF2B5EF4-FFF2-40B4-BE49-F238E27FC236}">
                  <a16:creationId xmlns:a16="http://schemas.microsoft.com/office/drawing/2014/main" id="{B31E01FE-52D3-48D6-9111-73EB7C6D77C5}"/>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endParaRPr lang="en-US" dirty="0"/>
            </a:p>
          </p:txBody>
        </p:sp>
        <p:sp>
          <p:nvSpPr>
            <p:cNvPr id="412" name="Freeform: Shape 411">
              <a:extLst>
                <a:ext uri="{FF2B5EF4-FFF2-40B4-BE49-F238E27FC236}">
                  <a16:creationId xmlns:a16="http://schemas.microsoft.com/office/drawing/2014/main" id="{ADC3A9F6-F53A-4DAA-8E7D-3A6A827D1518}"/>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endParaRPr lang="en-US" dirty="0"/>
            </a:p>
          </p:txBody>
        </p:sp>
        <p:sp>
          <p:nvSpPr>
            <p:cNvPr id="413" name="Freeform: Shape 412">
              <a:extLst>
                <a:ext uri="{FF2B5EF4-FFF2-40B4-BE49-F238E27FC236}">
                  <a16:creationId xmlns:a16="http://schemas.microsoft.com/office/drawing/2014/main" id="{4F19FD71-CA65-4D5F-AE2C-E5F3402AD5F9}"/>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endParaRPr lang="en-US" dirty="0"/>
            </a:p>
          </p:txBody>
        </p:sp>
        <p:sp>
          <p:nvSpPr>
            <p:cNvPr id="414" name="Freeform: Shape 413">
              <a:extLst>
                <a:ext uri="{FF2B5EF4-FFF2-40B4-BE49-F238E27FC236}">
                  <a16:creationId xmlns:a16="http://schemas.microsoft.com/office/drawing/2014/main" id="{19645B0D-3BDB-45EC-B931-3C89DFEFB90D}"/>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endParaRPr lang="en-US" dirty="0"/>
            </a:p>
          </p:txBody>
        </p:sp>
        <p:sp>
          <p:nvSpPr>
            <p:cNvPr id="415" name="Freeform: Shape 414">
              <a:extLst>
                <a:ext uri="{FF2B5EF4-FFF2-40B4-BE49-F238E27FC236}">
                  <a16:creationId xmlns:a16="http://schemas.microsoft.com/office/drawing/2014/main" id="{5AABF291-1A83-44BD-8882-BEE6224907D8}"/>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endParaRPr lang="en-US" dirty="0"/>
            </a:p>
          </p:txBody>
        </p:sp>
        <p:sp>
          <p:nvSpPr>
            <p:cNvPr id="416" name="Freeform: Shape 415">
              <a:extLst>
                <a:ext uri="{FF2B5EF4-FFF2-40B4-BE49-F238E27FC236}">
                  <a16:creationId xmlns:a16="http://schemas.microsoft.com/office/drawing/2014/main" id="{3B4DD9FE-5529-4DF8-8EF6-A8F2584AFC25}"/>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endParaRPr lang="en-US" dirty="0"/>
            </a:p>
          </p:txBody>
        </p:sp>
        <p:sp>
          <p:nvSpPr>
            <p:cNvPr id="417" name="Freeform: Shape 416">
              <a:extLst>
                <a:ext uri="{FF2B5EF4-FFF2-40B4-BE49-F238E27FC236}">
                  <a16:creationId xmlns:a16="http://schemas.microsoft.com/office/drawing/2014/main" id="{EAF2671C-D5DC-40CF-B206-4F88B8459E72}"/>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endParaRPr lang="en-US" dirty="0"/>
            </a:p>
          </p:txBody>
        </p:sp>
        <p:sp>
          <p:nvSpPr>
            <p:cNvPr id="418" name="Freeform: Shape 417">
              <a:extLst>
                <a:ext uri="{FF2B5EF4-FFF2-40B4-BE49-F238E27FC236}">
                  <a16:creationId xmlns:a16="http://schemas.microsoft.com/office/drawing/2014/main" id="{57555EB3-A6E0-48CA-9F24-A6664C04F2DB}"/>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endParaRPr lang="en-US" dirty="0"/>
            </a:p>
          </p:txBody>
        </p:sp>
        <p:sp>
          <p:nvSpPr>
            <p:cNvPr id="419" name="Freeform: Shape 418">
              <a:extLst>
                <a:ext uri="{FF2B5EF4-FFF2-40B4-BE49-F238E27FC236}">
                  <a16:creationId xmlns:a16="http://schemas.microsoft.com/office/drawing/2014/main" id="{65664DEF-57B7-4F95-B142-392F9A1A3F53}"/>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endParaRPr lang="en-US" dirty="0"/>
            </a:p>
          </p:txBody>
        </p:sp>
        <p:sp>
          <p:nvSpPr>
            <p:cNvPr id="420" name="Freeform: Shape 419">
              <a:extLst>
                <a:ext uri="{FF2B5EF4-FFF2-40B4-BE49-F238E27FC236}">
                  <a16:creationId xmlns:a16="http://schemas.microsoft.com/office/drawing/2014/main" id="{42E4657A-067D-45AD-B241-8F4E0FC6DA99}"/>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endParaRPr lang="en-US" dirty="0"/>
            </a:p>
          </p:txBody>
        </p:sp>
      </p:grpSp>
      <p:grpSp>
        <p:nvGrpSpPr>
          <p:cNvPr id="436" name="Group 435">
            <a:extLst>
              <a:ext uri="{FF2B5EF4-FFF2-40B4-BE49-F238E27FC236}">
                <a16:creationId xmlns:a16="http://schemas.microsoft.com/office/drawing/2014/main" id="{0BF5DD36-7EF5-4A59-915E-1CE5A4DA9AC3}"/>
              </a:ext>
            </a:extLst>
          </p:cNvPr>
          <p:cNvGrpSpPr/>
          <p:nvPr/>
        </p:nvGrpSpPr>
        <p:grpSpPr>
          <a:xfrm>
            <a:off x="9331376" y="3791301"/>
            <a:ext cx="705060" cy="150880"/>
            <a:chOff x="2736154" y="1943610"/>
            <a:chExt cx="1022270" cy="218761"/>
          </a:xfrm>
        </p:grpSpPr>
        <p:sp>
          <p:nvSpPr>
            <p:cNvPr id="437" name="Freeform: Shape 436">
              <a:extLst>
                <a:ext uri="{FF2B5EF4-FFF2-40B4-BE49-F238E27FC236}">
                  <a16:creationId xmlns:a16="http://schemas.microsoft.com/office/drawing/2014/main" id="{6F2CC39F-2727-4C43-9A8D-A0BA2095D3CA}"/>
                </a:ext>
              </a:extLst>
            </p:cNvPr>
            <p:cNvSpPr/>
            <p:nvPr/>
          </p:nvSpPr>
          <p:spPr>
            <a:xfrm>
              <a:off x="3114587" y="1943610"/>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rgbClr val="74BF4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38" name="Freeform: Shape 437">
              <a:extLst>
                <a:ext uri="{FF2B5EF4-FFF2-40B4-BE49-F238E27FC236}">
                  <a16:creationId xmlns:a16="http://schemas.microsoft.com/office/drawing/2014/main" id="{4BFBD285-C0EA-4686-99D0-22FB2B470C22}"/>
                </a:ext>
              </a:extLst>
            </p:cNvPr>
            <p:cNvSpPr/>
            <p:nvPr/>
          </p:nvSpPr>
          <p:spPr>
            <a:xfrm>
              <a:off x="2988395" y="2011857"/>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rgbClr val="74BF4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39" name="Freeform: Shape 438">
              <a:extLst>
                <a:ext uri="{FF2B5EF4-FFF2-40B4-BE49-F238E27FC236}">
                  <a16:creationId xmlns:a16="http://schemas.microsoft.com/office/drawing/2014/main" id="{57E31BAB-87E2-4512-8E65-06390A5D93BA}"/>
                </a:ext>
              </a:extLst>
            </p:cNvPr>
            <p:cNvSpPr/>
            <p:nvPr/>
          </p:nvSpPr>
          <p:spPr>
            <a:xfrm>
              <a:off x="2862346" y="2079960"/>
              <a:ext cx="643837" cy="14307"/>
            </a:xfrm>
            <a:custGeom>
              <a:avLst/>
              <a:gdLst>
                <a:gd name="connsiteX0" fmla="*/ 8048 w 643836"/>
                <a:gd name="connsiteY0" fmla="*/ 8048 h 14307"/>
                <a:gd name="connsiteX1" fmla="*/ 646019 w 643836"/>
                <a:gd name="connsiteY1" fmla="*/ 8048 h 14307"/>
              </a:gdLst>
              <a:ahLst/>
              <a:cxnLst>
                <a:cxn ang="0">
                  <a:pos x="connsiteX0" y="connsiteY0"/>
                </a:cxn>
                <a:cxn ang="0">
                  <a:pos x="connsiteX1" y="connsiteY1"/>
                </a:cxn>
              </a:cxnLst>
              <a:rect l="l" t="t" r="r" b="b"/>
              <a:pathLst>
                <a:path w="643836" h="14307">
                  <a:moveTo>
                    <a:pt x="8048" y="8048"/>
                  </a:moveTo>
                  <a:lnTo>
                    <a:pt x="646019" y="8048"/>
                  </a:lnTo>
                </a:path>
              </a:pathLst>
            </a:custGeom>
            <a:ln w="7144" cap="flat">
              <a:solidFill>
                <a:srgbClr val="74BF4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40" name="Freeform: Shape 439">
              <a:extLst>
                <a:ext uri="{FF2B5EF4-FFF2-40B4-BE49-F238E27FC236}">
                  <a16:creationId xmlns:a16="http://schemas.microsoft.com/office/drawing/2014/main" id="{6FA2B367-6773-4A01-8D74-65E601811E53}"/>
                </a:ext>
              </a:extLst>
            </p:cNvPr>
            <p:cNvSpPr/>
            <p:nvPr/>
          </p:nvSpPr>
          <p:spPr>
            <a:xfrm>
              <a:off x="2736154" y="2148064"/>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rgbClr val="74BF4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56" name="Oval 55">
            <a:extLst>
              <a:ext uri="{FF2B5EF4-FFF2-40B4-BE49-F238E27FC236}">
                <a16:creationId xmlns:a16="http://schemas.microsoft.com/office/drawing/2014/main" id="{19877BC2-BE29-4360-BF85-0D217E205BEC}"/>
              </a:ext>
            </a:extLst>
          </p:cNvPr>
          <p:cNvSpPr/>
          <p:nvPr/>
        </p:nvSpPr>
        <p:spPr>
          <a:xfrm>
            <a:off x="8416084" y="2510892"/>
            <a:ext cx="1805678" cy="1805678"/>
          </a:xfrm>
          <a:prstGeom prst="ellipse">
            <a:avLst/>
          </a:prstGeom>
          <a:no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19">
            <a:extLst>
              <a:ext uri="{FF2B5EF4-FFF2-40B4-BE49-F238E27FC236}">
                <a16:creationId xmlns:a16="http://schemas.microsoft.com/office/drawing/2014/main" id="{EFE8178D-8AC9-4EF1-A4E3-21C56331B6CB}"/>
              </a:ext>
            </a:extLst>
          </p:cNvPr>
          <p:cNvGrpSpPr/>
          <p:nvPr/>
        </p:nvGrpSpPr>
        <p:grpSpPr>
          <a:xfrm>
            <a:off x="8975855" y="1959401"/>
            <a:ext cx="686136" cy="686136"/>
            <a:chOff x="987706" y="2608489"/>
            <a:chExt cx="1038422" cy="1038422"/>
          </a:xfrm>
        </p:grpSpPr>
        <p:sp>
          <p:nvSpPr>
            <p:cNvPr id="22" name="Oval 21">
              <a:extLst>
                <a:ext uri="{FF2B5EF4-FFF2-40B4-BE49-F238E27FC236}">
                  <a16:creationId xmlns:a16="http://schemas.microsoft.com/office/drawing/2014/main" id="{0D7BC371-4585-43AC-BFAB-F79742134EBF}"/>
                </a:ext>
              </a:extLst>
            </p:cNvPr>
            <p:cNvSpPr/>
            <p:nvPr/>
          </p:nvSpPr>
          <p:spPr>
            <a:xfrm>
              <a:off x="987706" y="2608489"/>
              <a:ext cx="1038422" cy="1038422"/>
            </a:xfrm>
            <a:prstGeom prst="ellipse">
              <a:avLst/>
            </a:prstGeom>
            <a:pattFill prst="wdUpDiag">
              <a:fgClr>
                <a:srgbClr val="1E4471"/>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9" name="Oval 18">
              <a:extLst>
                <a:ext uri="{FF2B5EF4-FFF2-40B4-BE49-F238E27FC236}">
                  <a16:creationId xmlns:a16="http://schemas.microsoft.com/office/drawing/2014/main" id="{342BE23C-96C8-4617-94A3-12FC4657646E}"/>
                </a:ext>
              </a:extLst>
            </p:cNvPr>
            <p:cNvSpPr/>
            <p:nvPr/>
          </p:nvSpPr>
          <p:spPr>
            <a:xfrm>
              <a:off x="1097280" y="2718063"/>
              <a:ext cx="928848" cy="928848"/>
            </a:xfrm>
            <a:prstGeom prst="ellipse">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solidFill>
                    <a:schemeClr val="bg2"/>
                  </a:solidFill>
                </a:rPr>
                <a:t>4</a:t>
              </a:r>
            </a:p>
          </p:txBody>
        </p:sp>
      </p:grpSp>
      <p:sp>
        <p:nvSpPr>
          <p:cNvPr id="51" name="Rectangle 50">
            <a:extLst>
              <a:ext uri="{FF2B5EF4-FFF2-40B4-BE49-F238E27FC236}">
                <a16:creationId xmlns:a16="http://schemas.microsoft.com/office/drawing/2014/main" id="{2DF6D593-E2F4-494C-85F9-3D331989072D}"/>
              </a:ext>
            </a:extLst>
          </p:cNvPr>
          <p:cNvSpPr/>
          <p:nvPr/>
        </p:nvSpPr>
        <p:spPr>
          <a:xfrm>
            <a:off x="8158078" y="4532641"/>
            <a:ext cx="2321690" cy="830997"/>
          </a:xfrm>
          <a:prstGeom prst="rect">
            <a:avLst/>
          </a:prstGeom>
        </p:spPr>
        <p:txBody>
          <a:bodyPr wrap="square">
            <a:spAutoFit/>
          </a:bodyPr>
          <a:lstStyle/>
          <a:p>
            <a:pPr algn="ctr"/>
            <a:r>
              <a:rPr lang="en-US" sz="1600" dirty="0">
                <a:solidFill>
                  <a:schemeClr val="bg1"/>
                </a:solidFill>
              </a:rPr>
              <a:t>Facilitate user access while minimizing shadow IT</a:t>
            </a:r>
          </a:p>
        </p:txBody>
      </p:sp>
      <p:grpSp>
        <p:nvGrpSpPr>
          <p:cNvPr id="68" name="Group 67">
            <a:extLst>
              <a:ext uri="{FF2B5EF4-FFF2-40B4-BE49-F238E27FC236}">
                <a16:creationId xmlns:a16="http://schemas.microsoft.com/office/drawing/2014/main" id="{E6961EDB-DEED-4D18-BA37-D39E0ACEA840}"/>
              </a:ext>
            </a:extLst>
          </p:cNvPr>
          <p:cNvGrpSpPr/>
          <p:nvPr/>
        </p:nvGrpSpPr>
        <p:grpSpPr>
          <a:xfrm>
            <a:off x="10607886" y="5385397"/>
            <a:ext cx="697419" cy="799258"/>
            <a:chOff x="14183664" y="221508"/>
            <a:chExt cx="1531860" cy="1755547"/>
          </a:xfrm>
        </p:grpSpPr>
        <p:sp>
          <p:nvSpPr>
            <p:cNvPr id="69" name="Oval 68">
              <a:extLst>
                <a:ext uri="{FF2B5EF4-FFF2-40B4-BE49-F238E27FC236}">
                  <a16:creationId xmlns:a16="http://schemas.microsoft.com/office/drawing/2014/main" id="{5794C179-9736-48FB-BCCE-0E27B669A93D}"/>
                </a:ext>
              </a:extLst>
            </p:cNvPr>
            <p:cNvSpPr/>
            <p:nvPr/>
          </p:nvSpPr>
          <p:spPr>
            <a:xfrm>
              <a:off x="14183664" y="1637009"/>
              <a:ext cx="246724" cy="246724"/>
            </a:xfrm>
            <a:prstGeom prst="ellipse">
              <a:avLst/>
            </a:prstGeom>
            <a:solidFill>
              <a:srgbClr val="74BF4B"/>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70" name="Freeform: Shape 69">
              <a:extLst>
                <a:ext uri="{FF2B5EF4-FFF2-40B4-BE49-F238E27FC236}">
                  <a16:creationId xmlns:a16="http://schemas.microsoft.com/office/drawing/2014/main" id="{5EE4D581-FB05-4E04-9D40-410EB950932D}"/>
                </a:ext>
              </a:extLst>
            </p:cNvPr>
            <p:cNvSpPr/>
            <p:nvPr/>
          </p:nvSpPr>
          <p:spPr>
            <a:xfrm>
              <a:off x="15282156" y="221508"/>
              <a:ext cx="433368" cy="433368"/>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rgbClr val="74BF4B">
                <a:lumMod val="75000"/>
              </a:srgbClr>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1" name="Rectangle: Rounded Corners 70">
              <a:extLst>
                <a:ext uri="{FF2B5EF4-FFF2-40B4-BE49-F238E27FC236}">
                  <a16:creationId xmlns:a16="http://schemas.microsoft.com/office/drawing/2014/main" id="{804D5D2F-6707-429B-96F3-9E9DA85F8642}"/>
                </a:ext>
              </a:extLst>
            </p:cNvPr>
            <p:cNvSpPr/>
            <p:nvPr/>
          </p:nvSpPr>
          <p:spPr>
            <a:xfrm>
              <a:off x="15434070" y="403220"/>
              <a:ext cx="129540" cy="1463040"/>
            </a:xfrm>
            <a:prstGeom prst="roundRect">
              <a:avLst>
                <a:gd name="adj" fmla="val 50000"/>
              </a:avLst>
            </a:prstGeom>
            <a:solidFill>
              <a:srgbClr val="74BF4B"/>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72" name="Freeform: Shape 71">
              <a:extLst>
                <a:ext uri="{FF2B5EF4-FFF2-40B4-BE49-F238E27FC236}">
                  <a16:creationId xmlns:a16="http://schemas.microsoft.com/office/drawing/2014/main" id="{D3EF2C49-A22A-4FBD-8E22-577E51E8E34B}"/>
                </a:ext>
              </a:extLst>
            </p:cNvPr>
            <p:cNvSpPr/>
            <p:nvPr/>
          </p:nvSpPr>
          <p:spPr>
            <a:xfrm>
              <a:off x="15282156" y="1543687"/>
              <a:ext cx="433368" cy="433368"/>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rgbClr val="74BF4B"/>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3" name="Rectangle: Rounded Corners 72">
              <a:extLst>
                <a:ext uri="{FF2B5EF4-FFF2-40B4-BE49-F238E27FC236}">
                  <a16:creationId xmlns:a16="http://schemas.microsoft.com/office/drawing/2014/main" id="{4FD5E7CA-ACE0-4D31-8065-A545CE40124C}"/>
                </a:ext>
              </a:extLst>
            </p:cNvPr>
            <p:cNvSpPr/>
            <p:nvPr/>
          </p:nvSpPr>
          <p:spPr>
            <a:xfrm>
              <a:off x="14296386" y="1696363"/>
              <a:ext cx="1184910" cy="128016"/>
            </a:xfrm>
            <a:prstGeom prst="roundRect">
              <a:avLst>
                <a:gd name="adj" fmla="val 50000"/>
              </a:avLst>
            </a:prstGeom>
            <a:solidFill>
              <a:srgbClr val="74BF4B">
                <a:lumMod val="75000"/>
              </a:srgbClr>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74" name="Oval 73">
              <a:extLst>
                <a:ext uri="{FF2B5EF4-FFF2-40B4-BE49-F238E27FC236}">
                  <a16:creationId xmlns:a16="http://schemas.microsoft.com/office/drawing/2014/main" id="{217B97BE-8A93-4DE8-A7A3-CFE52B29FFDD}"/>
                </a:ext>
              </a:extLst>
            </p:cNvPr>
            <p:cNvSpPr/>
            <p:nvPr/>
          </p:nvSpPr>
          <p:spPr>
            <a:xfrm>
              <a:off x="15375478" y="1637009"/>
              <a:ext cx="246724" cy="246724"/>
            </a:xfrm>
            <a:prstGeom prst="ellipse">
              <a:avLst/>
            </a:prstGeom>
            <a:solidFill>
              <a:srgbClr val="74BF4B"/>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cxnSp>
        <p:nvCxnSpPr>
          <p:cNvPr id="75" name="Straight Connector 74">
            <a:extLst>
              <a:ext uri="{FF2B5EF4-FFF2-40B4-BE49-F238E27FC236}">
                <a16:creationId xmlns:a16="http://schemas.microsoft.com/office/drawing/2014/main" id="{02217D5F-393E-41ED-871A-A1184C2CE57F}"/>
              </a:ext>
            </a:extLst>
          </p:cNvPr>
          <p:cNvCxnSpPr>
            <a:cxnSpLocks/>
            <a:endCxn id="69" idx="2"/>
          </p:cNvCxnSpPr>
          <p:nvPr/>
        </p:nvCxnSpPr>
        <p:spPr>
          <a:xfrm flipV="1">
            <a:off x="0" y="6086004"/>
            <a:ext cx="10607886"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pic>
        <p:nvPicPr>
          <p:cNvPr id="453" name="Picture 452" descr="A group of people posing for a photo&#10;&#10;Description automatically generated">
            <a:extLst>
              <a:ext uri="{FF2B5EF4-FFF2-40B4-BE49-F238E27FC236}">
                <a16:creationId xmlns:a16="http://schemas.microsoft.com/office/drawing/2014/main" id="{5995DE94-8955-4066-9184-0C1184DE10B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60110" y="2830774"/>
            <a:ext cx="1147017" cy="1479700"/>
          </a:xfrm>
          <a:custGeom>
            <a:avLst/>
            <a:gdLst>
              <a:gd name="connsiteX0" fmla="*/ 0 w 1147017"/>
              <a:gd name="connsiteY0" fmla="*/ 0 h 1479700"/>
              <a:gd name="connsiteX1" fmla="*/ 1147017 w 1147017"/>
              <a:gd name="connsiteY1" fmla="*/ 0 h 1479700"/>
              <a:gd name="connsiteX2" fmla="*/ 1147017 w 1147017"/>
              <a:gd name="connsiteY2" fmla="*/ 1297292 h 1479700"/>
              <a:gd name="connsiteX3" fmla="*/ 1112817 w 1147017"/>
              <a:gd name="connsiteY3" fmla="*/ 1325509 h 1479700"/>
              <a:gd name="connsiteX4" fmla="*/ 608031 w 1147017"/>
              <a:gd name="connsiteY4" fmla="*/ 1479700 h 1479700"/>
              <a:gd name="connsiteX5" fmla="*/ 103245 w 1147017"/>
              <a:gd name="connsiteY5" fmla="*/ 1325509 h 1479700"/>
              <a:gd name="connsiteX6" fmla="*/ 0 w 1147017"/>
              <a:gd name="connsiteY6" fmla="*/ 1240325 h 1479700"/>
              <a:gd name="connsiteX7" fmla="*/ 0 w 1147017"/>
              <a:gd name="connsiteY7" fmla="*/ 0 h 147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7017" h="1479700">
                <a:moveTo>
                  <a:pt x="0" y="0"/>
                </a:moveTo>
                <a:lnTo>
                  <a:pt x="1147017" y="0"/>
                </a:lnTo>
                <a:lnTo>
                  <a:pt x="1147017" y="1297292"/>
                </a:lnTo>
                <a:lnTo>
                  <a:pt x="1112817" y="1325509"/>
                </a:lnTo>
                <a:cubicBezTo>
                  <a:pt x="968723" y="1422858"/>
                  <a:pt x="795015" y="1479700"/>
                  <a:pt x="608031" y="1479700"/>
                </a:cubicBezTo>
                <a:cubicBezTo>
                  <a:pt x="421047" y="1479700"/>
                  <a:pt x="247340" y="1422858"/>
                  <a:pt x="103245" y="1325509"/>
                </a:cubicBezTo>
                <a:lnTo>
                  <a:pt x="0" y="1240325"/>
                </a:lnTo>
                <a:lnTo>
                  <a:pt x="0" y="0"/>
                </a:lnTo>
                <a:close/>
              </a:path>
            </a:pathLst>
          </a:custGeom>
        </p:spPr>
      </p:pic>
      <p:sp>
        <p:nvSpPr>
          <p:cNvPr id="473" name="Freeform 84">
            <a:extLst>
              <a:ext uri="{FF2B5EF4-FFF2-40B4-BE49-F238E27FC236}">
                <a16:creationId xmlns:a16="http://schemas.microsoft.com/office/drawing/2014/main" id="{40CF064D-9B66-4EE4-B1D4-26013C10F448}"/>
              </a:ext>
            </a:extLst>
          </p:cNvPr>
          <p:cNvSpPr>
            <a:spLocks/>
          </p:cNvSpPr>
          <p:nvPr/>
        </p:nvSpPr>
        <p:spPr bwMode="auto">
          <a:xfrm>
            <a:off x="991245" y="3505548"/>
            <a:ext cx="1222538" cy="160993"/>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4 h 46"/>
              <a:gd name="T46" fmla="*/ 355 w 358"/>
              <a:gd name="T47" fmla="*/ 41 h 46"/>
              <a:gd name="T48" fmla="*/ 342 w 358"/>
              <a:gd name="T49" fmla="*/ 36 h 46"/>
              <a:gd name="T50" fmla="*/ 327 w 358"/>
              <a:gd name="T51" fmla="*/ 14 h 46"/>
              <a:gd name="T52" fmla="*/ 305 w 358"/>
              <a:gd name="T53" fmla="*/ 1 h 46"/>
              <a:gd name="T54" fmla="*/ 288 w 358"/>
              <a:gd name="T55" fmla="*/ 8 h 46"/>
              <a:gd name="T56" fmla="*/ 273 w 358"/>
              <a:gd name="T57" fmla="*/ 30 h 46"/>
              <a:gd name="T58" fmla="*/ 254 w 358"/>
              <a:gd name="T59" fmla="*/ 41 h 46"/>
              <a:gd name="T60" fmla="*/ 241 w 358"/>
              <a:gd name="T61" fmla="*/ 36 h 46"/>
              <a:gd name="T62" fmla="*/ 226 w 358"/>
              <a:gd name="T63" fmla="*/ 14 h 46"/>
              <a:gd name="T64" fmla="*/ 204 w 358"/>
              <a:gd name="T65" fmla="*/ 1 h 46"/>
              <a:gd name="T66" fmla="*/ 187 w 358"/>
              <a:gd name="T67" fmla="*/ 8 h 46"/>
              <a:gd name="T68" fmla="*/ 172 w 358"/>
              <a:gd name="T69" fmla="*/ 30 h 46"/>
              <a:gd name="T70" fmla="*/ 154 w 358"/>
              <a:gd name="T71" fmla="*/ 41 h 46"/>
              <a:gd name="T72" fmla="*/ 140 w 358"/>
              <a:gd name="T73" fmla="*/ 36 h 46"/>
              <a:gd name="T74" fmla="*/ 126 w 358"/>
              <a:gd name="T75" fmla="*/ 14 h 46"/>
              <a:gd name="T76" fmla="*/ 103 w 358"/>
              <a:gd name="T77" fmla="*/ 1 h 46"/>
              <a:gd name="T78" fmla="*/ 87 w 358"/>
              <a:gd name="T79" fmla="*/ 8 h 46"/>
              <a:gd name="T80" fmla="*/ 72 w 358"/>
              <a:gd name="T81" fmla="*/ 30 h 46"/>
              <a:gd name="T82" fmla="*/ 53 w 358"/>
              <a:gd name="T83" fmla="*/ 41 h 46"/>
              <a:gd name="T84" fmla="*/ 40 w 358"/>
              <a:gd name="T85" fmla="*/ 36 h 46"/>
              <a:gd name="T86" fmla="*/ 25 w 358"/>
              <a:gd name="T87" fmla="*/ 14 h 46"/>
              <a:gd name="T88" fmla="*/ 3 w 358"/>
              <a:gd name="T89" fmla="*/ 1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5"/>
                  <a:pt x="31" y="32"/>
                </a:cubicBezTo>
                <a:cubicBezTo>
                  <a:pt x="36" y="40"/>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5"/>
                  <a:pt x="131" y="32"/>
                </a:cubicBezTo>
                <a:cubicBezTo>
                  <a:pt x="137" y="40"/>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5"/>
                  <a:pt x="232" y="32"/>
                </a:cubicBezTo>
                <a:cubicBezTo>
                  <a:pt x="237" y="40"/>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5"/>
                  <a:pt x="333" y="32"/>
                </a:cubicBezTo>
                <a:cubicBezTo>
                  <a:pt x="338" y="40"/>
                  <a:pt x="345" y="46"/>
                  <a:pt x="355" y="46"/>
                </a:cubicBezTo>
                <a:cubicBezTo>
                  <a:pt x="356" y="46"/>
                  <a:pt x="358" y="45"/>
                  <a:pt x="358" y="44"/>
                </a:cubicBezTo>
                <a:cubicBezTo>
                  <a:pt x="358" y="43"/>
                  <a:pt x="356" y="41"/>
                  <a:pt x="355" y="41"/>
                </a:cubicBezTo>
                <a:cubicBezTo>
                  <a:pt x="350" y="41"/>
                  <a:pt x="346" y="39"/>
                  <a:pt x="342" y="36"/>
                </a:cubicBezTo>
                <a:cubicBezTo>
                  <a:pt x="336" y="30"/>
                  <a:pt x="332" y="22"/>
                  <a:pt x="327" y="14"/>
                </a:cubicBezTo>
                <a:cubicBezTo>
                  <a:pt x="322" y="7"/>
                  <a:pt x="315" y="0"/>
                  <a:pt x="305" y="1"/>
                </a:cubicBezTo>
                <a:cubicBezTo>
                  <a:pt x="298" y="0"/>
                  <a:pt x="292" y="3"/>
                  <a:pt x="288" y="8"/>
                </a:cubicBezTo>
                <a:cubicBezTo>
                  <a:pt x="282" y="14"/>
                  <a:pt x="278" y="23"/>
                  <a:pt x="273" y="30"/>
                </a:cubicBezTo>
                <a:cubicBezTo>
                  <a:pt x="268" y="37"/>
                  <a:pt x="263" y="41"/>
                  <a:pt x="254" y="41"/>
                </a:cubicBezTo>
                <a:cubicBezTo>
                  <a:pt x="249" y="41"/>
                  <a:pt x="245" y="39"/>
                  <a:pt x="241" y="36"/>
                </a:cubicBezTo>
                <a:cubicBezTo>
                  <a:pt x="236" y="30"/>
                  <a:pt x="232" y="22"/>
                  <a:pt x="226" y="14"/>
                </a:cubicBezTo>
                <a:cubicBezTo>
                  <a:pt x="221" y="7"/>
                  <a:pt x="215" y="0"/>
                  <a:pt x="204" y="1"/>
                </a:cubicBezTo>
                <a:cubicBezTo>
                  <a:pt x="197" y="0"/>
                  <a:pt x="192" y="3"/>
                  <a:pt x="187" y="8"/>
                </a:cubicBezTo>
                <a:cubicBezTo>
                  <a:pt x="181" y="14"/>
                  <a:pt x="177" y="23"/>
                  <a:pt x="172" y="30"/>
                </a:cubicBezTo>
                <a:cubicBezTo>
                  <a:pt x="167" y="37"/>
                  <a:pt x="162" y="41"/>
                  <a:pt x="154" y="41"/>
                </a:cubicBezTo>
                <a:cubicBezTo>
                  <a:pt x="148" y="41"/>
                  <a:pt x="144" y="39"/>
                  <a:pt x="140" y="36"/>
                </a:cubicBezTo>
                <a:cubicBezTo>
                  <a:pt x="135" y="30"/>
                  <a:pt x="131" y="22"/>
                  <a:pt x="126" y="14"/>
                </a:cubicBezTo>
                <a:cubicBezTo>
                  <a:pt x="121" y="7"/>
                  <a:pt x="114" y="0"/>
                  <a:pt x="103" y="1"/>
                </a:cubicBezTo>
                <a:cubicBezTo>
                  <a:pt x="96" y="0"/>
                  <a:pt x="91" y="3"/>
                  <a:pt x="87" y="8"/>
                </a:cubicBezTo>
                <a:cubicBezTo>
                  <a:pt x="81" y="14"/>
                  <a:pt x="76" y="23"/>
                  <a:pt x="72" y="30"/>
                </a:cubicBezTo>
                <a:cubicBezTo>
                  <a:pt x="67" y="37"/>
                  <a:pt x="61" y="41"/>
                  <a:pt x="53" y="41"/>
                </a:cubicBezTo>
                <a:cubicBezTo>
                  <a:pt x="48" y="41"/>
                  <a:pt x="44" y="39"/>
                  <a:pt x="40" y="36"/>
                </a:cubicBezTo>
                <a:cubicBezTo>
                  <a:pt x="34" y="30"/>
                  <a:pt x="30" y="22"/>
                  <a:pt x="25" y="14"/>
                </a:cubicBezTo>
                <a:cubicBezTo>
                  <a:pt x="20" y="7"/>
                  <a:pt x="13" y="0"/>
                  <a:pt x="3" y="1"/>
                </a:cubicBezTo>
                <a:cubicBezTo>
                  <a:pt x="2" y="1"/>
                  <a:pt x="0" y="2"/>
                  <a:pt x="0" y="3"/>
                </a:cubicBezTo>
                <a:cubicBezTo>
                  <a:pt x="0" y="4"/>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4" name="Freeform 85">
            <a:extLst>
              <a:ext uri="{FF2B5EF4-FFF2-40B4-BE49-F238E27FC236}">
                <a16:creationId xmlns:a16="http://schemas.microsoft.com/office/drawing/2014/main" id="{27F73025-E72F-4491-AC43-FE4985476EF4}"/>
              </a:ext>
            </a:extLst>
          </p:cNvPr>
          <p:cNvSpPr>
            <a:spLocks/>
          </p:cNvSpPr>
          <p:nvPr/>
        </p:nvSpPr>
        <p:spPr bwMode="auto">
          <a:xfrm>
            <a:off x="991245" y="3656479"/>
            <a:ext cx="1222538" cy="160993"/>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4"/>
                  <a:pt x="31" y="32"/>
                </a:cubicBezTo>
                <a:cubicBezTo>
                  <a:pt x="36" y="39"/>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4"/>
                  <a:pt x="131" y="32"/>
                </a:cubicBezTo>
                <a:cubicBezTo>
                  <a:pt x="137" y="39"/>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4"/>
                  <a:pt x="232" y="32"/>
                </a:cubicBezTo>
                <a:cubicBezTo>
                  <a:pt x="237" y="39"/>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4"/>
                  <a:pt x="333" y="32"/>
                </a:cubicBezTo>
                <a:cubicBezTo>
                  <a:pt x="338" y="39"/>
                  <a:pt x="345" y="46"/>
                  <a:pt x="355" y="46"/>
                </a:cubicBezTo>
                <a:cubicBezTo>
                  <a:pt x="356" y="46"/>
                  <a:pt x="358" y="45"/>
                  <a:pt x="358" y="43"/>
                </a:cubicBezTo>
                <a:cubicBezTo>
                  <a:pt x="358" y="42"/>
                  <a:pt x="356" y="41"/>
                  <a:pt x="355" y="41"/>
                </a:cubicBezTo>
                <a:cubicBezTo>
                  <a:pt x="350" y="41"/>
                  <a:pt x="346" y="39"/>
                  <a:pt x="342" y="35"/>
                </a:cubicBezTo>
                <a:cubicBezTo>
                  <a:pt x="336" y="30"/>
                  <a:pt x="332" y="22"/>
                  <a:pt x="327" y="14"/>
                </a:cubicBezTo>
                <a:cubicBezTo>
                  <a:pt x="322" y="7"/>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2"/>
                  <a:pt x="226" y="14"/>
                </a:cubicBezTo>
                <a:cubicBezTo>
                  <a:pt x="221" y="7"/>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2"/>
                  <a:pt x="126" y="14"/>
                </a:cubicBezTo>
                <a:cubicBezTo>
                  <a:pt x="121" y="7"/>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2"/>
                  <a:pt x="25" y="14"/>
                </a:cubicBezTo>
                <a:cubicBezTo>
                  <a:pt x="20" y="7"/>
                  <a:pt x="13" y="0"/>
                  <a:pt x="3" y="0"/>
                </a:cubicBezTo>
                <a:cubicBezTo>
                  <a:pt x="2" y="0"/>
                  <a:pt x="0" y="1"/>
                  <a:pt x="0" y="3"/>
                </a:cubicBezTo>
                <a:cubicBezTo>
                  <a:pt x="0" y="4"/>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5" name="Freeform 86">
            <a:extLst>
              <a:ext uri="{FF2B5EF4-FFF2-40B4-BE49-F238E27FC236}">
                <a16:creationId xmlns:a16="http://schemas.microsoft.com/office/drawing/2014/main" id="{CB55369C-56AF-4FD1-A5AC-49B77B02F346}"/>
              </a:ext>
            </a:extLst>
          </p:cNvPr>
          <p:cNvSpPr>
            <a:spLocks/>
          </p:cNvSpPr>
          <p:nvPr/>
        </p:nvSpPr>
        <p:spPr bwMode="auto">
          <a:xfrm>
            <a:off x="991245" y="3807409"/>
            <a:ext cx="1222538" cy="160993"/>
          </a:xfrm>
          <a:custGeom>
            <a:avLst/>
            <a:gdLst>
              <a:gd name="T0" fmla="*/ 3 w 358"/>
              <a:gd name="T1" fmla="*/ 5 h 46"/>
              <a:gd name="T2" fmla="*/ 16 w 358"/>
              <a:gd name="T3" fmla="*/ 10 h 46"/>
              <a:gd name="T4" fmla="*/ 31 w 358"/>
              <a:gd name="T5" fmla="*/ 32 h 46"/>
              <a:gd name="T6" fmla="*/ 53 w 358"/>
              <a:gd name="T7" fmla="*/ 45 h 46"/>
              <a:gd name="T8" fmla="*/ 70 w 358"/>
              <a:gd name="T9" fmla="*/ 38 h 46"/>
              <a:gd name="T10" fmla="*/ 85 w 358"/>
              <a:gd name="T11" fmla="*/ 16 h 46"/>
              <a:gd name="T12" fmla="*/ 103 w 358"/>
              <a:gd name="T13" fmla="*/ 5 h 46"/>
              <a:gd name="T14" fmla="*/ 117 w 358"/>
              <a:gd name="T15" fmla="*/ 10 h 46"/>
              <a:gd name="T16" fmla="*/ 131 w 358"/>
              <a:gd name="T17" fmla="*/ 32 h 46"/>
              <a:gd name="T18" fmla="*/ 154 w 358"/>
              <a:gd name="T19" fmla="*/ 45 h 46"/>
              <a:gd name="T20" fmla="*/ 170 w 358"/>
              <a:gd name="T21" fmla="*/ 38 h 46"/>
              <a:gd name="T22" fmla="*/ 186 w 358"/>
              <a:gd name="T23" fmla="*/ 16 h 46"/>
              <a:gd name="T24" fmla="*/ 204 w 358"/>
              <a:gd name="T25" fmla="*/ 5 h 46"/>
              <a:gd name="T26" fmla="*/ 217 w 358"/>
              <a:gd name="T27" fmla="*/ 10 h 46"/>
              <a:gd name="T28" fmla="*/ 232 w 358"/>
              <a:gd name="T29" fmla="*/ 32 h 46"/>
              <a:gd name="T30" fmla="*/ 254 w 358"/>
              <a:gd name="T31" fmla="*/ 45 h 46"/>
              <a:gd name="T32" fmla="*/ 271 w 358"/>
              <a:gd name="T33" fmla="*/ 38 h 46"/>
              <a:gd name="T34" fmla="*/ 286 w 358"/>
              <a:gd name="T35" fmla="*/ 16 h 46"/>
              <a:gd name="T36" fmla="*/ 305 w 358"/>
              <a:gd name="T37" fmla="*/ 5 h 46"/>
              <a:gd name="T38" fmla="*/ 318 w 358"/>
              <a:gd name="T39" fmla="*/ 10 h 46"/>
              <a:gd name="T40" fmla="*/ 333 w 358"/>
              <a:gd name="T41" fmla="*/ 32 h 46"/>
              <a:gd name="T42" fmla="*/ 355 w 358"/>
              <a:gd name="T43" fmla="*/ 45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2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0"/>
                </a:cubicBezTo>
                <a:cubicBezTo>
                  <a:pt x="22" y="16"/>
                  <a:pt x="26" y="24"/>
                  <a:pt x="31" y="32"/>
                </a:cubicBezTo>
                <a:cubicBezTo>
                  <a:pt x="36" y="39"/>
                  <a:pt x="43" y="46"/>
                  <a:pt x="53" y="45"/>
                </a:cubicBezTo>
                <a:cubicBezTo>
                  <a:pt x="60" y="46"/>
                  <a:pt x="66" y="43"/>
                  <a:pt x="70" y="38"/>
                </a:cubicBezTo>
                <a:cubicBezTo>
                  <a:pt x="76" y="32"/>
                  <a:pt x="80" y="23"/>
                  <a:pt x="85" y="16"/>
                </a:cubicBezTo>
                <a:cubicBezTo>
                  <a:pt x="90" y="9"/>
                  <a:pt x="95" y="5"/>
                  <a:pt x="103" y="5"/>
                </a:cubicBezTo>
                <a:cubicBezTo>
                  <a:pt x="109" y="5"/>
                  <a:pt x="113" y="7"/>
                  <a:pt x="117" y="10"/>
                </a:cubicBezTo>
                <a:cubicBezTo>
                  <a:pt x="122" y="16"/>
                  <a:pt x="126" y="24"/>
                  <a:pt x="131" y="32"/>
                </a:cubicBezTo>
                <a:cubicBezTo>
                  <a:pt x="137" y="39"/>
                  <a:pt x="143" y="46"/>
                  <a:pt x="154" y="45"/>
                </a:cubicBezTo>
                <a:cubicBezTo>
                  <a:pt x="161" y="46"/>
                  <a:pt x="166" y="43"/>
                  <a:pt x="170" y="38"/>
                </a:cubicBezTo>
                <a:cubicBezTo>
                  <a:pt x="177" y="32"/>
                  <a:pt x="181" y="23"/>
                  <a:pt x="186" y="16"/>
                </a:cubicBezTo>
                <a:cubicBezTo>
                  <a:pt x="191" y="9"/>
                  <a:pt x="196" y="5"/>
                  <a:pt x="204" y="5"/>
                </a:cubicBezTo>
                <a:cubicBezTo>
                  <a:pt x="210" y="5"/>
                  <a:pt x="214" y="7"/>
                  <a:pt x="217" y="10"/>
                </a:cubicBezTo>
                <a:cubicBezTo>
                  <a:pt x="223" y="16"/>
                  <a:pt x="227" y="24"/>
                  <a:pt x="232" y="32"/>
                </a:cubicBezTo>
                <a:cubicBezTo>
                  <a:pt x="237" y="39"/>
                  <a:pt x="244" y="46"/>
                  <a:pt x="254" y="45"/>
                </a:cubicBezTo>
                <a:cubicBezTo>
                  <a:pt x="261" y="46"/>
                  <a:pt x="267" y="43"/>
                  <a:pt x="271" y="38"/>
                </a:cubicBezTo>
                <a:cubicBezTo>
                  <a:pt x="277" y="32"/>
                  <a:pt x="281" y="23"/>
                  <a:pt x="286" y="16"/>
                </a:cubicBezTo>
                <a:cubicBezTo>
                  <a:pt x="291" y="9"/>
                  <a:pt x="296" y="5"/>
                  <a:pt x="305" y="5"/>
                </a:cubicBezTo>
                <a:cubicBezTo>
                  <a:pt x="310" y="5"/>
                  <a:pt x="314" y="7"/>
                  <a:pt x="318" y="10"/>
                </a:cubicBezTo>
                <a:cubicBezTo>
                  <a:pt x="324" y="16"/>
                  <a:pt x="328" y="24"/>
                  <a:pt x="333" y="32"/>
                </a:cubicBezTo>
                <a:cubicBezTo>
                  <a:pt x="338" y="39"/>
                  <a:pt x="345" y="46"/>
                  <a:pt x="355" y="45"/>
                </a:cubicBezTo>
                <a:cubicBezTo>
                  <a:pt x="356" y="45"/>
                  <a:pt x="358" y="44"/>
                  <a:pt x="358" y="43"/>
                </a:cubicBezTo>
                <a:cubicBezTo>
                  <a:pt x="358" y="42"/>
                  <a:pt x="356" y="41"/>
                  <a:pt x="355" y="41"/>
                </a:cubicBezTo>
                <a:cubicBezTo>
                  <a:pt x="350" y="41"/>
                  <a:pt x="346" y="39"/>
                  <a:pt x="342" y="35"/>
                </a:cubicBezTo>
                <a:cubicBezTo>
                  <a:pt x="336" y="30"/>
                  <a:pt x="332" y="21"/>
                  <a:pt x="327" y="14"/>
                </a:cubicBezTo>
                <a:cubicBezTo>
                  <a:pt x="322" y="6"/>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1"/>
                  <a:pt x="226" y="14"/>
                </a:cubicBezTo>
                <a:cubicBezTo>
                  <a:pt x="221" y="6"/>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1"/>
                  <a:pt x="126" y="14"/>
                </a:cubicBezTo>
                <a:cubicBezTo>
                  <a:pt x="121" y="6"/>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1"/>
                  <a:pt x="25" y="14"/>
                </a:cubicBezTo>
                <a:cubicBezTo>
                  <a:pt x="20" y="6"/>
                  <a:pt x="13" y="0"/>
                  <a:pt x="3" y="0"/>
                </a:cubicBezTo>
                <a:cubicBezTo>
                  <a:pt x="2" y="0"/>
                  <a:pt x="0" y="1"/>
                  <a:pt x="0" y="2"/>
                </a:cubicBezTo>
                <a:cubicBezTo>
                  <a:pt x="0" y="3"/>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2" name="Freeform: Shape 491">
            <a:extLst>
              <a:ext uri="{FF2B5EF4-FFF2-40B4-BE49-F238E27FC236}">
                <a16:creationId xmlns:a16="http://schemas.microsoft.com/office/drawing/2014/main" id="{26DB9651-49EA-4D52-B303-58DDCCA7220B}"/>
              </a:ext>
            </a:extLst>
          </p:cNvPr>
          <p:cNvSpPr/>
          <p:nvPr/>
        </p:nvSpPr>
        <p:spPr>
          <a:xfrm>
            <a:off x="1189804" y="3502233"/>
            <a:ext cx="804854" cy="716823"/>
          </a:xfrm>
          <a:custGeom>
            <a:avLst/>
            <a:gdLst>
              <a:gd name="connsiteX0" fmla="*/ 427744 w 915678"/>
              <a:gd name="connsiteY0" fmla="*/ 436995 h 815526"/>
              <a:gd name="connsiteX1" fmla="*/ 428460 w 915678"/>
              <a:gd name="connsiteY1" fmla="*/ 424405 h 815526"/>
              <a:gd name="connsiteX2" fmla="*/ 441050 w 915678"/>
              <a:gd name="connsiteY2" fmla="*/ 425120 h 815526"/>
              <a:gd name="connsiteX3" fmla="*/ 440335 w 915678"/>
              <a:gd name="connsiteY3" fmla="*/ 437711 h 815526"/>
              <a:gd name="connsiteX4" fmla="*/ 427744 w 915678"/>
              <a:gd name="connsiteY4" fmla="*/ 436995 h 815526"/>
              <a:gd name="connsiteX5" fmla="*/ 390688 w 915678"/>
              <a:gd name="connsiteY5" fmla="*/ 469759 h 815526"/>
              <a:gd name="connsiteX6" fmla="*/ 402423 w 915678"/>
              <a:gd name="connsiteY6" fmla="*/ 469762 h 815526"/>
              <a:gd name="connsiteX7" fmla="*/ 402427 w 915678"/>
              <a:gd name="connsiteY7" fmla="*/ 458027 h 815526"/>
              <a:gd name="connsiteX8" fmla="*/ 390691 w 915678"/>
              <a:gd name="connsiteY8" fmla="*/ 458024 h 815526"/>
              <a:gd name="connsiteX9" fmla="*/ 390688 w 915678"/>
              <a:gd name="connsiteY9" fmla="*/ 458027 h 815526"/>
              <a:gd name="connsiteX10" fmla="*/ 390688 w 915678"/>
              <a:gd name="connsiteY10" fmla="*/ 469759 h 815526"/>
              <a:gd name="connsiteX11" fmla="*/ 353774 w 915678"/>
              <a:gd name="connsiteY11" fmla="*/ 502523 h 815526"/>
              <a:gd name="connsiteX12" fmla="*/ 364648 w 915678"/>
              <a:gd name="connsiteY12" fmla="*/ 502523 h 815526"/>
              <a:gd name="connsiteX13" fmla="*/ 364648 w 915678"/>
              <a:gd name="connsiteY13" fmla="*/ 491650 h 815526"/>
              <a:gd name="connsiteX14" fmla="*/ 353774 w 915678"/>
              <a:gd name="connsiteY14" fmla="*/ 491650 h 815526"/>
              <a:gd name="connsiteX15" fmla="*/ 352896 w 915678"/>
              <a:gd name="connsiteY15" fmla="*/ 502337 h 815526"/>
              <a:gd name="connsiteX16" fmla="*/ 353059 w 915678"/>
              <a:gd name="connsiteY16" fmla="*/ 502523 h 815526"/>
              <a:gd name="connsiteX17" fmla="*/ 316146 w 915678"/>
              <a:gd name="connsiteY17" fmla="*/ 535145 h 815526"/>
              <a:gd name="connsiteX18" fmla="*/ 326059 w 915678"/>
              <a:gd name="connsiteY18" fmla="*/ 535246 h 815526"/>
              <a:gd name="connsiteX19" fmla="*/ 326161 w 915678"/>
              <a:gd name="connsiteY19" fmla="*/ 535145 h 815526"/>
              <a:gd name="connsiteX20" fmla="*/ 326161 w 915678"/>
              <a:gd name="connsiteY20" fmla="*/ 525129 h 815526"/>
              <a:gd name="connsiteX21" fmla="*/ 316217 w 915678"/>
              <a:gd name="connsiteY21" fmla="*/ 524485 h 815526"/>
              <a:gd name="connsiteX22" fmla="*/ 315573 w 915678"/>
              <a:gd name="connsiteY22" fmla="*/ 534429 h 815526"/>
              <a:gd name="connsiteX23" fmla="*/ 280377 w 915678"/>
              <a:gd name="connsiteY23" fmla="*/ 567479 h 815526"/>
              <a:gd name="connsiteX24" fmla="*/ 289534 w 915678"/>
              <a:gd name="connsiteY24" fmla="*/ 568052 h 815526"/>
              <a:gd name="connsiteX25" fmla="*/ 290106 w 915678"/>
              <a:gd name="connsiteY25" fmla="*/ 558895 h 815526"/>
              <a:gd name="connsiteX26" fmla="*/ 280949 w 915678"/>
              <a:gd name="connsiteY26" fmla="*/ 558323 h 815526"/>
              <a:gd name="connsiteX27" fmla="*/ 280377 w 915678"/>
              <a:gd name="connsiteY27" fmla="*/ 567479 h 815526"/>
              <a:gd name="connsiteX28" fmla="*/ 243464 w 915678"/>
              <a:gd name="connsiteY28" fmla="*/ 600244 h 815526"/>
              <a:gd name="connsiteX29" fmla="*/ 251759 w 915678"/>
              <a:gd name="connsiteY29" fmla="*/ 600241 h 815526"/>
              <a:gd name="connsiteX30" fmla="*/ 251758 w 915678"/>
              <a:gd name="connsiteY30" fmla="*/ 591945 h 815526"/>
              <a:gd name="connsiteX31" fmla="*/ 243464 w 915678"/>
              <a:gd name="connsiteY31" fmla="*/ 591945 h 815526"/>
              <a:gd name="connsiteX32" fmla="*/ 243461 w 915678"/>
              <a:gd name="connsiteY32" fmla="*/ 600241 h 815526"/>
              <a:gd name="connsiteX33" fmla="*/ 243464 w 915678"/>
              <a:gd name="connsiteY33" fmla="*/ 600244 h 815526"/>
              <a:gd name="connsiteX34" fmla="*/ 206551 w 915678"/>
              <a:gd name="connsiteY34" fmla="*/ 633008 h 815526"/>
              <a:gd name="connsiteX35" fmla="*/ 213833 w 915678"/>
              <a:gd name="connsiteY35" fmla="*/ 633165 h 815526"/>
              <a:gd name="connsiteX36" fmla="*/ 213990 w 915678"/>
              <a:gd name="connsiteY36" fmla="*/ 633008 h 815526"/>
              <a:gd name="connsiteX37" fmla="*/ 215134 w 915678"/>
              <a:gd name="connsiteY37" fmla="*/ 625609 h 815526"/>
              <a:gd name="connsiteX38" fmla="*/ 207735 w 915678"/>
              <a:gd name="connsiteY38" fmla="*/ 624466 h 815526"/>
              <a:gd name="connsiteX39" fmla="*/ 206980 w 915678"/>
              <a:gd name="connsiteY39" fmla="*/ 625139 h 815526"/>
              <a:gd name="connsiteX40" fmla="*/ 206980 w 915678"/>
              <a:gd name="connsiteY40" fmla="*/ 632578 h 815526"/>
              <a:gd name="connsiteX41" fmla="*/ 170209 w 915678"/>
              <a:gd name="connsiteY41" fmla="*/ 666201 h 815526"/>
              <a:gd name="connsiteX42" fmla="*/ 176885 w 915678"/>
              <a:gd name="connsiteY42" fmla="*/ 666295 h 815526"/>
              <a:gd name="connsiteX43" fmla="*/ 176981 w 915678"/>
              <a:gd name="connsiteY43" fmla="*/ 659620 h 815526"/>
              <a:gd name="connsiteX44" fmla="*/ 170304 w 915678"/>
              <a:gd name="connsiteY44" fmla="*/ 659525 h 815526"/>
              <a:gd name="connsiteX45" fmla="*/ 170209 w 915678"/>
              <a:gd name="connsiteY45" fmla="*/ 659620 h 815526"/>
              <a:gd name="connsiteX46" fmla="*/ 170209 w 915678"/>
              <a:gd name="connsiteY46" fmla="*/ 666201 h 815526"/>
              <a:gd name="connsiteX47" fmla="*/ 133296 w 915678"/>
              <a:gd name="connsiteY47" fmla="*/ 698965 h 815526"/>
              <a:gd name="connsiteX48" fmla="*/ 138962 w 915678"/>
              <a:gd name="connsiteY48" fmla="*/ 699022 h 815526"/>
              <a:gd name="connsiteX49" fmla="*/ 139019 w 915678"/>
              <a:gd name="connsiteY49" fmla="*/ 698965 h 815526"/>
              <a:gd name="connsiteX50" fmla="*/ 140228 w 915678"/>
              <a:gd name="connsiteY50" fmla="*/ 693224 h 815526"/>
              <a:gd name="connsiteX51" fmla="*/ 134485 w 915678"/>
              <a:gd name="connsiteY51" fmla="*/ 692015 h 815526"/>
              <a:gd name="connsiteX52" fmla="*/ 133582 w 915678"/>
              <a:gd name="connsiteY52" fmla="*/ 692813 h 815526"/>
              <a:gd name="connsiteX53" fmla="*/ 133582 w 915678"/>
              <a:gd name="connsiteY53" fmla="*/ 698536 h 815526"/>
              <a:gd name="connsiteX54" fmla="*/ 96669 w 915678"/>
              <a:gd name="connsiteY54" fmla="*/ 731300 h 815526"/>
              <a:gd name="connsiteX55" fmla="*/ 101525 w 915678"/>
              <a:gd name="connsiteY55" fmla="*/ 731291 h 815526"/>
              <a:gd name="connsiteX56" fmla="*/ 101516 w 915678"/>
              <a:gd name="connsiteY56" fmla="*/ 726436 h 815526"/>
              <a:gd name="connsiteX57" fmla="*/ 96669 w 915678"/>
              <a:gd name="connsiteY57" fmla="*/ 726436 h 815526"/>
              <a:gd name="connsiteX58" fmla="*/ 96660 w 915678"/>
              <a:gd name="connsiteY58" fmla="*/ 731291 h 815526"/>
              <a:gd name="connsiteX59" fmla="*/ 96669 w 915678"/>
              <a:gd name="connsiteY59" fmla="*/ 731300 h 815526"/>
              <a:gd name="connsiteX60" fmla="*/ 58611 w 915678"/>
              <a:gd name="connsiteY60" fmla="*/ 764493 h 815526"/>
              <a:gd name="connsiteX61" fmla="*/ 62760 w 915678"/>
              <a:gd name="connsiteY61" fmla="*/ 764493 h 815526"/>
              <a:gd name="connsiteX62" fmla="*/ 62760 w 915678"/>
              <a:gd name="connsiteY62" fmla="*/ 760344 h 815526"/>
              <a:gd name="connsiteX63" fmla="*/ 58919 w 915678"/>
              <a:gd name="connsiteY63" fmla="*/ 760178 h 815526"/>
              <a:gd name="connsiteX64" fmla="*/ 58754 w 915678"/>
              <a:gd name="connsiteY64" fmla="*/ 760344 h 815526"/>
              <a:gd name="connsiteX65" fmla="*/ 58754 w 915678"/>
              <a:gd name="connsiteY65" fmla="*/ 764350 h 815526"/>
              <a:gd name="connsiteX66" fmla="*/ 407428 w 915678"/>
              <a:gd name="connsiteY66" fmla="*/ 413388 h 815526"/>
              <a:gd name="connsiteX67" fmla="*/ 420018 w 915678"/>
              <a:gd name="connsiteY67" fmla="*/ 414246 h 815526"/>
              <a:gd name="connsiteX68" fmla="*/ 420064 w 915678"/>
              <a:gd name="connsiteY68" fmla="*/ 401701 h 815526"/>
              <a:gd name="connsiteX69" fmla="*/ 420018 w 915678"/>
              <a:gd name="connsiteY69" fmla="*/ 401656 h 815526"/>
              <a:gd name="connsiteX70" fmla="*/ 407511 w 915678"/>
              <a:gd name="connsiteY70" fmla="*/ 400694 h 815526"/>
              <a:gd name="connsiteX71" fmla="*/ 406548 w 915678"/>
              <a:gd name="connsiteY71" fmla="*/ 413202 h 815526"/>
              <a:gd name="connsiteX72" fmla="*/ 406712 w 915678"/>
              <a:gd name="connsiteY72" fmla="*/ 413388 h 815526"/>
              <a:gd name="connsiteX73" fmla="*/ 370514 w 915678"/>
              <a:gd name="connsiteY73" fmla="*/ 446152 h 815526"/>
              <a:gd name="connsiteX74" fmla="*/ 382249 w 915678"/>
              <a:gd name="connsiteY74" fmla="*/ 446155 h 815526"/>
              <a:gd name="connsiteX75" fmla="*/ 382254 w 915678"/>
              <a:gd name="connsiteY75" fmla="*/ 434420 h 815526"/>
              <a:gd name="connsiteX76" fmla="*/ 370517 w 915678"/>
              <a:gd name="connsiteY76" fmla="*/ 434417 h 815526"/>
              <a:gd name="connsiteX77" fmla="*/ 370514 w 915678"/>
              <a:gd name="connsiteY77" fmla="*/ 434420 h 815526"/>
              <a:gd name="connsiteX78" fmla="*/ 370514 w 915678"/>
              <a:gd name="connsiteY78" fmla="*/ 446152 h 815526"/>
              <a:gd name="connsiteX79" fmla="*/ 333458 w 915678"/>
              <a:gd name="connsiteY79" fmla="*/ 478916 h 815526"/>
              <a:gd name="connsiteX80" fmla="*/ 344332 w 915678"/>
              <a:gd name="connsiteY80" fmla="*/ 478916 h 815526"/>
              <a:gd name="connsiteX81" fmla="*/ 344332 w 915678"/>
              <a:gd name="connsiteY81" fmla="*/ 468042 h 815526"/>
              <a:gd name="connsiteX82" fmla="*/ 333511 w 915678"/>
              <a:gd name="connsiteY82" fmla="*/ 466532 h 815526"/>
              <a:gd name="connsiteX83" fmla="*/ 332000 w 915678"/>
              <a:gd name="connsiteY83" fmla="*/ 477354 h 815526"/>
              <a:gd name="connsiteX84" fmla="*/ 332742 w 915678"/>
              <a:gd name="connsiteY84" fmla="*/ 478201 h 815526"/>
              <a:gd name="connsiteX85" fmla="*/ 296545 w 915678"/>
              <a:gd name="connsiteY85" fmla="*/ 511680 h 815526"/>
              <a:gd name="connsiteX86" fmla="*/ 306458 w 915678"/>
              <a:gd name="connsiteY86" fmla="*/ 511782 h 815526"/>
              <a:gd name="connsiteX87" fmla="*/ 306560 w 915678"/>
              <a:gd name="connsiteY87" fmla="*/ 511680 h 815526"/>
              <a:gd name="connsiteX88" fmla="*/ 306661 w 915678"/>
              <a:gd name="connsiteY88" fmla="*/ 501563 h 815526"/>
              <a:gd name="connsiteX89" fmla="*/ 296545 w 915678"/>
              <a:gd name="connsiteY89" fmla="*/ 501463 h 815526"/>
              <a:gd name="connsiteX90" fmla="*/ 296443 w 915678"/>
              <a:gd name="connsiteY90" fmla="*/ 511579 h 815526"/>
              <a:gd name="connsiteX91" fmla="*/ 296545 w 915678"/>
              <a:gd name="connsiteY91" fmla="*/ 511680 h 815526"/>
              <a:gd name="connsiteX92" fmla="*/ 259631 w 915678"/>
              <a:gd name="connsiteY92" fmla="*/ 544444 h 815526"/>
              <a:gd name="connsiteX93" fmla="*/ 268788 w 915678"/>
              <a:gd name="connsiteY93" fmla="*/ 544444 h 815526"/>
              <a:gd name="connsiteX94" fmla="*/ 268788 w 915678"/>
              <a:gd name="connsiteY94" fmla="*/ 535288 h 815526"/>
              <a:gd name="connsiteX95" fmla="*/ 259631 w 915678"/>
              <a:gd name="connsiteY95" fmla="*/ 534715 h 815526"/>
              <a:gd name="connsiteX96" fmla="*/ 259059 w 915678"/>
              <a:gd name="connsiteY96" fmla="*/ 543872 h 815526"/>
              <a:gd name="connsiteX97" fmla="*/ 222003 w 915678"/>
              <a:gd name="connsiteY97" fmla="*/ 576636 h 815526"/>
              <a:gd name="connsiteX98" fmla="*/ 230298 w 915678"/>
              <a:gd name="connsiteY98" fmla="*/ 576633 h 815526"/>
              <a:gd name="connsiteX99" fmla="*/ 230297 w 915678"/>
              <a:gd name="connsiteY99" fmla="*/ 568338 h 815526"/>
              <a:gd name="connsiteX100" fmla="*/ 222003 w 915678"/>
              <a:gd name="connsiteY100" fmla="*/ 568338 h 815526"/>
              <a:gd name="connsiteX101" fmla="*/ 222000 w 915678"/>
              <a:gd name="connsiteY101" fmla="*/ 576633 h 815526"/>
              <a:gd name="connsiteX102" fmla="*/ 222003 w 915678"/>
              <a:gd name="connsiteY102" fmla="*/ 576636 h 815526"/>
              <a:gd name="connsiteX103" fmla="*/ 185662 w 915678"/>
              <a:gd name="connsiteY103" fmla="*/ 610402 h 815526"/>
              <a:gd name="connsiteX104" fmla="*/ 193147 w 915678"/>
              <a:gd name="connsiteY104" fmla="*/ 610449 h 815526"/>
              <a:gd name="connsiteX105" fmla="*/ 193194 w 915678"/>
              <a:gd name="connsiteY105" fmla="*/ 602962 h 815526"/>
              <a:gd name="connsiteX106" fmla="*/ 185707 w 915678"/>
              <a:gd name="connsiteY106" fmla="*/ 602915 h 815526"/>
              <a:gd name="connsiteX107" fmla="*/ 185662 w 915678"/>
              <a:gd name="connsiteY107" fmla="*/ 602962 h 815526"/>
              <a:gd name="connsiteX108" fmla="*/ 185662 w 915678"/>
              <a:gd name="connsiteY108" fmla="*/ 610402 h 815526"/>
              <a:gd name="connsiteX109" fmla="*/ 148748 w 915678"/>
              <a:gd name="connsiteY109" fmla="*/ 642737 h 815526"/>
              <a:gd name="connsiteX110" fmla="*/ 155330 w 915678"/>
              <a:gd name="connsiteY110" fmla="*/ 642737 h 815526"/>
              <a:gd name="connsiteX111" fmla="*/ 156128 w 915678"/>
              <a:gd name="connsiteY111" fmla="*/ 636108 h 815526"/>
              <a:gd name="connsiteX112" fmla="*/ 149498 w 915678"/>
              <a:gd name="connsiteY112" fmla="*/ 635310 h 815526"/>
              <a:gd name="connsiteX113" fmla="*/ 149034 w 915678"/>
              <a:gd name="connsiteY113" fmla="*/ 635726 h 815526"/>
              <a:gd name="connsiteX114" fmla="*/ 149034 w 915678"/>
              <a:gd name="connsiteY114" fmla="*/ 642308 h 815526"/>
              <a:gd name="connsiteX115" fmla="*/ 111978 w 915678"/>
              <a:gd name="connsiteY115" fmla="*/ 675072 h 815526"/>
              <a:gd name="connsiteX116" fmla="*/ 117844 w 915678"/>
              <a:gd name="connsiteY116" fmla="*/ 675072 h 815526"/>
              <a:gd name="connsiteX117" fmla="*/ 117844 w 915678"/>
              <a:gd name="connsiteY117" fmla="*/ 669349 h 815526"/>
              <a:gd name="connsiteX118" fmla="*/ 112178 w 915678"/>
              <a:gd name="connsiteY118" fmla="*/ 669291 h 815526"/>
              <a:gd name="connsiteX119" fmla="*/ 112121 w 915678"/>
              <a:gd name="connsiteY119" fmla="*/ 669349 h 815526"/>
              <a:gd name="connsiteX120" fmla="*/ 112064 w 915678"/>
              <a:gd name="connsiteY120" fmla="*/ 675014 h 815526"/>
              <a:gd name="connsiteX121" fmla="*/ 112121 w 915678"/>
              <a:gd name="connsiteY121" fmla="*/ 675072 h 815526"/>
              <a:gd name="connsiteX122" fmla="*/ 75208 w 915678"/>
              <a:gd name="connsiteY122" fmla="*/ 707836 h 815526"/>
              <a:gd name="connsiteX123" fmla="*/ 80064 w 915678"/>
              <a:gd name="connsiteY123" fmla="*/ 707844 h 815526"/>
              <a:gd name="connsiteX124" fmla="*/ 80072 w 915678"/>
              <a:gd name="connsiteY124" fmla="*/ 707836 h 815526"/>
              <a:gd name="connsiteX125" fmla="*/ 80064 w 915678"/>
              <a:gd name="connsiteY125" fmla="*/ 702980 h 815526"/>
              <a:gd name="connsiteX126" fmla="*/ 75208 w 915678"/>
              <a:gd name="connsiteY126" fmla="*/ 702988 h 815526"/>
              <a:gd name="connsiteX127" fmla="*/ 75208 w 915678"/>
              <a:gd name="connsiteY127" fmla="*/ 707836 h 815526"/>
              <a:gd name="connsiteX128" fmla="*/ 38295 w 915678"/>
              <a:gd name="connsiteY128" fmla="*/ 740600 h 815526"/>
              <a:gd name="connsiteX129" fmla="*/ 42136 w 915678"/>
              <a:gd name="connsiteY129" fmla="*/ 740765 h 815526"/>
              <a:gd name="connsiteX130" fmla="*/ 42301 w 915678"/>
              <a:gd name="connsiteY130" fmla="*/ 740600 h 815526"/>
              <a:gd name="connsiteX131" fmla="*/ 42301 w 915678"/>
              <a:gd name="connsiteY131" fmla="*/ 736594 h 815526"/>
              <a:gd name="connsiteX132" fmla="*/ 38151 w 915678"/>
              <a:gd name="connsiteY132" fmla="*/ 736594 h 815526"/>
              <a:gd name="connsiteX133" fmla="*/ 38151 w 915678"/>
              <a:gd name="connsiteY133" fmla="*/ 740743 h 815526"/>
              <a:gd name="connsiteX134" fmla="*/ 386539 w 915678"/>
              <a:gd name="connsiteY134" fmla="*/ 389924 h 815526"/>
              <a:gd name="connsiteX135" fmla="*/ 399059 w 915678"/>
              <a:gd name="connsiteY135" fmla="*/ 390702 h 815526"/>
              <a:gd name="connsiteX136" fmla="*/ 399837 w 915678"/>
              <a:gd name="connsiteY136" fmla="*/ 378181 h 815526"/>
              <a:gd name="connsiteX137" fmla="*/ 387397 w 915678"/>
              <a:gd name="connsiteY137" fmla="*/ 377333 h 815526"/>
              <a:gd name="connsiteX138" fmla="*/ 386539 w 915678"/>
              <a:gd name="connsiteY138" fmla="*/ 389924 h 815526"/>
              <a:gd name="connsiteX139" fmla="*/ 349625 w 915678"/>
              <a:gd name="connsiteY139" fmla="*/ 422688 h 815526"/>
              <a:gd name="connsiteX140" fmla="*/ 361340 w 915678"/>
              <a:gd name="connsiteY140" fmla="*/ 423383 h 815526"/>
              <a:gd name="connsiteX141" fmla="*/ 362036 w 915678"/>
              <a:gd name="connsiteY141" fmla="*/ 411668 h 815526"/>
              <a:gd name="connsiteX142" fmla="*/ 350341 w 915678"/>
              <a:gd name="connsiteY142" fmla="*/ 410956 h 815526"/>
              <a:gd name="connsiteX143" fmla="*/ 349608 w 915678"/>
              <a:gd name="connsiteY143" fmla="*/ 422668 h 815526"/>
              <a:gd name="connsiteX144" fmla="*/ 349625 w 915678"/>
              <a:gd name="connsiteY144" fmla="*/ 422688 h 815526"/>
              <a:gd name="connsiteX145" fmla="*/ 313284 w 915678"/>
              <a:gd name="connsiteY145" fmla="*/ 455452 h 815526"/>
              <a:gd name="connsiteX146" fmla="*/ 324211 w 915678"/>
              <a:gd name="connsiteY146" fmla="*/ 455505 h 815526"/>
              <a:gd name="connsiteX147" fmla="*/ 324262 w 915678"/>
              <a:gd name="connsiteY147" fmla="*/ 444578 h 815526"/>
              <a:gd name="connsiteX148" fmla="*/ 313337 w 915678"/>
              <a:gd name="connsiteY148" fmla="*/ 444525 h 815526"/>
              <a:gd name="connsiteX149" fmla="*/ 313284 w 915678"/>
              <a:gd name="connsiteY149" fmla="*/ 444578 h 815526"/>
              <a:gd name="connsiteX150" fmla="*/ 313284 w 915678"/>
              <a:gd name="connsiteY150" fmla="*/ 455452 h 815526"/>
              <a:gd name="connsiteX151" fmla="*/ 276228 w 915678"/>
              <a:gd name="connsiteY151" fmla="*/ 488216 h 815526"/>
              <a:gd name="connsiteX152" fmla="*/ 286243 w 915678"/>
              <a:gd name="connsiteY152" fmla="*/ 488216 h 815526"/>
              <a:gd name="connsiteX153" fmla="*/ 286142 w 915678"/>
              <a:gd name="connsiteY153" fmla="*/ 478302 h 815526"/>
              <a:gd name="connsiteX154" fmla="*/ 276228 w 915678"/>
              <a:gd name="connsiteY154" fmla="*/ 478402 h 815526"/>
              <a:gd name="connsiteX155" fmla="*/ 276228 w 915678"/>
              <a:gd name="connsiteY155" fmla="*/ 488216 h 815526"/>
              <a:gd name="connsiteX156" fmla="*/ 239315 w 915678"/>
              <a:gd name="connsiteY156" fmla="*/ 520980 h 815526"/>
              <a:gd name="connsiteX157" fmla="*/ 248622 w 915678"/>
              <a:gd name="connsiteY157" fmla="*/ 521130 h 815526"/>
              <a:gd name="connsiteX158" fmla="*/ 248770 w 915678"/>
              <a:gd name="connsiteY158" fmla="*/ 511823 h 815526"/>
              <a:gd name="connsiteX159" fmla="*/ 239465 w 915678"/>
              <a:gd name="connsiteY159" fmla="*/ 511673 h 815526"/>
              <a:gd name="connsiteX160" fmla="*/ 239315 w 915678"/>
              <a:gd name="connsiteY160" fmla="*/ 511823 h 815526"/>
              <a:gd name="connsiteX161" fmla="*/ 239263 w 915678"/>
              <a:gd name="connsiteY161" fmla="*/ 520929 h 815526"/>
              <a:gd name="connsiteX162" fmla="*/ 239315 w 915678"/>
              <a:gd name="connsiteY162" fmla="*/ 520980 h 815526"/>
              <a:gd name="connsiteX163" fmla="*/ 201829 w 915678"/>
              <a:gd name="connsiteY163" fmla="*/ 553172 h 815526"/>
              <a:gd name="connsiteX164" fmla="*/ 210123 w 915678"/>
              <a:gd name="connsiteY164" fmla="*/ 553025 h 815526"/>
              <a:gd name="connsiteX165" fmla="*/ 209977 w 915678"/>
              <a:gd name="connsiteY165" fmla="*/ 544731 h 815526"/>
              <a:gd name="connsiteX166" fmla="*/ 201829 w 915678"/>
              <a:gd name="connsiteY166" fmla="*/ 544731 h 815526"/>
              <a:gd name="connsiteX167" fmla="*/ 201829 w 915678"/>
              <a:gd name="connsiteY167" fmla="*/ 553172 h 815526"/>
              <a:gd name="connsiteX168" fmla="*/ 164773 w 915678"/>
              <a:gd name="connsiteY168" fmla="*/ 585793 h 815526"/>
              <a:gd name="connsiteX169" fmla="*/ 172260 w 915678"/>
              <a:gd name="connsiteY169" fmla="*/ 585760 h 815526"/>
              <a:gd name="connsiteX170" fmla="*/ 172785 w 915678"/>
              <a:gd name="connsiteY170" fmla="*/ 578925 h 815526"/>
              <a:gd name="connsiteX171" fmla="*/ 165392 w 915678"/>
              <a:gd name="connsiteY171" fmla="*/ 577748 h 815526"/>
              <a:gd name="connsiteX172" fmla="*/ 164215 w 915678"/>
              <a:gd name="connsiteY172" fmla="*/ 585141 h 815526"/>
              <a:gd name="connsiteX173" fmla="*/ 164773 w 915678"/>
              <a:gd name="connsiteY173" fmla="*/ 585793 h 815526"/>
              <a:gd name="connsiteX174" fmla="*/ 127287 w 915678"/>
              <a:gd name="connsiteY174" fmla="*/ 619129 h 815526"/>
              <a:gd name="connsiteX175" fmla="*/ 133936 w 915678"/>
              <a:gd name="connsiteY175" fmla="*/ 618520 h 815526"/>
              <a:gd name="connsiteX176" fmla="*/ 134298 w 915678"/>
              <a:gd name="connsiteY176" fmla="*/ 612977 h 815526"/>
              <a:gd name="connsiteX177" fmla="*/ 127716 w 915678"/>
              <a:gd name="connsiteY177" fmla="*/ 612977 h 815526"/>
              <a:gd name="connsiteX178" fmla="*/ 127609 w 915678"/>
              <a:gd name="connsiteY178" fmla="*/ 619451 h 815526"/>
              <a:gd name="connsiteX179" fmla="*/ 127716 w 915678"/>
              <a:gd name="connsiteY179" fmla="*/ 619559 h 815526"/>
              <a:gd name="connsiteX180" fmla="*/ 90946 w 915678"/>
              <a:gd name="connsiteY180" fmla="*/ 651894 h 815526"/>
              <a:gd name="connsiteX181" fmla="*/ 96612 w 915678"/>
              <a:gd name="connsiteY181" fmla="*/ 651951 h 815526"/>
              <a:gd name="connsiteX182" fmla="*/ 96669 w 915678"/>
              <a:gd name="connsiteY182" fmla="*/ 651894 h 815526"/>
              <a:gd name="connsiteX183" fmla="*/ 96726 w 915678"/>
              <a:gd name="connsiteY183" fmla="*/ 646228 h 815526"/>
              <a:gd name="connsiteX184" fmla="*/ 96669 w 915678"/>
              <a:gd name="connsiteY184" fmla="*/ 646171 h 815526"/>
              <a:gd name="connsiteX185" fmla="*/ 91003 w 915678"/>
              <a:gd name="connsiteY185" fmla="*/ 646113 h 815526"/>
              <a:gd name="connsiteX186" fmla="*/ 90946 w 915678"/>
              <a:gd name="connsiteY186" fmla="*/ 646171 h 815526"/>
              <a:gd name="connsiteX187" fmla="*/ 90889 w 915678"/>
              <a:gd name="connsiteY187" fmla="*/ 651836 h 815526"/>
              <a:gd name="connsiteX188" fmla="*/ 90946 w 915678"/>
              <a:gd name="connsiteY188" fmla="*/ 651894 h 815526"/>
              <a:gd name="connsiteX189" fmla="*/ 53890 w 915678"/>
              <a:gd name="connsiteY189" fmla="*/ 684658 h 815526"/>
              <a:gd name="connsiteX190" fmla="*/ 58746 w 915678"/>
              <a:gd name="connsiteY190" fmla="*/ 684649 h 815526"/>
              <a:gd name="connsiteX191" fmla="*/ 58737 w 915678"/>
              <a:gd name="connsiteY191" fmla="*/ 679793 h 815526"/>
              <a:gd name="connsiteX192" fmla="*/ 53890 w 915678"/>
              <a:gd name="connsiteY192" fmla="*/ 679793 h 815526"/>
              <a:gd name="connsiteX193" fmla="*/ 53881 w 915678"/>
              <a:gd name="connsiteY193" fmla="*/ 684649 h 815526"/>
              <a:gd name="connsiteX194" fmla="*/ 53890 w 915678"/>
              <a:gd name="connsiteY194" fmla="*/ 684658 h 815526"/>
              <a:gd name="connsiteX195" fmla="*/ 16976 w 915678"/>
              <a:gd name="connsiteY195" fmla="*/ 717422 h 815526"/>
              <a:gd name="connsiteX196" fmla="*/ 21023 w 915678"/>
              <a:gd name="connsiteY196" fmla="*/ 717462 h 815526"/>
              <a:gd name="connsiteX197" fmla="*/ 21064 w 915678"/>
              <a:gd name="connsiteY197" fmla="*/ 713416 h 815526"/>
              <a:gd name="connsiteX198" fmla="*/ 17016 w 915678"/>
              <a:gd name="connsiteY198" fmla="*/ 713376 h 815526"/>
              <a:gd name="connsiteX199" fmla="*/ 16976 w 915678"/>
              <a:gd name="connsiteY199" fmla="*/ 713416 h 815526"/>
              <a:gd name="connsiteX200" fmla="*/ 16812 w 915678"/>
              <a:gd name="connsiteY200" fmla="*/ 717257 h 815526"/>
              <a:gd name="connsiteX201" fmla="*/ 16976 w 915678"/>
              <a:gd name="connsiteY201" fmla="*/ 717422 h 815526"/>
              <a:gd name="connsiteX202" fmla="*/ 490840 w 915678"/>
              <a:gd name="connsiteY202" fmla="*/ 507531 h 815526"/>
              <a:gd name="connsiteX203" fmla="*/ 503385 w 915678"/>
              <a:gd name="connsiteY203" fmla="*/ 507577 h 815526"/>
              <a:gd name="connsiteX204" fmla="*/ 503431 w 915678"/>
              <a:gd name="connsiteY204" fmla="*/ 507531 h 815526"/>
              <a:gd name="connsiteX205" fmla="*/ 503385 w 915678"/>
              <a:gd name="connsiteY205" fmla="*/ 494986 h 815526"/>
              <a:gd name="connsiteX206" fmla="*/ 490840 w 915678"/>
              <a:gd name="connsiteY206" fmla="*/ 495032 h 815526"/>
              <a:gd name="connsiteX207" fmla="*/ 490840 w 915678"/>
              <a:gd name="connsiteY207" fmla="*/ 507531 h 815526"/>
              <a:gd name="connsiteX208" fmla="*/ 453927 w 915678"/>
              <a:gd name="connsiteY208" fmla="*/ 540295 h 815526"/>
              <a:gd name="connsiteX209" fmla="*/ 465523 w 915678"/>
              <a:gd name="connsiteY209" fmla="*/ 542095 h 815526"/>
              <a:gd name="connsiteX210" fmla="*/ 467323 w 915678"/>
              <a:gd name="connsiteY210" fmla="*/ 530499 h 815526"/>
              <a:gd name="connsiteX211" fmla="*/ 466231 w 915678"/>
              <a:gd name="connsiteY211" fmla="*/ 529278 h 815526"/>
              <a:gd name="connsiteX212" fmla="*/ 454635 w 915678"/>
              <a:gd name="connsiteY212" fmla="*/ 527479 h 815526"/>
              <a:gd name="connsiteX213" fmla="*/ 452835 w 915678"/>
              <a:gd name="connsiteY213" fmla="*/ 539075 h 815526"/>
              <a:gd name="connsiteX214" fmla="*/ 453927 w 915678"/>
              <a:gd name="connsiteY214" fmla="*/ 540295 h 815526"/>
              <a:gd name="connsiteX215" fmla="*/ 416870 w 915678"/>
              <a:gd name="connsiteY215" fmla="*/ 573059 h 815526"/>
              <a:gd name="connsiteX216" fmla="*/ 427744 w 915678"/>
              <a:gd name="connsiteY216" fmla="*/ 573059 h 815526"/>
              <a:gd name="connsiteX217" fmla="*/ 427744 w 915678"/>
              <a:gd name="connsiteY217" fmla="*/ 562186 h 815526"/>
              <a:gd name="connsiteX218" fmla="*/ 416870 w 915678"/>
              <a:gd name="connsiteY218" fmla="*/ 562186 h 815526"/>
              <a:gd name="connsiteX219" fmla="*/ 416870 w 915678"/>
              <a:gd name="connsiteY219" fmla="*/ 573059 h 815526"/>
              <a:gd name="connsiteX220" fmla="*/ 379957 w 915678"/>
              <a:gd name="connsiteY220" fmla="*/ 605823 h 815526"/>
              <a:gd name="connsiteX221" fmla="*/ 390074 w 915678"/>
              <a:gd name="connsiteY221" fmla="*/ 605925 h 815526"/>
              <a:gd name="connsiteX222" fmla="*/ 390174 w 915678"/>
              <a:gd name="connsiteY222" fmla="*/ 595808 h 815526"/>
              <a:gd name="connsiteX223" fmla="*/ 380059 w 915678"/>
              <a:gd name="connsiteY223" fmla="*/ 595707 h 815526"/>
              <a:gd name="connsiteX224" fmla="*/ 379957 w 915678"/>
              <a:gd name="connsiteY224" fmla="*/ 595808 h 815526"/>
              <a:gd name="connsiteX225" fmla="*/ 379957 w 915678"/>
              <a:gd name="connsiteY225" fmla="*/ 605823 h 815526"/>
              <a:gd name="connsiteX226" fmla="*/ 342901 w 915678"/>
              <a:gd name="connsiteY226" fmla="*/ 639017 h 815526"/>
              <a:gd name="connsiteX227" fmla="*/ 352058 w 915678"/>
              <a:gd name="connsiteY227" fmla="*/ 639017 h 815526"/>
              <a:gd name="connsiteX228" fmla="*/ 352630 w 915678"/>
              <a:gd name="connsiteY228" fmla="*/ 629860 h 815526"/>
              <a:gd name="connsiteX229" fmla="*/ 343473 w 915678"/>
              <a:gd name="connsiteY229" fmla="*/ 629288 h 815526"/>
              <a:gd name="connsiteX230" fmla="*/ 343473 w 915678"/>
              <a:gd name="connsiteY230" fmla="*/ 638444 h 815526"/>
              <a:gd name="connsiteX231" fmla="*/ 306560 w 915678"/>
              <a:gd name="connsiteY231" fmla="*/ 671209 h 815526"/>
              <a:gd name="connsiteX232" fmla="*/ 314930 w 915678"/>
              <a:gd name="connsiteY232" fmla="*/ 671709 h 815526"/>
              <a:gd name="connsiteX233" fmla="*/ 315430 w 915678"/>
              <a:gd name="connsiteY233" fmla="*/ 663339 h 815526"/>
              <a:gd name="connsiteX234" fmla="*/ 307340 w 915678"/>
              <a:gd name="connsiteY234" fmla="*/ 663132 h 815526"/>
              <a:gd name="connsiteX235" fmla="*/ 307132 w 915678"/>
              <a:gd name="connsiteY235" fmla="*/ 663339 h 815526"/>
              <a:gd name="connsiteX236" fmla="*/ 307129 w 915678"/>
              <a:gd name="connsiteY236" fmla="*/ 671635 h 815526"/>
              <a:gd name="connsiteX237" fmla="*/ 307132 w 915678"/>
              <a:gd name="connsiteY237" fmla="*/ 671638 h 815526"/>
              <a:gd name="connsiteX238" fmla="*/ 270219 w 915678"/>
              <a:gd name="connsiteY238" fmla="*/ 704402 h 815526"/>
              <a:gd name="connsiteX239" fmla="*/ 277659 w 915678"/>
              <a:gd name="connsiteY239" fmla="*/ 704402 h 815526"/>
              <a:gd name="connsiteX240" fmla="*/ 278159 w 915678"/>
              <a:gd name="connsiteY240" fmla="*/ 696891 h 815526"/>
              <a:gd name="connsiteX241" fmla="*/ 270648 w 915678"/>
              <a:gd name="connsiteY241" fmla="*/ 696390 h 815526"/>
              <a:gd name="connsiteX242" fmla="*/ 270648 w 915678"/>
              <a:gd name="connsiteY242" fmla="*/ 703973 h 815526"/>
              <a:gd name="connsiteX243" fmla="*/ 233592 w 915678"/>
              <a:gd name="connsiteY243" fmla="*/ 736594 h 815526"/>
              <a:gd name="connsiteX244" fmla="*/ 240269 w 915678"/>
              <a:gd name="connsiteY244" fmla="*/ 736641 h 815526"/>
              <a:gd name="connsiteX245" fmla="*/ 240316 w 915678"/>
              <a:gd name="connsiteY245" fmla="*/ 736594 h 815526"/>
              <a:gd name="connsiteX246" fmla="*/ 240269 w 915678"/>
              <a:gd name="connsiteY246" fmla="*/ 729917 h 815526"/>
              <a:gd name="connsiteX247" fmla="*/ 233592 w 915678"/>
              <a:gd name="connsiteY247" fmla="*/ 729964 h 815526"/>
              <a:gd name="connsiteX248" fmla="*/ 233592 w 915678"/>
              <a:gd name="connsiteY248" fmla="*/ 736594 h 815526"/>
              <a:gd name="connsiteX249" fmla="*/ 196678 w 915678"/>
              <a:gd name="connsiteY249" fmla="*/ 769358 h 815526"/>
              <a:gd name="connsiteX250" fmla="*/ 202344 w 915678"/>
              <a:gd name="connsiteY250" fmla="*/ 769301 h 815526"/>
              <a:gd name="connsiteX251" fmla="*/ 202285 w 915678"/>
              <a:gd name="connsiteY251" fmla="*/ 763635 h 815526"/>
              <a:gd name="connsiteX252" fmla="*/ 196678 w 915678"/>
              <a:gd name="connsiteY252" fmla="*/ 763635 h 815526"/>
              <a:gd name="connsiteX253" fmla="*/ 196678 w 915678"/>
              <a:gd name="connsiteY253" fmla="*/ 769358 h 815526"/>
              <a:gd name="connsiteX254" fmla="*/ 159765 w 915678"/>
              <a:gd name="connsiteY254" fmla="*/ 802122 h 815526"/>
              <a:gd name="connsiteX255" fmla="*/ 164621 w 915678"/>
              <a:gd name="connsiteY255" fmla="*/ 802113 h 815526"/>
              <a:gd name="connsiteX256" fmla="*/ 164612 w 915678"/>
              <a:gd name="connsiteY256" fmla="*/ 797258 h 815526"/>
              <a:gd name="connsiteX257" fmla="*/ 159765 w 915678"/>
              <a:gd name="connsiteY257" fmla="*/ 797258 h 815526"/>
              <a:gd name="connsiteX258" fmla="*/ 159756 w 915678"/>
              <a:gd name="connsiteY258" fmla="*/ 802113 h 815526"/>
              <a:gd name="connsiteX259" fmla="*/ 159765 w 915678"/>
              <a:gd name="connsiteY259" fmla="*/ 802122 h 815526"/>
              <a:gd name="connsiteX260" fmla="*/ 470667 w 915678"/>
              <a:gd name="connsiteY260" fmla="*/ 483924 h 815526"/>
              <a:gd name="connsiteX261" fmla="*/ 483174 w 915678"/>
              <a:gd name="connsiteY261" fmla="*/ 484885 h 815526"/>
              <a:gd name="connsiteX262" fmla="*/ 484137 w 915678"/>
              <a:gd name="connsiteY262" fmla="*/ 472378 h 815526"/>
              <a:gd name="connsiteX263" fmla="*/ 483973 w 915678"/>
              <a:gd name="connsiteY263" fmla="*/ 472192 h 815526"/>
              <a:gd name="connsiteX264" fmla="*/ 471442 w 915678"/>
              <a:gd name="connsiteY264" fmla="*/ 471579 h 815526"/>
              <a:gd name="connsiteX265" fmla="*/ 470667 w 915678"/>
              <a:gd name="connsiteY265" fmla="*/ 483924 h 815526"/>
              <a:gd name="connsiteX266" fmla="*/ 433753 w 915678"/>
              <a:gd name="connsiteY266" fmla="*/ 516688 h 815526"/>
              <a:gd name="connsiteX267" fmla="*/ 445458 w 915678"/>
              <a:gd name="connsiteY267" fmla="*/ 517535 h 815526"/>
              <a:gd name="connsiteX268" fmla="*/ 446305 w 915678"/>
              <a:gd name="connsiteY268" fmla="*/ 505830 h 815526"/>
              <a:gd name="connsiteX269" fmla="*/ 434600 w 915678"/>
              <a:gd name="connsiteY269" fmla="*/ 504983 h 815526"/>
              <a:gd name="connsiteX270" fmla="*/ 434469 w 915678"/>
              <a:gd name="connsiteY270" fmla="*/ 505099 h 815526"/>
              <a:gd name="connsiteX271" fmla="*/ 433680 w 915678"/>
              <a:gd name="connsiteY271" fmla="*/ 516605 h 815526"/>
              <a:gd name="connsiteX272" fmla="*/ 433753 w 915678"/>
              <a:gd name="connsiteY272" fmla="*/ 516688 h 815526"/>
              <a:gd name="connsiteX273" fmla="*/ 396840 w 915678"/>
              <a:gd name="connsiteY273" fmla="*/ 549452 h 815526"/>
              <a:gd name="connsiteX274" fmla="*/ 407359 w 915678"/>
              <a:gd name="connsiteY274" fmla="*/ 549664 h 815526"/>
              <a:gd name="connsiteX275" fmla="*/ 407571 w 915678"/>
              <a:gd name="connsiteY275" fmla="*/ 549452 h 815526"/>
              <a:gd name="connsiteX276" fmla="*/ 408449 w 915678"/>
              <a:gd name="connsiteY276" fmla="*/ 538764 h 815526"/>
              <a:gd name="connsiteX277" fmla="*/ 408286 w 915678"/>
              <a:gd name="connsiteY277" fmla="*/ 538578 h 815526"/>
              <a:gd name="connsiteX278" fmla="*/ 397412 w 915678"/>
              <a:gd name="connsiteY278" fmla="*/ 537863 h 815526"/>
              <a:gd name="connsiteX279" fmla="*/ 397412 w 915678"/>
              <a:gd name="connsiteY279" fmla="*/ 548737 h 815526"/>
              <a:gd name="connsiteX280" fmla="*/ 359068 w 915678"/>
              <a:gd name="connsiteY280" fmla="*/ 581787 h 815526"/>
              <a:gd name="connsiteX281" fmla="*/ 368982 w 915678"/>
              <a:gd name="connsiteY281" fmla="*/ 581685 h 815526"/>
              <a:gd name="connsiteX282" fmla="*/ 368882 w 915678"/>
              <a:gd name="connsiteY282" fmla="*/ 571772 h 815526"/>
              <a:gd name="connsiteX283" fmla="*/ 359068 w 915678"/>
              <a:gd name="connsiteY283" fmla="*/ 571772 h 815526"/>
              <a:gd name="connsiteX284" fmla="*/ 359068 w 915678"/>
              <a:gd name="connsiteY284" fmla="*/ 581787 h 815526"/>
              <a:gd name="connsiteX285" fmla="*/ 322155 w 915678"/>
              <a:gd name="connsiteY285" fmla="*/ 614551 h 815526"/>
              <a:gd name="connsiteX286" fmla="*/ 331260 w 915678"/>
              <a:gd name="connsiteY286" fmla="*/ 614602 h 815526"/>
              <a:gd name="connsiteX287" fmla="*/ 331312 w 915678"/>
              <a:gd name="connsiteY287" fmla="*/ 614551 h 815526"/>
              <a:gd name="connsiteX288" fmla="*/ 331884 w 915678"/>
              <a:gd name="connsiteY288" fmla="*/ 605394 h 815526"/>
              <a:gd name="connsiteX289" fmla="*/ 322727 w 915678"/>
              <a:gd name="connsiteY289" fmla="*/ 604822 h 815526"/>
              <a:gd name="connsiteX290" fmla="*/ 322676 w 915678"/>
              <a:gd name="connsiteY290" fmla="*/ 613927 h 815526"/>
              <a:gd name="connsiteX291" fmla="*/ 322727 w 915678"/>
              <a:gd name="connsiteY291" fmla="*/ 613979 h 815526"/>
              <a:gd name="connsiteX292" fmla="*/ 284669 w 915678"/>
              <a:gd name="connsiteY292" fmla="*/ 647744 h 815526"/>
              <a:gd name="connsiteX293" fmla="*/ 292965 w 915678"/>
              <a:gd name="connsiteY293" fmla="*/ 647741 h 815526"/>
              <a:gd name="connsiteX294" fmla="*/ 292963 w 915678"/>
              <a:gd name="connsiteY294" fmla="*/ 639446 h 815526"/>
              <a:gd name="connsiteX295" fmla="*/ 284669 w 915678"/>
              <a:gd name="connsiteY295" fmla="*/ 639446 h 815526"/>
              <a:gd name="connsiteX296" fmla="*/ 284666 w 915678"/>
              <a:gd name="connsiteY296" fmla="*/ 647741 h 815526"/>
              <a:gd name="connsiteX297" fmla="*/ 284669 w 915678"/>
              <a:gd name="connsiteY297" fmla="*/ 647744 h 815526"/>
              <a:gd name="connsiteX298" fmla="*/ 248185 w 915678"/>
              <a:gd name="connsiteY298" fmla="*/ 680509 h 815526"/>
              <a:gd name="connsiteX299" fmla="*/ 255667 w 915678"/>
              <a:gd name="connsiteY299" fmla="*/ 680224 h 815526"/>
              <a:gd name="connsiteX300" fmla="*/ 256054 w 915678"/>
              <a:gd name="connsiteY300" fmla="*/ 673498 h 815526"/>
              <a:gd name="connsiteX301" fmla="*/ 248656 w 915678"/>
              <a:gd name="connsiteY301" fmla="*/ 672355 h 815526"/>
              <a:gd name="connsiteX302" fmla="*/ 247513 w 915678"/>
              <a:gd name="connsiteY302" fmla="*/ 679753 h 815526"/>
              <a:gd name="connsiteX303" fmla="*/ 248185 w 915678"/>
              <a:gd name="connsiteY303" fmla="*/ 680509 h 815526"/>
              <a:gd name="connsiteX304" fmla="*/ 211272 w 915678"/>
              <a:gd name="connsiteY304" fmla="*/ 713273 h 815526"/>
              <a:gd name="connsiteX305" fmla="*/ 217746 w 915678"/>
              <a:gd name="connsiteY305" fmla="*/ 713380 h 815526"/>
              <a:gd name="connsiteX306" fmla="*/ 217853 w 915678"/>
              <a:gd name="connsiteY306" fmla="*/ 713273 h 815526"/>
              <a:gd name="connsiteX307" fmla="*/ 217853 w 915678"/>
              <a:gd name="connsiteY307" fmla="*/ 706691 h 815526"/>
              <a:gd name="connsiteX308" fmla="*/ 211339 w 915678"/>
              <a:gd name="connsiteY308" fmla="*/ 705223 h 815526"/>
              <a:gd name="connsiteX309" fmla="*/ 209871 w 915678"/>
              <a:gd name="connsiteY309" fmla="*/ 711736 h 815526"/>
              <a:gd name="connsiteX310" fmla="*/ 210843 w 915678"/>
              <a:gd name="connsiteY310" fmla="*/ 712843 h 815526"/>
              <a:gd name="connsiteX311" fmla="*/ 173786 w 915678"/>
              <a:gd name="connsiteY311" fmla="*/ 745607 h 815526"/>
              <a:gd name="connsiteX312" fmla="*/ 179652 w 915678"/>
              <a:gd name="connsiteY312" fmla="*/ 745607 h 815526"/>
              <a:gd name="connsiteX313" fmla="*/ 179652 w 915678"/>
              <a:gd name="connsiteY313" fmla="*/ 739885 h 815526"/>
              <a:gd name="connsiteX314" fmla="*/ 174196 w 915678"/>
              <a:gd name="connsiteY314" fmla="*/ 739618 h 815526"/>
              <a:gd name="connsiteX315" fmla="*/ 173929 w 915678"/>
              <a:gd name="connsiteY315" fmla="*/ 739885 h 815526"/>
              <a:gd name="connsiteX316" fmla="*/ 173872 w 915678"/>
              <a:gd name="connsiteY316" fmla="*/ 745550 h 815526"/>
              <a:gd name="connsiteX317" fmla="*/ 173929 w 915678"/>
              <a:gd name="connsiteY317" fmla="*/ 745607 h 815526"/>
              <a:gd name="connsiteX318" fmla="*/ 137302 w 915678"/>
              <a:gd name="connsiteY318" fmla="*/ 778801 h 815526"/>
              <a:gd name="connsiteX319" fmla="*/ 142158 w 915678"/>
              <a:gd name="connsiteY319" fmla="*/ 778792 h 815526"/>
              <a:gd name="connsiteX320" fmla="*/ 142150 w 915678"/>
              <a:gd name="connsiteY320" fmla="*/ 773936 h 815526"/>
              <a:gd name="connsiteX321" fmla="*/ 137302 w 915678"/>
              <a:gd name="connsiteY321" fmla="*/ 773936 h 815526"/>
              <a:gd name="connsiteX322" fmla="*/ 137294 w 915678"/>
              <a:gd name="connsiteY322" fmla="*/ 778792 h 815526"/>
              <a:gd name="connsiteX323" fmla="*/ 137302 w 915678"/>
              <a:gd name="connsiteY323" fmla="*/ 778801 h 815526"/>
              <a:gd name="connsiteX324" fmla="*/ 449205 w 915678"/>
              <a:gd name="connsiteY324" fmla="*/ 460459 h 815526"/>
              <a:gd name="connsiteX325" fmla="*/ 461547 w 915678"/>
              <a:gd name="connsiteY325" fmla="*/ 460565 h 815526"/>
              <a:gd name="connsiteX326" fmla="*/ 461653 w 915678"/>
              <a:gd name="connsiteY326" fmla="*/ 460459 h 815526"/>
              <a:gd name="connsiteX327" fmla="*/ 462511 w 915678"/>
              <a:gd name="connsiteY327" fmla="*/ 448012 h 815526"/>
              <a:gd name="connsiteX328" fmla="*/ 449921 w 915678"/>
              <a:gd name="connsiteY328" fmla="*/ 447153 h 815526"/>
              <a:gd name="connsiteX329" fmla="*/ 449875 w 915678"/>
              <a:gd name="connsiteY329" fmla="*/ 459698 h 815526"/>
              <a:gd name="connsiteX330" fmla="*/ 449921 w 915678"/>
              <a:gd name="connsiteY330" fmla="*/ 459744 h 815526"/>
              <a:gd name="connsiteX331" fmla="*/ 412864 w 915678"/>
              <a:gd name="connsiteY331" fmla="*/ 492508 h 815526"/>
              <a:gd name="connsiteX332" fmla="*/ 424512 w 915678"/>
              <a:gd name="connsiteY332" fmla="*/ 493940 h 815526"/>
              <a:gd name="connsiteX333" fmla="*/ 425944 w 915678"/>
              <a:gd name="connsiteY333" fmla="*/ 482293 h 815526"/>
              <a:gd name="connsiteX334" fmla="*/ 414297 w 915678"/>
              <a:gd name="connsiteY334" fmla="*/ 480860 h 815526"/>
              <a:gd name="connsiteX335" fmla="*/ 413437 w 915678"/>
              <a:gd name="connsiteY335" fmla="*/ 481635 h 815526"/>
              <a:gd name="connsiteX336" fmla="*/ 412704 w 915678"/>
              <a:gd name="connsiteY336" fmla="*/ 493347 h 815526"/>
              <a:gd name="connsiteX337" fmla="*/ 412721 w 915678"/>
              <a:gd name="connsiteY337" fmla="*/ 493367 h 815526"/>
              <a:gd name="connsiteX338" fmla="*/ 375236 w 915678"/>
              <a:gd name="connsiteY338" fmla="*/ 525988 h 815526"/>
              <a:gd name="connsiteX339" fmla="*/ 386109 w 915678"/>
              <a:gd name="connsiteY339" fmla="*/ 525988 h 815526"/>
              <a:gd name="connsiteX340" fmla="*/ 386109 w 915678"/>
              <a:gd name="connsiteY340" fmla="*/ 515114 h 815526"/>
              <a:gd name="connsiteX341" fmla="*/ 375386 w 915678"/>
              <a:gd name="connsiteY341" fmla="*/ 514964 h 815526"/>
              <a:gd name="connsiteX342" fmla="*/ 375236 w 915678"/>
              <a:gd name="connsiteY342" fmla="*/ 515114 h 815526"/>
              <a:gd name="connsiteX343" fmla="*/ 375236 w 915678"/>
              <a:gd name="connsiteY343" fmla="*/ 525988 h 815526"/>
              <a:gd name="connsiteX344" fmla="*/ 338179 w 915678"/>
              <a:gd name="connsiteY344" fmla="*/ 558752 h 815526"/>
              <a:gd name="connsiteX345" fmla="*/ 348195 w 915678"/>
              <a:gd name="connsiteY345" fmla="*/ 558752 h 815526"/>
              <a:gd name="connsiteX346" fmla="*/ 349027 w 915678"/>
              <a:gd name="connsiteY346" fmla="*/ 548873 h 815526"/>
              <a:gd name="connsiteX347" fmla="*/ 348910 w 915678"/>
              <a:gd name="connsiteY347" fmla="*/ 548737 h 815526"/>
              <a:gd name="connsiteX348" fmla="*/ 338895 w 915678"/>
              <a:gd name="connsiteY348" fmla="*/ 548737 h 815526"/>
              <a:gd name="connsiteX349" fmla="*/ 338793 w 915678"/>
              <a:gd name="connsiteY349" fmla="*/ 558650 h 815526"/>
              <a:gd name="connsiteX350" fmla="*/ 338895 w 915678"/>
              <a:gd name="connsiteY350" fmla="*/ 558752 h 815526"/>
              <a:gd name="connsiteX351" fmla="*/ 301981 w 915678"/>
              <a:gd name="connsiteY351" fmla="*/ 591516 h 815526"/>
              <a:gd name="connsiteX352" fmla="*/ 311138 w 915678"/>
              <a:gd name="connsiteY352" fmla="*/ 591516 h 815526"/>
              <a:gd name="connsiteX353" fmla="*/ 311710 w 915678"/>
              <a:gd name="connsiteY353" fmla="*/ 582359 h 815526"/>
              <a:gd name="connsiteX354" fmla="*/ 302554 w 915678"/>
              <a:gd name="connsiteY354" fmla="*/ 581787 h 815526"/>
              <a:gd name="connsiteX355" fmla="*/ 302554 w 915678"/>
              <a:gd name="connsiteY355" fmla="*/ 590944 h 815526"/>
              <a:gd name="connsiteX356" fmla="*/ 264353 w 915678"/>
              <a:gd name="connsiteY356" fmla="*/ 624709 h 815526"/>
              <a:gd name="connsiteX357" fmla="*/ 272648 w 915678"/>
              <a:gd name="connsiteY357" fmla="*/ 624706 h 815526"/>
              <a:gd name="connsiteX358" fmla="*/ 272647 w 915678"/>
              <a:gd name="connsiteY358" fmla="*/ 616411 h 815526"/>
              <a:gd name="connsiteX359" fmla="*/ 264353 w 915678"/>
              <a:gd name="connsiteY359" fmla="*/ 616411 h 815526"/>
              <a:gd name="connsiteX360" fmla="*/ 264350 w 915678"/>
              <a:gd name="connsiteY360" fmla="*/ 624706 h 815526"/>
              <a:gd name="connsiteX361" fmla="*/ 264353 w 915678"/>
              <a:gd name="connsiteY361" fmla="*/ 624709 h 815526"/>
              <a:gd name="connsiteX362" fmla="*/ 227439 w 915678"/>
              <a:gd name="connsiteY362" fmla="*/ 657044 h 815526"/>
              <a:gd name="connsiteX363" fmla="*/ 235022 w 915678"/>
              <a:gd name="connsiteY363" fmla="*/ 657044 h 815526"/>
              <a:gd name="connsiteX364" fmla="*/ 235022 w 915678"/>
              <a:gd name="connsiteY364" fmla="*/ 649604 h 815526"/>
              <a:gd name="connsiteX365" fmla="*/ 227511 w 915678"/>
              <a:gd name="connsiteY365" fmla="*/ 649104 h 815526"/>
              <a:gd name="connsiteX366" fmla="*/ 227010 w 915678"/>
              <a:gd name="connsiteY366" fmla="*/ 656615 h 815526"/>
              <a:gd name="connsiteX367" fmla="*/ 190097 w 915678"/>
              <a:gd name="connsiteY367" fmla="*/ 689379 h 815526"/>
              <a:gd name="connsiteX368" fmla="*/ 196678 w 915678"/>
              <a:gd name="connsiteY368" fmla="*/ 689379 h 815526"/>
              <a:gd name="connsiteX369" fmla="*/ 196786 w 915678"/>
              <a:gd name="connsiteY369" fmla="*/ 682905 h 815526"/>
              <a:gd name="connsiteX370" fmla="*/ 196678 w 915678"/>
              <a:gd name="connsiteY370" fmla="*/ 682798 h 815526"/>
              <a:gd name="connsiteX371" fmla="*/ 190097 w 915678"/>
              <a:gd name="connsiteY371" fmla="*/ 682798 h 815526"/>
              <a:gd name="connsiteX372" fmla="*/ 189990 w 915678"/>
              <a:gd name="connsiteY372" fmla="*/ 689272 h 815526"/>
              <a:gd name="connsiteX373" fmla="*/ 190097 w 915678"/>
              <a:gd name="connsiteY373" fmla="*/ 689379 h 815526"/>
              <a:gd name="connsiteX374" fmla="*/ 153184 w 915678"/>
              <a:gd name="connsiteY374" fmla="*/ 722143 h 815526"/>
              <a:gd name="connsiteX375" fmla="*/ 158907 w 915678"/>
              <a:gd name="connsiteY375" fmla="*/ 722143 h 815526"/>
              <a:gd name="connsiteX376" fmla="*/ 159173 w 915678"/>
              <a:gd name="connsiteY376" fmla="*/ 716686 h 815526"/>
              <a:gd name="connsiteX377" fmla="*/ 158907 w 915678"/>
              <a:gd name="connsiteY377" fmla="*/ 716420 h 815526"/>
              <a:gd name="connsiteX378" fmla="*/ 153241 w 915678"/>
              <a:gd name="connsiteY378" fmla="*/ 716363 h 815526"/>
              <a:gd name="connsiteX379" fmla="*/ 153184 w 915678"/>
              <a:gd name="connsiteY379" fmla="*/ 716420 h 815526"/>
              <a:gd name="connsiteX380" fmla="*/ 153184 w 915678"/>
              <a:gd name="connsiteY380" fmla="*/ 722286 h 815526"/>
              <a:gd name="connsiteX381" fmla="*/ 116127 w 915678"/>
              <a:gd name="connsiteY381" fmla="*/ 755050 h 815526"/>
              <a:gd name="connsiteX382" fmla="*/ 121185 w 915678"/>
              <a:gd name="connsiteY382" fmla="*/ 755101 h 815526"/>
              <a:gd name="connsiteX383" fmla="*/ 121236 w 915678"/>
              <a:gd name="connsiteY383" fmla="*/ 750043 h 815526"/>
              <a:gd name="connsiteX384" fmla="*/ 116177 w 915678"/>
              <a:gd name="connsiteY384" fmla="*/ 749993 h 815526"/>
              <a:gd name="connsiteX385" fmla="*/ 116127 w 915678"/>
              <a:gd name="connsiteY385" fmla="*/ 750043 h 815526"/>
              <a:gd name="connsiteX386" fmla="*/ 116127 w 915678"/>
              <a:gd name="connsiteY386" fmla="*/ 755050 h 815526"/>
              <a:gd name="connsiteX387" fmla="*/ 79214 w 915678"/>
              <a:gd name="connsiteY387" fmla="*/ 787672 h 815526"/>
              <a:gd name="connsiteX388" fmla="*/ 83055 w 915678"/>
              <a:gd name="connsiteY388" fmla="*/ 787838 h 815526"/>
              <a:gd name="connsiteX389" fmla="*/ 83220 w 915678"/>
              <a:gd name="connsiteY389" fmla="*/ 787672 h 815526"/>
              <a:gd name="connsiteX390" fmla="*/ 83385 w 915678"/>
              <a:gd name="connsiteY390" fmla="*/ 783830 h 815526"/>
              <a:gd name="connsiteX391" fmla="*/ 83220 w 915678"/>
              <a:gd name="connsiteY391" fmla="*/ 783665 h 815526"/>
              <a:gd name="connsiteX392" fmla="*/ 79214 w 915678"/>
              <a:gd name="connsiteY392" fmla="*/ 783665 h 815526"/>
              <a:gd name="connsiteX393" fmla="*/ 79049 w 915678"/>
              <a:gd name="connsiteY393" fmla="*/ 787506 h 815526"/>
              <a:gd name="connsiteX394" fmla="*/ 79214 w 915678"/>
              <a:gd name="connsiteY394" fmla="*/ 787672 h 815526"/>
              <a:gd name="connsiteX395" fmla="*/ 479823 w 915678"/>
              <a:gd name="connsiteY395" fmla="*/ 391354 h 815526"/>
              <a:gd name="connsiteX396" fmla="*/ 467233 w 915678"/>
              <a:gd name="connsiteY396" fmla="*/ 390496 h 815526"/>
              <a:gd name="connsiteX397" fmla="*/ 466374 w 915678"/>
              <a:gd name="connsiteY397" fmla="*/ 403086 h 815526"/>
              <a:gd name="connsiteX398" fmla="*/ 478965 w 915678"/>
              <a:gd name="connsiteY398" fmla="*/ 403945 h 815526"/>
              <a:gd name="connsiteX399" fmla="*/ 479823 w 915678"/>
              <a:gd name="connsiteY399" fmla="*/ 391354 h 815526"/>
              <a:gd name="connsiteX400" fmla="*/ 516737 w 915678"/>
              <a:gd name="connsiteY400" fmla="*/ 358590 h 815526"/>
              <a:gd name="connsiteX401" fmla="*/ 505032 w 915678"/>
              <a:gd name="connsiteY401" fmla="*/ 357743 h 815526"/>
              <a:gd name="connsiteX402" fmla="*/ 504185 w 915678"/>
              <a:gd name="connsiteY402" fmla="*/ 369448 h 815526"/>
              <a:gd name="connsiteX403" fmla="*/ 515890 w 915678"/>
              <a:gd name="connsiteY403" fmla="*/ 370295 h 815526"/>
              <a:gd name="connsiteX404" fmla="*/ 516021 w 915678"/>
              <a:gd name="connsiteY404" fmla="*/ 370179 h 815526"/>
              <a:gd name="connsiteX405" fmla="*/ 516810 w 915678"/>
              <a:gd name="connsiteY405" fmla="*/ 358673 h 815526"/>
              <a:gd name="connsiteX406" fmla="*/ 516737 w 915678"/>
              <a:gd name="connsiteY406" fmla="*/ 358590 h 815526"/>
              <a:gd name="connsiteX407" fmla="*/ 553650 w 915678"/>
              <a:gd name="connsiteY407" fmla="*/ 325826 h 815526"/>
              <a:gd name="connsiteX408" fmla="*/ 542848 w 915678"/>
              <a:gd name="connsiteY408" fmla="*/ 325182 h 815526"/>
              <a:gd name="connsiteX409" fmla="*/ 542204 w 915678"/>
              <a:gd name="connsiteY409" fmla="*/ 335984 h 815526"/>
              <a:gd name="connsiteX410" fmla="*/ 553078 w 915678"/>
              <a:gd name="connsiteY410" fmla="*/ 335984 h 815526"/>
              <a:gd name="connsiteX411" fmla="*/ 553078 w 915678"/>
              <a:gd name="connsiteY411" fmla="*/ 325111 h 815526"/>
              <a:gd name="connsiteX412" fmla="*/ 590134 w 915678"/>
              <a:gd name="connsiteY412" fmla="*/ 292347 h 815526"/>
              <a:gd name="connsiteX413" fmla="*/ 580426 w 915678"/>
              <a:gd name="connsiteY413" fmla="*/ 292039 h 815526"/>
              <a:gd name="connsiteX414" fmla="*/ 580119 w 915678"/>
              <a:gd name="connsiteY414" fmla="*/ 292347 h 815526"/>
              <a:gd name="connsiteX415" fmla="*/ 579286 w 915678"/>
              <a:gd name="connsiteY415" fmla="*/ 302226 h 815526"/>
              <a:gd name="connsiteX416" fmla="*/ 579403 w 915678"/>
              <a:gd name="connsiteY416" fmla="*/ 302362 h 815526"/>
              <a:gd name="connsiteX417" fmla="*/ 589419 w 915678"/>
              <a:gd name="connsiteY417" fmla="*/ 302362 h 815526"/>
              <a:gd name="connsiteX418" fmla="*/ 589520 w 915678"/>
              <a:gd name="connsiteY418" fmla="*/ 292448 h 815526"/>
              <a:gd name="connsiteX419" fmla="*/ 589419 w 915678"/>
              <a:gd name="connsiteY419" fmla="*/ 292347 h 815526"/>
              <a:gd name="connsiteX420" fmla="*/ 628049 w 915678"/>
              <a:gd name="connsiteY420" fmla="*/ 260584 h 815526"/>
              <a:gd name="connsiteX421" fmla="*/ 618944 w 915678"/>
              <a:gd name="connsiteY421" fmla="*/ 260532 h 815526"/>
              <a:gd name="connsiteX422" fmla="*/ 618892 w 915678"/>
              <a:gd name="connsiteY422" fmla="*/ 260584 h 815526"/>
              <a:gd name="connsiteX423" fmla="*/ 618320 w 915678"/>
              <a:gd name="connsiteY423" fmla="*/ 269741 h 815526"/>
              <a:gd name="connsiteX424" fmla="*/ 627477 w 915678"/>
              <a:gd name="connsiteY424" fmla="*/ 270313 h 815526"/>
              <a:gd name="connsiteX425" fmla="*/ 627528 w 915678"/>
              <a:gd name="connsiteY425" fmla="*/ 261208 h 815526"/>
              <a:gd name="connsiteX426" fmla="*/ 627477 w 915678"/>
              <a:gd name="connsiteY426" fmla="*/ 261156 h 815526"/>
              <a:gd name="connsiteX427" fmla="*/ 664390 w 915678"/>
              <a:gd name="connsiteY427" fmla="*/ 228392 h 815526"/>
              <a:gd name="connsiteX428" fmla="*/ 656094 w 915678"/>
              <a:gd name="connsiteY428" fmla="*/ 228395 h 815526"/>
              <a:gd name="connsiteX429" fmla="*/ 656096 w 915678"/>
              <a:gd name="connsiteY429" fmla="*/ 236690 h 815526"/>
              <a:gd name="connsiteX430" fmla="*/ 664390 w 915678"/>
              <a:gd name="connsiteY430" fmla="*/ 236690 h 815526"/>
              <a:gd name="connsiteX431" fmla="*/ 664393 w 915678"/>
              <a:gd name="connsiteY431" fmla="*/ 228395 h 815526"/>
              <a:gd name="connsiteX432" fmla="*/ 664390 w 915678"/>
              <a:gd name="connsiteY432" fmla="*/ 228392 h 815526"/>
              <a:gd name="connsiteX433" fmla="*/ 701303 w 915678"/>
              <a:gd name="connsiteY433" fmla="*/ 195485 h 815526"/>
              <a:gd name="connsiteX434" fmla="*/ 693792 w 915678"/>
              <a:gd name="connsiteY434" fmla="*/ 194984 h 815526"/>
              <a:gd name="connsiteX435" fmla="*/ 693291 w 915678"/>
              <a:gd name="connsiteY435" fmla="*/ 202496 h 815526"/>
              <a:gd name="connsiteX436" fmla="*/ 700802 w 915678"/>
              <a:gd name="connsiteY436" fmla="*/ 202996 h 815526"/>
              <a:gd name="connsiteX437" fmla="*/ 701303 w 915678"/>
              <a:gd name="connsiteY437" fmla="*/ 195485 h 815526"/>
              <a:gd name="connsiteX438" fmla="*/ 738216 w 915678"/>
              <a:gd name="connsiteY438" fmla="*/ 162721 h 815526"/>
              <a:gd name="connsiteX439" fmla="*/ 731635 w 915678"/>
              <a:gd name="connsiteY439" fmla="*/ 162721 h 815526"/>
              <a:gd name="connsiteX440" fmla="*/ 731541 w 915678"/>
              <a:gd name="connsiteY440" fmla="*/ 169397 h 815526"/>
              <a:gd name="connsiteX441" fmla="*/ 738216 w 915678"/>
              <a:gd name="connsiteY441" fmla="*/ 169493 h 815526"/>
              <a:gd name="connsiteX442" fmla="*/ 738311 w 915678"/>
              <a:gd name="connsiteY442" fmla="*/ 162815 h 815526"/>
              <a:gd name="connsiteX443" fmla="*/ 738216 w 915678"/>
              <a:gd name="connsiteY443" fmla="*/ 162721 h 815526"/>
              <a:gd name="connsiteX444" fmla="*/ 775130 w 915678"/>
              <a:gd name="connsiteY444" fmla="*/ 129957 h 815526"/>
              <a:gd name="connsiteX445" fmla="*/ 769464 w 915678"/>
              <a:gd name="connsiteY445" fmla="*/ 130014 h 815526"/>
              <a:gd name="connsiteX446" fmla="*/ 769523 w 915678"/>
              <a:gd name="connsiteY446" fmla="*/ 135680 h 815526"/>
              <a:gd name="connsiteX447" fmla="*/ 775130 w 915678"/>
              <a:gd name="connsiteY447" fmla="*/ 135680 h 815526"/>
              <a:gd name="connsiteX448" fmla="*/ 775396 w 915678"/>
              <a:gd name="connsiteY448" fmla="*/ 130223 h 815526"/>
              <a:gd name="connsiteX449" fmla="*/ 775130 w 915678"/>
              <a:gd name="connsiteY449" fmla="*/ 129957 h 815526"/>
              <a:gd name="connsiteX450" fmla="*/ 812186 w 915678"/>
              <a:gd name="connsiteY450" fmla="*/ 97192 h 815526"/>
              <a:gd name="connsiteX451" fmla="*/ 807330 w 915678"/>
              <a:gd name="connsiteY451" fmla="*/ 97201 h 815526"/>
              <a:gd name="connsiteX452" fmla="*/ 807339 w 915678"/>
              <a:gd name="connsiteY452" fmla="*/ 102057 h 815526"/>
              <a:gd name="connsiteX453" fmla="*/ 812186 w 915678"/>
              <a:gd name="connsiteY453" fmla="*/ 102057 h 815526"/>
              <a:gd name="connsiteX454" fmla="*/ 812195 w 915678"/>
              <a:gd name="connsiteY454" fmla="*/ 97201 h 815526"/>
              <a:gd name="connsiteX455" fmla="*/ 812186 w 915678"/>
              <a:gd name="connsiteY455" fmla="*/ 97192 h 815526"/>
              <a:gd name="connsiteX456" fmla="*/ 849099 w 915678"/>
              <a:gd name="connsiteY456" fmla="*/ 64428 h 815526"/>
              <a:gd name="connsiteX457" fmla="*/ 845022 w 915678"/>
              <a:gd name="connsiteY457" fmla="*/ 64214 h 815526"/>
              <a:gd name="connsiteX458" fmla="*/ 844807 w 915678"/>
              <a:gd name="connsiteY458" fmla="*/ 68291 h 815526"/>
              <a:gd name="connsiteX459" fmla="*/ 848813 w 915678"/>
              <a:gd name="connsiteY459" fmla="*/ 68291 h 815526"/>
              <a:gd name="connsiteX460" fmla="*/ 848813 w 915678"/>
              <a:gd name="connsiteY460" fmla="*/ 64142 h 815526"/>
              <a:gd name="connsiteX461" fmla="*/ 458648 w 915678"/>
              <a:gd name="connsiteY461" fmla="*/ 368033 h 815526"/>
              <a:gd name="connsiteX462" fmla="*/ 446058 w 915678"/>
              <a:gd name="connsiteY462" fmla="*/ 367318 h 815526"/>
              <a:gd name="connsiteX463" fmla="*/ 445281 w 915678"/>
              <a:gd name="connsiteY463" fmla="*/ 379838 h 815526"/>
              <a:gd name="connsiteX464" fmla="*/ 445342 w 915678"/>
              <a:gd name="connsiteY464" fmla="*/ 379908 h 815526"/>
              <a:gd name="connsiteX465" fmla="*/ 457933 w 915678"/>
              <a:gd name="connsiteY465" fmla="*/ 380624 h 815526"/>
              <a:gd name="connsiteX466" fmla="*/ 458648 w 915678"/>
              <a:gd name="connsiteY466" fmla="*/ 368033 h 815526"/>
              <a:gd name="connsiteX467" fmla="*/ 495562 w 915678"/>
              <a:gd name="connsiteY467" fmla="*/ 335269 h 815526"/>
              <a:gd name="connsiteX468" fmla="*/ 483847 w 915678"/>
              <a:gd name="connsiteY468" fmla="*/ 334574 h 815526"/>
              <a:gd name="connsiteX469" fmla="*/ 483151 w 915678"/>
              <a:gd name="connsiteY469" fmla="*/ 346289 h 815526"/>
              <a:gd name="connsiteX470" fmla="*/ 494846 w 915678"/>
              <a:gd name="connsiteY470" fmla="*/ 347001 h 815526"/>
              <a:gd name="connsiteX471" fmla="*/ 495579 w 915678"/>
              <a:gd name="connsiteY471" fmla="*/ 335289 h 815526"/>
              <a:gd name="connsiteX472" fmla="*/ 495562 w 915678"/>
              <a:gd name="connsiteY472" fmla="*/ 335269 h 815526"/>
              <a:gd name="connsiteX473" fmla="*/ 532618 w 915678"/>
              <a:gd name="connsiteY473" fmla="*/ 302505 h 815526"/>
              <a:gd name="connsiteX474" fmla="*/ 521744 w 915678"/>
              <a:gd name="connsiteY474" fmla="*/ 302505 h 815526"/>
              <a:gd name="connsiteX475" fmla="*/ 521594 w 915678"/>
              <a:gd name="connsiteY475" fmla="*/ 313228 h 815526"/>
              <a:gd name="connsiteX476" fmla="*/ 521744 w 915678"/>
              <a:gd name="connsiteY476" fmla="*/ 313379 h 815526"/>
              <a:gd name="connsiteX477" fmla="*/ 532618 w 915678"/>
              <a:gd name="connsiteY477" fmla="*/ 313379 h 815526"/>
              <a:gd name="connsiteX478" fmla="*/ 532618 w 915678"/>
              <a:gd name="connsiteY478" fmla="*/ 302505 h 815526"/>
              <a:gd name="connsiteX479" fmla="*/ 569531 w 915678"/>
              <a:gd name="connsiteY479" fmla="*/ 269741 h 815526"/>
              <a:gd name="connsiteX480" fmla="*/ 559516 w 915678"/>
              <a:gd name="connsiteY480" fmla="*/ 269741 h 815526"/>
              <a:gd name="connsiteX481" fmla="*/ 560253 w 915678"/>
              <a:gd name="connsiteY481" fmla="*/ 279830 h 815526"/>
              <a:gd name="connsiteX482" fmla="*/ 568959 w 915678"/>
              <a:gd name="connsiteY482" fmla="*/ 280328 h 815526"/>
              <a:gd name="connsiteX483" fmla="*/ 568959 w 915678"/>
              <a:gd name="connsiteY483" fmla="*/ 270313 h 815526"/>
              <a:gd name="connsiteX484" fmla="*/ 605872 w 915678"/>
              <a:gd name="connsiteY484" fmla="*/ 237549 h 815526"/>
              <a:gd name="connsiteX485" fmla="*/ 596716 w 915678"/>
              <a:gd name="connsiteY485" fmla="*/ 237549 h 815526"/>
              <a:gd name="connsiteX486" fmla="*/ 596716 w 915678"/>
              <a:gd name="connsiteY486" fmla="*/ 246706 h 815526"/>
              <a:gd name="connsiteX487" fmla="*/ 605872 w 915678"/>
              <a:gd name="connsiteY487" fmla="*/ 246706 h 815526"/>
              <a:gd name="connsiteX488" fmla="*/ 605924 w 915678"/>
              <a:gd name="connsiteY488" fmla="*/ 237600 h 815526"/>
              <a:gd name="connsiteX489" fmla="*/ 605872 w 915678"/>
              <a:gd name="connsiteY489" fmla="*/ 237549 h 815526"/>
              <a:gd name="connsiteX490" fmla="*/ 642929 w 915678"/>
              <a:gd name="connsiteY490" fmla="*/ 204928 h 815526"/>
              <a:gd name="connsiteX491" fmla="*/ 634633 w 915678"/>
              <a:gd name="connsiteY491" fmla="*/ 204931 h 815526"/>
              <a:gd name="connsiteX492" fmla="*/ 634635 w 915678"/>
              <a:gd name="connsiteY492" fmla="*/ 213226 h 815526"/>
              <a:gd name="connsiteX493" fmla="*/ 642929 w 915678"/>
              <a:gd name="connsiteY493" fmla="*/ 213226 h 815526"/>
              <a:gd name="connsiteX494" fmla="*/ 642932 w 915678"/>
              <a:gd name="connsiteY494" fmla="*/ 204931 h 815526"/>
              <a:gd name="connsiteX495" fmla="*/ 642929 w 915678"/>
              <a:gd name="connsiteY495" fmla="*/ 204928 h 815526"/>
              <a:gd name="connsiteX496" fmla="*/ 679842 w 915678"/>
              <a:gd name="connsiteY496" fmla="*/ 172164 h 815526"/>
              <a:gd name="connsiteX497" fmla="*/ 672402 w 915678"/>
              <a:gd name="connsiteY497" fmla="*/ 172164 h 815526"/>
              <a:gd name="connsiteX498" fmla="*/ 671901 w 915678"/>
              <a:gd name="connsiteY498" fmla="*/ 179675 h 815526"/>
              <a:gd name="connsiteX499" fmla="*/ 679413 w 915678"/>
              <a:gd name="connsiteY499" fmla="*/ 180176 h 815526"/>
              <a:gd name="connsiteX500" fmla="*/ 679413 w 915678"/>
              <a:gd name="connsiteY500" fmla="*/ 172736 h 815526"/>
              <a:gd name="connsiteX501" fmla="*/ 717328 w 915678"/>
              <a:gd name="connsiteY501" fmla="*/ 138255 h 815526"/>
              <a:gd name="connsiteX502" fmla="*/ 710853 w 915678"/>
              <a:gd name="connsiteY502" fmla="*/ 138148 h 815526"/>
              <a:gd name="connsiteX503" fmla="*/ 710746 w 915678"/>
              <a:gd name="connsiteY503" fmla="*/ 138255 h 815526"/>
              <a:gd name="connsiteX504" fmla="*/ 710746 w 915678"/>
              <a:gd name="connsiteY504" fmla="*/ 144836 h 815526"/>
              <a:gd name="connsiteX505" fmla="*/ 717471 w 915678"/>
              <a:gd name="connsiteY505" fmla="*/ 144836 h 815526"/>
              <a:gd name="connsiteX506" fmla="*/ 717471 w 915678"/>
              <a:gd name="connsiteY506" fmla="*/ 138255 h 815526"/>
              <a:gd name="connsiteX507" fmla="*/ 754527 w 915678"/>
              <a:gd name="connsiteY507" fmla="*/ 105491 h 815526"/>
              <a:gd name="connsiteX508" fmla="*/ 748661 w 915678"/>
              <a:gd name="connsiteY508" fmla="*/ 105491 h 815526"/>
              <a:gd name="connsiteX509" fmla="*/ 748661 w 915678"/>
              <a:gd name="connsiteY509" fmla="*/ 111214 h 815526"/>
              <a:gd name="connsiteX510" fmla="*/ 754384 w 915678"/>
              <a:gd name="connsiteY510" fmla="*/ 111643 h 815526"/>
              <a:gd name="connsiteX511" fmla="*/ 754813 w 915678"/>
              <a:gd name="connsiteY511" fmla="*/ 105920 h 815526"/>
              <a:gd name="connsiteX512" fmla="*/ 791726 w 915678"/>
              <a:gd name="connsiteY512" fmla="*/ 73156 h 815526"/>
              <a:gd name="connsiteX513" fmla="*/ 786871 w 915678"/>
              <a:gd name="connsiteY513" fmla="*/ 73165 h 815526"/>
              <a:gd name="connsiteX514" fmla="*/ 786879 w 915678"/>
              <a:gd name="connsiteY514" fmla="*/ 78021 h 815526"/>
              <a:gd name="connsiteX515" fmla="*/ 791726 w 915678"/>
              <a:gd name="connsiteY515" fmla="*/ 78021 h 815526"/>
              <a:gd name="connsiteX516" fmla="*/ 791735 w 915678"/>
              <a:gd name="connsiteY516" fmla="*/ 73165 h 815526"/>
              <a:gd name="connsiteX517" fmla="*/ 791726 w 915678"/>
              <a:gd name="connsiteY517" fmla="*/ 73156 h 815526"/>
              <a:gd name="connsiteX518" fmla="*/ 828354 w 915678"/>
              <a:gd name="connsiteY518" fmla="*/ 40535 h 815526"/>
              <a:gd name="connsiteX519" fmla="*/ 824312 w 915678"/>
              <a:gd name="connsiteY519" fmla="*/ 40744 h 815526"/>
              <a:gd name="connsiteX520" fmla="*/ 824061 w 915678"/>
              <a:gd name="connsiteY520" fmla="*/ 44255 h 815526"/>
              <a:gd name="connsiteX521" fmla="*/ 828210 w 915678"/>
              <a:gd name="connsiteY521" fmla="*/ 44255 h 815526"/>
              <a:gd name="connsiteX522" fmla="*/ 828375 w 915678"/>
              <a:gd name="connsiteY522" fmla="*/ 40413 h 815526"/>
              <a:gd name="connsiteX523" fmla="*/ 828210 w 915678"/>
              <a:gd name="connsiteY523" fmla="*/ 40249 h 815526"/>
              <a:gd name="connsiteX524" fmla="*/ 437759 w 915678"/>
              <a:gd name="connsiteY524" fmla="*/ 344569 h 815526"/>
              <a:gd name="connsiteX525" fmla="*/ 425229 w 915678"/>
              <a:gd name="connsiteY525" fmla="*/ 343957 h 815526"/>
              <a:gd name="connsiteX526" fmla="*/ 424453 w 915678"/>
              <a:gd name="connsiteY526" fmla="*/ 356301 h 815526"/>
              <a:gd name="connsiteX527" fmla="*/ 437044 w 915678"/>
              <a:gd name="connsiteY527" fmla="*/ 357159 h 815526"/>
              <a:gd name="connsiteX528" fmla="*/ 437821 w 915678"/>
              <a:gd name="connsiteY528" fmla="*/ 344639 h 815526"/>
              <a:gd name="connsiteX529" fmla="*/ 437759 w 915678"/>
              <a:gd name="connsiteY529" fmla="*/ 344569 h 815526"/>
              <a:gd name="connsiteX530" fmla="*/ 474816 w 915678"/>
              <a:gd name="connsiteY530" fmla="*/ 311805 h 815526"/>
              <a:gd name="connsiteX531" fmla="*/ 463081 w 915678"/>
              <a:gd name="connsiteY531" fmla="*/ 311802 h 815526"/>
              <a:gd name="connsiteX532" fmla="*/ 463076 w 915678"/>
              <a:gd name="connsiteY532" fmla="*/ 323537 h 815526"/>
              <a:gd name="connsiteX533" fmla="*/ 474813 w 915678"/>
              <a:gd name="connsiteY533" fmla="*/ 323540 h 815526"/>
              <a:gd name="connsiteX534" fmla="*/ 474816 w 915678"/>
              <a:gd name="connsiteY534" fmla="*/ 323537 h 815526"/>
              <a:gd name="connsiteX535" fmla="*/ 474816 w 915678"/>
              <a:gd name="connsiteY535" fmla="*/ 311805 h 815526"/>
              <a:gd name="connsiteX536" fmla="*/ 511729 w 915678"/>
              <a:gd name="connsiteY536" fmla="*/ 279041 h 815526"/>
              <a:gd name="connsiteX537" fmla="*/ 500802 w 915678"/>
              <a:gd name="connsiteY537" fmla="*/ 278988 h 815526"/>
              <a:gd name="connsiteX538" fmla="*/ 500751 w 915678"/>
              <a:gd name="connsiteY538" fmla="*/ 289914 h 815526"/>
              <a:gd name="connsiteX539" fmla="*/ 511676 w 915678"/>
              <a:gd name="connsiteY539" fmla="*/ 289967 h 815526"/>
              <a:gd name="connsiteX540" fmla="*/ 511729 w 915678"/>
              <a:gd name="connsiteY540" fmla="*/ 289914 h 815526"/>
              <a:gd name="connsiteX541" fmla="*/ 511879 w 915678"/>
              <a:gd name="connsiteY541" fmla="*/ 279191 h 815526"/>
              <a:gd name="connsiteX542" fmla="*/ 511729 w 915678"/>
              <a:gd name="connsiteY542" fmla="*/ 279041 h 815526"/>
              <a:gd name="connsiteX543" fmla="*/ 548642 w 915678"/>
              <a:gd name="connsiteY543" fmla="*/ 246276 h 815526"/>
              <a:gd name="connsiteX544" fmla="*/ 538526 w 915678"/>
              <a:gd name="connsiteY544" fmla="*/ 246175 h 815526"/>
              <a:gd name="connsiteX545" fmla="*/ 538425 w 915678"/>
              <a:gd name="connsiteY545" fmla="*/ 256292 h 815526"/>
              <a:gd name="connsiteX546" fmla="*/ 548541 w 915678"/>
              <a:gd name="connsiteY546" fmla="*/ 256393 h 815526"/>
              <a:gd name="connsiteX547" fmla="*/ 548642 w 915678"/>
              <a:gd name="connsiteY547" fmla="*/ 256292 h 815526"/>
              <a:gd name="connsiteX548" fmla="*/ 548642 w 915678"/>
              <a:gd name="connsiteY548" fmla="*/ 246276 h 815526"/>
              <a:gd name="connsiteX549" fmla="*/ 585126 w 915678"/>
              <a:gd name="connsiteY549" fmla="*/ 213512 h 815526"/>
              <a:gd name="connsiteX550" fmla="*/ 575970 w 915678"/>
              <a:gd name="connsiteY550" fmla="*/ 213512 h 815526"/>
              <a:gd name="connsiteX551" fmla="*/ 575397 w 915678"/>
              <a:gd name="connsiteY551" fmla="*/ 222669 h 815526"/>
              <a:gd name="connsiteX552" fmla="*/ 584554 w 915678"/>
              <a:gd name="connsiteY552" fmla="*/ 223241 h 815526"/>
              <a:gd name="connsiteX553" fmla="*/ 584554 w 915678"/>
              <a:gd name="connsiteY553" fmla="*/ 214085 h 815526"/>
              <a:gd name="connsiteX554" fmla="*/ 622612 w 915678"/>
              <a:gd name="connsiteY554" fmla="*/ 181177 h 815526"/>
              <a:gd name="connsiteX555" fmla="*/ 614317 w 915678"/>
              <a:gd name="connsiteY555" fmla="*/ 181180 h 815526"/>
              <a:gd name="connsiteX556" fmla="*/ 614318 w 915678"/>
              <a:gd name="connsiteY556" fmla="*/ 189476 h 815526"/>
              <a:gd name="connsiteX557" fmla="*/ 622612 w 915678"/>
              <a:gd name="connsiteY557" fmla="*/ 189476 h 815526"/>
              <a:gd name="connsiteX558" fmla="*/ 622615 w 915678"/>
              <a:gd name="connsiteY558" fmla="*/ 181180 h 815526"/>
              <a:gd name="connsiteX559" fmla="*/ 622612 w 915678"/>
              <a:gd name="connsiteY559" fmla="*/ 181177 h 815526"/>
              <a:gd name="connsiteX560" fmla="*/ 659525 w 915678"/>
              <a:gd name="connsiteY560" fmla="*/ 148413 h 815526"/>
              <a:gd name="connsiteX561" fmla="*/ 652085 w 915678"/>
              <a:gd name="connsiteY561" fmla="*/ 148413 h 815526"/>
              <a:gd name="connsiteX562" fmla="*/ 652085 w 915678"/>
              <a:gd name="connsiteY562" fmla="*/ 155853 h 815526"/>
              <a:gd name="connsiteX563" fmla="*/ 659567 w 915678"/>
              <a:gd name="connsiteY563" fmla="*/ 155568 h 815526"/>
              <a:gd name="connsiteX564" fmla="*/ 659955 w 915678"/>
              <a:gd name="connsiteY564" fmla="*/ 148843 h 815526"/>
              <a:gd name="connsiteX565" fmla="*/ 697011 w 915678"/>
              <a:gd name="connsiteY565" fmla="*/ 116078 h 815526"/>
              <a:gd name="connsiteX566" fmla="*/ 690382 w 915678"/>
              <a:gd name="connsiteY566" fmla="*/ 115280 h 815526"/>
              <a:gd name="connsiteX567" fmla="*/ 689584 w 915678"/>
              <a:gd name="connsiteY567" fmla="*/ 121910 h 815526"/>
              <a:gd name="connsiteX568" fmla="*/ 690000 w 915678"/>
              <a:gd name="connsiteY568" fmla="*/ 122374 h 815526"/>
              <a:gd name="connsiteX569" fmla="*/ 696678 w 915678"/>
              <a:gd name="connsiteY569" fmla="*/ 122291 h 815526"/>
              <a:gd name="connsiteX570" fmla="*/ 697011 w 915678"/>
              <a:gd name="connsiteY570" fmla="*/ 116078 h 815526"/>
              <a:gd name="connsiteX571" fmla="*/ 733924 w 915678"/>
              <a:gd name="connsiteY571" fmla="*/ 83314 h 815526"/>
              <a:gd name="connsiteX572" fmla="*/ 728077 w 915678"/>
              <a:gd name="connsiteY572" fmla="*/ 83808 h 815526"/>
              <a:gd name="connsiteX573" fmla="*/ 727772 w 915678"/>
              <a:gd name="connsiteY573" fmla="*/ 88751 h 815526"/>
              <a:gd name="connsiteX574" fmla="*/ 733638 w 915678"/>
              <a:gd name="connsiteY574" fmla="*/ 88751 h 815526"/>
              <a:gd name="connsiteX575" fmla="*/ 733638 w 915678"/>
              <a:gd name="connsiteY575" fmla="*/ 83028 h 815526"/>
              <a:gd name="connsiteX576" fmla="*/ 771124 w 915678"/>
              <a:gd name="connsiteY576" fmla="*/ 49692 h 815526"/>
              <a:gd name="connsiteX577" fmla="*/ 766268 w 915678"/>
              <a:gd name="connsiteY577" fmla="*/ 49683 h 815526"/>
              <a:gd name="connsiteX578" fmla="*/ 766259 w 915678"/>
              <a:gd name="connsiteY578" fmla="*/ 49692 h 815526"/>
              <a:gd name="connsiteX579" fmla="*/ 766268 w 915678"/>
              <a:gd name="connsiteY579" fmla="*/ 54548 h 815526"/>
              <a:gd name="connsiteX580" fmla="*/ 771124 w 915678"/>
              <a:gd name="connsiteY580" fmla="*/ 54539 h 815526"/>
              <a:gd name="connsiteX581" fmla="*/ 771124 w 915678"/>
              <a:gd name="connsiteY581" fmla="*/ 49692 h 815526"/>
              <a:gd name="connsiteX582" fmla="*/ 808180 w 915678"/>
              <a:gd name="connsiteY582" fmla="*/ 16928 h 815526"/>
              <a:gd name="connsiteX583" fmla="*/ 804031 w 915678"/>
              <a:gd name="connsiteY583" fmla="*/ 16928 h 815526"/>
              <a:gd name="connsiteX584" fmla="*/ 803865 w 915678"/>
              <a:gd name="connsiteY584" fmla="*/ 20769 h 815526"/>
              <a:gd name="connsiteX585" fmla="*/ 804031 w 915678"/>
              <a:gd name="connsiteY585" fmla="*/ 20934 h 815526"/>
              <a:gd name="connsiteX586" fmla="*/ 808037 w 915678"/>
              <a:gd name="connsiteY586" fmla="*/ 20934 h 815526"/>
              <a:gd name="connsiteX587" fmla="*/ 808037 w 915678"/>
              <a:gd name="connsiteY587" fmla="*/ 16784 h 815526"/>
              <a:gd name="connsiteX588" fmla="*/ 542204 w 915678"/>
              <a:gd name="connsiteY588" fmla="*/ 462176 h 815526"/>
              <a:gd name="connsiteX589" fmla="*/ 529659 w 915678"/>
              <a:gd name="connsiteY589" fmla="*/ 462131 h 815526"/>
              <a:gd name="connsiteX590" fmla="*/ 529613 w 915678"/>
              <a:gd name="connsiteY590" fmla="*/ 462176 h 815526"/>
              <a:gd name="connsiteX591" fmla="*/ 529508 w 915678"/>
              <a:gd name="connsiteY591" fmla="*/ 474518 h 815526"/>
              <a:gd name="connsiteX592" fmla="*/ 529613 w 915678"/>
              <a:gd name="connsiteY592" fmla="*/ 474624 h 815526"/>
              <a:gd name="connsiteX593" fmla="*/ 542061 w 915678"/>
              <a:gd name="connsiteY593" fmla="*/ 475482 h 815526"/>
              <a:gd name="connsiteX594" fmla="*/ 542919 w 915678"/>
              <a:gd name="connsiteY594" fmla="*/ 462892 h 815526"/>
              <a:gd name="connsiteX595" fmla="*/ 579833 w 915678"/>
              <a:gd name="connsiteY595" fmla="*/ 430128 h 815526"/>
              <a:gd name="connsiteX596" fmla="*/ 568098 w 915678"/>
              <a:gd name="connsiteY596" fmla="*/ 430125 h 815526"/>
              <a:gd name="connsiteX597" fmla="*/ 568093 w 915678"/>
              <a:gd name="connsiteY597" fmla="*/ 441860 h 815526"/>
              <a:gd name="connsiteX598" fmla="*/ 579830 w 915678"/>
              <a:gd name="connsiteY598" fmla="*/ 441863 h 815526"/>
              <a:gd name="connsiteX599" fmla="*/ 579833 w 915678"/>
              <a:gd name="connsiteY599" fmla="*/ 441860 h 815526"/>
              <a:gd name="connsiteX600" fmla="*/ 579833 w 915678"/>
              <a:gd name="connsiteY600" fmla="*/ 430128 h 815526"/>
              <a:gd name="connsiteX601" fmla="*/ 616746 w 915678"/>
              <a:gd name="connsiteY601" fmla="*/ 397363 h 815526"/>
              <a:gd name="connsiteX602" fmla="*/ 606022 w 915678"/>
              <a:gd name="connsiteY602" fmla="*/ 397514 h 815526"/>
              <a:gd name="connsiteX603" fmla="*/ 606174 w 915678"/>
              <a:gd name="connsiteY603" fmla="*/ 408237 h 815526"/>
              <a:gd name="connsiteX604" fmla="*/ 616746 w 915678"/>
              <a:gd name="connsiteY604" fmla="*/ 408237 h 815526"/>
              <a:gd name="connsiteX605" fmla="*/ 616746 w 915678"/>
              <a:gd name="connsiteY605" fmla="*/ 397363 h 815526"/>
              <a:gd name="connsiteX606" fmla="*/ 653802 w 915678"/>
              <a:gd name="connsiteY606" fmla="*/ 364599 h 815526"/>
              <a:gd name="connsiteX607" fmla="*/ 643787 w 915678"/>
              <a:gd name="connsiteY607" fmla="*/ 364599 h 815526"/>
              <a:gd name="connsiteX608" fmla="*/ 643479 w 915678"/>
              <a:gd name="connsiteY608" fmla="*/ 374307 h 815526"/>
              <a:gd name="connsiteX609" fmla="*/ 643787 w 915678"/>
              <a:gd name="connsiteY609" fmla="*/ 374615 h 815526"/>
              <a:gd name="connsiteX610" fmla="*/ 653728 w 915678"/>
              <a:gd name="connsiteY610" fmla="*/ 376496 h 815526"/>
              <a:gd name="connsiteX611" fmla="*/ 655609 w 915678"/>
              <a:gd name="connsiteY611" fmla="*/ 366555 h 815526"/>
              <a:gd name="connsiteX612" fmla="*/ 654375 w 915678"/>
              <a:gd name="connsiteY612" fmla="*/ 365172 h 815526"/>
              <a:gd name="connsiteX613" fmla="*/ 691288 w 915678"/>
              <a:gd name="connsiteY613" fmla="*/ 332407 h 815526"/>
              <a:gd name="connsiteX614" fmla="*/ 682131 w 915678"/>
              <a:gd name="connsiteY614" fmla="*/ 331835 h 815526"/>
              <a:gd name="connsiteX615" fmla="*/ 681559 w 915678"/>
              <a:gd name="connsiteY615" fmla="*/ 340992 h 815526"/>
              <a:gd name="connsiteX616" fmla="*/ 690716 w 915678"/>
              <a:gd name="connsiteY616" fmla="*/ 341564 h 815526"/>
              <a:gd name="connsiteX617" fmla="*/ 691288 w 915678"/>
              <a:gd name="connsiteY617" fmla="*/ 332407 h 815526"/>
              <a:gd name="connsiteX618" fmla="*/ 728201 w 915678"/>
              <a:gd name="connsiteY618" fmla="*/ 299643 h 815526"/>
              <a:gd name="connsiteX619" fmla="*/ 719906 w 915678"/>
              <a:gd name="connsiteY619" fmla="*/ 299646 h 815526"/>
              <a:gd name="connsiteX620" fmla="*/ 719907 w 915678"/>
              <a:gd name="connsiteY620" fmla="*/ 307942 h 815526"/>
              <a:gd name="connsiteX621" fmla="*/ 728201 w 915678"/>
              <a:gd name="connsiteY621" fmla="*/ 307942 h 815526"/>
              <a:gd name="connsiteX622" fmla="*/ 728204 w 915678"/>
              <a:gd name="connsiteY622" fmla="*/ 299646 h 815526"/>
              <a:gd name="connsiteX623" fmla="*/ 728201 w 915678"/>
              <a:gd name="connsiteY623" fmla="*/ 299643 h 815526"/>
              <a:gd name="connsiteX624" fmla="*/ 765258 w 915678"/>
              <a:gd name="connsiteY624" fmla="*/ 266879 h 815526"/>
              <a:gd name="connsiteX625" fmla="*/ 757818 w 915678"/>
              <a:gd name="connsiteY625" fmla="*/ 266879 h 815526"/>
              <a:gd name="connsiteX626" fmla="*/ 757660 w 915678"/>
              <a:gd name="connsiteY626" fmla="*/ 274162 h 815526"/>
              <a:gd name="connsiteX627" fmla="*/ 757818 w 915678"/>
              <a:gd name="connsiteY627" fmla="*/ 274319 h 815526"/>
              <a:gd name="connsiteX628" fmla="*/ 765258 w 915678"/>
              <a:gd name="connsiteY628" fmla="*/ 274319 h 815526"/>
              <a:gd name="connsiteX629" fmla="*/ 765258 w 915678"/>
              <a:gd name="connsiteY629" fmla="*/ 266879 h 815526"/>
              <a:gd name="connsiteX630" fmla="*/ 802171 w 915678"/>
              <a:gd name="connsiteY630" fmla="*/ 234115 h 815526"/>
              <a:gd name="connsiteX631" fmla="*/ 795589 w 915678"/>
              <a:gd name="connsiteY631" fmla="*/ 234115 h 815526"/>
              <a:gd name="connsiteX632" fmla="*/ 795482 w 915678"/>
              <a:gd name="connsiteY632" fmla="*/ 240589 h 815526"/>
              <a:gd name="connsiteX633" fmla="*/ 795589 w 915678"/>
              <a:gd name="connsiteY633" fmla="*/ 240697 h 815526"/>
              <a:gd name="connsiteX634" fmla="*/ 802171 w 915678"/>
              <a:gd name="connsiteY634" fmla="*/ 240697 h 815526"/>
              <a:gd name="connsiteX635" fmla="*/ 802278 w 915678"/>
              <a:gd name="connsiteY635" fmla="*/ 234222 h 815526"/>
              <a:gd name="connsiteX636" fmla="*/ 802171 w 915678"/>
              <a:gd name="connsiteY636" fmla="*/ 234115 h 815526"/>
              <a:gd name="connsiteX637" fmla="*/ 839084 w 915678"/>
              <a:gd name="connsiteY637" fmla="*/ 201351 h 815526"/>
              <a:gd name="connsiteX638" fmla="*/ 833418 w 915678"/>
              <a:gd name="connsiteY638" fmla="*/ 201294 h 815526"/>
              <a:gd name="connsiteX639" fmla="*/ 833361 w 915678"/>
              <a:gd name="connsiteY639" fmla="*/ 201351 h 815526"/>
              <a:gd name="connsiteX640" fmla="*/ 833095 w 915678"/>
              <a:gd name="connsiteY640" fmla="*/ 206808 h 815526"/>
              <a:gd name="connsiteX641" fmla="*/ 833361 w 915678"/>
              <a:gd name="connsiteY641" fmla="*/ 207074 h 815526"/>
              <a:gd name="connsiteX642" fmla="*/ 839027 w 915678"/>
              <a:gd name="connsiteY642" fmla="*/ 207131 h 815526"/>
              <a:gd name="connsiteX643" fmla="*/ 839084 w 915678"/>
              <a:gd name="connsiteY643" fmla="*/ 207074 h 815526"/>
              <a:gd name="connsiteX644" fmla="*/ 839084 w 915678"/>
              <a:gd name="connsiteY644" fmla="*/ 201208 h 815526"/>
              <a:gd name="connsiteX645" fmla="*/ 874710 w 915678"/>
              <a:gd name="connsiteY645" fmla="*/ 166870 h 815526"/>
              <a:gd name="connsiteX646" fmla="*/ 869854 w 915678"/>
              <a:gd name="connsiteY646" fmla="*/ 166861 h 815526"/>
              <a:gd name="connsiteX647" fmla="*/ 869845 w 915678"/>
              <a:gd name="connsiteY647" fmla="*/ 166870 h 815526"/>
              <a:gd name="connsiteX648" fmla="*/ 869845 w 915678"/>
              <a:gd name="connsiteY648" fmla="*/ 171878 h 815526"/>
              <a:gd name="connsiteX649" fmla="*/ 874701 w 915678"/>
              <a:gd name="connsiteY649" fmla="*/ 171886 h 815526"/>
              <a:gd name="connsiteX650" fmla="*/ 874710 w 915678"/>
              <a:gd name="connsiteY650" fmla="*/ 171878 h 815526"/>
              <a:gd name="connsiteX651" fmla="*/ 874710 w 915678"/>
              <a:gd name="connsiteY651" fmla="*/ 166870 h 815526"/>
              <a:gd name="connsiteX652" fmla="*/ 911623 w 915678"/>
              <a:gd name="connsiteY652" fmla="*/ 134106 h 815526"/>
              <a:gd name="connsiteX653" fmla="*/ 907782 w 915678"/>
              <a:gd name="connsiteY653" fmla="*/ 133941 h 815526"/>
              <a:gd name="connsiteX654" fmla="*/ 907617 w 915678"/>
              <a:gd name="connsiteY654" fmla="*/ 134106 h 815526"/>
              <a:gd name="connsiteX655" fmla="*/ 906836 w 915678"/>
              <a:gd name="connsiteY655" fmla="*/ 138076 h 815526"/>
              <a:gd name="connsiteX656" fmla="*/ 910808 w 915678"/>
              <a:gd name="connsiteY656" fmla="*/ 138857 h 815526"/>
              <a:gd name="connsiteX657" fmla="*/ 911337 w 915678"/>
              <a:gd name="connsiteY657" fmla="*/ 138398 h 815526"/>
              <a:gd name="connsiteX658" fmla="*/ 911440 w 915678"/>
              <a:gd name="connsiteY658" fmla="*/ 134352 h 815526"/>
              <a:gd name="connsiteX659" fmla="*/ 911337 w 915678"/>
              <a:gd name="connsiteY659" fmla="*/ 134249 h 815526"/>
              <a:gd name="connsiteX660" fmla="*/ 521172 w 915678"/>
              <a:gd name="connsiteY660" fmla="*/ 438712 h 815526"/>
              <a:gd name="connsiteX661" fmla="*/ 508581 w 915678"/>
              <a:gd name="connsiteY661" fmla="*/ 437997 h 815526"/>
              <a:gd name="connsiteX662" fmla="*/ 507866 w 915678"/>
              <a:gd name="connsiteY662" fmla="*/ 450587 h 815526"/>
              <a:gd name="connsiteX663" fmla="*/ 520411 w 915678"/>
              <a:gd name="connsiteY663" fmla="*/ 450633 h 815526"/>
              <a:gd name="connsiteX664" fmla="*/ 520457 w 915678"/>
              <a:gd name="connsiteY664" fmla="*/ 450587 h 815526"/>
              <a:gd name="connsiteX665" fmla="*/ 521172 w 915678"/>
              <a:gd name="connsiteY665" fmla="*/ 437997 h 815526"/>
              <a:gd name="connsiteX666" fmla="*/ 558085 w 915678"/>
              <a:gd name="connsiteY666" fmla="*/ 405376 h 815526"/>
              <a:gd name="connsiteX667" fmla="*/ 546552 w 915678"/>
              <a:gd name="connsiteY667" fmla="*/ 405431 h 815526"/>
              <a:gd name="connsiteX668" fmla="*/ 546608 w 915678"/>
              <a:gd name="connsiteY668" fmla="*/ 416965 h 815526"/>
              <a:gd name="connsiteX669" fmla="*/ 558085 w 915678"/>
              <a:gd name="connsiteY669" fmla="*/ 416965 h 815526"/>
              <a:gd name="connsiteX670" fmla="*/ 558347 w 915678"/>
              <a:gd name="connsiteY670" fmla="*/ 405636 h 815526"/>
              <a:gd name="connsiteX671" fmla="*/ 558085 w 915678"/>
              <a:gd name="connsiteY671" fmla="*/ 405376 h 815526"/>
              <a:gd name="connsiteX672" fmla="*/ 595142 w 915678"/>
              <a:gd name="connsiteY672" fmla="*/ 372612 h 815526"/>
              <a:gd name="connsiteX673" fmla="*/ 584454 w 915678"/>
              <a:gd name="connsiteY673" fmla="*/ 371733 h 815526"/>
              <a:gd name="connsiteX674" fmla="*/ 584268 w 915678"/>
              <a:gd name="connsiteY674" fmla="*/ 371896 h 815526"/>
              <a:gd name="connsiteX675" fmla="*/ 584268 w 915678"/>
              <a:gd name="connsiteY675" fmla="*/ 382770 h 815526"/>
              <a:gd name="connsiteX676" fmla="*/ 595195 w 915678"/>
              <a:gd name="connsiteY676" fmla="*/ 382690 h 815526"/>
              <a:gd name="connsiteX677" fmla="*/ 595857 w 915678"/>
              <a:gd name="connsiteY677" fmla="*/ 372612 h 815526"/>
              <a:gd name="connsiteX678" fmla="*/ 632770 w 915678"/>
              <a:gd name="connsiteY678" fmla="*/ 339847 h 815526"/>
              <a:gd name="connsiteX679" fmla="*/ 622891 w 915678"/>
              <a:gd name="connsiteY679" fmla="*/ 339015 h 815526"/>
              <a:gd name="connsiteX680" fmla="*/ 622755 w 915678"/>
              <a:gd name="connsiteY680" fmla="*/ 339132 h 815526"/>
              <a:gd name="connsiteX681" fmla="*/ 622755 w 915678"/>
              <a:gd name="connsiteY681" fmla="*/ 349147 h 815526"/>
              <a:gd name="connsiteX682" fmla="*/ 632669 w 915678"/>
              <a:gd name="connsiteY682" fmla="*/ 349249 h 815526"/>
              <a:gd name="connsiteX683" fmla="*/ 632770 w 915678"/>
              <a:gd name="connsiteY683" fmla="*/ 349147 h 815526"/>
              <a:gd name="connsiteX684" fmla="*/ 632770 w 915678"/>
              <a:gd name="connsiteY684" fmla="*/ 339132 h 815526"/>
              <a:gd name="connsiteX685" fmla="*/ 669684 w 915678"/>
              <a:gd name="connsiteY685" fmla="*/ 306368 h 815526"/>
              <a:gd name="connsiteX686" fmla="*/ 660578 w 915678"/>
              <a:gd name="connsiteY686" fmla="*/ 306316 h 815526"/>
              <a:gd name="connsiteX687" fmla="*/ 660527 w 915678"/>
              <a:gd name="connsiteY687" fmla="*/ 306368 h 815526"/>
              <a:gd name="connsiteX688" fmla="*/ 660377 w 915678"/>
              <a:gd name="connsiteY688" fmla="*/ 315675 h 815526"/>
              <a:gd name="connsiteX689" fmla="*/ 669684 w 915678"/>
              <a:gd name="connsiteY689" fmla="*/ 315824 h 815526"/>
              <a:gd name="connsiteX690" fmla="*/ 669834 w 915678"/>
              <a:gd name="connsiteY690" fmla="*/ 306518 h 815526"/>
              <a:gd name="connsiteX691" fmla="*/ 669684 w 915678"/>
              <a:gd name="connsiteY691" fmla="*/ 306368 h 815526"/>
              <a:gd name="connsiteX692" fmla="*/ 706740 w 915678"/>
              <a:gd name="connsiteY692" fmla="*/ 273604 h 815526"/>
              <a:gd name="connsiteX693" fmla="*/ 698445 w 915678"/>
              <a:gd name="connsiteY693" fmla="*/ 273607 h 815526"/>
              <a:gd name="connsiteX694" fmla="*/ 698446 w 915678"/>
              <a:gd name="connsiteY694" fmla="*/ 281902 h 815526"/>
              <a:gd name="connsiteX695" fmla="*/ 706740 w 915678"/>
              <a:gd name="connsiteY695" fmla="*/ 281902 h 815526"/>
              <a:gd name="connsiteX696" fmla="*/ 706743 w 915678"/>
              <a:gd name="connsiteY696" fmla="*/ 273607 h 815526"/>
              <a:gd name="connsiteX697" fmla="*/ 706740 w 915678"/>
              <a:gd name="connsiteY697" fmla="*/ 273604 h 815526"/>
              <a:gd name="connsiteX698" fmla="*/ 742509 w 915678"/>
              <a:gd name="connsiteY698" fmla="*/ 242127 h 815526"/>
              <a:gd name="connsiteX699" fmla="*/ 735110 w 915678"/>
              <a:gd name="connsiteY699" fmla="*/ 240984 h 815526"/>
              <a:gd name="connsiteX700" fmla="*/ 733967 w 915678"/>
              <a:gd name="connsiteY700" fmla="*/ 248383 h 815526"/>
              <a:gd name="connsiteX701" fmla="*/ 734640 w 915678"/>
              <a:gd name="connsiteY701" fmla="*/ 249138 h 815526"/>
              <a:gd name="connsiteX702" fmla="*/ 742080 w 915678"/>
              <a:gd name="connsiteY702" fmla="*/ 249138 h 815526"/>
              <a:gd name="connsiteX703" fmla="*/ 742080 w 915678"/>
              <a:gd name="connsiteY703" fmla="*/ 241698 h 815526"/>
              <a:gd name="connsiteX704" fmla="*/ 779851 w 915678"/>
              <a:gd name="connsiteY704" fmla="*/ 209792 h 815526"/>
              <a:gd name="connsiteX705" fmla="*/ 773377 w 915678"/>
              <a:gd name="connsiteY705" fmla="*/ 209685 h 815526"/>
              <a:gd name="connsiteX706" fmla="*/ 773270 w 915678"/>
              <a:gd name="connsiteY706" fmla="*/ 209792 h 815526"/>
              <a:gd name="connsiteX707" fmla="*/ 773270 w 915678"/>
              <a:gd name="connsiteY707" fmla="*/ 216374 h 815526"/>
              <a:gd name="connsiteX708" fmla="*/ 779744 w 915678"/>
              <a:gd name="connsiteY708" fmla="*/ 216481 h 815526"/>
              <a:gd name="connsiteX709" fmla="*/ 779851 w 915678"/>
              <a:gd name="connsiteY709" fmla="*/ 216374 h 815526"/>
              <a:gd name="connsiteX710" fmla="*/ 779851 w 915678"/>
              <a:gd name="connsiteY710" fmla="*/ 209792 h 815526"/>
              <a:gd name="connsiteX711" fmla="*/ 816908 w 915678"/>
              <a:gd name="connsiteY711" fmla="*/ 177028 h 815526"/>
              <a:gd name="connsiteX712" fmla="*/ 811242 w 915678"/>
              <a:gd name="connsiteY712" fmla="*/ 176971 h 815526"/>
              <a:gd name="connsiteX713" fmla="*/ 811185 w 915678"/>
              <a:gd name="connsiteY713" fmla="*/ 177028 h 815526"/>
              <a:gd name="connsiteX714" fmla="*/ 811127 w 915678"/>
              <a:gd name="connsiteY714" fmla="*/ 182694 h 815526"/>
              <a:gd name="connsiteX715" fmla="*/ 811185 w 915678"/>
              <a:gd name="connsiteY715" fmla="*/ 182751 h 815526"/>
              <a:gd name="connsiteX716" fmla="*/ 816850 w 915678"/>
              <a:gd name="connsiteY716" fmla="*/ 182808 h 815526"/>
              <a:gd name="connsiteX717" fmla="*/ 816908 w 915678"/>
              <a:gd name="connsiteY717" fmla="*/ 182751 h 815526"/>
              <a:gd name="connsiteX718" fmla="*/ 816965 w 915678"/>
              <a:gd name="connsiteY718" fmla="*/ 177085 h 815526"/>
              <a:gd name="connsiteX719" fmla="*/ 816908 w 915678"/>
              <a:gd name="connsiteY719" fmla="*/ 177028 h 815526"/>
              <a:gd name="connsiteX720" fmla="*/ 853821 w 915678"/>
              <a:gd name="connsiteY720" fmla="*/ 144264 h 815526"/>
              <a:gd name="connsiteX721" fmla="*/ 848965 w 915678"/>
              <a:gd name="connsiteY721" fmla="*/ 144273 h 815526"/>
              <a:gd name="connsiteX722" fmla="*/ 848974 w 915678"/>
              <a:gd name="connsiteY722" fmla="*/ 149129 h 815526"/>
              <a:gd name="connsiteX723" fmla="*/ 853821 w 915678"/>
              <a:gd name="connsiteY723" fmla="*/ 149129 h 815526"/>
              <a:gd name="connsiteX724" fmla="*/ 853830 w 915678"/>
              <a:gd name="connsiteY724" fmla="*/ 144273 h 815526"/>
              <a:gd name="connsiteX725" fmla="*/ 853821 w 915678"/>
              <a:gd name="connsiteY725" fmla="*/ 144264 h 815526"/>
              <a:gd name="connsiteX726" fmla="*/ 890734 w 915678"/>
              <a:gd name="connsiteY726" fmla="*/ 111500 h 815526"/>
              <a:gd name="connsiteX727" fmla="*/ 886728 w 915678"/>
              <a:gd name="connsiteY727" fmla="*/ 111500 h 815526"/>
              <a:gd name="connsiteX728" fmla="*/ 886728 w 915678"/>
              <a:gd name="connsiteY728" fmla="*/ 115649 h 815526"/>
              <a:gd name="connsiteX729" fmla="*/ 890877 w 915678"/>
              <a:gd name="connsiteY729" fmla="*/ 115649 h 815526"/>
              <a:gd name="connsiteX730" fmla="*/ 891043 w 915678"/>
              <a:gd name="connsiteY730" fmla="*/ 111808 h 815526"/>
              <a:gd name="connsiteX731" fmla="*/ 890877 w 915678"/>
              <a:gd name="connsiteY731" fmla="*/ 111643 h 815526"/>
              <a:gd name="connsiteX732" fmla="*/ 500283 w 915678"/>
              <a:gd name="connsiteY732" fmla="*/ 415105 h 815526"/>
              <a:gd name="connsiteX733" fmla="*/ 487969 w 915678"/>
              <a:gd name="connsiteY733" fmla="*/ 414271 h 815526"/>
              <a:gd name="connsiteX734" fmla="*/ 487836 w 915678"/>
              <a:gd name="connsiteY734" fmla="*/ 414389 h 815526"/>
              <a:gd name="connsiteX735" fmla="*/ 486907 w 915678"/>
              <a:gd name="connsiteY735" fmla="*/ 426900 h 815526"/>
              <a:gd name="connsiteX736" fmla="*/ 486977 w 915678"/>
              <a:gd name="connsiteY736" fmla="*/ 426980 h 815526"/>
              <a:gd name="connsiteX737" fmla="*/ 499568 w 915678"/>
              <a:gd name="connsiteY737" fmla="*/ 426980 h 815526"/>
              <a:gd name="connsiteX738" fmla="*/ 499613 w 915678"/>
              <a:gd name="connsiteY738" fmla="*/ 414435 h 815526"/>
              <a:gd name="connsiteX739" fmla="*/ 499568 w 915678"/>
              <a:gd name="connsiteY739" fmla="*/ 414389 h 815526"/>
              <a:gd name="connsiteX740" fmla="*/ 536624 w 915678"/>
              <a:gd name="connsiteY740" fmla="*/ 381625 h 815526"/>
              <a:gd name="connsiteX741" fmla="*/ 524889 w 915678"/>
              <a:gd name="connsiteY741" fmla="*/ 381622 h 815526"/>
              <a:gd name="connsiteX742" fmla="*/ 524885 w 915678"/>
              <a:gd name="connsiteY742" fmla="*/ 393357 h 815526"/>
              <a:gd name="connsiteX743" fmla="*/ 536621 w 915678"/>
              <a:gd name="connsiteY743" fmla="*/ 393360 h 815526"/>
              <a:gd name="connsiteX744" fmla="*/ 536624 w 915678"/>
              <a:gd name="connsiteY744" fmla="*/ 393357 h 815526"/>
              <a:gd name="connsiteX745" fmla="*/ 536624 w 915678"/>
              <a:gd name="connsiteY745" fmla="*/ 381625 h 815526"/>
              <a:gd name="connsiteX746" fmla="*/ 573537 w 915678"/>
              <a:gd name="connsiteY746" fmla="*/ 348861 h 815526"/>
              <a:gd name="connsiteX747" fmla="*/ 562664 w 915678"/>
              <a:gd name="connsiteY747" fmla="*/ 348861 h 815526"/>
              <a:gd name="connsiteX748" fmla="*/ 562657 w 915678"/>
              <a:gd name="connsiteY748" fmla="*/ 359585 h 815526"/>
              <a:gd name="connsiteX749" fmla="*/ 562664 w 915678"/>
              <a:gd name="connsiteY749" fmla="*/ 359592 h 815526"/>
              <a:gd name="connsiteX750" fmla="*/ 573144 w 915678"/>
              <a:gd name="connsiteY750" fmla="*/ 360526 h 815526"/>
              <a:gd name="connsiteX751" fmla="*/ 573394 w 915678"/>
              <a:gd name="connsiteY751" fmla="*/ 360307 h 815526"/>
              <a:gd name="connsiteX752" fmla="*/ 574273 w 915678"/>
              <a:gd name="connsiteY752" fmla="*/ 349619 h 815526"/>
              <a:gd name="connsiteX753" fmla="*/ 574110 w 915678"/>
              <a:gd name="connsiteY753" fmla="*/ 349433 h 815526"/>
              <a:gd name="connsiteX754" fmla="*/ 611023 w 915678"/>
              <a:gd name="connsiteY754" fmla="*/ 316669 h 815526"/>
              <a:gd name="connsiteX755" fmla="*/ 600906 w 915678"/>
              <a:gd name="connsiteY755" fmla="*/ 316568 h 815526"/>
              <a:gd name="connsiteX756" fmla="*/ 600806 w 915678"/>
              <a:gd name="connsiteY756" fmla="*/ 326684 h 815526"/>
              <a:gd name="connsiteX757" fmla="*/ 610921 w 915678"/>
              <a:gd name="connsiteY757" fmla="*/ 326786 h 815526"/>
              <a:gd name="connsiteX758" fmla="*/ 611023 w 915678"/>
              <a:gd name="connsiteY758" fmla="*/ 326684 h 815526"/>
              <a:gd name="connsiteX759" fmla="*/ 611125 w 915678"/>
              <a:gd name="connsiteY759" fmla="*/ 316771 h 815526"/>
              <a:gd name="connsiteX760" fmla="*/ 611023 w 915678"/>
              <a:gd name="connsiteY760" fmla="*/ 316669 h 815526"/>
              <a:gd name="connsiteX761" fmla="*/ 648079 w 915678"/>
              <a:gd name="connsiteY761" fmla="*/ 283905 h 815526"/>
              <a:gd name="connsiteX762" fmla="*/ 638923 w 915678"/>
              <a:gd name="connsiteY762" fmla="*/ 283905 h 815526"/>
              <a:gd name="connsiteX763" fmla="*/ 638350 w 915678"/>
              <a:gd name="connsiteY763" fmla="*/ 293062 h 815526"/>
              <a:gd name="connsiteX764" fmla="*/ 647507 w 915678"/>
              <a:gd name="connsiteY764" fmla="*/ 293634 h 815526"/>
              <a:gd name="connsiteX765" fmla="*/ 647507 w 915678"/>
              <a:gd name="connsiteY765" fmla="*/ 284477 h 815526"/>
              <a:gd name="connsiteX766" fmla="*/ 685279 w 915678"/>
              <a:gd name="connsiteY766" fmla="*/ 251284 h 815526"/>
              <a:gd name="connsiteX767" fmla="*/ 676909 w 915678"/>
              <a:gd name="connsiteY767" fmla="*/ 250783 h 815526"/>
              <a:gd name="connsiteX768" fmla="*/ 676408 w 915678"/>
              <a:gd name="connsiteY768" fmla="*/ 259153 h 815526"/>
              <a:gd name="connsiteX769" fmla="*/ 684850 w 915678"/>
              <a:gd name="connsiteY769" fmla="*/ 259153 h 815526"/>
              <a:gd name="connsiteX770" fmla="*/ 684852 w 915678"/>
              <a:gd name="connsiteY770" fmla="*/ 250858 h 815526"/>
              <a:gd name="connsiteX771" fmla="*/ 684850 w 915678"/>
              <a:gd name="connsiteY771" fmla="*/ 250855 h 815526"/>
              <a:gd name="connsiteX772" fmla="*/ 721763 w 915678"/>
              <a:gd name="connsiteY772" fmla="*/ 218091 h 815526"/>
              <a:gd name="connsiteX773" fmla="*/ 714365 w 915678"/>
              <a:gd name="connsiteY773" fmla="*/ 216948 h 815526"/>
              <a:gd name="connsiteX774" fmla="*/ 713221 w 915678"/>
              <a:gd name="connsiteY774" fmla="*/ 224346 h 815526"/>
              <a:gd name="connsiteX775" fmla="*/ 713894 w 915678"/>
              <a:gd name="connsiteY775" fmla="*/ 225101 h 815526"/>
              <a:gd name="connsiteX776" fmla="*/ 721292 w 915678"/>
              <a:gd name="connsiteY776" fmla="*/ 226245 h 815526"/>
              <a:gd name="connsiteX777" fmla="*/ 722435 w 915678"/>
              <a:gd name="connsiteY777" fmla="*/ 218846 h 815526"/>
              <a:gd name="connsiteX778" fmla="*/ 721763 w 915678"/>
              <a:gd name="connsiteY778" fmla="*/ 218091 h 815526"/>
              <a:gd name="connsiteX779" fmla="*/ 758819 w 915678"/>
              <a:gd name="connsiteY779" fmla="*/ 185327 h 815526"/>
              <a:gd name="connsiteX780" fmla="*/ 752238 w 915678"/>
              <a:gd name="connsiteY780" fmla="*/ 185327 h 815526"/>
              <a:gd name="connsiteX781" fmla="*/ 752131 w 915678"/>
              <a:gd name="connsiteY781" fmla="*/ 191801 h 815526"/>
              <a:gd name="connsiteX782" fmla="*/ 752238 w 915678"/>
              <a:gd name="connsiteY782" fmla="*/ 191908 h 815526"/>
              <a:gd name="connsiteX783" fmla="*/ 758819 w 915678"/>
              <a:gd name="connsiteY783" fmla="*/ 191908 h 815526"/>
              <a:gd name="connsiteX784" fmla="*/ 758819 w 915678"/>
              <a:gd name="connsiteY784" fmla="*/ 185184 h 815526"/>
              <a:gd name="connsiteX785" fmla="*/ 796019 w 915678"/>
              <a:gd name="connsiteY785" fmla="*/ 152562 h 815526"/>
              <a:gd name="connsiteX786" fmla="*/ 790296 w 915678"/>
              <a:gd name="connsiteY786" fmla="*/ 152133 h 815526"/>
              <a:gd name="connsiteX787" fmla="*/ 789866 w 915678"/>
              <a:gd name="connsiteY787" fmla="*/ 157856 h 815526"/>
              <a:gd name="connsiteX788" fmla="*/ 795733 w 915678"/>
              <a:gd name="connsiteY788" fmla="*/ 157856 h 815526"/>
              <a:gd name="connsiteX789" fmla="*/ 795790 w 915678"/>
              <a:gd name="connsiteY789" fmla="*/ 152190 h 815526"/>
              <a:gd name="connsiteX790" fmla="*/ 795733 w 915678"/>
              <a:gd name="connsiteY790" fmla="*/ 152133 h 815526"/>
              <a:gd name="connsiteX791" fmla="*/ 832646 w 915678"/>
              <a:gd name="connsiteY791" fmla="*/ 119369 h 815526"/>
              <a:gd name="connsiteX792" fmla="*/ 827790 w 915678"/>
              <a:gd name="connsiteY792" fmla="*/ 119378 h 815526"/>
              <a:gd name="connsiteX793" fmla="*/ 827798 w 915678"/>
              <a:gd name="connsiteY793" fmla="*/ 124234 h 815526"/>
              <a:gd name="connsiteX794" fmla="*/ 832646 w 915678"/>
              <a:gd name="connsiteY794" fmla="*/ 124234 h 815526"/>
              <a:gd name="connsiteX795" fmla="*/ 832654 w 915678"/>
              <a:gd name="connsiteY795" fmla="*/ 119378 h 815526"/>
              <a:gd name="connsiteX796" fmla="*/ 832646 w 915678"/>
              <a:gd name="connsiteY796" fmla="*/ 119369 h 815526"/>
              <a:gd name="connsiteX797" fmla="*/ 869702 w 915678"/>
              <a:gd name="connsiteY797" fmla="*/ 86605 h 815526"/>
              <a:gd name="connsiteX798" fmla="*/ 865553 w 915678"/>
              <a:gd name="connsiteY798" fmla="*/ 86605 h 815526"/>
              <a:gd name="connsiteX799" fmla="*/ 865338 w 915678"/>
              <a:gd name="connsiteY799" fmla="*/ 90683 h 815526"/>
              <a:gd name="connsiteX800" fmla="*/ 869416 w 915678"/>
              <a:gd name="connsiteY800" fmla="*/ 90897 h 815526"/>
              <a:gd name="connsiteX801" fmla="*/ 869416 w 915678"/>
              <a:gd name="connsiteY801" fmla="*/ 86891 h 8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Lst>
            <a:rect l="l" t="t" r="r" b="b"/>
            <a:pathLst>
              <a:path w="915678" h="815526">
                <a:moveTo>
                  <a:pt x="427744" y="436995"/>
                </a:moveTo>
                <a:cubicBezTo>
                  <a:pt x="424465" y="433321"/>
                  <a:pt x="424785" y="427684"/>
                  <a:pt x="428460" y="424405"/>
                </a:cubicBezTo>
                <a:cubicBezTo>
                  <a:pt x="432134" y="421125"/>
                  <a:pt x="437771" y="421446"/>
                  <a:pt x="441050" y="425120"/>
                </a:cubicBezTo>
                <a:cubicBezTo>
                  <a:pt x="444329" y="428794"/>
                  <a:pt x="444009" y="434431"/>
                  <a:pt x="440335" y="437711"/>
                </a:cubicBezTo>
                <a:cubicBezTo>
                  <a:pt x="436661" y="440990"/>
                  <a:pt x="431023" y="440669"/>
                  <a:pt x="427744" y="436995"/>
                </a:cubicBezTo>
                <a:moveTo>
                  <a:pt x="390688" y="469759"/>
                </a:moveTo>
                <a:cubicBezTo>
                  <a:pt x="393927" y="473001"/>
                  <a:pt x="399182" y="473003"/>
                  <a:pt x="402423" y="469762"/>
                </a:cubicBezTo>
                <a:cubicBezTo>
                  <a:pt x="405665" y="466523"/>
                  <a:pt x="405666" y="461269"/>
                  <a:pt x="402427" y="458027"/>
                </a:cubicBezTo>
                <a:cubicBezTo>
                  <a:pt x="399188" y="454785"/>
                  <a:pt x="393933" y="454784"/>
                  <a:pt x="390691" y="458024"/>
                </a:cubicBezTo>
                <a:cubicBezTo>
                  <a:pt x="390691" y="458024"/>
                  <a:pt x="390689" y="458026"/>
                  <a:pt x="390688" y="458027"/>
                </a:cubicBezTo>
                <a:cubicBezTo>
                  <a:pt x="387450" y="461268"/>
                  <a:pt x="387450" y="466519"/>
                  <a:pt x="390688" y="469759"/>
                </a:cubicBezTo>
                <a:moveTo>
                  <a:pt x="353774" y="502523"/>
                </a:moveTo>
                <a:cubicBezTo>
                  <a:pt x="356786" y="505505"/>
                  <a:pt x="361636" y="505505"/>
                  <a:pt x="364648" y="502523"/>
                </a:cubicBezTo>
                <a:cubicBezTo>
                  <a:pt x="367555" y="499482"/>
                  <a:pt x="367555" y="494692"/>
                  <a:pt x="364648" y="491650"/>
                </a:cubicBezTo>
                <a:cubicBezTo>
                  <a:pt x="361636" y="488668"/>
                  <a:pt x="356786" y="488668"/>
                  <a:pt x="353774" y="491650"/>
                </a:cubicBezTo>
                <a:cubicBezTo>
                  <a:pt x="350581" y="494358"/>
                  <a:pt x="350188" y="499144"/>
                  <a:pt x="352896" y="502337"/>
                </a:cubicBezTo>
                <a:cubicBezTo>
                  <a:pt x="352949" y="502400"/>
                  <a:pt x="353003" y="502462"/>
                  <a:pt x="353059" y="502523"/>
                </a:cubicBezTo>
                <a:moveTo>
                  <a:pt x="316146" y="535145"/>
                </a:moveTo>
                <a:cubicBezTo>
                  <a:pt x="318856" y="537910"/>
                  <a:pt x="323294" y="537956"/>
                  <a:pt x="326059" y="535246"/>
                </a:cubicBezTo>
                <a:cubicBezTo>
                  <a:pt x="326094" y="535212"/>
                  <a:pt x="326128" y="535179"/>
                  <a:pt x="326161" y="535145"/>
                </a:cubicBezTo>
                <a:cubicBezTo>
                  <a:pt x="328888" y="532363"/>
                  <a:pt x="328888" y="527911"/>
                  <a:pt x="326161" y="525129"/>
                </a:cubicBezTo>
                <a:cubicBezTo>
                  <a:pt x="323593" y="522206"/>
                  <a:pt x="319140" y="521917"/>
                  <a:pt x="316217" y="524485"/>
                </a:cubicBezTo>
                <a:cubicBezTo>
                  <a:pt x="313294" y="527054"/>
                  <a:pt x="313005" y="531506"/>
                  <a:pt x="315573" y="534429"/>
                </a:cubicBezTo>
                <a:moveTo>
                  <a:pt x="280377" y="567479"/>
                </a:moveTo>
                <a:cubicBezTo>
                  <a:pt x="282748" y="570166"/>
                  <a:pt x="286847" y="570422"/>
                  <a:pt x="289534" y="568052"/>
                </a:cubicBezTo>
                <a:cubicBezTo>
                  <a:pt x="292221" y="565681"/>
                  <a:pt x="292477" y="561582"/>
                  <a:pt x="290106" y="558895"/>
                </a:cubicBezTo>
                <a:cubicBezTo>
                  <a:pt x="287735" y="556208"/>
                  <a:pt x="283636" y="555952"/>
                  <a:pt x="280949" y="558323"/>
                </a:cubicBezTo>
                <a:cubicBezTo>
                  <a:pt x="278262" y="560693"/>
                  <a:pt x="278006" y="564792"/>
                  <a:pt x="280377" y="567479"/>
                </a:cubicBezTo>
                <a:moveTo>
                  <a:pt x="243464" y="600244"/>
                </a:moveTo>
                <a:cubicBezTo>
                  <a:pt x="245756" y="602534"/>
                  <a:pt x="249470" y="602533"/>
                  <a:pt x="251759" y="600241"/>
                </a:cubicBezTo>
                <a:cubicBezTo>
                  <a:pt x="254050" y="597950"/>
                  <a:pt x="254048" y="594236"/>
                  <a:pt x="251758" y="591945"/>
                </a:cubicBezTo>
                <a:cubicBezTo>
                  <a:pt x="249467" y="589656"/>
                  <a:pt x="245754" y="589656"/>
                  <a:pt x="243464" y="591945"/>
                </a:cubicBezTo>
                <a:cubicBezTo>
                  <a:pt x="241172" y="594236"/>
                  <a:pt x="241172" y="597950"/>
                  <a:pt x="243461" y="600241"/>
                </a:cubicBezTo>
                <a:cubicBezTo>
                  <a:pt x="243462" y="600242"/>
                  <a:pt x="243462" y="600242"/>
                  <a:pt x="243464" y="600244"/>
                </a:cubicBezTo>
                <a:moveTo>
                  <a:pt x="206551" y="633008"/>
                </a:moveTo>
                <a:cubicBezTo>
                  <a:pt x="208518" y="635062"/>
                  <a:pt x="211778" y="635132"/>
                  <a:pt x="213833" y="633165"/>
                </a:cubicBezTo>
                <a:cubicBezTo>
                  <a:pt x="213886" y="633114"/>
                  <a:pt x="213939" y="633061"/>
                  <a:pt x="213990" y="633008"/>
                </a:cubicBezTo>
                <a:cubicBezTo>
                  <a:pt x="216350" y="631281"/>
                  <a:pt x="216860" y="627967"/>
                  <a:pt x="215134" y="625609"/>
                </a:cubicBezTo>
                <a:cubicBezTo>
                  <a:pt x="213407" y="623250"/>
                  <a:pt x="210094" y="622738"/>
                  <a:pt x="207735" y="624466"/>
                </a:cubicBezTo>
                <a:cubicBezTo>
                  <a:pt x="207462" y="624665"/>
                  <a:pt x="207210" y="624891"/>
                  <a:pt x="206980" y="625139"/>
                </a:cubicBezTo>
                <a:cubicBezTo>
                  <a:pt x="204944" y="627200"/>
                  <a:pt x="204944" y="630517"/>
                  <a:pt x="206980" y="632578"/>
                </a:cubicBezTo>
                <a:moveTo>
                  <a:pt x="170209" y="666201"/>
                </a:moveTo>
                <a:cubicBezTo>
                  <a:pt x="172027" y="668071"/>
                  <a:pt x="175015" y="668114"/>
                  <a:pt x="176885" y="666295"/>
                </a:cubicBezTo>
                <a:cubicBezTo>
                  <a:pt x="178755" y="664478"/>
                  <a:pt x="178798" y="661490"/>
                  <a:pt x="176981" y="659620"/>
                </a:cubicBezTo>
                <a:cubicBezTo>
                  <a:pt x="175164" y="657750"/>
                  <a:pt x="172174" y="657707"/>
                  <a:pt x="170304" y="659525"/>
                </a:cubicBezTo>
                <a:cubicBezTo>
                  <a:pt x="170272" y="659555"/>
                  <a:pt x="170241" y="659588"/>
                  <a:pt x="170209" y="659620"/>
                </a:cubicBezTo>
                <a:cubicBezTo>
                  <a:pt x="168428" y="661452"/>
                  <a:pt x="168428" y="664368"/>
                  <a:pt x="170209" y="666201"/>
                </a:cubicBezTo>
                <a:moveTo>
                  <a:pt x="133296" y="698965"/>
                </a:moveTo>
                <a:cubicBezTo>
                  <a:pt x="134844" y="700546"/>
                  <a:pt x="137381" y="700572"/>
                  <a:pt x="138962" y="699022"/>
                </a:cubicBezTo>
                <a:cubicBezTo>
                  <a:pt x="138981" y="699004"/>
                  <a:pt x="139001" y="698985"/>
                  <a:pt x="139019" y="698965"/>
                </a:cubicBezTo>
                <a:cubicBezTo>
                  <a:pt x="140939" y="697713"/>
                  <a:pt x="141480" y="695142"/>
                  <a:pt x="140228" y="693224"/>
                </a:cubicBezTo>
                <a:cubicBezTo>
                  <a:pt x="138976" y="691304"/>
                  <a:pt x="136405" y="690763"/>
                  <a:pt x="134485" y="692015"/>
                </a:cubicBezTo>
                <a:cubicBezTo>
                  <a:pt x="134147" y="692235"/>
                  <a:pt x="133843" y="692504"/>
                  <a:pt x="133582" y="692813"/>
                </a:cubicBezTo>
                <a:cubicBezTo>
                  <a:pt x="132056" y="694415"/>
                  <a:pt x="132056" y="696933"/>
                  <a:pt x="133582" y="698536"/>
                </a:cubicBezTo>
                <a:moveTo>
                  <a:pt x="96669" y="731300"/>
                </a:moveTo>
                <a:cubicBezTo>
                  <a:pt x="98013" y="732639"/>
                  <a:pt x="100186" y="732635"/>
                  <a:pt x="101525" y="731291"/>
                </a:cubicBezTo>
                <a:cubicBezTo>
                  <a:pt x="102864" y="729948"/>
                  <a:pt x="102860" y="727775"/>
                  <a:pt x="101516" y="726436"/>
                </a:cubicBezTo>
                <a:cubicBezTo>
                  <a:pt x="100177" y="725101"/>
                  <a:pt x="98010" y="725101"/>
                  <a:pt x="96669" y="726436"/>
                </a:cubicBezTo>
                <a:cubicBezTo>
                  <a:pt x="95326" y="727775"/>
                  <a:pt x="95321" y="729948"/>
                  <a:pt x="96660" y="731291"/>
                </a:cubicBezTo>
                <a:cubicBezTo>
                  <a:pt x="96663" y="731294"/>
                  <a:pt x="96666" y="731297"/>
                  <a:pt x="96669" y="731300"/>
                </a:cubicBezTo>
                <a:moveTo>
                  <a:pt x="58611" y="764493"/>
                </a:moveTo>
                <a:cubicBezTo>
                  <a:pt x="59799" y="765534"/>
                  <a:pt x="61573" y="765534"/>
                  <a:pt x="62760" y="764493"/>
                </a:cubicBezTo>
                <a:cubicBezTo>
                  <a:pt x="63869" y="763333"/>
                  <a:pt x="63869" y="761505"/>
                  <a:pt x="62760" y="760344"/>
                </a:cubicBezTo>
                <a:cubicBezTo>
                  <a:pt x="61746" y="759238"/>
                  <a:pt x="60026" y="759164"/>
                  <a:pt x="58919" y="760178"/>
                </a:cubicBezTo>
                <a:cubicBezTo>
                  <a:pt x="58862" y="760231"/>
                  <a:pt x="58807" y="760287"/>
                  <a:pt x="58754" y="760344"/>
                </a:cubicBezTo>
                <a:cubicBezTo>
                  <a:pt x="57664" y="761457"/>
                  <a:pt x="57664" y="763237"/>
                  <a:pt x="58754" y="764350"/>
                </a:cubicBezTo>
                <a:moveTo>
                  <a:pt x="407428" y="413388"/>
                </a:moveTo>
                <a:cubicBezTo>
                  <a:pt x="410691" y="417055"/>
                  <a:pt x="416288" y="417435"/>
                  <a:pt x="420018" y="414246"/>
                </a:cubicBezTo>
                <a:cubicBezTo>
                  <a:pt x="423495" y="410795"/>
                  <a:pt x="423515" y="405178"/>
                  <a:pt x="420064" y="401701"/>
                </a:cubicBezTo>
                <a:cubicBezTo>
                  <a:pt x="420048" y="401686"/>
                  <a:pt x="420034" y="401671"/>
                  <a:pt x="420018" y="401656"/>
                </a:cubicBezTo>
                <a:cubicBezTo>
                  <a:pt x="416830" y="397936"/>
                  <a:pt x="411229" y="397505"/>
                  <a:pt x="407511" y="400694"/>
                </a:cubicBezTo>
                <a:cubicBezTo>
                  <a:pt x="403791" y="403882"/>
                  <a:pt x="403360" y="409482"/>
                  <a:pt x="406548" y="413202"/>
                </a:cubicBezTo>
                <a:cubicBezTo>
                  <a:pt x="406602" y="413265"/>
                  <a:pt x="406656" y="413326"/>
                  <a:pt x="406712" y="413388"/>
                </a:cubicBezTo>
                <a:moveTo>
                  <a:pt x="370514" y="446152"/>
                </a:moveTo>
                <a:cubicBezTo>
                  <a:pt x="373753" y="449394"/>
                  <a:pt x="379009" y="449395"/>
                  <a:pt x="382249" y="446155"/>
                </a:cubicBezTo>
                <a:cubicBezTo>
                  <a:pt x="385491" y="442916"/>
                  <a:pt x="385493" y="437662"/>
                  <a:pt x="382254" y="434420"/>
                </a:cubicBezTo>
                <a:cubicBezTo>
                  <a:pt x="379014" y="431178"/>
                  <a:pt x="373759" y="431176"/>
                  <a:pt x="370517" y="434417"/>
                </a:cubicBezTo>
                <a:cubicBezTo>
                  <a:pt x="370517" y="434417"/>
                  <a:pt x="370516" y="434418"/>
                  <a:pt x="370514" y="434420"/>
                </a:cubicBezTo>
                <a:cubicBezTo>
                  <a:pt x="367276" y="437660"/>
                  <a:pt x="367276" y="442911"/>
                  <a:pt x="370514" y="446152"/>
                </a:cubicBezTo>
                <a:moveTo>
                  <a:pt x="333458" y="478916"/>
                </a:moveTo>
                <a:cubicBezTo>
                  <a:pt x="336500" y="481823"/>
                  <a:pt x="341290" y="481823"/>
                  <a:pt x="344332" y="478916"/>
                </a:cubicBezTo>
                <a:cubicBezTo>
                  <a:pt x="347313" y="475904"/>
                  <a:pt x="347313" y="471054"/>
                  <a:pt x="344332" y="468042"/>
                </a:cubicBezTo>
                <a:cubicBezTo>
                  <a:pt x="341760" y="464637"/>
                  <a:pt x="336916" y="463961"/>
                  <a:pt x="333511" y="466532"/>
                </a:cubicBezTo>
                <a:cubicBezTo>
                  <a:pt x="330104" y="469104"/>
                  <a:pt x="329429" y="473949"/>
                  <a:pt x="332000" y="477354"/>
                </a:cubicBezTo>
                <a:cubicBezTo>
                  <a:pt x="332226" y="477654"/>
                  <a:pt x="332475" y="477937"/>
                  <a:pt x="332742" y="478201"/>
                </a:cubicBezTo>
                <a:moveTo>
                  <a:pt x="296545" y="511680"/>
                </a:moveTo>
                <a:cubicBezTo>
                  <a:pt x="299254" y="514446"/>
                  <a:pt x="303693" y="514492"/>
                  <a:pt x="306458" y="511782"/>
                </a:cubicBezTo>
                <a:cubicBezTo>
                  <a:pt x="306493" y="511747"/>
                  <a:pt x="306527" y="511715"/>
                  <a:pt x="306560" y="511680"/>
                </a:cubicBezTo>
                <a:cubicBezTo>
                  <a:pt x="309381" y="508915"/>
                  <a:pt x="309427" y="504385"/>
                  <a:pt x="306661" y="501563"/>
                </a:cubicBezTo>
                <a:cubicBezTo>
                  <a:pt x="303896" y="498742"/>
                  <a:pt x="299366" y="498698"/>
                  <a:pt x="296545" y="501463"/>
                </a:cubicBezTo>
                <a:cubicBezTo>
                  <a:pt x="293723" y="504229"/>
                  <a:pt x="293677" y="508757"/>
                  <a:pt x="296443" y="511579"/>
                </a:cubicBezTo>
                <a:cubicBezTo>
                  <a:pt x="296477" y="511613"/>
                  <a:pt x="296510" y="511647"/>
                  <a:pt x="296545" y="511680"/>
                </a:cubicBezTo>
                <a:moveTo>
                  <a:pt x="259631" y="544444"/>
                </a:moveTo>
                <a:cubicBezTo>
                  <a:pt x="262184" y="546915"/>
                  <a:pt x="266236" y="546915"/>
                  <a:pt x="268788" y="544444"/>
                </a:cubicBezTo>
                <a:cubicBezTo>
                  <a:pt x="271187" y="541863"/>
                  <a:pt x="271187" y="537869"/>
                  <a:pt x="268788" y="535288"/>
                </a:cubicBezTo>
                <a:cubicBezTo>
                  <a:pt x="266417" y="532601"/>
                  <a:pt x="262318" y="532345"/>
                  <a:pt x="259631" y="534715"/>
                </a:cubicBezTo>
                <a:cubicBezTo>
                  <a:pt x="256944" y="537086"/>
                  <a:pt x="256688" y="541185"/>
                  <a:pt x="259059" y="543872"/>
                </a:cubicBezTo>
                <a:moveTo>
                  <a:pt x="222003" y="576636"/>
                </a:moveTo>
                <a:cubicBezTo>
                  <a:pt x="224295" y="578927"/>
                  <a:pt x="228009" y="578925"/>
                  <a:pt x="230298" y="576633"/>
                </a:cubicBezTo>
                <a:cubicBezTo>
                  <a:pt x="232589" y="574343"/>
                  <a:pt x="232587" y="570628"/>
                  <a:pt x="230297" y="568338"/>
                </a:cubicBezTo>
                <a:cubicBezTo>
                  <a:pt x="228006" y="566049"/>
                  <a:pt x="224293" y="566049"/>
                  <a:pt x="222003" y="568338"/>
                </a:cubicBezTo>
                <a:cubicBezTo>
                  <a:pt x="219711" y="570628"/>
                  <a:pt x="219711" y="574343"/>
                  <a:pt x="222000" y="576633"/>
                </a:cubicBezTo>
                <a:cubicBezTo>
                  <a:pt x="222001" y="576635"/>
                  <a:pt x="222001" y="576635"/>
                  <a:pt x="222003" y="576636"/>
                </a:cubicBezTo>
                <a:moveTo>
                  <a:pt x="185662" y="610402"/>
                </a:moveTo>
                <a:cubicBezTo>
                  <a:pt x="187716" y="612482"/>
                  <a:pt x="191068" y="612502"/>
                  <a:pt x="193147" y="610449"/>
                </a:cubicBezTo>
                <a:cubicBezTo>
                  <a:pt x="195228" y="608394"/>
                  <a:pt x="195249" y="605042"/>
                  <a:pt x="193194" y="602962"/>
                </a:cubicBezTo>
                <a:cubicBezTo>
                  <a:pt x="191140" y="600882"/>
                  <a:pt x="187788" y="600862"/>
                  <a:pt x="185707" y="602915"/>
                </a:cubicBezTo>
                <a:cubicBezTo>
                  <a:pt x="185693" y="602930"/>
                  <a:pt x="185677" y="602946"/>
                  <a:pt x="185662" y="602962"/>
                </a:cubicBezTo>
                <a:cubicBezTo>
                  <a:pt x="183626" y="605024"/>
                  <a:pt x="183626" y="608340"/>
                  <a:pt x="185662" y="610402"/>
                </a:cubicBezTo>
                <a:moveTo>
                  <a:pt x="148748" y="642737"/>
                </a:moveTo>
                <a:cubicBezTo>
                  <a:pt x="150581" y="644518"/>
                  <a:pt x="153497" y="644518"/>
                  <a:pt x="155330" y="642737"/>
                </a:cubicBezTo>
                <a:cubicBezTo>
                  <a:pt x="157381" y="641127"/>
                  <a:pt x="157738" y="638158"/>
                  <a:pt x="156128" y="636108"/>
                </a:cubicBezTo>
                <a:cubicBezTo>
                  <a:pt x="154517" y="634056"/>
                  <a:pt x="151550" y="633699"/>
                  <a:pt x="149498" y="635310"/>
                </a:cubicBezTo>
                <a:cubicBezTo>
                  <a:pt x="149335" y="635439"/>
                  <a:pt x="149180" y="635577"/>
                  <a:pt x="149034" y="635726"/>
                </a:cubicBezTo>
                <a:cubicBezTo>
                  <a:pt x="147253" y="637559"/>
                  <a:pt x="147253" y="640475"/>
                  <a:pt x="149034" y="642308"/>
                </a:cubicBezTo>
                <a:moveTo>
                  <a:pt x="111978" y="675072"/>
                </a:moveTo>
                <a:cubicBezTo>
                  <a:pt x="113598" y="676691"/>
                  <a:pt x="116225" y="676691"/>
                  <a:pt x="117844" y="675072"/>
                </a:cubicBezTo>
                <a:cubicBezTo>
                  <a:pt x="119371" y="673469"/>
                  <a:pt x="119371" y="670951"/>
                  <a:pt x="117844" y="669349"/>
                </a:cubicBezTo>
                <a:cubicBezTo>
                  <a:pt x="116296" y="667768"/>
                  <a:pt x="113759" y="667742"/>
                  <a:pt x="112178" y="669291"/>
                </a:cubicBezTo>
                <a:cubicBezTo>
                  <a:pt x="112160" y="669310"/>
                  <a:pt x="112140" y="669329"/>
                  <a:pt x="112121" y="669349"/>
                </a:cubicBezTo>
                <a:cubicBezTo>
                  <a:pt x="110540" y="670897"/>
                  <a:pt x="110514" y="673433"/>
                  <a:pt x="112064" y="675014"/>
                </a:cubicBezTo>
                <a:cubicBezTo>
                  <a:pt x="112082" y="675033"/>
                  <a:pt x="112101" y="675053"/>
                  <a:pt x="112121" y="675072"/>
                </a:cubicBezTo>
                <a:moveTo>
                  <a:pt x="75208" y="707836"/>
                </a:moveTo>
                <a:cubicBezTo>
                  <a:pt x="76547" y="709179"/>
                  <a:pt x="78720" y="709184"/>
                  <a:pt x="80064" y="707844"/>
                </a:cubicBezTo>
                <a:cubicBezTo>
                  <a:pt x="80067" y="707842"/>
                  <a:pt x="80070" y="707839"/>
                  <a:pt x="80072" y="707836"/>
                </a:cubicBezTo>
                <a:cubicBezTo>
                  <a:pt x="81412" y="706492"/>
                  <a:pt x="81407" y="704318"/>
                  <a:pt x="80064" y="702980"/>
                </a:cubicBezTo>
                <a:cubicBezTo>
                  <a:pt x="78720" y="701641"/>
                  <a:pt x="76547" y="701645"/>
                  <a:pt x="75208" y="702988"/>
                </a:cubicBezTo>
                <a:cubicBezTo>
                  <a:pt x="73873" y="704328"/>
                  <a:pt x="73873" y="706495"/>
                  <a:pt x="75208" y="707836"/>
                </a:cubicBezTo>
                <a:moveTo>
                  <a:pt x="38295" y="740600"/>
                </a:moveTo>
                <a:cubicBezTo>
                  <a:pt x="39309" y="741706"/>
                  <a:pt x="41029" y="741780"/>
                  <a:pt x="42136" y="740765"/>
                </a:cubicBezTo>
                <a:cubicBezTo>
                  <a:pt x="42193" y="740713"/>
                  <a:pt x="42248" y="740657"/>
                  <a:pt x="42301" y="740600"/>
                </a:cubicBezTo>
                <a:cubicBezTo>
                  <a:pt x="43391" y="739487"/>
                  <a:pt x="43391" y="737707"/>
                  <a:pt x="42301" y="736594"/>
                </a:cubicBezTo>
                <a:cubicBezTo>
                  <a:pt x="41113" y="735554"/>
                  <a:pt x="39339" y="735554"/>
                  <a:pt x="38151" y="736594"/>
                </a:cubicBezTo>
                <a:cubicBezTo>
                  <a:pt x="37043" y="737754"/>
                  <a:pt x="37043" y="739583"/>
                  <a:pt x="38151" y="740743"/>
                </a:cubicBezTo>
                <a:moveTo>
                  <a:pt x="386539" y="389924"/>
                </a:moveTo>
                <a:cubicBezTo>
                  <a:pt x="389781" y="393596"/>
                  <a:pt x="395386" y="393944"/>
                  <a:pt x="399059" y="390702"/>
                </a:cubicBezTo>
                <a:cubicBezTo>
                  <a:pt x="402732" y="387460"/>
                  <a:pt x="403081" y="381854"/>
                  <a:pt x="399837" y="378181"/>
                </a:cubicBezTo>
                <a:cubicBezTo>
                  <a:pt x="396622" y="374540"/>
                  <a:pt x="391077" y="374161"/>
                  <a:pt x="387397" y="377333"/>
                </a:cubicBezTo>
                <a:cubicBezTo>
                  <a:pt x="383730" y="380597"/>
                  <a:pt x="383349" y="386194"/>
                  <a:pt x="386539" y="389924"/>
                </a:cubicBezTo>
                <a:moveTo>
                  <a:pt x="349625" y="422688"/>
                </a:moveTo>
                <a:cubicBezTo>
                  <a:pt x="352669" y="426114"/>
                  <a:pt x="357914" y="426426"/>
                  <a:pt x="361340" y="423383"/>
                </a:cubicBezTo>
                <a:cubicBezTo>
                  <a:pt x="364767" y="420341"/>
                  <a:pt x="365079" y="415096"/>
                  <a:pt x="362036" y="411668"/>
                </a:cubicBezTo>
                <a:cubicBezTo>
                  <a:pt x="359000" y="408249"/>
                  <a:pt x="353770" y="407930"/>
                  <a:pt x="350341" y="410956"/>
                </a:cubicBezTo>
                <a:cubicBezTo>
                  <a:pt x="346904" y="413987"/>
                  <a:pt x="346576" y="419231"/>
                  <a:pt x="349608" y="422668"/>
                </a:cubicBezTo>
                <a:cubicBezTo>
                  <a:pt x="349614" y="422675"/>
                  <a:pt x="349620" y="422682"/>
                  <a:pt x="349625" y="422688"/>
                </a:cubicBezTo>
                <a:moveTo>
                  <a:pt x="313284" y="455452"/>
                </a:moveTo>
                <a:cubicBezTo>
                  <a:pt x="316287" y="458484"/>
                  <a:pt x="321179" y="458506"/>
                  <a:pt x="324211" y="455505"/>
                </a:cubicBezTo>
                <a:cubicBezTo>
                  <a:pt x="327243" y="452502"/>
                  <a:pt x="327266" y="447610"/>
                  <a:pt x="324262" y="444578"/>
                </a:cubicBezTo>
                <a:cubicBezTo>
                  <a:pt x="321261" y="441546"/>
                  <a:pt x="316369" y="441523"/>
                  <a:pt x="313337" y="444525"/>
                </a:cubicBezTo>
                <a:cubicBezTo>
                  <a:pt x="313319" y="444542"/>
                  <a:pt x="313301" y="444561"/>
                  <a:pt x="313284" y="444578"/>
                </a:cubicBezTo>
                <a:cubicBezTo>
                  <a:pt x="310303" y="447590"/>
                  <a:pt x="310303" y="452440"/>
                  <a:pt x="313284" y="455452"/>
                </a:cubicBezTo>
                <a:moveTo>
                  <a:pt x="276228" y="488216"/>
                </a:moveTo>
                <a:cubicBezTo>
                  <a:pt x="279009" y="490943"/>
                  <a:pt x="283462" y="490943"/>
                  <a:pt x="286243" y="488216"/>
                </a:cubicBezTo>
                <a:cubicBezTo>
                  <a:pt x="288953" y="485450"/>
                  <a:pt x="288907" y="481012"/>
                  <a:pt x="286142" y="478302"/>
                </a:cubicBezTo>
                <a:cubicBezTo>
                  <a:pt x="283376" y="475592"/>
                  <a:pt x="278938" y="475637"/>
                  <a:pt x="276228" y="478402"/>
                </a:cubicBezTo>
                <a:cubicBezTo>
                  <a:pt x="273557" y="481129"/>
                  <a:pt x="273557" y="485490"/>
                  <a:pt x="276228" y="488216"/>
                </a:cubicBezTo>
                <a:moveTo>
                  <a:pt x="239315" y="520980"/>
                </a:moveTo>
                <a:cubicBezTo>
                  <a:pt x="241843" y="523591"/>
                  <a:pt x="246009" y="523658"/>
                  <a:pt x="248622" y="521130"/>
                </a:cubicBezTo>
                <a:cubicBezTo>
                  <a:pt x="251233" y="518601"/>
                  <a:pt x="251299" y="514434"/>
                  <a:pt x="248770" y="511823"/>
                </a:cubicBezTo>
                <a:cubicBezTo>
                  <a:pt x="246242" y="509212"/>
                  <a:pt x="242076" y="509145"/>
                  <a:pt x="239465" y="511673"/>
                </a:cubicBezTo>
                <a:cubicBezTo>
                  <a:pt x="239413" y="511723"/>
                  <a:pt x="239363" y="511773"/>
                  <a:pt x="239315" y="511823"/>
                </a:cubicBezTo>
                <a:cubicBezTo>
                  <a:pt x="236786" y="514323"/>
                  <a:pt x="236764" y="518400"/>
                  <a:pt x="239263" y="520929"/>
                </a:cubicBezTo>
                <a:cubicBezTo>
                  <a:pt x="239280" y="520946"/>
                  <a:pt x="239297" y="520963"/>
                  <a:pt x="239315" y="520980"/>
                </a:cubicBezTo>
                <a:moveTo>
                  <a:pt x="201829" y="553172"/>
                </a:moveTo>
                <a:cubicBezTo>
                  <a:pt x="204160" y="555422"/>
                  <a:pt x="207874" y="555357"/>
                  <a:pt x="210123" y="553025"/>
                </a:cubicBezTo>
                <a:cubicBezTo>
                  <a:pt x="212374" y="550694"/>
                  <a:pt x="212308" y="546981"/>
                  <a:pt x="209977" y="544731"/>
                </a:cubicBezTo>
                <a:cubicBezTo>
                  <a:pt x="207704" y="542537"/>
                  <a:pt x="204102" y="542537"/>
                  <a:pt x="201829" y="544731"/>
                </a:cubicBezTo>
                <a:cubicBezTo>
                  <a:pt x="199520" y="547071"/>
                  <a:pt x="199520" y="550831"/>
                  <a:pt x="201829" y="553172"/>
                </a:cubicBezTo>
                <a:moveTo>
                  <a:pt x="164773" y="585793"/>
                </a:moveTo>
                <a:cubicBezTo>
                  <a:pt x="166849" y="587852"/>
                  <a:pt x="170201" y="587836"/>
                  <a:pt x="172260" y="585760"/>
                </a:cubicBezTo>
                <a:cubicBezTo>
                  <a:pt x="174085" y="583919"/>
                  <a:pt x="174307" y="581024"/>
                  <a:pt x="172785" y="578925"/>
                </a:cubicBezTo>
                <a:cubicBezTo>
                  <a:pt x="171068" y="576559"/>
                  <a:pt x="167759" y="576031"/>
                  <a:pt x="165392" y="577748"/>
                </a:cubicBezTo>
                <a:cubicBezTo>
                  <a:pt x="163024" y="579465"/>
                  <a:pt x="162498" y="582774"/>
                  <a:pt x="164215" y="585141"/>
                </a:cubicBezTo>
                <a:cubicBezTo>
                  <a:pt x="164382" y="585374"/>
                  <a:pt x="164569" y="585591"/>
                  <a:pt x="164773" y="585793"/>
                </a:cubicBezTo>
                <a:moveTo>
                  <a:pt x="127287" y="619129"/>
                </a:moveTo>
                <a:cubicBezTo>
                  <a:pt x="129292" y="620798"/>
                  <a:pt x="132269" y="620524"/>
                  <a:pt x="133936" y="618520"/>
                </a:cubicBezTo>
                <a:cubicBezTo>
                  <a:pt x="135245" y="616946"/>
                  <a:pt x="135391" y="614707"/>
                  <a:pt x="134298" y="612977"/>
                </a:cubicBezTo>
                <a:cubicBezTo>
                  <a:pt x="132465" y="611196"/>
                  <a:pt x="129549" y="611196"/>
                  <a:pt x="127716" y="612977"/>
                </a:cubicBezTo>
                <a:cubicBezTo>
                  <a:pt x="125899" y="614736"/>
                  <a:pt x="125851" y="617634"/>
                  <a:pt x="127609" y="619451"/>
                </a:cubicBezTo>
                <a:cubicBezTo>
                  <a:pt x="127643" y="619487"/>
                  <a:pt x="127681" y="619523"/>
                  <a:pt x="127716" y="619559"/>
                </a:cubicBezTo>
                <a:moveTo>
                  <a:pt x="90946" y="651894"/>
                </a:moveTo>
                <a:cubicBezTo>
                  <a:pt x="92494" y="653474"/>
                  <a:pt x="95031" y="653500"/>
                  <a:pt x="96612" y="651951"/>
                </a:cubicBezTo>
                <a:cubicBezTo>
                  <a:pt x="96630" y="651932"/>
                  <a:pt x="96650" y="651914"/>
                  <a:pt x="96669" y="651894"/>
                </a:cubicBezTo>
                <a:cubicBezTo>
                  <a:pt x="98250" y="650345"/>
                  <a:pt x="98276" y="647809"/>
                  <a:pt x="96726" y="646228"/>
                </a:cubicBezTo>
                <a:cubicBezTo>
                  <a:pt x="96708" y="646209"/>
                  <a:pt x="96689" y="646189"/>
                  <a:pt x="96669" y="646171"/>
                </a:cubicBezTo>
                <a:cubicBezTo>
                  <a:pt x="95121" y="644590"/>
                  <a:pt x="92584" y="644564"/>
                  <a:pt x="91003" y="646113"/>
                </a:cubicBezTo>
                <a:cubicBezTo>
                  <a:pt x="90985" y="646132"/>
                  <a:pt x="90965" y="646151"/>
                  <a:pt x="90946" y="646171"/>
                </a:cubicBezTo>
                <a:cubicBezTo>
                  <a:pt x="89365" y="647719"/>
                  <a:pt x="89339" y="650255"/>
                  <a:pt x="90889" y="651836"/>
                </a:cubicBezTo>
                <a:cubicBezTo>
                  <a:pt x="90907" y="651855"/>
                  <a:pt x="90926" y="651875"/>
                  <a:pt x="90946" y="651894"/>
                </a:cubicBezTo>
                <a:moveTo>
                  <a:pt x="53890" y="684658"/>
                </a:moveTo>
                <a:cubicBezTo>
                  <a:pt x="55233" y="685997"/>
                  <a:pt x="57406" y="685993"/>
                  <a:pt x="58746" y="684649"/>
                </a:cubicBezTo>
                <a:cubicBezTo>
                  <a:pt x="60085" y="683306"/>
                  <a:pt x="60081" y="681132"/>
                  <a:pt x="58737" y="679793"/>
                </a:cubicBezTo>
                <a:cubicBezTo>
                  <a:pt x="57398" y="678458"/>
                  <a:pt x="55230" y="678458"/>
                  <a:pt x="53890" y="679793"/>
                </a:cubicBezTo>
                <a:cubicBezTo>
                  <a:pt x="52546" y="681132"/>
                  <a:pt x="52542" y="683306"/>
                  <a:pt x="53881" y="684649"/>
                </a:cubicBezTo>
                <a:cubicBezTo>
                  <a:pt x="53884" y="684652"/>
                  <a:pt x="53887" y="684655"/>
                  <a:pt x="53890" y="684658"/>
                </a:cubicBezTo>
                <a:moveTo>
                  <a:pt x="16976" y="717422"/>
                </a:moveTo>
                <a:cubicBezTo>
                  <a:pt x="18082" y="718551"/>
                  <a:pt x="19894" y="718569"/>
                  <a:pt x="21023" y="717462"/>
                </a:cubicBezTo>
                <a:cubicBezTo>
                  <a:pt x="22151" y="716356"/>
                  <a:pt x="22170" y="714545"/>
                  <a:pt x="21064" y="713416"/>
                </a:cubicBezTo>
                <a:cubicBezTo>
                  <a:pt x="19957" y="712287"/>
                  <a:pt x="18145" y="712270"/>
                  <a:pt x="17016" y="713376"/>
                </a:cubicBezTo>
                <a:cubicBezTo>
                  <a:pt x="17004" y="713388"/>
                  <a:pt x="16989" y="713403"/>
                  <a:pt x="16976" y="713416"/>
                </a:cubicBezTo>
                <a:cubicBezTo>
                  <a:pt x="15870" y="714432"/>
                  <a:pt x="15796" y="716150"/>
                  <a:pt x="16812" y="717257"/>
                </a:cubicBezTo>
                <a:cubicBezTo>
                  <a:pt x="16863" y="717315"/>
                  <a:pt x="16919" y="717369"/>
                  <a:pt x="16976" y="717422"/>
                </a:cubicBezTo>
                <a:moveTo>
                  <a:pt x="490840" y="507531"/>
                </a:moveTo>
                <a:cubicBezTo>
                  <a:pt x="494291" y="511008"/>
                  <a:pt x="499908" y="511028"/>
                  <a:pt x="503385" y="507577"/>
                </a:cubicBezTo>
                <a:cubicBezTo>
                  <a:pt x="503401" y="507561"/>
                  <a:pt x="503415" y="507547"/>
                  <a:pt x="503431" y="507531"/>
                </a:cubicBezTo>
                <a:cubicBezTo>
                  <a:pt x="506882" y="504054"/>
                  <a:pt x="506862" y="498437"/>
                  <a:pt x="503385" y="494986"/>
                </a:cubicBezTo>
                <a:cubicBezTo>
                  <a:pt x="499908" y="491535"/>
                  <a:pt x="494291" y="491555"/>
                  <a:pt x="490840" y="495032"/>
                </a:cubicBezTo>
                <a:cubicBezTo>
                  <a:pt x="487406" y="498490"/>
                  <a:pt x="487406" y="504071"/>
                  <a:pt x="490840" y="507531"/>
                </a:cubicBezTo>
                <a:moveTo>
                  <a:pt x="453927" y="540295"/>
                </a:moveTo>
                <a:cubicBezTo>
                  <a:pt x="456632" y="543995"/>
                  <a:pt x="461825" y="544801"/>
                  <a:pt x="465523" y="542095"/>
                </a:cubicBezTo>
                <a:cubicBezTo>
                  <a:pt x="469223" y="539390"/>
                  <a:pt x="470028" y="534197"/>
                  <a:pt x="467323" y="530499"/>
                </a:cubicBezTo>
                <a:cubicBezTo>
                  <a:pt x="467001" y="530057"/>
                  <a:pt x="466635" y="529648"/>
                  <a:pt x="466231" y="529278"/>
                </a:cubicBezTo>
                <a:cubicBezTo>
                  <a:pt x="463526" y="525579"/>
                  <a:pt x="458334" y="524773"/>
                  <a:pt x="454635" y="527479"/>
                </a:cubicBezTo>
                <a:cubicBezTo>
                  <a:pt x="450935" y="530184"/>
                  <a:pt x="450130" y="535376"/>
                  <a:pt x="452835" y="539075"/>
                </a:cubicBezTo>
                <a:cubicBezTo>
                  <a:pt x="453157" y="539517"/>
                  <a:pt x="453523" y="539926"/>
                  <a:pt x="453927" y="540295"/>
                </a:cubicBezTo>
                <a:moveTo>
                  <a:pt x="416870" y="573059"/>
                </a:moveTo>
                <a:cubicBezTo>
                  <a:pt x="419882" y="576041"/>
                  <a:pt x="424732" y="576041"/>
                  <a:pt x="427744" y="573059"/>
                </a:cubicBezTo>
                <a:cubicBezTo>
                  <a:pt x="430651" y="570018"/>
                  <a:pt x="430651" y="565227"/>
                  <a:pt x="427744" y="562186"/>
                </a:cubicBezTo>
                <a:cubicBezTo>
                  <a:pt x="424732" y="559204"/>
                  <a:pt x="419882" y="559204"/>
                  <a:pt x="416870" y="562186"/>
                </a:cubicBezTo>
                <a:cubicBezTo>
                  <a:pt x="413963" y="565227"/>
                  <a:pt x="413963" y="570018"/>
                  <a:pt x="416870" y="573059"/>
                </a:cubicBezTo>
                <a:moveTo>
                  <a:pt x="379957" y="605823"/>
                </a:moveTo>
                <a:cubicBezTo>
                  <a:pt x="382723" y="608645"/>
                  <a:pt x="387253" y="608691"/>
                  <a:pt x="390074" y="605925"/>
                </a:cubicBezTo>
                <a:cubicBezTo>
                  <a:pt x="392895" y="603159"/>
                  <a:pt x="392940" y="598630"/>
                  <a:pt x="390174" y="595808"/>
                </a:cubicBezTo>
                <a:cubicBezTo>
                  <a:pt x="387409" y="592987"/>
                  <a:pt x="382880" y="592941"/>
                  <a:pt x="380059" y="595707"/>
                </a:cubicBezTo>
                <a:cubicBezTo>
                  <a:pt x="380024" y="595741"/>
                  <a:pt x="379990" y="595774"/>
                  <a:pt x="379957" y="595808"/>
                </a:cubicBezTo>
                <a:cubicBezTo>
                  <a:pt x="377230" y="598590"/>
                  <a:pt x="377230" y="603042"/>
                  <a:pt x="379957" y="605823"/>
                </a:cubicBezTo>
                <a:moveTo>
                  <a:pt x="342901" y="639017"/>
                </a:moveTo>
                <a:cubicBezTo>
                  <a:pt x="345482" y="641416"/>
                  <a:pt x="349476" y="641416"/>
                  <a:pt x="352058" y="639017"/>
                </a:cubicBezTo>
                <a:cubicBezTo>
                  <a:pt x="354745" y="636646"/>
                  <a:pt x="355001" y="632547"/>
                  <a:pt x="352630" y="629860"/>
                </a:cubicBezTo>
                <a:cubicBezTo>
                  <a:pt x="350259" y="627173"/>
                  <a:pt x="346160" y="626917"/>
                  <a:pt x="343473" y="629288"/>
                </a:cubicBezTo>
                <a:cubicBezTo>
                  <a:pt x="341074" y="631869"/>
                  <a:pt x="341074" y="635863"/>
                  <a:pt x="343473" y="638444"/>
                </a:cubicBezTo>
                <a:moveTo>
                  <a:pt x="306560" y="671209"/>
                </a:moveTo>
                <a:cubicBezTo>
                  <a:pt x="308733" y="673658"/>
                  <a:pt x="312480" y="673883"/>
                  <a:pt x="314930" y="671709"/>
                </a:cubicBezTo>
                <a:cubicBezTo>
                  <a:pt x="317379" y="669536"/>
                  <a:pt x="317604" y="665789"/>
                  <a:pt x="315430" y="663339"/>
                </a:cubicBezTo>
                <a:cubicBezTo>
                  <a:pt x="313253" y="661048"/>
                  <a:pt x="309632" y="660954"/>
                  <a:pt x="307340" y="663132"/>
                </a:cubicBezTo>
                <a:cubicBezTo>
                  <a:pt x="307268" y="663199"/>
                  <a:pt x="307199" y="663268"/>
                  <a:pt x="307132" y="663339"/>
                </a:cubicBezTo>
                <a:cubicBezTo>
                  <a:pt x="304840" y="665630"/>
                  <a:pt x="304840" y="669344"/>
                  <a:pt x="307129" y="671635"/>
                </a:cubicBezTo>
                <a:cubicBezTo>
                  <a:pt x="307131" y="671636"/>
                  <a:pt x="307131" y="671636"/>
                  <a:pt x="307132" y="671638"/>
                </a:cubicBezTo>
                <a:moveTo>
                  <a:pt x="270219" y="704402"/>
                </a:moveTo>
                <a:cubicBezTo>
                  <a:pt x="272280" y="706438"/>
                  <a:pt x="275597" y="706438"/>
                  <a:pt x="277659" y="704402"/>
                </a:cubicBezTo>
                <a:cubicBezTo>
                  <a:pt x="279871" y="702466"/>
                  <a:pt x="280095" y="699103"/>
                  <a:pt x="278159" y="696891"/>
                </a:cubicBezTo>
                <a:cubicBezTo>
                  <a:pt x="276224" y="694679"/>
                  <a:pt x="272860" y="694454"/>
                  <a:pt x="270648" y="696390"/>
                </a:cubicBezTo>
                <a:cubicBezTo>
                  <a:pt x="268595" y="698500"/>
                  <a:pt x="268595" y="701862"/>
                  <a:pt x="270648" y="703973"/>
                </a:cubicBezTo>
                <a:moveTo>
                  <a:pt x="233592" y="736594"/>
                </a:moveTo>
                <a:cubicBezTo>
                  <a:pt x="235423" y="738451"/>
                  <a:pt x="238412" y="738472"/>
                  <a:pt x="240269" y="736641"/>
                </a:cubicBezTo>
                <a:cubicBezTo>
                  <a:pt x="240285" y="736625"/>
                  <a:pt x="240300" y="736610"/>
                  <a:pt x="240316" y="736594"/>
                </a:cubicBezTo>
                <a:cubicBezTo>
                  <a:pt x="242148" y="734737"/>
                  <a:pt x="242126" y="731748"/>
                  <a:pt x="240269" y="729917"/>
                </a:cubicBezTo>
                <a:cubicBezTo>
                  <a:pt x="238412" y="728087"/>
                  <a:pt x="235423" y="728108"/>
                  <a:pt x="233592" y="729964"/>
                </a:cubicBezTo>
                <a:cubicBezTo>
                  <a:pt x="231779" y="731802"/>
                  <a:pt x="231779" y="734755"/>
                  <a:pt x="233592" y="736594"/>
                </a:cubicBezTo>
                <a:moveTo>
                  <a:pt x="196678" y="769358"/>
                </a:moveTo>
                <a:cubicBezTo>
                  <a:pt x="198259" y="770906"/>
                  <a:pt x="200795" y="770880"/>
                  <a:pt x="202344" y="769301"/>
                </a:cubicBezTo>
                <a:cubicBezTo>
                  <a:pt x="203892" y="767720"/>
                  <a:pt x="203866" y="765183"/>
                  <a:pt x="202285" y="763635"/>
                </a:cubicBezTo>
                <a:cubicBezTo>
                  <a:pt x="200729" y="762108"/>
                  <a:pt x="198236" y="762108"/>
                  <a:pt x="196678" y="763635"/>
                </a:cubicBezTo>
                <a:cubicBezTo>
                  <a:pt x="195152" y="765237"/>
                  <a:pt x="195152" y="767756"/>
                  <a:pt x="196678" y="769358"/>
                </a:cubicBezTo>
                <a:moveTo>
                  <a:pt x="159765" y="802122"/>
                </a:moveTo>
                <a:cubicBezTo>
                  <a:pt x="161108" y="803461"/>
                  <a:pt x="163282" y="803457"/>
                  <a:pt x="164621" y="802113"/>
                </a:cubicBezTo>
                <a:cubicBezTo>
                  <a:pt x="165960" y="800770"/>
                  <a:pt x="165956" y="798597"/>
                  <a:pt x="164612" y="797258"/>
                </a:cubicBezTo>
                <a:cubicBezTo>
                  <a:pt x="163273" y="795923"/>
                  <a:pt x="161106" y="795923"/>
                  <a:pt x="159765" y="797258"/>
                </a:cubicBezTo>
                <a:cubicBezTo>
                  <a:pt x="158422" y="798597"/>
                  <a:pt x="158417" y="800770"/>
                  <a:pt x="159756" y="802113"/>
                </a:cubicBezTo>
                <a:cubicBezTo>
                  <a:pt x="159759" y="802116"/>
                  <a:pt x="159762" y="802119"/>
                  <a:pt x="159765" y="802122"/>
                </a:cubicBezTo>
                <a:moveTo>
                  <a:pt x="470667" y="483924"/>
                </a:moveTo>
                <a:cubicBezTo>
                  <a:pt x="473856" y="487644"/>
                  <a:pt x="479456" y="488074"/>
                  <a:pt x="483174" y="484885"/>
                </a:cubicBezTo>
                <a:cubicBezTo>
                  <a:pt x="486894" y="481697"/>
                  <a:pt x="487325" y="476098"/>
                  <a:pt x="484137" y="472378"/>
                </a:cubicBezTo>
                <a:cubicBezTo>
                  <a:pt x="484083" y="472315"/>
                  <a:pt x="484028" y="472253"/>
                  <a:pt x="483973" y="472192"/>
                </a:cubicBezTo>
                <a:cubicBezTo>
                  <a:pt x="480682" y="468562"/>
                  <a:pt x="475072" y="468288"/>
                  <a:pt x="471442" y="471579"/>
                </a:cubicBezTo>
                <a:cubicBezTo>
                  <a:pt x="467885" y="474806"/>
                  <a:pt x="467540" y="480277"/>
                  <a:pt x="470667" y="483924"/>
                </a:cubicBezTo>
                <a:moveTo>
                  <a:pt x="433753" y="516688"/>
                </a:moveTo>
                <a:cubicBezTo>
                  <a:pt x="436752" y="520155"/>
                  <a:pt x="441992" y="520532"/>
                  <a:pt x="445458" y="517535"/>
                </a:cubicBezTo>
                <a:cubicBezTo>
                  <a:pt x="448925" y="514536"/>
                  <a:pt x="449304" y="509295"/>
                  <a:pt x="446305" y="505830"/>
                </a:cubicBezTo>
                <a:cubicBezTo>
                  <a:pt x="443306" y="502363"/>
                  <a:pt x="438066" y="501984"/>
                  <a:pt x="434600" y="504983"/>
                </a:cubicBezTo>
                <a:cubicBezTo>
                  <a:pt x="434556" y="505022"/>
                  <a:pt x="434512" y="505060"/>
                  <a:pt x="434469" y="505099"/>
                </a:cubicBezTo>
                <a:cubicBezTo>
                  <a:pt x="431073" y="508059"/>
                  <a:pt x="430720" y="513210"/>
                  <a:pt x="433680" y="516605"/>
                </a:cubicBezTo>
                <a:cubicBezTo>
                  <a:pt x="433705" y="516633"/>
                  <a:pt x="433729" y="516661"/>
                  <a:pt x="433753" y="516688"/>
                </a:cubicBezTo>
                <a:moveTo>
                  <a:pt x="396840" y="549452"/>
                </a:moveTo>
                <a:cubicBezTo>
                  <a:pt x="399687" y="552415"/>
                  <a:pt x="404396" y="552510"/>
                  <a:pt x="407359" y="549664"/>
                </a:cubicBezTo>
                <a:cubicBezTo>
                  <a:pt x="407432" y="549594"/>
                  <a:pt x="407502" y="549524"/>
                  <a:pt x="407571" y="549452"/>
                </a:cubicBezTo>
                <a:cubicBezTo>
                  <a:pt x="410764" y="546744"/>
                  <a:pt x="411157" y="541958"/>
                  <a:pt x="408449" y="538764"/>
                </a:cubicBezTo>
                <a:cubicBezTo>
                  <a:pt x="408396" y="538701"/>
                  <a:pt x="408342" y="538640"/>
                  <a:pt x="408286" y="538578"/>
                </a:cubicBezTo>
                <a:cubicBezTo>
                  <a:pt x="405440" y="535462"/>
                  <a:pt x="400643" y="535147"/>
                  <a:pt x="397412" y="537863"/>
                </a:cubicBezTo>
                <a:cubicBezTo>
                  <a:pt x="394431" y="540875"/>
                  <a:pt x="394431" y="545725"/>
                  <a:pt x="397412" y="548737"/>
                </a:cubicBezTo>
                <a:moveTo>
                  <a:pt x="359068" y="581787"/>
                </a:moveTo>
                <a:cubicBezTo>
                  <a:pt x="361834" y="584497"/>
                  <a:pt x="366272" y="584451"/>
                  <a:pt x="368982" y="581685"/>
                </a:cubicBezTo>
                <a:cubicBezTo>
                  <a:pt x="371692" y="578920"/>
                  <a:pt x="371647" y="574481"/>
                  <a:pt x="368882" y="571772"/>
                </a:cubicBezTo>
                <a:cubicBezTo>
                  <a:pt x="366155" y="569100"/>
                  <a:pt x="361794" y="569100"/>
                  <a:pt x="359068" y="571772"/>
                </a:cubicBezTo>
                <a:cubicBezTo>
                  <a:pt x="356341" y="574553"/>
                  <a:pt x="356341" y="579006"/>
                  <a:pt x="359068" y="581787"/>
                </a:cubicBezTo>
                <a:moveTo>
                  <a:pt x="322155" y="614551"/>
                </a:moveTo>
                <a:cubicBezTo>
                  <a:pt x="324654" y="617079"/>
                  <a:pt x="328732" y="617102"/>
                  <a:pt x="331260" y="614602"/>
                </a:cubicBezTo>
                <a:cubicBezTo>
                  <a:pt x="331277" y="614585"/>
                  <a:pt x="331295" y="614568"/>
                  <a:pt x="331312" y="614551"/>
                </a:cubicBezTo>
                <a:cubicBezTo>
                  <a:pt x="333999" y="612180"/>
                  <a:pt x="334255" y="608081"/>
                  <a:pt x="331884" y="605394"/>
                </a:cubicBezTo>
                <a:cubicBezTo>
                  <a:pt x="329513" y="602707"/>
                  <a:pt x="325414" y="602451"/>
                  <a:pt x="322727" y="604822"/>
                </a:cubicBezTo>
                <a:cubicBezTo>
                  <a:pt x="320199" y="607321"/>
                  <a:pt x="320176" y="611399"/>
                  <a:pt x="322676" y="613927"/>
                </a:cubicBezTo>
                <a:cubicBezTo>
                  <a:pt x="322693" y="613944"/>
                  <a:pt x="322710" y="613962"/>
                  <a:pt x="322727" y="613979"/>
                </a:cubicBezTo>
                <a:moveTo>
                  <a:pt x="284669" y="647744"/>
                </a:moveTo>
                <a:cubicBezTo>
                  <a:pt x="286961" y="650035"/>
                  <a:pt x="290676" y="650034"/>
                  <a:pt x="292965" y="647741"/>
                </a:cubicBezTo>
                <a:cubicBezTo>
                  <a:pt x="295255" y="645451"/>
                  <a:pt x="295254" y="641737"/>
                  <a:pt x="292963" y="639446"/>
                </a:cubicBezTo>
                <a:cubicBezTo>
                  <a:pt x="290673" y="637157"/>
                  <a:pt x="286960" y="637157"/>
                  <a:pt x="284669" y="639446"/>
                </a:cubicBezTo>
                <a:cubicBezTo>
                  <a:pt x="282377" y="641737"/>
                  <a:pt x="282377" y="645451"/>
                  <a:pt x="284666" y="647741"/>
                </a:cubicBezTo>
                <a:cubicBezTo>
                  <a:pt x="284668" y="647743"/>
                  <a:pt x="284668" y="647743"/>
                  <a:pt x="284669" y="647744"/>
                </a:cubicBezTo>
                <a:moveTo>
                  <a:pt x="248185" y="680509"/>
                </a:moveTo>
                <a:cubicBezTo>
                  <a:pt x="250330" y="682496"/>
                  <a:pt x="253679" y="682368"/>
                  <a:pt x="255667" y="680224"/>
                </a:cubicBezTo>
                <a:cubicBezTo>
                  <a:pt x="257389" y="678364"/>
                  <a:pt x="257552" y="675544"/>
                  <a:pt x="256054" y="673498"/>
                </a:cubicBezTo>
                <a:cubicBezTo>
                  <a:pt x="254327" y="671139"/>
                  <a:pt x="251014" y="670628"/>
                  <a:pt x="248656" y="672355"/>
                </a:cubicBezTo>
                <a:cubicBezTo>
                  <a:pt x="246297" y="674082"/>
                  <a:pt x="245784" y="677394"/>
                  <a:pt x="247513" y="679753"/>
                </a:cubicBezTo>
                <a:cubicBezTo>
                  <a:pt x="247712" y="680026"/>
                  <a:pt x="247938" y="680278"/>
                  <a:pt x="248185" y="680509"/>
                </a:cubicBezTo>
                <a:moveTo>
                  <a:pt x="211272" y="713273"/>
                </a:moveTo>
                <a:cubicBezTo>
                  <a:pt x="213030" y="715090"/>
                  <a:pt x="215929" y="715138"/>
                  <a:pt x="217746" y="713380"/>
                </a:cubicBezTo>
                <a:cubicBezTo>
                  <a:pt x="217782" y="713346"/>
                  <a:pt x="217818" y="713310"/>
                  <a:pt x="217853" y="713273"/>
                </a:cubicBezTo>
                <a:cubicBezTo>
                  <a:pt x="219635" y="711440"/>
                  <a:pt x="219635" y="708524"/>
                  <a:pt x="217853" y="706691"/>
                </a:cubicBezTo>
                <a:cubicBezTo>
                  <a:pt x="216460" y="704486"/>
                  <a:pt x="213544" y="703830"/>
                  <a:pt x="211339" y="705223"/>
                </a:cubicBezTo>
                <a:cubicBezTo>
                  <a:pt x="209136" y="706615"/>
                  <a:pt x="208478" y="709533"/>
                  <a:pt x="209871" y="711736"/>
                </a:cubicBezTo>
                <a:cubicBezTo>
                  <a:pt x="210135" y="712154"/>
                  <a:pt x="210464" y="712527"/>
                  <a:pt x="210843" y="712843"/>
                </a:cubicBezTo>
                <a:moveTo>
                  <a:pt x="173786" y="745607"/>
                </a:moveTo>
                <a:cubicBezTo>
                  <a:pt x="175406" y="747227"/>
                  <a:pt x="178033" y="747227"/>
                  <a:pt x="179652" y="745607"/>
                </a:cubicBezTo>
                <a:cubicBezTo>
                  <a:pt x="181179" y="744005"/>
                  <a:pt x="181179" y="741487"/>
                  <a:pt x="179652" y="739885"/>
                </a:cubicBezTo>
                <a:cubicBezTo>
                  <a:pt x="178219" y="738304"/>
                  <a:pt x="175777" y="738185"/>
                  <a:pt x="174196" y="739618"/>
                </a:cubicBezTo>
                <a:cubicBezTo>
                  <a:pt x="174103" y="739703"/>
                  <a:pt x="174014" y="739792"/>
                  <a:pt x="173929" y="739885"/>
                </a:cubicBezTo>
                <a:cubicBezTo>
                  <a:pt x="172348" y="741433"/>
                  <a:pt x="172323" y="743969"/>
                  <a:pt x="173872" y="745550"/>
                </a:cubicBezTo>
                <a:cubicBezTo>
                  <a:pt x="173891" y="745569"/>
                  <a:pt x="173909" y="745589"/>
                  <a:pt x="173929" y="745607"/>
                </a:cubicBezTo>
                <a:moveTo>
                  <a:pt x="137302" y="778801"/>
                </a:moveTo>
                <a:cubicBezTo>
                  <a:pt x="138646" y="780140"/>
                  <a:pt x="140819" y="780136"/>
                  <a:pt x="142158" y="778792"/>
                </a:cubicBezTo>
                <a:cubicBezTo>
                  <a:pt x="143497" y="777449"/>
                  <a:pt x="143493" y="775275"/>
                  <a:pt x="142150" y="773936"/>
                </a:cubicBezTo>
                <a:cubicBezTo>
                  <a:pt x="140810" y="772601"/>
                  <a:pt x="138643" y="772601"/>
                  <a:pt x="137302" y="773936"/>
                </a:cubicBezTo>
                <a:cubicBezTo>
                  <a:pt x="135959" y="775275"/>
                  <a:pt x="135955" y="777449"/>
                  <a:pt x="137294" y="778792"/>
                </a:cubicBezTo>
                <a:cubicBezTo>
                  <a:pt x="137297" y="778795"/>
                  <a:pt x="137299" y="778798"/>
                  <a:pt x="137302" y="778801"/>
                </a:cubicBezTo>
                <a:moveTo>
                  <a:pt x="449205" y="460459"/>
                </a:moveTo>
                <a:cubicBezTo>
                  <a:pt x="452585" y="463896"/>
                  <a:pt x="458110" y="463943"/>
                  <a:pt x="461547" y="460565"/>
                </a:cubicBezTo>
                <a:cubicBezTo>
                  <a:pt x="461583" y="460530"/>
                  <a:pt x="461619" y="460495"/>
                  <a:pt x="461653" y="460459"/>
                </a:cubicBezTo>
                <a:cubicBezTo>
                  <a:pt x="465301" y="457246"/>
                  <a:pt x="465685" y="451695"/>
                  <a:pt x="462511" y="448012"/>
                </a:cubicBezTo>
                <a:cubicBezTo>
                  <a:pt x="459248" y="444345"/>
                  <a:pt x="453651" y="443964"/>
                  <a:pt x="449921" y="447153"/>
                </a:cubicBezTo>
                <a:cubicBezTo>
                  <a:pt x="446444" y="450604"/>
                  <a:pt x="446424" y="456222"/>
                  <a:pt x="449875" y="459698"/>
                </a:cubicBezTo>
                <a:cubicBezTo>
                  <a:pt x="449891" y="459714"/>
                  <a:pt x="449905" y="459728"/>
                  <a:pt x="449921" y="459744"/>
                </a:cubicBezTo>
                <a:moveTo>
                  <a:pt x="412864" y="492508"/>
                </a:moveTo>
                <a:cubicBezTo>
                  <a:pt x="415686" y="496121"/>
                  <a:pt x="420901" y="496762"/>
                  <a:pt x="424512" y="493940"/>
                </a:cubicBezTo>
                <a:cubicBezTo>
                  <a:pt x="428125" y="491120"/>
                  <a:pt x="428766" y="485905"/>
                  <a:pt x="425944" y="482293"/>
                </a:cubicBezTo>
                <a:cubicBezTo>
                  <a:pt x="423124" y="478681"/>
                  <a:pt x="417909" y="478039"/>
                  <a:pt x="414297" y="480860"/>
                </a:cubicBezTo>
                <a:cubicBezTo>
                  <a:pt x="413992" y="481098"/>
                  <a:pt x="413706" y="481357"/>
                  <a:pt x="413437" y="481635"/>
                </a:cubicBezTo>
                <a:cubicBezTo>
                  <a:pt x="410000" y="484666"/>
                  <a:pt x="409672" y="489910"/>
                  <a:pt x="412704" y="493347"/>
                </a:cubicBezTo>
                <a:cubicBezTo>
                  <a:pt x="412710" y="493354"/>
                  <a:pt x="412716" y="493359"/>
                  <a:pt x="412721" y="493367"/>
                </a:cubicBezTo>
                <a:moveTo>
                  <a:pt x="375236" y="525988"/>
                </a:moveTo>
                <a:cubicBezTo>
                  <a:pt x="378277" y="528895"/>
                  <a:pt x="383068" y="528895"/>
                  <a:pt x="386109" y="525988"/>
                </a:cubicBezTo>
                <a:cubicBezTo>
                  <a:pt x="389091" y="522976"/>
                  <a:pt x="389091" y="518126"/>
                  <a:pt x="386109" y="515114"/>
                </a:cubicBezTo>
                <a:cubicBezTo>
                  <a:pt x="383191" y="512111"/>
                  <a:pt x="378389" y="512044"/>
                  <a:pt x="375386" y="514964"/>
                </a:cubicBezTo>
                <a:cubicBezTo>
                  <a:pt x="375336" y="515012"/>
                  <a:pt x="375286" y="515062"/>
                  <a:pt x="375236" y="515114"/>
                </a:cubicBezTo>
                <a:cubicBezTo>
                  <a:pt x="372254" y="518126"/>
                  <a:pt x="372254" y="522976"/>
                  <a:pt x="375236" y="525988"/>
                </a:cubicBezTo>
                <a:moveTo>
                  <a:pt x="338179" y="558752"/>
                </a:moveTo>
                <a:cubicBezTo>
                  <a:pt x="340961" y="561479"/>
                  <a:pt x="345413" y="561479"/>
                  <a:pt x="348195" y="558752"/>
                </a:cubicBezTo>
                <a:cubicBezTo>
                  <a:pt x="351153" y="556254"/>
                  <a:pt x="351525" y="551830"/>
                  <a:pt x="349027" y="548873"/>
                </a:cubicBezTo>
                <a:cubicBezTo>
                  <a:pt x="348989" y="548827"/>
                  <a:pt x="348950" y="548781"/>
                  <a:pt x="348910" y="548737"/>
                </a:cubicBezTo>
                <a:cubicBezTo>
                  <a:pt x="346129" y="546010"/>
                  <a:pt x="341676" y="546010"/>
                  <a:pt x="338895" y="548737"/>
                </a:cubicBezTo>
                <a:cubicBezTo>
                  <a:pt x="336129" y="551446"/>
                  <a:pt x="336083" y="555885"/>
                  <a:pt x="338793" y="558650"/>
                </a:cubicBezTo>
                <a:cubicBezTo>
                  <a:pt x="338827" y="558685"/>
                  <a:pt x="338860" y="558719"/>
                  <a:pt x="338895" y="558752"/>
                </a:cubicBezTo>
                <a:moveTo>
                  <a:pt x="301981" y="591516"/>
                </a:moveTo>
                <a:cubicBezTo>
                  <a:pt x="304534" y="593987"/>
                  <a:pt x="308586" y="593987"/>
                  <a:pt x="311138" y="591516"/>
                </a:cubicBezTo>
                <a:cubicBezTo>
                  <a:pt x="313825" y="589145"/>
                  <a:pt x="314081" y="585046"/>
                  <a:pt x="311710" y="582359"/>
                </a:cubicBezTo>
                <a:cubicBezTo>
                  <a:pt x="309340" y="579672"/>
                  <a:pt x="305241" y="579416"/>
                  <a:pt x="302554" y="581787"/>
                </a:cubicBezTo>
                <a:cubicBezTo>
                  <a:pt x="300083" y="584339"/>
                  <a:pt x="300083" y="588391"/>
                  <a:pt x="302554" y="590944"/>
                </a:cubicBezTo>
                <a:moveTo>
                  <a:pt x="264353" y="624709"/>
                </a:moveTo>
                <a:cubicBezTo>
                  <a:pt x="266645" y="627000"/>
                  <a:pt x="270359" y="626999"/>
                  <a:pt x="272648" y="624706"/>
                </a:cubicBezTo>
                <a:cubicBezTo>
                  <a:pt x="274939" y="622416"/>
                  <a:pt x="274937" y="618702"/>
                  <a:pt x="272647" y="616411"/>
                </a:cubicBezTo>
                <a:cubicBezTo>
                  <a:pt x="270356" y="614122"/>
                  <a:pt x="266643" y="614122"/>
                  <a:pt x="264353" y="616411"/>
                </a:cubicBezTo>
                <a:cubicBezTo>
                  <a:pt x="262061" y="618702"/>
                  <a:pt x="262061" y="622416"/>
                  <a:pt x="264350" y="624706"/>
                </a:cubicBezTo>
                <a:cubicBezTo>
                  <a:pt x="264351" y="624708"/>
                  <a:pt x="264351" y="624708"/>
                  <a:pt x="264353" y="624709"/>
                </a:cubicBezTo>
                <a:moveTo>
                  <a:pt x="227439" y="657044"/>
                </a:moveTo>
                <a:cubicBezTo>
                  <a:pt x="229578" y="659026"/>
                  <a:pt x="232883" y="659026"/>
                  <a:pt x="235022" y="657044"/>
                </a:cubicBezTo>
                <a:cubicBezTo>
                  <a:pt x="236985" y="654952"/>
                  <a:pt x="236985" y="651696"/>
                  <a:pt x="235022" y="649604"/>
                </a:cubicBezTo>
                <a:cubicBezTo>
                  <a:pt x="233087" y="647392"/>
                  <a:pt x="229723" y="647168"/>
                  <a:pt x="227511" y="649104"/>
                </a:cubicBezTo>
                <a:cubicBezTo>
                  <a:pt x="225299" y="651039"/>
                  <a:pt x="225074" y="654403"/>
                  <a:pt x="227010" y="656615"/>
                </a:cubicBezTo>
                <a:moveTo>
                  <a:pt x="190097" y="689379"/>
                </a:moveTo>
                <a:cubicBezTo>
                  <a:pt x="191930" y="691160"/>
                  <a:pt x="194846" y="691160"/>
                  <a:pt x="196678" y="689379"/>
                </a:cubicBezTo>
                <a:cubicBezTo>
                  <a:pt x="198495" y="687621"/>
                  <a:pt x="198544" y="684722"/>
                  <a:pt x="196786" y="682905"/>
                </a:cubicBezTo>
                <a:cubicBezTo>
                  <a:pt x="196751" y="682869"/>
                  <a:pt x="196714" y="682833"/>
                  <a:pt x="196678" y="682798"/>
                </a:cubicBezTo>
                <a:cubicBezTo>
                  <a:pt x="194846" y="681016"/>
                  <a:pt x="191930" y="681016"/>
                  <a:pt x="190097" y="682798"/>
                </a:cubicBezTo>
                <a:cubicBezTo>
                  <a:pt x="188280" y="684556"/>
                  <a:pt x="188231" y="687455"/>
                  <a:pt x="189990" y="689272"/>
                </a:cubicBezTo>
                <a:cubicBezTo>
                  <a:pt x="190024" y="689308"/>
                  <a:pt x="190061" y="689343"/>
                  <a:pt x="190097" y="689379"/>
                </a:cubicBezTo>
                <a:moveTo>
                  <a:pt x="153184" y="722143"/>
                </a:moveTo>
                <a:cubicBezTo>
                  <a:pt x="154786" y="723670"/>
                  <a:pt x="157304" y="723670"/>
                  <a:pt x="158907" y="722143"/>
                </a:cubicBezTo>
                <a:cubicBezTo>
                  <a:pt x="160488" y="720710"/>
                  <a:pt x="160606" y="718267"/>
                  <a:pt x="159173" y="716686"/>
                </a:cubicBezTo>
                <a:cubicBezTo>
                  <a:pt x="159088" y="716593"/>
                  <a:pt x="159000" y="716505"/>
                  <a:pt x="158907" y="716420"/>
                </a:cubicBezTo>
                <a:cubicBezTo>
                  <a:pt x="157359" y="714839"/>
                  <a:pt x="154822" y="714814"/>
                  <a:pt x="153241" y="716363"/>
                </a:cubicBezTo>
                <a:cubicBezTo>
                  <a:pt x="153222" y="716382"/>
                  <a:pt x="153202" y="716400"/>
                  <a:pt x="153184" y="716420"/>
                </a:cubicBezTo>
                <a:cubicBezTo>
                  <a:pt x="151564" y="718040"/>
                  <a:pt x="151564" y="720667"/>
                  <a:pt x="153184" y="722286"/>
                </a:cubicBezTo>
                <a:moveTo>
                  <a:pt x="116127" y="755050"/>
                </a:moveTo>
                <a:cubicBezTo>
                  <a:pt x="117509" y="756461"/>
                  <a:pt x="119774" y="756484"/>
                  <a:pt x="121185" y="755101"/>
                </a:cubicBezTo>
                <a:cubicBezTo>
                  <a:pt x="122596" y="753718"/>
                  <a:pt x="122619" y="751454"/>
                  <a:pt x="121236" y="750043"/>
                </a:cubicBezTo>
                <a:cubicBezTo>
                  <a:pt x="119853" y="748632"/>
                  <a:pt x="117588" y="748609"/>
                  <a:pt x="116177" y="749993"/>
                </a:cubicBezTo>
                <a:cubicBezTo>
                  <a:pt x="116160" y="750008"/>
                  <a:pt x="116144" y="750026"/>
                  <a:pt x="116127" y="750043"/>
                </a:cubicBezTo>
                <a:cubicBezTo>
                  <a:pt x="114764" y="751434"/>
                  <a:pt x="114764" y="753660"/>
                  <a:pt x="116127" y="755050"/>
                </a:cubicBezTo>
                <a:moveTo>
                  <a:pt x="79214" y="787672"/>
                </a:moveTo>
                <a:cubicBezTo>
                  <a:pt x="80228" y="788777"/>
                  <a:pt x="81948" y="788852"/>
                  <a:pt x="83055" y="787838"/>
                </a:cubicBezTo>
                <a:cubicBezTo>
                  <a:pt x="83113" y="787785"/>
                  <a:pt x="83167" y="787729"/>
                  <a:pt x="83220" y="787672"/>
                </a:cubicBezTo>
                <a:cubicBezTo>
                  <a:pt x="84326" y="786657"/>
                  <a:pt x="84400" y="784937"/>
                  <a:pt x="83385" y="783830"/>
                </a:cubicBezTo>
                <a:cubicBezTo>
                  <a:pt x="83333" y="783773"/>
                  <a:pt x="83277" y="783718"/>
                  <a:pt x="83220" y="783665"/>
                </a:cubicBezTo>
                <a:cubicBezTo>
                  <a:pt x="82107" y="782575"/>
                  <a:pt x="80327" y="782575"/>
                  <a:pt x="79214" y="783665"/>
                </a:cubicBezTo>
                <a:cubicBezTo>
                  <a:pt x="78108" y="784680"/>
                  <a:pt x="78034" y="786400"/>
                  <a:pt x="79049" y="787506"/>
                </a:cubicBezTo>
                <a:cubicBezTo>
                  <a:pt x="79101" y="787564"/>
                  <a:pt x="79157" y="787619"/>
                  <a:pt x="79214" y="787672"/>
                </a:cubicBezTo>
                <a:moveTo>
                  <a:pt x="479823" y="391354"/>
                </a:moveTo>
                <a:cubicBezTo>
                  <a:pt x="476584" y="387640"/>
                  <a:pt x="470947" y="387257"/>
                  <a:pt x="467233" y="390496"/>
                </a:cubicBezTo>
                <a:cubicBezTo>
                  <a:pt x="463519" y="393735"/>
                  <a:pt x="463135" y="399372"/>
                  <a:pt x="466374" y="403086"/>
                </a:cubicBezTo>
                <a:cubicBezTo>
                  <a:pt x="469614" y="406801"/>
                  <a:pt x="475251" y="407184"/>
                  <a:pt x="478965" y="403945"/>
                </a:cubicBezTo>
                <a:cubicBezTo>
                  <a:pt x="482679" y="400706"/>
                  <a:pt x="483063" y="395069"/>
                  <a:pt x="479823" y="391354"/>
                </a:cubicBezTo>
                <a:moveTo>
                  <a:pt x="516737" y="358590"/>
                </a:moveTo>
                <a:cubicBezTo>
                  <a:pt x="513738" y="355123"/>
                  <a:pt x="508497" y="354746"/>
                  <a:pt x="505032" y="357743"/>
                </a:cubicBezTo>
                <a:cubicBezTo>
                  <a:pt x="501565" y="360742"/>
                  <a:pt x="501186" y="365983"/>
                  <a:pt x="504185" y="369448"/>
                </a:cubicBezTo>
                <a:cubicBezTo>
                  <a:pt x="507184" y="372915"/>
                  <a:pt x="512424" y="373294"/>
                  <a:pt x="515890" y="370295"/>
                </a:cubicBezTo>
                <a:cubicBezTo>
                  <a:pt x="515934" y="370257"/>
                  <a:pt x="515978" y="370218"/>
                  <a:pt x="516021" y="370179"/>
                </a:cubicBezTo>
                <a:cubicBezTo>
                  <a:pt x="519416" y="367219"/>
                  <a:pt x="519770" y="362068"/>
                  <a:pt x="516810" y="358673"/>
                </a:cubicBezTo>
                <a:cubicBezTo>
                  <a:pt x="516785" y="358646"/>
                  <a:pt x="516761" y="358617"/>
                  <a:pt x="516737" y="358590"/>
                </a:cubicBezTo>
                <a:moveTo>
                  <a:pt x="553650" y="325826"/>
                </a:moveTo>
                <a:cubicBezTo>
                  <a:pt x="550844" y="322666"/>
                  <a:pt x="546008" y="322377"/>
                  <a:pt x="542848" y="325182"/>
                </a:cubicBezTo>
                <a:cubicBezTo>
                  <a:pt x="539687" y="327988"/>
                  <a:pt x="539398" y="332824"/>
                  <a:pt x="542204" y="335984"/>
                </a:cubicBezTo>
                <a:cubicBezTo>
                  <a:pt x="545246" y="338892"/>
                  <a:pt x="550036" y="338892"/>
                  <a:pt x="553078" y="335984"/>
                </a:cubicBezTo>
                <a:cubicBezTo>
                  <a:pt x="556059" y="332973"/>
                  <a:pt x="556059" y="328122"/>
                  <a:pt x="553078" y="325111"/>
                </a:cubicBezTo>
                <a:moveTo>
                  <a:pt x="590134" y="292347"/>
                </a:moveTo>
                <a:cubicBezTo>
                  <a:pt x="587539" y="289581"/>
                  <a:pt x="583192" y="289444"/>
                  <a:pt x="580426" y="292039"/>
                </a:cubicBezTo>
                <a:cubicBezTo>
                  <a:pt x="580321" y="292138"/>
                  <a:pt x="580218" y="292241"/>
                  <a:pt x="580119" y="292347"/>
                </a:cubicBezTo>
                <a:cubicBezTo>
                  <a:pt x="577160" y="294845"/>
                  <a:pt x="576788" y="299269"/>
                  <a:pt x="579286" y="302226"/>
                </a:cubicBezTo>
                <a:cubicBezTo>
                  <a:pt x="579325" y="302272"/>
                  <a:pt x="579363" y="302317"/>
                  <a:pt x="579403" y="302362"/>
                </a:cubicBezTo>
                <a:cubicBezTo>
                  <a:pt x="582185" y="305089"/>
                  <a:pt x="586637" y="305089"/>
                  <a:pt x="589419" y="302362"/>
                </a:cubicBezTo>
                <a:cubicBezTo>
                  <a:pt x="592184" y="299652"/>
                  <a:pt x="592230" y="295214"/>
                  <a:pt x="589520" y="292448"/>
                </a:cubicBezTo>
                <a:cubicBezTo>
                  <a:pt x="589486" y="292414"/>
                  <a:pt x="589453" y="292379"/>
                  <a:pt x="589419" y="292347"/>
                </a:cubicBezTo>
                <a:moveTo>
                  <a:pt x="628049" y="260584"/>
                </a:moveTo>
                <a:cubicBezTo>
                  <a:pt x="625549" y="258056"/>
                  <a:pt x="621472" y="258033"/>
                  <a:pt x="618944" y="260532"/>
                </a:cubicBezTo>
                <a:cubicBezTo>
                  <a:pt x="618926" y="260550"/>
                  <a:pt x="618909" y="260567"/>
                  <a:pt x="618892" y="260584"/>
                </a:cubicBezTo>
                <a:cubicBezTo>
                  <a:pt x="616205" y="262955"/>
                  <a:pt x="615949" y="267054"/>
                  <a:pt x="618320" y="269741"/>
                </a:cubicBezTo>
                <a:cubicBezTo>
                  <a:pt x="620691" y="272428"/>
                  <a:pt x="624790" y="272684"/>
                  <a:pt x="627477" y="270313"/>
                </a:cubicBezTo>
                <a:cubicBezTo>
                  <a:pt x="630005" y="267814"/>
                  <a:pt x="630028" y="263736"/>
                  <a:pt x="627528" y="261208"/>
                </a:cubicBezTo>
                <a:cubicBezTo>
                  <a:pt x="627511" y="261191"/>
                  <a:pt x="627494" y="261173"/>
                  <a:pt x="627477" y="261156"/>
                </a:cubicBezTo>
                <a:moveTo>
                  <a:pt x="664390" y="228392"/>
                </a:moveTo>
                <a:cubicBezTo>
                  <a:pt x="662098" y="226101"/>
                  <a:pt x="658384" y="226103"/>
                  <a:pt x="656094" y="228395"/>
                </a:cubicBezTo>
                <a:cubicBezTo>
                  <a:pt x="653804" y="230686"/>
                  <a:pt x="653805" y="234400"/>
                  <a:pt x="656096" y="236690"/>
                </a:cubicBezTo>
                <a:cubicBezTo>
                  <a:pt x="658386" y="238980"/>
                  <a:pt x="662099" y="238980"/>
                  <a:pt x="664390" y="236690"/>
                </a:cubicBezTo>
                <a:cubicBezTo>
                  <a:pt x="666682" y="234400"/>
                  <a:pt x="666682" y="230686"/>
                  <a:pt x="664393" y="228395"/>
                </a:cubicBezTo>
                <a:cubicBezTo>
                  <a:pt x="664391" y="228394"/>
                  <a:pt x="664391" y="228394"/>
                  <a:pt x="664390" y="228392"/>
                </a:cubicBezTo>
                <a:moveTo>
                  <a:pt x="701303" y="195485"/>
                </a:moveTo>
                <a:cubicBezTo>
                  <a:pt x="699367" y="193273"/>
                  <a:pt x="696004" y="193048"/>
                  <a:pt x="693792" y="194984"/>
                </a:cubicBezTo>
                <a:cubicBezTo>
                  <a:pt x="691580" y="196920"/>
                  <a:pt x="691355" y="200284"/>
                  <a:pt x="693291" y="202496"/>
                </a:cubicBezTo>
                <a:cubicBezTo>
                  <a:pt x="695227" y="204708"/>
                  <a:pt x="698590" y="204932"/>
                  <a:pt x="700802" y="202996"/>
                </a:cubicBezTo>
                <a:cubicBezTo>
                  <a:pt x="703014" y="201061"/>
                  <a:pt x="703239" y="197697"/>
                  <a:pt x="701303" y="195485"/>
                </a:cubicBezTo>
                <a:moveTo>
                  <a:pt x="738216" y="162721"/>
                </a:moveTo>
                <a:cubicBezTo>
                  <a:pt x="736384" y="160940"/>
                  <a:pt x="733468" y="160940"/>
                  <a:pt x="731635" y="162721"/>
                </a:cubicBezTo>
                <a:cubicBezTo>
                  <a:pt x="729765" y="164538"/>
                  <a:pt x="729722" y="167527"/>
                  <a:pt x="731541" y="169397"/>
                </a:cubicBezTo>
                <a:cubicBezTo>
                  <a:pt x="733358" y="171267"/>
                  <a:pt x="736347" y="171310"/>
                  <a:pt x="738216" y="169493"/>
                </a:cubicBezTo>
                <a:cubicBezTo>
                  <a:pt x="740086" y="167675"/>
                  <a:pt x="740129" y="164685"/>
                  <a:pt x="738311" y="162815"/>
                </a:cubicBezTo>
                <a:cubicBezTo>
                  <a:pt x="738281" y="162784"/>
                  <a:pt x="738248" y="162752"/>
                  <a:pt x="738216" y="162721"/>
                </a:cubicBezTo>
                <a:moveTo>
                  <a:pt x="775130" y="129957"/>
                </a:moveTo>
                <a:cubicBezTo>
                  <a:pt x="773549" y="128409"/>
                  <a:pt x="771013" y="128434"/>
                  <a:pt x="769464" y="130014"/>
                </a:cubicBezTo>
                <a:cubicBezTo>
                  <a:pt x="767916" y="131595"/>
                  <a:pt x="767942" y="134132"/>
                  <a:pt x="769523" y="135680"/>
                </a:cubicBezTo>
                <a:cubicBezTo>
                  <a:pt x="771079" y="137206"/>
                  <a:pt x="773572" y="137206"/>
                  <a:pt x="775130" y="135680"/>
                </a:cubicBezTo>
                <a:cubicBezTo>
                  <a:pt x="776711" y="134246"/>
                  <a:pt x="776830" y="131804"/>
                  <a:pt x="775396" y="130223"/>
                </a:cubicBezTo>
                <a:cubicBezTo>
                  <a:pt x="775312" y="130130"/>
                  <a:pt x="775223" y="130041"/>
                  <a:pt x="775130" y="129957"/>
                </a:cubicBezTo>
                <a:moveTo>
                  <a:pt x="812186" y="97192"/>
                </a:moveTo>
                <a:cubicBezTo>
                  <a:pt x="810843" y="95853"/>
                  <a:pt x="808669" y="95858"/>
                  <a:pt x="807330" y="97201"/>
                </a:cubicBezTo>
                <a:cubicBezTo>
                  <a:pt x="805991" y="98545"/>
                  <a:pt x="805995" y="100718"/>
                  <a:pt x="807339" y="102057"/>
                </a:cubicBezTo>
                <a:cubicBezTo>
                  <a:pt x="808678" y="103392"/>
                  <a:pt x="810846" y="103392"/>
                  <a:pt x="812186" y="102057"/>
                </a:cubicBezTo>
                <a:cubicBezTo>
                  <a:pt x="813530" y="100718"/>
                  <a:pt x="813534" y="98545"/>
                  <a:pt x="812195" y="97201"/>
                </a:cubicBezTo>
                <a:cubicBezTo>
                  <a:pt x="812192" y="97198"/>
                  <a:pt x="812189" y="97195"/>
                  <a:pt x="812186" y="97192"/>
                </a:cubicBezTo>
                <a:moveTo>
                  <a:pt x="849099" y="64428"/>
                </a:moveTo>
                <a:cubicBezTo>
                  <a:pt x="848032" y="63244"/>
                  <a:pt x="846207" y="63146"/>
                  <a:pt x="845022" y="64214"/>
                </a:cubicBezTo>
                <a:cubicBezTo>
                  <a:pt x="843837" y="65281"/>
                  <a:pt x="843740" y="67107"/>
                  <a:pt x="844807" y="68291"/>
                </a:cubicBezTo>
                <a:cubicBezTo>
                  <a:pt x="845920" y="69382"/>
                  <a:pt x="847700" y="69382"/>
                  <a:pt x="848813" y="68291"/>
                </a:cubicBezTo>
                <a:cubicBezTo>
                  <a:pt x="849922" y="67131"/>
                  <a:pt x="849922" y="65303"/>
                  <a:pt x="848813" y="64142"/>
                </a:cubicBezTo>
                <a:moveTo>
                  <a:pt x="458648" y="368033"/>
                </a:moveTo>
                <a:cubicBezTo>
                  <a:pt x="455345" y="364410"/>
                  <a:pt x="449750" y="364091"/>
                  <a:pt x="446058" y="367318"/>
                </a:cubicBezTo>
                <a:cubicBezTo>
                  <a:pt x="442385" y="370561"/>
                  <a:pt x="442037" y="376167"/>
                  <a:pt x="445281" y="379838"/>
                </a:cubicBezTo>
                <a:cubicBezTo>
                  <a:pt x="445301" y="379863"/>
                  <a:pt x="445321" y="379885"/>
                  <a:pt x="445342" y="379908"/>
                </a:cubicBezTo>
                <a:cubicBezTo>
                  <a:pt x="448622" y="383583"/>
                  <a:pt x="454259" y="383903"/>
                  <a:pt x="457933" y="380624"/>
                </a:cubicBezTo>
                <a:cubicBezTo>
                  <a:pt x="461607" y="377344"/>
                  <a:pt x="461928" y="371707"/>
                  <a:pt x="458648" y="368033"/>
                </a:cubicBezTo>
                <a:moveTo>
                  <a:pt x="495562" y="335269"/>
                </a:moveTo>
                <a:cubicBezTo>
                  <a:pt x="492518" y="331842"/>
                  <a:pt x="487273" y="331530"/>
                  <a:pt x="483847" y="334574"/>
                </a:cubicBezTo>
                <a:cubicBezTo>
                  <a:pt x="480420" y="337615"/>
                  <a:pt x="480108" y="342861"/>
                  <a:pt x="483151" y="346289"/>
                </a:cubicBezTo>
                <a:cubicBezTo>
                  <a:pt x="486187" y="349708"/>
                  <a:pt x="491417" y="350027"/>
                  <a:pt x="494846" y="347001"/>
                </a:cubicBezTo>
                <a:cubicBezTo>
                  <a:pt x="498283" y="343969"/>
                  <a:pt x="498610" y="338726"/>
                  <a:pt x="495579" y="335289"/>
                </a:cubicBezTo>
                <a:cubicBezTo>
                  <a:pt x="495573" y="335282"/>
                  <a:pt x="495567" y="335276"/>
                  <a:pt x="495562" y="335269"/>
                </a:cubicBezTo>
                <a:moveTo>
                  <a:pt x="532618" y="302505"/>
                </a:moveTo>
                <a:cubicBezTo>
                  <a:pt x="529606" y="299523"/>
                  <a:pt x="524756" y="299523"/>
                  <a:pt x="521744" y="302505"/>
                </a:cubicBezTo>
                <a:cubicBezTo>
                  <a:pt x="518741" y="305424"/>
                  <a:pt x="518674" y="310225"/>
                  <a:pt x="521594" y="313228"/>
                </a:cubicBezTo>
                <a:cubicBezTo>
                  <a:pt x="521643" y="313278"/>
                  <a:pt x="521693" y="313328"/>
                  <a:pt x="521744" y="313379"/>
                </a:cubicBezTo>
                <a:cubicBezTo>
                  <a:pt x="524756" y="316360"/>
                  <a:pt x="529606" y="316360"/>
                  <a:pt x="532618" y="313379"/>
                </a:cubicBezTo>
                <a:cubicBezTo>
                  <a:pt x="535525" y="310337"/>
                  <a:pt x="535525" y="305547"/>
                  <a:pt x="532618" y="302505"/>
                </a:cubicBezTo>
                <a:moveTo>
                  <a:pt x="569531" y="269741"/>
                </a:moveTo>
                <a:cubicBezTo>
                  <a:pt x="566750" y="267014"/>
                  <a:pt x="562297" y="267014"/>
                  <a:pt x="559516" y="269741"/>
                </a:cubicBezTo>
                <a:cubicBezTo>
                  <a:pt x="556934" y="272731"/>
                  <a:pt x="557263" y="277248"/>
                  <a:pt x="560253" y="279830"/>
                </a:cubicBezTo>
                <a:cubicBezTo>
                  <a:pt x="562707" y="281951"/>
                  <a:pt x="566279" y="282155"/>
                  <a:pt x="568959" y="280328"/>
                </a:cubicBezTo>
                <a:cubicBezTo>
                  <a:pt x="571686" y="277547"/>
                  <a:pt x="571686" y="273094"/>
                  <a:pt x="568959" y="270313"/>
                </a:cubicBezTo>
                <a:moveTo>
                  <a:pt x="605872" y="237549"/>
                </a:moveTo>
                <a:cubicBezTo>
                  <a:pt x="603320" y="235078"/>
                  <a:pt x="599268" y="235078"/>
                  <a:pt x="596716" y="237549"/>
                </a:cubicBezTo>
                <a:cubicBezTo>
                  <a:pt x="594316" y="240130"/>
                  <a:pt x="594316" y="244125"/>
                  <a:pt x="596716" y="246706"/>
                </a:cubicBezTo>
                <a:cubicBezTo>
                  <a:pt x="599268" y="249177"/>
                  <a:pt x="603320" y="249177"/>
                  <a:pt x="605872" y="246706"/>
                </a:cubicBezTo>
                <a:cubicBezTo>
                  <a:pt x="608400" y="244206"/>
                  <a:pt x="608423" y="240129"/>
                  <a:pt x="605924" y="237600"/>
                </a:cubicBezTo>
                <a:cubicBezTo>
                  <a:pt x="605907" y="237583"/>
                  <a:pt x="605889" y="237566"/>
                  <a:pt x="605872" y="237549"/>
                </a:cubicBezTo>
                <a:moveTo>
                  <a:pt x="642929" y="204928"/>
                </a:moveTo>
                <a:cubicBezTo>
                  <a:pt x="640637" y="202637"/>
                  <a:pt x="636922" y="202639"/>
                  <a:pt x="634633" y="204931"/>
                </a:cubicBezTo>
                <a:cubicBezTo>
                  <a:pt x="632343" y="207221"/>
                  <a:pt x="632344" y="210936"/>
                  <a:pt x="634635" y="213226"/>
                </a:cubicBezTo>
                <a:cubicBezTo>
                  <a:pt x="636925" y="215515"/>
                  <a:pt x="640638" y="215515"/>
                  <a:pt x="642929" y="213226"/>
                </a:cubicBezTo>
                <a:cubicBezTo>
                  <a:pt x="645221" y="210936"/>
                  <a:pt x="645221" y="207221"/>
                  <a:pt x="642932" y="204931"/>
                </a:cubicBezTo>
                <a:cubicBezTo>
                  <a:pt x="642930" y="204929"/>
                  <a:pt x="642930" y="204929"/>
                  <a:pt x="642929" y="204928"/>
                </a:cubicBezTo>
                <a:moveTo>
                  <a:pt x="679842" y="172164"/>
                </a:moveTo>
                <a:cubicBezTo>
                  <a:pt x="677780" y="170128"/>
                  <a:pt x="674464" y="170128"/>
                  <a:pt x="672402" y="172164"/>
                </a:cubicBezTo>
                <a:cubicBezTo>
                  <a:pt x="670190" y="174100"/>
                  <a:pt x="669965" y="177463"/>
                  <a:pt x="671901" y="179675"/>
                </a:cubicBezTo>
                <a:cubicBezTo>
                  <a:pt x="673837" y="181887"/>
                  <a:pt x="677201" y="182112"/>
                  <a:pt x="679413" y="180176"/>
                </a:cubicBezTo>
                <a:cubicBezTo>
                  <a:pt x="681449" y="178114"/>
                  <a:pt x="681449" y="174798"/>
                  <a:pt x="679413" y="172736"/>
                </a:cubicBezTo>
                <a:moveTo>
                  <a:pt x="717328" y="138255"/>
                </a:moveTo>
                <a:cubicBezTo>
                  <a:pt x="715569" y="136438"/>
                  <a:pt x="712670" y="136389"/>
                  <a:pt x="710853" y="138148"/>
                </a:cubicBezTo>
                <a:cubicBezTo>
                  <a:pt x="710818" y="138182"/>
                  <a:pt x="710782" y="138219"/>
                  <a:pt x="710746" y="138255"/>
                </a:cubicBezTo>
                <a:cubicBezTo>
                  <a:pt x="708965" y="140088"/>
                  <a:pt x="708965" y="143004"/>
                  <a:pt x="710746" y="144836"/>
                </a:cubicBezTo>
                <a:cubicBezTo>
                  <a:pt x="712626" y="146635"/>
                  <a:pt x="715591" y="146635"/>
                  <a:pt x="717471" y="144836"/>
                </a:cubicBezTo>
                <a:cubicBezTo>
                  <a:pt x="719252" y="143004"/>
                  <a:pt x="719252" y="140088"/>
                  <a:pt x="717471" y="138255"/>
                </a:cubicBezTo>
                <a:moveTo>
                  <a:pt x="754527" y="105491"/>
                </a:moveTo>
                <a:cubicBezTo>
                  <a:pt x="752877" y="103946"/>
                  <a:pt x="750311" y="103946"/>
                  <a:pt x="748661" y="105491"/>
                </a:cubicBezTo>
                <a:cubicBezTo>
                  <a:pt x="747134" y="107093"/>
                  <a:pt x="747134" y="109611"/>
                  <a:pt x="748661" y="111214"/>
                </a:cubicBezTo>
                <a:cubicBezTo>
                  <a:pt x="750123" y="112912"/>
                  <a:pt x="752686" y="113105"/>
                  <a:pt x="754384" y="111643"/>
                </a:cubicBezTo>
                <a:cubicBezTo>
                  <a:pt x="756082" y="110181"/>
                  <a:pt x="756275" y="107618"/>
                  <a:pt x="754813" y="105920"/>
                </a:cubicBezTo>
                <a:moveTo>
                  <a:pt x="791726" y="73156"/>
                </a:moveTo>
                <a:cubicBezTo>
                  <a:pt x="790383" y="71817"/>
                  <a:pt x="788210" y="71821"/>
                  <a:pt x="786871" y="73165"/>
                </a:cubicBezTo>
                <a:cubicBezTo>
                  <a:pt x="785531" y="74508"/>
                  <a:pt x="785536" y="76681"/>
                  <a:pt x="786879" y="78021"/>
                </a:cubicBezTo>
                <a:cubicBezTo>
                  <a:pt x="788218" y="79355"/>
                  <a:pt x="790386" y="79355"/>
                  <a:pt x="791726" y="78021"/>
                </a:cubicBezTo>
                <a:cubicBezTo>
                  <a:pt x="793070" y="76681"/>
                  <a:pt x="793074" y="74508"/>
                  <a:pt x="791735" y="73165"/>
                </a:cubicBezTo>
                <a:cubicBezTo>
                  <a:pt x="791732" y="73162"/>
                  <a:pt x="791729" y="73159"/>
                  <a:pt x="791726" y="73156"/>
                </a:cubicBezTo>
                <a:moveTo>
                  <a:pt x="828354" y="40535"/>
                </a:moveTo>
                <a:cubicBezTo>
                  <a:pt x="827180" y="39476"/>
                  <a:pt x="825370" y="39569"/>
                  <a:pt x="824312" y="40744"/>
                </a:cubicBezTo>
                <a:cubicBezTo>
                  <a:pt x="823433" y="41718"/>
                  <a:pt x="823330" y="43165"/>
                  <a:pt x="824061" y="44255"/>
                </a:cubicBezTo>
                <a:cubicBezTo>
                  <a:pt x="825222" y="45364"/>
                  <a:pt x="827050" y="45364"/>
                  <a:pt x="828210" y="44255"/>
                </a:cubicBezTo>
                <a:cubicBezTo>
                  <a:pt x="829316" y="43240"/>
                  <a:pt x="829391" y="41521"/>
                  <a:pt x="828375" y="40413"/>
                </a:cubicBezTo>
                <a:cubicBezTo>
                  <a:pt x="828324" y="40356"/>
                  <a:pt x="828268" y="40302"/>
                  <a:pt x="828210" y="40249"/>
                </a:cubicBezTo>
                <a:moveTo>
                  <a:pt x="437759" y="344569"/>
                </a:moveTo>
                <a:cubicBezTo>
                  <a:pt x="434469" y="340939"/>
                  <a:pt x="428859" y="340666"/>
                  <a:pt x="425229" y="343957"/>
                </a:cubicBezTo>
                <a:cubicBezTo>
                  <a:pt x="421672" y="347183"/>
                  <a:pt x="421327" y="352654"/>
                  <a:pt x="424453" y="356301"/>
                </a:cubicBezTo>
                <a:cubicBezTo>
                  <a:pt x="427717" y="359968"/>
                  <a:pt x="433314" y="360349"/>
                  <a:pt x="437044" y="357159"/>
                </a:cubicBezTo>
                <a:cubicBezTo>
                  <a:pt x="440717" y="353916"/>
                  <a:pt x="441064" y="348310"/>
                  <a:pt x="437821" y="344639"/>
                </a:cubicBezTo>
                <a:cubicBezTo>
                  <a:pt x="437801" y="344615"/>
                  <a:pt x="437781" y="344592"/>
                  <a:pt x="437759" y="344569"/>
                </a:cubicBezTo>
                <a:moveTo>
                  <a:pt x="474816" y="311805"/>
                </a:moveTo>
                <a:cubicBezTo>
                  <a:pt x="471577" y="308563"/>
                  <a:pt x="466321" y="308561"/>
                  <a:pt x="463081" y="311802"/>
                </a:cubicBezTo>
                <a:cubicBezTo>
                  <a:pt x="459839" y="315041"/>
                  <a:pt x="459837" y="320295"/>
                  <a:pt x="463076" y="323537"/>
                </a:cubicBezTo>
                <a:cubicBezTo>
                  <a:pt x="466316" y="326779"/>
                  <a:pt x="471571" y="326780"/>
                  <a:pt x="474813" y="323540"/>
                </a:cubicBezTo>
                <a:cubicBezTo>
                  <a:pt x="474813" y="323540"/>
                  <a:pt x="474814" y="323538"/>
                  <a:pt x="474816" y="323537"/>
                </a:cubicBezTo>
                <a:cubicBezTo>
                  <a:pt x="478054" y="320296"/>
                  <a:pt x="478054" y="315045"/>
                  <a:pt x="474816" y="311805"/>
                </a:cubicBezTo>
                <a:moveTo>
                  <a:pt x="511729" y="279041"/>
                </a:moveTo>
                <a:cubicBezTo>
                  <a:pt x="508726" y="276009"/>
                  <a:pt x="503834" y="275986"/>
                  <a:pt x="500802" y="278988"/>
                </a:cubicBezTo>
                <a:cubicBezTo>
                  <a:pt x="497771" y="281991"/>
                  <a:pt x="497748" y="286883"/>
                  <a:pt x="500751" y="289914"/>
                </a:cubicBezTo>
                <a:cubicBezTo>
                  <a:pt x="503753" y="292946"/>
                  <a:pt x="508644" y="292969"/>
                  <a:pt x="511676" y="289967"/>
                </a:cubicBezTo>
                <a:cubicBezTo>
                  <a:pt x="511695" y="289950"/>
                  <a:pt x="511712" y="289931"/>
                  <a:pt x="511729" y="289914"/>
                </a:cubicBezTo>
                <a:cubicBezTo>
                  <a:pt x="514732" y="286996"/>
                  <a:pt x="514799" y="282194"/>
                  <a:pt x="511879" y="279191"/>
                </a:cubicBezTo>
                <a:cubicBezTo>
                  <a:pt x="511831" y="279141"/>
                  <a:pt x="511781" y="279091"/>
                  <a:pt x="511729" y="279041"/>
                </a:cubicBezTo>
                <a:moveTo>
                  <a:pt x="548642" y="246276"/>
                </a:moveTo>
                <a:cubicBezTo>
                  <a:pt x="545877" y="243455"/>
                  <a:pt x="541347" y="243409"/>
                  <a:pt x="538526" y="246175"/>
                </a:cubicBezTo>
                <a:cubicBezTo>
                  <a:pt x="535704" y="248940"/>
                  <a:pt x="535660" y="253470"/>
                  <a:pt x="538425" y="256292"/>
                </a:cubicBezTo>
                <a:cubicBezTo>
                  <a:pt x="541191" y="259113"/>
                  <a:pt x="545719" y="259159"/>
                  <a:pt x="548541" y="256393"/>
                </a:cubicBezTo>
                <a:cubicBezTo>
                  <a:pt x="548575" y="256359"/>
                  <a:pt x="548609" y="256326"/>
                  <a:pt x="548642" y="256292"/>
                </a:cubicBezTo>
                <a:cubicBezTo>
                  <a:pt x="551369" y="253510"/>
                  <a:pt x="551369" y="249058"/>
                  <a:pt x="548642" y="246276"/>
                </a:cubicBezTo>
                <a:moveTo>
                  <a:pt x="585126" y="213512"/>
                </a:moveTo>
                <a:cubicBezTo>
                  <a:pt x="582574" y="211041"/>
                  <a:pt x="578522" y="211041"/>
                  <a:pt x="575970" y="213512"/>
                </a:cubicBezTo>
                <a:cubicBezTo>
                  <a:pt x="573283" y="215883"/>
                  <a:pt x="573027" y="219982"/>
                  <a:pt x="575397" y="222669"/>
                </a:cubicBezTo>
                <a:cubicBezTo>
                  <a:pt x="577768" y="225356"/>
                  <a:pt x="581867" y="225612"/>
                  <a:pt x="584554" y="223241"/>
                </a:cubicBezTo>
                <a:cubicBezTo>
                  <a:pt x="586954" y="220660"/>
                  <a:pt x="586954" y="216666"/>
                  <a:pt x="584554" y="214085"/>
                </a:cubicBezTo>
                <a:moveTo>
                  <a:pt x="622612" y="181177"/>
                </a:moveTo>
                <a:cubicBezTo>
                  <a:pt x="620320" y="178887"/>
                  <a:pt x="616606" y="178888"/>
                  <a:pt x="614317" y="181180"/>
                </a:cubicBezTo>
                <a:cubicBezTo>
                  <a:pt x="612026" y="183471"/>
                  <a:pt x="612027" y="187185"/>
                  <a:pt x="614318" y="189476"/>
                </a:cubicBezTo>
                <a:cubicBezTo>
                  <a:pt x="616609" y="191765"/>
                  <a:pt x="620321" y="191765"/>
                  <a:pt x="622612" y="189476"/>
                </a:cubicBezTo>
                <a:cubicBezTo>
                  <a:pt x="624904" y="187185"/>
                  <a:pt x="624904" y="183471"/>
                  <a:pt x="622615" y="181180"/>
                </a:cubicBezTo>
                <a:cubicBezTo>
                  <a:pt x="622613" y="181179"/>
                  <a:pt x="622613" y="181179"/>
                  <a:pt x="622612" y="181177"/>
                </a:cubicBezTo>
                <a:moveTo>
                  <a:pt x="659525" y="148413"/>
                </a:moveTo>
                <a:cubicBezTo>
                  <a:pt x="657464" y="146377"/>
                  <a:pt x="654147" y="146377"/>
                  <a:pt x="652085" y="148413"/>
                </a:cubicBezTo>
                <a:cubicBezTo>
                  <a:pt x="650122" y="150505"/>
                  <a:pt x="650122" y="153761"/>
                  <a:pt x="652085" y="155853"/>
                </a:cubicBezTo>
                <a:cubicBezTo>
                  <a:pt x="654230" y="157840"/>
                  <a:pt x="657580" y="157713"/>
                  <a:pt x="659567" y="155568"/>
                </a:cubicBezTo>
                <a:cubicBezTo>
                  <a:pt x="661289" y="153708"/>
                  <a:pt x="661453" y="150888"/>
                  <a:pt x="659955" y="148843"/>
                </a:cubicBezTo>
                <a:moveTo>
                  <a:pt x="697011" y="116078"/>
                </a:moveTo>
                <a:cubicBezTo>
                  <a:pt x="695401" y="114027"/>
                  <a:pt x="692433" y="113670"/>
                  <a:pt x="690382" y="115280"/>
                </a:cubicBezTo>
                <a:cubicBezTo>
                  <a:pt x="688331" y="116891"/>
                  <a:pt x="687973" y="119858"/>
                  <a:pt x="689584" y="121910"/>
                </a:cubicBezTo>
                <a:cubicBezTo>
                  <a:pt x="689713" y="122073"/>
                  <a:pt x="689851" y="122228"/>
                  <a:pt x="690000" y="122374"/>
                </a:cubicBezTo>
                <a:cubicBezTo>
                  <a:pt x="691867" y="124195"/>
                  <a:pt x="694856" y="124158"/>
                  <a:pt x="696678" y="122291"/>
                </a:cubicBezTo>
                <a:cubicBezTo>
                  <a:pt x="698330" y="120597"/>
                  <a:pt x="698473" y="117940"/>
                  <a:pt x="697011" y="116078"/>
                </a:cubicBezTo>
                <a:moveTo>
                  <a:pt x="733924" y="83314"/>
                </a:moveTo>
                <a:cubicBezTo>
                  <a:pt x="732173" y="81836"/>
                  <a:pt x="729556" y="82057"/>
                  <a:pt x="728077" y="83808"/>
                </a:cubicBezTo>
                <a:cubicBezTo>
                  <a:pt x="726895" y="85207"/>
                  <a:pt x="726771" y="87216"/>
                  <a:pt x="727772" y="88751"/>
                </a:cubicBezTo>
                <a:cubicBezTo>
                  <a:pt x="729392" y="90371"/>
                  <a:pt x="732018" y="90371"/>
                  <a:pt x="733638" y="88751"/>
                </a:cubicBezTo>
                <a:cubicBezTo>
                  <a:pt x="735165" y="87149"/>
                  <a:pt x="735165" y="84631"/>
                  <a:pt x="733638" y="83028"/>
                </a:cubicBezTo>
                <a:moveTo>
                  <a:pt x="771124" y="49692"/>
                </a:moveTo>
                <a:cubicBezTo>
                  <a:pt x="769784" y="48348"/>
                  <a:pt x="767611" y="48344"/>
                  <a:pt x="766268" y="49683"/>
                </a:cubicBezTo>
                <a:cubicBezTo>
                  <a:pt x="766265" y="49686"/>
                  <a:pt x="766262" y="49689"/>
                  <a:pt x="766259" y="49692"/>
                </a:cubicBezTo>
                <a:cubicBezTo>
                  <a:pt x="764920" y="51035"/>
                  <a:pt x="764924" y="53208"/>
                  <a:pt x="766268" y="54548"/>
                </a:cubicBezTo>
                <a:cubicBezTo>
                  <a:pt x="767611" y="55887"/>
                  <a:pt x="769784" y="55883"/>
                  <a:pt x="771124" y="54539"/>
                </a:cubicBezTo>
                <a:cubicBezTo>
                  <a:pt x="772459" y="53200"/>
                  <a:pt x="772459" y="51032"/>
                  <a:pt x="771124" y="49692"/>
                </a:cubicBezTo>
                <a:moveTo>
                  <a:pt x="808180" y="16928"/>
                </a:moveTo>
                <a:cubicBezTo>
                  <a:pt x="807020" y="15819"/>
                  <a:pt x="805191" y="15819"/>
                  <a:pt x="804031" y="16928"/>
                </a:cubicBezTo>
                <a:cubicBezTo>
                  <a:pt x="802925" y="17942"/>
                  <a:pt x="802850" y="19662"/>
                  <a:pt x="803865" y="20769"/>
                </a:cubicBezTo>
                <a:cubicBezTo>
                  <a:pt x="803918" y="20826"/>
                  <a:pt x="803974" y="20881"/>
                  <a:pt x="804031" y="20934"/>
                </a:cubicBezTo>
                <a:cubicBezTo>
                  <a:pt x="805144" y="22024"/>
                  <a:pt x="806924" y="22024"/>
                  <a:pt x="808037" y="20934"/>
                </a:cubicBezTo>
                <a:cubicBezTo>
                  <a:pt x="809077" y="19746"/>
                  <a:pt x="809077" y="17972"/>
                  <a:pt x="808037" y="16784"/>
                </a:cubicBezTo>
                <a:moveTo>
                  <a:pt x="542204" y="462176"/>
                </a:moveTo>
                <a:cubicBezTo>
                  <a:pt x="538753" y="458700"/>
                  <a:pt x="533136" y="458680"/>
                  <a:pt x="529659" y="462131"/>
                </a:cubicBezTo>
                <a:cubicBezTo>
                  <a:pt x="529643" y="462146"/>
                  <a:pt x="529629" y="462161"/>
                  <a:pt x="529613" y="462176"/>
                </a:cubicBezTo>
                <a:cubicBezTo>
                  <a:pt x="526177" y="465556"/>
                  <a:pt x="526130" y="471081"/>
                  <a:pt x="529508" y="474518"/>
                </a:cubicBezTo>
                <a:cubicBezTo>
                  <a:pt x="529543" y="474554"/>
                  <a:pt x="529578" y="474589"/>
                  <a:pt x="529613" y="474624"/>
                </a:cubicBezTo>
                <a:cubicBezTo>
                  <a:pt x="532827" y="478272"/>
                  <a:pt x="538378" y="478656"/>
                  <a:pt x="542061" y="475482"/>
                </a:cubicBezTo>
                <a:cubicBezTo>
                  <a:pt x="545728" y="472219"/>
                  <a:pt x="546109" y="466622"/>
                  <a:pt x="542919" y="462892"/>
                </a:cubicBezTo>
                <a:moveTo>
                  <a:pt x="579833" y="430128"/>
                </a:moveTo>
                <a:cubicBezTo>
                  <a:pt x="576593" y="426886"/>
                  <a:pt x="571338" y="426884"/>
                  <a:pt x="568098" y="430125"/>
                </a:cubicBezTo>
                <a:cubicBezTo>
                  <a:pt x="564856" y="433364"/>
                  <a:pt x="564854" y="438618"/>
                  <a:pt x="568093" y="441860"/>
                </a:cubicBezTo>
                <a:cubicBezTo>
                  <a:pt x="571333" y="445102"/>
                  <a:pt x="576588" y="445103"/>
                  <a:pt x="579830" y="441863"/>
                </a:cubicBezTo>
                <a:cubicBezTo>
                  <a:pt x="579830" y="441863"/>
                  <a:pt x="579831" y="441861"/>
                  <a:pt x="579833" y="441860"/>
                </a:cubicBezTo>
                <a:cubicBezTo>
                  <a:pt x="583070" y="438619"/>
                  <a:pt x="583070" y="433368"/>
                  <a:pt x="579833" y="430128"/>
                </a:cubicBezTo>
                <a:moveTo>
                  <a:pt x="616746" y="397363"/>
                </a:moveTo>
                <a:cubicBezTo>
                  <a:pt x="613743" y="394445"/>
                  <a:pt x="608943" y="394512"/>
                  <a:pt x="606022" y="397514"/>
                </a:cubicBezTo>
                <a:cubicBezTo>
                  <a:pt x="603104" y="400517"/>
                  <a:pt x="603171" y="405318"/>
                  <a:pt x="606174" y="408237"/>
                </a:cubicBezTo>
                <a:cubicBezTo>
                  <a:pt x="609117" y="411099"/>
                  <a:pt x="613803" y="411099"/>
                  <a:pt x="616746" y="408237"/>
                </a:cubicBezTo>
                <a:cubicBezTo>
                  <a:pt x="619728" y="405225"/>
                  <a:pt x="619728" y="400375"/>
                  <a:pt x="616746" y="397363"/>
                </a:cubicBezTo>
                <a:moveTo>
                  <a:pt x="653802" y="364599"/>
                </a:moveTo>
                <a:cubicBezTo>
                  <a:pt x="651021" y="361872"/>
                  <a:pt x="646568" y="361872"/>
                  <a:pt x="643787" y="364599"/>
                </a:cubicBezTo>
                <a:cubicBezTo>
                  <a:pt x="641021" y="367195"/>
                  <a:pt x="640884" y="371541"/>
                  <a:pt x="643479" y="374307"/>
                </a:cubicBezTo>
                <a:cubicBezTo>
                  <a:pt x="643578" y="374413"/>
                  <a:pt x="643681" y="374516"/>
                  <a:pt x="643787" y="374615"/>
                </a:cubicBezTo>
                <a:cubicBezTo>
                  <a:pt x="646012" y="377880"/>
                  <a:pt x="650463" y="378721"/>
                  <a:pt x="653728" y="376496"/>
                </a:cubicBezTo>
                <a:cubicBezTo>
                  <a:pt x="656991" y="374271"/>
                  <a:pt x="657834" y="369820"/>
                  <a:pt x="655609" y="366555"/>
                </a:cubicBezTo>
                <a:cubicBezTo>
                  <a:pt x="655259" y="366043"/>
                  <a:pt x="654844" y="365578"/>
                  <a:pt x="654375" y="365172"/>
                </a:cubicBezTo>
                <a:moveTo>
                  <a:pt x="691288" y="332407"/>
                </a:moveTo>
                <a:cubicBezTo>
                  <a:pt x="688917" y="329721"/>
                  <a:pt x="684818" y="329464"/>
                  <a:pt x="682131" y="331835"/>
                </a:cubicBezTo>
                <a:cubicBezTo>
                  <a:pt x="679444" y="334206"/>
                  <a:pt x="679188" y="338305"/>
                  <a:pt x="681559" y="340992"/>
                </a:cubicBezTo>
                <a:cubicBezTo>
                  <a:pt x="683930" y="343679"/>
                  <a:pt x="688029" y="343935"/>
                  <a:pt x="690716" y="341564"/>
                </a:cubicBezTo>
                <a:cubicBezTo>
                  <a:pt x="693403" y="339194"/>
                  <a:pt x="693659" y="335094"/>
                  <a:pt x="691288" y="332407"/>
                </a:cubicBezTo>
                <a:moveTo>
                  <a:pt x="728201" y="299643"/>
                </a:moveTo>
                <a:cubicBezTo>
                  <a:pt x="725909" y="297353"/>
                  <a:pt x="722195" y="297354"/>
                  <a:pt x="719906" y="299646"/>
                </a:cubicBezTo>
                <a:cubicBezTo>
                  <a:pt x="717615" y="301937"/>
                  <a:pt x="717617" y="305651"/>
                  <a:pt x="719907" y="307942"/>
                </a:cubicBezTo>
                <a:cubicBezTo>
                  <a:pt x="722198" y="310231"/>
                  <a:pt x="725911" y="310231"/>
                  <a:pt x="728201" y="307942"/>
                </a:cubicBezTo>
                <a:cubicBezTo>
                  <a:pt x="730493" y="305651"/>
                  <a:pt x="730493" y="301937"/>
                  <a:pt x="728204" y="299646"/>
                </a:cubicBezTo>
                <a:cubicBezTo>
                  <a:pt x="728203" y="299645"/>
                  <a:pt x="728203" y="299645"/>
                  <a:pt x="728201" y="299643"/>
                </a:cubicBezTo>
                <a:moveTo>
                  <a:pt x="765258" y="266879"/>
                </a:moveTo>
                <a:cubicBezTo>
                  <a:pt x="763166" y="264916"/>
                  <a:pt x="759910" y="264916"/>
                  <a:pt x="757818" y="266879"/>
                </a:cubicBezTo>
                <a:cubicBezTo>
                  <a:pt x="755763" y="268846"/>
                  <a:pt x="755693" y="272107"/>
                  <a:pt x="757660" y="274162"/>
                </a:cubicBezTo>
                <a:cubicBezTo>
                  <a:pt x="757712" y="274215"/>
                  <a:pt x="757765" y="274268"/>
                  <a:pt x="757818" y="274319"/>
                </a:cubicBezTo>
                <a:cubicBezTo>
                  <a:pt x="759879" y="276355"/>
                  <a:pt x="763196" y="276355"/>
                  <a:pt x="765258" y="274319"/>
                </a:cubicBezTo>
                <a:cubicBezTo>
                  <a:pt x="767294" y="272257"/>
                  <a:pt x="767294" y="268941"/>
                  <a:pt x="765258" y="266879"/>
                </a:cubicBezTo>
                <a:moveTo>
                  <a:pt x="802171" y="234115"/>
                </a:moveTo>
                <a:cubicBezTo>
                  <a:pt x="800338" y="232334"/>
                  <a:pt x="797422" y="232334"/>
                  <a:pt x="795589" y="234115"/>
                </a:cubicBezTo>
                <a:cubicBezTo>
                  <a:pt x="793772" y="235873"/>
                  <a:pt x="793724" y="238772"/>
                  <a:pt x="795482" y="240589"/>
                </a:cubicBezTo>
                <a:cubicBezTo>
                  <a:pt x="795517" y="240625"/>
                  <a:pt x="795554" y="240661"/>
                  <a:pt x="795589" y="240697"/>
                </a:cubicBezTo>
                <a:cubicBezTo>
                  <a:pt x="797422" y="242478"/>
                  <a:pt x="800338" y="242478"/>
                  <a:pt x="802171" y="240697"/>
                </a:cubicBezTo>
                <a:cubicBezTo>
                  <a:pt x="803988" y="238938"/>
                  <a:pt x="804037" y="236039"/>
                  <a:pt x="802278" y="234222"/>
                </a:cubicBezTo>
                <a:cubicBezTo>
                  <a:pt x="802242" y="234187"/>
                  <a:pt x="802207" y="234151"/>
                  <a:pt x="802171" y="234115"/>
                </a:cubicBezTo>
                <a:moveTo>
                  <a:pt x="839084" y="201351"/>
                </a:moveTo>
                <a:cubicBezTo>
                  <a:pt x="837536" y="199770"/>
                  <a:pt x="834999" y="199744"/>
                  <a:pt x="833418" y="201294"/>
                </a:cubicBezTo>
                <a:cubicBezTo>
                  <a:pt x="833400" y="201312"/>
                  <a:pt x="833380" y="201331"/>
                  <a:pt x="833361" y="201351"/>
                </a:cubicBezTo>
                <a:cubicBezTo>
                  <a:pt x="831780" y="202785"/>
                  <a:pt x="831662" y="205227"/>
                  <a:pt x="833095" y="206808"/>
                </a:cubicBezTo>
                <a:cubicBezTo>
                  <a:pt x="833180" y="206901"/>
                  <a:pt x="833268" y="206990"/>
                  <a:pt x="833361" y="207074"/>
                </a:cubicBezTo>
                <a:cubicBezTo>
                  <a:pt x="834909" y="208655"/>
                  <a:pt x="837446" y="208681"/>
                  <a:pt x="839027" y="207131"/>
                </a:cubicBezTo>
                <a:cubicBezTo>
                  <a:pt x="839046" y="207113"/>
                  <a:pt x="839066" y="207094"/>
                  <a:pt x="839084" y="207074"/>
                </a:cubicBezTo>
                <a:cubicBezTo>
                  <a:pt x="840704" y="205454"/>
                  <a:pt x="840704" y="202827"/>
                  <a:pt x="839084" y="201208"/>
                </a:cubicBezTo>
                <a:moveTo>
                  <a:pt x="874710" y="166870"/>
                </a:moveTo>
                <a:cubicBezTo>
                  <a:pt x="873371" y="165526"/>
                  <a:pt x="871197" y="165522"/>
                  <a:pt x="869854" y="166861"/>
                </a:cubicBezTo>
                <a:cubicBezTo>
                  <a:pt x="869851" y="166864"/>
                  <a:pt x="869848" y="166867"/>
                  <a:pt x="869845" y="166870"/>
                </a:cubicBezTo>
                <a:cubicBezTo>
                  <a:pt x="868482" y="168261"/>
                  <a:pt x="868482" y="170487"/>
                  <a:pt x="869845" y="171878"/>
                </a:cubicBezTo>
                <a:cubicBezTo>
                  <a:pt x="871184" y="173221"/>
                  <a:pt x="873358" y="173225"/>
                  <a:pt x="874701" y="171886"/>
                </a:cubicBezTo>
                <a:cubicBezTo>
                  <a:pt x="874704" y="171883"/>
                  <a:pt x="874707" y="171880"/>
                  <a:pt x="874710" y="171878"/>
                </a:cubicBezTo>
                <a:cubicBezTo>
                  <a:pt x="876073" y="170487"/>
                  <a:pt x="876073" y="168261"/>
                  <a:pt x="874710" y="166870"/>
                </a:cubicBezTo>
                <a:moveTo>
                  <a:pt x="911623" y="134106"/>
                </a:moveTo>
                <a:cubicBezTo>
                  <a:pt x="910609" y="133000"/>
                  <a:pt x="908889" y="132925"/>
                  <a:pt x="907782" y="133941"/>
                </a:cubicBezTo>
                <a:cubicBezTo>
                  <a:pt x="907724" y="133993"/>
                  <a:pt x="907670" y="134049"/>
                  <a:pt x="907617" y="134106"/>
                </a:cubicBezTo>
                <a:cubicBezTo>
                  <a:pt x="906305" y="134987"/>
                  <a:pt x="905956" y="136764"/>
                  <a:pt x="906836" y="138076"/>
                </a:cubicBezTo>
                <a:cubicBezTo>
                  <a:pt x="907717" y="139388"/>
                  <a:pt x="909496" y="139739"/>
                  <a:pt x="910808" y="138857"/>
                </a:cubicBezTo>
                <a:cubicBezTo>
                  <a:pt x="911002" y="138726"/>
                  <a:pt x="911180" y="138573"/>
                  <a:pt x="911337" y="138398"/>
                </a:cubicBezTo>
                <a:cubicBezTo>
                  <a:pt x="912483" y="137309"/>
                  <a:pt x="912529" y="135498"/>
                  <a:pt x="911440" y="134352"/>
                </a:cubicBezTo>
                <a:cubicBezTo>
                  <a:pt x="911407" y="134318"/>
                  <a:pt x="911373" y="134283"/>
                  <a:pt x="911337" y="134249"/>
                </a:cubicBezTo>
                <a:moveTo>
                  <a:pt x="521172" y="438712"/>
                </a:moveTo>
                <a:cubicBezTo>
                  <a:pt x="517893" y="435038"/>
                  <a:pt x="512256" y="434717"/>
                  <a:pt x="508581" y="437997"/>
                </a:cubicBezTo>
                <a:cubicBezTo>
                  <a:pt x="504907" y="441276"/>
                  <a:pt x="504587" y="446913"/>
                  <a:pt x="507866" y="450587"/>
                </a:cubicBezTo>
                <a:cubicBezTo>
                  <a:pt x="511317" y="454064"/>
                  <a:pt x="516934" y="454084"/>
                  <a:pt x="520411" y="450633"/>
                </a:cubicBezTo>
                <a:cubicBezTo>
                  <a:pt x="520427" y="450617"/>
                  <a:pt x="520441" y="450603"/>
                  <a:pt x="520457" y="450587"/>
                </a:cubicBezTo>
                <a:cubicBezTo>
                  <a:pt x="524079" y="447284"/>
                  <a:pt x="524398" y="441689"/>
                  <a:pt x="521172" y="437997"/>
                </a:cubicBezTo>
                <a:moveTo>
                  <a:pt x="558085" y="405376"/>
                </a:moveTo>
                <a:cubicBezTo>
                  <a:pt x="554885" y="402207"/>
                  <a:pt x="549721" y="402231"/>
                  <a:pt x="546552" y="405431"/>
                </a:cubicBezTo>
                <a:cubicBezTo>
                  <a:pt x="543383" y="408632"/>
                  <a:pt x="543407" y="413796"/>
                  <a:pt x="546608" y="416965"/>
                </a:cubicBezTo>
                <a:cubicBezTo>
                  <a:pt x="549787" y="420112"/>
                  <a:pt x="554908" y="420112"/>
                  <a:pt x="558085" y="416965"/>
                </a:cubicBezTo>
                <a:cubicBezTo>
                  <a:pt x="561286" y="413909"/>
                  <a:pt x="561402" y="408837"/>
                  <a:pt x="558347" y="405636"/>
                </a:cubicBezTo>
                <a:cubicBezTo>
                  <a:pt x="558261" y="405547"/>
                  <a:pt x="558174" y="405460"/>
                  <a:pt x="558085" y="405376"/>
                </a:cubicBezTo>
                <a:moveTo>
                  <a:pt x="595142" y="372612"/>
                </a:moveTo>
                <a:cubicBezTo>
                  <a:pt x="592433" y="369418"/>
                  <a:pt x="587647" y="369025"/>
                  <a:pt x="584454" y="371733"/>
                </a:cubicBezTo>
                <a:cubicBezTo>
                  <a:pt x="584391" y="371786"/>
                  <a:pt x="584330" y="371840"/>
                  <a:pt x="584268" y="371896"/>
                </a:cubicBezTo>
                <a:cubicBezTo>
                  <a:pt x="581361" y="374938"/>
                  <a:pt x="581361" y="379728"/>
                  <a:pt x="584268" y="382770"/>
                </a:cubicBezTo>
                <a:cubicBezTo>
                  <a:pt x="587307" y="385764"/>
                  <a:pt x="592199" y="385730"/>
                  <a:pt x="595195" y="382690"/>
                </a:cubicBezTo>
                <a:cubicBezTo>
                  <a:pt x="597884" y="379960"/>
                  <a:pt x="598166" y="375670"/>
                  <a:pt x="595857" y="372612"/>
                </a:cubicBezTo>
                <a:moveTo>
                  <a:pt x="632770" y="339847"/>
                </a:moveTo>
                <a:cubicBezTo>
                  <a:pt x="630272" y="336889"/>
                  <a:pt x="625848" y="336517"/>
                  <a:pt x="622891" y="339015"/>
                </a:cubicBezTo>
                <a:cubicBezTo>
                  <a:pt x="622845" y="339053"/>
                  <a:pt x="622799" y="339092"/>
                  <a:pt x="622755" y="339132"/>
                </a:cubicBezTo>
                <a:cubicBezTo>
                  <a:pt x="620028" y="341913"/>
                  <a:pt x="620028" y="346366"/>
                  <a:pt x="622755" y="349147"/>
                </a:cubicBezTo>
                <a:cubicBezTo>
                  <a:pt x="625465" y="351913"/>
                  <a:pt x="629903" y="351959"/>
                  <a:pt x="632669" y="349249"/>
                </a:cubicBezTo>
                <a:cubicBezTo>
                  <a:pt x="632703" y="349215"/>
                  <a:pt x="632737" y="349182"/>
                  <a:pt x="632770" y="349147"/>
                </a:cubicBezTo>
                <a:cubicBezTo>
                  <a:pt x="635497" y="346366"/>
                  <a:pt x="635497" y="341913"/>
                  <a:pt x="632770" y="339132"/>
                </a:cubicBezTo>
                <a:moveTo>
                  <a:pt x="669684" y="306368"/>
                </a:moveTo>
                <a:cubicBezTo>
                  <a:pt x="667184" y="303840"/>
                  <a:pt x="663106" y="303817"/>
                  <a:pt x="660578" y="306316"/>
                </a:cubicBezTo>
                <a:cubicBezTo>
                  <a:pt x="660561" y="306334"/>
                  <a:pt x="660544" y="306351"/>
                  <a:pt x="660527" y="306368"/>
                </a:cubicBezTo>
                <a:cubicBezTo>
                  <a:pt x="657916" y="308896"/>
                  <a:pt x="657849" y="313062"/>
                  <a:pt x="660377" y="315675"/>
                </a:cubicBezTo>
                <a:cubicBezTo>
                  <a:pt x="662906" y="318286"/>
                  <a:pt x="667073" y="318352"/>
                  <a:pt x="669684" y="315824"/>
                </a:cubicBezTo>
                <a:cubicBezTo>
                  <a:pt x="672295" y="313296"/>
                  <a:pt x="672362" y="309129"/>
                  <a:pt x="669834" y="306518"/>
                </a:cubicBezTo>
                <a:cubicBezTo>
                  <a:pt x="669784" y="306467"/>
                  <a:pt x="669734" y="306417"/>
                  <a:pt x="669684" y="306368"/>
                </a:cubicBezTo>
                <a:moveTo>
                  <a:pt x="706740" y="273604"/>
                </a:moveTo>
                <a:cubicBezTo>
                  <a:pt x="704448" y="271313"/>
                  <a:pt x="700734" y="271315"/>
                  <a:pt x="698445" y="273607"/>
                </a:cubicBezTo>
                <a:cubicBezTo>
                  <a:pt x="696154" y="275897"/>
                  <a:pt x="696155" y="279611"/>
                  <a:pt x="698446" y="281902"/>
                </a:cubicBezTo>
                <a:cubicBezTo>
                  <a:pt x="700737" y="284191"/>
                  <a:pt x="704449" y="284191"/>
                  <a:pt x="706740" y="281902"/>
                </a:cubicBezTo>
                <a:cubicBezTo>
                  <a:pt x="709032" y="279611"/>
                  <a:pt x="709032" y="275897"/>
                  <a:pt x="706743" y="273607"/>
                </a:cubicBezTo>
                <a:cubicBezTo>
                  <a:pt x="706741" y="273605"/>
                  <a:pt x="706741" y="273605"/>
                  <a:pt x="706740" y="273604"/>
                </a:cubicBezTo>
                <a:moveTo>
                  <a:pt x="742509" y="242127"/>
                </a:moveTo>
                <a:cubicBezTo>
                  <a:pt x="740782" y="239768"/>
                  <a:pt x="737468" y="239257"/>
                  <a:pt x="735110" y="240984"/>
                </a:cubicBezTo>
                <a:cubicBezTo>
                  <a:pt x="732751" y="242711"/>
                  <a:pt x="732239" y="246023"/>
                  <a:pt x="733967" y="248383"/>
                </a:cubicBezTo>
                <a:cubicBezTo>
                  <a:pt x="734166" y="248656"/>
                  <a:pt x="734392" y="248908"/>
                  <a:pt x="734640" y="249138"/>
                </a:cubicBezTo>
                <a:cubicBezTo>
                  <a:pt x="736701" y="251174"/>
                  <a:pt x="740018" y="251174"/>
                  <a:pt x="742080" y="249138"/>
                </a:cubicBezTo>
                <a:cubicBezTo>
                  <a:pt x="744115" y="247076"/>
                  <a:pt x="744115" y="243760"/>
                  <a:pt x="742080" y="241698"/>
                </a:cubicBezTo>
                <a:moveTo>
                  <a:pt x="779851" y="209792"/>
                </a:moveTo>
                <a:cubicBezTo>
                  <a:pt x="778093" y="207975"/>
                  <a:pt x="775194" y="207927"/>
                  <a:pt x="773377" y="209685"/>
                </a:cubicBezTo>
                <a:cubicBezTo>
                  <a:pt x="773341" y="209719"/>
                  <a:pt x="773306" y="209757"/>
                  <a:pt x="773270" y="209792"/>
                </a:cubicBezTo>
                <a:cubicBezTo>
                  <a:pt x="771489" y="211625"/>
                  <a:pt x="771489" y="214541"/>
                  <a:pt x="773270" y="216374"/>
                </a:cubicBezTo>
                <a:cubicBezTo>
                  <a:pt x="775028" y="218191"/>
                  <a:pt x="777927" y="218240"/>
                  <a:pt x="779744" y="216481"/>
                </a:cubicBezTo>
                <a:cubicBezTo>
                  <a:pt x="779780" y="216445"/>
                  <a:pt x="779815" y="216410"/>
                  <a:pt x="779851" y="216374"/>
                </a:cubicBezTo>
                <a:cubicBezTo>
                  <a:pt x="781633" y="214541"/>
                  <a:pt x="781633" y="211625"/>
                  <a:pt x="779851" y="209792"/>
                </a:cubicBezTo>
                <a:moveTo>
                  <a:pt x="816908" y="177028"/>
                </a:moveTo>
                <a:cubicBezTo>
                  <a:pt x="815360" y="175447"/>
                  <a:pt x="812823" y="175422"/>
                  <a:pt x="811242" y="176971"/>
                </a:cubicBezTo>
                <a:cubicBezTo>
                  <a:pt x="811223" y="176990"/>
                  <a:pt x="811203" y="177008"/>
                  <a:pt x="811185" y="177028"/>
                </a:cubicBezTo>
                <a:cubicBezTo>
                  <a:pt x="809604" y="178576"/>
                  <a:pt x="809578" y="181113"/>
                  <a:pt x="811127" y="182694"/>
                </a:cubicBezTo>
                <a:cubicBezTo>
                  <a:pt x="811146" y="182713"/>
                  <a:pt x="811165" y="182733"/>
                  <a:pt x="811185" y="182751"/>
                </a:cubicBezTo>
                <a:cubicBezTo>
                  <a:pt x="812733" y="184332"/>
                  <a:pt x="815269" y="184358"/>
                  <a:pt x="816850" y="182808"/>
                </a:cubicBezTo>
                <a:cubicBezTo>
                  <a:pt x="816869" y="182790"/>
                  <a:pt x="816889" y="182771"/>
                  <a:pt x="816908" y="182751"/>
                </a:cubicBezTo>
                <a:cubicBezTo>
                  <a:pt x="818489" y="181203"/>
                  <a:pt x="818514" y="178666"/>
                  <a:pt x="816965" y="177085"/>
                </a:cubicBezTo>
                <a:cubicBezTo>
                  <a:pt x="816946" y="177067"/>
                  <a:pt x="816928" y="177047"/>
                  <a:pt x="816908" y="177028"/>
                </a:cubicBezTo>
                <a:moveTo>
                  <a:pt x="853821" y="144264"/>
                </a:moveTo>
                <a:cubicBezTo>
                  <a:pt x="852477" y="142925"/>
                  <a:pt x="850303" y="142929"/>
                  <a:pt x="848965" y="144273"/>
                </a:cubicBezTo>
                <a:cubicBezTo>
                  <a:pt x="847626" y="145616"/>
                  <a:pt x="847630" y="147790"/>
                  <a:pt x="848974" y="149129"/>
                </a:cubicBezTo>
                <a:cubicBezTo>
                  <a:pt x="850313" y="150464"/>
                  <a:pt x="852480" y="150464"/>
                  <a:pt x="853821" y="149129"/>
                </a:cubicBezTo>
                <a:cubicBezTo>
                  <a:pt x="855164" y="147790"/>
                  <a:pt x="855169" y="145616"/>
                  <a:pt x="853830" y="144273"/>
                </a:cubicBezTo>
                <a:cubicBezTo>
                  <a:pt x="853827" y="144270"/>
                  <a:pt x="853824" y="144267"/>
                  <a:pt x="853821" y="144264"/>
                </a:cubicBezTo>
                <a:moveTo>
                  <a:pt x="890734" y="111500"/>
                </a:moveTo>
                <a:cubicBezTo>
                  <a:pt x="889621" y="110410"/>
                  <a:pt x="887841" y="110410"/>
                  <a:pt x="886728" y="111500"/>
                </a:cubicBezTo>
                <a:cubicBezTo>
                  <a:pt x="885688" y="112688"/>
                  <a:pt x="885688" y="114462"/>
                  <a:pt x="886728" y="115649"/>
                </a:cubicBezTo>
                <a:cubicBezTo>
                  <a:pt x="887888" y="116758"/>
                  <a:pt x="889717" y="116758"/>
                  <a:pt x="890877" y="115649"/>
                </a:cubicBezTo>
                <a:cubicBezTo>
                  <a:pt x="891983" y="114635"/>
                  <a:pt x="892058" y="112915"/>
                  <a:pt x="891043" y="111808"/>
                </a:cubicBezTo>
                <a:cubicBezTo>
                  <a:pt x="890990" y="111750"/>
                  <a:pt x="890935" y="111696"/>
                  <a:pt x="890877" y="111643"/>
                </a:cubicBezTo>
                <a:moveTo>
                  <a:pt x="500283" y="415105"/>
                </a:moveTo>
                <a:cubicBezTo>
                  <a:pt x="497113" y="411473"/>
                  <a:pt x="491600" y="411100"/>
                  <a:pt x="487969" y="414271"/>
                </a:cubicBezTo>
                <a:cubicBezTo>
                  <a:pt x="487924" y="414309"/>
                  <a:pt x="487880" y="414349"/>
                  <a:pt x="487836" y="414389"/>
                </a:cubicBezTo>
                <a:cubicBezTo>
                  <a:pt x="484124" y="417587"/>
                  <a:pt x="483709" y="423188"/>
                  <a:pt x="486907" y="426900"/>
                </a:cubicBezTo>
                <a:cubicBezTo>
                  <a:pt x="486930" y="426927"/>
                  <a:pt x="486954" y="426953"/>
                  <a:pt x="486977" y="426980"/>
                </a:cubicBezTo>
                <a:cubicBezTo>
                  <a:pt x="490478" y="430397"/>
                  <a:pt x="496067" y="430397"/>
                  <a:pt x="499568" y="426980"/>
                </a:cubicBezTo>
                <a:cubicBezTo>
                  <a:pt x="503044" y="423529"/>
                  <a:pt x="503064" y="417912"/>
                  <a:pt x="499613" y="414435"/>
                </a:cubicBezTo>
                <a:cubicBezTo>
                  <a:pt x="499598" y="414419"/>
                  <a:pt x="499583" y="414405"/>
                  <a:pt x="499568" y="414389"/>
                </a:cubicBezTo>
                <a:moveTo>
                  <a:pt x="536624" y="381625"/>
                </a:moveTo>
                <a:cubicBezTo>
                  <a:pt x="533385" y="378383"/>
                  <a:pt x="528130" y="378382"/>
                  <a:pt x="524889" y="381622"/>
                </a:cubicBezTo>
                <a:cubicBezTo>
                  <a:pt x="521647" y="384862"/>
                  <a:pt x="521646" y="390115"/>
                  <a:pt x="524885" y="393357"/>
                </a:cubicBezTo>
                <a:cubicBezTo>
                  <a:pt x="528124" y="396599"/>
                  <a:pt x="533379" y="396601"/>
                  <a:pt x="536621" y="393360"/>
                </a:cubicBezTo>
                <a:cubicBezTo>
                  <a:pt x="536621" y="393360"/>
                  <a:pt x="536623" y="393359"/>
                  <a:pt x="536624" y="393357"/>
                </a:cubicBezTo>
                <a:cubicBezTo>
                  <a:pt x="539862" y="390117"/>
                  <a:pt x="539862" y="384866"/>
                  <a:pt x="536624" y="381625"/>
                </a:cubicBezTo>
                <a:moveTo>
                  <a:pt x="573537" y="348861"/>
                </a:moveTo>
                <a:cubicBezTo>
                  <a:pt x="570526" y="345879"/>
                  <a:pt x="565675" y="345879"/>
                  <a:pt x="562664" y="348861"/>
                </a:cubicBezTo>
                <a:cubicBezTo>
                  <a:pt x="559701" y="351820"/>
                  <a:pt x="559698" y="356621"/>
                  <a:pt x="562657" y="359585"/>
                </a:cubicBezTo>
                <a:cubicBezTo>
                  <a:pt x="562659" y="359587"/>
                  <a:pt x="562661" y="359589"/>
                  <a:pt x="562664" y="359592"/>
                </a:cubicBezTo>
                <a:cubicBezTo>
                  <a:pt x="565299" y="362744"/>
                  <a:pt x="569992" y="363163"/>
                  <a:pt x="573144" y="360526"/>
                </a:cubicBezTo>
                <a:cubicBezTo>
                  <a:pt x="573228" y="360454"/>
                  <a:pt x="573313" y="360381"/>
                  <a:pt x="573394" y="360307"/>
                </a:cubicBezTo>
                <a:cubicBezTo>
                  <a:pt x="576588" y="357599"/>
                  <a:pt x="576981" y="352813"/>
                  <a:pt x="574273" y="349619"/>
                </a:cubicBezTo>
                <a:cubicBezTo>
                  <a:pt x="574220" y="349556"/>
                  <a:pt x="574165" y="349495"/>
                  <a:pt x="574110" y="349433"/>
                </a:cubicBezTo>
                <a:moveTo>
                  <a:pt x="611023" y="316669"/>
                </a:moveTo>
                <a:cubicBezTo>
                  <a:pt x="608257" y="313848"/>
                  <a:pt x="603728" y="313802"/>
                  <a:pt x="600906" y="316568"/>
                </a:cubicBezTo>
                <a:cubicBezTo>
                  <a:pt x="598085" y="319333"/>
                  <a:pt x="598040" y="323863"/>
                  <a:pt x="600806" y="326684"/>
                </a:cubicBezTo>
                <a:cubicBezTo>
                  <a:pt x="603572" y="329506"/>
                  <a:pt x="608100" y="329552"/>
                  <a:pt x="610921" y="326786"/>
                </a:cubicBezTo>
                <a:cubicBezTo>
                  <a:pt x="610956" y="326752"/>
                  <a:pt x="610990" y="326719"/>
                  <a:pt x="611023" y="326684"/>
                </a:cubicBezTo>
                <a:cubicBezTo>
                  <a:pt x="613789" y="323975"/>
                  <a:pt x="613834" y="319536"/>
                  <a:pt x="611125" y="316771"/>
                </a:cubicBezTo>
                <a:cubicBezTo>
                  <a:pt x="611090" y="316737"/>
                  <a:pt x="611057" y="316702"/>
                  <a:pt x="611023" y="316669"/>
                </a:cubicBezTo>
                <a:moveTo>
                  <a:pt x="648079" y="283905"/>
                </a:moveTo>
                <a:cubicBezTo>
                  <a:pt x="645498" y="281506"/>
                  <a:pt x="641504" y="281506"/>
                  <a:pt x="638923" y="283905"/>
                </a:cubicBezTo>
                <a:cubicBezTo>
                  <a:pt x="636236" y="286276"/>
                  <a:pt x="635979" y="290375"/>
                  <a:pt x="638350" y="293062"/>
                </a:cubicBezTo>
                <a:cubicBezTo>
                  <a:pt x="640721" y="295749"/>
                  <a:pt x="644820" y="296005"/>
                  <a:pt x="647507" y="293634"/>
                </a:cubicBezTo>
                <a:cubicBezTo>
                  <a:pt x="649978" y="291082"/>
                  <a:pt x="649978" y="287030"/>
                  <a:pt x="647507" y="284477"/>
                </a:cubicBezTo>
                <a:moveTo>
                  <a:pt x="685279" y="251284"/>
                </a:moveTo>
                <a:cubicBezTo>
                  <a:pt x="683105" y="248835"/>
                  <a:pt x="679358" y="248610"/>
                  <a:pt x="676909" y="250783"/>
                </a:cubicBezTo>
                <a:cubicBezTo>
                  <a:pt x="674459" y="252957"/>
                  <a:pt x="674235" y="256704"/>
                  <a:pt x="676408" y="259153"/>
                </a:cubicBezTo>
                <a:cubicBezTo>
                  <a:pt x="678749" y="261462"/>
                  <a:pt x="682509" y="261462"/>
                  <a:pt x="684850" y="259153"/>
                </a:cubicBezTo>
                <a:cubicBezTo>
                  <a:pt x="687142" y="256863"/>
                  <a:pt x="687142" y="253148"/>
                  <a:pt x="684852" y="250858"/>
                </a:cubicBezTo>
                <a:cubicBezTo>
                  <a:pt x="684851" y="250856"/>
                  <a:pt x="684851" y="250856"/>
                  <a:pt x="684850" y="250855"/>
                </a:cubicBezTo>
                <a:moveTo>
                  <a:pt x="721763" y="218091"/>
                </a:moveTo>
                <a:cubicBezTo>
                  <a:pt x="720036" y="215731"/>
                  <a:pt x="716722" y="215221"/>
                  <a:pt x="714365" y="216948"/>
                </a:cubicBezTo>
                <a:cubicBezTo>
                  <a:pt x="712005" y="218674"/>
                  <a:pt x="711493" y="221987"/>
                  <a:pt x="713221" y="224346"/>
                </a:cubicBezTo>
                <a:cubicBezTo>
                  <a:pt x="713420" y="224619"/>
                  <a:pt x="713646" y="224871"/>
                  <a:pt x="713894" y="225101"/>
                </a:cubicBezTo>
                <a:cubicBezTo>
                  <a:pt x="715621" y="227461"/>
                  <a:pt x="718934" y="227971"/>
                  <a:pt x="721292" y="226245"/>
                </a:cubicBezTo>
                <a:cubicBezTo>
                  <a:pt x="723651" y="224518"/>
                  <a:pt x="724164" y="221205"/>
                  <a:pt x="722435" y="218846"/>
                </a:cubicBezTo>
                <a:cubicBezTo>
                  <a:pt x="722236" y="218573"/>
                  <a:pt x="722010" y="218321"/>
                  <a:pt x="721763" y="218091"/>
                </a:cubicBezTo>
                <a:moveTo>
                  <a:pt x="758819" y="185327"/>
                </a:moveTo>
                <a:cubicBezTo>
                  <a:pt x="756986" y="183545"/>
                  <a:pt x="754071" y="183545"/>
                  <a:pt x="752238" y="185327"/>
                </a:cubicBezTo>
                <a:cubicBezTo>
                  <a:pt x="750421" y="187085"/>
                  <a:pt x="750372" y="189984"/>
                  <a:pt x="752131" y="191801"/>
                </a:cubicBezTo>
                <a:cubicBezTo>
                  <a:pt x="752165" y="191837"/>
                  <a:pt x="752202" y="191872"/>
                  <a:pt x="752238" y="191908"/>
                </a:cubicBezTo>
                <a:cubicBezTo>
                  <a:pt x="754071" y="193689"/>
                  <a:pt x="756986" y="193689"/>
                  <a:pt x="758819" y="191908"/>
                </a:cubicBezTo>
                <a:cubicBezTo>
                  <a:pt x="760618" y="190028"/>
                  <a:pt x="760618" y="187064"/>
                  <a:pt x="758819" y="185184"/>
                </a:cubicBezTo>
                <a:moveTo>
                  <a:pt x="796019" y="152562"/>
                </a:moveTo>
                <a:cubicBezTo>
                  <a:pt x="794557" y="150864"/>
                  <a:pt x="791994" y="150671"/>
                  <a:pt x="790296" y="152133"/>
                </a:cubicBezTo>
                <a:cubicBezTo>
                  <a:pt x="788597" y="153595"/>
                  <a:pt x="788404" y="156158"/>
                  <a:pt x="789866" y="157856"/>
                </a:cubicBezTo>
                <a:cubicBezTo>
                  <a:pt x="791516" y="159401"/>
                  <a:pt x="794083" y="159401"/>
                  <a:pt x="795733" y="157856"/>
                </a:cubicBezTo>
                <a:cubicBezTo>
                  <a:pt x="797313" y="156308"/>
                  <a:pt x="797339" y="153771"/>
                  <a:pt x="795790" y="152190"/>
                </a:cubicBezTo>
                <a:cubicBezTo>
                  <a:pt x="795771" y="152172"/>
                  <a:pt x="795753" y="152152"/>
                  <a:pt x="795733" y="152133"/>
                </a:cubicBezTo>
                <a:moveTo>
                  <a:pt x="832646" y="119369"/>
                </a:moveTo>
                <a:cubicBezTo>
                  <a:pt x="831302" y="118030"/>
                  <a:pt x="829129" y="118034"/>
                  <a:pt x="827790" y="119378"/>
                </a:cubicBezTo>
                <a:cubicBezTo>
                  <a:pt x="826451" y="120721"/>
                  <a:pt x="826455" y="122894"/>
                  <a:pt x="827798" y="124234"/>
                </a:cubicBezTo>
                <a:cubicBezTo>
                  <a:pt x="829138" y="125569"/>
                  <a:pt x="831305" y="125569"/>
                  <a:pt x="832646" y="124234"/>
                </a:cubicBezTo>
                <a:cubicBezTo>
                  <a:pt x="833989" y="122894"/>
                  <a:pt x="833994" y="120721"/>
                  <a:pt x="832654" y="119378"/>
                </a:cubicBezTo>
                <a:cubicBezTo>
                  <a:pt x="832652" y="119375"/>
                  <a:pt x="832649" y="119372"/>
                  <a:pt x="832646" y="119369"/>
                </a:cubicBezTo>
                <a:moveTo>
                  <a:pt x="869702" y="86605"/>
                </a:moveTo>
                <a:cubicBezTo>
                  <a:pt x="868542" y="85496"/>
                  <a:pt x="866713" y="85496"/>
                  <a:pt x="865553" y="86605"/>
                </a:cubicBezTo>
                <a:cubicBezTo>
                  <a:pt x="864368" y="87672"/>
                  <a:pt x="864271" y="89498"/>
                  <a:pt x="865338" y="90683"/>
                </a:cubicBezTo>
                <a:cubicBezTo>
                  <a:pt x="866406" y="91867"/>
                  <a:pt x="868231" y="91965"/>
                  <a:pt x="869416" y="90897"/>
                </a:cubicBezTo>
                <a:cubicBezTo>
                  <a:pt x="870506" y="89784"/>
                  <a:pt x="870506" y="88004"/>
                  <a:pt x="869416" y="86891"/>
                </a:cubicBezTo>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93" name="Freeform: Shape 492">
            <a:extLst>
              <a:ext uri="{FF2B5EF4-FFF2-40B4-BE49-F238E27FC236}">
                <a16:creationId xmlns:a16="http://schemas.microsoft.com/office/drawing/2014/main" id="{3C4DD7A3-A26B-4220-B669-728AE09381C8}"/>
              </a:ext>
            </a:extLst>
          </p:cNvPr>
          <p:cNvSpPr/>
          <p:nvPr/>
        </p:nvSpPr>
        <p:spPr>
          <a:xfrm>
            <a:off x="1534800" y="3571188"/>
            <a:ext cx="691671" cy="628792"/>
          </a:xfrm>
          <a:custGeom>
            <a:avLst/>
            <a:gdLst>
              <a:gd name="connsiteX0" fmla="*/ 412818 w 786911"/>
              <a:gd name="connsiteY0" fmla="*/ 383011 h 715374"/>
              <a:gd name="connsiteX1" fmla="*/ 412818 w 786911"/>
              <a:gd name="connsiteY1" fmla="*/ 394457 h 715374"/>
              <a:gd name="connsiteX2" fmla="*/ 401515 w 786911"/>
              <a:gd name="connsiteY2" fmla="*/ 394457 h 715374"/>
              <a:gd name="connsiteX3" fmla="*/ 401515 w 786911"/>
              <a:gd name="connsiteY3" fmla="*/ 383154 h 715374"/>
              <a:gd name="connsiteX4" fmla="*/ 412961 w 786911"/>
              <a:gd name="connsiteY4" fmla="*/ 383154 h 715374"/>
              <a:gd name="connsiteX5" fmla="*/ 445439 w 786911"/>
              <a:gd name="connsiteY5" fmla="*/ 352679 h 715374"/>
              <a:gd name="connsiteX6" fmla="*/ 434918 w 786911"/>
              <a:gd name="connsiteY6" fmla="*/ 352745 h 715374"/>
              <a:gd name="connsiteX7" fmla="*/ 434984 w 786911"/>
              <a:gd name="connsiteY7" fmla="*/ 363267 h 715374"/>
              <a:gd name="connsiteX8" fmla="*/ 445439 w 786911"/>
              <a:gd name="connsiteY8" fmla="*/ 363267 h 715374"/>
              <a:gd name="connsiteX9" fmla="*/ 445505 w 786911"/>
              <a:gd name="connsiteY9" fmla="*/ 352745 h 715374"/>
              <a:gd name="connsiteX10" fmla="*/ 445439 w 786911"/>
              <a:gd name="connsiteY10" fmla="*/ 352679 h 715374"/>
              <a:gd name="connsiteX11" fmla="*/ 477917 w 786911"/>
              <a:gd name="connsiteY11" fmla="*/ 322205 h 715374"/>
              <a:gd name="connsiteX12" fmla="*/ 468019 w 786911"/>
              <a:gd name="connsiteY12" fmla="*/ 322788 h 715374"/>
              <a:gd name="connsiteX13" fmla="*/ 467759 w 786911"/>
              <a:gd name="connsiteY13" fmla="*/ 331791 h 715374"/>
              <a:gd name="connsiteX14" fmla="*/ 477631 w 786911"/>
              <a:gd name="connsiteY14" fmla="*/ 331791 h 715374"/>
              <a:gd name="connsiteX15" fmla="*/ 477793 w 786911"/>
              <a:gd name="connsiteY15" fmla="*/ 322080 h 715374"/>
              <a:gd name="connsiteX16" fmla="*/ 477631 w 786911"/>
              <a:gd name="connsiteY16" fmla="*/ 321918 h 715374"/>
              <a:gd name="connsiteX17" fmla="*/ 510252 w 786911"/>
              <a:gd name="connsiteY17" fmla="*/ 291587 h 715374"/>
              <a:gd name="connsiteX18" fmla="*/ 501147 w 786911"/>
              <a:gd name="connsiteY18" fmla="*/ 291495 h 715374"/>
              <a:gd name="connsiteX19" fmla="*/ 501057 w 786911"/>
              <a:gd name="connsiteY19" fmla="*/ 300600 h 715374"/>
              <a:gd name="connsiteX20" fmla="*/ 510161 w 786911"/>
              <a:gd name="connsiteY20" fmla="*/ 300692 h 715374"/>
              <a:gd name="connsiteX21" fmla="*/ 510252 w 786911"/>
              <a:gd name="connsiteY21" fmla="*/ 300600 h 715374"/>
              <a:gd name="connsiteX22" fmla="*/ 510364 w 786911"/>
              <a:gd name="connsiteY22" fmla="*/ 291698 h 715374"/>
              <a:gd name="connsiteX23" fmla="*/ 510252 w 786911"/>
              <a:gd name="connsiteY23" fmla="*/ 291587 h 715374"/>
              <a:gd name="connsiteX24" fmla="*/ 542873 w 786911"/>
              <a:gd name="connsiteY24" fmla="*/ 261112 h 715374"/>
              <a:gd name="connsiteX25" fmla="*/ 534575 w 786911"/>
              <a:gd name="connsiteY25" fmla="*/ 261112 h 715374"/>
              <a:gd name="connsiteX26" fmla="*/ 534289 w 786911"/>
              <a:gd name="connsiteY26" fmla="*/ 269410 h 715374"/>
              <a:gd name="connsiteX27" fmla="*/ 542587 w 786911"/>
              <a:gd name="connsiteY27" fmla="*/ 269696 h 715374"/>
              <a:gd name="connsiteX28" fmla="*/ 542587 w 786911"/>
              <a:gd name="connsiteY28" fmla="*/ 261398 h 715374"/>
              <a:gd name="connsiteX29" fmla="*/ 575065 w 786911"/>
              <a:gd name="connsiteY29" fmla="*/ 230923 h 715374"/>
              <a:gd name="connsiteX30" fmla="*/ 567625 w 786911"/>
              <a:gd name="connsiteY30" fmla="*/ 230923 h 715374"/>
              <a:gd name="connsiteX31" fmla="*/ 567625 w 786911"/>
              <a:gd name="connsiteY31" fmla="*/ 238506 h 715374"/>
              <a:gd name="connsiteX32" fmla="*/ 575065 w 786911"/>
              <a:gd name="connsiteY32" fmla="*/ 238506 h 715374"/>
              <a:gd name="connsiteX33" fmla="*/ 575065 w 786911"/>
              <a:gd name="connsiteY33" fmla="*/ 230923 h 715374"/>
              <a:gd name="connsiteX34" fmla="*/ 607543 w 786911"/>
              <a:gd name="connsiteY34" fmla="*/ 200162 h 715374"/>
              <a:gd name="connsiteX35" fmla="*/ 600819 w 786911"/>
              <a:gd name="connsiteY35" fmla="*/ 200019 h 715374"/>
              <a:gd name="connsiteX36" fmla="*/ 600676 w 786911"/>
              <a:gd name="connsiteY36" fmla="*/ 206743 h 715374"/>
              <a:gd name="connsiteX37" fmla="*/ 607400 w 786911"/>
              <a:gd name="connsiteY37" fmla="*/ 206886 h 715374"/>
              <a:gd name="connsiteX38" fmla="*/ 607543 w 786911"/>
              <a:gd name="connsiteY38" fmla="*/ 200162 h 715374"/>
              <a:gd name="connsiteX39" fmla="*/ 640164 w 786911"/>
              <a:gd name="connsiteY39" fmla="*/ 169687 h 715374"/>
              <a:gd name="connsiteX40" fmla="*/ 634298 w 786911"/>
              <a:gd name="connsiteY40" fmla="*/ 169544 h 715374"/>
              <a:gd name="connsiteX41" fmla="*/ 634155 w 786911"/>
              <a:gd name="connsiteY41" fmla="*/ 169687 h 715374"/>
              <a:gd name="connsiteX42" fmla="*/ 633951 w 786911"/>
              <a:gd name="connsiteY42" fmla="*/ 175348 h 715374"/>
              <a:gd name="connsiteX43" fmla="*/ 634155 w 786911"/>
              <a:gd name="connsiteY43" fmla="*/ 175553 h 715374"/>
              <a:gd name="connsiteX44" fmla="*/ 640021 w 786911"/>
              <a:gd name="connsiteY44" fmla="*/ 175553 h 715374"/>
              <a:gd name="connsiteX45" fmla="*/ 640021 w 786911"/>
              <a:gd name="connsiteY45" fmla="*/ 169544 h 715374"/>
              <a:gd name="connsiteX46" fmla="*/ 672499 w 786911"/>
              <a:gd name="connsiteY46" fmla="*/ 139069 h 715374"/>
              <a:gd name="connsiteX47" fmla="*/ 667253 w 786911"/>
              <a:gd name="connsiteY47" fmla="*/ 139452 h 715374"/>
              <a:gd name="connsiteX48" fmla="*/ 667062 w 786911"/>
              <a:gd name="connsiteY48" fmla="*/ 144076 h 715374"/>
              <a:gd name="connsiteX49" fmla="*/ 672356 w 786911"/>
              <a:gd name="connsiteY49" fmla="*/ 144076 h 715374"/>
              <a:gd name="connsiteX50" fmla="*/ 672449 w 786911"/>
              <a:gd name="connsiteY50" fmla="*/ 139019 h 715374"/>
              <a:gd name="connsiteX51" fmla="*/ 672356 w 786911"/>
              <a:gd name="connsiteY51" fmla="*/ 138926 h 715374"/>
              <a:gd name="connsiteX52" fmla="*/ 704834 w 786911"/>
              <a:gd name="connsiteY52" fmla="*/ 108451 h 715374"/>
              <a:gd name="connsiteX53" fmla="*/ 700383 w 786911"/>
              <a:gd name="connsiteY53" fmla="*/ 108435 h 715374"/>
              <a:gd name="connsiteX54" fmla="*/ 700367 w 786911"/>
              <a:gd name="connsiteY54" fmla="*/ 112886 h 715374"/>
              <a:gd name="connsiteX55" fmla="*/ 704818 w 786911"/>
              <a:gd name="connsiteY55" fmla="*/ 112902 h 715374"/>
              <a:gd name="connsiteX56" fmla="*/ 704834 w 786911"/>
              <a:gd name="connsiteY56" fmla="*/ 112886 h 715374"/>
              <a:gd name="connsiteX57" fmla="*/ 704834 w 786911"/>
              <a:gd name="connsiteY57" fmla="*/ 108451 h 715374"/>
              <a:gd name="connsiteX58" fmla="*/ 737312 w 786911"/>
              <a:gd name="connsiteY58" fmla="*/ 77976 h 715374"/>
              <a:gd name="connsiteX59" fmla="*/ 733735 w 786911"/>
              <a:gd name="connsiteY59" fmla="*/ 77976 h 715374"/>
              <a:gd name="connsiteX60" fmla="*/ 733664 w 786911"/>
              <a:gd name="connsiteY60" fmla="*/ 81624 h 715374"/>
              <a:gd name="connsiteX61" fmla="*/ 737312 w 786911"/>
              <a:gd name="connsiteY61" fmla="*/ 81696 h 715374"/>
              <a:gd name="connsiteX62" fmla="*/ 737452 w 786911"/>
              <a:gd name="connsiteY62" fmla="*/ 78259 h 715374"/>
              <a:gd name="connsiteX63" fmla="*/ 737312 w 786911"/>
              <a:gd name="connsiteY63" fmla="*/ 78119 h 715374"/>
              <a:gd name="connsiteX64" fmla="*/ 432133 w 786911"/>
              <a:gd name="connsiteY64" fmla="*/ 403185 h 715374"/>
              <a:gd name="connsiteX65" fmla="*/ 421546 w 786911"/>
              <a:gd name="connsiteY65" fmla="*/ 403185 h 715374"/>
              <a:gd name="connsiteX66" fmla="*/ 421546 w 786911"/>
              <a:gd name="connsiteY66" fmla="*/ 414631 h 715374"/>
              <a:gd name="connsiteX67" fmla="*/ 432992 w 786911"/>
              <a:gd name="connsiteY67" fmla="*/ 414631 h 715374"/>
              <a:gd name="connsiteX68" fmla="*/ 432992 w 786911"/>
              <a:gd name="connsiteY68" fmla="*/ 403328 h 715374"/>
              <a:gd name="connsiteX69" fmla="*/ 464468 w 786911"/>
              <a:gd name="connsiteY69" fmla="*/ 373282 h 715374"/>
              <a:gd name="connsiteX70" fmla="*/ 453947 w 786911"/>
              <a:gd name="connsiteY70" fmla="*/ 373216 h 715374"/>
              <a:gd name="connsiteX71" fmla="*/ 453881 w 786911"/>
              <a:gd name="connsiteY71" fmla="*/ 373282 h 715374"/>
              <a:gd name="connsiteX72" fmla="*/ 453755 w 786911"/>
              <a:gd name="connsiteY72" fmla="*/ 383601 h 715374"/>
              <a:gd name="connsiteX73" fmla="*/ 453881 w 786911"/>
              <a:gd name="connsiteY73" fmla="*/ 383727 h 715374"/>
              <a:gd name="connsiteX74" fmla="*/ 464403 w 786911"/>
              <a:gd name="connsiteY74" fmla="*/ 383793 h 715374"/>
              <a:gd name="connsiteX75" fmla="*/ 464468 w 786911"/>
              <a:gd name="connsiteY75" fmla="*/ 383727 h 715374"/>
              <a:gd name="connsiteX76" fmla="*/ 464468 w 786911"/>
              <a:gd name="connsiteY76" fmla="*/ 373139 h 715374"/>
              <a:gd name="connsiteX77" fmla="*/ 496946 w 786911"/>
              <a:gd name="connsiteY77" fmla="*/ 342664 h 715374"/>
              <a:gd name="connsiteX78" fmla="*/ 487236 w 786911"/>
              <a:gd name="connsiteY78" fmla="*/ 342503 h 715374"/>
              <a:gd name="connsiteX79" fmla="*/ 487074 w 786911"/>
              <a:gd name="connsiteY79" fmla="*/ 342664 h 715374"/>
              <a:gd name="connsiteX80" fmla="*/ 487074 w 786911"/>
              <a:gd name="connsiteY80" fmla="*/ 352393 h 715374"/>
              <a:gd name="connsiteX81" fmla="*/ 496785 w 786911"/>
              <a:gd name="connsiteY81" fmla="*/ 352555 h 715374"/>
              <a:gd name="connsiteX82" fmla="*/ 496946 w 786911"/>
              <a:gd name="connsiteY82" fmla="*/ 352393 h 715374"/>
              <a:gd name="connsiteX83" fmla="*/ 496946 w 786911"/>
              <a:gd name="connsiteY83" fmla="*/ 342664 h 715374"/>
              <a:gd name="connsiteX84" fmla="*/ 529424 w 786911"/>
              <a:gd name="connsiteY84" fmla="*/ 312189 h 715374"/>
              <a:gd name="connsiteX85" fmla="*/ 520319 w 786911"/>
              <a:gd name="connsiteY85" fmla="*/ 312098 h 715374"/>
              <a:gd name="connsiteX86" fmla="*/ 520229 w 786911"/>
              <a:gd name="connsiteY86" fmla="*/ 321203 h 715374"/>
              <a:gd name="connsiteX87" fmla="*/ 529333 w 786911"/>
              <a:gd name="connsiteY87" fmla="*/ 321295 h 715374"/>
              <a:gd name="connsiteX88" fmla="*/ 529424 w 786911"/>
              <a:gd name="connsiteY88" fmla="*/ 321203 h 715374"/>
              <a:gd name="connsiteX89" fmla="*/ 529536 w 786911"/>
              <a:gd name="connsiteY89" fmla="*/ 312301 h 715374"/>
              <a:gd name="connsiteX90" fmla="*/ 529424 w 786911"/>
              <a:gd name="connsiteY90" fmla="*/ 312189 h 715374"/>
              <a:gd name="connsiteX91" fmla="*/ 561902 w 786911"/>
              <a:gd name="connsiteY91" fmla="*/ 281714 h 715374"/>
              <a:gd name="connsiteX92" fmla="*/ 554016 w 786911"/>
              <a:gd name="connsiteY92" fmla="*/ 281445 h 715374"/>
              <a:gd name="connsiteX93" fmla="*/ 553747 w 786911"/>
              <a:gd name="connsiteY93" fmla="*/ 281714 h 715374"/>
              <a:gd name="connsiteX94" fmla="*/ 553540 w 786911"/>
              <a:gd name="connsiteY94" fmla="*/ 289805 h 715374"/>
              <a:gd name="connsiteX95" fmla="*/ 553747 w 786911"/>
              <a:gd name="connsiteY95" fmla="*/ 290013 h 715374"/>
              <a:gd name="connsiteX96" fmla="*/ 561902 w 786911"/>
              <a:gd name="connsiteY96" fmla="*/ 290013 h 715374"/>
              <a:gd name="connsiteX97" fmla="*/ 562110 w 786911"/>
              <a:gd name="connsiteY97" fmla="*/ 281922 h 715374"/>
              <a:gd name="connsiteX98" fmla="*/ 561902 w 786911"/>
              <a:gd name="connsiteY98" fmla="*/ 281714 h 715374"/>
              <a:gd name="connsiteX99" fmla="*/ 594523 w 786911"/>
              <a:gd name="connsiteY99" fmla="*/ 251239 h 715374"/>
              <a:gd name="connsiteX100" fmla="*/ 586940 w 786911"/>
              <a:gd name="connsiteY100" fmla="*/ 251239 h 715374"/>
              <a:gd name="connsiteX101" fmla="*/ 586940 w 786911"/>
              <a:gd name="connsiteY101" fmla="*/ 258679 h 715374"/>
              <a:gd name="connsiteX102" fmla="*/ 594523 w 786911"/>
              <a:gd name="connsiteY102" fmla="*/ 258679 h 715374"/>
              <a:gd name="connsiteX103" fmla="*/ 594523 w 786911"/>
              <a:gd name="connsiteY103" fmla="*/ 251239 h 715374"/>
              <a:gd name="connsiteX104" fmla="*/ 627001 w 786911"/>
              <a:gd name="connsiteY104" fmla="*/ 220764 h 715374"/>
              <a:gd name="connsiteX105" fmla="*/ 620324 w 786911"/>
              <a:gd name="connsiteY105" fmla="*/ 220812 h 715374"/>
              <a:gd name="connsiteX106" fmla="*/ 620371 w 786911"/>
              <a:gd name="connsiteY106" fmla="*/ 227489 h 715374"/>
              <a:gd name="connsiteX107" fmla="*/ 627001 w 786911"/>
              <a:gd name="connsiteY107" fmla="*/ 227489 h 715374"/>
              <a:gd name="connsiteX108" fmla="*/ 627049 w 786911"/>
              <a:gd name="connsiteY108" fmla="*/ 220812 h 715374"/>
              <a:gd name="connsiteX109" fmla="*/ 627001 w 786911"/>
              <a:gd name="connsiteY109" fmla="*/ 220764 h 715374"/>
              <a:gd name="connsiteX110" fmla="*/ 659479 w 786911"/>
              <a:gd name="connsiteY110" fmla="*/ 190290 h 715374"/>
              <a:gd name="connsiteX111" fmla="*/ 653470 w 786911"/>
              <a:gd name="connsiteY111" fmla="*/ 190290 h 715374"/>
              <a:gd name="connsiteX112" fmla="*/ 653470 w 786911"/>
              <a:gd name="connsiteY112" fmla="*/ 196299 h 715374"/>
              <a:gd name="connsiteX113" fmla="*/ 659479 w 786911"/>
              <a:gd name="connsiteY113" fmla="*/ 196299 h 715374"/>
              <a:gd name="connsiteX114" fmla="*/ 659479 w 786911"/>
              <a:gd name="connsiteY114" fmla="*/ 190433 h 715374"/>
              <a:gd name="connsiteX115" fmla="*/ 692243 w 786911"/>
              <a:gd name="connsiteY115" fmla="*/ 159958 h 715374"/>
              <a:gd name="connsiteX116" fmla="*/ 687186 w 786911"/>
              <a:gd name="connsiteY116" fmla="*/ 159865 h 715374"/>
              <a:gd name="connsiteX117" fmla="*/ 687093 w 786911"/>
              <a:gd name="connsiteY117" fmla="*/ 159958 h 715374"/>
              <a:gd name="connsiteX118" fmla="*/ 687093 w 786911"/>
              <a:gd name="connsiteY118" fmla="*/ 165251 h 715374"/>
              <a:gd name="connsiteX119" fmla="*/ 692150 w 786911"/>
              <a:gd name="connsiteY119" fmla="*/ 165344 h 715374"/>
              <a:gd name="connsiteX120" fmla="*/ 692243 w 786911"/>
              <a:gd name="connsiteY120" fmla="*/ 165251 h 715374"/>
              <a:gd name="connsiteX121" fmla="*/ 692336 w 786911"/>
              <a:gd name="connsiteY121" fmla="*/ 160194 h 715374"/>
              <a:gd name="connsiteX122" fmla="*/ 692243 w 786911"/>
              <a:gd name="connsiteY122" fmla="*/ 160101 h 715374"/>
              <a:gd name="connsiteX123" fmla="*/ 724864 w 786911"/>
              <a:gd name="connsiteY123" fmla="*/ 129483 h 715374"/>
              <a:gd name="connsiteX124" fmla="*/ 720429 w 786911"/>
              <a:gd name="connsiteY124" fmla="*/ 129483 h 715374"/>
              <a:gd name="connsiteX125" fmla="*/ 720176 w 786911"/>
              <a:gd name="connsiteY125" fmla="*/ 133522 h 715374"/>
              <a:gd name="connsiteX126" fmla="*/ 720429 w 786911"/>
              <a:gd name="connsiteY126" fmla="*/ 133775 h 715374"/>
              <a:gd name="connsiteX127" fmla="*/ 724674 w 786911"/>
              <a:gd name="connsiteY127" fmla="*/ 133965 h 715374"/>
              <a:gd name="connsiteX128" fmla="*/ 724864 w 786911"/>
              <a:gd name="connsiteY128" fmla="*/ 133775 h 715374"/>
              <a:gd name="connsiteX129" fmla="*/ 724864 w 786911"/>
              <a:gd name="connsiteY129" fmla="*/ 129340 h 715374"/>
              <a:gd name="connsiteX130" fmla="*/ 757343 w 786911"/>
              <a:gd name="connsiteY130" fmla="*/ 98865 h 715374"/>
              <a:gd name="connsiteX131" fmla="*/ 753623 w 786911"/>
              <a:gd name="connsiteY131" fmla="*/ 98865 h 715374"/>
              <a:gd name="connsiteX132" fmla="*/ 753551 w 786911"/>
              <a:gd name="connsiteY132" fmla="*/ 102513 h 715374"/>
              <a:gd name="connsiteX133" fmla="*/ 757199 w 786911"/>
              <a:gd name="connsiteY133" fmla="*/ 102585 h 715374"/>
              <a:gd name="connsiteX134" fmla="*/ 757199 w 786911"/>
              <a:gd name="connsiteY134" fmla="*/ 98865 h 715374"/>
              <a:gd name="connsiteX135" fmla="*/ 451592 w 786911"/>
              <a:gd name="connsiteY135" fmla="*/ 424503 h 715374"/>
              <a:gd name="connsiteX136" fmla="*/ 440260 w 786911"/>
              <a:gd name="connsiteY136" fmla="*/ 424474 h 715374"/>
              <a:gd name="connsiteX137" fmla="*/ 440233 w 786911"/>
              <a:gd name="connsiteY137" fmla="*/ 435806 h 715374"/>
              <a:gd name="connsiteX138" fmla="*/ 451563 w 786911"/>
              <a:gd name="connsiteY138" fmla="*/ 435835 h 715374"/>
              <a:gd name="connsiteX139" fmla="*/ 451592 w 786911"/>
              <a:gd name="connsiteY139" fmla="*/ 435806 h 715374"/>
              <a:gd name="connsiteX140" fmla="*/ 451592 w 786911"/>
              <a:gd name="connsiteY140" fmla="*/ 424503 h 715374"/>
              <a:gd name="connsiteX141" fmla="*/ 484070 w 786911"/>
              <a:gd name="connsiteY141" fmla="*/ 394028 h 715374"/>
              <a:gd name="connsiteX142" fmla="*/ 473754 w 786911"/>
              <a:gd name="connsiteY142" fmla="*/ 393756 h 715374"/>
              <a:gd name="connsiteX143" fmla="*/ 473482 w 786911"/>
              <a:gd name="connsiteY143" fmla="*/ 394028 h 715374"/>
              <a:gd name="connsiteX144" fmla="*/ 473196 w 786911"/>
              <a:gd name="connsiteY144" fmla="*/ 404616 h 715374"/>
              <a:gd name="connsiteX145" fmla="*/ 483783 w 786911"/>
              <a:gd name="connsiteY145" fmla="*/ 404902 h 715374"/>
              <a:gd name="connsiteX146" fmla="*/ 483909 w 786911"/>
              <a:gd name="connsiteY146" fmla="*/ 394583 h 715374"/>
              <a:gd name="connsiteX147" fmla="*/ 483783 w 786911"/>
              <a:gd name="connsiteY147" fmla="*/ 394457 h 715374"/>
              <a:gd name="connsiteX148" fmla="*/ 516261 w 786911"/>
              <a:gd name="connsiteY148" fmla="*/ 363839 h 715374"/>
              <a:gd name="connsiteX149" fmla="*/ 506532 w 786911"/>
              <a:gd name="connsiteY149" fmla="*/ 363839 h 715374"/>
              <a:gd name="connsiteX150" fmla="*/ 506371 w 786911"/>
              <a:gd name="connsiteY150" fmla="*/ 373550 h 715374"/>
              <a:gd name="connsiteX151" fmla="*/ 506532 w 786911"/>
              <a:gd name="connsiteY151" fmla="*/ 373711 h 715374"/>
              <a:gd name="connsiteX152" fmla="*/ 516261 w 786911"/>
              <a:gd name="connsiteY152" fmla="*/ 373711 h 715374"/>
              <a:gd name="connsiteX153" fmla="*/ 516423 w 786911"/>
              <a:gd name="connsiteY153" fmla="*/ 364001 h 715374"/>
              <a:gd name="connsiteX154" fmla="*/ 516261 w 786911"/>
              <a:gd name="connsiteY154" fmla="*/ 363839 h 715374"/>
              <a:gd name="connsiteX155" fmla="*/ 548883 w 786911"/>
              <a:gd name="connsiteY155" fmla="*/ 333364 h 715374"/>
              <a:gd name="connsiteX156" fmla="*/ 539726 w 786911"/>
              <a:gd name="connsiteY156" fmla="*/ 333364 h 715374"/>
              <a:gd name="connsiteX157" fmla="*/ 539726 w 786911"/>
              <a:gd name="connsiteY157" fmla="*/ 342521 h 715374"/>
              <a:gd name="connsiteX158" fmla="*/ 548883 w 786911"/>
              <a:gd name="connsiteY158" fmla="*/ 342521 h 715374"/>
              <a:gd name="connsiteX159" fmla="*/ 548883 w 786911"/>
              <a:gd name="connsiteY159" fmla="*/ 333364 h 715374"/>
              <a:gd name="connsiteX160" fmla="*/ 581647 w 786911"/>
              <a:gd name="connsiteY160" fmla="*/ 303033 h 715374"/>
              <a:gd name="connsiteX161" fmla="*/ 573348 w 786911"/>
              <a:gd name="connsiteY161" fmla="*/ 302746 h 715374"/>
              <a:gd name="connsiteX162" fmla="*/ 573062 w 786911"/>
              <a:gd name="connsiteY162" fmla="*/ 311045 h 715374"/>
              <a:gd name="connsiteX163" fmla="*/ 581153 w 786911"/>
              <a:gd name="connsiteY163" fmla="*/ 311252 h 715374"/>
              <a:gd name="connsiteX164" fmla="*/ 581360 w 786911"/>
              <a:gd name="connsiteY164" fmla="*/ 311045 h 715374"/>
              <a:gd name="connsiteX165" fmla="*/ 581363 w 786911"/>
              <a:gd name="connsiteY165" fmla="*/ 302749 h 715374"/>
              <a:gd name="connsiteX166" fmla="*/ 581360 w 786911"/>
              <a:gd name="connsiteY166" fmla="*/ 302746 h 715374"/>
              <a:gd name="connsiteX167" fmla="*/ 613839 w 786911"/>
              <a:gd name="connsiteY167" fmla="*/ 272271 h 715374"/>
              <a:gd name="connsiteX168" fmla="*/ 606353 w 786911"/>
              <a:gd name="connsiteY168" fmla="*/ 272369 h 715374"/>
              <a:gd name="connsiteX169" fmla="*/ 606450 w 786911"/>
              <a:gd name="connsiteY169" fmla="*/ 279854 h 715374"/>
              <a:gd name="connsiteX170" fmla="*/ 613839 w 786911"/>
              <a:gd name="connsiteY170" fmla="*/ 279854 h 715374"/>
              <a:gd name="connsiteX171" fmla="*/ 613839 w 786911"/>
              <a:gd name="connsiteY171" fmla="*/ 272271 h 715374"/>
              <a:gd name="connsiteX172" fmla="*/ 646316 w 786911"/>
              <a:gd name="connsiteY172" fmla="*/ 241797 h 715374"/>
              <a:gd name="connsiteX173" fmla="*/ 639639 w 786911"/>
              <a:gd name="connsiteY173" fmla="*/ 241844 h 715374"/>
              <a:gd name="connsiteX174" fmla="*/ 639686 w 786911"/>
              <a:gd name="connsiteY174" fmla="*/ 248521 h 715374"/>
              <a:gd name="connsiteX175" fmla="*/ 646316 w 786911"/>
              <a:gd name="connsiteY175" fmla="*/ 248521 h 715374"/>
              <a:gd name="connsiteX176" fmla="*/ 646364 w 786911"/>
              <a:gd name="connsiteY176" fmla="*/ 241844 h 715374"/>
              <a:gd name="connsiteX177" fmla="*/ 646316 w 786911"/>
              <a:gd name="connsiteY177" fmla="*/ 241797 h 715374"/>
              <a:gd name="connsiteX178" fmla="*/ 679081 w 786911"/>
              <a:gd name="connsiteY178" fmla="*/ 211035 h 715374"/>
              <a:gd name="connsiteX179" fmla="*/ 673011 w 786911"/>
              <a:gd name="connsiteY179" fmla="*/ 211118 h 715374"/>
              <a:gd name="connsiteX180" fmla="*/ 673094 w 786911"/>
              <a:gd name="connsiteY180" fmla="*/ 217188 h 715374"/>
              <a:gd name="connsiteX181" fmla="*/ 679081 w 786911"/>
              <a:gd name="connsiteY181" fmla="*/ 217188 h 715374"/>
              <a:gd name="connsiteX182" fmla="*/ 679081 w 786911"/>
              <a:gd name="connsiteY182" fmla="*/ 211179 h 715374"/>
              <a:gd name="connsiteX183" fmla="*/ 711559 w 786911"/>
              <a:gd name="connsiteY183" fmla="*/ 180704 h 715374"/>
              <a:gd name="connsiteX184" fmla="*/ 706501 w 786911"/>
              <a:gd name="connsiteY184" fmla="*/ 180611 h 715374"/>
              <a:gd name="connsiteX185" fmla="*/ 706408 w 786911"/>
              <a:gd name="connsiteY185" fmla="*/ 180704 h 715374"/>
              <a:gd name="connsiteX186" fmla="*/ 706315 w 786911"/>
              <a:gd name="connsiteY186" fmla="*/ 185761 h 715374"/>
              <a:gd name="connsiteX187" fmla="*/ 706408 w 786911"/>
              <a:gd name="connsiteY187" fmla="*/ 185854 h 715374"/>
              <a:gd name="connsiteX188" fmla="*/ 711466 w 786911"/>
              <a:gd name="connsiteY188" fmla="*/ 185947 h 715374"/>
              <a:gd name="connsiteX189" fmla="*/ 711559 w 786911"/>
              <a:gd name="connsiteY189" fmla="*/ 185854 h 715374"/>
              <a:gd name="connsiteX190" fmla="*/ 711559 w 786911"/>
              <a:gd name="connsiteY190" fmla="*/ 180560 h 715374"/>
              <a:gd name="connsiteX191" fmla="*/ 744037 w 786911"/>
              <a:gd name="connsiteY191" fmla="*/ 150086 h 715374"/>
              <a:gd name="connsiteX192" fmla="*/ 739601 w 786911"/>
              <a:gd name="connsiteY192" fmla="*/ 150086 h 715374"/>
              <a:gd name="connsiteX193" fmla="*/ 739601 w 786911"/>
              <a:gd name="connsiteY193" fmla="*/ 154521 h 715374"/>
              <a:gd name="connsiteX194" fmla="*/ 744037 w 786911"/>
              <a:gd name="connsiteY194" fmla="*/ 154521 h 715374"/>
              <a:gd name="connsiteX195" fmla="*/ 744227 w 786911"/>
              <a:gd name="connsiteY195" fmla="*/ 150276 h 715374"/>
              <a:gd name="connsiteX196" fmla="*/ 744037 w 786911"/>
              <a:gd name="connsiteY196" fmla="*/ 150086 h 715374"/>
              <a:gd name="connsiteX197" fmla="*/ 776658 w 786911"/>
              <a:gd name="connsiteY197" fmla="*/ 119611 h 715374"/>
              <a:gd name="connsiteX198" fmla="*/ 773016 w 786911"/>
              <a:gd name="connsiteY198" fmla="*/ 119689 h 715374"/>
              <a:gd name="connsiteX199" fmla="*/ 773095 w 786911"/>
              <a:gd name="connsiteY199" fmla="*/ 123331 h 715374"/>
              <a:gd name="connsiteX200" fmla="*/ 776658 w 786911"/>
              <a:gd name="connsiteY200" fmla="*/ 123331 h 715374"/>
              <a:gd name="connsiteX201" fmla="*/ 776658 w 786911"/>
              <a:gd name="connsiteY201" fmla="*/ 119611 h 715374"/>
              <a:gd name="connsiteX202" fmla="*/ 354587 w 786911"/>
              <a:gd name="connsiteY202" fmla="*/ 320917 h 715374"/>
              <a:gd name="connsiteX203" fmla="*/ 343284 w 786911"/>
              <a:gd name="connsiteY203" fmla="*/ 320917 h 715374"/>
              <a:gd name="connsiteX204" fmla="*/ 343526 w 786911"/>
              <a:gd name="connsiteY204" fmla="*/ 332246 h 715374"/>
              <a:gd name="connsiteX205" fmla="*/ 354158 w 786911"/>
              <a:gd name="connsiteY205" fmla="*/ 332649 h 715374"/>
              <a:gd name="connsiteX206" fmla="*/ 354158 w 786911"/>
              <a:gd name="connsiteY206" fmla="*/ 321203 h 715374"/>
              <a:gd name="connsiteX207" fmla="*/ 386636 w 786911"/>
              <a:gd name="connsiteY207" fmla="*/ 290728 h 715374"/>
              <a:gd name="connsiteX208" fmla="*/ 376114 w 786911"/>
              <a:gd name="connsiteY208" fmla="*/ 290794 h 715374"/>
              <a:gd name="connsiteX209" fmla="*/ 376180 w 786911"/>
              <a:gd name="connsiteY209" fmla="*/ 301316 h 715374"/>
              <a:gd name="connsiteX210" fmla="*/ 386636 w 786911"/>
              <a:gd name="connsiteY210" fmla="*/ 301316 h 715374"/>
              <a:gd name="connsiteX211" fmla="*/ 386702 w 786911"/>
              <a:gd name="connsiteY211" fmla="*/ 290794 h 715374"/>
              <a:gd name="connsiteX212" fmla="*/ 386636 w 786911"/>
              <a:gd name="connsiteY212" fmla="*/ 290728 h 715374"/>
              <a:gd name="connsiteX213" fmla="*/ 419543 w 786911"/>
              <a:gd name="connsiteY213" fmla="*/ 260110 h 715374"/>
              <a:gd name="connsiteX214" fmla="*/ 409814 w 786911"/>
              <a:gd name="connsiteY214" fmla="*/ 260110 h 715374"/>
              <a:gd name="connsiteX215" fmla="*/ 409652 w 786911"/>
              <a:gd name="connsiteY215" fmla="*/ 269821 h 715374"/>
              <a:gd name="connsiteX216" fmla="*/ 409814 w 786911"/>
              <a:gd name="connsiteY216" fmla="*/ 269982 h 715374"/>
              <a:gd name="connsiteX217" fmla="*/ 419543 w 786911"/>
              <a:gd name="connsiteY217" fmla="*/ 269982 h 715374"/>
              <a:gd name="connsiteX218" fmla="*/ 419705 w 786911"/>
              <a:gd name="connsiteY218" fmla="*/ 260272 h 715374"/>
              <a:gd name="connsiteX219" fmla="*/ 419543 w 786911"/>
              <a:gd name="connsiteY219" fmla="*/ 260110 h 715374"/>
              <a:gd name="connsiteX220" fmla="*/ 452164 w 786911"/>
              <a:gd name="connsiteY220" fmla="*/ 229635 h 715374"/>
              <a:gd name="connsiteX221" fmla="*/ 443060 w 786911"/>
              <a:gd name="connsiteY221" fmla="*/ 229762 h 715374"/>
              <a:gd name="connsiteX222" fmla="*/ 442721 w 786911"/>
              <a:gd name="connsiteY222" fmla="*/ 238363 h 715374"/>
              <a:gd name="connsiteX223" fmla="*/ 451878 w 786911"/>
              <a:gd name="connsiteY223" fmla="*/ 238363 h 715374"/>
              <a:gd name="connsiteX224" fmla="*/ 451989 w 786911"/>
              <a:gd name="connsiteY224" fmla="*/ 229461 h 715374"/>
              <a:gd name="connsiteX225" fmla="*/ 451878 w 786911"/>
              <a:gd name="connsiteY225" fmla="*/ 229349 h 715374"/>
              <a:gd name="connsiteX226" fmla="*/ 484356 w 786911"/>
              <a:gd name="connsiteY226" fmla="*/ 198874 h 715374"/>
              <a:gd name="connsiteX227" fmla="*/ 476057 w 786911"/>
              <a:gd name="connsiteY227" fmla="*/ 198588 h 715374"/>
              <a:gd name="connsiteX228" fmla="*/ 475771 w 786911"/>
              <a:gd name="connsiteY228" fmla="*/ 206886 h 715374"/>
              <a:gd name="connsiteX229" fmla="*/ 484070 w 786911"/>
              <a:gd name="connsiteY229" fmla="*/ 207172 h 715374"/>
              <a:gd name="connsiteX230" fmla="*/ 484356 w 786911"/>
              <a:gd name="connsiteY230" fmla="*/ 198874 h 715374"/>
              <a:gd name="connsiteX231" fmla="*/ 516834 w 786911"/>
              <a:gd name="connsiteY231" fmla="*/ 168399 h 715374"/>
              <a:gd name="connsiteX232" fmla="*/ 509394 w 786911"/>
              <a:gd name="connsiteY232" fmla="*/ 168399 h 715374"/>
              <a:gd name="connsiteX233" fmla="*/ 509149 w 786911"/>
              <a:gd name="connsiteY233" fmla="*/ 176084 h 715374"/>
              <a:gd name="connsiteX234" fmla="*/ 516834 w 786911"/>
              <a:gd name="connsiteY234" fmla="*/ 176330 h 715374"/>
              <a:gd name="connsiteX235" fmla="*/ 517078 w 786911"/>
              <a:gd name="connsiteY235" fmla="*/ 168644 h 715374"/>
              <a:gd name="connsiteX236" fmla="*/ 516834 w 786911"/>
              <a:gd name="connsiteY236" fmla="*/ 168399 h 715374"/>
              <a:gd name="connsiteX237" fmla="*/ 550313 w 786911"/>
              <a:gd name="connsiteY237" fmla="*/ 138067 h 715374"/>
              <a:gd name="connsiteX238" fmla="*/ 543446 w 786911"/>
              <a:gd name="connsiteY238" fmla="*/ 138067 h 715374"/>
              <a:gd name="connsiteX239" fmla="*/ 543303 w 786911"/>
              <a:gd name="connsiteY239" fmla="*/ 144792 h 715374"/>
              <a:gd name="connsiteX240" fmla="*/ 550027 w 786911"/>
              <a:gd name="connsiteY240" fmla="*/ 144935 h 715374"/>
              <a:gd name="connsiteX241" fmla="*/ 550027 w 786911"/>
              <a:gd name="connsiteY241" fmla="*/ 138210 h 715374"/>
              <a:gd name="connsiteX242" fmla="*/ 582505 w 786911"/>
              <a:gd name="connsiteY242" fmla="*/ 107735 h 715374"/>
              <a:gd name="connsiteX243" fmla="*/ 576496 w 786911"/>
              <a:gd name="connsiteY243" fmla="*/ 107735 h 715374"/>
              <a:gd name="connsiteX244" fmla="*/ 576281 w 786911"/>
              <a:gd name="connsiteY244" fmla="*/ 113673 h 715374"/>
              <a:gd name="connsiteX245" fmla="*/ 582219 w 786911"/>
              <a:gd name="connsiteY245" fmla="*/ 113888 h 715374"/>
              <a:gd name="connsiteX246" fmla="*/ 582219 w 786911"/>
              <a:gd name="connsiteY246" fmla="*/ 107878 h 715374"/>
              <a:gd name="connsiteX247" fmla="*/ 614697 w 786911"/>
              <a:gd name="connsiteY247" fmla="*/ 77404 h 715374"/>
              <a:gd name="connsiteX248" fmla="*/ 609639 w 786911"/>
              <a:gd name="connsiteY248" fmla="*/ 77311 h 715374"/>
              <a:gd name="connsiteX249" fmla="*/ 609546 w 786911"/>
              <a:gd name="connsiteY249" fmla="*/ 77404 h 715374"/>
              <a:gd name="connsiteX250" fmla="*/ 609403 w 786911"/>
              <a:gd name="connsiteY250" fmla="*/ 82554 h 715374"/>
              <a:gd name="connsiteX251" fmla="*/ 614554 w 786911"/>
              <a:gd name="connsiteY251" fmla="*/ 82697 h 715374"/>
              <a:gd name="connsiteX252" fmla="*/ 614647 w 786911"/>
              <a:gd name="connsiteY252" fmla="*/ 77640 h 715374"/>
              <a:gd name="connsiteX253" fmla="*/ 614554 w 786911"/>
              <a:gd name="connsiteY253" fmla="*/ 77547 h 715374"/>
              <a:gd name="connsiteX254" fmla="*/ 647032 w 786911"/>
              <a:gd name="connsiteY254" fmla="*/ 47072 h 715374"/>
              <a:gd name="connsiteX255" fmla="*/ 642596 w 786911"/>
              <a:gd name="connsiteY255" fmla="*/ 47072 h 715374"/>
              <a:gd name="connsiteX256" fmla="*/ 642596 w 786911"/>
              <a:gd name="connsiteY256" fmla="*/ 51507 h 715374"/>
              <a:gd name="connsiteX257" fmla="*/ 647032 w 786911"/>
              <a:gd name="connsiteY257" fmla="*/ 51507 h 715374"/>
              <a:gd name="connsiteX258" fmla="*/ 647222 w 786911"/>
              <a:gd name="connsiteY258" fmla="*/ 47262 h 715374"/>
              <a:gd name="connsiteX259" fmla="*/ 647032 w 786911"/>
              <a:gd name="connsiteY259" fmla="*/ 47072 h 715374"/>
              <a:gd name="connsiteX260" fmla="*/ 679796 w 786911"/>
              <a:gd name="connsiteY260" fmla="*/ 16883 h 715374"/>
              <a:gd name="connsiteX261" fmla="*/ 676155 w 786911"/>
              <a:gd name="connsiteY261" fmla="*/ 16819 h 715374"/>
              <a:gd name="connsiteX262" fmla="*/ 676090 w 786911"/>
              <a:gd name="connsiteY262" fmla="*/ 20460 h 715374"/>
              <a:gd name="connsiteX263" fmla="*/ 679732 w 786911"/>
              <a:gd name="connsiteY263" fmla="*/ 20524 h 715374"/>
              <a:gd name="connsiteX264" fmla="*/ 679796 w 786911"/>
              <a:gd name="connsiteY264" fmla="*/ 20460 h 715374"/>
              <a:gd name="connsiteX265" fmla="*/ 679796 w 786911"/>
              <a:gd name="connsiteY265" fmla="*/ 16883 h 715374"/>
              <a:gd name="connsiteX266" fmla="*/ 373902 w 786911"/>
              <a:gd name="connsiteY266" fmla="*/ 341663 h 715374"/>
              <a:gd name="connsiteX267" fmla="*/ 362599 w 786911"/>
              <a:gd name="connsiteY267" fmla="*/ 341663 h 715374"/>
              <a:gd name="connsiteX268" fmla="*/ 362241 w 786911"/>
              <a:gd name="connsiteY268" fmla="*/ 353037 h 715374"/>
              <a:gd name="connsiteX269" fmla="*/ 373616 w 786911"/>
              <a:gd name="connsiteY269" fmla="*/ 353395 h 715374"/>
              <a:gd name="connsiteX270" fmla="*/ 373616 w 786911"/>
              <a:gd name="connsiteY270" fmla="*/ 342092 h 715374"/>
              <a:gd name="connsiteX271" fmla="*/ 407238 w 786911"/>
              <a:gd name="connsiteY271" fmla="*/ 311188 h 715374"/>
              <a:gd name="connsiteX272" fmla="*/ 396651 w 786911"/>
              <a:gd name="connsiteY272" fmla="*/ 310759 h 715374"/>
              <a:gd name="connsiteX273" fmla="*/ 396222 w 786911"/>
              <a:gd name="connsiteY273" fmla="*/ 321346 h 715374"/>
              <a:gd name="connsiteX274" fmla="*/ 406537 w 786911"/>
              <a:gd name="connsiteY274" fmla="*/ 321618 h 715374"/>
              <a:gd name="connsiteX275" fmla="*/ 406809 w 786911"/>
              <a:gd name="connsiteY275" fmla="*/ 321346 h 715374"/>
              <a:gd name="connsiteX276" fmla="*/ 406809 w 786911"/>
              <a:gd name="connsiteY276" fmla="*/ 310759 h 715374"/>
              <a:gd name="connsiteX277" fmla="*/ 439287 w 786911"/>
              <a:gd name="connsiteY277" fmla="*/ 280284 h 715374"/>
              <a:gd name="connsiteX278" fmla="*/ 429577 w 786911"/>
              <a:gd name="connsiteY278" fmla="*/ 280122 h 715374"/>
              <a:gd name="connsiteX279" fmla="*/ 429415 w 786911"/>
              <a:gd name="connsiteY279" fmla="*/ 280284 h 715374"/>
              <a:gd name="connsiteX280" fmla="*/ 429415 w 786911"/>
              <a:gd name="connsiteY280" fmla="*/ 290013 h 715374"/>
              <a:gd name="connsiteX281" fmla="*/ 439126 w 786911"/>
              <a:gd name="connsiteY281" fmla="*/ 290174 h 715374"/>
              <a:gd name="connsiteX282" fmla="*/ 439287 w 786911"/>
              <a:gd name="connsiteY282" fmla="*/ 290013 h 715374"/>
              <a:gd name="connsiteX283" fmla="*/ 439287 w 786911"/>
              <a:gd name="connsiteY283" fmla="*/ 280284 h 715374"/>
              <a:gd name="connsiteX284" fmla="*/ 471765 w 786911"/>
              <a:gd name="connsiteY284" fmla="*/ 249809 h 715374"/>
              <a:gd name="connsiteX285" fmla="*/ 462660 w 786911"/>
              <a:gd name="connsiteY285" fmla="*/ 249717 h 715374"/>
              <a:gd name="connsiteX286" fmla="*/ 462570 w 786911"/>
              <a:gd name="connsiteY286" fmla="*/ 258822 h 715374"/>
              <a:gd name="connsiteX287" fmla="*/ 471674 w 786911"/>
              <a:gd name="connsiteY287" fmla="*/ 258914 h 715374"/>
              <a:gd name="connsiteX288" fmla="*/ 471765 w 786911"/>
              <a:gd name="connsiteY288" fmla="*/ 258822 h 715374"/>
              <a:gd name="connsiteX289" fmla="*/ 471877 w 786911"/>
              <a:gd name="connsiteY289" fmla="*/ 249920 h 715374"/>
              <a:gd name="connsiteX290" fmla="*/ 471765 w 786911"/>
              <a:gd name="connsiteY290" fmla="*/ 249809 h 715374"/>
              <a:gd name="connsiteX291" fmla="*/ 504386 w 786911"/>
              <a:gd name="connsiteY291" fmla="*/ 219334 h 715374"/>
              <a:gd name="connsiteX292" fmla="*/ 496088 w 786911"/>
              <a:gd name="connsiteY292" fmla="*/ 219048 h 715374"/>
              <a:gd name="connsiteX293" fmla="*/ 495802 w 786911"/>
              <a:gd name="connsiteY293" fmla="*/ 227346 h 715374"/>
              <a:gd name="connsiteX294" fmla="*/ 504100 w 786911"/>
              <a:gd name="connsiteY294" fmla="*/ 227632 h 715374"/>
              <a:gd name="connsiteX295" fmla="*/ 504386 w 786911"/>
              <a:gd name="connsiteY295" fmla="*/ 219334 h 715374"/>
              <a:gd name="connsiteX296" fmla="*/ 536006 w 786911"/>
              <a:gd name="connsiteY296" fmla="*/ 189288 h 715374"/>
              <a:gd name="connsiteX297" fmla="*/ 528520 w 786911"/>
              <a:gd name="connsiteY297" fmla="*/ 189241 h 715374"/>
              <a:gd name="connsiteX298" fmla="*/ 528473 w 786911"/>
              <a:gd name="connsiteY298" fmla="*/ 196728 h 715374"/>
              <a:gd name="connsiteX299" fmla="*/ 535959 w 786911"/>
              <a:gd name="connsiteY299" fmla="*/ 196774 h 715374"/>
              <a:gd name="connsiteX300" fmla="*/ 536006 w 786911"/>
              <a:gd name="connsiteY300" fmla="*/ 196728 h 715374"/>
              <a:gd name="connsiteX301" fmla="*/ 536006 w 786911"/>
              <a:gd name="connsiteY301" fmla="*/ 189288 h 715374"/>
              <a:gd name="connsiteX302" fmla="*/ 568484 w 786911"/>
              <a:gd name="connsiteY302" fmla="*/ 158813 h 715374"/>
              <a:gd name="connsiteX303" fmla="*/ 561806 w 786911"/>
              <a:gd name="connsiteY303" fmla="*/ 158860 h 715374"/>
              <a:gd name="connsiteX304" fmla="*/ 561854 w 786911"/>
              <a:gd name="connsiteY304" fmla="*/ 165538 h 715374"/>
              <a:gd name="connsiteX305" fmla="*/ 568484 w 786911"/>
              <a:gd name="connsiteY305" fmla="*/ 165538 h 715374"/>
              <a:gd name="connsiteX306" fmla="*/ 568531 w 786911"/>
              <a:gd name="connsiteY306" fmla="*/ 158860 h 715374"/>
              <a:gd name="connsiteX307" fmla="*/ 568484 w 786911"/>
              <a:gd name="connsiteY307" fmla="*/ 158813 h 715374"/>
              <a:gd name="connsiteX308" fmla="*/ 600962 w 786911"/>
              <a:gd name="connsiteY308" fmla="*/ 128338 h 715374"/>
              <a:gd name="connsiteX309" fmla="*/ 595096 w 786911"/>
              <a:gd name="connsiteY309" fmla="*/ 128338 h 715374"/>
              <a:gd name="connsiteX310" fmla="*/ 595096 w 786911"/>
              <a:gd name="connsiteY310" fmla="*/ 134347 h 715374"/>
              <a:gd name="connsiteX311" fmla="*/ 600962 w 786911"/>
              <a:gd name="connsiteY311" fmla="*/ 134490 h 715374"/>
              <a:gd name="connsiteX312" fmla="*/ 601105 w 786911"/>
              <a:gd name="connsiteY312" fmla="*/ 134347 h 715374"/>
              <a:gd name="connsiteX313" fmla="*/ 601309 w 786911"/>
              <a:gd name="connsiteY313" fmla="*/ 128686 h 715374"/>
              <a:gd name="connsiteX314" fmla="*/ 601105 w 786911"/>
              <a:gd name="connsiteY314" fmla="*/ 128481 h 715374"/>
              <a:gd name="connsiteX315" fmla="*/ 633726 w 786911"/>
              <a:gd name="connsiteY315" fmla="*/ 98006 h 715374"/>
              <a:gd name="connsiteX316" fmla="*/ 628466 w 786911"/>
              <a:gd name="connsiteY316" fmla="*/ 97898 h 715374"/>
              <a:gd name="connsiteX317" fmla="*/ 628358 w 786911"/>
              <a:gd name="connsiteY317" fmla="*/ 103157 h 715374"/>
              <a:gd name="connsiteX318" fmla="*/ 633617 w 786911"/>
              <a:gd name="connsiteY318" fmla="*/ 103266 h 715374"/>
              <a:gd name="connsiteX319" fmla="*/ 633726 w 786911"/>
              <a:gd name="connsiteY319" fmla="*/ 103157 h 715374"/>
              <a:gd name="connsiteX320" fmla="*/ 633726 w 786911"/>
              <a:gd name="connsiteY320" fmla="*/ 98006 h 715374"/>
              <a:gd name="connsiteX321" fmla="*/ 666204 w 786911"/>
              <a:gd name="connsiteY321" fmla="*/ 67531 h 715374"/>
              <a:gd name="connsiteX322" fmla="*/ 661959 w 786911"/>
              <a:gd name="connsiteY322" fmla="*/ 67341 h 715374"/>
              <a:gd name="connsiteX323" fmla="*/ 661769 w 786911"/>
              <a:gd name="connsiteY323" fmla="*/ 67531 h 715374"/>
              <a:gd name="connsiteX324" fmla="*/ 661769 w 786911"/>
              <a:gd name="connsiteY324" fmla="*/ 71967 h 715374"/>
              <a:gd name="connsiteX325" fmla="*/ 666204 w 786911"/>
              <a:gd name="connsiteY325" fmla="*/ 71967 h 715374"/>
              <a:gd name="connsiteX326" fmla="*/ 666204 w 786911"/>
              <a:gd name="connsiteY326" fmla="*/ 67531 h 715374"/>
              <a:gd name="connsiteX327" fmla="*/ 699111 w 786911"/>
              <a:gd name="connsiteY327" fmla="*/ 36913 h 715374"/>
              <a:gd name="connsiteX328" fmla="*/ 695470 w 786911"/>
              <a:gd name="connsiteY328" fmla="*/ 36849 h 715374"/>
              <a:gd name="connsiteX329" fmla="*/ 695405 w 786911"/>
              <a:gd name="connsiteY329" fmla="*/ 40490 h 715374"/>
              <a:gd name="connsiteX330" fmla="*/ 699047 w 786911"/>
              <a:gd name="connsiteY330" fmla="*/ 40555 h 715374"/>
              <a:gd name="connsiteX331" fmla="*/ 699111 w 786911"/>
              <a:gd name="connsiteY331" fmla="*/ 40490 h 715374"/>
              <a:gd name="connsiteX332" fmla="*/ 699251 w 786911"/>
              <a:gd name="connsiteY332" fmla="*/ 37054 h 715374"/>
              <a:gd name="connsiteX333" fmla="*/ 699111 w 786911"/>
              <a:gd name="connsiteY333" fmla="*/ 36913 h 715374"/>
              <a:gd name="connsiteX334" fmla="*/ 392931 w 786911"/>
              <a:gd name="connsiteY334" fmla="*/ 362409 h 715374"/>
              <a:gd name="connsiteX335" fmla="*/ 381599 w 786911"/>
              <a:gd name="connsiteY335" fmla="*/ 362380 h 715374"/>
              <a:gd name="connsiteX336" fmla="*/ 381572 w 786911"/>
              <a:gd name="connsiteY336" fmla="*/ 373711 h 715374"/>
              <a:gd name="connsiteX337" fmla="*/ 392902 w 786911"/>
              <a:gd name="connsiteY337" fmla="*/ 373740 h 715374"/>
              <a:gd name="connsiteX338" fmla="*/ 392931 w 786911"/>
              <a:gd name="connsiteY338" fmla="*/ 373711 h 715374"/>
              <a:gd name="connsiteX339" fmla="*/ 392931 w 786911"/>
              <a:gd name="connsiteY339" fmla="*/ 362409 h 715374"/>
              <a:gd name="connsiteX340" fmla="*/ 425838 w 786911"/>
              <a:gd name="connsiteY340" fmla="*/ 331647 h 715374"/>
              <a:gd name="connsiteX341" fmla="*/ 415322 w 786911"/>
              <a:gd name="connsiteY341" fmla="*/ 331290 h 715374"/>
              <a:gd name="connsiteX342" fmla="*/ 414965 w 786911"/>
              <a:gd name="connsiteY342" fmla="*/ 341806 h 715374"/>
              <a:gd name="connsiteX343" fmla="*/ 425552 w 786911"/>
              <a:gd name="connsiteY343" fmla="*/ 341806 h 715374"/>
              <a:gd name="connsiteX344" fmla="*/ 425618 w 786911"/>
              <a:gd name="connsiteY344" fmla="*/ 331284 h 715374"/>
              <a:gd name="connsiteX345" fmla="*/ 425552 w 786911"/>
              <a:gd name="connsiteY345" fmla="*/ 331218 h 715374"/>
              <a:gd name="connsiteX346" fmla="*/ 458173 w 786911"/>
              <a:gd name="connsiteY346" fmla="*/ 300743 h 715374"/>
              <a:gd name="connsiteX347" fmla="*/ 448461 w 786911"/>
              <a:gd name="connsiteY347" fmla="*/ 300761 h 715374"/>
              <a:gd name="connsiteX348" fmla="*/ 448478 w 786911"/>
              <a:gd name="connsiteY348" fmla="*/ 310472 h 715374"/>
              <a:gd name="connsiteX349" fmla="*/ 458173 w 786911"/>
              <a:gd name="connsiteY349" fmla="*/ 310472 h 715374"/>
              <a:gd name="connsiteX350" fmla="*/ 458190 w 786911"/>
              <a:gd name="connsiteY350" fmla="*/ 300761 h 715374"/>
              <a:gd name="connsiteX351" fmla="*/ 458173 w 786911"/>
              <a:gd name="connsiteY351" fmla="*/ 300743 h 715374"/>
              <a:gd name="connsiteX352" fmla="*/ 490651 w 786911"/>
              <a:gd name="connsiteY352" fmla="*/ 270268 h 715374"/>
              <a:gd name="connsiteX353" fmla="*/ 481677 w 786911"/>
              <a:gd name="connsiteY353" fmla="*/ 268727 h 715374"/>
              <a:gd name="connsiteX354" fmla="*/ 480137 w 786911"/>
              <a:gd name="connsiteY354" fmla="*/ 277701 h 715374"/>
              <a:gd name="connsiteX355" fmla="*/ 481351 w 786911"/>
              <a:gd name="connsiteY355" fmla="*/ 278996 h 715374"/>
              <a:gd name="connsiteX356" fmla="*/ 490405 w 786911"/>
              <a:gd name="connsiteY356" fmla="*/ 278027 h 715374"/>
              <a:gd name="connsiteX357" fmla="*/ 490651 w 786911"/>
              <a:gd name="connsiteY357" fmla="*/ 270268 h 715374"/>
              <a:gd name="connsiteX358" fmla="*/ 523129 w 786911"/>
              <a:gd name="connsiteY358" fmla="*/ 239650 h 715374"/>
              <a:gd name="connsiteX359" fmla="*/ 514831 w 786911"/>
              <a:gd name="connsiteY359" fmla="*/ 239364 h 715374"/>
              <a:gd name="connsiteX360" fmla="*/ 514545 w 786911"/>
              <a:gd name="connsiteY360" fmla="*/ 247663 h 715374"/>
              <a:gd name="connsiteX361" fmla="*/ 522843 w 786911"/>
              <a:gd name="connsiteY361" fmla="*/ 247949 h 715374"/>
              <a:gd name="connsiteX362" fmla="*/ 523129 w 786911"/>
              <a:gd name="connsiteY362" fmla="*/ 239650 h 715374"/>
              <a:gd name="connsiteX363" fmla="*/ 555607 w 786911"/>
              <a:gd name="connsiteY363" fmla="*/ 209175 h 715374"/>
              <a:gd name="connsiteX364" fmla="*/ 548096 w 786911"/>
              <a:gd name="connsiteY364" fmla="*/ 208961 h 715374"/>
              <a:gd name="connsiteX365" fmla="*/ 547881 w 786911"/>
              <a:gd name="connsiteY365" fmla="*/ 216472 h 715374"/>
              <a:gd name="connsiteX366" fmla="*/ 555392 w 786911"/>
              <a:gd name="connsiteY366" fmla="*/ 216687 h 715374"/>
              <a:gd name="connsiteX367" fmla="*/ 555607 w 786911"/>
              <a:gd name="connsiteY367" fmla="*/ 209175 h 715374"/>
              <a:gd name="connsiteX368" fmla="*/ 588228 w 786911"/>
              <a:gd name="connsiteY368" fmla="*/ 178701 h 715374"/>
              <a:gd name="connsiteX369" fmla="*/ 581350 w 786911"/>
              <a:gd name="connsiteY369" fmla="*/ 178547 h 715374"/>
              <a:gd name="connsiteX370" fmla="*/ 581197 w 786911"/>
              <a:gd name="connsiteY370" fmla="*/ 185425 h 715374"/>
              <a:gd name="connsiteX371" fmla="*/ 588075 w 786911"/>
              <a:gd name="connsiteY371" fmla="*/ 185578 h 715374"/>
              <a:gd name="connsiteX372" fmla="*/ 588228 w 786911"/>
              <a:gd name="connsiteY372" fmla="*/ 185425 h 715374"/>
              <a:gd name="connsiteX373" fmla="*/ 588275 w 786911"/>
              <a:gd name="connsiteY373" fmla="*/ 178748 h 715374"/>
              <a:gd name="connsiteX374" fmla="*/ 588228 w 786911"/>
              <a:gd name="connsiteY374" fmla="*/ 178701 h 715374"/>
              <a:gd name="connsiteX375" fmla="*/ 620706 w 786911"/>
              <a:gd name="connsiteY375" fmla="*/ 148226 h 715374"/>
              <a:gd name="connsiteX376" fmla="*/ 614637 w 786911"/>
              <a:gd name="connsiteY376" fmla="*/ 148165 h 715374"/>
              <a:gd name="connsiteX377" fmla="*/ 614575 w 786911"/>
              <a:gd name="connsiteY377" fmla="*/ 154235 h 715374"/>
              <a:gd name="connsiteX378" fmla="*/ 620646 w 786911"/>
              <a:gd name="connsiteY378" fmla="*/ 154295 h 715374"/>
              <a:gd name="connsiteX379" fmla="*/ 620706 w 786911"/>
              <a:gd name="connsiteY379" fmla="*/ 154235 h 715374"/>
              <a:gd name="connsiteX380" fmla="*/ 620706 w 786911"/>
              <a:gd name="connsiteY380" fmla="*/ 148226 h 715374"/>
              <a:gd name="connsiteX381" fmla="*/ 653184 w 786911"/>
              <a:gd name="connsiteY381" fmla="*/ 117751 h 715374"/>
              <a:gd name="connsiteX382" fmla="*/ 648132 w 786911"/>
              <a:gd name="connsiteY382" fmla="*/ 117991 h 715374"/>
              <a:gd name="connsiteX383" fmla="*/ 648372 w 786911"/>
              <a:gd name="connsiteY383" fmla="*/ 123044 h 715374"/>
              <a:gd name="connsiteX384" fmla="*/ 653184 w 786911"/>
              <a:gd name="connsiteY384" fmla="*/ 123044 h 715374"/>
              <a:gd name="connsiteX385" fmla="*/ 653184 w 786911"/>
              <a:gd name="connsiteY385" fmla="*/ 117751 h 715374"/>
              <a:gd name="connsiteX386" fmla="*/ 686091 w 786911"/>
              <a:gd name="connsiteY386" fmla="*/ 88420 h 715374"/>
              <a:gd name="connsiteX387" fmla="*/ 681656 w 786911"/>
              <a:gd name="connsiteY387" fmla="*/ 88420 h 715374"/>
              <a:gd name="connsiteX388" fmla="*/ 681466 w 786911"/>
              <a:gd name="connsiteY388" fmla="*/ 92665 h 715374"/>
              <a:gd name="connsiteX389" fmla="*/ 681656 w 786911"/>
              <a:gd name="connsiteY389" fmla="*/ 92856 h 715374"/>
              <a:gd name="connsiteX390" fmla="*/ 686091 w 786911"/>
              <a:gd name="connsiteY390" fmla="*/ 92856 h 715374"/>
              <a:gd name="connsiteX391" fmla="*/ 686091 w 786911"/>
              <a:gd name="connsiteY391" fmla="*/ 88420 h 715374"/>
              <a:gd name="connsiteX392" fmla="*/ 718569 w 786911"/>
              <a:gd name="connsiteY392" fmla="*/ 57945 h 715374"/>
              <a:gd name="connsiteX393" fmla="*/ 714849 w 786911"/>
              <a:gd name="connsiteY393" fmla="*/ 57945 h 715374"/>
              <a:gd name="connsiteX394" fmla="*/ 714849 w 786911"/>
              <a:gd name="connsiteY394" fmla="*/ 61665 h 715374"/>
              <a:gd name="connsiteX395" fmla="*/ 718569 w 786911"/>
              <a:gd name="connsiteY395" fmla="*/ 61808 h 715374"/>
              <a:gd name="connsiteX396" fmla="*/ 718712 w 786911"/>
              <a:gd name="connsiteY396" fmla="*/ 58088 h 715374"/>
              <a:gd name="connsiteX397" fmla="*/ 367750 w 786911"/>
              <a:gd name="connsiteY397" fmla="*/ 425218 h 715374"/>
              <a:gd name="connsiteX398" fmla="*/ 379081 w 786911"/>
              <a:gd name="connsiteY398" fmla="*/ 425247 h 715374"/>
              <a:gd name="connsiteX399" fmla="*/ 379109 w 786911"/>
              <a:gd name="connsiteY399" fmla="*/ 413915 h 715374"/>
              <a:gd name="connsiteX400" fmla="*/ 367778 w 786911"/>
              <a:gd name="connsiteY400" fmla="*/ 413887 h 715374"/>
              <a:gd name="connsiteX401" fmla="*/ 367750 w 786911"/>
              <a:gd name="connsiteY401" fmla="*/ 413915 h 715374"/>
              <a:gd name="connsiteX402" fmla="*/ 367750 w 786911"/>
              <a:gd name="connsiteY402" fmla="*/ 425218 h 715374"/>
              <a:gd name="connsiteX403" fmla="*/ 335701 w 786911"/>
              <a:gd name="connsiteY403" fmla="*/ 455693 h 715374"/>
              <a:gd name="connsiteX404" fmla="*/ 346217 w 786911"/>
              <a:gd name="connsiteY404" fmla="*/ 456051 h 715374"/>
              <a:gd name="connsiteX405" fmla="*/ 346575 w 786911"/>
              <a:gd name="connsiteY405" fmla="*/ 445535 h 715374"/>
              <a:gd name="connsiteX406" fmla="*/ 335987 w 786911"/>
              <a:gd name="connsiteY406" fmla="*/ 445535 h 715374"/>
              <a:gd name="connsiteX407" fmla="*/ 335921 w 786911"/>
              <a:gd name="connsiteY407" fmla="*/ 456057 h 715374"/>
              <a:gd name="connsiteX408" fmla="*/ 335987 w 786911"/>
              <a:gd name="connsiteY408" fmla="*/ 456123 h 715374"/>
              <a:gd name="connsiteX409" fmla="*/ 302651 w 786911"/>
              <a:gd name="connsiteY409" fmla="*/ 486168 h 715374"/>
              <a:gd name="connsiteX410" fmla="*/ 312523 w 786911"/>
              <a:gd name="connsiteY410" fmla="*/ 486168 h 715374"/>
              <a:gd name="connsiteX411" fmla="*/ 312523 w 786911"/>
              <a:gd name="connsiteY411" fmla="*/ 476296 h 715374"/>
              <a:gd name="connsiteX412" fmla="*/ 302794 w 786911"/>
              <a:gd name="connsiteY412" fmla="*/ 476296 h 715374"/>
              <a:gd name="connsiteX413" fmla="*/ 302777 w 786911"/>
              <a:gd name="connsiteY413" fmla="*/ 486008 h 715374"/>
              <a:gd name="connsiteX414" fmla="*/ 302794 w 786911"/>
              <a:gd name="connsiteY414" fmla="*/ 486025 h 715374"/>
              <a:gd name="connsiteX415" fmla="*/ 270316 w 786911"/>
              <a:gd name="connsiteY415" fmla="*/ 516500 h 715374"/>
              <a:gd name="connsiteX416" fmla="*/ 279290 w 786911"/>
              <a:gd name="connsiteY416" fmla="*/ 518041 h 715374"/>
              <a:gd name="connsiteX417" fmla="*/ 280830 w 786911"/>
              <a:gd name="connsiteY417" fmla="*/ 509067 h 715374"/>
              <a:gd name="connsiteX418" fmla="*/ 279616 w 786911"/>
              <a:gd name="connsiteY418" fmla="*/ 507773 h 715374"/>
              <a:gd name="connsiteX419" fmla="*/ 270642 w 786911"/>
              <a:gd name="connsiteY419" fmla="*/ 506232 h 715374"/>
              <a:gd name="connsiteX420" fmla="*/ 269101 w 786911"/>
              <a:gd name="connsiteY420" fmla="*/ 515205 h 715374"/>
              <a:gd name="connsiteX421" fmla="*/ 270316 w 786911"/>
              <a:gd name="connsiteY421" fmla="*/ 516500 h 715374"/>
              <a:gd name="connsiteX422" fmla="*/ 237838 w 786911"/>
              <a:gd name="connsiteY422" fmla="*/ 547118 h 715374"/>
              <a:gd name="connsiteX423" fmla="*/ 246136 w 786911"/>
              <a:gd name="connsiteY423" fmla="*/ 547404 h 715374"/>
              <a:gd name="connsiteX424" fmla="*/ 246422 w 786911"/>
              <a:gd name="connsiteY424" fmla="*/ 539106 h 715374"/>
              <a:gd name="connsiteX425" fmla="*/ 238124 w 786911"/>
              <a:gd name="connsiteY425" fmla="*/ 538820 h 715374"/>
              <a:gd name="connsiteX426" fmla="*/ 237838 w 786911"/>
              <a:gd name="connsiteY426" fmla="*/ 547118 h 715374"/>
              <a:gd name="connsiteX427" fmla="*/ 205217 w 786911"/>
              <a:gd name="connsiteY427" fmla="*/ 577736 h 715374"/>
              <a:gd name="connsiteX428" fmla="*/ 212728 w 786911"/>
              <a:gd name="connsiteY428" fmla="*/ 577951 h 715374"/>
              <a:gd name="connsiteX429" fmla="*/ 212943 w 786911"/>
              <a:gd name="connsiteY429" fmla="*/ 570439 h 715374"/>
              <a:gd name="connsiteX430" fmla="*/ 205431 w 786911"/>
              <a:gd name="connsiteY430" fmla="*/ 570225 h 715374"/>
              <a:gd name="connsiteX431" fmla="*/ 205217 w 786911"/>
              <a:gd name="connsiteY431" fmla="*/ 577736 h 715374"/>
              <a:gd name="connsiteX432" fmla="*/ 172596 w 786911"/>
              <a:gd name="connsiteY432" fmla="*/ 608211 h 715374"/>
              <a:gd name="connsiteX433" fmla="*/ 179473 w 786911"/>
              <a:gd name="connsiteY433" fmla="*/ 608364 h 715374"/>
              <a:gd name="connsiteX434" fmla="*/ 179626 w 786911"/>
              <a:gd name="connsiteY434" fmla="*/ 601487 h 715374"/>
              <a:gd name="connsiteX435" fmla="*/ 172749 w 786911"/>
              <a:gd name="connsiteY435" fmla="*/ 601333 h 715374"/>
              <a:gd name="connsiteX436" fmla="*/ 172596 w 786911"/>
              <a:gd name="connsiteY436" fmla="*/ 601487 h 715374"/>
              <a:gd name="connsiteX437" fmla="*/ 172549 w 786911"/>
              <a:gd name="connsiteY437" fmla="*/ 608164 h 715374"/>
              <a:gd name="connsiteX438" fmla="*/ 172596 w 786911"/>
              <a:gd name="connsiteY438" fmla="*/ 608211 h 715374"/>
              <a:gd name="connsiteX439" fmla="*/ 140118 w 786911"/>
              <a:gd name="connsiteY439" fmla="*/ 638686 h 715374"/>
              <a:gd name="connsiteX440" fmla="*/ 146187 w 786911"/>
              <a:gd name="connsiteY440" fmla="*/ 638746 h 715374"/>
              <a:gd name="connsiteX441" fmla="*/ 146249 w 786911"/>
              <a:gd name="connsiteY441" fmla="*/ 632677 h 715374"/>
              <a:gd name="connsiteX442" fmla="*/ 140178 w 786911"/>
              <a:gd name="connsiteY442" fmla="*/ 632617 h 715374"/>
              <a:gd name="connsiteX443" fmla="*/ 140118 w 786911"/>
              <a:gd name="connsiteY443" fmla="*/ 632677 h 715374"/>
              <a:gd name="connsiteX444" fmla="*/ 140118 w 786911"/>
              <a:gd name="connsiteY444" fmla="*/ 638686 h 715374"/>
              <a:gd name="connsiteX445" fmla="*/ 107640 w 786911"/>
              <a:gd name="connsiteY445" fmla="*/ 669161 h 715374"/>
              <a:gd name="connsiteX446" fmla="*/ 112693 w 786911"/>
              <a:gd name="connsiteY446" fmla="*/ 668921 h 715374"/>
              <a:gd name="connsiteX447" fmla="*/ 112451 w 786911"/>
              <a:gd name="connsiteY447" fmla="*/ 663867 h 715374"/>
              <a:gd name="connsiteX448" fmla="*/ 107640 w 786911"/>
              <a:gd name="connsiteY448" fmla="*/ 663867 h 715374"/>
              <a:gd name="connsiteX449" fmla="*/ 107640 w 786911"/>
              <a:gd name="connsiteY449" fmla="*/ 669161 h 715374"/>
              <a:gd name="connsiteX450" fmla="*/ 387208 w 786911"/>
              <a:gd name="connsiteY450" fmla="*/ 446107 h 715374"/>
              <a:gd name="connsiteX451" fmla="*/ 398511 w 786911"/>
              <a:gd name="connsiteY451" fmla="*/ 446107 h 715374"/>
              <a:gd name="connsiteX452" fmla="*/ 398511 w 786911"/>
              <a:gd name="connsiteY452" fmla="*/ 434661 h 715374"/>
              <a:gd name="connsiteX453" fmla="*/ 387208 w 786911"/>
              <a:gd name="connsiteY453" fmla="*/ 434661 h 715374"/>
              <a:gd name="connsiteX454" fmla="*/ 387032 w 786911"/>
              <a:gd name="connsiteY454" fmla="*/ 445788 h 715374"/>
              <a:gd name="connsiteX455" fmla="*/ 387208 w 786911"/>
              <a:gd name="connsiteY455" fmla="*/ 445964 h 715374"/>
              <a:gd name="connsiteX456" fmla="*/ 354587 w 786911"/>
              <a:gd name="connsiteY456" fmla="*/ 476439 h 715374"/>
              <a:gd name="connsiteX457" fmla="*/ 365109 w 786911"/>
              <a:gd name="connsiteY457" fmla="*/ 476505 h 715374"/>
              <a:gd name="connsiteX458" fmla="*/ 365174 w 786911"/>
              <a:gd name="connsiteY458" fmla="*/ 476439 h 715374"/>
              <a:gd name="connsiteX459" fmla="*/ 365174 w 786911"/>
              <a:gd name="connsiteY459" fmla="*/ 465852 h 715374"/>
              <a:gd name="connsiteX460" fmla="*/ 354478 w 786911"/>
              <a:gd name="connsiteY460" fmla="*/ 466616 h 715374"/>
              <a:gd name="connsiteX461" fmla="*/ 354158 w 786911"/>
              <a:gd name="connsiteY461" fmla="*/ 476153 h 715374"/>
              <a:gd name="connsiteX462" fmla="*/ 321680 w 786911"/>
              <a:gd name="connsiteY462" fmla="*/ 506628 h 715374"/>
              <a:gd name="connsiteX463" fmla="*/ 331390 w 786911"/>
              <a:gd name="connsiteY463" fmla="*/ 506790 h 715374"/>
              <a:gd name="connsiteX464" fmla="*/ 331552 w 786911"/>
              <a:gd name="connsiteY464" fmla="*/ 506628 h 715374"/>
              <a:gd name="connsiteX465" fmla="*/ 330968 w 786911"/>
              <a:gd name="connsiteY465" fmla="*/ 496730 h 715374"/>
              <a:gd name="connsiteX466" fmla="*/ 321966 w 786911"/>
              <a:gd name="connsiteY466" fmla="*/ 496470 h 715374"/>
              <a:gd name="connsiteX467" fmla="*/ 321966 w 786911"/>
              <a:gd name="connsiteY467" fmla="*/ 506342 h 715374"/>
              <a:gd name="connsiteX468" fmla="*/ 289488 w 786911"/>
              <a:gd name="connsiteY468" fmla="*/ 536817 h 715374"/>
              <a:gd name="connsiteX469" fmla="*/ 298593 w 786911"/>
              <a:gd name="connsiteY469" fmla="*/ 536908 h 715374"/>
              <a:gd name="connsiteX470" fmla="*/ 298683 w 786911"/>
              <a:gd name="connsiteY470" fmla="*/ 527803 h 715374"/>
              <a:gd name="connsiteX471" fmla="*/ 289579 w 786911"/>
              <a:gd name="connsiteY471" fmla="*/ 527711 h 715374"/>
              <a:gd name="connsiteX472" fmla="*/ 289488 w 786911"/>
              <a:gd name="connsiteY472" fmla="*/ 527803 h 715374"/>
              <a:gd name="connsiteX473" fmla="*/ 289376 w 786911"/>
              <a:gd name="connsiteY473" fmla="*/ 536705 h 715374"/>
              <a:gd name="connsiteX474" fmla="*/ 289488 w 786911"/>
              <a:gd name="connsiteY474" fmla="*/ 536817 h 715374"/>
              <a:gd name="connsiteX475" fmla="*/ 257010 w 786911"/>
              <a:gd name="connsiteY475" fmla="*/ 567864 h 715374"/>
              <a:gd name="connsiteX476" fmla="*/ 265305 w 786911"/>
              <a:gd name="connsiteY476" fmla="*/ 567867 h 715374"/>
              <a:gd name="connsiteX477" fmla="*/ 265308 w 786911"/>
              <a:gd name="connsiteY477" fmla="*/ 567864 h 715374"/>
              <a:gd name="connsiteX478" fmla="*/ 265516 w 786911"/>
              <a:gd name="connsiteY478" fmla="*/ 559773 h 715374"/>
              <a:gd name="connsiteX479" fmla="*/ 265308 w 786911"/>
              <a:gd name="connsiteY479" fmla="*/ 559566 h 715374"/>
              <a:gd name="connsiteX480" fmla="*/ 257010 w 786911"/>
              <a:gd name="connsiteY480" fmla="*/ 559279 h 715374"/>
              <a:gd name="connsiteX481" fmla="*/ 256724 w 786911"/>
              <a:gd name="connsiteY481" fmla="*/ 567578 h 715374"/>
              <a:gd name="connsiteX482" fmla="*/ 224246 w 786911"/>
              <a:gd name="connsiteY482" fmla="*/ 598053 h 715374"/>
              <a:gd name="connsiteX483" fmla="*/ 231731 w 786911"/>
              <a:gd name="connsiteY483" fmla="*/ 598100 h 715374"/>
              <a:gd name="connsiteX484" fmla="*/ 231779 w 786911"/>
              <a:gd name="connsiteY484" fmla="*/ 590613 h 715374"/>
              <a:gd name="connsiteX485" fmla="*/ 224292 w 786911"/>
              <a:gd name="connsiteY485" fmla="*/ 590567 h 715374"/>
              <a:gd name="connsiteX486" fmla="*/ 224246 w 786911"/>
              <a:gd name="connsiteY486" fmla="*/ 590613 h 715374"/>
              <a:gd name="connsiteX487" fmla="*/ 224246 w 786911"/>
              <a:gd name="connsiteY487" fmla="*/ 598053 h 715374"/>
              <a:gd name="connsiteX488" fmla="*/ 192626 w 786911"/>
              <a:gd name="connsiteY488" fmla="*/ 628814 h 715374"/>
              <a:gd name="connsiteX489" fmla="*/ 199304 w 786911"/>
              <a:gd name="connsiteY489" fmla="*/ 628767 h 715374"/>
              <a:gd name="connsiteX490" fmla="*/ 199256 w 786911"/>
              <a:gd name="connsiteY490" fmla="*/ 622089 h 715374"/>
              <a:gd name="connsiteX491" fmla="*/ 192626 w 786911"/>
              <a:gd name="connsiteY491" fmla="*/ 622089 h 715374"/>
              <a:gd name="connsiteX492" fmla="*/ 192579 w 786911"/>
              <a:gd name="connsiteY492" fmla="*/ 628767 h 715374"/>
              <a:gd name="connsiteX493" fmla="*/ 192626 w 786911"/>
              <a:gd name="connsiteY493" fmla="*/ 628814 h 715374"/>
              <a:gd name="connsiteX494" fmla="*/ 159576 w 786911"/>
              <a:gd name="connsiteY494" fmla="*/ 659289 h 715374"/>
              <a:gd name="connsiteX495" fmla="*/ 165442 w 786911"/>
              <a:gd name="connsiteY495" fmla="*/ 659289 h 715374"/>
              <a:gd name="connsiteX496" fmla="*/ 165442 w 786911"/>
              <a:gd name="connsiteY496" fmla="*/ 653280 h 715374"/>
              <a:gd name="connsiteX497" fmla="*/ 159576 w 786911"/>
              <a:gd name="connsiteY497" fmla="*/ 653137 h 715374"/>
              <a:gd name="connsiteX498" fmla="*/ 159433 w 786911"/>
              <a:gd name="connsiteY498" fmla="*/ 653280 h 715374"/>
              <a:gd name="connsiteX499" fmla="*/ 159228 w 786911"/>
              <a:gd name="connsiteY499" fmla="*/ 658941 h 715374"/>
              <a:gd name="connsiteX500" fmla="*/ 159433 w 786911"/>
              <a:gd name="connsiteY500" fmla="*/ 659146 h 715374"/>
              <a:gd name="connsiteX501" fmla="*/ 126955 w 786911"/>
              <a:gd name="connsiteY501" fmla="*/ 689334 h 715374"/>
              <a:gd name="connsiteX502" fmla="*/ 132214 w 786911"/>
              <a:gd name="connsiteY502" fmla="*/ 689443 h 715374"/>
              <a:gd name="connsiteX503" fmla="*/ 132323 w 786911"/>
              <a:gd name="connsiteY503" fmla="*/ 684184 h 715374"/>
              <a:gd name="connsiteX504" fmla="*/ 127064 w 786911"/>
              <a:gd name="connsiteY504" fmla="*/ 684075 h 715374"/>
              <a:gd name="connsiteX505" fmla="*/ 126955 w 786911"/>
              <a:gd name="connsiteY505" fmla="*/ 684184 h 715374"/>
              <a:gd name="connsiteX506" fmla="*/ 126955 w 786911"/>
              <a:gd name="connsiteY506" fmla="*/ 689334 h 715374"/>
              <a:gd name="connsiteX507" fmla="*/ 407238 w 786911"/>
              <a:gd name="connsiteY507" fmla="*/ 466710 h 715374"/>
              <a:gd name="connsiteX508" fmla="*/ 418541 w 786911"/>
              <a:gd name="connsiteY508" fmla="*/ 466710 h 715374"/>
              <a:gd name="connsiteX509" fmla="*/ 418300 w 786911"/>
              <a:gd name="connsiteY509" fmla="*/ 455381 h 715374"/>
              <a:gd name="connsiteX510" fmla="*/ 407668 w 786911"/>
              <a:gd name="connsiteY510" fmla="*/ 454978 h 715374"/>
              <a:gd name="connsiteX511" fmla="*/ 407668 w 786911"/>
              <a:gd name="connsiteY511" fmla="*/ 466424 h 715374"/>
              <a:gd name="connsiteX512" fmla="*/ 375190 w 786911"/>
              <a:gd name="connsiteY512" fmla="*/ 496899 h 715374"/>
              <a:gd name="connsiteX513" fmla="*/ 385711 w 786911"/>
              <a:gd name="connsiteY513" fmla="*/ 496833 h 715374"/>
              <a:gd name="connsiteX514" fmla="*/ 385646 w 786911"/>
              <a:gd name="connsiteY514" fmla="*/ 486311 h 715374"/>
              <a:gd name="connsiteX515" fmla="*/ 375190 w 786911"/>
              <a:gd name="connsiteY515" fmla="*/ 486311 h 715374"/>
              <a:gd name="connsiteX516" fmla="*/ 375124 w 786911"/>
              <a:gd name="connsiteY516" fmla="*/ 496833 h 715374"/>
              <a:gd name="connsiteX517" fmla="*/ 375190 w 786911"/>
              <a:gd name="connsiteY517" fmla="*/ 496899 h 715374"/>
              <a:gd name="connsiteX518" fmla="*/ 341567 w 786911"/>
              <a:gd name="connsiteY518" fmla="*/ 527660 h 715374"/>
              <a:gd name="connsiteX519" fmla="*/ 351296 w 786911"/>
              <a:gd name="connsiteY519" fmla="*/ 527660 h 715374"/>
              <a:gd name="connsiteX520" fmla="*/ 351458 w 786911"/>
              <a:gd name="connsiteY520" fmla="*/ 517949 h 715374"/>
              <a:gd name="connsiteX521" fmla="*/ 351296 w 786911"/>
              <a:gd name="connsiteY521" fmla="*/ 517788 h 715374"/>
              <a:gd name="connsiteX522" fmla="*/ 341567 w 786911"/>
              <a:gd name="connsiteY522" fmla="*/ 517788 h 715374"/>
              <a:gd name="connsiteX523" fmla="*/ 341405 w 786911"/>
              <a:gd name="connsiteY523" fmla="*/ 527498 h 715374"/>
              <a:gd name="connsiteX524" fmla="*/ 341567 w 786911"/>
              <a:gd name="connsiteY524" fmla="*/ 527660 h 715374"/>
              <a:gd name="connsiteX525" fmla="*/ 308946 w 786911"/>
              <a:gd name="connsiteY525" fmla="*/ 558135 h 715374"/>
              <a:gd name="connsiteX526" fmla="*/ 317848 w 786911"/>
              <a:gd name="connsiteY526" fmla="*/ 558246 h 715374"/>
              <a:gd name="connsiteX527" fmla="*/ 317960 w 786911"/>
              <a:gd name="connsiteY527" fmla="*/ 558135 h 715374"/>
              <a:gd name="connsiteX528" fmla="*/ 319501 w 786911"/>
              <a:gd name="connsiteY528" fmla="*/ 549161 h 715374"/>
              <a:gd name="connsiteX529" fmla="*/ 310527 w 786911"/>
              <a:gd name="connsiteY529" fmla="*/ 547620 h 715374"/>
              <a:gd name="connsiteX530" fmla="*/ 309232 w 786911"/>
              <a:gd name="connsiteY530" fmla="*/ 548835 h 715374"/>
              <a:gd name="connsiteX531" fmla="*/ 309121 w 786911"/>
              <a:gd name="connsiteY531" fmla="*/ 557737 h 715374"/>
              <a:gd name="connsiteX532" fmla="*/ 309232 w 786911"/>
              <a:gd name="connsiteY532" fmla="*/ 557849 h 715374"/>
              <a:gd name="connsiteX533" fmla="*/ 276468 w 786911"/>
              <a:gd name="connsiteY533" fmla="*/ 589182 h 715374"/>
              <a:gd name="connsiteX534" fmla="*/ 284766 w 786911"/>
              <a:gd name="connsiteY534" fmla="*/ 589468 h 715374"/>
              <a:gd name="connsiteX535" fmla="*/ 285053 w 786911"/>
              <a:gd name="connsiteY535" fmla="*/ 581170 h 715374"/>
              <a:gd name="connsiteX536" fmla="*/ 276754 w 786911"/>
              <a:gd name="connsiteY536" fmla="*/ 580884 h 715374"/>
              <a:gd name="connsiteX537" fmla="*/ 276468 w 786911"/>
              <a:gd name="connsiteY537" fmla="*/ 589182 h 715374"/>
              <a:gd name="connsiteX538" fmla="*/ 243990 w 786911"/>
              <a:gd name="connsiteY538" fmla="*/ 619657 h 715374"/>
              <a:gd name="connsiteX539" fmla="*/ 251430 w 786911"/>
              <a:gd name="connsiteY539" fmla="*/ 619657 h 715374"/>
              <a:gd name="connsiteX540" fmla="*/ 251675 w 786911"/>
              <a:gd name="connsiteY540" fmla="*/ 611973 h 715374"/>
              <a:gd name="connsiteX541" fmla="*/ 243990 w 786911"/>
              <a:gd name="connsiteY541" fmla="*/ 611726 h 715374"/>
              <a:gd name="connsiteX542" fmla="*/ 243745 w 786911"/>
              <a:gd name="connsiteY542" fmla="*/ 619412 h 715374"/>
              <a:gd name="connsiteX543" fmla="*/ 243990 w 786911"/>
              <a:gd name="connsiteY543" fmla="*/ 619657 h 715374"/>
              <a:gd name="connsiteX544" fmla="*/ 211369 w 786911"/>
              <a:gd name="connsiteY544" fmla="*/ 650132 h 715374"/>
              <a:gd name="connsiteX545" fmla="*/ 218237 w 786911"/>
              <a:gd name="connsiteY545" fmla="*/ 650132 h 715374"/>
              <a:gd name="connsiteX546" fmla="*/ 218380 w 786911"/>
              <a:gd name="connsiteY546" fmla="*/ 643407 h 715374"/>
              <a:gd name="connsiteX547" fmla="*/ 211655 w 786911"/>
              <a:gd name="connsiteY547" fmla="*/ 643264 h 715374"/>
              <a:gd name="connsiteX548" fmla="*/ 211655 w 786911"/>
              <a:gd name="connsiteY548" fmla="*/ 649989 h 715374"/>
              <a:gd name="connsiteX549" fmla="*/ 178319 w 786911"/>
              <a:gd name="connsiteY549" fmla="*/ 680035 h 715374"/>
              <a:gd name="connsiteX550" fmla="*/ 184328 w 786911"/>
              <a:gd name="connsiteY550" fmla="*/ 680035 h 715374"/>
              <a:gd name="connsiteX551" fmla="*/ 184328 w 786911"/>
              <a:gd name="connsiteY551" fmla="*/ 674169 h 715374"/>
              <a:gd name="connsiteX552" fmla="*/ 178319 w 786911"/>
              <a:gd name="connsiteY552" fmla="*/ 674169 h 715374"/>
              <a:gd name="connsiteX553" fmla="*/ 178319 w 786911"/>
              <a:gd name="connsiteY553" fmla="*/ 680178 h 715374"/>
              <a:gd name="connsiteX554" fmla="*/ 145841 w 786911"/>
              <a:gd name="connsiteY554" fmla="*/ 710653 h 715374"/>
              <a:gd name="connsiteX555" fmla="*/ 150898 w 786911"/>
              <a:gd name="connsiteY555" fmla="*/ 710746 h 715374"/>
              <a:gd name="connsiteX556" fmla="*/ 150991 w 786911"/>
              <a:gd name="connsiteY556" fmla="*/ 710653 h 715374"/>
              <a:gd name="connsiteX557" fmla="*/ 151135 w 786911"/>
              <a:gd name="connsiteY557" fmla="*/ 705502 h 715374"/>
              <a:gd name="connsiteX558" fmla="*/ 145984 w 786911"/>
              <a:gd name="connsiteY558" fmla="*/ 705359 h 715374"/>
              <a:gd name="connsiteX559" fmla="*/ 145891 w 786911"/>
              <a:gd name="connsiteY559" fmla="*/ 710417 h 715374"/>
              <a:gd name="connsiteX560" fmla="*/ 145984 w 786911"/>
              <a:gd name="connsiteY560" fmla="*/ 710510 h 715374"/>
              <a:gd name="connsiteX561" fmla="*/ 309518 w 786911"/>
              <a:gd name="connsiteY561" fmla="*/ 363124 h 715374"/>
              <a:gd name="connsiteX562" fmla="*/ 320850 w 786911"/>
              <a:gd name="connsiteY562" fmla="*/ 363153 h 715374"/>
              <a:gd name="connsiteX563" fmla="*/ 320877 w 786911"/>
              <a:gd name="connsiteY563" fmla="*/ 351821 h 715374"/>
              <a:gd name="connsiteX564" fmla="*/ 309547 w 786911"/>
              <a:gd name="connsiteY564" fmla="*/ 351792 h 715374"/>
              <a:gd name="connsiteX565" fmla="*/ 309518 w 786911"/>
              <a:gd name="connsiteY565" fmla="*/ 351821 h 715374"/>
              <a:gd name="connsiteX566" fmla="*/ 309518 w 786911"/>
              <a:gd name="connsiteY566" fmla="*/ 363124 h 715374"/>
              <a:gd name="connsiteX567" fmla="*/ 277040 w 786911"/>
              <a:gd name="connsiteY567" fmla="*/ 393599 h 715374"/>
              <a:gd name="connsiteX568" fmla="*/ 287356 w 786911"/>
              <a:gd name="connsiteY568" fmla="*/ 393871 h 715374"/>
              <a:gd name="connsiteX569" fmla="*/ 287628 w 786911"/>
              <a:gd name="connsiteY569" fmla="*/ 393599 h 715374"/>
              <a:gd name="connsiteX570" fmla="*/ 287914 w 786911"/>
              <a:gd name="connsiteY570" fmla="*/ 383011 h 715374"/>
              <a:gd name="connsiteX571" fmla="*/ 277327 w 786911"/>
              <a:gd name="connsiteY571" fmla="*/ 382725 h 715374"/>
              <a:gd name="connsiteX572" fmla="*/ 277201 w 786911"/>
              <a:gd name="connsiteY572" fmla="*/ 393044 h 715374"/>
              <a:gd name="connsiteX573" fmla="*/ 277327 w 786911"/>
              <a:gd name="connsiteY573" fmla="*/ 393170 h 715374"/>
              <a:gd name="connsiteX574" fmla="*/ 244849 w 786911"/>
              <a:gd name="connsiteY574" fmla="*/ 423788 h 715374"/>
              <a:gd name="connsiteX575" fmla="*/ 254578 w 786911"/>
              <a:gd name="connsiteY575" fmla="*/ 423788 h 715374"/>
              <a:gd name="connsiteX576" fmla="*/ 254739 w 786911"/>
              <a:gd name="connsiteY576" fmla="*/ 414077 h 715374"/>
              <a:gd name="connsiteX577" fmla="*/ 254578 w 786911"/>
              <a:gd name="connsiteY577" fmla="*/ 413915 h 715374"/>
              <a:gd name="connsiteX578" fmla="*/ 244849 w 786911"/>
              <a:gd name="connsiteY578" fmla="*/ 413915 h 715374"/>
              <a:gd name="connsiteX579" fmla="*/ 244687 w 786911"/>
              <a:gd name="connsiteY579" fmla="*/ 423626 h 715374"/>
              <a:gd name="connsiteX580" fmla="*/ 244849 w 786911"/>
              <a:gd name="connsiteY580" fmla="*/ 423788 h 715374"/>
              <a:gd name="connsiteX581" fmla="*/ 211941 w 786911"/>
              <a:gd name="connsiteY581" fmla="*/ 454692 h 715374"/>
              <a:gd name="connsiteX582" fmla="*/ 220816 w 786911"/>
              <a:gd name="connsiteY582" fmla="*/ 456726 h 715374"/>
              <a:gd name="connsiteX583" fmla="*/ 222851 w 786911"/>
              <a:gd name="connsiteY583" fmla="*/ 447851 h 715374"/>
              <a:gd name="connsiteX584" fmla="*/ 221241 w 786911"/>
              <a:gd name="connsiteY584" fmla="*/ 446107 h 715374"/>
              <a:gd name="connsiteX585" fmla="*/ 212084 w 786911"/>
              <a:gd name="connsiteY585" fmla="*/ 445821 h 715374"/>
              <a:gd name="connsiteX586" fmla="*/ 211798 w 786911"/>
              <a:gd name="connsiteY586" fmla="*/ 454978 h 715374"/>
              <a:gd name="connsiteX587" fmla="*/ 179320 w 786911"/>
              <a:gd name="connsiteY587" fmla="*/ 485453 h 715374"/>
              <a:gd name="connsiteX588" fmla="*/ 187619 w 786911"/>
              <a:gd name="connsiteY588" fmla="*/ 485739 h 715374"/>
              <a:gd name="connsiteX589" fmla="*/ 187905 w 786911"/>
              <a:gd name="connsiteY589" fmla="*/ 477441 h 715374"/>
              <a:gd name="connsiteX590" fmla="*/ 179814 w 786911"/>
              <a:gd name="connsiteY590" fmla="*/ 477233 h 715374"/>
              <a:gd name="connsiteX591" fmla="*/ 179606 w 786911"/>
              <a:gd name="connsiteY591" fmla="*/ 477441 h 715374"/>
              <a:gd name="connsiteX592" fmla="*/ 179604 w 786911"/>
              <a:gd name="connsiteY592" fmla="*/ 485736 h 715374"/>
              <a:gd name="connsiteX593" fmla="*/ 179606 w 786911"/>
              <a:gd name="connsiteY593" fmla="*/ 485739 h 715374"/>
              <a:gd name="connsiteX594" fmla="*/ 147128 w 786911"/>
              <a:gd name="connsiteY594" fmla="*/ 516214 h 715374"/>
              <a:gd name="connsiteX595" fmla="*/ 154640 w 786911"/>
              <a:gd name="connsiteY595" fmla="*/ 516429 h 715374"/>
              <a:gd name="connsiteX596" fmla="*/ 154855 w 786911"/>
              <a:gd name="connsiteY596" fmla="*/ 508917 h 715374"/>
              <a:gd name="connsiteX597" fmla="*/ 147272 w 786911"/>
              <a:gd name="connsiteY597" fmla="*/ 508917 h 715374"/>
              <a:gd name="connsiteX598" fmla="*/ 147272 w 786911"/>
              <a:gd name="connsiteY598" fmla="*/ 516500 h 715374"/>
              <a:gd name="connsiteX599" fmla="*/ 114507 w 786911"/>
              <a:gd name="connsiteY599" fmla="*/ 546260 h 715374"/>
              <a:gd name="connsiteX600" fmla="*/ 121185 w 786911"/>
              <a:gd name="connsiteY600" fmla="*/ 546212 h 715374"/>
              <a:gd name="connsiteX601" fmla="*/ 121137 w 786911"/>
              <a:gd name="connsiteY601" fmla="*/ 539535 h 715374"/>
              <a:gd name="connsiteX602" fmla="*/ 114507 w 786911"/>
              <a:gd name="connsiteY602" fmla="*/ 539535 h 715374"/>
              <a:gd name="connsiteX603" fmla="*/ 114460 w 786911"/>
              <a:gd name="connsiteY603" fmla="*/ 546212 h 715374"/>
              <a:gd name="connsiteX604" fmla="*/ 114507 w 786911"/>
              <a:gd name="connsiteY604" fmla="*/ 546260 h 715374"/>
              <a:gd name="connsiteX605" fmla="*/ 81886 w 786911"/>
              <a:gd name="connsiteY605" fmla="*/ 576735 h 715374"/>
              <a:gd name="connsiteX606" fmla="*/ 87956 w 786911"/>
              <a:gd name="connsiteY606" fmla="*/ 576795 h 715374"/>
              <a:gd name="connsiteX607" fmla="*/ 88017 w 786911"/>
              <a:gd name="connsiteY607" fmla="*/ 570725 h 715374"/>
              <a:gd name="connsiteX608" fmla="*/ 81946 w 786911"/>
              <a:gd name="connsiteY608" fmla="*/ 570665 h 715374"/>
              <a:gd name="connsiteX609" fmla="*/ 81886 w 786911"/>
              <a:gd name="connsiteY609" fmla="*/ 570725 h 715374"/>
              <a:gd name="connsiteX610" fmla="*/ 81886 w 786911"/>
              <a:gd name="connsiteY610" fmla="*/ 576735 h 715374"/>
              <a:gd name="connsiteX611" fmla="*/ 49551 w 786911"/>
              <a:gd name="connsiteY611" fmla="*/ 607066 h 715374"/>
              <a:gd name="connsiteX612" fmla="*/ 54609 w 786911"/>
              <a:gd name="connsiteY612" fmla="*/ 607159 h 715374"/>
              <a:gd name="connsiteX613" fmla="*/ 54702 w 786911"/>
              <a:gd name="connsiteY613" fmla="*/ 607066 h 715374"/>
              <a:gd name="connsiteX614" fmla="*/ 54795 w 786911"/>
              <a:gd name="connsiteY614" fmla="*/ 602009 h 715374"/>
              <a:gd name="connsiteX615" fmla="*/ 54702 w 786911"/>
              <a:gd name="connsiteY615" fmla="*/ 601916 h 715374"/>
              <a:gd name="connsiteX616" fmla="*/ 49644 w 786911"/>
              <a:gd name="connsiteY616" fmla="*/ 601823 h 715374"/>
              <a:gd name="connsiteX617" fmla="*/ 49551 w 786911"/>
              <a:gd name="connsiteY617" fmla="*/ 601916 h 715374"/>
              <a:gd name="connsiteX618" fmla="*/ 49551 w 786911"/>
              <a:gd name="connsiteY618" fmla="*/ 607210 h 715374"/>
              <a:gd name="connsiteX619" fmla="*/ 17073 w 786911"/>
              <a:gd name="connsiteY619" fmla="*/ 637684 h 715374"/>
              <a:gd name="connsiteX620" fmla="*/ 21509 w 786911"/>
              <a:gd name="connsiteY620" fmla="*/ 637684 h 715374"/>
              <a:gd name="connsiteX621" fmla="*/ 21509 w 786911"/>
              <a:gd name="connsiteY621" fmla="*/ 633249 h 715374"/>
              <a:gd name="connsiteX622" fmla="*/ 17073 w 786911"/>
              <a:gd name="connsiteY622" fmla="*/ 633249 h 715374"/>
              <a:gd name="connsiteX623" fmla="*/ 16883 w 786911"/>
              <a:gd name="connsiteY623" fmla="*/ 637494 h 715374"/>
              <a:gd name="connsiteX624" fmla="*/ 17073 w 786911"/>
              <a:gd name="connsiteY624" fmla="*/ 637684 h 715374"/>
              <a:gd name="connsiteX625" fmla="*/ 328977 w 786911"/>
              <a:gd name="connsiteY625" fmla="*/ 383870 h 715374"/>
              <a:gd name="connsiteX626" fmla="*/ 340279 w 786911"/>
              <a:gd name="connsiteY626" fmla="*/ 383870 h 715374"/>
              <a:gd name="connsiteX627" fmla="*/ 340279 w 786911"/>
              <a:gd name="connsiteY627" fmla="*/ 372424 h 715374"/>
              <a:gd name="connsiteX628" fmla="*/ 328833 w 786911"/>
              <a:gd name="connsiteY628" fmla="*/ 372424 h 715374"/>
              <a:gd name="connsiteX629" fmla="*/ 328833 w 786911"/>
              <a:gd name="connsiteY629" fmla="*/ 383727 h 715374"/>
              <a:gd name="connsiteX630" fmla="*/ 296212 w 786911"/>
              <a:gd name="connsiteY630" fmla="*/ 414202 h 715374"/>
              <a:gd name="connsiteX631" fmla="*/ 306734 w 786911"/>
              <a:gd name="connsiteY631" fmla="*/ 414267 h 715374"/>
              <a:gd name="connsiteX632" fmla="*/ 306800 w 786911"/>
              <a:gd name="connsiteY632" fmla="*/ 414202 h 715374"/>
              <a:gd name="connsiteX633" fmla="*/ 307158 w 786911"/>
              <a:gd name="connsiteY633" fmla="*/ 403686 h 715374"/>
              <a:gd name="connsiteX634" fmla="*/ 296642 w 786911"/>
              <a:gd name="connsiteY634" fmla="*/ 403328 h 715374"/>
              <a:gd name="connsiteX635" fmla="*/ 296642 w 786911"/>
              <a:gd name="connsiteY635" fmla="*/ 413915 h 715374"/>
              <a:gd name="connsiteX636" fmla="*/ 264164 w 786911"/>
              <a:gd name="connsiteY636" fmla="*/ 444820 h 715374"/>
              <a:gd name="connsiteX637" fmla="*/ 273874 w 786911"/>
              <a:gd name="connsiteY637" fmla="*/ 444981 h 715374"/>
              <a:gd name="connsiteX638" fmla="*/ 274036 w 786911"/>
              <a:gd name="connsiteY638" fmla="*/ 444820 h 715374"/>
              <a:gd name="connsiteX639" fmla="*/ 274036 w 786911"/>
              <a:gd name="connsiteY639" fmla="*/ 435091 h 715374"/>
              <a:gd name="connsiteX640" fmla="*/ 264325 w 786911"/>
              <a:gd name="connsiteY640" fmla="*/ 434929 h 715374"/>
              <a:gd name="connsiteX641" fmla="*/ 264164 w 786911"/>
              <a:gd name="connsiteY641" fmla="*/ 435091 h 715374"/>
              <a:gd name="connsiteX642" fmla="*/ 264164 w 786911"/>
              <a:gd name="connsiteY642" fmla="*/ 444820 h 715374"/>
              <a:gd name="connsiteX643" fmla="*/ 231400 w 786911"/>
              <a:gd name="connsiteY643" fmla="*/ 474722 h 715374"/>
              <a:gd name="connsiteX644" fmla="*/ 240505 w 786911"/>
              <a:gd name="connsiteY644" fmla="*/ 474814 h 715374"/>
              <a:gd name="connsiteX645" fmla="*/ 240595 w 786911"/>
              <a:gd name="connsiteY645" fmla="*/ 465709 h 715374"/>
              <a:gd name="connsiteX646" fmla="*/ 231491 w 786911"/>
              <a:gd name="connsiteY646" fmla="*/ 465617 h 715374"/>
              <a:gd name="connsiteX647" fmla="*/ 231400 w 786911"/>
              <a:gd name="connsiteY647" fmla="*/ 465709 h 715374"/>
              <a:gd name="connsiteX648" fmla="*/ 231288 w 786911"/>
              <a:gd name="connsiteY648" fmla="*/ 474611 h 715374"/>
              <a:gd name="connsiteX649" fmla="*/ 231400 w 786911"/>
              <a:gd name="connsiteY649" fmla="*/ 474722 h 715374"/>
              <a:gd name="connsiteX650" fmla="*/ 198922 w 786911"/>
              <a:gd name="connsiteY650" fmla="*/ 505197 h 715374"/>
              <a:gd name="connsiteX651" fmla="*/ 206808 w 786911"/>
              <a:gd name="connsiteY651" fmla="*/ 505466 h 715374"/>
              <a:gd name="connsiteX652" fmla="*/ 207077 w 786911"/>
              <a:gd name="connsiteY652" fmla="*/ 505197 h 715374"/>
              <a:gd name="connsiteX653" fmla="*/ 207284 w 786911"/>
              <a:gd name="connsiteY653" fmla="*/ 497106 h 715374"/>
              <a:gd name="connsiteX654" fmla="*/ 207077 w 786911"/>
              <a:gd name="connsiteY654" fmla="*/ 496899 h 715374"/>
              <a:gd name="connsiteX655" fmla="*/ 198922 w 786911"/>
              <a:gd name="connsiteY655" fmla="*/ 496899 h 715374"/>
              <a:gd name="connsiteX656" fmla="*/ 198714 w 786911"/>
              <a:gd name="connsiteY656" fmla="*/ 504990 h 715374"/>
              <a:gd name="connsiteX657" fmla="*/ 198922 w 786911"/>
              <a:gd name="connsiteY657" fmla="*/ 505197 h 715374"/>
              <a:gd name="connsiteX658" fmla="*/ 166300 w 786911"/>
              <a:gd name="connsiteY658" fmla="*/ 536244 h 715374"/>
              <a:gd name="connsiteX659" fmla="*/ 173883 w 786911"/>
              <a:gd name="connsiteY659" fmla="*/ 536244 h 715374"/>
              <a:gd name="connsiteX660" fmla="*/ 173883 w 786911"/>
              <a:gd name="connsiteY660" fmla="*/ 528805 h 715374"/>
              <a:gd name="connsiteX661" fmla="*/ 166300 w 786911"/>
              <a:gd name="connsiteY661" fmla="*/ 528805 h 715374"/>
              <a:gd name="connsiteX662" fmla="*/ 166300 w 786911"/>
              <a:gd name="connsiteY662" fmla="*/ 536244 h 715374"/>
              <a:gd name="connsiteX663" fmla="*/ 133822 w 786911"/>
              <a:gd name="connsiteY663" fmla="*/ 566719 h 715374"/>
              <a:gd name="connsiteX664" fmla="*/ 140500 w 786911"/>
              <a:gd name="connsiteY664" fmla="*/ 566672 h 715374"/>
              <a:gd name="connsiteX665" fmla="*/ 140453 w 786911"/>
              <a:gd name="connsiteY665" fmla="*/ 559995 h 715374"/>
              <a:gd name="connsiteX666" fmla="*/ 133822 w 786911"/>
              <a:gd name="connsiteY666" fmla="*/ 559995 h 715374"/>
              <a:gd name="connsiteX667" fmla="*/ 133775 w 786911"/>
              <a:gd name="connsiteY667" fmla="*/ 566672 h 715374"/>
              <a:gd name="connsiteX668" fmla="*/ 133822 w 786911"/>
              <a:gd name="connsiteY668" fmla="*/ 566719 h 715374"/>
              <a:gd name="connsiteX669" fmla="*/ 101345 w 786911"/>
              <a:gd name="connsiteY669" fmla="*/ 597194 h 715374"/>
              <a:gd name="connsiteX670" fmla="*/ 107354 w 786911"/>
              <a:gd name="connsiteY670" fmla="*/ 597194 h 715374"/>
              <a:gd name="connsiteX671" fmla="*/ 107354 w 786911"/>
              <a:gd name="connsiteY671" fmla="*/ 591185 h 715374"/>
              <a:gd name="connsiteX672" fmla="*/ 101345 w 786911"/>
              <a:gd name="connsiteY672" fmla="*/ 591185 h 715374"/>
              <a:gd name="connsiteX673" fmla="*/ 101345 w 786911"/>
              <a:gd name="connsiteY673" fmla="*/ 597051 h 715374"/>
              <a:gd name="connsiteX674" fmla="*/ 68867 w 786911"/>
              <a:gd name="connsiteY674" fmla="*/ 627526 h 715374"/>
              <a:gd name="connsiteX675" fmla="*/ 73924 w 786911"/>
              <a:gd name="connsiteY675" fmla="*/ 627619 h 715374"/>
              <a:gd name="connsiteX676" fmla="*/ 74017 w 786911"/>
              <a:gd name="connsiteY676" fmla="*/ 627526 h 715374"/>
              <a:gd name="connsiteX677" fmla="*/ 74017 w 786911"/>
              <a:gd name="connsiteY677" fmla="*/ 622232 h 715374"/>
              <a:gd name="connsiteX678" fmla="*/ 68960 w 786911"/>
              <a:gd name="connsiteY678" fmla="*/ 622139 h 715374"/>
              <a:gd name="connsiteX679" fmla="*/ 68867 w 786911"/>
              <a:gd name="connsiteY679" fmla="*/ 622232 h 715374"/>
              <a:gd name="connsiteX680" fmla="*/ 68774 w 786911"/>
              <a:gd name="connsiteY680" fmla="*/ 627290 h 715374"/>
              <a:gd name="connsiteX681" fmla="*/ 68867 w 786911"/>
              <a:gd name="connsiteY681" fmla="*/ 627383 h 715374"/>
              <a:gd name="connsiteX682" fmla="*/ 36245 w 786911"/>
              <a:gd name="connsiteY682" fmla="*/ 658001 h 715374"/>
              <a:gd name="connsiteX683" fmla="*/ 40681 w 786911"/>
              <a:gd name="connsiteY683" fmla="*/ 658001 h 715374"/>
              <a:gd name="connsiteX684" fmla="*/ 40724 w 786911"/>
              <a:gd name="connsiteY684" fmla="*/ 653752 h 715374"/>
              <a:gd name="connsiteX685" fmla="*/ 40681 w 786911"/>
              <a:gd name="connsiteY685" fmla="*/ 653709 h 715374"/>
              <a:gd name="connsiteX686" fmla="*/ 36436 w 786911"/>
              <a:gd name="connsiteY686" fmla="*/ 653519 h 715374"/>
              <a:gd name="connsiteX687" fmla="*/ 36245 w 786911"/>
              <a:gd name="connsiteY687" fmla="*/ 653709 h 715374"/>
              <a:gd name="connsiteX688" fmla="*/ 36245 w 786911"/>
              <a:gd name="connsiteY688" fmla="*/ 658144 h 715374"/>
              <a:gd name="connsiteX689" fmla="*/ 348292 w 786911"/>
              <a:gd name="connsiteY689" fmla="*/ 404616 h 715374"/>
              <a:gd name="connsiteX690" fmla="*/ 359738 w 786911"/>
              <a:gd name="connsiteY690" fmla="*/ 404616 h 715374"/>
              <a:gd name="connsiteX691" fmla="*/ 359738 w 786911"/>
              <a:gd name="connsiteY691" fmla="*/ 393313 h 715374"/>
              <a:gd name="connsiteX692" fmla="*/ 348435 w 786911"/>
              <a:gd name="connsiteY692" fmla="*/ 393313 h 715374"/>
              <a:gd name="connsiteX693" fmla="*/ 348435 w 786911"/>
              <a:gd name="connsiteY693" fmla="*/ 404759 h 715374"/>
              <a:gd name="connsiteX694" fmla="*/ 315957 w 786911"/>
              <a:gd name="connsiteY694" fmla="*/ 435234 h 715374"/>
              <a:gd name="connsiteX695" fmla="*/ 326478 w 786911"/>
              <a:gd name="connsiteY695" fmla="*/ 435168 h 715374"/>
              <a:gd name="connsiteX696" fmla="*/ 326413 w 786911"/>
              <a:gd name="connsiteY696" fmla="*/ 424646 h 715374"/>
              <a:gd name="connsiteX697" fmla="*/ 315957 w 786911"/>
              <a:gd name="connsiteY697" fmla="*/ 424646 h 715374"/>
              <a:gd name="connsiteX698" fmla="*/ 315891 w 786911"/>
              <a:gd name="connsiteY698" fmla="*/ 435168 h 715374"/>
              <a:gd name="connsiteX699" fmla="*/ 315957 w 786911"/>
              <a:gd name="connsiteY699" fmla="*/ 435234 h 715374"/>
              <a:gd name="connsiteX700" fmla="*/ 283479 w 786911"/>
              <a:gd name="connsiteY700" fmla="*/ 465709 h 715374"/>
              <a:gd name="connsiteX701" fmla="*/ 293377 w 786911"/>
              <a:gd name="connsiteY701" fmla="*/ 465125 h 715374"/>
              <a:gd name="connsiteX702" fmla="*/ 293637 w 786911"/>
              <a:gd name="connsiteY702" fmla="*/ 456123 h 715374"/>
              <a:gd name="connsiteX703" fmla="*/ 283765 w 786911"/>
              <a:gd name="connsiteY703" fmla="*/ 456123 h 715374"/>
              <a:gd name="connsiteX704" fmla="*/ 283603 w 786911"/>
              <a:gd name="connsiteY704" fmla="*/ 465833 h 715374"/>
              <a:gd name="connsiteX705" fmla="*/ 283765 w 786911"/>
              <a:gd name="connsiteY705" fmla="*/ 465995 h 715374"/>
              <a:gd name="connsiteX706" fmla="*/ 251287 w 786911"/>
              <a:gd name="connsiteY706" fmla="*/ 496470 h 715374"/>
              <a:gd name="connsiteX707" fmla="*/ 260392 w 786911"/>
              <a:gd name="connsiteY707" fmla="*/ 496561 h 715374"/>
              <a:gd name="connsiteX708" fmla="*/ 260482 w 786911"/>
              <a:gd name="connsiteY708" fmla="*/ 487456 h 715374"/>
              <a:gd name="connsiteX709" fmla="*/ 251378 w 786911"/>
              <a:gd name="connsiteY709" fmla="*/ 487364 h 715374"/>
              <a:gd name="connsiteX710" fmla="*/ 251287 w 786911"/>
              <a:gd name="connsiteY710" fmla="*/ 487456 h 715374"/>
              <a:gd name="connsiteX711" fmla="*/ 251175 w 786911"/>
              <a:gd name="connsiteY711" fmla="*/ 496358 h 715374"/>
              <a:gd name="connsiteX712" fmla="*/ 251287 w 786911"/>
              <a:gd name="connsiteY712" fmla="*/ 496470 h 715374"/>
              <a:gd name="connsiteX713" fmla="*/ 218666 w 786911"/>
              <a:gd name="connsiteY713" fmla="*/ 526945 h 715374"/>
              <a:gd name="connsiteX714" fmla="*/ 226964 w 786911"/>
              <a:gd name="connsiteY714" fmla="*/ 526945 h 715374"/>
              <a:gd name="connsiteX715" fmla="*/ 227250 w 786911"/>
              <a:gd name="connsiteY715" fmla="*/ 518646 h 715374"/>
              <a:gd name="connsiteX716" fmla="*/ 218952 w 786911"/>
              <a:gd name="connsiteY716" fmla="*/ 518360 h 715374"/>
              <a:gd name="connsiteX717" fmla="*/ 218952 w 786911"/>
              <a:gd name="connsiteY717" fmla="*/ 526658 h 715374"/>
              <a:gd name="connsiteX718" fmla="*/ 186474 w 786911"/>
              <a:gd name="connsiteY718" fmla="*/ 557133 h 715374"/>
              <a:gd name="connsiteX719" fmla="*/ 193914 w 786911"/>
              <a:gd name="connsiteY719" fmla="*/ 557133 h 715374"/>
              <a:gd name="connsiteX720" fmla="*/ 193914 w 786911"/>
              <a:gd name="connsiteY720" fmla="*/ 549550 h 715374"/>
              <a:gd name="connsiteX721" fmla="*/ 186474 w 786911"/>
              <a:gd name="connsiteY721" fmla="*/ 549550 h 715374"/>
              <a:gd name="connsiteX722" fmla="*/ 186474 w 786911"/>
              <a:gd name="connsiteY722" fmla="*/ 557133 h 715374"/>
              <a:gd name="connsiteX723" fmla="*/ 153996 w 786911"/>
              <a:gd name="connsiteY723" fmla="*/ 587608 h 715374"/>
              <a:gd name="connsiteX724" fmla="*/ 160673 w 786911"/>
              <a:gd name="connsiteY724" fmla="*/ 587561 h 715374"/>
              <a:gd name="connsiteX725" fmla="*/ 160626 w 786911"/>
              <a:gd name="connsiteY725" fmla="*/ 580884 h 715374"/>
              <a:gd name="connsiteX726" fmla="*/ 153996 w 786911"/>
              <a:gd name="connsiteY726" fmla="*/ 580884 h 715374"/>
              <a:gd name="connsiteX727" fmla="*/ 153949 w 786911"/>
              <a:gd name="connsiteY727" fmla="*/ 587561 h 715374"/>
              <a:gd name="connsiteX728" fmla="*/ 153996 w 786911"/>
              <a:gd name="connsiteY728" fmla="*/ 587608 h 715374"/>
              <a:gd name="connsiteX729" fmla="*/ 121089 w 786911"/>
              <a:gd name="connsiteY729" fmla="*/ 617797 h 715374"/>
              <a:gd name="connsiteX730" fmla="*/ 126955 w 786911"/>
              <a:gd name="connsiteY730" fmla="*/ 617940 h 715374"/>
              <a:gd name="connsiteX731" fmla="*/ 127098 w 786911"/>
              <a:gd name="connsiteY731" fmla="*/ 617797 h 715374"/>
              <a:gd name="connsiteX732" fmla="*/ 127303 w 786911"/>
              <a:gd name="connsiteY732" fmla="*/ 612136 h 715374"/>
              <a:gd name="connsiteX733" fmla="*/ 127098 w 786911"/>
              <a:gd name="connsiteY733" fmla="*/ 611931 h 715374"/>
              <a:gd name="connsiteX734" fmla="*/ 121232 w 786911"/>
              <a:gd name="connsiteY734" fmla="*/ 611931 h 715374"/>
              <a:gd name="connsiteX735" fmla="*/ 121089 w 786911"/>
              <a:gd name="connsiteY735" fmla="*/ 617797 h 715374"/>
              <a:gd name="connsiteX736" fmla="*/ 88182 w 786911"/>
              <a:gd name="connsiteY736" fmla="*/ 648415 h 715374"/>
              <a:gd name="connsiteX737" fmla="*/ 93428 w 786911"/>
              <a:gd name="connsiteY737" fmla="*/ 648032 h 715374"/>
              <a:gd name="connsiteX738" fmla="*/ 93619 w 786911"/>
              <a:gd name="connsiteY738" fmla="*/ 643407 h 715374"/>
              <a:gd name="connsiteX739" fmla="*/ 88325 w 786911"/>
              <a:gd name="connsiteY739" fmla="*/ 643407 h 715374"/>
              <a:gd name="connsiteX740" fmla="*/ 88232 w 786911"/>
              <a:gd name="connsiteY740" fmla="*/ 648465 h 715374"/>
              <a:gd name="connsiteX741" fmla="*/ 88325 w 786911"/>
              <a:gd name="connsiteY741" fmla="*/ 648558 h 7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Lst>
            <a:rect l="l" t="t" r="r" b="b"/>
            <a:pathLst>
              <a:path w="786911" h="715374">
                <a:moveTo>
                  <a:pt x="412818" y="383011"/>
                </a:moveTo>
                <a:cubicBezTo>
                  <a:pt x="415946" y="386186"/>
                  <a:pt x="415946" y="391282"/>
                  <a:pt x="412818" y="394457"/>
                </a:cubicBezTo>
                <a:cubicBezTo>
                  <a:pt x="409692" y="397568"/>
                  <a:pt x="404642" y="397568"/>
                  <a:pt x="401515" y="394457"/>
                </a:cubicBezTo>
                <a:cubicBezTo>
                  <a:pt x="398405" y="391331"/>
                  <a:pt x="398405" y="386281"/>
                  <a:pt x="401515" y="383154"/>
                </a:cubicBezTo>
                <a:cubicBezTo>
                  <a:pt x="404720" y="380103"/>
                  <a:pt x="409757" y="380103"/>
                  <a:pt x="412961" y="383154"/>
                </a:cubicBezTo>
                <a:moveTo>
                  <a:pt x="445439" y="352679"/>
                </a:moveTo>
                <a:cubicBezTo>
                  <a:pt x="442516" y="349792"/>
                  <a:pt x="437805" y="349822"/>
                  <a:pt x="434918" y="352745"/>
                </a:cubicBezTo>
                <a:cubicBezTo>
                  <a:pt x="432031" y="355670"/>
                  <a:pt x="432061" y="360380"/>
                  <a:pt x="434984" y="363267"/>
                </a:cubicBezTo>
                <a:cubicBezTo>
                  <a:pt x="437882" y="366128"/>
                  <a:pt x="442542" y="366128"/>
                  <a:pt x="445439" y="363267"/>
                </a:cubicBezTo>
                <a:cubicBezTo>
                  <a:pt x="448362" y="360380"/>
                  <a:pt x="448393" y="355670"/>
                  <a:pt x="445505" y="352745"/>
                </a:cubicBezTo>
                <a:cubicBezTo>
                  <a:pt x="445484" y="352724"/>
                  <a:pt x="445461" y="352701"/>
                  <a:pt x="445439" y="352679"/>
                </a:cubicBezTo>
                <a:moveTo>
                  <a:pt x="477917" y="322205"/>
                </a:moveTo>
                <a:cubicBezTo>
                  <a:pt x="475023" y="319632"/>
                  <a:pt x="470592" y="319894"/>
                  <a:pt x="468019" y="322788"/>
                </a:cubicBezTo>
                <a:cubicBezTo>
                  <a:pt x="465762" y="325329"/>
                  <a:pt x="465652" y="329124"/>
                  <a:pt x="467759" y="331791"/>
                </a:cubicBezTo>
                <a:cubicBezTo>
                  <a:pt x="470522" y="334425"/>
                  <a:pt x="474868" y="334425"/>
                  <a:pt x="477631" y="331791"/>
                </a:cubicBezTo>
                <a:cubicBezTo>
                  <a:pt x="480357" y="329154"/>
                  <a:pt x="480430" y="324806"/>
                  <a:pt x="477793" y="322080"/>
                </a:cubicBezTo>
                <a:cubicBezTo>
                  <a:pt x="477740" y="322024"/>
                  <a:pt x="477686" y="321971"/>
                  <a:pt x="477631" y="321918"/>
                </a:cubicBezTo>
                <a:moveTo>
                  <a:pt x="510252" y="291587"/>
                </a:moveTo>
                <a:cubicBezTo>
                  <a:pt x="507763" y="289047"/>
                  <a:pt x="503687" y="289007"/>
                  <a:pt x="501147" y="291495"/>
                </a:cubicBezTo>
                <a:cubicBezTo>
                  <a:pt x="498607" y="293984"/>
                  <a:pt x="498567" y="298061"/>
                  <a:pt x="501057" y="300600"/>
                </a:cubicBezTo>
                <a:cubicBezTo>
                  <a:pt x="503545" y="303140"/>
                  <a:pt x="507621" y="303180"/>
                  <a:pt x="510161" y="300692"/>
                </a:cubicBezTo>
                <a:cubicBezTo>
                  <a:pt x="510192" y="300662"/>
                  <a:pt x="510222" y="300630"/>
                  <a:pt x="510252" y="300600"/>
                </a:cubicBezTo>
                <a:cubicBezTo>
                  <a:pt x="512742" y="298172"/>
                  <a:pt x="512792" y="294188"/>
                  <a:pt x="510364" y="291698"/>
                </a:cubicBezTo>
                <a:cubicBezTo>
                  <a:pt x="510327" y="291661"/>
                  <a:pt x="510289" y="291624"/>
                  <a:pt x="510252" y="291587"/>
                </a:cubicBezTo>
                <a:moveTo>
                  <a:pt x="542873" y="261112"/>
                </a:moveTo>
                <a:cubicBezTo>
                  <a:pt x="540551" y="258895"/>
                  <a:pt x="536897" y="258895"/>
                  <a:pt x="534575" y="261112"/>
                </a:cubicBezTo>
                <a:cubicBezTo>
                  <a:pt x="532204" y="263324"/>
                  <a:pt x="532077" y="267039"/>
                  <a:pt x="534289" y="269410"/>
                </a:cubicBezTo>
                <a:cubicBezTo>
                  <a:pt x="536501" y="271781"/>
                  <a:pt x="540216" y="271908"/>
                  <a:pt x="542587" y="269696"/>
                </a:cubicBezTo>
                <a:cubicBezTo>
                  <a:pt x="544803" y="267374"/>
                  <a:pt x="544803" y="263720"/>
                  <a:pt x="542587" y="261398"/>
                </a:cubicBezTo>
                <a:moveTo>
                  <a:pt x="575065" y="230923"/>
                </a:moveTo>
                <a:cubicBezTo>
                  <a:pt x="573003" y="228887"/>
                  <a:pt x="569687" y="228887"/>
                  <a:pt x="567625" y="230923"/>
                </a:cubicBezTo>
                <a:cubicBezTo>
                  <a:pt x="565572" y="233033"/>
                  <a:pt x="565572" y="236395"/>
                  <a:pt x="567625" y="238506"/>
                </a:cubicBezTo>
                <a:cubicBezTo>
                  <a:pt x="569687" y="240542"/>
                  <a:pt x="573003" y="240542"/>
                  <a:pt x="575065" y="238506"/>
                </a:cubicBezTo>
                <a:cubicBezTo>
                  <a:pt x="577118" y="236395"/>
                  <a:pt x="577118" y="233033"/>
                  <a:pt x="575065" y="230923"/>
                </a:cubicBezTo>
                <a:moveTo>
                  <a:pt x="607543" y="200162"/>
                </a:moveTo>
                <a:cubicBezTo>
                  <a:pt x="605726" y="198266"/>
                  <a:pt x="602716" y="198202"/>
                  <a:pt x="600819" y="200019"/>
                </a:cubicBezTo>
                <a:cubicBezTo>
                  <a:pt x="598923" y="201836"/>
                  <a:pt x="598859" y="204847"/>
                  <a:pt x="600676" y="206743"/>
                </a:cubicBezTo>
                <a:cubicBezTo>
                  <a:pt x="602493" y="208640"/>
                  <a:pt x="605503" y="208703"/>
                  <a:pt x="607400" y="206886"/>
                </a:cubicBezTo>
                <a:cubicBezTo>
                  <a:pt x="609296" y="205069"/>
                  <a:pt x="609360" y="202059"/>
                  <a:pt x="607543" y="200162"/>
                </a:cubicBezTo>
                <a:moveTo>
                  <a:pt x="640164" y="169687"/>
                </a:moveTo>
                <a:cubicBezTo>
                  <a:pt x="638583" y="168027"/>
                  <a:pt x="635958" y="167963"/>
                  <a:pt x="634298" y="169544"/>
                </a:cubicBezTo>
                <a:cubicBezTo>
                  <a:pt x="634250" y="169591"/>
                  <a:pt x="634201" y="169638"/>
                  <a:pt x="634155" y="169687"/>
                </a:cubicBezTo>
                <a:cubicBezTo>
                  <a:pt x="632536" y="171193"/>
                  <a:pt x="632444" y="173729"/>
                  <a:pt x="633951" y="175348"/>
                </a:cubicBezTo>
                <a:cubicBezTo>
                  <a:pt x="634016" y="175420"/>
                  <a:pt x="634085" y="175487"/>
                  <a:pt x="634155" y="175553"/>
                </a:cubicBezTo>
                <a:cubicBezTo>
                  <a:pt x="635775" y="177172"/>
                  <a:pt x="638402" y="177172"/>
                  <a:pt x="640021" y="175553"/>
                </a:cubicBezTo>
                <a:cubicBezTo>
                  <a:pt x="641657" y="173883"/>
                  <a:pt x="641657" y="171213"/>
                  <a:pt x="640021" y="169544"/>
                </a:cubicBezTo>
                <a:moveTo>
                  <a:pt x="672499" y="139069"/>
                </a:moveTo>
                <a:cubicBezTo>
                  <a:pt x="670944" y="137725"/>
                  <a:pt x="668596" y="137897"/>
                  <a:pt x="667253" y="139452"/>
                </a:cubicBezTo>
                <a:cubicBezTo>
                  <a:pt x="666121" y="140761"/>
                  <a:pt x="666042" y="142679"/>
                  <a:pt x="667062" y="144076"/>
                </a:cubicBezTo>
                <a:cubicBezTo>
                  <a:pt x="668550" y="145476"/>
                  <a:pt x="670870" y="145476"/>
                  <a:pt x="672356" y="144076"/>
                </a:cubicBezTo>
                <a:cubicBezTo>
                  <a:pt x="673778" y="142706"/>
                  <a:pt x="673820" y="140441"/>
                  <a:pt x="672449" y="139019"/>
                </a:cubicBezTo>
                <a:cubicBezTo>
                  <a:pt x="672419" y="138987"/>
                  <a:pt x="672388" y="138956"/>
                  <a:pt x="672356" y="138926"/>
                </a:cubicBezTo>
                <a:moveTo>
                  <a:pt x="704834" y="108451"/>
                </a:moveTo>
                <a:cubicBezTo>
                  <a:pt x="703609" y="107217"/>
                  <a:pt x="701616" y="107210"/>
                  <a:pt x="700383" y="108435"/>
                </a:cubicBezTo>
                <a:cubicBezTo>
                  <a:pt x="699148" y="109660"/>
                  <a:pt x="699141" y="111653"/>
                  <a:pt x="700367" y="112886"/>
                </a:cubicBezTo>
                <a:cubicBezTo>
                  <a:pt x="701592" y="114119"/>
                  <a:pt x="703585" y="114127"/>
                  <a:pt x="704818" y="112902"/>
                </a:cubicBezTo>
                <a:cubicBezTo>
                  <a:pt x="704824" y="112898"/>
                  <a:pt x="704828" y="112892"/>
                  <a:pt x="704834" y="112886"/>
                </a:cubicBezTo>
                <a:cubicBezTo>
                  <a:pt x="706053" y="111659"/>
                  <a:pt x="706053" y="109678"/>
                  <a:pt x="704834" y="108451"/>
                </a:cubicBezTo>
                <a:moveTo>
                  <a:pt x="737312" y="77976"/>
                </a:moveTo>
                <a:cubicBezTo>
                  <a:pt x="736315" y="77013"/>
                  <a:pt x="734732" y="77013"/>
                  <a:pt x="733735" y="77976"/>
                </a:cubicBezTo>
                <a:cubicBezTo>
                  <a:pt x="732708" y="78963"/>
                  <a:pt x="732676" y="80597"/>
                  <a:pt x="733664" y="81624"/>
                </a:cubicBezTo>
                <a:cubicBezTo>
                  <a:pt x="734651" y="82652"/>
                  <a:pt x="736285" y="82683"/>
                  <a:pt x="737312" y="81696"/>
                </a:cubicBezTo>
                <a:cubicBezTo>
                  <a:pt x="738299" y="80786"/>
                  <a:pt x="738362" y="79246"/>
                  <a:pt x="737452" y="78259"/>
                </a:cubicBezTo>
                <a:cubicBezTo>
                  <a:pt x="737408" y="78210"/>
                  <a:pt x="737361" y="78163"/>
                  <a:pt x="737312" y="78119"/>
                </a:cubicBezTo>
                <a:moveTo>
                  <a:pt x="432133" y="403185"/>
                </a:moveTo>
                <a:cubicBezTo>
                  <a:pt x="429107" y="400521"/>
                  <a:pt x="424572" y="400521"/>
                  <a:pt x="421546" y="403185"/>
                </a:cubicBezTo>
                <a:cubicBezTo>
                  <a:pt x="418418" y="406360"/>
                  <a:pt x="418418" y="411456"/>
                  <a:pt x="421546" y="414631"/>
                </a:cubicBezTo>
                <a:cubicBezTo>
                  <a:pt x="424751" y="417683"/>
                  <a:pt x="429787" y="417683"/>
                  <a:pt x="432992" y="414631"/>
                </a:cubicBezTo>
                <a:cubicBezTo>
                  <a:pt x="436102" y="411505"/>
                  <a:pt x="436102" y="406454"/>
                  <a:pt x="432992" y="403328"/>
                </a:cubicBezTo>
                <a:moveTo>
                  <a:pt x="464468" y="373282"/>
                </a:moveTo>
                <a:cubicBezTo>
                  <a:pt x="461581" y="370359"/>
                  <a:pt x="456871" y="370329"/>
                  <a:pt x="453947" y="373216"/>
                </a:cubicBezTo>
                <a:cubicBezTo>
                  <a:pt x="453925" y="373238"/>
                  <a:pt x="453902" y="373259"/>
                  <a:pt x="453881" y="373282"/>
                </a:cubicBezTo>
                <a:cubicBezTo>
                  <a:pt x="450996" y="376097"/>
                  <a:pt x="450941" y="380716"/>
                  <a:pt x="453755" y="383601"/>
                </a:cubicBezTo>
                <a:cubicBezTo>
                  <a:pt x="453796" y="383644"/>
                  <a:pt x="453838" y="383685"/>
                  <a:pt x="453881" y="383727"/>
                </a:cubicBezTo>
                <a:cubicBezTo>
                  <a:pt x="456768" y="386650"/>
                  <a:pt x="461478" y="386680"/>
                  <a:pt x="464403" y="383793"/>
                </a:cubicBezTo>
                <a:cubicBezTo>
                  <a:pt x="464424" y="383771"/>
                  <a:pt x="464447" y="383750"/>
                  <a:pt x="464468" y="383727"/>
                </a:cubicBezTo>
                <a:cubicBezTo>
                  <a:pt x="467340" y="380782"/>
                  <a:pt x="467340" y="376084"/>
                  <a:pt x="464468" y="373139"/>
                </a:cubicBezTo>
                <a:moveTo>
                  <a:pt x="496946" y="342664"/>
                </a:moveTo>
                <a:cubicBezTo>
                  <a:pt x="494310" y="339939"/>
                  <a:pt x="489961" y="339866"/>
                  <a:pt x="487236" y="342503"/>
                </a:cubicBezTo>
                <a:cubicBezTo>
                  <a:pt x="487180" y="342556"/>
                  <a:pt x="487127" y="342610"/>
                  <a:pt x="487074" y="342664"/>
                </a:cubicBezTo>
                <a:cubicBezTo>
                  <a:pt x="484457" y="345380"/>
                  <a:pt x="484457" y="349678"/>
                  <a:pt x="487074" y="352393"/>
                </a:cubicBezTo>
                <a:cubicBezTo>
                  <a:pt x="489711" y="355119"/>
                  <a:pt x="494059" y="355192"/>
                  <a:pt x="496785" y="352555"/>
                </a:cubicBezTo>
                <a:cubicBezTo>
                  <a:pt x="496841" y="352502"/>
                  <a:pt x="496893" y="352448"/>
                  <a:pt x="496946" y="352393"/>
                </a:cubicBezTo>
                <a:cubicBezTo>
                  <a:pt x="499563" y="349678"/>
                  <a:pt x="499563" y="345380"/>
                  <a:pt x="496946" y="342664"/>
                </a:cubicBezTo>
                <a:moveTo>
                  <a:pt x="529424" y="312189"/>
                </a:moveTo>
                <a:cubicBezTo>
                  <a:pt x="526935" y="309650"/>
                  <a:pt x="522859" y="309610"/>
                  <a:pt x="520319" y="312098"/>
                </a:cubicBezTo>
                <a:cubicBezTo>
                  <a:pt x="517781" y="314587"/>
                  <a:pt x="517739" y="318663"/>
                  <a:pt x="520229" y="321203"/>
                </a:cubicBezTo>
                <a:cubicBezTo>
                  <a:pt x="522717" y="323743"/>
                  <a:pt x="526793" y="323783"/>
                  <a:pt x="529333" y="321295"/>
                </a:cubicBezTo>
                <a:cubicBezTo>
                  <a:pt x="529364" y="321265"/>
                  <a:pt x="529394" y="321233"/>
                  <a:pt x="529424" y="321203"/>
                </a:cubicBezTo>
                <a:cubicBezTo>
                  <a:pt x="531914" y="318775"/>
                  <a:pt x="531964" y="314790"/>
                  <a:pt x="529536" y="312301"/>
                </a:cubicBezTo>
                <a:cubicBezTo>
                  <a:pt x="529499" y="312264"/>
                  <a:pt x="529462" y="312227"/>
                  <a:pt x="529424" y="312189"/>
                </a:cubicBezTo>
                <a:moveTo>
                  <a:pt x="561902" y="281714"/>
                </a:moveTo>
                <a:cubicBezTo>
                  <a:pt x="559799" y="279462"/>
                  <a:pt x="556268" y="279342"/>
                  <a:pt x="554016" y="281445"/>
                </a:cubicBezTo>
                <a:cubicBezTo>
                  <a:pt x="553923" y="281533"/>
                  <a:pt x="553833" y="281621"/>
                  <a:pt x="553747" y="281714"/>
                </a:cubicBezTo>
                <a:cubicBezTo>
                  <a:pt x="551455" y="283892"/>
                  <a:pt x="551362" y="287513"/>
                  <a:pt x="553540" y="289805"/>
                </a:cubicBezTo>
                <a:cubicBezTo>
                  <a:pt x="553607" y="289877"/>
                  <a:pt x="553676" y="289945"/>
                  <a:pt x="553747" y="290013"/>
                </a:cubicBezTo>
                <a:cubicBezTo>
                  <a:pt x="556021" y="292212"/>
                  <a:pt x="559629" y="292212"/>
                  <a:pt x="561902" y="290013"/>
                </a:cubicBezTo>
                <a:cubicBezTo>
                  <a:pt x="564194" y="287835"/>
                  <a:pt x="564287" y="284214"/>
                  <a:pt x="562110" y="281922"/>
                </a:cubicBezTo>
                <a:cubicBezTo>
                  <a:pt x="562043" y="281850"/>
                  <a:pt x="561974" y="281782"/>
                  <a:pt x="561902" y="281714"/>
                </a:cubicBezTo>
                <a:moveTo>
                  <a:pt x="594523" y="251239"/>
                </a:moveTo>
                <a:cubicBezTo>
                  <a:pt x="592413" y="249186"/>
                  <a:pt x="589051" y="249186"/>
                  <a:pt x="586940" y="251239"/>
                </a:cubicBezTo>
                <a:cubicBezTo>
                  <a:pt x="584904" y="253301"/>
                  <a:pt x="584904" y="256618"/>
                  <a:pt x="586940" y="258679"/>
                </a:cubicBezTo>
                <a:cubicBezTo>
                  <a:pt x="589051" y="260732"/>
                  <a:pt x="592413" y="260732"/>
                  <a:pt x="594523" y="258679"/>
                </a:cubicBezTo>
                <a:cubicBezTo>
                  <a:pt x="596559" y="256618"/>
                  <a:pt x="596559" y="253301"/>
                  <a:pt x="594523" y="251239"/>
                </a:cubicBezTo>
                <a:moveTo>
                  <a:pt x="627001" y="220764"/>
                </a:moveTo>
                <a:cubicBezTo>
                  <a:pt x="625144" y="218933"/>
                  <a:pt x="622155" y="218955"/>
                  <a:pt x="620324" y="220812"/>
                </a:cubicBezTo>
                <a:cubicBezTo>
                  <a:pt x="618494" y="222669"/>
                  <a:pt x="618516" y="225658"/>
                  <a:pt x="620371" y="227489"/>
                </a:cubicBezTo>
                <a:cubicBezTo>
                  <a:pt x="622210" y="229302"/>
                  <a:pt x="625163" y="229302"/>
                  <a:pt x="627001" y="227489"/>
                </a:cubicBezTo>
                <a:cubicBezTo>
                  <a:pt x="628858" y="225658"/>
                  <a:pt x="628880" y="222669"/>
                  <a:pt x="627049" y="220812"/>
                </a:cubicBezTo>
                <a:cubicBezTo>
                  <a:pt x="627033" y="220796"/>
                  <a:pt x="627017" y="220780"/>
                  <a:pt x="627001" y="220764"/>
                </a:cubicBezTo>
                <a:moveTo>
                  <a:pt x="659479" y="190290"/>
                </a:moveTo>
                <a:cubicBezTo>
                  <a:pt x="657810" y="188654"/>
                  <a:pt x="655140" y="188654"/>
                  <a:pt x="653470" y="190290"/>
                </a:cubicBezTo>
                <a:cubicBezTo>
                  <a:pt x="651906" y="191988"/>
                  <a:pt x="651906" y="194600"/>
                  <a:pt x="653470" y="196299"/>
                </a:cubicBezTo>
                <a:cubicBezTo>
                  <a:pt x="655140" y="197934"/>
                  <a:pt x="657810" y="197934"/>
                  <a:pt x="659479" y="196299"/>
                </a:cubicBezTo>
                <a:cubicBezTo>
                  <a:pt x="661099" y="194679"/>
                  <a:pt x="661099" y="192052"/>
                  <a:pt x="659479" y="190433"/>
                </a:cubicBezTo>
                <a:moveTo>
                  <a:pt x="692243" y="159958"/>
                </a:moveTo>
                <a:cubicBezTo>
                  <a:pt x="690873" y="158536"/>
                  <a:pt x="688608" y="158494"/>
                  <a:pt x="687186" y="159865"/>
                </a:cubicBezTo>
                <a:cubicBezTo>
                  <a:pt x="687154" y="159895"/>
                  <a:pt x="687123" y="159926"/>
                  <a:pt x="687093" y="159958"/>
                </a:cubicBezTo>
                <a:cubicBezTo>
                  <a:pt x="685693" y="161446"/>
                  <a:pt x="685693" y="163763"/>
                  <a:pt x="687093" y="165251"/>
                </a:cubicBezTo>
                <a:cubicBezTo>
                  <a:pt x="688463" y="166674"/>
                  <a:pt x="690728" y="166715"/>
                  <a:pt x="692150" y="165344"/>
                </a:cubicBezTo>
                <a:cubicBezTo>
                  <a:pt x="692182" y="165314"/>
                  <a:pt x="692213" y="165283"/>
                  <a:pt x="692243" y="165251"/>
                </a:cubicBezTo>
                <a:cubicBezTo>
                  <a:pt x="693666" y="163881"/>
                  <a:pt x="693707" y="161616"/>
                  <a:pt x="692336" y="160194"/>
                </a:cubicBezTo>
                <a:cubicBezTo>
                  <a:pt x="692306" y="160162"/>
                  <a:pt x="692275" y="160131"/>
                  <a:pt x="692243" y="160101"/>
                </a:cubicBezTo>
                <a:moveTo>
                  <a:pt x="724864" y="129483"/>
                </a:moveTo>
                <a:cubicBezTo>
                  <a:pt x="723637" y="128264"/>
                  <a:pt x="721657" y="128264"/>
                  <a:pt x="720429" y="129483"/>
                </a:cubicBezTo>
                <a:cubicBezTo>
                  <a:pt x="719245" y="130529"/>
                  <a:pt x="719130" y="132336"/>
                  <a:pt x="720176" y="133522"/>
                </a:cubicBezTo>
                <a:cubicBezTo>
                  <a:pt x="720255" y="133612"/>
                  <a:pt x="720339" y="133696"/>
                  <a:pt x="720429" y="133775"/>
                </a:cubicBezTo>
                <a:cubicBezTo>
                  <a:pt x="721549" y="135000"/>
                  <a:pt x="723449" y="135086"/>
                  <a:pt x="724674" y="133965"/>
                </a:cubicBezTo>
                <a:cubicBezTo>
                  <a:pt x="724740" y="133905"/>
                  <a:pt x="724804" y="133841"/>
                  <a:pt x="724864" y="133775"/>
                </a:cubicBezTo>
                <a:cubicBezTo>
                  <a:pt x="726084" y="132547"/>
                  <a:pt x="726084" y="130567"/>
                  <a:pt x="724864" y="129340"/>
                </a:cubicBezTo>
                <a:moveTo>
                  <a:pt x="757343" y="98865"/>
                </a:moveTo>
                <a:cubicBezTo>
                  <a:pt x="756297" y="97883"/>
                  <a:pt x="754668" y="97883"/>
                  <a:pt x="753623" y="98865"/>
                </a:cubicBezTo>
                <a:cubicBezTo>
                  <a:pt x="752595" y="99852"/>
                  <a:pt x="752564" y="101486"/>
                  <a:pt x="753551" y="102513"/>
                </a:cubicBezTo>
                <a:cubicBezTo>
                  <a:pt x="754538" y="103540"/>
                  <a:pt x="756172" y="103572"/>
                  <a:pt x="757199" y="102585"/>
                </a:cubicBezTo>
                <a:cubicBezTo>
                  <a:pt x="758181" y="101539"/>
                  <a:pt x="758181" y="99911"/>
                  <a:pt x="757199" y="98865"/>
                </a:cubicBezTo>
                <a:moveTo>
                  <a:pt x="451592" y="424503"/>
                </a:moveTo>
                <a:cubicBezTo>
                  <a:pt x="448470" y="421367"/>
                  <a:pt x="443398" y="421354"/>
                  <a:pt x="440260" y="424474"/>
                </a:cubicBezTo>
                <a:cubicBezTo>
                  <a:pt x="437124" y="427596"/>
                  <a:pt x="437111" y="432670"/>
                  <a:pt x="440233" y="435806"/>
                </a:cubicBezTo>
                <a:cubicBezTo>
                  <a:pt x="443353" y="438942"/>
                  <a:pt x="448427" y="438955"/>
                  <a:pt x="451563" y="435835"/>
                </a:cubicBezTo>
                <a:cubicBezTo>
                  <a:pt x="451573" y="435825"/>
                  <a:pt x="451582" y="435816"/>
                  <a:pt x="451592" y="435806"/>
                </a:cubicBezTo>
                <a:cubicBezTo>
                  <a:pt x="454702" y="432680"/>
                  <a:pt x="454702" y="427629"/>
                  <a:pt x="451592" y="424503"/>
                </a:cubicBezTo>
                <a:moveTo>
                  <a:pt x="484070" y="394028"/>
                </a:moveTo>
                <a:cubicBezTo>
                  <a:pt x="481297" y="391105"/>
                  <a:pt x="476677" y="390982"/>
                  <a:pt x="473754" y="393756"/>
                </a:cubicBezTo>
                <a:cubicBezTo>
                  <a:pt x="473661" y="393845"/>
                  <a:pt x="473571" y="393935"/>
                  <a:pt x="473482" y="394028"/>
                </a:cubicBezTo>
                <a:cubicBezTo>
                  <a:pt x="470479" y="396872"/>
                  <a:pt x="470352" y="401612"/>
                  <a:pt x="473196" y="404616"/>
                </a:cubicBezTo>
                <a:cubicBezTo>
                  <a:pt x="476040" y="407619"/>
                  <a:pt x="480780" y="407746"/>
                  <a:pt x="483783" y="404902"/>
                </a:cubicBezTo>
                <a:cubicBezTo>
                  <a:pt x="486668" y="402088"/>
                  <a:pt x="486724" y="397468"/>
                  <a:pt x="483909" y="394583"/>
                </a:cubicBezTo>
                <a:cubicBezTo>
                  <a:pt x="483868" y="394540"/>
                  <a:pt x="483826" y="394499"/>
                  <a:pt x="483783" y="394457"/>
                </a:cubicBezTo>
                <a:moveTo>
                  <a:pt x="516261" y="363839"/>
                </a:moveTo>
                <a:cubicBezTo>
                  <a:pt x="513546" y="361222"/>
                  <a:pt x="509248" y="361222"/>
                  <a:pt x="506532" y="363839"/>
                </a:cubicBezTo>
                <a:cubicBezTo>
                  <a:pt x="503807" y="366476"/>
                  <a:pt x="503734" y="370824"/>
                  <a:pt x="506371" y="373550"/>
                </a:cubicBezTo>
                <a:cubicBezTo>
                  <a:pt x="506424" y="373604"/>
                  <a:pt x="506478" y="373658"/>
                  <a:pt x="506532" y="373711"/>
                </a:cubicBezTo>
                <a:cubicBezTo>
                  <a:pt x="509248" y="376328"/>
                  <a:pt x="513546" y="376328"/>
                  <a:pt x="516261" y="373711"/>
                </a:cubicBezTo>
                <a:cubicBezTo>
                  <a:pt x="518987" y="371075"/>
                  <a:pt x="519060" y="366727"/>
                  <a:pt x="516423" y="364001"/>
                </a:cubicBezTo>
                <a:cubicBezTo>
                  <a:pt x="516370" y="363947"/>
                  <a:pt x="516316" y="363892"/>
                  <a:pt x="516261" y="363839"/>
                </a:cubicBezTo>
                <a:moveTo>
                  <a:pt x="548883" y="333364"/>
                </a:moveTo>
                <a:cubicBezTo>
                  <a:pt x="546330" y="330893"/>
                  <a:pt x="542278" y="330893"/>
                  <a:pt x="539726" y="333364"/>
                </a:cubicBezTo>
                <a:cubicBezTo>
                  <a:pt x="537326" y="335945"/>
                  <a:pt x="537326" y="339940"/>
                  <a:pt x="539726" y="342521"/>
                </a:cubicBezTo>
                <a:cubicBezTo>
                  <a:pt x="542278" y="344992"/>
                  <a:pt x="546330" y="344992"/>
                  <a:pt x="548883" y="342521"/>
                </a:cubicBezTo>
                <a:cubicBezTo>
                  <a:pt x="551282" y="339940"/>
                  <a:pt x="551282" y="335945"/>
                  <a:pt x="548883" y="333364"/>
                </a:cubicBezTo>
                <a:moveTo>
                  <a:pt x="581647" y="303033"/>
                </a:moveTo>
                <a:cubicBezTo>
                  <a:pt x="579435" y="300662"/>
                  <a:pt x="575719" y="300534"/>
                  <a:pt x="573348" y="302746"/>
                </a:cubicBezTo>
                <a:cubicBezTo>
                  <a:pt x="570978" y="304958"/>
                  <a:pt x="570850" y="308674"/>
                  <a:pt x="573062" y="311045"/>
                </a:cubicBezTo>
                <a:cubicBezTo>
                  <a:pt x="575240" y="313337"/>
                  <a:pt x="578861" y="313430"/>
                  <a:pt x="581153" y="311252"/>
                </a:cubicBezTo>
                <a:cubicBezTo>
                  <a:pt x="581225" y="311185"/>
                  <a:pt x="581293" y="311116"/>
                  <a:pt x="581360" y="311045"/>
                </a:cubicBezTo>
                <a:cubicBezTo>
                  <a:pt x="583653" y="308754"/>
                  <a:pt x="583653" y="305040"/>
                  <a:pt x="581363" y="302749"/>
                </a:cubicBezTo>
                <a:cubicBezTo>
                  <a:pt x="581362" y="302748"/>
                  <a:pt x="581362" y="302748"/>
                  <a:pt x="581360" y="302746"/>
                </a:cubicBezTo>
                <a:moveTo>
                  <a:pt x="613839" y="272271"/>
                </a:moveTo>
                <a:cubicBezTo>
                  <a:pt x="611744" y="270231"/>
                  <a:pt x="608393" y="270274"/>
                  <a:pt x="606353" y="272369"/>
                </a:cubicBezTo>
                <a:cubicBezTo>
                  <a:pt x="604313" y="274462"/>
                  <a:pt x="604355" y="277814"/>
                  <a:pt x="606450" y="279854"/>
                </a:cubicBezTo>
                <a:cubicBezTo>
                  <a:pt x="608505" y="281857"/>
                  <a:pt x="611783" y="281857"/>
                  <a:pt x="613839" y="279854"/>
                </a:cubicBezTo>
                <a:cubicBezTo>
                  <a:pt x="615892" y="277744"/>
                  <a:pt x="615892" y="274382"/>
                  <a:pt x="613839" y="272271"/>
                </a:cubicBezTo>
                <a:moveTo>
                  <a:pt x="646316" y="241797"/>
                </a:moveTo>
                <a:cubicBezTo>
                  <a:pt x="644459" y="239965"/>
                  <a:pt x="641471" y="239987"/>
                  <a:pt x="639639" y="241844"/>
                </a:cubicBezTo>
                <a:cubicBezTo>
                  <a:pt x="637809" y="243701"/>
                  <a:pt x="637831" y="246690"/>
                  <a:pt x="639686" y="248521"/>
                </a:cubicBezTo>
                <a:cubicBezTo>
                  <a:pt x="641525" y="250334"/>
                  <a:pt x="644478" y="250334"/>
                  <a:pt x="646316" y="248521"/>
                </a:cubicBezTo>
                <a:cubicBezTo>
                  <a:pt x="648174" y="246690"/>
                  <a:pt x="648195" y="243701"/>
                  <a:pt x="646364" y="241844"/>
                </a:cubicBezTo>
                <a:cubicBezTo>
                  <a:pt x="646348" y="241828"/>
                  <a:pt x="646332" y="241812"/>
                  <a:pt x="646316" y="241797"/>
                </a:cubicBezTo>
                <a:moveTo>
                  <a:pt x="679081" y="211035"/>
                </a:moveTo>
                <a:cubicBezTo>
                  <a:pt x="677382" y="209381"/>
                  <a:pt x="674664" y="209419"/>
                  <a:pt x="673011" y="211118"/>
                </a:cubicBezTo>
                <a:cubicBezTo>
                  <a:pt x="671357" y="212817"/>
                  <a:pt x="671395" y="215534"/>
                  <a:pt x="673094" y="217188"/>
                </a:cubicBezTo>
                <a:cubicBezTo>
                  <a:pt x="674760" y="218809"/>
                  <a:pt x="677414" y="218809"/>
                  <a:pt x="679081" y="217188"/>
                </a:cubicBezTo>
                <a:cubicBezTo>
                  <a:pt x="680716" y="215518"/>
                  <a:pt x="680716" y="212848"/>
                  <a:pt x="679081" y="211179"/>
                </a:cubicBezTo>
                <a:moveTo>
                  <a:pt x="711559" y="180704"/>
                </a:moveTo>
                <a:cubicBezTo>
                  <a:pt x="710188" y="179281"/>
                  <a:pt x="707923" y="179240"/>
                  <a:pt x="706501" y="180611"/>
                </a:cubicBezTo>
                <a:cubicBezTo>
                  <a:pt x="706469" y="180641"/>
                  <a:pt x="706438" y="180672"/>
                  <a:pt x="706408" y="180704"/>
                </a:cubicBezTo>
                <a:cubicBezTo>
                  <a:pt x="704986" y="182074"/>
                  <a:pt x="704944" y="184339"/>
                  <a:pt x="706315" y="185761"/>
                </a:cubicBezTo>
                <a:cubicBezTo>
                  <a:pt x="706345" y="185793"/>
                  <a:pt x="706376" y="185824"/>
                  <a:pt x="706408" y="185854"/>
                </a:cubicBezTo>
                <a:cubicBezTo>
                  <a:pt x="707779" y="187276"/>
                  <a:pt x="710043" y="187318"/>
                  <a:pt x="711466" y="185947"/>
                </a:cubicBezTo>
                <a:cubicBezTo>
                  <a:pt x="711497" y="185917"/>
                  <a:pt x="711529" y="185886"/>
                  <a:pt x="711559" y="185854"/>
                </a:cubicBezTo>
                <a:cubicBezTo>
                  <a:pt x="712958" y="184368"/>
                  <a:pt x="712958" y="182048"/>
                  <a:pt x="711559" y="180560"/>
                </a:cubicBezTo>
                <a:moveTo>
                  <a:pt x="744037" y="150086"/>
                </a:moveTo>
                <a:cubicBezTo>
                  <a:pt x="742809" y="148867"/>
                  <a:pt x="740829" y="148867"/>
                  <a:pt x="739601" y="150086"/>
                </a:cubicBezTo>
                <a:cubicBezTo>
                  <a:pt x="738455" y="151342"/>
                  <a:pt x="738455" y="153265"/>
                  <a:pt x="739601" y="154521"/>
                </a:cubicBezTo>
                <a:cubicBezTo>
                  <a:pt x="740829" y="155740"/>
                  <a:pt x="742809" y="155740"/>
                  <a:pt x="744037" y="154521"/>
                </a:cubicBezTo>
                <a:cubicBezTo>
                  <a:pt x="745261" y="153402"/>
                  <a:pt x="745347" y="151501"/>
                  <a:pt x="744227" y="150276"/>
                </a:cubicBezTo>
                <a:cubicBezTo>
                  <a:pt x="744167" y="150210"/>
                  <a:pt x="744102" y="150146"/>
                  <a:pt x="744037" y="150086"/>
                </a:cubicBezTo>
                <a:moveTo>
                  <a:pt x="776658" y="119611"/>
                </a:moveTo>
                <a:cubicBezTo>
                  <a:pt x="775630" y="118626"/>
                  <a:pt x="774001" y="118662"/>
                  <a:pt x="773016" y="119689"/>
                </a:cubicBezTo>
                <a:cubicBezTo>
                  <a:pt x="772032" y="120717"/>
                  <a:pt x="772068" y="122346"/>
                  <a:pt x="773095" y="123331"/>
                </a:cubicBezTo>
                <a:cubicBezTo>
                  <a:pt x="774091" y="124285"/>
                  <a:pt x="775662" y="124285"/>
                  <a:pt x="776658" y="123331"/>
                </a:cubicBezTo>
                <a:cubicBezTo>
                  <a:pt x="777573" y="122260"/>
                  <a:pt x="777573" y="120681"/>
                  <a:pt x="776658" y="119611"/>
                </a:cubicBezTo>
                <a:moveTo>
                  <a:pt x="354587" y="320917"/>
                </a:moveTo>
                <a:cubicBezTo>
                  <a:pt x="351461" y="317806"/>
                  <a:pt x="346410" y="317806"/>
                  <a:pt x="343284" y="320917"/>
                </a:cubicBezTo>
                <a:cubicBezTo>
                  <a:pt x="340222" y="324112"/>
                  <a:pt x="340331" y="329184"/>
                  <a:pt x="343526" y="332246"/>
                </a:cubicBezTo>
                <a:cubicBezTo>
                  <a:pt x="346456" y="335053"/>
                  <a:pt x="351023" y="335227"/>
                  <a:pt x="354158" y="332649"/>
                </a:cubicBezTo>
                <a:cubicBezTo>
                  <a:pt x="357285" y="329474"/>
                  <a:pt x="357285" y="324378"/>
                  <a:pt x="354158" y="321203"/>
                </a:cubicBezTo>
                <a:moveTo>
                  <a:pt x="386636" y="290728"/>
                </a:moveTo>
                <a:cubicBezTo>
                  <a:pt x="383713" y="287841"/>
                  <a:pt x="379001" y="287871"/>
                  <a:pt x="376114" y="290794"/>
                </a:cubicBezTo>
                <a:cubicBezTo>
                  <a:pt x="373227" y="293718"/>
                  <a:pt x="373257" y="298428"/>
                  <a:pt x="376180" y="301316"/>
                </a:cubicBezTo>
                <a:cubicBezTo>
                  <a:pt x="379078" y="304177"/>
                  <a:pt x="383738" y="304177"/>
                  <a:pt x="386636" y="301316"/>
                </a:cubicBezTo>
                <a:cubicBezTo>
                  <a:pt x="389559" y="298428"/>
                  <a:pt x="389589" y="293718"/>
                  <a:pt x="386702" y="290794"/>
                </a:cubicBezTo>
                <a:cubicBezTo>
                  <a:pt x="386680" y="290772"/>
                  <a:pt x="386659" y="290750"/>
                  <a:pt x="386636" y="290728"/>
                </a:cubicBezTo>
                <a:moveTo>
                  <a:pt x="419543" y="260110"/>
                </a:moveTo>
                <a:cubicBezTo>
                  <a:pt x="416827" y="257493"/>
                  <a:pt x="412529" y="257493"/>
                  <a:pt x="409814" y="260110"/>
                </a:cubicBezTo>
                <a:cubicBezTo>
                  <a:pt x="407088" y="262747"/>
                  <a:pt x="407015" y="267095"/>
                  <a:pt x="409652" y="269821"/>
                </a:cubicBezTo>
                <a:cubicBezTo>
                  <a:pt x="409705" y="269875"/>
                  <a:pt x="409759" y="269929"/>
                  <a:pt x="409814" y="269982"/>
                </a:cubicBezTo>
                <a:cubicBezTo>
                  <a:pt x="412529" y="272599"/>
                  <a:pt x="416827" y="272599"/>
                  <a:pt x="419543" y="269982"/>
                </a:cubicBezTo>
                <a:cubicBezTo>
                  <a:pt x="422268" y="267345"/>
                  <a:pt x="422341" y="262997"/>
                  <a:pt x="419705" y="260272"/>
                </a:cubicBezTo>
                <a:cubicBezTo>
                  <a:pt x="419652" y="260217"/>
                  <a:pt x="419597" y="260163"/>
                  <a:pt x="419543" y="260110"/>
                </a:cubicBezTo>
                <a:moveTo>
                  <a:pt x="452164" y="229635"/>
                </a:moveTo>
                <a:cubicBezTo>
                  <a:pt x="449614" y="227156"/>
                  <a:pt x="445538" y="227213"/>
                  <a:pt x="443060" y="229762"/>
                </a:cubicBezTo>
                <a:cubicBezTo>
                  <a:pt x="440765" y="232122"/>
                  <a:pt x="440619" y="235830"/>
                  <a:pt x="442721" y="238363"/>
                </a:cubicBezTo>
                <a:cubicBezTo>
                  <a:pt x="445273" y="240834"/>
                  <a:pt x="449325" y="240834"/>
                  <a:pt x="451878" y="238363"/>
                </a:cubicBezTo>
                <a:cubicBezTo>
                  <a:pt x="454367" y="235935"/>
                  <a:pt x="454417" y="231950"/>
                  <a:pt x="451989" y="229461"/>
                </a:cubicBezTo>
                <a:cubicBezTo>
                  <a:pt x="451952" y="229423"/>
                  <a:pt x="451915" y="229386"/>
                  <a:pt x="451878" y="229349"/>
                </a:cubicBezTo>
                <a:moveTo>
                  <a:pt x="484356" y="198874"/>
                </a:moveTo>
                <a:cubicBezTo>
                  <a:pt x="482144" y="196503"/>
                  <a:pt x="478428" y="196376"/>
                  <a:pt x="476057" y="198588"/>
                </a:cubicBezTo>
                <a:cubicBezTo>
                  <a:pt x="473687" y="200800"/>
                  <a:pt x="473559" y="204515"/>
                  <a:pt x="475771" y="206886"/>
                </a:cubicBezTo>
                <a:cubicBezTo>
                  <a:pt x="477983" y="209257"/>
                  <a:pt x="481699" y="209384"/>
                  <a:pt x="484070" y="207172"/>
                </a:cubicBezTo>
                <a:cubicBezTo>
                  <a:pt x="486440" y="204960"/>
                  <a:pt x="486568" y="201245"/>
                  <a:pt x="484356" y="198874"/>
                </a:cubicBezTo>
                <a:moveTo>
                  <a:pt x="516834" y="168399"/>
                </a:moveTo>
                <a:cubicBezTo>
                  <a:pt x="514772" y="166363"/>
                  <a:pt x="511456" y="166363"/>
                  <a:pt x="509394" y="168399"/>
                </a:cubicBezTo>
                <a:cubicBezTo>
                  <a:pt x="507205" y="170454"/>
                  <a:pt x="507095" y="173895"/>
                  <a:pt x="509149" y="176084"/>
                </a:cubicBezTo>
                <a:cubicBezTo>
                  <a:pt x="511204" y="178274"/>
                  <a:pt x="514645" y="178383"/>
                  <a:pt x="516834" y="176330"/>
                </a:cubicBezTo>
                <a:cubicBezTo>
                  <a:pt x="519024" y="174275"/>
                  <a:pt x="519133" y="170834"/>
                  <a:pt x="517078" y="168644"/>
                </a:cubicBezTo>
                <a:cubicBezTo>
                  <a:pt x="517000" y="168559"/>
                  <a:pt x="516918" y="168478"/>
                  <a:pt x="516834" y="168399"/>
                </a:cubicBezTo>
                <a:moveTo>
                  <a:pt x="550313" y="138067"/>
                </a:moveTo>
                <a:cubicBezTo>
                  <a:pt x="548415" y="136176"/>
                  <a:pt x="545344" y="136176"/>
                  <a:pt x="543446" y="138067"/>
                </a:cubicBezTo>
                <a:cubicBezTo>
                  <a:pt x="541550" y="139884"/>
                  <a:pt x="541486" y="142896"/>
                  <a:pt x="543303" y="144792"/>
                </a:cubicBezTo>
                <a:cubicBezTo>
                  <a:pt x="545120" y="146689"/>
                  <a:pt x="548130" y="146752"/>
                  <a:pt x="550027" y="144935"/>
                </a:cubicBezTo>
                <a:cubicBezTo>
                  <a:pt x="551826" y="143055"/>
                  <a:pt x="551826" y="140090"/>
                  <a:pt x="550027" y="138210"/>
                </a:cubicBezTo>
                <a:moveTo>
                  <a:pt x="582505" y="107735"/>
                </a:moveTo>
                <a:cubicBezTo>
                  <a:pt x="580835" y="106100"/>
                  <a:pt x="578166" y="106100"/>
                  <a:pt x="576496" y="107735"/>
                </a:cubicBezTo>
                <a:cubicBezTo>
                  <a:pt x="574798" y="109316"/>
                  <a:pt x="574700" y="111975"/>
                  <a:pt x="576281" y="113673"/>
                </a:cubicBezTo>
                <a:cubicBezTo>
                  <a:pt x="577862" y="115371"/>
                  <a:pt x="580521" y="115469"/>
                  <a:pt x="582219" y="113888"/>
                </a:cubicBezTo>
                <a:cubicBezTo>
                  <a:pt x="583854" y="112218"/>
                  <a:pt x="583854" y="109548"/>
                  <a:pt x="582219" y="107878"/>
                </a:cubicBezTo>
                <a:moveTo>
                  <a:pt x="614697" y="77404"/>
                </a:moveTo>
                <a:cubicBezTo>
                  <a:pt x="613326" y="75981"/>
                  <a:pt x="611061" y="75940"/>
                  <a:pt x="609639" y="77311"/>
                </a:cubicBezTo>
                <a:cubicBezTo>
                  <a:pt x="609608" y="77341"/>
                  <a:pt x="609576" y="77372"/>
                  <a:pt x="609546" y="77404"/>
                </a:cubicBezTo>
                <a:cubicBezTo>
                  <a:pt x="608084" y="78786"/>
                  <a:pt x="608020" y="81092"/>
                  <a:pt x="609403" y="82554"/>
                </a:cubicBezTo>
                <a:cubicBezTo>
                  <a:pt x="610785" y="84016"/>
                  <a:pt x="613092" y="84079"/>
                  <a:pt x="614554" y="82697"/>
                </a:cubicBezTo>
                <a:cubicBezTo>
                  <a:pt x="615976" y="81327"/>
                  <a:pt x="616018" y="79062"/>
                  <a:pt x="614647" y="77640"/>
                </a:cubicBezTo>
                <a:cubicBezTo>
                  <a:pt x="614617" y="77608"/>
                  <a:pt x="614585" y="77577"/>
                  <a:pt x="614554" y="77547"/>
                </a:cubicBezTo>
                <a:moveTo>
                  <a:pt x="647032" y="47072"/>
                </a:moveTo>
                <a:cubicBezTo>
                  <a:pt x="645804" y="45853"/>
                  <a:pt x="643824" y="45853"/>
                  <a:pt x="642596" y="47072"/>
                </a:cubicBezTo>
                <a:cubicBezTo>
                  <a:pt x="641451" y="48328"/>
                  <a:pt x="641451" y="50251"/>
                  <a:pt x="642596" y="51507"/>
                </a:cubicBezTo>
                <a:cubicBezTo>
                  <a:pt x="643824" y="52726"/>
                  <a:pt x="645804" y="52726"/>
                  <a:pt x="647032" y="51507"/>
                </a:cubicBezTo>
                <a:cubicBezTo>
                  <a:pt x="648257" y="50387"/>
                  <a:pt x="648342" y="48487"/>
                  <a:pt x="647222" y="47262"/>
                </a:cubicBezTo>
                <a:cubicBezTo>
                  <a:pt x="647162" y="47196"/>
                  <a:pt x="647098" y="47132"/>
                  <a:pt x="647032" y="47072"/>
                </a:cubicBezTo>
                <a:moveTo>
                  <a:pt x="679796" y="16883"/>
                </a:moveTo>
                <a:cubicBezTo>
                  <a:pt x="678809" y="15860"/>
                  <a:pt x="677178" y="15830"/>
                  <a:pt x="676155" y="16819"/>
                </a:cubicBezTo>
                <a:cubicBezTo>
                  <a:pt x="675132" y="17806"/>
                  <a:pt x="675102" y="19437"/>
                  <a:pt x="676090" y="20460"/>
                </a:cubicBezTo>
                <a:cubicBezTo>
                  <a:pt x="677078" y="21483"/>
                  <a:pt x="678709" y="21513"/>
                  <a:pt x="679732" y="20524"/>
                </a:cubicBezTo>
                <a:cubicBezTo>
                  <a:pt x="679753" y="20503"/>
                  <a:pt x="679775" y="20481"/>
                  <a:pt x="679796" y="20460"/>
                </a:cubicBezTo>
                <a:cubicBezTo>
                  <a:pt x="680759" y="19463"/>
                  <a:pt x="680759" y="17880"/>
                  <a:pt x="679796" y="16883"/>
                </a:cubicBezTo>
                <a:moveTo>
                  <a:pt x="373902" y="341663"/>
                </a:moveTo>
                <a:cubicBezTo>
                  <a:pt x="370776" y="338552"/>
                  <a:pt x="365725" y="338552"/>
                  <a:pt x="362599" y="341663"/>
                </a:cubicBezTo>
                <a:cubicBezTo>
                  <a:pt x="359360" y="344704"/>
                  <a:pt x="359200" y="349798"/>
                  <a:pt x="362241" y="353037"/>
                </a:cubicBezTo>
                <a:cubicBezTo>
                  <a:pt x="365283" y="356276"/>
                  <a:pt x="370377" y="356437"/>
                  <a:pt x="373616" y="353395"/>
                </a:cubicBezTo>
                <a:cubicBezTo>
                  <a:pt x="376726" y="350269"/>
                  <a:pt x="376726" y="345218"/>
                  <a:pt x="373616" y="342092"/>
                </a:cubicBezTo>
                <a:moveTo>
                  <a:pt x="407238" y="311188"/>
                </a:moveTo>
                <a:cubicBezTo>
                  <a:pt x="404433" y="308146"/>
                  <a:pt x="399693" y="307953"/>
                  <a:pt x="396651" y="310759"/>
                </a:cubicBezTo>
                <a:cubicBezTo>
                  <a:pt x="393609" y="313564"/>
                  <a:pt x="393416" y="318304"/>
                  <a:pt x="396222" y="321346"/>
                </a:cubicBezTo>
                <a:cubicBezTo>
                  <a:pt x="398996" y="324269"/>
                  <a:pt x="403614" y="324392"/>
                  <a:pt x="406537" y="321618"/>
                </a:cubicBezTo>
                <a:cubicBezTo>
                  <a:pt x="406630" y="321529"/>
                  <a:pt x="406721" y="321439"/>
                  <a:pt x="406809" y="321346"/>
                </a:cubicBezTo>
                <a:cubicBezTo>
                  <a:pt x="409681" y="318402"/>
                  <a:pt x="409681" y="313703"/>
                  <a:pt x="406809" y="310759"/>
                </a:cubicBezTo>
                <a:moveTo>
                  <a:pt x="439287" y="280284"/>
                </a:moveTo>
                <a:cubicBezTo>
                  <a:pt x="436650" y="277558"/>
                  <a:pt x="432302" y="277485"/>
                  <a:pt x="429577" y="280122"/>
                </a:cubicBezTo>
                <a:cubicBezTo>
                  <a:pt x="429521" y="280175"/>
                  <a:pt x="429468" y="280229"/>
                  <a:pt x="429415" y="280284"/>
                </a:cubicBezTo>
                <a:cubicBezTo>
                  <a:pt x="426798" y="282999"/>
                  <a:pt x="426798" y="287297"/>
                  <a:pt x="429415" y="290013"/>
                </a:cubicBezTo>
                <a:cubicBezTo>
                  <a:pt x="432052" y="292738"/>
                  <a:pt x="436400" y="292811"/>
                  <a:pt x="439126" y="290174"/>
                </a:cubicBezTo>
                <a:cubicBezTo>
                  <a:pt x="439181" y="290121"/>
                  <a:pt x="439234" y="290067"/>
                  <a:pt x="439287" y="290013"/>
                </a:cubicBezTo>
                <a:cubicBezTo>
                  <a:pt x="441904" y="287297"/>
                  <a:pt x="441904" y="282999"/>
                  <a:pt x="439287" y="280284"/>
                </a:cubicBezTo>
                <a:moveTo>
                  <a:pt x="471765" y="249809"/>
                </a:moveTo>
                <a:cubicBezTo>
                  <a:pt x="469276" y="247269"/>
                  <a:pt x="465200" y="247229"/>
                  <a:pt x="462660" y="249717"/>
                </a:cubicBezTo>
                <a:cubicBezTo>
                  <a:pt x="460122" y="252207"/>
                  <a:pt x="460080" y="256283"/>
                  <a:pt x="462570" y="258822"/>
                </a:cubicBezTo>
                <a:cubicBezTo>
                  <a:pt x="465058" y="261362"/>
                  <a:pt x="469134" y="261402"/>
                  <a:pt x="471674" y="258914"/>
                </a:cubicBezTo>
                <a:cubicBezTo>
                  <a:pt x="471705" y="258884"/>
                  <a:pt x="471735" y="258852"/>
                  <a:pt x="471765" y="258822"/>
                </a:cubicBezTo>
                <a:cubicBezTo>
                  <a:pt x="474255" y="256394"/>
                  <a:pt x="474305" y="252410"/>
                  <a:pt x="471877" y="249920"/>
                </a:cubicBezTo>
                <a:cubicBezTo>
                  <a:pt x="471840" y="249883"/>
                  <a:pt x="471802" y="249846"/>
                  <a:pt x="471765" y="249809"/>
                </a:cubicBezTo>
                <a:moveTo>
                  <a:pt x="504386" y="219334"/>
                </a:moveTo>
                <a:cubicBezTo>
                  <a:pt x="502174" y="216963"/>
                  <a:pt x="498459" y="216836"/>
                  <a:pt x="496088" y="219048"/>
                </a:cubicBezTo>
                <a:cubicBezTo>
                  <a:pt x="493717" y="221260"/>
                  <a:pt x="493590" y="224975"/>
                  <a:pt x="495802" y="227346"/>
                </a:cubicBezTo>
                <a:cubicBezTo>
                  <a:pt x="498014" y="229717"/>
                  <a:pt x="501729" y="229844"/>
                  <a:pt x="504100" y="227632"/>
                </a:cubicBezTo>
                <a:cubicBezTo>
                  <a:pt x="506471" y="225420"/>
                  <a:pt x="506598" y="221704"/>
                  <a:pt x="504386" y="219334"/>
                </a:cubicBezTo>
                <a:moveTo>
                  <a:pt x="536006" y="189288"/>
                </a:moveTo>
                <a:cubicBezTo>
                  <a:pt x="533951" y="187208"/>
                  <a:pt x="530599" y="187188"/>
                  <a:pt x="528520" y="189241"/>
                </a:cubicBezTo>
                <a:cubicBezTo>
                  <a:pt x="526440" y="191295"/>
                  <a:pt x="526418" y="194648"/>
                  <a:pt x="528473" y="196728"/>
                </a:cubicBezTo>
                <a:cubicBezTo>
                  <a:pt x="530528" y="198808"/>
                  <a:pt x="533880" y="198828"/>
                  <a:pt x="535959" y="196774"/>
                </a:cubicBezTo>
                <a:cubicBezTo>
                  <a:pt x="535974" y="196759"/>
                  <a:pt x="535990" y="196744"/>
                  <a:pt x="536006" y="196728"/>
                </a:cubicBezTo>
                <a:cubicBezTo>
                  <a:pt x="538042" y="194666"/>
                  <a:pt x="538042" y="191350"/>
                  <a:pt x="536006" y="189288"/>
                </a:cubicBezTo>
                <a:moveTo>
                  <a:pt x="568484" y="158813"/>
                </a:moveTo>
                <a:cubicBezTo>
                  <a:pt x="566627" y="156982"/>
                  <a:pt x="563638" y="157003"/>
                  <a:pt x="561806" y="158860"/>
                </a:cubicBezTo>
                <a:cubicBezTo>
                  <a:pt x="559977" y="160717"/>
                  <a:pt x="559997" y="163706"/>
                  <a:pt x="561854" y="165538"/>
                </a:cubicBezTo>
                <a:cubicBezTo>
                  <a:pt x="563692" y="167350"/>
                  <a:pt x="566645" y="167350"/>
                  <a:pt x="568484" y="165538"/>
                </a:cubicBezTo>
                <a:cubicBezTo>
                  <a:pt x="570341" y="163706"/>
                  <a:pt x="570362" y="160717"/>
                  <a:pt x="568531" y="158860"/>
                </a:cubicBezTo>
                <a:cubicBezTo>
                  <a:pt x="568515" y="158845"/>
                  <a:pt x="568500" y="158829"/>
                  <a:pt x="568484" y="158813"/>
                </a:cubicBezTo>
                <a:moveTo>
                  <a:pt x="600962" y="128338"/>
                </a:moveTo>
                <a:cubicBezTo>
                  <a:pt x="599342" y="126719"/>
                  <a:pt x="596715" y="126719"/>
                  <a:pt x="595096" y="128338"/>
                </a:cubicBezTo>
                <a:cubicBezTo>
                  <a:pt x="593460" y="130008"/>
                  <a:pt x="593460" y="132678"/>
                  <a:pt x="595096" y="134347"/>
                </a:cubicBezTo>
                <a:cubicBezTo>
                  <a:pt x="596677" y="136007"/>
                  <a:pt x="599302" y="136071"/>
                  <a:pt x="600962" y="134490"/>
                </a:cubicBezTo>
                <a:cubicBezTo>
                  <a:pt x="601010" y="134443"/>
                  <a:pt x="601059" y="134396"/>
                  <a:pt x="601105" y="134347"/>
                </a:cubicBezTo>
                <a:cubicBezTo>
                  <a:pt x="602724" y="132841"/>
                  <a:pt x="602816" y="130305"/>
                  <a:pt x="601309" y="128686"/>
                </a:cubicBezTo>
                <a:cubicBezTo>
                  <a:pt x="601244" y="128614"/>
                  <a:pt x="601175" y="128547"/>
                  <a:pt x="601105" y="128481"/>
                </a:cubicBezTo>
                <a:moveTo>
                  <a:pt x="633726" y="98006"/>
                </a:moveTo>
                <a:cubicBezTo>
                  <a:pt x="632304" y="96524"/>
                  <a:pt x="629949" y="96475"/>
                  <a:pt x="628466" y="97898"/>
                </a:cubicBezTo>
                <a:cubicBezTo>
                  <a:pt x="626984" y="99320"/>
                  <a:pt x="626936" y="101675"/>
                  <a:pt x="628358" y="103157"/>
                </a:cubicBezTo>
                <a:cubicBezTo>
                  <a:pt x="629780" y="104639"/>
                  <a:pt x="632135" y="104688"/>
                  <a:pt x="633617" y="103266"/>
                </a:cubicBezTo>
                <a:cubicBezTo>
                  <a:pt x="633654" y="103230"/>
                  <a:pt x="633690" y="103194"/>
                  <a:pt x="633726" y="103157"/>
                </a:cubicBezTo>
                <a:cubicBezTo>
                  <a:pt x="635107" y="101718"/>
                  <a:pt x="635107" y="99446"/>
                  <a:pt x="633726" y="98006"/>
                </a:cubicBezTo>
                <a:moveTo>
                  <a:pt x="666204" y="67531"/>
                </a:moveTo>
                <a:cubicBezTo>
                  <a:pt x="665084" y="66307"/>
                  <a:pt x="663184" y="66221"/>
                  <a:pt x="661959" y="67341"/>
                </a:cubicBezTo>
                <a:cubicBezTo>
                  <a:pt x="661893" y="67401"/>
                  <a:pt x="661829" y="67466"/>
                  <a:pt x="661769" y="67531"/>
                </a:cubicBezTo>
                <a:cubicBezTo>
                  <a:pt x="660550" y="68759"/>
                  <a:pt x="660550" y="70739"/>
                  <a:pt x="661769" y="71967"/>
                </a:cubicBezTo>
                <a:cubicBezTo>
                  <a:pt x="663025" y="73113"/>
                  <a:pt x="664948" y="73113"/>
                  <a:pt x="666204" y="71967"/>
                </a:cubicBezTo>
                <a:cubicBezTo>
                  <a:pt x="667423" y="70739"/>
                  <a:pt x="667423" y="68759"/>
                  <a:pt x="666204" y="67531"/>
                </a:cubicBezTo>
                <a:moveTo>
                  <a:pt x="699111" y="36913"/>
                </a:moveTo>
                <a:cubicBezTo>
                  <a:pt x="698124" y="35890"/>
                  <a:pt x="696493" y="35860"/>
                  <a:pt x="695470" y="36849"/>
                </a:cubicBezTo>
                <a:cubicBezTo>
                  <a:pt x="694447" y="37836"/>
                  <a:pt x="694417" y="39467"/>
                  <a:pt x="695405" y="40490"/>
                </a:cubicBezTo>
                <a:cubicBezTo>
                  <a:pt x="696393" y="41513"/>
                  <a:pt x="698024" y="41543"/>
                  <a:pt x="699047" y="40555"/>
                </a:cubicBezTo>
                <a:cubicBezTo>
                  <a:pt x="699068" y="40533"/>
                  <a:pt x="699090" y="40512"/>
                  <a:pt x="699111" y="40490"/>
                </a:cubicBezTo>
                <a:cubicBezTo>
                  <a:pt x="700098" y="39580"/>
                  <a:pt x="700161" y="38041"/>
                  <a:pt x="699251" y="37054"/>
                </a:cubicBezTo>
                <a:cubicBezTo>
                  <a:pt x="699207" y="37005"/>
                  <a:pt x="699160" y="36958"/>
                  <a:pt x="699111" y="36913"/>
                </a:cubicBezTo>
                <a:moveTo>
                  <a:pt x="392931" y="362409"/>
                </a:moveTo>
                <a:cubicBezTo>
                  <a:pt x="389809" y="359272"/>
                  <a:pt x="384737" y="359259"/>
                  <a:pt x="381599" y="362380"/>
                </a:cubicBezTo>
                <a:cubicBezTo>
                  <a:pt x="378463" y="365502"/>
                  <a:pt x="378450" y="370575"/>
                  <a:pt x="381572" y="373711"/>
                </a:cubicBezTo>
                <a:cubicBezTo>
                  <a:pt x="384693" y="376848"/>
                  <a:pt x="389766" y="376861"/>
                  <a:pt x="392902" y="373740"/>
                </a:cubicBezTo>
                <a:cubicBezTo>
                  <a:pt x="392912" y="373730"/>
                  <a:pt x="392921" y="373721"/>
                  <a:pt x="392931" y="373711"/>
                </a:cubicBezTo>
                <a:cubicBezTo>
                  <a:pt x="396041" y="370585"/>
                  <a:pt x="396041" y="365535"/>
                  <a:pt x="392931" y="362409"/>
                </a:cubicBezTo>
                <a:moveTo>
                  <a:pt x="425838" y="331647"/>
                </a:moveTo>
                <a:cubicBezTo>
                  <a:pt x="423032" y="328644"/>
                  <a:pt x="418325" y="328484"/>
                  <a:pt x="415322" y="331290"/>
                </a:cubicBezTo>
                <a:cubicBezTo>
                  <a:pt x="412319" y="334095"/>
                  <a:pt x="412159" y="338803"/>
                  <a:pt x="414965" y="341806"/>
                </a:cubicBezTo>
                <a:cubicBezTo>
                  <a:pt x="417909" y="344677"/>
                  <a:pt x="422608" y="344677"/>
                  <a:pt x="425552" y="341806"/>
                </a:cubicBezTo>
                <a:cubicBezTo>
                  <a:pt x="428475" y="338919"/>
                  <a:pt x="428505" y="334209"/>
                  <a:pt x="425618" y="331284"/>
                </a:cubicBezTo>
                <a:cubicBezTo>
                  <a:pt x="425596" y="331263"/>
                  <a:pt x="425574" y="331240"/>
                  <a:pt x="425552" y="331218"/>
                </a:cubicBezTo>
                <a:moveTo>
                  <a:pt x="458173" y="300743"/>
                </a:moveTo>
                <a:cubicBezTo>
                  <a:pt x="455486" y="298066"/>
                  <a:pt x="451138" y="298074"/>
                  <a:pt x="448461" y="300761"/>
                </a:cubicBezTo>
                <a:cubicBezTo>
                  <a:pt x="445784" y="303447"/>
                  <a:pt x="445791" y="307795"/>
                  <a:pt x="448478" y="310472"/>
                </a:cubicBezTo>
                <a:cubicBezTo>
                  <a:pt x="451158" y="313144"/>
                  <a:pt x="455493" y="313144"/>
                  <a:pt x="458173" y="310472"/>
                </a:cubicBezTo>
                <a:cubicBezTo>
                  <a:pt x="460860" y="307795"/>
                  <a:pt x="460867" y="303447"/>
                  <a:pt x="458190" y="300761"/>
                </a:cubicBezTo>
                <a:cubicBezTo>
                  <a:pt x="458185" y="300755"/>
                  <a:pt x="458179" y="300749"/>
                  <a:pt x="458173" y="300743"/>
                </a:cubicBezTo>
                <a:moveTo>
                  <a:pt x="490651" y="270268"/>
                </a:moveTo>
                <a:cubicBezTo>
                  <a:pt x="488598" y="267365"/>
                  <a:pt x="484580" y="266674"/>
                  <a:pt x="481677" y="268727"/>
                </a:cubicBezTo>
                <a:cubicBezTo>
                  <a:pt x="478773" y="270781"/>
                  <a:pt x="478083" y="274798"/>
                  <a:pt x="480137" y="277701"/>
                </a:cubicBezTo>
                <a:cubicBezTo>
                  <a:pt x="480480" y="278188"/>
                  <a:pt x="480889" y="278623"/>
                  <a:pt x="481351" y="278996"/>
                </a:cubicBezTo>
                <a:cubicBezTo>
                  <a:pt x="484118" y="281228"/>
                  <a:pt x="488173" y="280794"/>
                  <a:pt x="490405" y="278027"/>
                </a:cubicBezTo>
                <a:cubicBezTo>
                  <a:pt x="492212" y="275787"/>
                  <a:pt x="492312" y="272619"/>
                  <a:pt x="490651" y="270268"/>
                </a:cubicBezTo>
                <a:moveTo>
                  <a:pt x="523129" y="239650"/>
                </a:moveTo>
                <a:cubicBezTo>
                  <a:pt x="520917" y="237280"/>
                  <a:pt x="517201" y="237152"/>
                  <a:pt x="514831" y="239364"/>
                </a:cubicBezTo>
                <a:cubicBezTo>
                  <a:pt x="512460" y="241576"/>
                  <a:pt x="512333" y="245292"/>
                  <a:pt x="514545" y="247663"/>
                </a:cubicBezTo>
                <a:cubicBezTo>
                  <a:pt x="516757" y="250033"/>
                  <a:pt x="520472" y="250161"/>
                  <a:pt x="522843" y="247949"/>
                </a:cubicBezTo>
                <a:cubicBezTo>
                  <a:pt x="525214" y="245737"/>
                  <a:pt x="525341" y="242021"/>
                  <a:pt x="523129" y="239650"/>
                </a:cubicBezTo>
                <a:moveTo>
                  <a:pt x="555607" y="209175"/>
                </a:moveTo>
                <a:cubicBezTo>
                  <a:pt x="553593" y="207042"/>
                  <a:pt x="550229" y="206946"/>
                  <a:pt x="548096" y="208961"/>
                </a:cubicBezTo>
                <a:cubicBezTo>
                  <a:pt x="545962" y="210975"/>
                  <a:pt x="545867" y="214339"/>
                  <a:pt x="547881" y="216472"/>
                </a:cubicBezTo>
                <a:cubicBezTo>
                  <a:pt x="549896" y="218605"/>
                  <a:pt x="553259" y="218701"/>
                  <a:pt x="555392" y="216687"/>
                </a:cubicBezTo>
                <a:cubicBezTo>
                  <a:pt x="557526" y="214672"/>
                  <a:pt x="557622" y="211309"/>
                  <a:pt x="555607" y="209175"/>
                </a:cubicBezTo>
                <a:moveTo>
                  <a:pt x="588228" y="178701"/>
                </a:moveTo>
                <a:cubicBezTo>
                  <a:pt x="586371" y="176759"/>
                  <a:pt x="583292" y="176690"/>
                  <a:pt x="581350" y="178547"/>
                </a:cubicBezTo>
                <a:cubicBezTo>
                  <a:pt x="579409" y="180405"/>
                  <a:pt x="579340" y="183483"/>
                  <a:pt x="581197" y="185425"/>
                </a:cubicBezTo>
                <a:cubicBezTo>
                  <a:pt x="583054" y="187367"/>
                  <a:pt x="586133" y="187435"/>
                  <a:pt x="588075" y="185578"/>
                </a:cubicBezTo>
                <a:cubicBezTo>
                  <a:pt x="588126" y="185528"/>
                  <a:pt x="588178" y="185477"/>
                  <a:pt x="588228" y="185425"/>
                </a:cubicBezTo>
                <a:cubicBezTo>
                  <a:pt x="590085" y="183595"/>
                  <a:pt x="590107" y="180605"/>
                  <a:pt x="588275" y="178748"/>
                </a:cubicBezTo>
                <a:cubicBezTo>
                  <a:pt x="588260" y="178732"/>
                  <a:pt x="588244" y="178716"/>
                  <a:pt x="588228" y="178701"/>
                </a:cubicBezTo>
                <a:moveTo>
                  <a:pt x="620706" y="148226"/>
                </a:moveTo>
                <a:cubicBezTo>
                  <a:pt x="619046" y="146533"/>
                  <a:pt x="616329" y="146506"/>
                  <a:pt x="614637" y="148165"/>
                </a:cubicBezTo>
                <a:cubicBezTo>
                  <a:pt x="612943" y="149824"/>
                  <a:pt x="612916" y="152542"/>
                  <a:pt x="614575" y="154235"/>
                </a:cubicBezTo>
                <a:cubicBezTo>
                  <a:pt x="616235" y="155927"/>
                  <a:pt x="618952" y="155954"/>
                  <a:pt x="620646" y="154295"/>
                </a:cubicBezTo>
                <a:cubicBezTo>
                  <a:pt x="620666" y="154275"/>
                  <a:pt x="620686" y="154255"/>
                  <a:pt x="620706" y="154235"/>
                </a:cubicBezTo>
                <a:cubicBezTo>
                  <a:pt x="622341" y="152565"/>
                  <a:pt x="622341" y="149895"/>
                  <a:pt x="620706" y="148226"/>
                </a:cubicBezTo>
                <a:moveTo>
                  <a:pt x="653184" y="117751"/>
                </a:moveTo>
                <a:cubicBezTo>
                  <a:pt x="651722" y="116421"/>
                  <a:pt x="649460" y="116530"/>
                  <a:pt x="648132" y="117991"/>
                </a:cubicBezTo>
                <a:cubicBezTo>
                  <a:pt x="646803" y="119453"/>
                  <a:pt x="646910" y="121715"/>
                  <a:pt x="648372" y="123044"/>
                </a:cubicBezTo>
                <a:cubicBezTo>
                  <a:pt x="649737" y="124285"/>
                  <a:pt x="651821" y="124285"/>
                  <a:pt x="653184" y="123044"/>
                </a:cubicBezTo>
                <a:cubicBezTo>
                  <a:pt x="654583" y="121558"/>
                  <a:pt x="654583" y="119239"/>
                  <a:pt x="653184" y="117751"/>
                </a:cubicBezTo>
                <a:moveTo>
                  <a:pt x="686091" y="88420"/>
                </a:moveTo>
                <a:cubicBezTo>
                  <a:pt x="684864" y="87201"/>
                  <a:pt x="682884" y="87201"/>
                  <a:pt x="681656" y="88420"/>
                </a:cubicBezTo>
                <a:cubicBezTo>
                  <a:pt x="680431" y="89541"/>
                  <a:pt x="680345" y="91441"/>
                  <a:pt x="681466" y="92665"/>
                </a:cubicBezTo>
                <a:cubicBezTo>
                  <a:pt x="681526" y="92731"/>
                  <a:pt x="681590" y="92796"/>
                  <a:pt x="681656" y="92856"/>
                </a:cubicBezTo>
                <a:cubicBezTo>
                  <a:pt x="682884" y="94075"/>
                  <a:pt x="684864" y="94075"/>
                  <a:pt x="686091" y="92856"/>
                </a:cubicBezTo>
                <a:cubicBezTo>
                  <a:pt x="687237" y="91599"/>
                  <a:pt x="687237" y="89676"/>
                  <a:pt x="686091" y="88420"/>
                </a:cubicBezTo>
                <a:moveTo>
                  <a:pt x="718569" y="57945"/>
                </a:moveTo>
                <a:cubicBezTo>
                  <a:pt x="717523" y="56964"/>
                  <a:pt x="715895" y="56964"/>
                  <a:pt x="714849" y="57945"/>
                </a:cubicBezTo>
                <a:cubicBezTo>
                  <a:pt x="713934" y="59016"/>
                  <a:pt x="713934" y="60595"/>
                  <a:pt x="714849" y="61665"/>
                </a:cubicBezTo>
                <a:cubicBezTo>
                  <a:pt x="715837" y="62733"/>
                  <a:pt x="717502" y="62796"/>
                  <a:pt x="718569" y="61808"/>
                </a:cubicBezTo>
                <a:cubicBezTo>
                  <a:pt x="719637" y="60821"/>
                  <a:pt x="719699" y="59156"/>
                  <a:pt x="718712" y="58088"/>
                </a:cubicBezTo>
                <a:moveTo>
                  <a:pt x="367750" y="425218"/>
                </a:moveTo>
                <a:cubicBezTo>
                  <a:pt x="370872" y="428355"/>
                  <a:pt x="375944" y="428367"/>
                  <a:pt x="379081" y="425247"/>
                </a:cubicBezTo>
                <a:cubicBezTo>
                  <a:pt x="382218" y="422125"/>
                  <a:pt x="382230" y="417052"/>
                  <a:pt x="379109" y="413915"/>
                </a:cubicBezTo>
                <a:cubicBezTo>
                  <a:pt x="375988" y="410779"/>
                  <a:pt x="370915" y="410766"/>
                  <a:pt x="367778" y="413887"/>
                </a:cubicBezTo>
                <a:cubicBezTo>
                  <a:pt x="367768" y="413897"/>
                  <a:pt x="367760" y="413905"/>
                  <a:pt x="367750" y="413915"/>
                </a:cubicBezTo>
                <a:cubicBezTo>
                  <a:pt x="364639" y="417042"/>
                  <a:pt x="364639" y="422092"/>
                  <a:pt x="367750" y="425218"/>
                </a:cubicBezTo>
                <a:moveTo>
                  <a:pt x="335701" y="455693"/>
                </a:moveTo>
                <a:cubicBezTo>
                  <a:pt x="338507" y="458696"/>
                  <a:pt x="343214" y="458857"/>
                  <a:pt x="346217" y="456051"/>
                </a:cubicBezTo>
                <a:cubicBezTo>
                  <a:pt x="349220" y="453245"/>
                  <a:pt x="349380" y="448538"/>
                  <a:pt x="346575" y="445535"/>
                </a:cubicBezTo>
                <a:cubicBezTo>
                  <a:pt x="343630" y="442663"/>
                  <a:pt x="338932" y="442663"/>
                  <a:pt x="335987" y="445535"/>
                </a:cubicBezTo>
                <a:cubicBezTo>
                  <a:pt x="333064" y="448422"/>
                  <a:pt x="333034" y="453132"/>
                  <a:pt x="335921" y="456057"/>
                </a:cubicBezTo>
                <a:cubicBezTo>
                  <a:pt x="335943" y="456078"/>
                  <a:pt x="335964" y="456101"/>
                  <a:pt x="335987" y="456123"/>
                </a:cubicBezTo>
                <a:moveTo>
                  <a:pt x="302651" y="486168"/>
                </a:moveTo>
                <a:cubicBezTo>
                  <a:pt x="305384" y="488878"/>
                  <a:pt x="309790" y="488878"/>
                  <a:pt x="312523" y="486168"/>
                </a:cubicBezTo>
                <a:cubicBezTo>
                  <a:pt x="315157" y="483404"/>
                  <a:pt x="315157" y="479060"/>
                  <a:pt x="312523" y="476296"/>
                </a:cubicBezTo>
                <a:cubicBezTo>
                  <a:pt x="309807" y="473679"/>
                  <a:pt x="305509" y="473679"/>
                  <a:pt x="302794" y="476296"/>
                </a:cubicBezTo>
                <a:cubicBezTo>
                  <a:pt x="300107" y="478973"/>
                  <a:pt x="300100" y="483321"/>
                  <a:pt x="302777" y="486008"/>
                </a:cubicBezTo>
                <a:cubicBezTo>
                  <a:pt x="302782" y="486014"/>
                  <a:pt x="302788" y="486019"/>
                  <a:pt x="302794" y="486025"/>
                </a:cubicBezTo>
                <a:moveTo>
                  <a:pt x="270316" y="516500"/>
                </a:moveTo>
                <a:cubicBezTo>
                  <a:pt x="272369" y="519403"/>
                  <a:pt x="276387" y="520094"/>
                  <a:pt x="279290" y="518041"/>
                </a:cubicBezTo>
                <a:cubicBezTo>
                  <a:pt x="282194" y="515988"/>
                  <a:pt x="282884" y="511970"/>
                  <a:pt x="280830" y="509067"/>
                </a:cubicBezTo>
                <a:cubicBezTo>
                  <a:pt x="280487" y="508581"/>
                  <a:pt x="280079" y="508146"/>
                  <a:pt x="279616" y="507773"/>
                </a:cubicBezTo>
                <a:cubicBezTo>
                  <a:pt x="277563" y="504870"/>
                  <a:pt x="273545" y="504179"/>
                  <a:pt x="270642" y="506232"/>
                </a:cubicBezTo>
                <a:cubicBezTo>
                  <a:pt x="267738" y="508285"/>
                  <a:pt x="267048" y="512302"/>
                  <a:pt x="269101" y="515205"/>
                </a:cubicBezTo>
                <a:cubicBezTo>
                  <a:pt x="269445" y="515690"/>
                  <a:pt x="269852" y="516127"/>
                  <a:pt x="270316" y="516500"/>
                </a:cubicBezTo>
                <a:moveTo>
                  <a:pt x="237838" y="547118"/>
                </a:moveTo>
                <a:cubicBezTo>
                  <a:pt x="240050" y="549489"/>
                  <a:pt x="243765" y="549616"/>
                  <a:pt x="246136" y="547404"/>
                </a:cubicBezTo>
                <a:cubicBezTo>
                  <a:pt x="248507" y="545192"/>
                  <a:pt x="248634" y="541477"/>
                  <a:pt x="246422" y="539106"/>
                </a:cubicBezTo>
                <a:cubicBezTo>
                  <a:pt x="244210" y="536735"/>
                  <a:pt x="240495" y="536608"/>
                  <a:pt x="238124" y="538820"/>
                </a:cubicBezTo>
                <a:cubicBezTo>
                  <a:pt x="235753" y="541032"/>
                  <a:pt x="235626" y="544747"/>
                  <a:pt x="237838" y="547118"/>
                </a:cubicBezTo>
                <a:moveTo>
                  <a:pt x="205217" y="577736"/>
                </a:moveTo>
                <a:cubicBezTo>
                  <a:pt x="207231" y="579869"/>
                  <a:pt x="210595" y="579965"/>
                  <a:pt x="212728" y="577951"/>
                </a:cubicBezTo>
                <a:cubicBezTo>
                  <a:pt x="214862" y="575936"/>
                  <a:pt x="214957" y="572573"/>
                  <a:pt x="212943" y="570439"/>
                </a:cubicBezTo>
                <a:cubicBezTo>
                  <a:pt x="210928" y="568306"/>
                  <a:pt x="207565" y="568210"/>
                  <a:pt x="205431" y="570225"/>
                </a:cubicBezTo>
                <a:cubicBezTo>
                  <a:pt x="203298" y="572239"/>
                  <a:pt x="203202" y="575603"/>
                  <a:pt x="205217" y="577736"/>
                </a:cubicBezTo>
                <a:moveTo>
                  <a:pt x="172596" y="608211"/>
                </a:moveTo>
                <a:cubicBezTo>
                  <a:pt x="174453" y="610153"/>
                  <a:pt x="177532" y="610221"/>
                  <a:pt x="179473" y="608364"/>
                </a:cubicBezTo>
                <a:cubicBezTo>
                  <a:pt x="181415" y="606507"/>
                  <a:pt x="181484" y="603428"/>
                  <a:pt x="179626" y="601487"/>
                </a:cubicBezTo>
                <a:cubicBezTo>
                  <a:pt x="177769" y="599545"/>
                  <a:pt x="174690" y="599476"/>
                  <a:pt x="172749" y="601333"/>
                </a:cubicBezTo>
                <a:cubicBezTo>
                  <a:pt x="172697" y="601384"/>
                  <a:pt x="172646" y="601435"/>
                  <a:pt x="172596" y="601487"/>
                </a:cubicBezTo>
                <a:cubicBezTo>
                  <a:pt x="170739" y="603318"/>
                  <a:pt x="170717" y="606307"/>
                  <a:pt x="172549" y="608164"/>
                </a:cubicBezTo>
                <a:cubicBezTo>
                  <a:pt x="172564" y="608180"/>
                  <a:pt x="172580" y="608195"/>
                  <a:pt x="172596" y="608211"/>
                </a:cubicBezTo>
                <a:moveTo>
                  <a:pt x="140118" y="638686"/>
                </a:moveTo>
                <a:cubicBezTo>
                  <a:pt x="141777" y="640379"/>
                  <a:pt x="144494" y="640406"/>
                  <a:pt x="146187" y="638746"/>
                </a:cubicBezTo>
                <a:cubicBezTo>
                  <a:pt x="147881" y="637088"/>
                  <a:pt x="147908" y="634369"/>
                  <a:pt x="146249" y="632677"/>
                </a:cubicBezTo>
                <a:cubicBezTo>
                  <a:pt x="144589" y="630984"/>
                  <a:pt x="141872" y="630957"/>
                  <a:pt x="140178" y="632617"/>
                </a:cubicBezTo>
                <a:cubicBezTo>
                  <a:pt x="140158" y="632637"/>
                  <a:pt x="140138" y="632657"/>
                  <a:pt x="140118" y="632677"/>
                </a:cubicBezTo>
                <a:cubicBezTo>
                  <a:pt x="138482" y="634347"/>
                  <a:pt x="138482" y="637016"/>
                  <a:pt x="140118" y="638686"/>
                </a:cubicBezTo>
                <a:moveTo>
                  <a:pt x="107640" y="669161"/>
                </a:moveTo>
                <a:cubicBezTo>
                  <a:pt x="109102" y="670490"/>
                  <a:pt x="111364" y="670381"/>
                  <a:pt x="112693" y="668921"/>
                </a:cubicBezTo>
                <a:cubicBezTo>
                  <a:pt x="114021" y="667458"/>
                  <a:pt x="113914" y="665196"/>
                  <a:pt x="112451" y="663867"/>
                </a:cubicBezTo>
                <a:cubicBezTo>
                  <a:pt x="111088" y="662627"/>
                  <a:pt x="109005" y="662627"/>
                  <a:pt x="107640" y="663867"/>
                </a:cubicBezTo>
                <a:cubicBezTo>
                  <a:pt x="106241" y="665355"/>
                  <a:pt x="106241" y="667674"/>
                  <a:pt x="107640" y="669161"/>
                </a:cubicBezTo>
                <a:moveTo>
                  <a:pt x="387208" y="446107"/>
                </a:moveTo>
                <a:cubicBezTo>
                  <a:pt x="390334" y="449218"/>
                  <a:pt x="395385" y="449218"/>
                  <a:pt x="398511" y="446107"/>
                </a:cubicBezTo>
                <a:cubicBezTo>
                  <a:pt x="401638" y="442932"/>
                  <a:pt x="401638" y="437836"/>
                  <a:pt x="398511" y="434661"/>
                </a:cubicBezTo>
                <a:cubicBezTo>
                  <a:pt x="395385" y="431551"/>
                  <a:pt x="390334" y="431551"/>
                  <a:pt x="387208" y="434661"/>
                </a:cubicBezTo>
                <a:cubicBezTo>
                  <a:pt x="384086" y="437686"/>
                  <a:pt x="384007" y="442668"/>
                  <a:pt x="387032" y="445788"/>
                </a:cubicBezTo>
                <a:cubicBezTo>
                  <a:pt x="387089" y="445848"/>
                  <a:pt x="387148" y="445907"/>
                  <a:pt x="387208" y="445964"/>
                </a:cubicBezTo>
                <a:moveTo>
                  <a:pt x="354587" y="476439"/>
                </a:moveTo>
                <a:cubicBezTo>
                  <a:pt x="357474" y="479362"/>
                  <a:pt x="362184" y="479392"/>
                  <a:pt x="365109" y="476505"/>
                </a:cubicBezTo>
                <a:cubicBezTo>
                  <a:pt x="365130" y="476484"/>
                  <a:pt x="365153" y="476462"/>
                  <a:pt x="365174" y="476439"/>
                </a:cubicBezTo>
                <a:cubicBezTo>
                  <a:pt x="368046" y="473495"/>
                  <a:pt x="368046" y="468796"/>
                  <a:pt x="365174" y="465852"/>
                </a:cubicBezTo>
                <a:cubicBezTo>
                  <a:pt x="362010" y="463109"/>
                  <a:pt x="357221" y="463451"/>
                  <a:pt x="354478" y="466616"/>
                </a:cubicBezTo>
                <a:cubicBezTo>
                  <a:pt x="352133" y="469320"/>
                  <a:pt x="352000" y="473297"/>
                  <a:pt x="354158" y="476153"/>
                </a:cubicBezTo>
                <a:moveTo>
                  <a:pt x="321680" y="506628"/>
                </a:moveTo>
                <a:cubicBezTo>
                  <a:pt x="324317" y="509354"/>
                  <a:pt x="328665" y="509426"/>
                  <a:pt x="331390" y="506790"/>
                </a:cubicBezTo>
                <a:cubicBezTo>
                  <a:pt x="331445" y="506737"/>
                  <a:pt x="331499" y="506682"/>
                  <a:pt x="331552" y="506628"/>
                </a:cubicBezTo>
                <a:cubicBezTo>
                  <a:pt x="334124" y="503734"/>
                  <a:pt x="333863" y="499302"/>
                  <a:pt x="330968" y="496730"/>
                </a:cubicBezTo>
                <a:cubicBezTo>
                  <a:pt x="328427" y="494472"/>
                  <a:pt x="324633" y="494364"/>
                  <a:pt x="321966" y="496470"/>
                </a:cubicBezTo>
                <a:cubicBezTo>
                  <a:pt x="319332" y="499234"/>
                  <a:pt x="319332" y="503578"/>
                  <a:pt x="321966" y="506342"/>
                </a:cubicBezTo>
                <a:moveTo>
                  <a:pt x="289488" y="536817"/>
                </a:moveTo>
                <a:cubicBezTo>
                  <a:pt x="291977" y="539356"/>
                  <a:pt x="296054" y="539396"/>
                  <a:pt x="298593" y="536908"/>
                </a:cubicBezTo>
                <a:cubicBezTo>
                  <a:pt x="301133" y="534419"/>
                  <a:pt x="301173" y="530343"/>
                  <a:pt x="298683" y="527803"/>
                </a:cubicBezTo>
                <a:cubicBezTo>
                  <a:pt x="296195" y="525263"/>
                  <a:pt x="292118" y="525223"/>
                  <a:pt x="289579" y="527711"/>
                </a:cubicBezTo>
                <a:cubicBezTo>
                  <a:pt x="289548" y="527742"/>
                  <a:pt x="289518" y="527773"/>
                  <a:pt x="289488" y="527803"/>
                </a:cubicBezTo>
                <a:cubicBezTo>
                  <a:pt x="286998" y="530231"/>
                  <a:pt x="286948" y="534216"/>
                  <a:pt x="289376" y="536705"/>
                </a:cubicBezTo>
                <a:cubicBezTo>
                  <a:pt x="289414" y="536742"/>
                  <a:pt x="289451" y="536780"/>
                  <a:pt x="289488" y="536817"/>
                </a:cubicBezTo>
                <a:moveTo>
                  <a:pt x="257010" y="567864"/>
                </a:moveTo>
                <a:cubicBezTo>
                  <a:pt x="259301" y="570156"/>
                  <a:pt x="263015" y="570156"/>
                  <a:pt x="265305" y="567867"/>
                </a:cubicBezTo>
                <a:cubicBezTo>
                  <a:pt x="265307" y="567865"/>
                  <a:pt x="265307" y="567865"/>
                  <a:pt x="265308" y="567864"/>
                </a:cubicBezTo>
                <a:cubicBezTo>
                  <a:pt x="267600" y="565686"/>
                  <a:pt x="267693" y="562065"/>
                  <a:pt x="265516" y="559773"/>
                </a:cubicBezTo>
                <a:cubicBezTo>
                  <a:pt x="265448" y="559702"/>
                  <a:pt x="265380" y="559633"/>
                  <a:pt x="265308" y="559566"/>
                </a:cubicBezTo>
                <a:cubicBezTo>
                  <a:pt x="263096" y="557195"/>
                  <a:pt x="259381" y="557068"/>
                  <a:pt x="257010" y="559279"/>
                </a:cubicBezTo>
                <a:cubicBezTo>
                  <a:pt x="254639" y="561491"/>
                  <a:pt x="254512" y="565207"/>
                  <a:pt x="256724" y="567578"/>
                </a:cubicBezTo>
                <a:moveTo>
                  <a:pt x="224246" y="598053"/>
                </a:moveTo>
                <a:cubicBezTo>
                  <a:pt x="226300" y="600133"/>
                  <a:pt x="229653" y="600153"/>
                  <a:pt x="231731" y="598100"/>
                </a:cubicBezTo>
                <a:cubicBezTo>
                  <a:pt x="233812" y="596045"/>
                  <a:pt x="233833" y="592693"/>
                  <a:pt x="231779" y="590613"/>
                </a:cubicBezTo>
                <a:cubicBezTo>
                  <a:pt x="229724" y="588533"/>
                  <a:pt x="226372" y="588513"/>
                  <a:pt x="224292" y="590567"/>
                </a:cubicBezTo>
                <a:cubicBezTo>
                  <a:pt x="224277" y="590581"/>
                  <a:pt x="224262" y="590597"/>
                  <a:pt x="224246" y="590613"/>
                </a:cubicBezTo>
                <a:cubicBezTo>
                  <a:pt x="222210" y="592675"/>
                  <a:pt x="222210" y="595991"/>
                  <a:pt x="224246" y="598053"/>
                </a:cubicBezTo>
                <a:moveTo>
                  <a:pt x="192626" y="628814"/>
                </a:moveTo>
                <a:cubicBezTo>
                  <a:pt x="194483" y="630644"/>
                  <a:pt x="197472" y="630624"/>
                  <a:pt x="199304" y="628767"/>
                </a:cubicBezTo>
                <a:cubicBezTo>
                  <a:pt x="201133" y="626910"/>
                  <a:pt x="201112" y="623919"/>
                  <a:pt x="199256" y="622089"/>
                </a:cubicBezTo>
                <a:cubicBezTo>
                  <a:pt x="197418" y="620277"/>
                  <a:pt x="194465" y="620277"/>
                  <a:pt x="192626" y="622089"/>
                </a:cubicBezTo>
                <a:cubicBezTo>
                  <a:pt x="190769" y="623919"/>
                  <a:pt x="190748" y="626910"/>
                  <a:pt x="192579" y="628767"/>
                </a:cubicBezTo>
                <a:cubicBezTo>
                  <a:pt x="192595" y="628782"/>
                  <a:pt x="192611" y="628798"/>
                  <a:pt x="192626" y="628814"/>
                </a:cubicBezTo>
                <a:moveTo>
                  <a:pt x="159576" y="659289"/>
                </a:moveTo>
                <a:cubicBezTo>
                  <a:pt x="161196" y="660908"/>
                  <a:pt x="163822" y="660908"/>
                  <a:pt x="165442" y="659289"/>
                </a:cubicBezTo>
                <a:cubicBezTo>
                  <a:pt x="167077" y="657619"/>
                  <a:pt x="167077" y="654949"/>
                  <a:pt x="165442" y="653280"/>
                </a:cubicBezTo>
                <a:cubicBezTo>
                  <a:pt x="163861" y="651620"/>
                  <a:pt x="161236" y="651556"/>
                  <a:pt x="159576" y="653137"/>
                </a:cubicBezTo>
                <a:cubicBezTo>
                  <a:pt x="159527" y="653184"/>
                  <a:pt x="159480" y="653231"/>
                  <a:pt x="159433" y="653280"/>
                </a:cubicBezTo>
                <a:cubicBezTo>
                  <a:pt x="157813" y="654786"/>
                  <a:pt x="157722" y="657321"/>
                  <a:pt x="159228" y="658941"/>
                </a:cubicBezTo>
                <a:cubicBezTo>
                  <a:pt x="159294" y="659013"/>
                  <a:pt x="159363" y="659080"/>
                  <a:pt x="159433" y="659146"/>
                </a:cubicBezTo>
                <a:moveTo>
                  <a:pt x="126955" y="689334"/>
                </a:moveTo>
                <a:cubicBezTo>
                  <a:pt x="128377" y="690817"/>
                  <a:pt x="130732" y="690865"/>
                  <a:pt x="132214" y="689443"/>
                </a:cubicBezTo>
                <a:cubicBezTo>
                  <a:pt x="133697" y="688021"/>
                  <a:pt x="133745" y="685666"/>
                  <a:pt x="132323" y="684184"/>
                </a:cubicBezTo>
                <a:cubicBezTo>
                  <a:pt x="130901" y="682702"/>
                  <a:pt x="128546" y="682653"/>
                  <a:pt x="127064" y="684075"/>
                </a:cubicBezTo>
                <a:cubicBezTo>
                  <a:pt x="127026" y="684111"/>
                  <a:pt x="126991" y="684147"/>
                  <a:pt x="126955" y="684184"/>
                </a:cubicBezTo>
                <a:cubicBezTo>
                  <a:pt x="125574" y="685623"/>
                  <a:pt x="125574" y="687895"/>
                  <a:pt x="126955" y="689334"/>
                </a:cubicBezTo>
                <a:moveTo>
                  <a:pt x="407238" y="466710"/>
                </a:moveTo>
                <a:cubicBezTo>
                  <a:pt x="410365" y="469820"/>
                  <a:pt x="415415" y="469820"/>
                  <a:pt x="418541" y="466710"/>
                </a:cubicBezTo>
                <a:cubicBezTo>
                  <a:pt x="421603" y="463515"/>
                  <a:pt x="421494" y="458443"/>
                  <a:pt x="418300" y="455381"/>
                </a:cubicBezTo>
                <a:cubicBezTo>
                  <a:pt x="415369" y="452574"/>
                  <a:pt x="410802" y="452400"/>
                  <a:pt x="407668" y="454978"/>
                </a:cubicBezTo>
                <a:cubicBezTo>
                  <a:pt x="404540" y="458153"/>
                  <a:pt x="404540" y="463249"/>
                  <a:pt x="407668" y="466424"/>
                </a:cubicBezTo>
                <a:moveTo>
                  <a:pt x="375190" y="496899"/>
                </a:moveTo>
                <a:cubicBezTo>
                  <a:pt x="378113" y="499786"/>
                  <a:pt x="382824" y="499756"/>
                  <a:pt x="385711" y="496833"/>
                </a:cubicBezTo>
                <a:cubicBezTo>
                  <a:pt x="388599" y="493909"/>
                  <a:pt x="388569" y="489199"/>
                  <a:pt x="385646" y="486311"/>
                </a:cubicBezTo>
                <a:cubicBezTo>
                  <a:pt x="382747" y="483450"/>
                  <a:pt x="378087" y="483450"/>
                  <a:pt x="375190" y="486311"/>
                </a:cubicBezTo>
                <a:cubicBezTo>
                  <a:pt x="372267" y="489199"/>
                  <a:pt x="372237" y="493909"/>
                  <a:pt x="375124" y="496833"/>
                </a:cubicBezTo>
                <a:cubicBezTo>
                  <a:pt x="375145" y="496855"/>
                  <a:pt x="375167" y="496877"/>
                  <a:pt x="375190" y="496899"/>
                </a:cubicBezTo>
                <a:moveTo>
                  <a:pt x="341567" y="527660"/>
                </a:moveTo>
                <a:cubicBezTo>
                  <a:pt x="344283" y="530277"/>
                  <a:pt x="348581" y="530277"/>
                  <a:pt x="351296" y="527660"/>
                </a:cubicBezTo>
                <a:cubicBezTo>
                  <a:pt x="354022" y="525023"/>
                  <a:pt x="354095" y="520675"/>
                  <a:pt x="351458" y="517949"/>
                </a:cubicBezTo>
                <a:cubicBezTo>
                  <a:pt x="351405" y="517895"/>
                  <a:pt x="351351" y="517841"/>
                  <a:pt x="351296" y="517788"/>
                </a:cubicBezTo>
                <a:cubicBezTo>
                  <a:pt x="348581" y="515171"/>
                  <a:pt x="344283" y="515171"/>
                  <a:pt x="341567" y="517788"/>
                </a:cubicBezTo>
                <a:cubicBezTo>
                  <a:pt x="338842" y="520425"/>
                  <a:pt x="338769" y="524773"/>
                  <a:pt x="341405" y="527498"/>
                </a:cubicBezTo>
                <a:cubicBezTo>
                  <a:pt x="341458" y="527553"/>
                  <a:pt x="341513" y="527607"/>
                  <a:pt x="341567" y="527660"/>
                </a:cubicBezTo>
                <a:moveTo>
                  <a:pt x="308946" y="558135"/>
                </a:moveTo>
                <a:cubicBezTo>
                  <a:pt x="311374" y="560624"/>
                  <a:pt x="315359" y="560674"/>
                  <a:pt x="317848" y="558246"/>
                </a:cubicBezTo>
                <a:cubicBezTo>
                  <a:pt x="317885" y="558209"/>
                  <a:pt x="317923" y="558172"/>
                  <a:pt x="317960" y="558135"/>
                </a:cubicBezTo>
                <a:cubicBezTo>
                  <a:pt x="320863" y="556082"/>
                  <a:pt x="321554" y="552064"/>
                  <a:pt x="319501" y="549161"/>
                </a:cubicBezTo>
                <a:cubicBezTo>
                  <a:pt x="317448" y="546257"/>
                  <a:pt x="313430" y="545567"/>
                  <a:pt x="310527" y="547620"/>
                </a:cubicBezTo>
                <a:cubicBezTo>
                  <a:pt x="310041" y="547964"/>
                  <a:pt x="309606" y="548373"/>
                  <a:pt x="309232" y="548835"/>
                </a:cubicBezTo>
                <a:cubicBezTo>
                  <a:pt x="306743" y="551263"/>
                  <a:pt x="306693" y="555248"/>
                  <a:pt x="309121" y="557737"/>
                </a:cubicBezTo>
                <a:cubicBezTo>
                  <a:pt x="309158" y="557774"/>
                  <a:pt x="309195" y="557812"/>
                  <a:pt x="309232" y="557849"/>
                </a:cubicBezTo>
                <a:moveTo>
                  <a:pt x="276468" y="589182"/>
                </a:moveTo>
                <a:cubicBezTo>
                  <a:pt x="278680" y="591553"/>
                  <a:pt x="282396" y="591680"/>
                  <a:pt x="284766" y="589468"/>
                </a:cubicBezTo>
                <a:cubicBezTo>
                  <a:pt x="287137" y="587256"/>
                  <a:pt x="287265" y="583541"/>
                  <a:pt x="285053" y="581170"/>
                </a:cubicBezTo>
                <a:cubicBezTo>
                  <a:pt x="282841" y="578799"/>
                  <a:pt x="279125" y="578672"/>
                  <a:pt x="276754" y="580884"/>
                </a:cubicBezTo>
                <a:cubicBezTo>
                  <a:pt x="274383" y="583096"/>
                  <a:pt x="274256" y="586811"/>
                  <a:pt x="276468" y="589182"/>
                </a:cubicBezTo>
                <a:moveTo>
                  <a:pt x="243990" y="619657"/>
                </a:moveTo>
                <a:cubicBezTo>
                  <a:pt x="246052" y="621693"/>
                  <a:pt x="249368" y="621693"/>
                  <a:pt x="251430" y="619657"/>
                </a:cubicBezTo>
                <a:cubicBezTo>
                  <a:pt x="253620" y="617602"/>
                  <a:pt x="253729" y="614162"/>
                  <a:pt x="251675" y="611973"/>
                </a:cubicBezTo>
                <a:cubicBezTo>
                  <a:pt x="249620" y="609782"/>
                  <a:pt x="246181" y="609673"/>
                  <a:pt x="243990" y="611726"/>
                </a:cubicBezTo>
                <a:cubicBezTo>
                  <a:pt x="241800" y="613781"/>
                  <a:pt x="241691" y="617222"/>
                  <a:pt x="243745" y="619412"/>
                </a:cubicBezTo>
                <a:cubicBezTo>
                  <a:pt x="243824" y="619497"/>
                  <a:pt x="243906" y="619578"/>
                  <a:pt x="243990" y="619657"/>
                </a:cubicBezTo>
                <a:moveTo>
                  <a:pt x="211369" y="650132"/>
                </a:moveTo>
                <a:cubicBezTo>
                  <a:pt x="213268" y="652023"/>
                  <a:pt x="216338" y="652023"/>
                  <a:pt x="218237" y="650132"/>
                </a:cubicBezTo>
                <a:cubicBezTo>
                  <a:pt x="220134" y="648315"/>
                  <a:pt x="220197" y="645305"/>
                  <a:pt x="218380" y="643407"/>
                </a:cubicBezTo>
                <a:cubicBezTo>
                  <a:pt x="216563" y="641512"/>
                  <a:pt x="213551" y="641447"/>
                  <a:pt x="211655" y="643264"/>
                </a:cubicBezTo>
                <a:cubicBezTo>
                  <a:pt x="209857" y="645144"/>
                  <a:pt x="209857" y="648109"/>
                  <a:pt x="211655" y="649989"/>
                </a:cubicBezTo>
                <a:moveTo>
                  <a:pt x="178319" y="680035"/>
                </a:moveTo>
                <a:cubicBezTo>
                  <a:pt x="179988" y="681670"/>
                  <a:pt x="182658" y="681670"/>
                  <a:pt x="184328" y="680035"/>
                </a:cubicBezTo>
                <a:cubicBezTo>
                  <a:pt x="185948" y="678415"/>
                  <a:pt x="185948" y="675788"/>
                  <a:pt x="184328" y="674169"/>
                </a:cubicBezTo>
                <a:cubicBezTo>
                  <a:pt x="182658" y="672533"/>
                  <a:pt x="179987" y="672533"/>
                  <a:pt x="178319" y="674169"/>
                </a:cubicBezTo>
                <a:cubicBezTo>
                  <a:pt x="176755" y="675867"/>
                  <a:pt x="176755" y="678479"/>
                  <a:pt x="178319" y="680178"/>
                </a:cubicBezTo>
                <a:moveTo>
                  <a:pt x="145841" y="710653"/>
                </a:moveTo>
                <a:cubicBezTo>
                  <a:pt x="147211" y="712075"/>
                  <a:pt x="149476" y="712116"/>
                  <a:pt x="150898" y="710746"/>
                </a:cubicBezTo>
                <a:cubicBezTo>
                  <a:pt x="150930" y="710716"/>
                  <a:pt x="150961" y="710684"/>
                  <a:pt x="150991" y="710653"/>
                </a:cubicBezTo>
                <a:cubicBezTo>
                  <a:pt x="152454" y="709269"/>
                  <a:pt x="152518" y="706964"/>
                  <a:pt x="151135" y="705502"/>
                </a:cubicBezTo>
                <a:cubicBezTo>
                  <a:pt x="149751" y="704040"/>
                  <a:pt x="147446" y="703975"/>
                  <a:pt x="145984" y="705359"/>
                </a:cubicBezTo>
                <a:cubicBezTo>
                  <a:pt x="144562" y="706729"/>
                  <a:pt x="144520" y="708994"/>
                  <a:pt x="145891" y="710417"/>
                </a:cubicBezTo>
                <a:cubicBezTo>
                  <a:pt x="145921" y="710448"/>
                  <a:pt x="145952" y="710479"/>
                  <a:pt x="145984" y="710510"/>
                </a:cubicBezTo>
                <a:moveTo>
                  <a:pt x="309518" y="363124"/>
                </a:moveTo>
                <a:cubicBezTo>
                  <a:pt x="312639" y="366260"/>
                  <a:pt x="317712" y="366273"/>
                  <a:pt x="320850" y="363153"/>
                </a:cubicBezTo>
                <a:cubicBezTo>
                  <a:pt x="323986" y="360031"/>
                  <a:pt x="323999" y="354957"/>
                  <a:pt x="320877" y="351821"/>
                </a:cubicBezTo>
                <a:cubicBezTo>
                  <a:pt x="317757" y="348685"/>
                  <a:pt x="312683" y="348672"/>
                  <a:pt x="309547" y="351792"/>
                </a:cubicBezTo>
                <a:cubicBezTo>
                  <a:pt x="309537" y="351802"/>
                  <a:pt x="309528" y="351811"/>
                  <a:pt x="309518" y="351821"/>
                </a:cubicBezTo>
                <a:cubicBezTo>
                  <a:pt x="306408" y="354947"/>
                  <a:pt x="306408" y="359998"/>
                  <a:pt x="309518" y="363124"/>
                </a:cubicBezTo>
                <a:moveTo>
                  <a:pt x="277040" y="393599"/>
                </a:moveTo>
                <a:cubicBezTo>
                  <a:pt x="279815" y="396522"/>
                  <a:pt x="284433" y="396645"/>
                  <a:pt x="287356" y="393871"/>
                </a:cubicBezTo>
                <a:cubicBezTo>
                  <a:pt x="287449" y="393782"/>
                  <a:pt x="287539" y="393692"/>
                  <a:pt x="287628" y="393599"/>
                </a:cubicBezTo>
                <a:cubicBezTo>
                  <a:pt x="290631" y="390755"/>
                  <a:pt x="290758" y="386014"/>
                  <a:pt x="287914" y="383011"/>
                </a:cubicBezTo>
                <a:cubicBezTo>
                  <a:pt x="285070" y="380008"/>
                  <a:pt x="280330" y="379881"/>
                  <a:pt x="277327" y="382725"/>
                </a:cubicBezTo>
                <a:cubicBezTo>
                  <a:pt x="274442" y="385539"/>
                  <a:pt x="274386" y="390159"/>
                  <a:pt x="277201" y="393044"/>
                </a:cubicBezTo>
                <a:cubicBezTo>
                  <a:pt x="277242" y="393087"/>
                  <a:pt x="277284" y="393128"/>
                  <a:pt x="277327" y="393170"/>
                </a:cubicBezTo>
                <a:moveTo>
                  <a:pt x="244849" y="423788"/>
                </a:moveTo>
                <a:cubicBezTo>
                  <a:pt x="247564" y="426404"/>
                  <a:pt x="251862" y="426404"/>
                  <a:pt x="254578" y="423788"/>
                </a:cubicBezTo>
                <a:cubicBezTo>
                  <a:pt x="257303" y="421151"/>
                  <a:pt x="257376" y="416803"/>
                  <a:pt x="254739" y="414077"/>
                </a:cubicBezTo>
                <a:cubicBezTo>
                  <a:pt x="254686" y="414023"/>
                  <a:pt x="254632" y="413968"/>
                  <a:pt x="254578" y="413915"/>
                </a:cubicBezTo>
                <a:cubicBezTo>
                  <a:pt x="251862" y="411299"/>
                  <a:pt x="247564" y="411299"/>
                  <a:pt x="244849" y="413915"/>
                </a:cubicBezTo>
                <a:cubicBezTo>
                  <a:pt x="242123" y="416552"/>
                  <a:pt x="242050" y="420900"/>
                  <a:pt x="244687" y="423626"/>
                </a:cubicBezTo>
                <a:cubicBezTo>
                  <a:pt x="244740" y="423680"/>
                  <a:pt x="244794" y="423735"/>
                  <a:pt x="244849" y="423788"/>
                </a:cubicBezTo>
                <a:moveTo>
                  <a:pt x="211941" y="454692"/>
                </a:moveTo>
                <a:cubicBezTo>
                  <a:pt x="213830" y="457705"/>
                  <a:pt x="217805" y="458615"/>
                  <a:pt x="220816" y="456726"/>
                </a:cubicBezTo>
                <a:cubicBezTo>
                  <a:pt x="223829" y="454836"/>
                  <a:pt x="224739" y="450863"/>
                  <a:pt x="222851" y="447851"/>
                </a:cubicBezTo>
                <a:cubicBezTo>
                  <a:pt x="222427" y="447175"/>
                  <a:pt x="221881" y="446584"/>
                  <a:pt x="221241" y="446107"/>
                </a:cubicBezTo>
                <a:cubicBezTo>
                  <a:pt x="218792" y="443499"/>
                  <a:pt x="214693" y="443372"/>
                  <a:pt x="212084" y="445821"/>
                </a:cubicBezTo>
                <a:cubicBezTo>
                  <a:pt x="209476" y="448271"/>
                  <a:pt x="209349" y="452370"/>
                  <a:pt x="211798" y="454978"/>
                </a:cubicBezTo>
                <a:moveTo>
                  <a:pt x="179320" y="485453"/>
                </a:moveTo>
                <a:cubicBezTo>
                  <a:pt x="181532" y="487824"/>
                  <a:pt x="185248" y="487951"/>
                  <a:pt x="187619" y="485739"/>
                </a:cubicBezTo>
                <a:cubicBezTo>
                  <a:pt x="189989" y="483527"/>
                  <a:pt x="190117" y="479811"/>
                  <a:pt x="187905" y="477441"/>
                </a:cubicBezTo>
                <a:cubicBezTo>
                  <a:pt x="185727" y="475149"/>
                  <a:pt x="182106" y="475056"/>
                  <a:pt x="179814" y="477233"/>
                </a:cubicBezTo>
                <a:cubicBezTo>
                  <a:pt x="179742" y="477300"/>
                  <a:pt x="179674" y="477369"/>
                  <a:pt x="179606" y="477441"/>
                </a:cubicBezTo>
                <a:cubicBezTo>
                  <a:pt x="177314" y="479731"/>
                  <a:pt x="177314" y="483446"/>
                  <a:pt x="179604" y="485736"/>
                </a:cubicBezTo>
                <a:cubicBezTo>
                  <a:pt x="179605" y="485738"/>
                  <a:pt x="179605" y="485738"/>
                  <a:pt x="179606" y="485739"/>
                </a:cubicBezTo>
                <a:moveTo>
                  <a:pt x="147128" y="516214"/>
                </a:moveTo>
                <a:cubicBezTo>
                  <a:pt x="149143" y="518347"/>
                  <a:pt x="152507" y="518443"/>
                  <a:pt x="154640" y="516429"/>
                </a:cubicBezTo>
                <a:cubicBezTo>
                  <a:pt x="156773" y="514414"/>
                  <a:pt x="156869" y="511050"/>
                  <a:pt x="154855" y="508917"/>
                </a:cubicBezTo>
                <a:cubicBezTo>
                  <a:pt x="152744" y="506864"/>
                  <a:pt x="149382" y="506864"/>
                  <a:pt x="147272" y="508917"/>
                </a:cubicBezTo>
                <a:cubicBezTo>
                  <a:pt x="145290" y="511056"/>
                  <a:pt x="145290" y="514361"/>
                  <a:pt x="147272" y="516500"/>
                </a:cubicBezTo>
                <a:moveTo>
                  <a:pt x="114507" y="546260"/>
                </a:moveTo>
                <a:cubicBezTo>
                  <a:pt x="116365" y="548091"/>
                  <a:pt x="119353" y="548070"/>
                  <a:pt x="121185" y="546212"/>
                </a:cubicBezTo>
                <a:cubicBezTo>
                  <a:pt x="123015" y="544355"/>
                  <a:pt x="122993" y="541367"/>
                  <a:pt x="121137" y="539535"/>
                </a:cubicBezTo>
                <a:cubicBezTo>
                  <a:pt x="119299" y="537722"/>
                  <a:pt x="116346" y="537722"/>
                  <a:pt x="114507" y="539535"/>
                </a:cubicBezTo>
                <a:cubicBezTo>
                  <a:pt x="112650" y="541367"/>
                  <a:pt x="112629" y="544355"/>
                  <a:pt x="114460" y="546212"/>
                </a:cubicBezTo>
                <a:cubicBezTo>
                  <a:pt x="114476" y="546228"/>
                  <a:pt x="114492" y="546244"/>
                  <a:pt x="114507" y="546260"/>
                </a:cubicBezTo>
                <a:moveTo>
                  <a:pt x="81886" y="576735"/>
                </a:moveTo>
                <a:cubicBezTo>
                  <a:pt x="83546" y="578427"/>
                  <a:pt x="86263" y="578454"/>
                  <a:pt x="87956" y="576795"/>
                </a:cubicBezTo>
                <a:cubicBezTo>
                  <a:pt x="89650" y="575137"/>
                  <a:pt x="89677" y="572418"/>
                  <a:pt x="88017" y="570725"/>
                </a:cubicBezTo>
                <a:cubicBezTo>
                  <a:pt x="86357" y="569033"/>
                  <a:pt x="83640" y="569006"/>
                  <a:pt x="81946" y="570665"/>
                </a:cubicBezTo>
                <a:cubicBezTo>
                  <a:pt x="81926" y="570685"/>
                  <a:pt x="81906" y="570705"/>
                  <a:pt x="81886" y="570725"/>
                </a:cubicBezTo>
                <a:cubicBezTo>
                  <a:pt x="80251" y="572394"/>
                  <a:pt x="80251" y="575065"/>
                  <a:pt x="81886" y="576735"/>
                </a:cubicBezTo>
                <a:moveTo>
                  <a:pt x="49551" y="607066"/>
                </a:moveTo>
                <a:cubicBezTo>
                  <a:pt x="50922" y="608489"/>
                  <a:pt x="53187" y="608530"/>
                  <a:pt x="54609" y="607159"/>
                </a:cubicBezTo>
                <a:cubicBezTo>
                  <a:pt x="54641" y="607129"/>
                  <a:pt x="54672" y="607098"/>
                  <a:pt x="54702" y="607066"/>
                </a:cubicBezTo>
                <a:cubicBezTo>
                  <a:pt x="56124" y="605696"/>
                  <a:pt x="56166" y="603431"/>
                  <a:pt x="54795" y="602009"/>
                </a:cubicBezTo>
                <a:cubicBezTo>
                  <a:pt x="54765" y="601977"/>
                  <a:pt x="54734" y="601946"/>
                  <a:pt x="54702" y="601916"/>
                </a:cubicBezTo>
                <a:cubicBezTo>
                  <a:pt x="53331" y="600494"/>
                  <a:pt x="51067" y="600452"/>
                  <a:pt x="49644" y="601823"/>
                </a:cubicBezTo>
                <a:cubicBezTo>
                  <a:pt x="49613" y="601853"/>
                  <a:pt x="49582" y="601884"/>
                  <a:pt x="49551" y="601916"/>
                </a:cubicBezTo>
                <a:cubicBezTo>
                  <a:pt x="48152" y="603402"/>
                  <a:pt x="48152" y="605723"/>
                  <a:pt x="49551" y="607210"/>
                </a:cubicBezTo>
                <a:moveTo>
                  <a:pt x="17073" y="637684"/>
                </a:moveTo>
                <a:cubicBezTo>
                  <a:pt x="18301" y="638903"/>
                  <a:pt x="20281" y="638903"/>
                  <a:pt x="21509" y="637684"/>
                </a:cubicBezTo>
                <a:cubicBezTo>
                  <a:pt x="22655" y="636428"/>
                  <a:pt x="22655" y="634505"/>
                  <a:pt x="21509" y="633249"/>
                </a:cubicBezTo>
                <a:cubicBezTo>
                  <a:pt x="20281" y="632030"/>
                  <a:pt x="18301" y="632030"/>
                  <a:pt x="17073" y="633249"/>
                </a:cubicBezTo>
                <a:cubicBezTo>
                  <a:pt x="15849" y="634369"/>
                  <a:pt x="15763" y="636269"/>
                  <a:pt x="16883" y="637494"/>
                </a:cubicBezTo>
                <a:cubicBezTo>
                  <a:pt x="16943" y="637560"/>
                  <a:pt x="17008" y="637624"/>
                  <a:pt x="17073" y="637684"/>
                </a:cubicBezTo>
                <a:moveTo>
                  <a:pt x="328977" y="383870"/>
                </a:moveTo>
                <a:cubicBezTo>
                  <a:pt x="332103" y="386980"/>
                  <a:pt x="337153" y="386980"/>
                  <a:pt x="340279" y="383870"/>
                </a:cubicBezTo>
                <a:cubicBezTo>
                  <a:pt x="343407" y="380695"/>
                  <a:pt x="343407" y="375599"/>
                  <a:pt x="340279" y="372424"/>
                </a:cubicBezTo>
                <a:cubicBezTo>
                  <a:pt x="337075" y="369372"/>
                  <a:pt x="332038" y="369372"/>
                  <a:pt x="328833" y="372424"/>
                </a:cubicBezTo>
                <a:cubicBezTo>
                  <a:pt x="325723" y="375550"/>
                  <a:pt x="325723" y="380601"/>
                  <a:pt x="328833" y="383727"/>
                </a:cubicBezTo>
                <a:moveTo>
                  <a:pt x="296212" y="414202"/>
                </a:moveTo>
                <a:cubicBezTo>
                  <a:pt x="299100" y="417125"/>
                  <a:pt x="303810" y="417155"/>
                  <a:pt x="306734" y="414267"/>
                </a:cubicBezTo>
                <a:cubicBezTo>
                  <a:pt x="306756" y="414246"/>
                  <a:pt x="306778" y="414225"/>
                  <a:pt x="306800" y="414202"/>
                </a:cubicBezTo>
                <a:cubicBezTo>
                  <a:pt x="309803" y="411396"/>
                  <a:pt x="309963" y="406689"/>
                  <a:pt x="307158" y="403686"/>
                </a:cubicBezTo>
                <a:cubicBezTo>
                  <a:pt x="304352" y="400682"/>
                  <a:pt x="299645" y="400522"/>
                  <a:pt x="296642" y="403328"/>
                </a:cubicBezTo>
                <a:cubicBezTo>
                  <a:pt x="293770" y="406272"/>
                  <a:pt x="293770" y="410971"/>
                  <a:pt x="296642" y="413915"/>
                </a:cubicBezTo>
                <a:moveTo>
                  <a:pt x="264164" y="444820"/>
                </a:moveTo>
                <a:cubicBezTo>
                  <a:pt x="266801" y="447545"/>
                  <a:pt x="271149" y="447618"/>
                  <a:pt x="273874" y="444981"/>
                </a:cubicBezTo>
                <a:cubicBezTo>
                  <a:pt x="273928" y="444928"/>
                  <a:pt x="273983" y="444874"/>
                  <a:pt x="274036" y="444820"/>
                </a:cubicBezTo>
                <a:cubicBezTo>
                  <a:pt x="276653" y="442104"/>
                  <a:pt x="276653" y="437806"/>
                  <a:pt x="274036" y="435091"/>
                </a:cubicBezTo>
                <a:cubicBezTo>
                  <a:pt x="271399" y="432365"/>
                  <a:pt x="267051" y="432292"/>
                  <a:pt x="264325" y="434929"/>
                </a:cubicBezTo>
                <a:cubicBezTo>
                  <a:pt x="264271" y="434982"/>
                  <a:pt x="264217" y="435036"/>
                  <a:pt x="264164" y="435091"/>
                </a:cubicBezTo>
                <a:cubicBezTo>
                  <a:pt x="261547" y="437806"/>
                  <a:pt x="261547" y="442104"/>
                  <a:pt x="264164" y="444820"/>
                </a:cubicBezTo>
                <a:moveTo>
                  <a:pt x="231400" y="474722"/>
                </a:moveTo>
                <a:cubicBezTo>
                  <a:pt x="233889" y="477262"/>
                  <a:pt x="237965" y="477302"/>
                  <a:pt x="240505" y="474814"/>
                </a:cubicBezTo>
                <a:cubicBezTo>
                  <a:pt x="243043" y="472324"/>
                  <a:pt x="243084" y="468248"/>
                  <a:pt x="240595" y="465709"/>
                </a:cubicBezTo>
                <a:cubicBezTo>
                  <a:pt x="238107" y="463169"/>
                  <a:pt x="234029" y="463129"/>
                  <a:pt x="231491" y="465617"/>
                </a:cubicBezTo>
                <a:cubicBezTo>
                  <a:pt x="231460" y="465647"/>
                  <a:pt x="231430" y="465679"/>
                  <a:pt x="231400" y="465709"/>
                </a:cubicBezTo>
                <a:cubicBezTo>
                  <a:pt x="228910" y="468137"/>
                  <a:pt x="228860" y="472121"/>
                  <a:pt x="231288" y="474611"/>
                </a:cubicBezTo>
                <a:cubicBezTo>
                  <a:pt x="231325" y="474648"/>
                  <a:pt x="231362" y="474685"/>
                  <a:pt x="231400" y="474722"/>
                </a:cubicBezTo>
                <a:moveTo>
                  <a:pt x="198922" y="505197"/>
                </a:moveTo>
                <a:cubicBezTo>
                  <a:pt x="201025" y="507449"/>
                  <a:pt x="204556" y="507569"/>
                  <a:pt x="206808" y="505466"/>
                </a:cubicBezTo>
                <a:cubicBezTo>
                  <a:pt x="206901" y="505379"/>
                  <a:pt x="206991" y="505290"/>
                  <a:pt x="207077" y="505197"/>
                </a:cubicBezTo>
                <a:cubicBezTo>
                  <a:pt x="209369" y="503020"/>
                  <a:pt x="209462" y="499398"/>
                  <a:pt x="207284" y="497106"/>
                </a:cubicBezTo>
                <a:cubicBezTo>
                  <a:pt x="207217" y="497035"/>
                  <a:pt x="207148" y="496966"/>
                  <a:pt x="207077" y="496899"/>
                </a:cubicBezTo>
                <a:cubicBezTo>
                  <a:pt x="204803" y="494700"/>
                  <a:pt x="201195" y="494700"/>
                  <a:pt x="198922" y="496899"/>
                </a:cubicBezTo>
                <a:cubicBezTo>
                  <a:pt x="196629" y="499076"/>
                  <a:pt x="196536" y="502698"/>
                  <a:pt x="198714" y="504990"/>
                </a:cubicBezTo>
                <a:cubicBezTo>
                  <a:pt x="198781" y="505061"/>
                  <a:pt x="198850" y="505130"/>
                  <a:pt x="198922" y="505197"/>
                </a:cubicBezTo>
                <a:moveTo>
                  <a:pt x="166300" y="536244"/>
                </a:moveTo>
                <a:cubicBezTo>
                  <a:pt x="168411" y="538298"/>
                  <a:pt x="171773" y="538298"/>
                  <a:pt x="173883" y="536244"/>
                </a:cubicBezTo>
                <a:cubicBezTo>
                  <a:pt x="175919" y="534183"/>
                  <a:pt x="175919" y="530866"/>
                  <a:pt x="173883" y="528805"/>
                </a:cubicBezTo>
                <a:cubicBezTo>
                  <a:pt x="171773" y="526751"/>
                  <a:pt x="168411" y="526751"/>
                  <a:pt x="166300" y="528805"/>
                </a:cubicBezTo>
                <a:cubicBezTo>
                  <a:pt x="164265" y="530866"/>
                  <a:pt x="164265" y="534183"/>
                  <a:pt x="166300" y="536244"/>
                </a:cubicBezTo>
                <a:moveTo>
                  <a:pt x="133822" y="566719"/>
                </a:moveTo>
                <a:cubicBezTo>
                  <a:pt x="135680" y="568551"/>
                  <a:pt x="138668" y="568529"/>
                  <a:pt x="140500" y="566672"/>
                </a:cubicBezTo>
                <a:cubicBezTo>
                  <a:pt x="142330" y="564815"/>
                  <a:pt x="142308" y="561826"/>
                  <a:pt x="140453" y="559995"/>
                </a:cubicBezTo>
                <a:cubicBezTo>
                  <a:pt x="138614" y="558182"/>
                  <a:pt x="135661" y="558182"/>
                  <a:pt x="133822" y="559995"/>
                </a:cubicBezTo>
                <a:cubicBezTo>
                  <a:pt x="131965" y="561826"/>
                  <a:pt x="131944" y="564815"/>
                  <a:pt x="133775" y="566672"/>
                </a:cubicBezTo>
                <a:cubicBezTo>
                  <a:pt x="133791" y="566688"/>
                  <a:pt x="133807" y="566704"/>
                  <a:pt x="133822" y="566719"/>
                </a:cubicBezTo>
                <a:moveTo>
                  <a:pt x="101345" y="597194"/>
                </a:moveTo>
                <a:cubicBezTo>
                  <a:pt x="103014" y="598830"/>
                  <a:pt x="105684" y="598830"/>
                  <a:pt x="107354" y="597194"/>
                </a:cubicBezTo>
                <a:cubicBezTo>
                  <a:pt x="108917" y="595496"/>
                  <a:pt x="108917" y="592883"/>
                  <a:pt x="107354" y="591185"/>
                </a:cubicBezTo>
                <a:cubicBezTo>
                  <a:pt x="105684" y="589550"/>
                  <a:pt x="103013" y="589550"/>
                  <a:pt x="101345" y="591185"/>
                </a:cubicBezTo>
                <a:cubicBezTo>
                  <a:pt x="99725" y="592805"/>
                  <a:pt x="99725" y="595432"/>
                  <a:pt x="101345" y="597051"/>
                </a:cubicBezTo>
                <a:moveTo>
                  <a:pt x="68867" y="627526"/>
                </a:moveTo>
                <a:cubicBezTo>
                  <a:pt x="70237" y="628948"/>
                  <a:pt x="72502" y="628990"/>
                  <a:pt x="73924" y="627619"/>
                </a:cubicBezTo>
                <a:cubicBezTo>
                  <a:pt x="73956" y="627589"/>
                  <a:pt x="73987" y="627558"/>
                  <a:pt x="74017" y="627526"/>
                </a:cubicBezTo>
                <a:cubicBezTo>
                  <a:pt x="75417" y="626038"/>
                  <a:pt x="75417" y="623719"/>
                  <a:pt x="74017" y="622232"/>
                </a:cubicBezTo>
                <a:cubicBezTo>
                  <a:pt x="72647" y="620810"/>
                  <a:pt x="70382" y="620769"/>
                  <a:pt x="68960" y="622139"/>
                </a:cubicBezTo>
                <a:cubicBezTo>
                  <a:pt x="68928" y="622169"/>
                  <a:pt x="68897" y="622201"/>
                  <a:pt x="68867" y="622232"/>
                </a:cubicBezTo>
                <a:cubicBezTo>
                  <a:pt x="67444" y="623603"/>
                  <a:pt x="67403" y="625868"/>
                  <a:pt x="68774" y="627290"/>
                </a:cubicBezTo>
                <a:cubicBezTo>
                  <a:pt x="68804" y="627322"/>
                  <a:pt x="68835" y="627353"/>
                  <a:pt x="68867" y="627383"/>
                </a:cubicBezTo>
                <a:moveTo>
                  <a:pt x="36245" y="658001"/>
                </a:moveTo>
                <a:cubicBezTo>
                  <a:pt x="37473" y="659220"/>
                  <a:pt x="39453" y="659220"/>
                  <a:pt x="40681" y="658001"/>
                </a:cubicBezTo>
                <a:cubicBezTo>
                  <a:pt x="41865" y="656839"/>
                  <a:pt x="41885" y="654938"/>
                  <a:pt x="40724" y="653752"/>
                </a:cubicBezTo>
                <a:cubicBezTo>
                  <a:pt x="40709" y="653737"/>
                  <a:pt x="40695" y="653723"/>
                  <a:pt x="40681" y="653709"/>
                </a:cubicBezTo>
                <a:cubicBezTo>
                  <a:pt x="39562" y="652484"/>
                  <a:pt x="37660" y="652398"/>
                  <a:pt x="36436" y="653519"/>
                </a:cubicBezTo>
                <a:cubicBezTo>
                  <a:pt x="36370" y="653579"/>
                  <a:pt x="36306" y="653643"/>
                  <a:pt x="36245" y="653709"/>
                </a:cubicBezTo>
                <a:cubicBezTo>
                  <a:pt x="35026" y="654936"/>
                  <a:pt x="35026" y="656917"/>
                  <a:pt x="36245" y="658144"/>
                </a:cubicBezTo>
                <a:moveTo>
                  <a:pt x="348292" y="404616"/>
                </a:moveTo>
                <a:cubicBezTo>
                  <a:pt x="351497" y="407667"/>
                  <a:pt x="356533" y="407667"/>
                  <a:pt x="359738" y="404616"/>
                </a:cubicBezTo>
                <a:cubicBezTo>
                  <a:pt x="362848" y="401489"/>
                  <a:pt x="362848" y="396439"/>
                  <a:pt x="359738" y="393313"/>
                </a:cubicBezTo>
                <a:cubicBezTo>
                  <a:pt x="356611" y="390202"/>
                  <a:pt x="351561" y="390202"/>
                  <a:pt x="348435" y="393313"/>
                </a:cubicBezTo>
                <a:cubicBezTo>
                  <a:pt x="345307" y="396488"/>
                  <a:pt x="345307" y="401584"/>
                  <a:pt x="348435" y="404759"/>
                </a:cubicBezTo>
                <a:moveTo>
                  <a:pt x="315957" y="435234"/>
                </a:moveTo>
                <a:cubicBezTo>
                  <a:pt x="318880" y="438121"/>
                  <a:pt x="323591" y="438091"/>
                  <a:pt x="326478" y="435168"/>
                </a:cubicBezTo>
                <a:cubicBezTo>
                  <a:pt x="329366" y="432243"/>
                  <a:pt x="329336" y="427533"/>
                  <a:pt x="326413" y="424646"/>
                </a:cubicBezTo>
                <a:cubicBezTo>
                  <a:pt x="323514" y="421785"/>
                  <a:pt x="318854" y="421785"/>
                  <a:pt x="315957" y="424646"/>
                </a:cubicBezTo>
                <a:cubicBezTo>
                  <a:pt x="313034" y="427533"/>
                  <a:pt x="313004" y="432243"/>
                  <a:pt x="315891" y="435168"/>
                </a:cubicBezTo>
                <a:cubicBezTo>
                  <a:pt x="315912" y="435189"/>
                  <a:pt x="315934" y="435212"/>
                  <a:pt x="315957" y="435234"/>
                </a:cubicBezTo>
                <a:moveTo>
                  <a:pt x="283479" y="465709"/>
                </a:moveTo>
                <a:cubicBezTo>
                  <a:pt x="286373" y="468281"/>
                  <a:pt x="290804" y="468019"/>
                  <a:pt x="293377" y="465125"/>
                </a:cubicBezTo>
                <a:cubicBezTo>
                  <a:pt x="295634" y="462584"/>
                  <a:pt x="295743" y="458789"/>
                  <a:pt x="293637" y="456123"/>
                </a:cubicBezTo>
                <a:cubicBezTo>
                  <a:pt x="290873" y="453489"/>
                  <a:pt x="286528" y="453489"/>
                  <a:pt x="283765" y="456123"/>
                </a:cubicBezTo>
                <a:cubicBezTo>
                  <a:pt x="281039" y="458759"/>
                  <a:pt x="280966" y="463107"/>
                  <a:pt x="283603" y="465833"/>
                </a:cubicBezTo>
                <a:cubicBezTo>
                  <a:pt x="283656" y="465887"/>
                  <a:pt x="283711" y="465942"/>
                  <a:pt x="283765" y="465995"/>
                </a:cubicBezTo>
                <a:moveTo>
                  <a:pt x="251287" y="496470"/>
                </a:moveTo>
                <a:cubicBezTo>
                  <a:pt x="253776" y="499009"/>
                  <a:pt x="257853" y="499049"/>
                  <a:pt x="260392" y="496561"/>
                </a:cubicBezTo>
                <a:cubicBezTo>
                  <a:pt x="262930" y="494072"/>
                  <a:pt x="262972" y="489996"/>
                  <a:pt x="260482" y="487456"/>
                </a:cubicBezTo>
                <a:cubicBezTo>
                  <a:pt x="257994" y="484916"/>
                  <a:pt x="253917" y="484876"/>
                  <a:pt x="251378" y="487364"/>
                </a:cubicBezTo>
                <a:cubicBezTo>
                  <a:pt x="251347" y="487394"/>
                  <a:pt x="251317" y="487426"/>
                  <a:pt x="251287" y="487456"/>
                </a:cubicBezTo>
                <a:cubicBezTo>
                  <a:pt x="248797" y="489884"/>
                  <a:pt x="248747" y="493869"/>
                  <a:pt x="251175" y="496358"/>
                </a:cubicBezTo>
                <a:cubicBezTo>
                  <a:pt x="251213" y="496395"/>
                  <a:pt x="251250" y="496432"/>
                  <a:pt x="251287" y="496470"/>
                </a:cubicBezTo>
                <a:moveTo>
                  <a:pt x="218666" y="526945"/>
                </a:moveTo>
                <a:cubicBezTo>
                  <a:pt x="220988" y="529161"/>
                  <a:pt x="224642" y="529161"/>
                  <a:pt x="226964" y="526945"/>
                </a:cubicBezTo>
                <a:cubicBezTo>
                  <a:pt x="229335" y="524733"/>
                  <a:pt x="229462" y="521017"/>
                  <a:pt x="227250" y="518646"/>
                </a:cubicBezTo>
                <a:cubicBezTo>
                  <a:pt x="225038" y="516275"/>
                  <a:pt x="221323" y="516148"/>
                  <a:pt x="218952" y="518360"/>
                </a:cubicBezTo>
                <a:cubicBezTo>
                  <a:pt x="216736" y="520682"/>
                  <a:pt x="216736" y="524336"/>
                  <a:pt x="218952" y="526658"/>
                </a:cubicBezTo>
                <a:moveTo>
                  <a:pt x="186474" y="557133"/>
                </a:moveTo>
                <a:cubicBezTo>
                  <a:pt x="188536" y="559169"/>
                  <a:pt x="191852" y="559169"/>
                  <a:pt x="193914" y="557133"/>
                </a:cubicBezTo>
                <a:cubicBezTo>
                  <a:pt x="195967" y="555023"/>
                  <a:pt x="195967" y="551661"/>
                  <a:pt x="193914" y="549550"/>
                </a:cubicBezTo>
                <a:cubicBezTo>
                  <a:pt x="191852" y="547514"/>
                  <a:pt x="188536" y="547514"/>
                  <a:pt x="186474" y="549550"/>
                </a:cubicBezTo>
                <a:cubicBezTo>
                  <a:pt x="184421" y="551661"/>
                  <a:pt x="184421" y="555023"/>
                  <a:pt x="186474" y="557133"/>
                </a:cubicBezTo>
                <a:moveTo>
                  <a:pt x="153996" y="587608"/>
                </a:moveTo>
                <a:cubicBezTo>
                  <a:pt x="155853" y="589440"/>
                  <a:pt x="158842" y="589418"/>
                  <a:pt x="160673" y="587561"/>
                </a:cubicBezTo>
                <a:cubicBezTo>
                  <a:pt x="162503" y="585704"/>
                  <a:pt x="162482" y="582715"/>
                  <a:pt x="160626" y="580884"/>
                </a:cubicBezTo>
                <a:cubicBezTo>
                  <a:pt x="158788" y="579071"/>
                  <a:pt x="155835" y="579071"/>
                  <a:pt x="153996" y="580884"/>
                </a:cubicBezTo>
                <a:cubicBezTo>
                  <a:pt x="152139" y="582715"/>
                  <a:pt x="152117" y="585704"/>
                  <a:pt x="153949" y="587561"/>
                </a:cubicBezTo>
                <a:cubicBezTo>
                  <a:pt x="153965" y="587577"/>
                  <a:pt x="153980" y="587593"/>
                  <a:pt x="153996" y="587608"/>
                </a:cubicBezTo>
                <a:moveTo>
                  <a:pt x="121089" y="617797"/>
                </a:moveTo>
                <a:cubicBezTo>
                  <a:pt x="122670" y="619457"/>
                  <a:pt x="125295" y="619521"/>
                  <a:pt x="126955" y="617940"/>
                </a:cubicBezTo>
                <a:cubicBezTo>
                  <a:pt x="127004" y="617894"/>
                  <a:pt x="127051" y="617846"/>
                  <a:pt x="127098" y="617797"/>
                </a:cubicBezTo>
                <a:cubicBezTo>
                  <a:pt x="128718" y="616290"/>
                  <a:pt x="128809" y="613755"/>
                  <a:pt x="127303" y="612136"/>
                </a:cubicBezTo>
                <a:cubicBezTo>
                  <a:pt x="127237" y="612064"/>
                  <a:pt x="127168" y="611997"/>
                  <a:pt x="127098" y="611931"/>
                </a:cubicBezTo>
                <a:cubicBezTo>
                  <a:pt x="125478" y="610311"/>
                  <a:pt x="122852" y="610311"/>
                  <a:pt x="121232" y="611931"/>
                </a:cubicBezTo>
                <a:cubicBezTo>
                  <a:pt x="119647" y="613543"/>
                  <a:pt x="119584" y="616109"/>
                  <a:pt x="121089" y="617797"/>
                </a:cubicBezTo>
                <a:moveTo>
                  <a:pt x="88182" y="648415"/>
                </a:moveTo>
                <a:cubicBezTo>
                  <a:pt x="89737" y="649759"/>
                  <a:pt x="92086" y="649587"/>
                  <a:pt x="93428" y="648032"/>
                </a:cubicBezTo>
                <a:cubicBezTo>
                  <a:pt x="94560" y="646722"/>
                  <a:pt x="94639" y="644805"/>
                  <a:pt x="93619" y="643407"/>
                </a:cubicBezTo>
                <a:cubicBezTo>
                  <a:pt x="92132" y="642008"/>
                  <a:pt x="89813" y="642008"/>
                  <a:pt x="88325" y="643407"/>
                </a:cubicBezTo>
                <a:cubicBezTo>
                  <a:pt x="86903" y="644778"/>
                  <a:pt x="86861" y="647043"/>
                  <a:pt x="88232" y="648465"/>
                </a:cubicBezTo>
                <a:cubicBezTo>
                  <a:pt x="88262" y="648497"/>
                  <a:pt x="88293" y="648528"/>
                  <a:pt x="88325" y="648558"/>
                </a:cubicBezTo>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94" name="Freeform: Shape 493">
            <a:extLst>
              <a:ext uri="{FF2B5EF4-FFF2-40B4-BE49-F238E27FC236}">
                <a16:creationId xmlns:a16="http://schemas.microsoft.com/office/drawing/2014/main" id="{1AB284F3-7FD1-4716-8462-DDCA3565BDEA}"/>
              </a:ext>
            </a:extLst>
          </p:cNvPr>
          <p:cNvSpPr/>
          <p:nvPr/>
        </p:nvSpPr>
        <p:spPr>
          <a:xfrm>
            <a:off x="1913940" y="3421221"/>
            <a:ext cx="326971" cy="326972"/>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95" name="Freeform: Shape 494">
            <a:extLst>
              <a:ext uri="{FF2B5EF4-FFF2-40B4-BE49-F238E27FC236}">
                <a16:creationId xmlns:a16="http://schemas.microsoft.com/office/drawing/2014/main" id="{E149CB01-F754-49AC-AD54-22A820559F8C}"/>
              </a:ext>
            </a:extLst>
          </p:cNvPr>
          <p:cNvSpPr/>
          <p:nvPr/>
        </p:nvSpPr>
        <p:spPr>
          <a:xfrm>
            <a:off x="1880236" y="3405376"/>
            <a:ext cx="326971" cy="326972"/>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37" name="Oval 536">
            <a:extLst>
              <a:ext uri="{FF2B5EF4-FFF2-40B4-BE49-F238E27FC236}">
                <a16:creationId xmlns:a16="http://schemas.microsoft.com/office/drawing/2014/main" id="{5DC91264-78CB-47D2-A7D4-B18897F68018}"/>
              </a:ext>
            </a:extLst>
          </p:cNvPr>
          <p:cNvSpPr/>
          <p:nvPr/>
        </p:nvSpPr>
        <p:spPr>
          <a:xfrm>
            <a:off x="1242411" y="2947647"/>
            <a:ext cx="414687" cy="414685"/>
          </a:xfrm>
          <a:prstGeom prst="ellipse">
            <a:avLst/>
          </a:prstGeom>
          <a:noFill/>
          <a:ln w="6350" cap="flat" cmpd="sng" algn="ctr">
            <a:solidFill>
              <a:srgbClr val="0D274D"/>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538" name="Oval 537">
            <a:extLst>
              <a:ext uri="{FF2B5EF4-FFF2-40B4-BE49-F238E27FC236}">
                <a16:creationId xmlns:a16="http://schemas.microsoft.com/office/drawing/2014/main" id="{B533DDB7-A922-4985-A518-21DFDF6FB546}"/>
              </a:ext>
            </a:extLst>
          </p:cNvPr>
          <p:cNvSpPr/>
          <p:nvPr/>
        </p:nvSpPr>
        <p:spPr>
          <a:xfrm>
            <a:off x="1214934" y="2933849"/>
            <a:ext cx="411809" cy="411809"/>
          </a:xfrm>
          <a:prstGeom prst="ellipse">
            <a:avLst/>
          </a:prstGeom>
          <a:solidFill>
            <a:srgbClr val="74BF4B">
              <a:alpha val="73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58" name="Oval 57">
            <a:extLst>
              <a:ext uri="{FF2B5EF4-FFF2-40B4-BE49-F238E27FC236}">
                <a16:creationId xmlns:a16="http://schemas.microsoft.com/office/drawing/2014/main" id="{73B99B7A-ED2F-4593-B2AD-646D16739F95}"/>
              </a:ext>
            </a:extLst>
          </p:cNvPr>
          <p:cNvSpPr/>
          <p:nvPr/>
        </p:nvSpPr>
        <p:spPr>
          <a:xfrm>
            <a:off x="655163" y="2510892"/>
            <a:ext cx="1805678" cy="1805678"/>
          </a:xfrm>
          <a:prstGeom prst="ellipse">
            <a:avLst/>
          </a:prstGeom>
          <a:no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Oval 42">
            <a:extLst>
              <a:ext uri="{FF2B5EF4-FFF2-40B4-BE49-F238E27FC236}">
                <a16:creationId xmlns:a16="http://schemas.microsoft.com/office/drawing/2014/main" id="{05066E0D-FBFF-4078-B0DB-AE9FFBE000C4}"/>
              </a:ext>
            </a:extLst>
          </p:cNvPr>
          <p:cNvSpPr/>
          <p:nvPr/>
        </p:nvSpPr>
        <p:spPr>
          <a:xfrm>
            <a:off x="1214934" y="1959401"/>
            <a:ext cx="686136" cy="686136"/>
          </a:xfrm>
          <a:prstGeom prst="ellipse">
            <a:avLst/>
          </a:prstGeom>
          <a:pattFill prst="wdUpDiag">
            <a:fgClr>
              <a:srgbClr val="1E4471"/>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44" name="Oval 43">
            <a:extLst>
              <a:ext uri="{FF2B5EF4-FFF2-40B4-BE49-F238E27FC236}">
                <a16:creationId xmlns:a16="http://schemas.microsoft.com/office/drawing/2014/main" id="{E7EC3544-DC93-46ED-998A-C6B72BAB2238}"/>
              </a:ext>
            </a:extLst>
          </p:cNvPr>
          <p:cNvSpPr/>
          <p:nvPr/>
        </p:nvSpPr>
        <p:spPr>
          <a:xfrm>
            <a:off x="1287335" y="2031802"/>
            <a:ext cx="613735" cy="613735"/>
          </a:xfrm>
          <a:prstGeom prst="ellipse">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solidFill>
                  <a:schemeClr val="bg2"/>
                </a:solidFill>
              </a:rPr>
              <a:t>1</a:t>
            </a:r>
          </a:p>
        </p:txBody>
      </p:sp>
      <p:sp>
        <p:nvSpPr>
          <p:cNvPr id="53" name="Rectangle 52">
            <a:extLst>
              <a:ext uri="{FF2B5EF4-FFF2-40B4-BE49-F238E27FC236}">
                <a16:creationId xmlns:a16="http://schemas.microsoft.com/office/drawing/2014/main" id="{7CE55B43-DF3C-443C-B1F9-AA06529495FA}"/>
              </a:ext>
            </a:extLst>
          </p:cNvPr>
          <p:cNvSpPr/>
          <p:nvPr/>
        </p:nvSpPr>
        <p:spPr>
          <a:xfrm>
            <a:off x="397157" y="4532641"/>
            <a:ext cx="2321690" cy="830997"/>
          </a:xfrm>
          <a:prstGeom prst="rect">
            <a:avLst/>
          </a:prstGeom>
        </p:spPr>
        <p:txBody>
          <a:bodyPr wrap="square">
            <a:spAutoFit/>
          </a:bodyPr>
          <a:lstStyle/>
          <a:p>
            <a:pPr algn="ctr"/>
            <a:r>
              <a:rPr lang="en-US" sz="1600" dirty="0">
                <a:solidFill>
                  <a:schemeClr val="bg1"/>
                </a:solidFill>
              </a:rPr>
              <a:t>Empower remote users to self-enroll</a:t>
            </a:r>
            <a:br>
              <a:rPr lang="en-US" sz="1600" dirty="0">
                <a:solidFill>
                  <a:schemeClr val="bg1"/>
                </a:solidFill>
              </a:rPr>
            </a:br>
            <a:r>
              <a:rPr lang="en-US" sz="1600" dirty="0">
                <a:solidFill>
                  <a:schemeClr val="bg1"/>
                </a:solidFill>
              </a:rPr>
              <a:t>on demand</a:t>
            </a:r>
          </a:p>
        </p:txBody>
      </p:sp>
      <p:grpSp>
        <p:nvGrpSpPr>
          <p:cNvPr id="7" name="Group 6">
            <a:extLst>
              <a:ext uri="{FF2B5EF4-FFF2-40B4-BE49-F238E27FC236}">
                <a16:creationId xmlns:a16="http://schemas.microsoft.com/office/drawing/2014/main" id="{810AFF82-1B30-4FC7-A98C-D5E7449E7ED0}"/>
              </a:ext>
            </a:extLst>
          </p:cNvPr>
          <p:cNvGrpSpPr/>
          <p:nvPr/>
        </p:nvGrpSpPr>
        <p:grpSpPr>
          <a:xfrm>
            <a:off x="2916358" y="1959401"/>
            <a:ext cx="2321690" cy="3404237"/>
            <a:chOff x="2916358" y="1959401"/>
            <a:chExt cx="2321690" cy="3404237"/>
          </a:xfrm>
        </p:grpSpPr>
        <p:sp>
          <p:nvSpPr>
            <p:cNvPr id="464" name="Freeform: Shape 463">
              <a:extLst>
                <a:ext uri="{FF2B5EF4-FFF2-40B4-BE49-F238E27FC236}">
                  <a16:creationId xmlns:a16="http://schemas.microsoft.com/office/drawing/2014/main" id="{FED13B14-CE64-4491-8664-29629F2DF9B6}"/>
                </a:ext>
              </a:extLst>
            </p:cNvPr>
            <p:cNvSpPr>
              <a:spLocks/>
            </p:cNvSpPr>
            <p:nvPr/>
          </p:nvSpPr>
          <p:spPr bwMode="auto">
            <a:xfrm>
              <a:off x="3332262" y="3047985"/>
              <a:ext cx="1218721" cy="1236468"/>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pic>
          <p:nvPicPr>
            <p:cNvPr id="454" name="Picture 453" descr="A picture containing person, holding, man, hand&#10;&#10;Description automatically generated">
              <a:extLst>
                <a:ext uri="{FF2B5EF4-FFF2-40B4-BE49-F238E27FC236}">
                  <a16:creationId xmlns:a16="http://schemas.microsoft.com/office/drawing/2014/main" id="{6B03E29E-2AF7-4BF3-86C7-D901FEF46B2B}"/>
                </a:ext>
              </a:extLst>
            </p:cNvPr>
            <p:cNvPicPr>
              <a:picLocks noChangeAspect="1"/>
            </p:cNvPicPr>
            <p:nvPr/>
          </p:nvPicPr>
          <p:blipFill rotWithShape="1">
            <a:blip r:embed="rId5" cstate="screen">
              <a:grayscl/>
              <a:extLst>
                <a:ext uri="{28A0092B-C50C-407E-A947-70E740481C1C}">
                  <a14:useLocalDpi xmlns:a14="http://schemas.microsoft.com/office/drawing/2010/main"/>
                </a:ext>
              </a:extLst>
            </a:blip>
            <a:srcRect/>
            <a:stretch/>
          </p:blipFill>
          <p:spPr>
            <a:xfrm>
              <a:off x="3312594" y="3061997"/>
              <a:ext cx="1210545" cy="1214723"/>
            </a:xfrm>
            <a:prstGeom prst="roundRect">
              <a:avLst>
                <a:gd name="adj" fmla="val 50000"/>
              </a:avLst>
            </a:prstGeom>
          </p:spPr>
        </p:pic>
        <p:sp>
          <p:nvSpPr>
            <p:cNvPr id="466" name="Freeform 204">
              <a:extLst>
                <a:ext uri="{FF2B5EF4-FFF2-40B4-BE49-F238E27FC236}">
                  <a16:creationId xmlns:a16="http://schemas.microsoft.com/office/drawing/2014/main" id="{368EAEA2-E7B3-4527-9A5D-57CA79A236F2}"/>
                </a:ext>
              </a:extLst>
            </p:cNvPr>
            <p:cNvSpPr>
              <a:spLocks noEditPoints="1"/>
            </p:cNvSpPr>
            <p:nvPr/>
          </p:nvSpPr>
          <p:spPr bwMode="auto">
            <a:xfrm>
              <a:off x="3642741" y="3442871"/>
              <a:ext cx="480036" cy="567798"/>
            </a:xfrm>
            <a:custGeom>
              <a:avLst/>
              <a:gdLst>
                <a:gd name="T0" fmla="*/ 21 w 266"/>
                <a:gd name="T1" fmla="*/ 311 h 311"/>
                <a:gd name="T2" fmla="*/ 11 w 266"/>
                <a:gd name="T3" fmla="*/ 308 h 311"/>
                <a:gd name="T4" fmla="*/ 0 w 266"/>
                <a:gd name="T5" fmla="*/ 289 h 311"/>
                <a:gd name="T6" fmla="*/ 0 w 266"/>
                <a:gd name="T7" fmla="*/ 23 h 311"/>
                <a:gd name="T8" fmla="*/ 11 w 266"/>
                <a:gd name="T9" fmla="*/ 4 h 311"/>
                <a:gd name="T10" fmla="*/ 32 w 266"/>
                <a:gd name="T11" fmla="*/ 4 h 311"/>
                <a:gd name="T12" fmla="*/ 256 w 266"/>
                <a:gd name="T13" fmla="*/ 138 h 311"/>
                <a:gd name="T14" fmla="*/ 266 w 266"/>
                <a:gd name="T15" fmla="*/ 156 h 311"/>
                <a:gd name="T16" fmla="*/ 256 w 266"/>
                <a:gd name="T17" fmla="*/ 174 h 311"/>
                <a:gd name="T18" fmla="*/ 32 w 266"/>
                <a:gd name="T19" fmla="*/ 308 h 311"/>
                <a:gd name="T20" fmla="*/ 21 w 266"/>
                <a:gd name="T21" fmla="*/ 311 h 311"/>
                <a:gd name="T22" fmla="*/ 21 w 266"/>
                <a:gd name="T23" fmla="*/ 13 h 311"/>
                <a:gd name="T24" fmla="*/ 17 w 266"/>
                <a:gd name="T25" fmla="*/ 14 h 311"/>
                <a:gd name="T26" fmla="*/ 12 w 266"/>
                <a:gd name="T27" fmla="*/ 23 h 311"/>
                <a:gd name="T28" fmla="*/ 12 w 266"/>
                <a:gd name="T29" fmla="*/ 289 h 311"/>
                <a:gd name="T30" fmla="*/ 17 w 266"/>
                <a:gd name="T31" fmla="*/ 298 h 311"/>
                <a:gd name="T32" fmla="*/ 26 w 266"/>
                <a:gd name="T33" fmla="*/ 297 h 311"/>
                <a:gd name="T34" fmla="*/ 250 w 266"/>
                <a:gd name="T35" fmla="*/ 164 h 311"/>
                <a:gd name="T36" fmla="*/ 254 w 266"/>
                <a:gd name="T37" fmla="*/ 156 h 311"/>
                <a:gd name="T38" fmla="*/ 250 w 266"/>
                <a:gd name="T39" fmla="*/ 148 h 311"/>
                <a:gd name="T40" fmla="*/ 250 w 266"/>
                <a:gd name="T41" fmla="*/ 148 h 311"/>
                <a:gd name="T42" fmla="*/ 26 w 266"/>
                <a:gd name="T43" fmla="*/ 15 h 311"/>
                <a:gd name="T44" fmla="*/ 21 w 266"/>
                <a:gd name="T45" fmla="*/ 13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311">
                  <a:moveTo>
                    <a:pt x="21" y="311"/>
                  </a:moveTo>
                  <a:cubicBezTo>
                    <a:pt x="18" y="311"/>
                    <a:pt x="14" y="310"/>
                    <a:pt x="11" y="308"/>
                  </a:cubicBezTo>
                  <a:cubicBezTo>
                    <a:pt x="4" y="304"/>
                    <a:pt x="0" y="297"/>
                    <a:pt x="0" y="289"/>
                  </a:cubicBezTo>
                  <a:cubicBezTo>
                    <a:pt x="0" y="23"/>
                    <a:pt x="0" y="23"/>
                    <a:pt x="0" y="23"/>
                  </a:cubicBezTo>
                  <a:cubicBezTo>
                    <a:pt x="0" y="15"/>
                    <a:pt x="4" y="8"/>
                    <a:pt x="11" y="4"/>
                  </a:cubicBezTo>
                  <a:cubicBezTo>
                    <a:pt x="17" y="0"/>
                    <a:pt x="25" y="0"/>
                    <a:pt x="32" y="4"/>
                  </a:cubicBezTo>
                  <a:cubicBezTo>
                    <a:pt x="256" y="138"/>
                    <a:pt x="256" y="138"/>
                    <a:pt x="256" y="138"/>
                  </a:cubicBezTo>
                  <a:cubicBezTo>
                    <a:pt x="262" y="142"/>
                    <a:pt x="266" y="148"/>
                    <a:pt x="266" y="156"/>
                  </a:cubicBezTo>
                  <a:cubicBezTo>
                    <a:pt x="266" y="164"/>
                    <a:pt x="262" y="170"/>
                    <a:pt x="256" y="174"/>
                  </a:cubicBezTo>
                  <a:cubicBezTo>
                    <a:pt x="32" y="308"/>
                    <a:pt x="32" y="308"/>
                    <a:pt x="32" y="308"/>
                  </a:cubicBezTo>
                  <a:cubicBezTo>
                    <a:pt x="29" y="310"/>
                    <a:pt x="25" y="311"/>
                    <a:pt x="21" y="311"/>
                  </a:cubicBezTo>
                  <a:close/>
                  <a:moveTo>
                    <a:pt x="21" y="13"/>
                  </a:moveTo>
                  <a:cubicBezTo>
                    <a:pt x="20" y="13"/>
                    <a:pt x="18" y="14"/>
                    <a:pt x="17" y="14"/>
                  </a:cubicBezTo>
                  <a:cubicBezTo>
                    <a:pt x="14" y="16"/>
                    <a:pt x="12" y="19"/>
                    <a:pt x="12" y="23"/>
                  </a:cubicBezTo>
                  <a:cubicBezTo>
                    <a:pt x="12" y="289"/>
                    <a:pt x="12" y="289"/>
                    <a:pt x="12" y="289"/>
                  </a:cubicBezTo>
                  <a:cubicBezTo>
                    <a:pt x="12" y="293"/>
                    <a:pt x="14" y="296"/>
                    <a:pt x="17" y="298"/>
                  </a:cubicBezTo>
                  <a:cubicBezTo>
                    <a:pt x="20" y="299"/>
                    <a:pt x="23" y="299"/>
                    <a:pt x="26" y="297"/>
                  </a:cubicBezTo>
                  <a:cubicBezTo>
                    <a:pt x="250" y="164"/>
                    <a:pt x="250" y="164"/>
                    <a:pt x="250" y="164"/>
                  </a:cubicBezTo>
                  <a:cubicBezTo>
                    <a:pt x="252" y="162"/>
                    <a:pt x="254" y="159"/>
                    <a:pt x="254" y="156"/>
                  </a:cubicBezTo>
                  <a:cubicBezTo>
                    <a:pt x="254" y="153"/>
                    <a:pt x="252" y="150"/>
                    <a:pt x="250" y="148"/>
                  </a:cubicBezTo>
                  <a:cubicBezTo>
                    <a:pt x="250" y="148"/>
                    <a:pt x="250" y="148"/>
                    <a:pt x="250" y="148"/>
                  </a:cubicBezTo>
                  <a:cubicBezTo>
                    <a:pt x="26" y="15"/>
                    <a:pt x="26" y="15"/>
                    <a:pt x="26" y="15"/>
                  </a:cubicBezTo>
                  <a:cubicBezTo>
                    <a:pt x="25" y="14"/>
                    <a:pt x="23" y="13"/>
                    <a:pt x="21"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8" name="Rectangle 11">
              <a:extLst>
                <a:ext uri="{FF2B5EF4-FFF2-40B4-BE49-F238E27FC236}">
                  <a16:creationId xmlns:a16="http://schemas.microsoft.com/office/drawing/2014/main" id="{B8783E27-E15C-4219-93C6-BFD36C1D575B}"/>
                </a:ext>
              </a:extLst>
            </p:cNvPr>
            <p:cNvSpPr>
              <a:spLocks noChangeArrowheads="1"/>
            </p:cNvSpPr>
            <p:nvPr/>
          </p:nvSpPr>
          <p:spPr bwMode="auto">
            <a:xfrm rot="16200000">
              <a:off x="4227825" y="2967107"/>
              <a:ext cx="18394" cy="560192"/>
            </a:xfrm>
            <a:prstGeom prst="rect">
              <a:avLst/>
            </a:prstGeom>
            <a:solidFill>
              <a:srgbClr val="1D45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9" name="Oval 12">
              <a:extLst>
                <a:ext uri="{FF2B5EF4-FFF2-40B4-BE49-F238E27FC236}">
                  <a16:creationId xmlns:a16="http://schemas.microsoft.com/office/drawing/2014/main" id="{4742938E-5DBB-492A-A248-6EF5D5F2CEF9}"/>
                </a:ext>
              </a:extLst>
            </p:cNvPr>
            <p:cNvSpPr>
              <a:spLocks noChangeArrowheads="1"/>
            </p:cNvSpPr>
            <p:nvPr/>
          </p:nvSpPr>
          <p:spPr bwMode="auto">
            <a:xfrm rot="16200000">
              <a:off x="4509593" y="3187004"/>
              <a:ext cx="117055" cy="118727"/>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0" name="Rectangle 13">
              <a:extLst>
                <a:ext uri="{FF2B5EF4-FFF2-40B4-BE49-F238E27FC236}">
                  <a16:creationId xmlns:a16="http://schemas.microsoft.com/office/drawing/2014/main" id="{DE428F4F-C525-4D81-9CF9-3D119939D605}"/>
                </a:ext>
              </a:extLst>
            </p:cNvPr>
            <p:cNvSpPr>
              <a:spLocks noChangeArrowheads="1"/>
            </p:cNvSpPr>
            <p:nvPr/>
          </p:nvSpPr>
          <p:spPr bwMode="auto">
            <a:xfrm rot="16200000">
              <a:off x="4291369" y="3564088"/>
              <a:ext cx="553503" cy="18394"/>
            </a:xfrm>
            <a:prstGeom prst="rect">
              <a:avLst/>
            </a:prstGeom>
            <a:solidFill>
              <a:srgbClr val="1D45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Oval 58">
              <a:extLst>
                <a:ext uri="{FF2B5EF4-FFF2-40B4-BE49-F238E27FC236}">
                  <a16:creationId xmlns:a16="http://schemas.microsoft.com/office/drawing/2014/main" id="{99894E70-7D12-4F5B-B563-BE5B6F9B43A1}"/>
                </a:ext>
              </a:extLst>
            </p:cNvPr>
            <p:cNvSpPr/>
            <p:nvPr/>
          </p:nvSpPr>
          <p:spPr>
            <a:xfrm>
              <a:off x="3174365" y="2510892"/>
              <a:ext cx="1805678" cy="1805678"/>
            </a:xfrm>
            <a:prstGeom prst="ellipse">
              <a:avLst/>
            </a:prstGeom>
            <a:no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Oval 45">
              <a:extLst>
                <a:ext uri="{FF2B5EF4-FFF2-40B4-BE49-F238E27FC236}">
                  <a16:creationId xmlns:a16="http://schemas.microsoft.com/office/drawing/2014/main" id="{C0A4B0C4-760D-4507-993C-899B7E90A6D1}"/>
                </a:ext>
              </a:extLst>
            </p:cNvPr>
            <p:cNvSpPr/>
            <p:nvPr/>
          </p:nvSpPr>
          <p:spPr>
            <a:xfrm>
              <a:off x="3734136" y="1959401"/>
              <a:ext cx="686136" cy="686136"/>
            </a:xfrm>
            <a:prstGeom prst="ellipse">
              <a:avLst/>
            </a:prstGeom>
            <a:pattFill prst="wdUpDiag">
              <a:fgClr>
                <a:srgbClr val="1E4471"/>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47" name="Oval 46">
              <a:extLst>
                <a:ext uri="{FF2B5EF4-FFF2-40B4-BE49-F238E27FC236}">
                  <a16:creationId xmlns:a16="http://schemas.microsoft.com/office/drawing/2014/main" id="{6C616817-A110-4E89-BC92-9701B6E32B76}"/>
                </a:ext>
              </a:extLst>
            </p:cNvPr>
            <p:cNvSpPr/>
            <p:nvPr/>
          </p:nvSpPr>
          <p:spPr>
            <a:xfrm>
              <a:off x="3806537" y="2031802"/>
              <a:ext cx="613735" cy="613735"/>
            </a:xfrm>
            <a:prstGeom prst="ellipse">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solidFill>
                    <a:schemeClr val="bg2"/>
                  </a:solidFill>
                </a:rPr>
                <a:t>2</a:t>
              </a:r>
            </a:p>
          </p:txBody>
        </p:sp>
        <p:sp>
          <p:nvSpPr>
            <p:cNvPr id="54" name="Rectangle 53">
              <a:extLst>
                <a:ext uri="{FF2B5EF4-FFF2-40B4-BE49-F238E27FC236}">
                  <a16:creationId xmlns:a16="http://schemas.microsoft.com/office/drawing/2014/main" id="{1E04A491-D7DB-45DB-B733-ADF7589A3887}"/>
                </a:ext>
              </a:extLst>
            </p:cNvPr>
            <p:cNvSpPr/>
            <p:nvPr/>
          </p:nvSpPr>
          <p:spPr>
            <a:xfrm>
              <a:off x="2916358" y="4532641"/>
              <a:ext cx="2321690" cy="830997"/>
            </a:xfrm>
            <a:prstGeom prst="rect">
              <a:avLst/>
            </a:prstGeom>
          </p:spPr>
          <p:txBody>
            <a:bodyPr wrap="square">
              <a:spAutoFit/>
            </a:bodyPr>
            <a:lstStyle/>
            <a:p>
              <a:pPr algn="ctr"/>
              <a:r>
                <a:rPr lang="en-US" sz="1600" dirty="0">
                  <a:solidFill>
                    <a:schemeClr val="bg1"/>
                  </a:solidFill>
                </a:rPr>
                <a:t>Add a layer of</a:t>
              </a:r>
              <a:br>
                <a:rPr lang="en-US" sz="1600" dirty="0">
                  <a:solidFill>
                    <a:schemeClr val="bg1"/>
                  </a:solidFill>
                </a:rPr>
              </a:br>
              <a:r>
                <a:rPr lang="en-US" sz="1600" dirty="0">
                  <a:solidFill>
                    <a:schemeClr val="bg1"/>
                  </a:solidFill>
                </a:rPr>
                <a:t>security with just a few clicks</a:t>
              </a:r>
            </a:p>
          </p:txBody>
        </p:sp>
      </p:grpSp>
      <p:grpSp>
        <p:nvGrpSpPr>
          <p:cNvPr id="8" name="Group 7">
            <a:extLst>
              <a:ext uri="{FF2B5EF4-FFF2-40B4-BE49-F238E27FC236}">
                <a16:creationId xmlns:a16="http://schemas.microsoft.com/office/drawing/2014/main" id="{0B121212-98BF-4FF8-BF05-E50E93974065}"/>
              </a:ext>
            </a:extLst>
          </p:cNvPr>
          <p:cNvGrpSpPr/>
          <p:nvPr/>
        </p:nvGrpSpPr>
        <p:grpSpPr>
          <a:xfrm>
            <a:off x="5435560" y="1959401"/>
            <a:ext cx="2321690" cy="3404237"/>
            <a:chOff x="5435560" y="1959401"/>
            <a:chExt cx="2321690" cy="3404237"/>
          </a:xfrm>
        </p:grpSpPr>
        <p:sp>
          <p:nvSpPr>
            <p:cNvPr id="1029" name="Oval 1028">
              <a:extLst>
                <a:ext uri="{FF2B5EF4-FFF2-40B4-BE49-F238E27FC236}">
                  <a16:creationId xmlns:a16="http://schemas.microsoft.com/office/drawing/2014/main" id="{D6330149-1AF8-4CD9-B738-2980082EF070}"/>
                </a:ext>
              </a:extLst>
            </p:cNvPr>
            <p:cNvSpPr/>
            <p:nvPr/>
          </p:nvSpPr>
          <p:spPr>
            <a:xfrm>
              <a:off x="5952665" y="2880053"/>
              <a:ext cx="1432260" cy="1432260"/>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63" name="Picture 462" descr="A picture containing hand, holding, wearing, dark&#10;&#10;Description automatically generated">
              <a:extLst>
                <a:ext uri="{FF2B5EF4-FFF2-40B4-BE49-F238E27FC236}">
                  <a16:creationId xmlns:a16="http://schemas.microsoft.com/office/drawing/2014/main" id="{78C513C5-FC78-4539-AE58-23E116E08866}"/>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5991347" y="3138544"/>
              <a:ext cx="1354896" cy="1178026"/>
            </a:xfrm>
            <a:custGeom>
              <a:avLst/>
              <a:gdLst>
                <a:gd name="connsiteX0" fmla="*/ 0 w 1354896"/>
                <a:gd name="connsiteY0" fmla="*/ 0 h 1178026"/>
                <a:gd name="connsiteX1" fmla="*/ 1354896 w 1354896"/>
                <a:gd name="connsiteY1" fmla="*/ 0 h 1178026"/>
                <a:gd name="connsiteX2" fmla="*/ 1354896 w 1354896"/>
                <a:gd name="connsiteY2" fmla="*/ 760100 h 1178026"/>
                <a:gd name="connsiteX3" fmla="*/ 1342823 w 1354896"/>
                <a:gd name="connsiteY3" fmla="*/ 779973 h 1178026"/>
                <a:gd name="connsiteX4" fmla="*/ 594175 w 1354896"/>
                <a:gd name="connsiteY4" fmla="*/ 1178026 h 1178026"/>
                <a:gd name="connsiteX5" fmla="*/ 89389 w 1354896"/>
                <a:gd name="connsiteY5" fmla="*/ 1023835 h 1178026"/>
                <a:gd name="connsiteX6" fmla="*/ 0 w 1354896"/>
                <a:gd name="connsiteY6" fmla="*/ 950083 h 1178026"/>
                <a:gd name="connsiteX7" fmla="*/ 0 w 1354896"/>
                <a:gd name="connsiteY7" fmla="*/ 0 h 1178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4896" h="1178026">
                  <a:moveTo>
                    <a:pt x="0" y="0"/>
                  </a:moveTo>
                  <a:lnTo>
                    <a:pt x="1354896" y="0"/>
                  </a:lnTo>
                  <a:lnTo>
                    <a:pt x="1354896" y="760100"/>
                  </a:lnTo>
                  <a:lnTo>
                    <a:pt x="1342823" y="779973"/>
                  </a:lnTo>
                  <a:cubicBezTo>
                    <a:pt x="1180576" y="1020130"/>
                    <a:pt x="905815" y="1178026"/>
                    <a:pt x="594175" y="1178026"/>
                  </a:cubicBezTo>
                  <a:cubicBezTo>
                    <a:pt x="407191" y="1178026"/>
                    <a:pt x="233483" y="1121184"/>
                    <a:pt x="89389" y="1023835"/>
                  </a:cubicBezTo>
                  <a:lnTo>
                    <a:pt x="0" y="950083"/>
                  </a:lnTo>
                  <a:lnTo>
                    <a:pt x="0" y="0"/>
                  </a:lnTo>
                  <a:close/>
                </a:path>
              </a:pathLst>
            </a:custGeom>
          </p:spPr>
        </p:pic>
        <p:sp>
          <p:nvSpPr>
            <p:cNvPr id="60" name="Oval 59">
              <a:extLst>
                <a:ext uri="{FF2B5EF4-FFF2-40B4-BE49-F238E27FC236}">
                  <a16:creationId xmlns:a16="http://schemas.microsoft.com/office/drawing/2014/main" id="{AC4A4836-B387-4BE0-B044-CCCE59C9AA50}"/>
                </a:ext>
              </a:extLst>
            </p:cNvPr>
            <p:cNvSpPr/>
            <p:nvPr/>
          </p:nvSpPr>
          <p:spPr>
            <a:xfrm>
              <a:off x="5693566" y="2510892"/>
              <a:ext cx="1805678" cy="1805678"/>
            </a:xfrm>
            <a:prstGeom prst="ellipse">
              <a:avLst/>
            </a:prstGeom>
            <a:no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Oval 48">
              <a:extLst>
                <a:ext uri="{FF2B5EF4-FFF2-40B4-BE49-F238E27FC236}">
                  <a16:creationId xmlns:a16="http://schemas.microsoft.com/office/drawing/2014/main" id="{D8AEB7DF-91DA-4FE3-9FAC-4975043FB2C7}"/>
                </a:ext>
              </a:extLst>
            </p:cNvPr>
            <p:cNvSpPr/>
            <p:nvPr/>
          </p:nvSpPr>
          <p:spPr>
            <a:xfrm>
              <a:off x="6253337" y="1959401"/>
              <a:ext cx="686136" cy="686136"/>
            </a:xfrm>
            <a:prstGeom prst="ellipse">
              <a:avLst/>
            </a:prstGeom>
            <a:pattFill prst="wdUpDiag">
              <a:fgClr>
                <a:srgbClr val="1E4471"/>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50" name="Oval 49">
              <a:extLst>
                <a:ext uri="{FF2B5EF4-FFF2-40B4-BE49-F238E27FC236}">
                  <a16:creationId xmlns:a16="http://schemas.microsoft.com/office/drawing/2014/main" id="{9F974206-9458-45E8-BE40-E529BE647CB8}"/>
                </a:ext>
              </a:extLst>
            </p:cNvPr>
            <p:cNvSpPr/>
            <p:nvPr/>
          </p:nvSpPr>
          <p:spPr>
            <a:xfrm>
              <a:off x="6325738" y="2031802"/>
              <a:ext cx="613735" cy="613735"/>
            </a:xfrm>
            <a:prstGeom prst="ellipse">
              <a:avLst/>
            </a:prstGeom>
            <a:solidFill>
              <a:schemeClr val="bg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solidFill>
                    <a:schemeClr val="bg2"/>
                  </a:solidFill>
                </a:rPr>
                <a:t>3</a:t>
              </a:r>
            </a:p>
          </p:txBody>
        </p:sp>
        <p:sp>
          <p:nvSpPr>
            <p:cNvPr id="55" name="Rectangle 54">
              <a:extLst>
                <a:ext uri="{FF2B5EF4-FFF2-40B4-BE49-F238E27FC236}">
                  <a16:creationId xmlns:a16="http://schemas.microsoft.com/office/drawing/2014/main" id="{93A6D8D5-4453-4C45-BB3B-10A64A9DAAD6}"/>
                </a:ext>
              </a:extLst>
            </p:cNvPr>
            <p:cNvSpPr/>
            <p:nvPr/>
          </p:nvSpPr>
          <p:spPr>
            <a:xfrm>
              <a:off x="5435560" y="4532641"/>
              <a:ext cx="2321690" cy="830997"/>
            </a:xfrm>
            <a:prstGeom prst="rect">
              <a:avLst/>
            </a:prstGeom>
          </p:spPr>
          <p:txBody>
            <a:bodyPr wrap="square">
              <a:spAutoFit/>
            </a:bodyPr>
            <a:lstStyle/>
            <a:p>
              <a:pPr algn="ctr"/>
              <a:r>
                <a:rPr lang="en-US" sz="1600" dirty="0">
                  <a:solidFill>
                    <a:schemeClr val="bg1"/>
                  </a:solidFill>
                </a:rPr>
                <a:t>Provide MFA options for remote workers based on their needs</a:t>
              </a:r>
            </a:p>
          </p:txBody>
        </p:sp>
        <p:sp>
          <p:nvSpPr>
            <p:cNvPr id="548" name="Oval 547">
              <a:extLst>
                <a:ext uri="{FF2B5EF4-FFF2-40B4-BE49-F238E27FC236}">
                  <a16:creationId xmlns:a16="http://schemas.microsoft.com/office/drawing/2014/main" id="{32F2D0C9-4B87-4334-9569-768151674E17}"/>
                </a:ext>
              </a:extLst>
            </p:cNvPr>
            <p:cNvSpPr/>
            <p:nvPr/>
          </p:nvSpPr>
          <p:spPr>
            <a:xfrm>
              <a:off x="6338079" y="3153585"/>
              <a:ext cx="688161" cy="688161"/>
            </a:xfrm>
            <a:prstGeom prst="ellipse">
              <a:avLst/>
            </a:prstGeom>
            <a:noFill/>
            <a:ln w="6350" cap="flat" cmpd="sng" algn="ctr">
              <a:solidFill>
                <a:srgbClr val="0D274D"/>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549" name="Oval 548">
              <a:extLst>
                <a:ext uri="{FF2B5EF4-FFF2-40B4-BE49-F238E27FC236}">
                  <a16:creationId xmlns:a16="http://schemas.microsoft.com/office/drawing/2014/main" id="{79F7F728-EF02-42E0-90DB-75E4D854EA8D}"/>
                </a:ext>
              </a:extLst>
            </p:cNvPr>
            <p:cNvSpPr/>
            <p:nvPr/>
          </p:nvSpPr>
          <p:spPr>
            <a:xfrm>
              <a:off x="6269351" y="3118501"/>
              <a:ext cx="683388" cy="683388"/>
            </a:xfrm>
            <a:prstGeom prst="ellipse">
              <a:avLst/>
            </a:prstGeom>
            <a:solidFill>
              <a:srgbClr val="1E4471">
                <a:alpha val="73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556" name="Oval 189">
              <a:extLst>
                <a:ext uri="{FF2B5EF4-FFF2-40B4-BE49-F238E27FC236}">
                  <a16:creationId xmlns:a16="http://schemas.microsoft.com/office/drawing/2014/main" id="{1B544241-1406-411C-BC05-344F1495A573}"/>
                </a:ext>
              </a:extLst>
            </p:cNvPr>
            <p:cNvSpPr>
              <a:spLocks noChangeArrowheads="1"/>
            </p:cNvSpPr>
            <p:nvPr/>
          </p:nvSpPr>
          <p:spPr bwMode="auto">
            <a:xfrm>
              <a:off x="6054973" y="3429065"/>
              <a:ext cx="40925" cy="43594"/>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7" name="Oval 190">
              <a:extLst>
                <a:ext uri="{FF2B5EF4-FFF2-40B4-BE49-F238E27FC236}">
                  <a16:creationId xmlns:a16="http://schemas.microsoft.com/office/drawing/2014/main" id="{32C39B1D-3709-4931-A0FB-42AEBB3AB39E}"/>
                </a:ext>
              </a:extLst>
            </p:cNvPr>
            <p:cNvSpPr>
              <a:spLocks noChangeArrowheads="1"/>
            </p:cNvSpPr>
            <p:nvPr/>
          </p:nvSpPr>
          <p:spPr bwMode="auto">
            <a:xfrm>
              <a:off x="6178638" y="3429065"/>
              <a:ext cx="41815" cy="43594"/>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8" name="Oval 191">
              <a:extLst>
                <a:ext uri="{FF2B5EF4-FFF2-40B4-BE49-F238E27FC236}">
                  <a16:creationId xmlns:a16="http://schemas.microsoft.com/office/drawing/2014/main" id="{23B7689E-9C8F-4E0B-A5B1-F6E47488B825}"/>
                </a:ext>
              </a:extLst>
            </p:cNvPr>
            <p:cNvSpPr>
              <a:spLocks noChangeArrowheads="1"/>
            </p:cNvSpPr>
            <p:nvPr/>
          </p:nvSpPr>
          <p:spPr bwMode="auto">
            <a:xfrm>
              <a:off x="6449987" y="3429065"/>
              <a:ext cx="41815" cy="43594"/>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9" name="Oval 192">
              <a:extLst>
                <a:ext uri="{FF2B5EF4-FFF2-40B4-BE49-F238E27FC236}">
                  <a16:creationId xmlns:a16="http://schemas.microsoft.com/office/drawing/2014/main" id="{9D61BF58-A3AB-4F49-8AEA-9009663ADE20}"/>
                </a:ext>
              </a:extLst>
            </p:cNvPr>
            <p:cNvSpPr>
              <a:spLocks noChangeArrowheads="1"/>
            </p:cNvSpPr>
            <p:nvPr/>
          </p:nvSpPr>
          <p:spPr bwMode="auto">
            <a:xfrm>
              <a:off x="6449987" y="3290276"/>
              <a:ext cx="41815" cy="41815"/>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0" name="Oval 193">
              <a:extLst>
                <a:ext uri="{FF2B5EF4-FFF2-40B4-BE49-F238E27FC236}">
                  <a16:creationId xmlns:a16="http://schemas.microsoft.com/office/drawing/2014/main" id="{F34CCB9E-6193-4DD7-808F-75290B431D50}"/>
                </a:ext>
              </a:extLst>
            </p:cNvPr>
            <p:cNvSpPr>
              <a:spLocks noChangeArrowheads="1"/>
            </p:cNvSpPr>
            <p:nvPr/>
          </p:nvSpPr>
          <p:spPr bwMode="auto">
            <a:xfrm>
              <a:off x="6584328" y="3144370"/>
              <a:ext cx="41815" cy="43594"/>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1" name="Oval 194">
              <a:extLst>
                <a:ext uri="{FF2B5EF4-FFF2-40B4-BE49-F238E27FC236}">
                  <a16:creationId xmlns:a16="http://schemas.microsoft.com/office/drawing/2014/main" id="{9AB126CA-274C-4974-A6C5-D7033459F34A}"/>
                </a:ext>
              </a:extLst>
            </p:cNvPr>
            <p:cNvSpPr>
              <a:spLocks noChangeArrowheads="1"/>
            </p:cNvSpPr>
            <p:nvPr/>
          </p:nvSpPr>
          <p:spPr bwMode="auto">
            <a:xfrm>
              <a:off x="6584328" y="3005581"/>
              <a:ext cx="41815" cy="41815"/>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2" name="Oval 195">
              <a:extLst>
                <a:ext uri="{FF2B5EF4-FFF2-40B4-BE49-F238E27FC236}">
                  <a16:creationId xmlns:a16="http://schemas.microsoft.com/office/drawing/2014/main" id="{79DD39F1-1FE5-454F-AAED-4F690110DED2}"/>
                </a:ext>
              </a:extLst>
            </p:cNvPr>
            <p:cNvSpPr>
              <a:spLocks noChangeArrowheads="1"/>
            </p:cNvSpPr>
            <p:nvPr/>
          </p:nvSpPr>
          <p:spPr bwMode="auto">
            <a:xfrm>
              <a:off x="6733793" y="3147929"/>
              <a:ext cx="40925" cy="44484"/>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3" name="Oval 196">
              <a:extLst>
                <a:ext uri="{FF2B5EF4-FFF2-40B4-BE49-F238E27FC236}">
                  <a16:creationId xmlns:a16="http://schemas.microsoft.com/office/drawing/2014/main" id="{642F02A2-4FF5-4019-86D7-5EDC37EDB4E4}"/>
                </a:ext>
              </a:extLst>
            </p:cNvPr>
            <p:cNvSpPr>
              <a:spLocks noChangeArrowheads="1"/>
            </p:cNvSpPr>
            <p:nvPr/>
          </p:nvSpPr>
          <p:spPr bwMode="auto">
            <a:xfrm>
              <a:off x="6054973" y="3571413"/>
              <a:ext cx="40925" cy="41815"/>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4" name="Oval 197">
              <a:extLst>
                <a:ext uri="{FF2B5EF4-FFF2-40B4-BE49-F238E27FC236}">
                  <a16:creationId xmlns:a16="http://schemas.microsoft.com/office/drawing/2014/main" id="{6F3E4453-4A71-4A63-AFE3-CAF4934B7395}"/>
                </a:ext>
              </a:extLst>
            </p:cNvPr>
            <p:cNvSpPr>
              <a:spLocks noChangeArrowheads="1"/>
            </p:cNvSpPr>
            <p:nvPr/>
          </p:nvSpPr>
          <p:spPr bwMode="auto">
            <a:xfrm>
              <a:off x="6449987" y="3571413"/>
              <a:ext cx="41815" cy="41815"/>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5" name="Oval 198">
              <a:extLst>
                <a:ext uri="{FF2B5EF4-FFF2-40B4-BE49-F238E27FC236}">
                  <a16:creationId xmlns:a16="http://schemas.microsoft.com/office/drawing/2014/main" id="{2B0787D2-C14F-4714-A6D4-1A360026E844}"/>
                </a:ext>
              </a:extLst>
            </p:cNvPr>
            <p:cNvSpPr>
              <a:spLocks noChangeArrowheads="1"/>
            </p:cNvSpPr>
            <p:nvPr/>
          </p:nvSpPr>
          <p:spPr bwMode="auto">
            <a:xfrm>
              <a:off x="6584328" y="3571413"/>
              <a:ext cx="41815" cy="41815"/>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6" name="Freeform 199">
              <a:extLst>
                <a:ext uri="{FF2B5EF4-FFF2-40B4-BE49-F238E27FC236}">
                  <a16:creationId xmlns:a16="http://schemas.microsoft.com/office/drawing/2014/main" id="{3F17AD47-92EC-4AEB-8869-65403766BEE1}"/>
                </a:ext>
              </a:extLst>
            </p:cNvPr>
            <p:cNvSpPr>
              <a:spLocks noEditPoints="1"/>
            </p:cNvSpPr>
            <p:nvPr/>
          </p:nvSpPr>
          <p:spPr bwMode="auto">
            <a:xfrm>
              <a:off x="6716889" y="3554509"/>
              <a:ext cx="74732" cy="7473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7" name="Freeform 200">
              <a:extLst>
                <a:ext uri="{FF2B5EF4-FFF2-40B4-BE49-F238E27FC236}">
                  <a16:creationId xmlns:a16="http://schemas.microsoft.com/office/drawing/2014/main" id="{85AE76B3-2119-4F93-A053-CFBFB800045C}"/>
                </a:ext>
              </a:extLst>
            </p:cNvPr>
            <p:cNvSpPr>
              <a:spLocks noEditPoints="1"/>
            </p:cNvSpPr>
            <p:nvPr/>
          </p:nvSpPr>
          <p:spPr bwMode="auto">
            <a:xfrm>
              <a:off x="6568314" y="3413940"/>
              <a:ext cx="73843" cy="72953"/>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8" name="Freeform 201">
              <a:extLst>
                <a:ext uri="{FF2B5EF4-FFF2-40B4-BE49-F238E27FC236}">
                  <a16:creationId xmlns:a16="http://schemas.microsoft.com/office/drawing/2014/main" id="{DB16DA02-483E-441A-86E0-99F9F5E77CBB}"/>
                </a:ext>
              </a:extLst>
            </p:cNvPr>
            <p:cNvSpPr>
              <a:spLocks noEditPoints="1"/>
            </p:cNvSpPr>
            <p:nvPr/>
          </p:nvSpPr>
          <p:spPr bwMode="auto">
            <a:xfrm>
              <a:off x="6568314" y="3273372"/>
              <a:ext cx="73843" cy="7562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9" name="Freeform 202">
              <a:extLst>
                <a:ext uri="{FF2B5EF4-FFF2-40B4-BE49-F238E27FC236}">
                  <a16:creationId xmlns:a16="http://schemas.microsoft.com/office/drawing/2014/main" id="{0A8F69CD-48A6-422C-8D3A-60A924E60C7C}"/>
                </a:ext>
              </a:extLst>
            </p:cNvPr>
            <p:cNvSpPr>
              <a:spLocks noEditPoints="1"/>
            </p:cNvSpPr>
            <p:nvPr/>
          </p:nvSpPr>
          <p:spPr bwMode="auto">
            <a:xfrm>
              <a:off x="6716889" y="3413940"/>
              <a:ext cx="74732" cy="72953"/>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0" name="Freeform 203">
              <a:extLst>
                <a:ext uri="{FF2B5EF4-FFF2-40B4-BE49-F238E27FC236}">
                  <a16:creationId xmlns:a16="http://schemas.microsoft.com/office/drawing/2014/main" id="{E965885B-22CF-4758-B4CB-AF9D741373E9}"/>
                </a:ext>
              </a:extLst>
            </p:cNvPr>
            <p:cNvSpPr>
              <a:spLocks noEditPoints="1"/>
            </p:cNvSpPr>
            <p:nvPr/>
          </p:nvSpPr>
          <p:spPr bwMode="auto">
            <a:xfrm>
              <a:off x="6296964" y="3413940"/>
              <a:ext cx="74732" cy="72953"/>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1" name="Freeform 204">
              <a:extLst>
                <a:ext uri="{FF2B5EF4-FFF2-40B4-BE49-F238E27FC236}">
                  <a16:creationId xmlns:a16="http://schemas.microsoft.com/office/drawing/2014/main" id="{FABFD1A6-EBD5-445E-9C0C-3A8438DD46E8}"/>
                </a:ext>
              </a:extLst>
            </p:cNvPr>
            <p:cNvSpPr>
              <a:spLocks noEditPoints="1"/>
            </p:cNvSpPr>
            <p:nvPr/>
          </p:nvSpPr>
          <p:spPr bwMode="auto">
            <a:xfrm>
              <a:off x="6433084" y="3133694"/>
              <a:ext cx="74732" cy="72953"/>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2" name="Freeform 205">
              <a:extLst>
                <a:ext uri="{FF2B5EF4-FFF2-40B4-BE49-F238E27FC236}">
                  <a16:creationId xmlns:a16="http://schemas.microsoft.com/office/drawing/2014/main" id="{BE730BD3-D5D1-4AA0-A7E0-C0464BBB0E59}"/>
                </a:ext>
              </a:extLst>
            </p:cNvPr>
            <p:cNvSpPr>
              <a:spLocks noEditPoints="1"/>
            </p:cNvSpPr>
            <p:nvPr/>
          </p:nvSpPr>
          <p:spPr bwMode="auto">
            <a:xfrm>
              <a:off x="6433084" y="2989567"/>
              <a:ext cx="74732" cy="7473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3" name="Freeform 206">
              <a:extLst>
                <a:ext uri="{FF2B5EF4-FFF2-40B4-BE49-F238E27FC236}">
                  <a16:creationId xmlns:a16="http://schemas.microsoft.com/office/drawing/2014/main" id="{03C8CC5A-6205-4061-BDA6-4E834CCF30D4}"/>
                </a:ext>
              </a:extLst>
            </p:cNvPr>
            <p:cNvSpPr>
              <a:spLocks noEditPoints="1"/>
            </p:cNvSpPr>
            <p:nvPr/>
          </p:nvSpPr>
          <p:spPr bwMode="auto">
            <a:xfrm>
              <a:off x="6716889" y="2989567"/>
              <a:ext cx="74732" cy="7473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4" name="Freeform 207">
              <a:extLst>
                <a:ext uri="{FF2B5EF4-FFF2-40B4-BE49-F238E27FC236}">
                  <a16:creationId xmlns:a16="http://schemas.microsoft.com/office/drawing/2014/main" id="{88F98520-57E1-4370-A037-D911B76D27B8}"/>
                </a:ext>
              </a:extLst>
            </p:cNvPr>
            <p:cNvSpPr>
              <a:spLocks noEditPoints="1"/>
            </p:cNvSpPr>
            <p:nvPr/>
          </p:nvSpPr>
          <p:spPr bwMode="auto">
            <a:xfrm>
              <a:off x="6296964" y="3554509"/>
              <a:ext cx="74732" cy="7473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 name="Group 3">
            <a:extLst>
              <a:ext uri="{FF2B5EF4-FFF2-40B4-BE49-F238E27FC236}">
                <a16:creationId xmlns:a16="http://schemas.microsoft.com/office/drawing/2014/main" id="{779F0454-CB6D-4CFA-81D9-075104921674}"/>
              </a:ext>
            </a:extLst>
          </p:cNvPr>
          <p:cNvGrpSpPr/>
          <p:nvPr/>
        </p:nvGrpSpPr>
        <p:grpSpPr>
          <a:xfrm>
            <a:off x="10525470" y="1630680"/>
            <a:ext cx="1345364" cy="1345364"/>
            <a:chOff x="10481105" y="-1302513"/>
            <a:chExt cx="1435124" cy="1435124"/>
          </a:xfrm>
        </p:grpSpPr>
        <p:sp>
          <p:nvSpPr>
            <p:cNvPr id="425" name="Oval 424">
              <a:extLst>
                <a:ext uri="{FF2B5EF4-FFF2-40B4-BE49-F238E27FC236}">
                  <a16:creationId xmlns:a16="http://schemas.microsoft.com/office/drawing/2014/main" id="{3EA26F07-0D23-4DF6-A572-CA2595AAD566}"/>
                </a:ext>
              </a:extLst>
            </p:cNvPr>
            <p:cNvSpPr/>
            <p:nvPr/>
          </p:nvSpPr>
          <p:spPr>
            <a:xfrm>
              <a:off x="10481105" y="-1302513"/>
              <a:ext cx="1435124" cy="1435124"/>
            </a:xfrm>
            <a:prstGeom prst="ellipse">
              <a:avLst/>
            </a:prstGeom>
            <a:solidFill>
              <a:schemeClr val="accent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26" name="Graphic 33">
              <a:extLst>
                <a:ext uri="{FF2B5EF4-FFF2-40B4-BE49-F238E27FC236}">
                  <a16:creationId xmlns:a16="http://schemas.microsoft.com/office/drawing/2014/main" id="{FD565BA1-2597-4309-BB08-F71085C7994E}"/>
                </a:ext>
              </a:extLst>
            </p:cNvPr>
            <p:cNvGrpSpPr/>
            <p:nvPr/>
          </p:nvGrpSpPr>
          <p:grpSpPr>
            <a:xfrm>
              <a:off x="10751129" y="-1065761"/>
              <a:ext cx="895076" cy="961620"/>
              <a:chOff x="2647943" y="-1912619"/>
              <a:chExt cx="1024892" cy="1101088"/>
            </a:xfrm>
            <a:solidFill>
              <a:schemeClr val="bg2"/>
            </a:solidFill>
          </p:grpSpPr>
          <p:sp>
            <p:nvSpPr>
              <p:cNvPr id="427" name="Freeform: Shape 426">
                <a:extLst>
                  <a:ext uri="{FF2B5EF4-FFF2-40B4-BE49-F238E27FC236}">
                    <a16:creationId xmlns:a16="http://schemas.microsoft.com/office/drawing/2014/main" id="{8351379D-4406-4EA3-9B39-7A6BE34B52CB}"/>
                  </a:ext>
                </a:extLst>
              </p:cNvPr>
              <p:cNvSpPr/>
              <p:nvPr/>
            </p:nvSpPr>
            <p:spPr>
              <a:xfrm>
                <a:off x="3036563" y="-1523999"/>
                <a:ext cx="270681" cy="712468"/>
              </a:xfrm>
              <a:custGeom>
                <a:avLst/>
                <a:gdLst>
                  <a:gd name="connsiteX0" fmla="*/ 198120 w 270681"/>
                  <a:gd name="connsiteY0" fmla="*/ 712469 h 712468"/>
                  <a:gd name="connsiteX1" fmla="*/ 163830 w 270681"/>
                  <a:gd name="connsiteY1" fmla="*/ 697229 h 712468"/>
                  <a:gd name="connsiteX2" fmla="*/ 213360 w 270681"/>
                  <a:gd name="connsiteY2" fmla="*/ 91440 h 712468"/>
                  <a:gd name="connsiteX3" fmla="*/ 129540 w 270681"/>
                  <a:gd name="connsiteY3" fmla="*/ 34290 h 712468"/>
                  <a:gd name="connsiteX4" fmla="*/ 38100 w 270681"/>
                  <a:gd name="connsiteY4" fmla="*/ 125730 h 712468"/>
                  <a:gd name="connsiteX5" fmla="*/ 41910 w 270681"/>
                  <a:gd name="connsiteY5" fmla="*/ 148590 h 712468"/>
                  <a:gd name="connsiteX6" fmla="*/ 38100 w 270681"/>
                  <a:gd name="connsiteY6" fmla="*/ 601979 h 712468"/>
                  <a:gd name="connsiteX7" fmla="*/ 0 w 270681"/>
                  <a:gd name="connsiteY7" fmla="*/ 590549 h 712468"/>
                  <a:gd name="connsiteX8" fmla="*/ 3810 w 270681"/>
                  <a:gd name="connsiteY8" fmla="*/ 160020 h 712468"/>
                  <a:gd name="connsiteX9" fmla="*/ 0 w 270681"/>
                  <a:gd name="connsiteY9" fmla="*/ 129540 h 712468"/>
                  <a:gd name="connsiteX10" fmla="*/ 129540 w 270681"/>
                  <a:gd name="connsiteY10" fmla="*/ 0 h 712468"/>
                  <a:gd name="connsiteX11" fmla="*/ 251460 w 270681"/>
                  <a:gd name="connsiteY11" fmla="*/ 83820 h 712468"/>
                  <a:gd name="connsiteX12" fmla="*/ 198120 w 270681"/>
                  <a:gd name="connsiteY12" fmla="*/ 712469 h 712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0681" h="712468">
                    <a:moveTo>
                      <a:pt x="198120" y="712469"/>
                    </a:moveTo>
                    <a:lnTo>
                      <a:pt x="163830" y="697229"/>
                    </a:lnTo>
                    <a:cubicBezTo>
                      <a:pt x="281941" y="396239"/>
                      <a:pt x="213360" y="95250"/>
                      <a:pt x="213360" y="91440"/>
                    </a:cubicBezTo>
                    <a:cubicBezTo>
                      <a:pt x="201930" y="57150"/>
                      <a:pt x="167640" y="34290"/>
                      <a:pt x="129540" y="34290"/>
                    </a:cubicBezTo>
                    <a:cubicBezTo>
                      <a:pt x="80010" y="34290"/>
                      <a:pt x="38100" y="76200"/>
                      <a:pt x="38100" y="125730"/>
                    </a:cubicBezTo>
                    <a:cubicBezTo>
                      <a:pt x="38100" y="133350"/>
                      <a:pt x="38100" y="140970"/>
                      <a:pt x="41910" y="148590"/>
                    </a:cubicBezTo>
                    <a:cubicBezTo>
                      <a:pt x="45720" y="156210"/>
                      <a:pt x="110490" y="388619"/>
                      <a:pt x="38100" y="601979"/>
                    </a:cubicBezTo>
                    <a:lnTo>
                      <a:pt x="0" y="590549"/>
                    </a:lnTo>
                    <a:cubicBezTo>
                      <a:pt x="68580" y="388619"/>
                      <a:pt x="3810" y="160020"/>
                      <a:pt x="3810" y="160020"/>
                    </a:cubicBezTo>
                    <a:cubicBezTo>
                      <a:pt x="0" y="148590"/>
                      <a:pt x="0" y="137160"/>
                      <a:pt x="0" y="129540"/>
                    </a:cubicBezTo>
                    <a:cubicBezTo>
                      <a:pt x="0" y="57150"/>
                      <a:pt x="57150" y="0"/>
                      <a:pt x="129540" y="0"/>
                    </a:cubicBezTo>
                    <a:cubicBezTo>
                      <a:pt x="182880" y="0"/>
                      <a:pt x="232410" y="34290"/>
                      <a:pt x="251460" y="83820"/>
                    </a:cubicBezTo>
                    <a:cubicBezTo>
                      <a:pt x="251460" y="99060"/>
                      <a:pt x="320041" y="400049"/>
                      <a:pt x="198120" y="712469"/>
                    </a:cubicBezTo>
                    <a:close/>
                  </a:path>
                </a:pathLst>
              </a:custGeom>
              <a:grpFill/>
              <a:ln w="38100" cap="flat">
                <a:noFill/>
                <a:prstDash val="solid"/>
                <a:miter/>
              </a:ln>
            </p:spPr>
            <p:txBody>
              <a:bodyPr rtlCol="0" anchor="ctr"/>
              <a:lstStyle/>
              <a:p>
                <a:endParaRPr lang="en-IN" dirty="0"/>
              </a:p>
            </p:txBody>
          </p:sp>
          <p:sp>
            <p:nvSpPr>
              <p:cNvPr id="428" name="Freeform: Shape 427">
                <a:extLst>
                  <a:ext uri="{FF2B5EF4-FFF2-40B4-BE49-F238E27FC236}">
                    <a16:creationId xmlns:a16="http://schemas.microsoft.com/office/drawing/2014/main" id="{3FB450D0-5933-46EC-91DE-8273B13FAE75}"/>
                  </a:ext>
                </a:extLst>
              </p:cNvPr>
              <p:cNvSpPr/>
              <p:nvPr/>
            </p:nvSpPr>
            <p:spPr>
              <a:xfrm>
                <a:off x="2884163" y="-1661159"/>
                <a:ext cx="575966" cy="788668"/>
              </a:xfrm>
              <a:custGeom>
                <a:avLst/>
                <a:gdLst>
                  <a:gd name="connsiteX0" fmla="*/ 30480 w 575966"/>
                  <a:gd name="connsiteY0" fmla="*/ 788669 h 788668"/>
                  <a:gd name="connsiteX1" fmla="*/ 0 w 575966"/>
                  <a:gd name="connsiteY1" fmla="*/ 769619 h 788668"/>
                  <a:gd name="connsiteX2" fmla="*/ 22860 w 575966"/>
                  <a:gd name="connsiteY2" fmla="*/ 293370 h 788668"/>
                  <a:gd name="connsiteX3" fmla="*/ 19050 w 575966"/>
                  <a:gd name="connsiteY3" fmla="*/ 228600 h 788668"/>
                  <a:gd name="connsiteX4" fmla="*/ 278131 w 575966"/>
                  <a:gd name="connsiteY4" fmla="*/ 0 h 788668"/>
                  <a:gd name="connsiteX5" fmla="*/ 514351 w 575966"/>
                  <a:gd name="connsiteY5" fmla="*/ 144780 h 788668"/>
                  <a:gd name="connsiteX6" fmla="*/ 552451 w 575966"/>
                  <a:gd name="connsiteY6" fmla="*/ 693419 h 788668"/>
                  <a:gd name="connsiteX7" fmla="*/ 514351 w 575966"/>
                  <a:gd name="connsiteY7" fmla="*/ 685799 h 788668"/>
                  <a:gd name="connsiteX8" fmla="*/ 480061 w 575966"/>
                  <a:gd name="connsiteY8" fmla="*/ 163830 h 788668"/>
                  <a:gd name="connsiteX9" fmla="*/ 278131 w 575966"/>
                  <a:gd name="connsiteY9" fmla="*/ 38100 h 788668"/>
                  <a:gd name="connsiteX10" fmla="*/ 57150 w 575966"/>
                  <a:gd name="connsiteY10" fmla="*/ 232410 h 788668"/>
                  <a:gd name="connsiteX11" fmla="*/ 60960 w 575966"/>
                  <a:gd name="connsiteY11" fmla="*/ 281940 h 788668"/>
                  <a:gd name="connsiteX12" fmla="*/ 30480 w 575966"/>
                  <a:gd name="connsiteY12" fmla="*/ 788669 h 788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966" h="788668">
                    <a:moveTo>
                      <a:pt x="30480" y="788669"/>
                    </a:moveTo>
                    <a:lnTo>
                      <a:pt x="0" y="769619"/>
                    </a:lnTo>
                    <a:cubicBezTo>
                      <a:pt x="91440" y="628649"/>
                      <a:pt x="30480" y="327660"/>
                      <a:pt x="22860" y="293370"/>
                    </a:cubicBezTo>
                    <a:cubicBezTo>
                      <a:pt x="19050" y="270510"/>
                      <a:pt x="15240" y="247650"/>
                      <a:pt x="19050" y="228600"/>
                    </a:cubicBezTo>
                    <a:cubicBezTo>
                      <a:pt x="38100" y="99060"/>
                      <a:pt x="148590" y="0"/>
                      <a:pt x="278131" y="0"/>
                    </a:cubicBezTo>
                    <a:cubicBezTo>
                      <a:pt x="377191" y="0"/>
                      <a:pt x="468631" y="57150"/>
                      <a:pt x="514351" y="144780"/>
                    </a:cubicBezTo>
                    <a:cubicBezTo>
                      <a:pt x="518161" y="152400"/>
                      <a:pt x="621031" y="358139"/>
                      <a:pt x="552451" y="693419"/>
                    </a:cubicBezTo>
                    <a:lnTo>
                      <a:pt x="514351" y="685799"/>
                    </a:lnTo>
                    <a:cubicBezTo>
                      <a:pt x="579121" y="365759"/>
                      <a:pt x="480061" y="163830"/>
                      <a:pt x="480061" y="163830"/>
                    </a:cubicBezTo>
                    <a:cubicBezTo>
                      <a:pt x="441961" y="87630"/>
                      <a:pt x="365761" y="38100"/>
                      <a:pt x="278131" y="38100"/>
                    </a:cubicBezTo>
                    <a:cubicBezTo>
                      <a:pt x="167640" y="38100"/>
                      <a:pt x="68580" y="121920"/>
                      <a:pt x="57150" y="232410"/>
                    </a:cubicBezTo>
                    <a:cubicBezTo>
                      <a:pt x="53340" y="247650"/>
                      <a:pt x="57150" y="262890"/>
                      <a:pt x="60960" y="281940"/>
                    </a:cubicBezTo>
                    <a:cubicBezTo>
                      <a:pt x="72390" y="342899"/>
                      <a:pt x="125730" y="640079"/>
                      <a:pt x="30480" y="788669"/>
                    </a:cubicBezTo>
                    <a:close/>
                  </a:path>
                </a:pathLst>
              </a:custGeom>
              <a:grpFill/>
              <a:ln w="38100" cap="flat">
                <a:noFill/>
                <a:prstDash val="solid"/>
                <a:miter/>
              </a:ln>
            </p:spPr>
            <p:txBody>
              <a:bodyPr rtlCol="0" anchor="ctr"/>
              <a:lstStyle/>
              <a:p>
                <a:endParaRPr lang="en-IN" dirty="0"/>
              </a:p>
            </p:txBody>
          </p:sp>
          <p:sp>
            <p:nvSpPr>
              <p:cNvPr id="429" name="Freeform: Shape 428">
                <a:extLst>
                  <a:ext uri="{FF2B5EF4-FFF2-40B4-BE49-F238E27FC236}">
                    <a16:creationId xmlns:a16="http://schemas.microsoft.com/office/drawing/2014/main" id="{35CFE06D-FC11-43C2-9DE7-E3B8B7197FF2}"/>
                  </a:ext>
                </a:extLst>
              </p:cNvPr>
              <p:cNvSpPr/>
              <p:nvPr/>
            </p:nvSpPr>
            <p:spPr>
              <a:xfrm>
                <a:off x="2682233" y="-1798319"/>
                <a:ext cx="904665" cy="895348"/>
              </a:xfrm>
              <a:custGeom>
                <a:avLst/>
                <a:gdLst>
                  <a:gd name="connsiteX0" fmla="*/ 857252 w 904665"/>
                  <a:gd name="connsiteY0" fmla="*/ 895349 h 895348"/>
                  <a:gd name="connsiteX1" fmla="*/ 819152 w 904665"/>
                  <a:gd name="connsiteY1" fmla="*/ 883919 h 895348"/>
                  <a:gd name="connsiteX2" fmla="*/ 815342 w 904665"/>
                  <a:gd name="connsiteY2" fmla="*/ 270510 h 895348"/>
                  <a:gd name="connsiteX3" fmla="*/ 480061 w 904665"/>
                  <a:gd name="connsiteY3" fmla="*/ 41910 h 895348"/>
                  <a:gd name="connsiteX4" fmla="*/ 133350 w 904665"/>
                  <a:gd name="connsiteY4" fmla="*/ 300990 h 895348"/>
                  <a:gd name="connsiteX5" fmla="*/ 125730 w 904665"/>
                  <a:gd name="connsiteY5" fmla="*/ 438149 h 895348"/>
                  <a:gd name="connsiteX6" fmla="*/ 19050 w 904665"/>
                  <a:gd name="connsiteY6" fmla="*/ 796289 h 895348"/>
                  <a:gd name="connsiteX7" fmla="*/ 0 w 904665"/>
                  <a:gd name="connsiteY7" fmla="*/ 761999 h 895348"/>
                  <a:gd name="connsiteX8" fmla="*/ 87630 w 904665"/>
                  <a:gd name="connsiteY8" fmla="*/ 438149 h 895348"/>
                  <a:gd name="connsiteX9" fmla="*/ 99060 w 904665"/>
                  <a:gd name="connsiteY9" fmla="*/ 285750 h 895348"/>
                  <a:gd name="connsiteX10" fmla="*/ 483871 w 904665"/>
                  <a:gd name="connsiteY10" fmla="*/ 0 h 895348"/>
                  <a:gd name="connsiteX11" fmla="*/ 857252 w 904665"/>
                  <a:gd name="connsiteY11" fmla="*/ 255270 h 895348"/>
                  <a:gd name="connsiteX12" fmla="*/ 857252 w 904665"/>
                  <a:gd name="connsiteY12" fmla="*/ 895349 h 89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4665" h="895348">
                    <a:moveTo>
                      <a:pt x="857252" y="895349"/>
                    </a:moveTo>
                    <a:lnTo>
                      <a:pt x="819152" y="883919"/>
                    </a:lnTo>
                    <a:cubicBezTo>
                      <a:pt x="922022" y="552449"/>
                      <a:pt x="815342" y="274320"/>
                      <a:pt x="815342" y="270510"/>
                    </a:cubicBezTo>
                    <a:cubicBezTo>
                      <a:pt x="762002" y="129540"/>
                      <a:pt x="628651" y="41910"/>
                      <a:pt x="480061" y="41910"/>
                    </a:cubicBezTo>
                    <a:cubicBezTo>
                      <a:pt x="320041" y="41910"/>
                      <a:pt x="179070" y="148590"/>
                      <a:pt x="133350" y="300990"/>
                    </a:cubicBezTo>
                    <a:cubicBezTo>
                      <a:pt x="121920" y="342899"/>
                      <a:pt x="118110" y="388619"/>
                      <a:pt x="125730" y="438149"/>
                    </a:cubicBezTo>
                    <a:cubicBezTo>
                      <a:pt x="137160" y="521969"/>
                      <a:pt x="144780" y="723899"/>
                      <a:pt x="19050" y="796289"/>
                    </a:cubicBezTo>
                    <a:lnTo>
                      <a:pt x="0" y="761999"/>
                    </a:lnTo>
                    <a:cubicBezTo>
                      <a:pt x="106680" y="701039"/>
                      <a:pt x="95250" y="514349"/>
                      <a:pt x="87630" y="438149"/>
                    </a:cubicBezTo>
                    <a:cubicBezTo>
                      <a:pt x="80010" y="380999"/>
                      <a:pt x="83820" y="331469"/>
                      <a:pt x="99060" y="285750"/>
                    </a:cubicBezTo>
                    <a:cubicBezTo>
                      <a:pt x="148590" y="118110"/>
                      <a:pt x="304801" y="0"/>
                      <a:pt x="483871" y="0"/>
                    </a:cubicBezTo>
                    <a:cubicBezTo>
                      <a:pt x="651511" y="0"/>
                      <a:pt x="796292" y="99060"/>
                      <a:pt x="857252" y="255270"/>
                    </a:cubicBezTo>
                    <a:cubicBezTo>
                      <a:pt x="857252" y="270510"/>
                      <a:pt x="963932" y="552449"/>
                      <a:pt x="857252" y="895349"/>
                    </a:cubicBezTo>
                    <a:close/>
                  </a:path>
                </a:pathLst>
              </a:custGeom>
              <a:grpFill/>
              <a:ln w="38100" cap="flat">
                <a:noFill/>
                <a:prstDash val="solid"/>
                <a:miter/>
              </a:ln>
            </p:spPr>
            <p:txBody>
              <a:bodyPr rtlCol="0" anchor="ctr"/>
              <a:lstStyle/>
              <a:p>
                <a:endParaRPr lang="en-IN" dirty="0"/>
              </a:p>
            </p:txBody>
          </p:sp>
          <p:sp>
            <p:nvSpPr>
              <p:cNvPr id="430" name="Freeform: Shape 429">
                <a:extLst>
                  <a:ext uri="{FF2B5EF4-FFF2-40B4-BE49-F238E27FC236}">
                    <a16:creationId xmlns:a16="http://schemas.microsoft.com/office/drawing/2014/main" id="{45A42F9A-7203-4088-BC91-F526009C269A}"/>
                  </a:ext>
                </a:extLst>
              </p:cNvPr>
              <p:cNvSpPr/>
              <p:nvPr/>
            </p:nvSpPr>
            <p:spPr>
              <a:xfrm>
                <a:off x="2647943" y="-1912619"/>
                <a:ext cx="1024892" cy="670558"/>
              </a:xfrm>
              <a:custGeom>
                <a:avLst/>
                <a:gdLst>
                  <a:gd name="connsiteX0" fmla="*/ 22860 w 1024892"/>
                  <a:gd name="connsiteY0" fmla="*/ 670559 h 670558"/>
                  <a:gd name="connsiteX1" fmla="*/ 0 w 1024892"/>
                  <a:gd name="connsiteY1" fmla="*/ 518159 h 670558"/>
                  <a:gd name="connsiteX2" fmla="*/ 514351 w 1024892"/>
                  <a:gd name="connsiteY2" fmla="*/ 0 h 670558"/>
                  <a:gd name="connsiteX3" fmla="*/ 1024892 w 1024892"/>
                  <a:gd name="connsiteY3" fmla="*/ 438149 h 670558"/>
                  <a:gd name="connsiteX4" fmla="*/ 986792 w 1024892"/>
                  <a:gd name="connsiteY4" fmla="*/ 441959 h 670558"/>
                  <a:gd name="connsiteX5" fmla="*/ 514351 w 1024892"/>
                  <a:gd name="connsiteY5" fmla="*/ 38100 h 670558"/>
                  <a:gd name="connsiteX6" fmla="*/ 38100 w 1024892"/>
                  <a:gd name="connsiteY6" fmla="*/ 514349 h 670558"/>
                  <a:gd name="connsiteX7" fmla="*/ 60960 w 1024892"/>
                  <a:gd name="connsiteY7" fmla="*/ 655319 h 670558"/>
                  <a:gd name="connsiteX8" fmla="*/ 22860 w 1024892"/>
                  <a:gd name="connsiteY8" fmla="*/ 670559 h 67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4892" h="670558">
                    <a:moveTo>
                      <a:pt x="22860" y="670559"/>
                    </a:moveTo>
                    <a:cubicBezTo>
                      <a:pt x="7620" y="621029"/>
                      <a:pt x="0" y="571499"/>
                      <a:pt x="0" y="518159"/>
                    </a:cubicBezTo>
                    <a:cubicBezTo>
                      <a:pt x="0" y="232410"/>
                      <a:pt x="232410" y="0"/>
                      <a:pt x="514351" y="0"/>
                    </a:cubicBezTo>
                    <a:cubicBezTo>
                      <a:pt x="769622" y="0"/>
                      <a:pt x="986792" y="190500"/>
                      <a:pt x="1024892" y="438149"/>
                    </a:cubicBezTo>
                    <a:lnTo>
                      <a:pt x="986792" y="441959"/>
                    </a:lnTo>
                    <a:cubicBezTo>
                      <a:pt x="952502" y="213360"/>
                      <a:pt x="750572" y="38100"/>
                      <a:pt x="514351" y="38100"/>
                    </a:cubicBezTo>
                    <a:cubicBezTo>
                      <a:pt x="251461" y="38100"/>
                      <a:pt x="38100" y="251460"/>
                      <a:pt x="38100" y="514349"/>
                    </a:cubicBezTo>
                    <a:cubicBezTo>
                      <a:pt x="38100" y="563879"/>
                      <a:pt x="45720" y="609599"/>
                      <a:pt x="60960" y="655319"/>
                    </a:cubicBezTo>
                    <a:lnTo>
                      <a:pt x="22860" y="670559"/>
                    </a:lnTo>
                    <a:close/>
                  </a:path>
                </a:pathLst>
              </a:custGeom>
              <a:grpFill/>
              <a:ln w="38100" cap="flat">
                <a:noFill/>
                <a:prstDash val="solid"/>
                <a:miter/>
              </a:ln>
            </p:spPr>
            <p:txBody>
              <a:bodyPr rtlCol="0" anchor="ctr"/>
              <a:lstStyle/>
              <a:p>
                <a:endParaRPr lang="en-IN" dirty="0"/>
              </a:p>
            </p:txBody>
          </p:sp>
          <p:sp>
            <p:nvSpPr>
              <p:cNvPr id="431" name="Freeform: Shape 430">
                <a:extLst>
                  <a:ext uri="{FF2B5EF4-FFF2-40B4-BE49-F238E27FC236}">
                    <a16:creationId xmlns:a16="http://schemas.microsoft.com/office/drawing/2014/main" id="{28119DE4-04C1-414D-9399-2005D7908370}"/>
                  </a:ext>
                </a:extLst>
              </p:cNvPr>
              <p:cNvSpPr/>
              <p:nvPr/>
            </p:nvSpPr>
            <p:spPr>
              <a:xfrm>
                <a:off x="3143244" y="-1421129"/>
                <a:ext cx="63935" cy="339089"/>
              </a:xfrm>
              <a:custGeom>
                <a:avLst/>
                <a:gdLst>
                  <a:gd name="connsiteX0" fmla="*/ 49530 w 63935"/>
                  <a:gd name="connsiteY0" fmla="*/ 339089 h 339089"/>
                  <a:gd name="connsiteX1" fmla="*/ 11430 w 63935"/>
                  <a:gd name="connsiteY1" fmla="*/ 331469 h 339089"/>
                  <a:gd name="connsiteX2" fmla="*/ 0 w 63935"/>
                  <a:gd name="connsiteY2" fmla="*/ 11430 h 339089"/>
                  <a:gd name="connsiteX3" fmla="*/ 38100 w 63935"/>
                  <a:gd name="connsiteY3" fmla="*/ 0 h 339089"/>
                  <a:gd name="connsiteX4" fmla="*/ 49530 w 63935"/>
                  <a:gd name="connsiteY4" fmla="*/ 339089 h 3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35" h="339089">
                    <a:moveTo>
                      <a:pt x="49530" y="339089"/>
                    </a:moveTo>
                    <a:lnTo>
                      <a:pt x="11430" y="331469"/>
                    </a:lnTo>
                    <a:cubicBezTo>
                      <a:pt x="49530" y="179070"/>
                      <a:pt x="0" y="11430"/>
                      <a:pt x="0" y="11430"/>
                    </a:cubicBezTo>
                    <a:lnTo>
                      <a:pt x="38100" y="0"/>
                    </a:lnTo>
                    <a:cubicBezTo>
                      <a:pt x="38100" y="3810"/>
                      <a:pt x="87630" y="171450"/>
                      <a:pt x="49530" y="339089"/>
                    </a:cubicBezTo>
                    <a:close/>
                  </a:path>
                </a:pathLst>
              </a:custGeom>
              <a:grpFill/>
              <a:ln w="38100" cap="flat">
                <a:noFill/>
                <a:prstDash val="solid"/>
                <a:miter/>
              </a:ln>
            </p:spPr>
            <p:txBody>
              <a:bodyPr rtlCol="0" anchor="ctr"/>
              <a:lstStyle/>
              <a:p>
                <a:endParaRPr lang="en-IN" dirty="0"/>
              </a:p>
            </p:txBody>
          </p:sp>
        </p:grpSp>
      </p:grpSp>
      <p:sp>
        <p:nvSpPr>
          <p:cNvPr id="421" name="Rectangle 420">
            <a:extLst>
              <a:ext uri="{FF2B5EF4-FFF2-40B4-BE49-F238E27FC236}">
                <a16:creationId xmlns:a16="http://schemas.microsoft.com/office/drawing/2014/main" id="{0D4CBF50-37B1-B741-9FCF-AC669B73C6BC}"/>
              </a:ext>
            </a:extLst>
          </p:cNvPr>
          <p:cNvSpPr/>
          <p:nvPr/>
        </p:nvSpPr>
        <p:spPr>
          <a:xfrm>
            <a:off x="2701930" y="5777502"/>
            <a:ext cx="5384800" cy="523220"/>
          </a:xfrm>
          <a:prstGeom prst="rect">
            <a:avLst/>
          </a:prstGeom>
          <a:solidFill>
            <a:schemeClr val="bg2"/>
          </a:solidFill>
        </p:spPr>
        <p:txBody>
          <a:bodyPr wrap="square">
            <a:spAutoFit/>
          </a:bodyPr>
          <a:lstStyle/>
          <a:p>
            <a:pPr algn="ctr">
              <a:spcBef>
                <a:spcPts val="1200"/>
              </a:spcBef>
              <a:spcAft>
                <a:spcPts val="1200"/>
              </a:spcAft>
            </a:pPr>
            <a:r>
              <a:rPr lang="en-US" sz="2800" dirty="0">
                <a:solidFill>
                  <a:schemeClr val="accent1"/>
                </a:solidFill>
              </a:rPr>
              <a:t>Foundation to </a:t>
            </a:r>
            <a:r>
              <a:rPr lang="en-US" sz="2800" b="1" dirty="0">
                <a:solidFill>
                  <a:schemeClr val="bg1"/>
                </a:solidFill>
                <a:latin typeface="CiscoSansTT" panose="020B0503020201020303" pitchFamily="34" charset="0"/>
                <a:cs typeface="CiscoSansTT" panose="020B0503020201020303" pitchFamily="34" charset="0"/>
              </a:rPr>
              <a:t>Zero Trust</a:t>
            </a:r>
          </a:p>
        </p:txBody>
      </p:sp>
    </p:spTree>
    <p:extLst>
      <p:ext uri="{BB962C8B-B14F-4D97-AF65-F5344CB8AC3E}">
        <p14:creationId xmlns:p14="http://schemas.microsoft.com/office/powerpoint/2010/main" val="5758810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4" name="Freeform: Shape 493">
            <a:extLst>
              <a:ext uri="{FF2B5EF4-FFF2-40B4-BE49-F238E27FC236}">
                <a16:creationId xmlns:a16="http://schemas.microsoft.com/office/drawing/2014/main" id="{6C59B631-04EA-4CD8-81B0-E61971CE26C0}"/>
              </a:ext>
            </a:extLst>
          </p:cNvPr>
          <p:cNvSpPr>
            <a:spLocks/>
          </p:cNvSpPr>
          <p:nvPr/>
        </p:nvSpPr>
        <p:spPr bwMode="auto">
          <a:xfrm>
            <a:off x="5711146" y="2766050"/>
            <a:ext cx="3725222" cy="3779444"/>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chemeClr val="bg2">
              <a:alpha val="2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26" name="Group 25">
            <a:extLst>
              <a:ext uri="{FF2B5EF4-FFF2-40B4-BE49-F238E27FC236}">
                <a16:creationId xmlns:a16="http://schemas.microsoft.com/office/drawing/2014/main" id="{172F1213-5B85-49E2-A774-DDB916EB4A1A}"/>
              </a:ext>
            </a:extLst>
          </p:cNvPr>
          <p:cNvGrpSpPr/>
          <p:nvPr/>
        </p:nvGrpSpPr>
        <p:grpSpPr>
          <a:xfrm>
            <a:off x="5981252" y="529133"/>
            <a:ext cx="5799736" cy="5799734"/>
            <a:chOff x="6970542" y="497928"/>
            <a:chExt cx="7873326" cy="7873325"/>
          </a:xfrm>
        </p:grpSpPr>
        <p:grpSp>
          <p:nvGrpSpPr>
            <p:cNvPr id="25" name="Group 24">
              <a:extLst>
                <a:ext uri="{FF2B5EF4-FFF2-40B4-BE49-F238E27FC236}">
                  <a16:creationId xmlns:a16="http://schemas.microsoft.com/office/drawing/2014/main" id="{8D03F53D-0A42-4EB1-A33D-0802EE508D9E}"/>
                </a:ext>
              </a:extLst>
            </p:cNvPr>
            <p:cNvGrpSpPr/>
            <p:nvPr/>
          </p:nvGrpSpPr>
          <p:grpSpPr>
            <a:xfrm>
              <a:off x="6970542" y="497928"/>
              <a:ext cx="7873326" cy="7873325"/>
              <a:chOff x="6193587" y="1153533"/>
              <a:chExt cx="8147076" cy="8147074"/>
            </a:xfrm>
          </p:grpSpPr>
          <p:sp>
            <p:nvSpPr>
              <p:cNvPr id="490" name="Oval 489">
                <a:extLst>
                  <a:ext uri="{FF2B5EF4-FFF2-40B4-BE49-F238E27FC236}">
                    <a16:creationId xmlns:a16="http://schemas.microsoft.com/office/drawing/2014/main" id="{D34CB746-D42E-4F15-B95F-9BE240AD2DA2}"/>
                  </a:ext>
                </a:extLst>
              </p:cNvPr>
              <p:cNvSpPr/>
              <p:nvPr/>
            </p:nvSpPr>
            <p:spPr>
              <a:xfrm>
                <a:off x="6193587" y="1153533"/>
                <a:ext cx="8147076" cy="8147074"/>
              </a:xfrm>
              <a:prstGeom prst="ellipse">
                <a:avLst/>
              </a:prstGeom>
              <a:noFill/>
              <a:ln>
                <a:solidFill>
                  <a:schemeClr val="bg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9" name="Oval 488">
                <a:extLst>
                  <a:ext uri="{FF2B5EF4-FFF2-40B4-BE49-F238E27FC236}">
                    <a16:creationId xmlns:a16="http://schemas.microsoft.com/office/drawing/2014/main" id="{BF503C11-C325-426A-9BD5-2E3BEC89514D}"/>
                  </a:ext>
                </a:extLst>
              </p:cNvPr>
              <p:cNvSpPr/>
              <p:nvPr/>
            </p:nvSpPr>
            <p:spPr>
              <a:xfrm>
                <a:off x="6472717" y="1432663"/>
                <a:ext cx="7588816" cy="7588814"/>
              </a:xfrm>
              <a:prstGeom prst="ellipse">
                <a:avLst/>
              </a:prstGeom>
              <a:noFill/>
              <a:ln>
                <a:solidFill>
                  <a:schemeClr val="tx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5" name="Oval 124">
              <a:extLst>
                <a:ext uri="{FF2B5EF4-FFF2-40B4-BE49-F238E27FC236}">
                  <a16:creationId xmlns:a16="http://schemas.microsoft.com/office/drawing/2014/main" id="{40AAD1A6-0E05-4AF7-BBAB-BC2D20B82F08}"/>
                </a:ext>
              </a:extLst>
            </p:cNvPr>
            <p:cNvSpPr/>
            <p:nvPr/>
          </p:nvSpPr>
          <p:spPr>
            <a:xfrm>
              <a:off x="7509037" y="1036423"/>
              <a:ext cx="6796336" cy="6796335"/>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C5C87E4A-3F95-4B90-AC19-6C19D9D53A8D}"/>
                </a:ext>
              </a:extLst>
            </p:cNvPr>
            <p:cNvSpPr/>
            <p:nvPr/>
          </p:nvSpPr>
          <p:spPr>
            <a:xfrm>
              <a:off x="7740735" y="1268120"/>
              <a:ext cx="6332941" cy="633294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a:extLst>
              <a:ext uri="{FF2B5EF4-FFF2-40B4-BE49-F238E27FC236}">
                <a16:creationId xmlns:a16="http://schemas.microsoft.com/office/drawing/2014/main" id="{A8EEF25D-20AD-4B82-A691-B2E9CEFE7628}"/>
              </a:ext>
            </a:extLst>
          </p:cNvPr>
          <p:cNvSpPr>
            <a:spLocks noGrp="1"/>
          </p:cNvSpPr>
          <p:nvPr>
            <p:ph type="ctrTitle"/>
          </p:nvPr>
        </p:nvSpPr>
        <p:spPr>
          <a:xfrm>
            <a:off x="555233" y="2921516"/>
            <a:ext cx="5026261" cy="1014968"/>
          </a:xfrm>
        </p:spPr>
        <p:txBody>
          <a:bodyPr anchor="ctr"/>
          <a:lstStyle/>
          <a:p>
            <a:r>
              <a:rPr lang="en-US" sz="5400" dirty="0">
                <a:latin typeface="CiscoSansTT" panose="020B0503020201020303" pitchFamily="34" charset="0"/>
              </a:rPr>
              <a:t>Cisco AnyConnect Secure Mobility Client</a:t>
            </a:r>
          </a:p>
        </p:txBody>
      </p:sp>
      <p:sp>
        <p:nvSpPr>
          <p:cNvPr id="123" name="Freeform: Shape 122">
            <a:extLst>
              <a:ext uri="{FF2B5EF4-FFF2-40B4-BE49-F238E27FC236}">
                <a16:creationId xmlns:a16="http://schemas.microsoft.com/office/drawing/2014/main" id="{4A00BE17-9657-4C30-9E91-EEBCA11F9D84}"/>
              </a:ext>
            </a:extLst>
          </p:cNvPr>
          <p:cNvSpPr>
            <a:spLocks noChangeAspect="1"/>
          </p:cNvSpPr>
          <p:nvPr/>
        </p:nvSpPr>
        <p:spPr>
          <a:xfrm rot="17628662">
            <a:off x="7676574" y="1874318"/>
            <a:ext cx="2283345" cy="443213"/>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gradFill flip="none" rotWithShape="1">
            <a:gsLst>
              <a:gs pos="0">
                <a:schemeClr val="accent1">
                  <a:lumMod val="20000"/>
                  <a:lumOff val="80000"/>
                  <a:alpha val="0"/>
                </a:schemeClr>
              </a:gs>
              <a:gs pos="100000">
                <a:schemeClr val="accent1">
                  <a:lumMod val="20000"/>
                  <a:lumOff val="80000"/>
                </a:schemeClr>
              </a:gs>
            </a:gsLst>
            <a:lin ang="0" scaled="1"/>
            <a:tileRect/>
          </a:gra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69" name="Freeform: Shape 68">
            <a:extLst>
              <a:ext uri="{FF2B5EF4-FFF2-40B4-BE49-F238E27FC236}">
                <a16:creationId xmlns:a16="http://schemas.microsoft.com/office/drawing/2014/main" id="{8EB12D0B-4299-4A41-B44D-B1AA5A12878A}"/>
              </a:ext>
            </a:extLst>
          </p:cNvPr>
          <p:cNvSpPr>
            <a:spLocks/>
          </p:cNvSpPr>
          <p:nvPr/>
        </p:nvSpPr>
        <p:spPr bwMode="auto">
          <a:xfrm>
            <a:off x="7971320" y="2181362"/>
            <a:ext cx="2804162" cy="2844979"/>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rgbClr val="6CBD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117" name="Group 116">
            <a:extLst>
              <a:ext uri="{FF2B5EF4-FFF2-40B4-BE49-F238E27FC236}">
                <a16:creationId xmlns:a16="http://schemas.microsoft.com/office/drawing/2014/main" id="{DDDD3010-7CEB-4CD4-B2D7-5396619E16A6}"/>
              </a:ext>
            </a:extLst>
          </p:cNvPr>
          <p:cNvGrpSpPr/>
          <p:nvPr/>
        </p:nvGrpSpPr>
        <p:grpSpPr>
          <a:xfrm>
            <a:off x="6764993" y="2823975"/>
            <a:ext cx="1487563" cy="318332"/>
            <a:chOff x="2736154" y="1943610"/>
            <a:chExt cx="1022270" cy="218761"/>
          </a:xfrm>
        </p:grpSpPr>
        <p:sp>
          <p:nvSpPr>
            <p:cNvPr id="118" name="Freeform: Shape 117">
              <a:extLst>
                <a:ext uri="{FF2B5EF4-FFF2-40B4-BE49-F238E27FC236}">
                  <a16:creationId xmlns:a16="http://schemas.microsoft.com/office/drawing/2014/main" id="{A676994F-6ACC-400F-9638-056A0DE5E770}"/>
                </a:ext>
              </a:extLst>
            </p:cNvPr>
            <p:cNvSpPr/>
            <p:nvPr/>
          </p:nvSpPr>
          <p:spPr>
            <a:xfrm>
              <a:off x="3114587" y="1943610"/>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9" name="Freeform: Shape 118">
              <a:extLst>
                <a:ext uri="{FF2B5EF4-FFF2-40B4-BE49-F238E27FC236}">
                  <a16:creationId xmlns:a16="http://schemas.microsoft.com/office/drawing/2014/main" id="{B996E8B2-0C1D-4031-B72E-D0C11270310C}"/>
                </a:ext>
              </a:extLst>
            </p:cNvPr>
            <p:cNvSpPr/>
            <p:nvPr/>
          </p:nvSpPr>
          <p:spPr>
            <a:xfrm>
              <a:off x="2988395" y="2011857"/>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0" name="Freeform: Shape 119">
              <a:extLst>
                <a:ext uri="{FF2B5EF4-FFF2-40B4-BE49-F238E27FC236}">
                  <a16:creationId xmlns:a16="http://schemas.microsoft.com/office/drawing/2014/main" id="{B30E38E0-0A08-4EF2-BB2A-FF2624224E04}"/>
                </a:ext>
              </a:extLst>
            </p:cNvPr>
            <p:cNvSpPr/>
            <p:nvPr/>
          </p:nvSpPr>
          <p:spPr>
            <a:xfrm>
              <a:off x="2862346" y="2079960"/>
              <a:ext cx="643837" cy="14307"/>
            </a:xfrm>
            <a:custGeom>
              <a:avLst/>
              <a:gdLst>
                <a:gd name="connsiteX0" fmla="*/ 8048 w 643836"/>
                <a:gd name="connsiteY0" fmla="*/ 8048 h 14307"/>
                <a:gd name="connsiteX1" fmla="*/ 646019 w 643836"/>
                <a:gd name="connsiteY1" fmla="*/ 8048 h 14307"/>
              </a:gdLst>
              <a:ahLst/>
              <a:cxnLst>
                <a:cxn ang="0">
                  <a:pos x="connsiteX0" y="connsiteY0"/>
                </a:cxn>
                <a:cxn ang="0">
                  <a:pos x="connsiteX1" y="connsiteY1"/>
                </a:cxn>
              </a:cxnLst>
              <a:rect l="l" t="t" r="r" b="b"/>
              <a:pathLst>
                <a:path w="643836" h="14307">
                  <a:moveTo>
                    <a:pt x="8048" y="8048"/>
                  </a:moveTo>
                  <a:lnTo>
                    <a:pt x="646019" y="8048"/>
                  </a:lnTo>
                </a:path>
              </a:pathLst>
            </a:custGeom>
            <a:ln w="7144" cap="flat">
              <a:solidFill>
                <a:schemeClr val="accent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1" name="Freeform: Shape 120">
              <a:extLst>
                <a:ext uri="{FF2B5EF4-FFF2-40B4-BE49-F238E27FC236}">
                  <a16:creationId xmlns:a16="http://schemas.microsoft.com/office/drawing/2014/main" id="{8246DDF7-1EFC-46BF-9806-535FDF966A94}"/>
                </a:ext>
              </a:extLst>
            </p:cNvPr>
            <p:cNvSpPr/>
            <p:nvPr/>
          </p:nvSpPr>
          <p:spPr>
            <a:xfrm>
              <a:off x="2736154" y="2148064"/>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497" name="Freeform: Shape 496">
            <a:extLst>
              <a:ext uri="{FF2B5EF4-FFF2-40B4-BE49-F238E27FC236}">
                <a16:creationId xmlns:a16="http://schemas.microsoft.com/office/drawing/2014/main" id="{664D79E4-5791-4B8C-9F1E-6E77EAD7F201}"/>
              </a:ext>
            </a:extLst>
          </p:cNvPr>
          <p:cNvSpPr>
            <a:spLocks noChangeAspect="1"/>
          </p:cNvSpPr>
          <p:nvPr/>
        </p:nvSpPr>
        <p:spPr>
          <a:xfrm rot="17628662">
            <a:off x="8170825" y="2098281"/>
            <a:ext cx="2283345" cy="443213"/>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gradFill flip="none" rotWithShape="1">
            <a:gsLst>
              <a:gs pos="0">
                <a:schemeClr val="accent1">
                  <a:lumMod val="20000"/>
                  <a:lumOff val="80000"/>
                  <a:alpha val="0"/>
                </a:schemeClr>
              </a:gs>
              <a:gs pos="100000">
                <a:schemeClr val="accent1">
                  <a:lumMod val="20000"/>
                  <a:lumOff val="80000"/>
                </a:schemeClr>
              </a:gs>
            </a:gsLst>
            <a:lin ang="0" scaled="1"/>
            <a:tileRect/>
          </a:gra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54" name="Oval 53">
            <a:extLst>
              <a:ext uri="{FF2B5EF4-FFF2-40B4-BE49-F238E27FC236}">
                <a16:creationId xmlns:a16="http://schemas.microsoft.com/office/drawing/2014/main" id="{CD4007D4-4FFF-4CAD-B7C5-20AF5D54BC5E}"/>
              </a:ext>
            </a:extLst>
          </p:cNvPr>
          <p:cNvSpPr/>
          <p:nvPr/>
        </p:nvSpPr>
        <p:spPr>
          <a:xfrm>
            <a:off x="7377197" y="2222181"/>
            <a:ext cx="2804162" cy="2804160"/>
          </a:xfrm>
          <a:prstGeom prst="ellipse">
            <a:avLst/>
          </a:prstGeom>
          <a:solidFill>
            <a:schemeClr val="bg2"/>
          </a:solidFill>
          <a:ln w="28575" cap="rnd">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6" name="Picture 55">
            <a:extLst>
              <a:ext uri="{FF2B5EF4-FFF2-40B4-BE49-F238E27FC236}">
                <a16:creationId xmlns:a16="http://schemas.microsoft.com/office/drawing/2014/main" id="{B4E481B2-519F-4B9B-962B-27C69B15047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377197" y="2815646"/>
            <a:ext cx="2804162" cy="1617230"/>
          </a:xfrm>
          <a:custGeom>
            <a:avLst/>
            <a:gdLst>
              <a:gd name="connsiteX0" fmla="*/ 278915 w 2804162"/>
              <a:gd name="connsiteY0" fmla="*/ 0 h 1617583"/>
              <a:gd name="connsiteX1" fmla="*/ 2525247 w 2804162"/>
              <a:gd name="connsiteY1" fmla="*/ 0 h 1617583"/>
              <a:gd name="connsiteX2" fmla="*/ 2564709 w 2804162"/>
              <a:gd name="connsiteY2" fmla="*/ 52771 h 1617583"/>
              <a:gd name="connsiteX3" fmla="*/ 2804162 w 2804162"/>
              <a:gd name="connsiteY3" fmla="*/ 836687 h 1617583"/>
              <a:gd name="connsiteX4" fmla="*/ 2634938 w 2804162"/>
              <a:gd name="connsiteY4" fmla="*/ 1505001 h 1617583"/>
              <a:gd name="connsiteX5" fmla="*/ 2566544 w 2804162"/>
              <a:gd name="connsiteY5" fmla="*/ 1617583 h 1617583"/>
              <a:gd name="connsiteX6" fmla="*/ 237618 w 2804162"/>
              <a:gd name="connsiteY6" fmla="*/ 1617583 h 1617583"/>
              <a:gd name="connsiteX7" fmla="*/ 169224 w 2804162"/>
              <a:gd name="connsiteY7" fmla="*/ 1505001 h 1617583"/>
              <a:gd name="connsiteX8" fmla="*/ 0 w 2804162"/>
              <a:gd name="connsiteY8" fmla="*/ 836687 h 1617583"/>
              <a:gd name="connsiteX9" fmla="*/ 239453 w 2804162"/>
              <a:gd name="connsiteY9" fmla="*/ 52771 h 1617583"/>
              <a:gd name="connsiteX10" fmla="*/ 278915 w 2804162"/>
              <a:gd name="connsiteY10" fmla="*/ 0 h 161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04162" h="1617583">
                <a:moveTo>
                  <a:pt x="278915" y="0"/>
                </a:moveTo>
                <a:lnTo>
                  <a:pt x="2525247" y="0"/>
                </a:lnTo>
                <a:lnTo>
                  <a:pt x="2564709" y="52771"/>
                </a:lnTo>
                <a:cubicBezTo>
                  <a:pt x="2715887" y="276544"/>
                  <a:pt x="2804162" y="546307"/>
                  <a:pt x="2804162" y="836687"/>
                </a:cubicBezTo>
                <a:cubicBezTo>
                  <a:pt x="2804162" y="1078671"/>
                  <a:pt x="2742860" y="1306336"/>
                  <a:pt x="2634938" y="1505001"/>
                </a:cubicBezTo>
                <a:lnTo>
                  <a:pt x="2566544" y="1617583"/>
                </a:lnTo>
                <a:lnTo>
                  <a:pt x="237618" y="1617583"/>
                </a:lnTo>
                <a:lnTo>
                  <a:pt x="169224" y="1505001"/>
                </a:lnTo>
                <a:cubicBezTo>
                  <a:pt x="61302" y="1306336"/>
                  <a:pt x="0" y="1078671"/>
                  <a:pt x="0" y="836687"/>
                </a:cubicBezTo>
                <a:cubicBezTo>
                  <a:pt x="0" y="546307"/>
                  <a:pt x="88275" y="276544"/>
                  <a:pt x="239453" y="52771"/>
                </a:cubicBezTo>
                <a:lnTo>
                  <a:pt x="278915" y="0"/>
                </a:lnTo>
                <a:close/>
              </a:path>
            </a:pathLst>
          </a:custGeom>
        </p:spPr>
      </p:pic>
      <p:sp>
        <p:nvSpPr>
          <p:cNvPr id="57" name="Oval 56">
            <a:extLst>
              <a:ext uri="{FF2B5EF4-FFF2-40B4-BE49-F238E27FC236}">
                <a16:creationId xmlns:a16="http://schemas.microsoft.com/office/drawing/2014/main" id="{D772C70D-D08D-4F91-BD01-C32A7EBF1364}"/>
              </a:ext>
            </a:extLst>
          </p:cNvPr>
          <p:cNvSpPr/>
          <p:nvPr/>
        </p:nvSpPr>
        <p:spPr>
          <a:xfrm>
            <a:off x="7377197" y="2222181"/>
            <a:ext cx="2804162" cy="2804160"/>
          </a:xfrm>
          <a:prstGeom prst="ellipse">
            <a:avLst/>
          </a:prstGeom>
          <a:noFill/>
          <a:ln w="28575" cap="rnd">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1" name="Group 70">
            <a:extLst>
              <a:ext uri="{FF2B5EF4-FFF2-40B4-BE49-F238E27FC236}">
                <a16:creationId xmlns:a16="http://schemas.microsoft.com/office/drawing/2014/main" id="{4DE1DD59-FC54-4312-BB29-355BF961DD43}"/>
              </a:ext>
            </a:extLst>
          </p:cNvPr>
          <p:cNvGrpSpPr/>
          <p:nvPr/>
        </p:nvGrpSpPr>
        <p:grpSpPr>
          <a:xfrm>
            <a:off x="7377197" y="4420977"/>
            <a:ext cx="1588318" cy="601339"/>
            <a:chOff x="4559301" y="5662613"/>
            <a:chExt cx="769938" cy="292100"/>
          </a:xfrm>
          <a:solidFill>
            <a:schemeClr val="accent1"/>
          </a:solidFill>
        </p:grpSpPr>
        <p:sp>
          <p:nvSpPr>
            <p:cNvPr id="72" name="Freeform 87">
              <a:extLst>
                <a:ext uri="{FF2B5EF4-FFF2-40B4-BE49-F238E27FC236}">
                  <a16:creationId xmlns:a16="http://schemas.microsoft.com/office/drawing/2014/main" id="{34DF5959-28BF-4988-A5B4-E12198D4577D}"/>
                </a:ext>
              </a:extLst>
            </p:cNvPr>
            <p:cNvSpPr>
              <a:spLocks/>
            </p:cNvSpPr>
            <p:nvPr/>
          </p:nvSpPr>
          <p:spPr bwMode="auto">
            <a:xfrm>
              <a:off x="4559301" y="566261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4 h 46"/>
                <a:gd name="T46" fmla="*/ 355 w 358"/>
                <a:gd name="T47" fmla="*/ 41 h 46"/>
                <a:gd name="T48" fmla="*/ 342 w 358"/>
                <a:gd name="T49" fmla="*/ 36 h 46"/>
                <a:gd name="T50" fmla="*/ 327 w 358"/>
                <a:gd name="T51" fmla="*/ 14 h 46"/>
                <a:gd name="T52" fmla="*/ 305 w 358"/>
                <a:gd name="T53" fmla="*/ 1 h 46"/>
                <a:gd name="T54" fmla="*/ 288 w 358"/>
                <a:gd name="T55" fmla="*/ 8 h 46"/>
                <a:gd name="T56" fmla="*/ 273 w 358"/>
                <a:gd name="T57" fmla="*/ 30 h 46"/>
                <a:gd name="T58" fmla="*/ 254 w 358"/>
                <a:gd name="T59" fmla="*/ 41 h 46"/>
                <a:gd name="T60" fmla="*/ 241 w 358"/>
                <a:gd name="T61" fmla="*/ 36 h 46"/>
                <a:gd name="T62" fmla="*/ 226 w 358"/>
                <a:gd name="T63" fmla="*/ 14 h 46"/>
                <a:gd name="T64" fmla="*/ 204 w 358"/>
                <a:gd name="T65" fmla="*/ 1 h 46"/>
                <a:gd name="T66" fmla="*/ 187 w 358"/>
                <a:gd name="T67" fmla="*/ 8 h 46"/>
                <a:gd name="T68" fmla="*/ 172 w 358"/>
                <a:gd name="T69" fmla="*/ 30 h 46"/>
                <a:gd name="T70" fmla="*/ 154 w 358"/>
                <a:gd name="T71" fmla="*/ 41 h 46"/>
                <a:gd name="T72" fmla="*/ 140 w 358"/>
                <a:gd name="T73" fmla="*/ 36 h 46"/>
                <a:gd name="T74" fmla="*/ 126 w 358"/>
                <a:gd name="T75" fmla="*/ 14 h 46"/>
                <a:gd name="T76" fmla="*/ 103 w 358"/>
                <a:gd name="T77" fmla="*/ 1 h 46"/>
                <a:gd name="T78" fmla="*/ 87 w 358"/>
                <a:gd name="T79" fmla="*/ 8 h 46"/>
                <a:gd name="T80" fmla="*/ 72 w 358"/>
                <a:gd name="T81" fmla="*/ 30 h 46"/>
                <a:gd name="T82" fmla="*/ 53 w 358"/>
                <a:gd name="T83" fmla="*/ 41 h 46"/>
                <a:gd name="T84" fmla="*/ 40 w 358"/>
                <a:gd name="T85" fmla="*/ 36 h 46"/>
                <a:gd name="T86" fmla="*/ 25 w 358"/>
                <a:gd name="T87" fmla="*/ 14 h 46"/>
                <a:gd name="T88" fmla="*/ 3 w 358"/>
                <a:gd name="T89" fmla="*/ 1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5"/>
                    <a:pt x="31" y="32"/>
                  </a:cubicBezTo>
                  <a:cubicBezTo>
                    <a:pt x="36" y="40"/>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5"/>
                    <a:pt x="131" y="32"/>
                  </a:cubicBezTo>
                  <a:cubicBezTo>
                    <a:pt x="137" y="40"/>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5"/>
                    <a:pt x="232" y="32"/>
                  </a:cubicBezTo>
                  <a:cubicBezTo>
                    <a:pt x="237" y="40"/>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5"/>
                    <a:pt x="333" y="32"/>
                  </a:cubicBezTo>
                  <a:cubicBezTo>
                    <a:pt x="338" y="40"/>
                    <a:pt x="345" y="46"/>
                    <a:pt x="355" y="46"/>
                  </a:cubicBezTo>
                  <a:cubicBezTo>
                    <a:pt x="356" y="46"/>
                    <a:pt x="358" y="45"/>
                    <a:pt x="358" y="44"/>
                  </a:cubicBezTo>
                  <a:cubicBezTo>
                    <a:pt x="358" y="43"/>
                    <a:pt x="356" y="41"/>
                    <a:pt x="355" y="41"/>
                  </a:cubicBezTo>
                  <a:cubicBezTo>
                    <a:pt x="350" y="41"/>
                    <a:pt x="346" y="39"/>
                    <a:pt x="342" y="36"/>
                  </a:cubicBezTo>
                  <a:cubicBezTo>
                    <a:pt x="336" y="30"/>
                    <a:pt x="332" y="22"/>
                    <a:pt x="327" y="14"/>
                  </a:cubicBezTo>
                  <a:cubicBezTo>
                    <a:pt x="322" y="7"/>
                    <a:pt x="315" y="0"/>
                    <a:pt x="305" y="1"/>
                  </a:cubicBezTo>
                  <a:cubicBezTo>
                    <a:pt x="298" y="0"/>
                    <a:pt x="292" y="3"/>
                    <a:pt x="288" y="8"/>
                  </a:cubicBezTo>
                  <a:cubicBezTo>
                    <a:pt x="282" y="14"/>
                    <a:pt x="278" y="23"/>
                    <a:pt x="273" y="30"/>
                  </a:cubicBezTo>
                  <a:cubicBezTo>
                    <a:pt x="268" y="37"/>
                    <a:pt x="263" y="41"/>
                    <a:pt x="254" y="41"/>
                  </a:cubicBezTo>
                  <a:cubicBezTo>
                    <a:pt x="249" y="41"/>
                    <a:pt x="245" y="39"/>
                    <a:pt x="241" y="36"/>
                  </a:cubicBezTo>
                  <a:cubicBezTo>
                    <a:pt x="236" y="30"/>
                    <a:pt x="232" y="22"/>
                    <a:pt x="226" y="14"/>
                  </a:cubicBezTo>
                  <a:cubicBezTo>
                    <a:pt x="221" y="7"/>
                    <a:pt x="215" y="0"/>
                    <a:pt x="204" y="1"/>
                  </a:cubicBezTo>
                  <a:cubicBezTo>
                    <a:pt x="197" y="0"/>
                    <a:pt x="192" y="3"/>
                    <a:pt x="187" y="8"/>
                  </a:cubicBezTo>
                  <a:cubicBezTo>
                    <a:pt x="181" y="14"/>
                    <a:pt x="177" y="23"/>
                    <a:pt x="172" y="30"/>
                  </a:cubicBezTo>
                  <a:cubicBezTo>
                    <a:pt x="167" y="37"/>
                    <a:pt x="162" y="41"/>
                    <a:pt x="154" y="41"/>
                  </a:cubicBezTo>
                  <a:cubicBezTo>
                    <a:pt x="148" y="41"/>
                    <a:pt x="144" y="39"/>
                    <a:pt x="140" y="36"/>
                  </a:cubicBezTo>
                  <a:cubicBezTo>
                    <a:pt x="135" y="30"/>
                    <a:pt x="131" y="22"/>
                    <a:pt x="126" y="14"/>
                  </a:cubicBezTo>
                  <a:cubicBezTo>
                    <a:pt x="121" y="7"/>
                    <a:pt x="114" y="0"/>
                    <a:pt x="103" y="1"/>
                  </a:cubicBezTo>
                  <a:cubicBezTo>
                    <a:pt x="96" y="0"/>
                    <a:pt x="91" y="3"/>
                    <a:pt x="87" y="8"/>
                  </a:cubicBezTo>
                  <a:cubicBezTo>
                    <a:pt x="81" y="14"/>
                    <a:pt x="76" y="23"/>
                    <a:pt x="72" y="30"/>
                  </a:cubicBezTo>
                  <a:cubicBezTo>
                    <a:pt x="67" y="37"/>
                    <a:pt x="61" y="41"/>
                    <a:pt x="53" y="41"/>
                  </a:cubicBezTo>
                  <a:cubicBezTo>
                    <a:pt x="48" y="41"/>
                    <a:pt x="44" y="39"/>
                    <a:pt x="40" y="36"/>
                  </a:cubicBezTo>
                  <a:cubicBezTo>
                    <a:pt x="34" y="30"/>
                    <a:pt x="30" y="22"/>
                    <a:pt x="25" y="14"/>
                  </a:cubicBezTo>
                  <a:cubicBezTo>
                    <a:pt x="20" y="7"/>
                    <a:pt x="13" y="0"/>
                    <a:pt x="3" y="1"/>
                  </a:cubicBezTo>
                  <a:cubicBezTo>
                    <a:pt x="2" y="1"/>
                    <a:pt x="0" y="2"/>
                    <a:pt x="0" y="3"/>
                  </a:cubicBezTo>
                  <a:cubicBezTo>
                    <a:pt x="0" y="4"/>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88">
              <a:extLst>
                <a:ext uri="{FF2B5EF4-FFF2-40B4-BE49-F238E27FC236}">
                  <a16:creationId xmlns:a16="http://schemas.microsoft.com/office/drawing/2014/main" id="{7C1BBB13-EB6E-4ECA-8DD5-F3D0D9DC6921}"/>
                </a:ext>
              </a:extLst>
            </p:cNvPr>
            <p:cNvSpPr>
              <a:spLocks/>
            </p:cNvSpPr>
            <p:nvPr/>
          </p:nvSpPr>
          <p:spPr bwMode="auto">
            <a:xfrm>
              <a:off x="4559301" y="575786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4"/>
                    <a:pt x="31" y="32"/>
                  </a:cubicBezTo>
                  <a:cubicBezTo>
                    <a:pt x="36" y="39"/>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4"/>
                    <a:pt x="131" y="32"/>
                  </a:cubicBezTo>
                  <a:cubicBezTo>
                    <a:pt x="137" y="39"/>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4"/>
                    <a:pt x="232" y="32"/>
                  </a:cubicBezTo>
                  <a:cubicBezTo>
                    <a:pt x="237" y="39"/>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4"/>
                    <a:pt x="333" y="32"/>
                  </a:cubicBezTo>
                  <a:cubicBezTo>
                    <a:pt x="338" y="39"/>
                    <a:pt x="345" y="46"/>
                    <a:pt x="355" y="46"/>
                  </a:cubicBezTo>
                  <a:cubicBezTo>
                    <a:pt x="356" y="46"/>
                    <a:pt x="358" y="45"/>
                    <a:pt x="358" y="43"/>
                  </a:cubicBezTo>
                  <a:cubicBezTo>
                    <a:pt x="358" y="42"/>
                    <a:pt x="356" y="41"/>
                    <a:pt x="355" y="41"/>
                  </a:cubicBezTo>
                  <a:cubicBezTo>
                    <a:pt x="350" y="41"/>
                    <a:pt x="346" y="39"/>
                    <a:pt x="342" y="35"/>
                  </a:cubicBezTo>
                  <a:cubicBezTo>
                    <a:pt x="336" y="30"/>
                    <a:pt x="332" y="22"/>
                    <a:pt x="327" y="14"/>
                  </a:cubicBezTo>
                  <a:cubicBezTo>
                    <a:pt x="322" y="7"/>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2"/>
                    <a:pt x="226" y="14"/>
                  </a:cubicBezTo>
                  <a:cubicBezTo>
                    <a:pt x="221" y="7"/>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2"/>
                    <a:pt x="126" y="14"/>
                  </a:cubicBezTo>
                  <a:cubicBezTo>
                    <a:pt x="121" y="7"/>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2"/>
                    <a:pt x="25" y="14"/>
                  </a:cubicBezTo>
                  <a:cubicBezTo>
                    <a:pt x="20" y="7"/>
                    <a:pt x="13" y="0"/>
                    <a:pt x="3" y="0"/>
                  </a:cubicBezTo>
                  <a:cubicBezTo>
                    <a:pt x="2" y="0"/>
                    <a:pt x="0" y="1"/>
                    <a:pt x="0" y="3"/>
                  </a:cubicBezTo>
                  <a:cubicBezTo>
                    <a:pt x="0" y="4"/>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89">
              <a:extLst>
                <a:ext uri="{FF2B5EF4-FFF2-40B4-BE49-F238E27FC236}">
                  <a16:creationId xmlns:a16="http://schemas.microsoft.com/office/drawing/2014/main" id="{EC6C7487-2EAD-4734-99D3-88F103C19DB9}"/>
                </a:ext>
              </a:extLst>
            </p:cNvPr>
            <p:cNvSpPr>
              <a:spLocks/>
            </p:cNvSpPr>
            <p:nvPr/>
          </p:nvSpPr>
          <p:spPr bwMode="auto">
            <a:xfrm>
              <a:off x="4559301" y="5853113"/>
              <a:ext cx="769938" cy="101600"/>
            </a:xfrm>
            <a:custGeom>
              <a:avLst/>
              <a:gdLst>
                <a:gd name="T0" fmla="*/ 3 w 358"/>
                <a:gd name="T1" fmla="*/ 5 h 46"/>
                <a:gd name="T2" fmla="*/ 16 w 358"/>
                <a:gd name="T3" fmla="*/ 10 h 46"/>
                <a:gd name="T4" fmla="*/ 31 w 358"/>
                <a:gd name="T5" fmla="*/ 32 h 46"/>
                <a:gd name="T6" fmla="*/ 53 w 358"/>
                <a:gd name="T7" fmla="*/ 45 h 46"/>
                <a:gd name="T8" fmla="*/ 70 w 358"/>
                <a:gd name="T9" fmla="*/ 38 h 46"/>
                <a:gd name="T10" fmla="*/ 85 w 358"/>
                <a:gd name="T11" fmla="*/ 16 h 46"/>
                <a:gd name="T12" fmla="*/ 103 w 358"/>
                <a:gd name="T13" fmla="*/ 5 h 46"/>
                <a:gd name="T14" fmla="*/ 117 w 358"/>
                <a:gd name="T15" fmla="*/ 10 h 46"/>
                <a:gd name="T16" fmla="*/ 131 w 358"/>
                <a:gd name="T17" fmla="*/ 32 h 46"/>
                <a:gd name="T18" fmla="*/ 154 w 358"/>
                <a:gd name="T19" fmla="*/ 45 h 46"/>
                <a:gd name="T20" fmla="*/ 170 w 358"/>
                <a:gd name="T21" fmla="*/ 38 h 46"/>
                <a:gd name="T22" fmla="*/ 186 w 358"/>
                <a:gd name="T23" fmla="*/ 16 h 46"/>
                <a:gd name="T24" fmla="*/ 204 w 358"/>
                <a:gd name="T25" fmla="*/ 5 h 46"/>
                <a:gd name="T26" fmla="*/ 217 w 358"/>
                <a:gd name="T27" fmla="*/ 10 h 46"/>
                <a:gd name="T28" fmla="*/ 232 w 358"/>
                <a:gd name="T29" fmla="*/ 32 h 46"/>
                <a:gd name="T30" fmla="*/ 254 w 358"/>
                <a:gd name="T31" fmla="*/ 45 h 46"/>
                <a:gd name="T32" fmla="*/ 271 w 358"/>
                <a:gd name="T33" fmla="*/ 38 h 46"/>
                <a:gd name="T34" fmla="*/ 286 w 358"/>
                <a:gd name="T35" fmla="*/ 16 h 46"/>
                <a:gd name="T36" fmla="*/ 305 w 358"/>
                <a:gd name="T37" fmla="*/ 5 h 46"/>
                <a:gd name="T38" fmla="*/ 318 w 358"/>
                <a:gd name="T39" fmla="*/ 10 h 46"/>
                <a:gd name="T40" fmla="*/ 333 w 358"/>
                <a:gd name="T41" fmla="*/ 32 h 46"/>
                <a:gd name="T42" fmla="*/ 355 w 358"/>
                <a:gd name="T43" fmla="*/ 45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2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0"/>
                  </a:cubicBezTo>
                  <a:cubicBezTo>
                    <a:pt x="22" y="16"/>
                    <a:pt x="26" y="24"/>
                    <a:pt x="31" y="32"/>
                  </a:cubicBezTo>
                  <a:cubicBezTo>
                    <a:pt x="36" y="39"/>
                    <a:pt x="43" y="46"/>
                    <a:pt x="53" y="45"/>
                  </a:cubicBezTo>
                  <a:cubicBezTo>
                    <a:pt x="60" y="46"/>
                    <a:pt x="66" y="43"/>
                    <a:pt x="70" y="38"/>
                  </a:cubicBezTo>
                  <a:cubicBezTo>
                    <a:pt x="76" y="32"/>
                    <a:pt x="80" y="23"/>
                    <a:pt x="85" y="16"/>
                  </a:cubicBezTo>
                  <a:cubicBezTo>
                    <a:pt x="90" y="9"/>
                    <a:pt x="95" y="5"/>
                    <a:pt x="103" y="5"/>
                  </a:cubicBezTo>
                  <a:cubicBezTo>
                    <a:pt x="109" y="5"/>
                    <a:pt x="113" y="7"/>
                    <a:pt x="117" y="10"/>
                  </a:cubicBezTo>
                  <a:cubicBezTo>
                    <a:pt x="122" y="16"/>
                    <a:pt x="126" y="24"/>
                    <a:pt x="131" y="32"/>
                  </a:cubicBezTo>
                  <a:cubicBezTo>
                    <a:pt x="137" y="39"/>
                    <a:pt x="143" y="46"/>
                    <a:pt x="154" y="45"/>
                  </a:cubicBezTo>
                  <a:cubicBezTo>
                    <a:pt x="161" y="46"/>
                    <a:pt x="166" y="43"/>
                    <a:pt x="170" y="38"/>
                  </a:cubicBezTo>
                  <a:cubicBezTo>
                    <a:pt x="177" y="32"/>
                    <a:pt x="181" y="23"/>
                    <a:pt x="186" y="16"/>
                  </a:cubicBezTo>
                  <a:cubicBezTo>
                    <a:pt x="191" y="9"/>
                    <a:pt x="196" y="5"/>
                    <a:pt x="204" y="5"/>
                  </a:cubicBezTo>
                  <a:cubicBezTo>
                    <a:pt x="210" y="5"/>
                    <a:pt x="214" y="7"/>
                    <a:pt x="217" y="10"/>
                  </a:cubicBezTo>
                  <a:cubicBezTo>
                    <a:pt x="223" y="16"/>
                    <a:pt x="227" y="24"/>
                    <a:pt x="232" y="32"/>
                  </a:cubicBezTo>
                  <a:cubicBezTo>
                    <a:pt x="237" y="39"/>
                    <a:pt x="244" y="46"/>
                    <a:pt x="254" y="45"/>
                  </a:cubicBezTo>
                  <a:cubicBezTo>
                    <a:pt x="261" y="46"/>
                    <a:pt x="267" y="43"/>
                    <a:pt x="271" y="38"/>
                  </a:cubicBezTo>
                  <a:cubicBezTo>
                    <a:pt x="277" y="32"/>
                    <a:pt x="281" y="23"/>
                    <a:pt x="286" y="16"/>
                  </a:cubicBezTo>
                  <a:cubicBezTo>
                    <a:pt x="291" y="9"/>
                    <a:pt x="296" y="5"/>
                    <a:pt x="305" y="5"/>
                  </a:cubicBezTo>
                  <a:cubicBezTo>
                    <a:pt x="310" y="5"/>
                    <a:pt x="314" y="7"/>
                    <a:pt x="318" y="10"/>
                  </a:cubicBezTo>
                  <a:cubicBezTo>
                    <a:pt x="324" y="16"/>
                    <a:pt x="328" y="24"/>
                    <a:pt x="333" y="32"/>
                  </a:cubicBezTo>
                  <a:cubicBezTo>
                    <a:pt x="338" y="39"/>
                    <a:pt x="345" y="46"/>
                    <a:pt x="355" y="45"/>
                  </a:cubicBezTo>
                  <a:cubicBezTo>
                    <a:pt x="356" y="45"/>
                    <a:pt x="358" y="44"/>
                    <a:pt x="358" y="43"/>
                  </a:cubicBezTo>
                  <a:cubicBezTo>
                    <a:pt x="358" y="42"/>
                    <a:pt x="356" y="41"/>
                    <a:pt x="355" y="41"/>
                  </a:cubicBezTo>
                  <a:cubicBezTo>
                    <a:pt x="350" y="41"/>
                    <a:pt x="346" y="39"/>
                    <a:pt x="342" y="35"/>
                  </a:cubicBezTo>
                  <a:cubicBezTo>
                    <a:pt x="336" y="30"/>
                    <a:pt x="332" y="21"/>
                    <a:pt x="327" y="14"/>
                  </a:cubicBezTo>
                  <a:cubicBezTo>
                    <a:pt x="322" y="6"/>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1"/>
                    <a:pt x="226" y="14"/>
                  </a:cubicBezTo>
                  <a:cubicBezTo>
                    <a:pt x="221" y="6"/>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1"/>
                    <a:pt x="126" y="14"/>
                  </a:cubicBezTo>
                  <a:cubicBezTo>
                    <a:pt x="121" y="6"/>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1"/>
                    <a:pt x="25" y="14"/>
                  </a:cubicBezTo>
                  <a:cubicBezTo>
                    <a:pt x="20" y="6"/>
                    <a:pt x="13" y="0"/>
                    <a:pt x="3" y="0"/>
                  </a:cubicBezTo>
                  <a:cubicBezTo>
                    <a:pt x="2" y="0"/>
                    <a:pt x="0" y="1"/>
                    <a:pt x="0" y="2"/>
                  </a:cubicBezTo>
                  <a:cubicBezTo>
                    <a:pt x="0" y="3"/>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3" name="Group 62">
            <a:extLst>
              <a:ext uri="{FF2B5EF4-FFF2-40B4-BE49-F238E27FC236}">
                <a16:creationId xmlns:a16="http://schemas.microsoft.com/office/drawing/2014/main" id="{A79F1E45-809E-4762-B2F3-B768BDFCD264}"/>
              </a:ext>
            </a:extLst>
          </p:cNvPr>
          <p:cNvGrpSpPr/>
          <p:nvPr/>
        </p:nvGrpSpPr>
        <p:grpSpPr>
          <a:xfrm>
            <a:off x="8489730" y="2432861"/>
            <a:ext cx="1434453" cy="1110434"/>
            <a:chOff x="5466765" y="2641840"/>
            <a:chExt cx="1195840" cy="925720"/>
          </a:xfrm>
          <a:solidFill>
            <a:srgbClr val="1E4471"/>
          </a:solidFill>
        </p:grpSpPr>
        <p:sp>
          <p:nvSpPr>
            <p:cNvPr id="64" name="Freeform: Shape 63">
              <a:extLst>
                <a:ext uri="{FF2B5EF4-FFF2-40B4-BE49-F238E27FC236}">
                  <a16:creationId xmlns:a16="http://schemas.microsoft.com/office/drawing/2014/main" id="{336D429D-8A49-43C5-93DD-65890329B549}"/>
                </a:ext>
              </a:extLst>
            </p:cNvPr>
            <p:cNvSpPr/>
            <p:nvPr/>
          </p:nvSpPr>
          <p:spPr>
            <a:xfrm>
              <a:off x="5466765" y="2752034"/>
              <a:ext cx="915679" cy="815526"/>
            </a:xfrm>
            <a:custGeom>
              <a:avLst/>
              <a:gdLst>
                <a:gd name="connsiteX0" fmla="*/ 427744 w 915678"/>
                <a:gd name="connsiteY0" fmla="*/ 436995 h 815526"/>
                <a:gd name="connsiteX1" fmla="*/ 428460 w 915678"/>
                <a:gd name="connsiteY1" fmla="*/ 424405 h 815526"/>
                <a:gd name="connsiteX2" fmla="*/ 441050 w 915678"/>
                <a:gd name="connsiteY2" fmla="*/ 425120 h 815526"/>
                <a:gd name="connsiteX3" fmla="*/ 440335 w 915678"/>
                <a:gd name="connsiteY3" fmla="*/ 437711 h 815526"/>
                <a:gd name="connsiteX4" fmla="*/ 427744 w 915678"/>
                <a:gd name="connsiteY4" fmla="*/ 436995 h 815526"/>
                <a:gd name="connsiteX5" fmla="*/ 390688 w 915678"/>
                <a:gd name="connsiteY5" fmla="*/ 469759 h 815526"/>
                <a:gd name="connsiteX6" fmla="*/ 402423 w 915678"/>
                <a:gd name="connsiteY6" fmla="*/ 469762 h 815526"/>
                <a:gd name="connsiteX7" fmla="*/ 402427 w 915678"/>
                <a:gd name="connsiteY7" fmla="*/ 458027 h 815526"/>
                <a:gd name="connsiteX8" fmla="*/ 390691 w 915678"/>
                <a:gd name="connsiteY8" fmla="*/ 458024 h 815526"/>
                <a:gd name="connsiteX9" fmla="*/ 390688 w 915678"/>
                <a:gd name="connsiteY9" fmla="*/ 458027 h 815526"/>
                <a:gd name="connsiteX10" fmla="*/ 390688 w 915678"/>
                <a:gd name="connsiteY10" fmla="*/ 469759 h 815526"/>
                <a:gd name="connsiteX11" fmla="*/ 353774 w 915678"/>
                <a:gd name="connsiteY11" fmla="*/ 502523 h 815526"/>
                <a:gd name="connsiteX12" fmla="*/ 364648 w 915678"/>
                <a:gd name="connsiteY12" fmla="*/ 502523 h 815526"/>
                <a:gd name="connsiteX13" fmla="*/ 364648 w 915678"/>
                <a:gd name="connsiteY13" fmla="*/ 491650 h 815526"/>
                <a:gd name="connsiteX14" fmla="*/ 353774 w 915678"/>
                <a:gd name="connsiteY14" fmla="*/ 491650 h 815526"/>
                <a:gd name="connsiteX15" fmla="*/ 352896 w 915678"/>
                <a:gd name="connsiteY15" fmla="*/ 502337 h 815526"/>
                <a:gd name="connsiteX16" fmla="*/ 353059 w 915678"/>
                <a:gd name="connsiteY16" fmla="*/ 502523 h 815526"/>
                <a:gd name="connsiteX17" fmla="*/ 316146 w 915678"/>
                <a:gd name="connsiteY17" fmla="*/ 535145 h 815526"/>
                <a:gd name="connsiteX18" fmla="*/ 326059 w 915678"/>
                <a:gd name="connsiteY18" fmla="*/ 535246 h 815526"/>
                <a:gd name="connsiteX19" fmla="*/ 326161 w 915678"/>
                <a:gd name="connsiteY19" fmla="*/ 535145 h 815526"/>
                <a:gd name="connsiteX20" fmla="*/ 326161 w 915678"/>
                <a:gd name="connsiteY20" fmla="*/ 525129 h 815526"/>
                <a:gd name="connsiteX21" fmla="*/ 316217 w 915678"/>
                <a:gd name="connsiteY21" fmla="*/ 524485 h 815526"/>
                <a:gd name="connsiteX22" fmla="*/ 315573 w 915678"/>
                <a:gd name="connsiteY22" fmla="*/ 534429 h 815526"/>
                <a:gd name="connsiteX23" fmla="*/ 280377 w 915678"/>
                <a:gd name="connsiteY23" fmla="*/ 567479 h 815526"/>
                <a:gd name="connsiteX24" fmla="*/ 289534 w 915678"/>
                <a:gd name="connsiteY24" fmla="*/ 568052 h 815526"/>
                <a:gd name="connsiteX25" fmla="*/ 290106 w 915678"/>
                <a:gd name="connsiteY25" fmla="*/ 558895 h 815526"/>
                <a:gd name="connsiteX26" fmla="*/ 280949 w 915678"/>
                <a:gd name="connsiteY26" fmla="*/ 558323 h 815526"/>
                <a:gd name="connsiteX27" fmla="*/ 280377 w 915678"/>
                <a:gd name="connsiteY27" fmla="*/ 567479 h 815526"/>
                <a:gd name="connsiteX28" fmla="*/ 243464 w 915678"/>
                <a:gd name="connsiteY28" fmla="*/ 600244 h 815526"/>
                <a:gd name="connsiteX29" fmla="*/ 251759 w 915678"/>
                <a:gd name="connsiteY29" fmla="*/ 600241 h 815526"/>
                <a:gd name="connsiteX30" fmla="*/ 251758 w 915678"/>
                <a:gd name="connsiteY30" fmla="*/ 591945 h 815526"/>
                <a:gd name="connsiteX31" fmla="*/ 243464 w 915678"/>
                <a:gd name="connsiteY31" fmla="*/ 591945 h 815526"/>
                <a:gd name="connsiteX32" fmla="*/ 243461 w 915678"/>
                <a:gd name="connsiteY32" fmla="*/ 600241 h 815526"/>
                <a:gd name="connsiteX33" fmla="*/ 243464 w 915678"/>
                <a:gd name="connsiteY33" fmla="*/ 600244 h 815526"/>
                <a:gd name="connsiteX34" fmla="*/ 206551 w 915678"/>
                <a:gd name="connsiteY34" fmla="*/ 633008 h 815526"/>
                <a:gd name="connsiteX35" fmla="*/ 213833 w 915678"/>
                <a:gd name="connsiteY35" fmla="*/ 633165 h 815526"/>
                <a:gd name="connsiteX36" fmla="*/ 213990 w 915678"/>
                <a:gd name="connsiteY36" fmla="*/ 633008 h 815526"/>
                <a:gd name="connsiteX37" fmla="*/ 215134 w 915678"/>
                <a:gd name="connsiteY37" fmla="*/ 625609 h 815526"/>
                <a:gd name="connsiteX38" fmla="*/ 207735 w 915678"/>
                <a:gd name="connsiteY38" fmla="*/ 624466 h 815526"/>
                <a:gd name="connsiteX39" fmla="*/ 206980 w 915678"/>
                <a:gd name="connsiteY39" fmla="*/ 625139 h 815526"/>
                <a:gd name="connsiteX40" fmla="*/ 206980 w 915678"/>
                <a:gd name="connsiteY40" fmla="*/ 632578 h 815526"/>
                <a:gd name="connsiteX41" fmla="*/ 170209 w 915678"/>
                <a:gd name="connsiteY41" fmla="*/ 666201 h 815526"/>
                <a:gd name="connsiteX42" fmla="*/ 176885 w 915678"/>
                <a:gd name="connsiteY42" fmla="*/ 666295 h 815526"/>
                <a:gd name="connsiteX43" fmla="*/ 176981 w 915678"/>
                <a:gd name="connsiteY43" fmla="*/ 659620 h 815526"/>
                <a:gd name="connsiteX44" fmla="*/ 170304 w 915678"/>
                <a:gd name="connsiteY44" fmla="*/ 659525 h 815526"/>
                <a:gd name="connsiteX45" fmla="*/ 170209 w 915678"/>
                <a:gd name="connsiteY45" fmla="*/ 659620 h 815526"/>
                <a:gd name="connsiteX46" fmla="*/ 170209 w 915678"/>
                <a:gd name="connsiteY46" fmla="*/ 666201 h 815526"/>
                <a:gd name="connsiteX47" fmla="*/ 133296 w 915678"/>
                <a:gd name="connsiteY47" fmla="*/ 698965 h 815526"/>
                <a:gd name="connsiteX48" fmla="*/ 138962 w 915678"/>
                <a:gd name="connsiteY48" fmla="*/ 699022 h 815526"/>
                <a:gd name="connsiteX49" fmla="*/ 139019 w 915678"/>
                <a:gd name="connsiteY49" fmla="*/ 698965 h 815526"/>
                <a:gd name="connsiteX50" fmla="*/ 140228 w 915678"/>
                <a:gd name="connsiteY50" fmla="*/ 693224 h 815526"/>
                <a:gd name="connsiteX51" fmla="*/ 134485 w 915678"/>
                <a:gd name="connsiteY51" fmla="*/ 692015 h 815526"/>
                <a:gd name="connsiteX52" fmla="*/ 133582 w 915678"/>
                <a:gd name="connsiteY52" fmla="*/ 692813 h 815526"/>
                <a:gd name="connsiteX53" fmla="*/ 133582 w 915678"/>
                <a:gd name="connsiteY53" fmla="*/ 698536 h 815526"/>
                <a:gd name="connsiteX54" fmla="*/ 96669 w 915678"/>
                <a:gd name="connsiteY54" fmla="*/ 731300 h 815526"/>
                <a:gd name="connsiteX55" fmla="*/ 101525 w 915678"/>
                <a:gd name="connsiteY55" fmla="*/ 731291 h 815526"/>
                <a:gd name="connsiteX56" fmla="*/ 101516 w 915678"/>
                <a:gd name="connsiteY56" fmla="*/ 726436 h 815526"/>
                <a:gd name="connsiteX57" fmla="*/ 96669 w 915678"/>
                <a:gd name="connsiteY57" fmla="*/ 726436 h 815526"/>
                <a:gd name="connsiteX58" fmla="*/ 96660 w 915678"/>
                <a:gd name="connsiteY58" fmla="*/ 731291 h 815526"/>
                <a:gd name="connsiteX59" fmla="*/ 96669 w 915678"/>
                <a:gd name="connsiteY59" fmla="*/ 731300 h 815526"/>
                <a:gd name="connsiteX60" fmla="*/ 58611 w 915678"/>
                <a:gd name="connsiteY60" fmla="*/ 764493 h 815526"/>
                <a:gd name="connsiteX61" fmla="*/ 62760 w 915678"/>
                <a:gd name="connsiteY61" fmla="*/ 764493 h 815526"/>
                <a:gd name="connsiteX62" fmla="*/ 62760 w 915678"/>
                <a:gd name="connsiteY62" fmla="*/ 760344 h 815526"/>
                <a:gd name="connsiteX63" fmla="*/ 58919 w 915678"/>
                <a:gd name="connsiteY63" fmla="*/ 760178 h 815526"/>
                <a:gd name="connsiteX64" fmla="*/ 58754 w 915678"/>
                <a:gd name="connsiteY64" fmla="*/ 760344 h 815526"/>
                <a:gd name="connsiteX65" fmla="*/ 58754 w 915678"/>
                <a:gd name="connsiteY65" fmla="*/ 764350 h 815526"/>
                <a:gd name="connsiteX66" fmla="*/ 407428 w 915678"/>
                <a:gd name="connsiteY66" fmla="*/ 413388 h 815526"/>
                <a:gd name="connsiteX67" fmla="*/ 420018 w 915678"/>
                <a:gd name="connsiteY67" fmla="*/ 414246 h 815526"/>
                <a:gd name="connsiteX68" fmla="*/ 420064 w 915678"/>
                <a:gd name="connsiteY68" fmla="*/ 401701 h 815526"/>
                <a:gd name="connsiteX69" fmla="*/ 420018 w 915678"/>
                <a:gd name="connsiteY69" fmla="*/ 401656 h 815526"/>
                <a:gd name="connsiteX70" fmla="*/ 407511 w 915678"/>
                <a:gd name="connsiteY70" fmla="*/ 400694 h 815526"/>
                <a:gd name="connsiteX71" fmla="*/ 406548 w 915678"/>
                <a:gd name="connsiteY71" fmla="*/ 413202 h 815526"/>
                <a:gd name="connsiteX72" fmla="*/ 406712 w 915678"/>
                <a:gd name="connsiteY72" fmla="*/ 413388 h 815526"/>
                <a:gd name="connsiteX73" fmla="*/ 370514 w 915678"/>
                <a:gd name="connsiteY73" fmla="*/ 446152 h 815526"/>
                <a:gd name="connsiteX74" fmla="*/ 382249 w 915678"/>
                <a:gd name="connsiteY74" fmla="*/ 446155 h 815526"/>
                <a:gd name="connsiteX75" fmla="*/ 382254 w 915678"/>
                <a:gd name="connsiteY75" fmla="*/ 434420 h 815526"/>
                <a:gd name="connsiteX76" fmla="*/ 370517 w 915678"/>
                <a:gd name="connsiteY76" fmla="*/ 434417 h 815526"/>
                <a:gd name="connsiteX77" fmla="*/ 370514 w 915678"/>
                <a:gd name="connsiteY77" fmla="*/ 434420 h 815526"/>
                <a:gd name="connsiteX78" fmla="*/ 370514 w 915678"/>
                <a:gd name="connsiteY78" fmla="*/ 446152 h 815526"/>
                <a:gd name="connsiteX79" fmla="*/ 333458 w 915678"/>
                <a:gd name="connsiteY79" fmla="*/ 478916 h 815526"/>
                <a:gd name="connsiteX80" fmla="*/ 344332 w 915678"/>
                <a:gd name="connsiteY80" fmla="*/ 478916 h 815526"/>
                <a:gd name="connsiteX81" fmla="*/ 344332 w 915678"/>
                <a:gd name="connsiteY81" fmla="*/ 468042 h 815526"/>
                <a:gd name="connsiteX82" fmla="*/ 333511 w 915678"/>
                <a:gd name="connsiteY82" fmla="*/ 466532 h 815526"/>
                <a:gd name="connsiteX83" fmla="*/ 332000 w 915678"/>
                <a:gd name="connsiteY83" fmla="*/ 477354 h 815526"/>
                <a:gd name="connsiteX84" fmla="*/ 332742 w 915678"/>
                <a:gd name="connsiteY84" fmla="*/ 478201 h 815526"/>
                <a:gd name="connsiteX85" fmla="*/ 296545 w 915678"/>
                <a:gd name="connsiteY85" fmla="*/ 511680 h 815526"/>
                <a:gd name="connsiteX86" fmla="*/ 306458 w 915678"/>
                <a:gd name="connsiteY86" fmla="*/ 511782 h 815526"/>
                <a:gd name="connsiteX87" fmla="*/ 306560 w 915678"/>
                <a:gd name="connsiteY87" fmla="*/ 511680 h 815526"/>
                <a:gd name="connsiteX88" fmla="*/ 306661 w 915678"/>
                <a:gd name="connsiteY88" fmla="*/ 501563 h 815526"/>
                <a:gd name="connsiteX89" fmla="*/ 296545 w 915678"/>
                <a:gd name="connsiteY89" fmla="*/ 501463 h 815526"/>
                <a:gd name="connsiteX90" fmla="*/ 296443 w 915678"/>
                <a:gd name="connsiteY90" fmla="*/ 511579 h 815526"/>
                <a:gd name="connsiteX91" fmla="*/ 296545 w 915678"/>
                <a:gd name="connsiteY91" fmla="*/ 511680 h 815526"/>
                <a:gd name="connsiteX92" fmla="*/ 259631 w 915678"/>
                <a:gd name="connsiteY92" fmla="*/ 544444 h 815526"/>
                <a:gd name="connsiteX93" fmla="*/ 268788 w 915678"/>
                <a:gd name="connsiteY93" fmla="*/ 544444 h 815526"/>
                <a:gd name="connsiteX94" fmla="*/ 268788 w 915678"/>
                <a:gd name="connsiteY94" fmla="*/ 535288 h 815526"/>
                <a:gd name="connsiteX95" fmla="*/ 259631 w 915678"/>
                <a:gd name="connsiteY95" fmla="*/ 534715 h 815526"/>
                <a:gd name="connsiteX96" fmla="*/ 259059 w 915678"/>
                <a:gd name="connsiteY96" fmla="*/ 543872 h 815526"/>
                <a:gd name="connsiteX97" fmla="*/ 222003 w 915678"/>
                <a:gd name="connsiteY97" fmla="*/ 576636 h 815526"/>
                <a:gd name="connsiteX98" fmla="*/ 230298 w 915678"/>
                <a:gd name="connsiteY98" fmla="*/ 576633 h 815526"/>
                <a:gd name="connsiteX99" fmla="*/ 230297 w 915678"/>
                <a:gd name="connsiteY99" fmla="*/ 568338 h 815526"/>
                <a:gd name="connsiteX100" fmla="*/ 222003 w 915678"/>
                <a:gd name="connsiteY100" fmla="*/ 568338 h 815526"/>
                <a:gd name="connsiteX101" fmla="*/ 222000 w 915678"/>
                <a:gd name="connsiteY101" fmla="*/ 576633 h 815526"/>
                <a:gd name="connsiteX102" fmla="*/ 222003 w 915678"/>
                <a:gd name="connsiteY102" fmla="*/ 576636 h 815526"/>
                <a:gd name="connsiteX103" fmla="*/ 185662 w 915678"/>
                <a:gd name="connsiteY103" fmla="*/ 610402 h 815526"/>
                <a:gd name="connsiteX104" fmla="*/ 193147 w 915678"/>
                <a:gd name="connsiteY104" fmla="*/ 610449 h 815526"/>
                <a:gd name="connsiteX105" fmla="*/ 193194 w 915678"/>
                <a:gd name="connsiteY105" fmla="*/ 602962 h 815526"/>
                <a:gd name="connsiteX106" fmla="*/ 185707 w 915678"/>
                <a:gd name="connsiteY106" fmla="*/ 602915 h 815526"/>
                <a:gd name="connsiteX107" fmla="*/ 185662 w 915678"/>
                <a:gd name="connsiteY107" fmla="*/ 602962 h 815526"/>
                <a:gd name="connsiteX108" fmla="*/ 185662 w 915678"/>
                <a:gd name="connsiteY108" fmla="*/ 610402 h 815526"/>
                <a:gd name="connsiteX109" fmla="*/ 148748 w 915678"/>
                <a:gd name="connsiteY109" fmla="*/ 642737 h 815526"/>
                <a:gd name="connsiteX110" fmla="*/ 155330 w 915678"/>
                <a:gd name="connsiteY110" fmla="*/ 642737 h 815526"/>
                <a:gd name="connsiteX111" fmla="*/ 156128 w 915678"/>
                <a:gd name="connsiteY111" fmla="*/ 636108 h 815526"/>
                <a:gd name="connsiteX112" fmla="*/ 149498 w 915678"/>
                <a:gd name="connsiteY112" fmla="*/ 635310 h 815526"/>
                <a:gd name="connsiteX113" fmla="*/ 149034 w 915678"/>
                <a:gd name="connsiteY113" fmla="*/ 635726 h 815526"/>
                <a:gd name="connsiteX114" fmla="*/ 149034 w 915678"/>
                <a:gd name="connsiteY114" fmla="*/ 642308 h 815526"/>
                <a:gd name="connsiteX115" fmla="*/ 111978 w 915678"/>
                <a:gd name="connsiteY115" fmla="*/ 675072 h 815526"/>
                <a:gd name="connsiteX116" fmla="*/ 117844 w 915678"/>
                <a:gd name="connsiteY116" fmla="*/ 675072 h 815526"/>
                <a:gd name="connsiteX117" fmla="*/ 117844 w 915678"/>
                <a:gd name="connsiteY117" fmla="*/ 669349 h 815526"/>
                <a:gd name="connsiteX118" fmla="*/ 112178 w 915678"/>
                <a:gd name="connsiteY118" fmla="*/ 669291 h 815526"/>
                <a:gd name="connsiteX119" fmla="*/ 112121 w 915678"/>
                <a:gd name="connsiteY119" fmla="*/ 669349 h 815526"/>
                <a:gd name="connsiteX120" fmla="*/ 112064 w 915678"/>
                <a:gd name="connsiteY120" fmla="*/ 675014 h 815526"/>
                <a:gd name="connsiteX121" fmla="*/ 112121 w 915678"/>
                <a:gd name="connsiteY121" fmla="*/ 675072 h 815526"/>
                <a:gd name="connsiteX122" fmla="*/ 75208 w 915678"/>
                <a:gd name="connsiteY122" fmla="*/ 707836 h 815526"/>
                <a:gd name="connsiteX123" fmla="*/ 80064 w 915678"/>
                <a:gd name="connsiteY123" fmla="*/ 707844 h 815526"/>
                <a:gd name="connsiteX124" fmla="*/ 80072 w 915678"/>
                <a:gd name="connsiteY124" fmla="*/ 707836 h 815526"/>
                <a:gd name="connsiteX125" fmla="*/ 80064 w 915678"/>
                <a:gd name="connsiteY125" fmla="*/ 702980 h 815526"/>
                <a:gd name="connsiteX126" fmla="*/ 75208 w 915678"/>
                <a:gd name="connsiteY126" fmla="*/ 702988 h 815526"/>
                <a:gd name="connsiteX127" fmla="*/ 75208 w 915678"/>
                <a:gd name="connsiteY127" fmla="*/ 707836 h 815526"/>
                <a:gd name="connsiteX128" fmla="*/ 38295 w 915678"/>
                <a:gd name="connsiteY128" fmla="*/ 740600 h 815526"/>
                <a:gd name="connsiteX129" fmla="*/ 42136 w 915678"/>
                <a:gd name="connsiteY129" fmla="*/ 740765 h 815526"/>
                <a:gd name="connsiteX130" fmla="*/ 42301 w 915678"/>
                <a:gd name="connsiteY130" fmla="*/ 740600 h 815526"/>
                <a:gd name="connsiteX131" fmla="*/ 42301 w 915678"/>
                <a:gd name="connsiteY131" fmla="*/ 736594 h 815526"/>
                <a:gd name="connsiteX132" fmla="*/ 38151 w 915678"/>
                <a:gd name="connsiteY132" fmla="*/ 736594 h 815526"/>
                <a:gd name="connsiteX133" fmla="*/ 38151 w 915678"/>
                <a:gd name="connsiteY133" fmla="*/ 740743 h 815526"/>
                <a:gd name="connsiteX134" fmla="*/ 386539 w 915678"/>
                <a:gd name="connsiteY134" fmla="*/ 389924 h 815526"/>
                <a:gd name="connsiteX135" fmla="*/ 399059 w 915678"/>
                <a:gd name="connsiteY135" fmla="*/ 390702 h 815526"/>
                <a:gd name="connsiteX136" fmla="*/ 399837 w 915678"/>
                <a:gd name="connsiteY136" fmla="*/ 378181 h 815526"/>
                <a:gd name="connsiteX137" fmla="*/ 387397 w 915678"/>
                <a:gd name="connsiteY137" fmla="*/ 377333 h 815526"/>
                <a:gd name="connsiteX138" fmla="*/ 386539 w 915678"/>
                <a:gd name="connsiteY138" fmla="*/ 389924 h 815526"/>
                <a:gd name="connsiteX139" fmla="*/ 349625 w 915678"/>
                <a:gd name="connsiteY139" fmla="*/ 422688 h 815526"/>
                <a:gd name="connsiteX140" fmla="*/ 361340 w 915678"/>
                <a:gd name="connsiteY140" fmla="*/ 423383 h 815526"/>
                <a:gd name="connsiteX141" fmla="*/ 362036 w 915678"/>
                <a:gd name="connsiteY141" fmla="*/ 411668 h 815526"/>
                <a:gd name="connsiteX142" fmla="*/ 350341 w 915678"/>
                <a:gd name="connsiteY142" fmla="*/ 410956 h 815526"/>
                <a:gd name="connsiteX143" fmla="*/ 349608 w 915678"/>
                <a:gd name="connsiteY143" fmla="*/ 422668 h 815526"/>
                <a:gd name="connsiteX144" fmla="*/ 349625 w 915678"/>
                <a:gd name="connsiteY144" fmla="*/ 422688 h 815526"/>
                <a:gd name="connsiteX145" fmla="*/ 313284 w 915678"/>
                <a:gd name="connsiteY145" fmla="*/ 455452 h 815526"/>
                <a:gd name="connsiteX146" fmla="*/ 324211 w 915678"/>
                <a:gd name="connsiteY146" fmla="*/ 455505 h 815526"/>
                <a:gd name="connsiteX147" fmla="*/ 324262 w 915678"/>
                <a:gd name="connsiteY147" fmla="*/ 444578 h 815526"/>
                <a:gd name="connsiteX148" fmla="*/ 313337 w 915678"/>
                <a:gd name="connsiteY148" fmla="*/ 444525 h 815526"/>
                <a:gd name="connsiteX149" fmla="*/ 313284 w 915678"/>
                <a:gd name="connsiteY149" fmla="*/ 444578 h 815526"/>
                <a:gd name="connsiteX150" fmla="*/ 313284 w 915678"/>
                <a:gd name="connsiteY150" fmla="*/ 455452 h 815526"/>
                <a:gd name="connsiteX151" fmla="*/ 276228 w 915678"/>
                <a:gd name="connsiteY151" fmla="*/ 488216 h 815526"/>
                <a:gd name="connsiteX152" fmla="*/ 286243 w 915678"/>
                <a:gd name="connsiteY152" fmla="*/ 488216 h 815526"/>
                <a:gd name="connsiteX153" fmla="*/ 286142 w 915678"/>
                <a:gd name="connsiteY153" fmla="*/ 478302 h 815526"/>
                <a:gd name="connsiteX154" fmla="*/ 276228 w 915678"/>
                <a:gd name="connsiteY154" fmla="*/ 478402 h 815526"/>
                <a:gd name="connsiteX155" fmla="*/ 276228 w 915678"/>
                <a:gd name="connsiteY155" fmla="*/ 488216 h 815526"/>
                <a:gd name="connsiteX156" fmla="*/ 239315 w 915678"/>
                <a:gd name="connsiteY156" fmla="*/ 520980 h 815526"/>
                <a:gd name="connsiteX157" fmla="*/ 248622 w 915678"/>
                <a:gd name="connsiteY157" fmla="*/ 521130 h 815526"/>
                <a:gd name="connsiteX158" fmla="*/ 248770 w 915678"/>
                <a:gd name="connsiteY158" fmla="*/ 511823 h 815526"/>
                <a:gd name="connsiteX159" fmla="*/ 239465 w 915678"/>
                <a:gd name="connsiteY159" fmla="*/ 511673 h 815526"/>
                <a:gd name="connsiteX160" fmla="*/ 239315 w 915678"/>
                <a:gd name="connsiteY160" fmla="*/ 511823 h 815526"/>
                <a:gd name="connsiteX161" fmla="*/ 239263 w 915678"/>
                <a:gd name="connsiteY161" fmla="*/ 520929 h 815526"/>
                <a:gd name="connsiteX162" fmla="*/ 239315 w 915678"/>
                <a:gd name="connsiteY162" fmla="*/ 520980 h 815526"/>
                <a:gd name="connsiteX163" fmla="*/ 201829 w 915678"/>
                <a:gd name="connsiteY163" fmla="*/ 553172 h 815526"/>
                <a:gd name="connsiteX164" fmla="*/ 210123 w 915678"/>
                <a:gd name="connsiteY164" fmla="*/ 553025 h 815526"/>
                <a:gd name="connsiteX165" fmla="*/ 209977 w 915678"/>
                <a:gd name="connsiteY165" fmla="*/ 544731 h 815526"/>
                <a:gd name="connsiteX166" fmla="*/ 201829 w 915678"/>
                <a:gd name="connsiteY166" fmla="*/ 544731 h 815526"/>
                <a:gd name="connsiteX167" fmla="*/ 201829 w 915678"/>
                <a:gd name="connsiteY167" fmla="*/ 553172 h 815526"/>
                <a:gd name="connsiteX168" fmla="*/ 164773 w 915678"/>
                <a:gd name="connsiteY168" fmla="*/ 585793 h 815526"/>
                <a:gd name="connsiteX169" fmla="*/ 172260 w 915678"/>
                <a:gd name="connsiteY169" fmla="*/ 585760 h 815526"/>
                <a:gd name="connsiteX170" fmla="*/ 172785 w 915678"/>
                <a:gd name="connsiteY170" fmla="*/ 578925 h 815526"/>
                <a:gd name="connsiteX171" fmla="*/ 165392 w 915678"/>
                <a:gd name="connsiteY171" fmla="*/ 577748 h 815526"/>
                <a:gd name="connsiteX172" fmla="*/ 164215 w 915678"/>
                <a:gd name="connsiteY172" fmla="*/ 585141 h 815526"/>
                <a:gd name="connsiteX173" fmla="*/ 164773 w 915678"/>
                <a:gd name="connsiteY173" fmla="*/ 585793 h 815526"/>
                <a:gd name="connsiteX174" fmla="*/ 127287 w 915678"/>
                <a:gd name="connsiteY174" fmla="*/ 619129 h 815526"/>
                <a:gd name="connsiteX175" fmla="*/ 133936 w 915678"/>
                <a:gd name="connsiteY175" fmla="*/ 618520 h 815526"/>
                <a:gd name="connsiteX176" fmla="*/ 134298 w 915678"/>
                <a:gd name="connsiteY176" fmla="*/ 612977 h 815526"/>
                <a:gd name="connsiteX177" fmla="*/ 127716 w 915678"/>
                <a:gd name="connsiteY177" fmla="*/ 612977 h 815526"/>
                <a:gd name="connsiteX178" fmla="*/ 127609 w 915678"/>
                <a:gd name="connsiteY178" fmla="*/ 619451 h 815526"/>
                <a:gd name="connsiteX179" fmla="*/ 127716 w 915678"/>
                <a:gd name="connsiteY179" fmla="*/ 619559 h 815526"/>
                <a:gd name="connsiteX180" fmla="*/ 90946 w 915678"/>
                <a:gd name="connsiteY180" fmla="*/ 651894 h 815526"/>
                <a:gd name="connsiteX181" fmla="*/ 96612 w 915678"/>
                <a:gd name="connsiteY181" fmla="*/ 651951 h 815526"/>
                <a:gd name="connsiteX182" fmla="*/ 96669 w 915678"/>
                <a:gd name="connsiteY182" fmla="*/ 651894 h 815526"/>
                <a:gd name="connsiteX183" fmla="*/ 96726 w 915678"/>
                <a:gd name="connsiteY183" fmla="*/ 646228 h 815526"/>
                <a:gd name="connsiteX184" fmla="*/ 96669 w 915678"/>
                <a:gd name="connsiteY184" fmla="*/ 646171 h 815526"/>
                <a:gd name="connsiteX185" fmla="*/ 91003 w 915678"/>
                <a:gd name="connsiteY185" fmla="*/ 646113 h 815526"/>
                <a:gd name="connsiteX186" fmla="*/ 90946 w 915678"/>
                <a:gd name="connsiteY186" fmla="*/ 646171 h 815526"/>
                <a:gd name="connsiteX187" fmla="*/ 90889 w 915678"/>
                <a:gd name="connsiteY187" fmla="*/ 651836 h 815526"/>
                <a:gd name="connsiteX188" fmla="*/ 90946 w 915678"/>
                <a:gd name="connsiteY188" fmla="*/ 651894 h 815526"/>
                <a:gd name="connsiteX189" fmla="*/ 53890 w 915678"/>
                <a:gd name="connsiteY189" fmla="*/ 684658 h 815526"/>
                <a:gd name="connsiteX190" fmla="*/ 58746 w 915678"/>
                <a:gd name="connsiteY190" fmla="*/ 684649 h 815526"/>
                <a:gd name="connsiteX191" fmla="*/ 58737 w 915678"/>
                <a:gd name="connsiteY191" fmla="*/ 679793 h 815526"/>
                <a:gd name="connsiteX192" fmla="*/ 53890 w 915678"/>
                <a:gd name="connsiteY192" fmla="*/ 679793 h 815526"/>
                <a:gd name="connsiteX193" fmla="*/ 53881 w 915678"/>
                <a:gd name="connsiteY193" fmla="*/ 684649 h 815526"/>
                <a:gd name="connsiteX194" fmla="*/ 53890 w 915678"/>
                <a:gd name="connsiteY194" fmla="*/ 684658 h 815526"/>
                <a:gd name="connsiteX195" fmla="*/ 16976 w 915678"/>
                <a:gd name="connsiteY195" fmla="*/ 717422 h 815526"/>
                <a:gd name="connsiteX196" fmla="*/ 21023 w 915678"/>
                <a:gd name="connsiteY196" fmla="*/ 717462 h 815526"/>
                <a:gd name="connsiteX197" fmla="*/ 21064 w 915678"/>
                <a:gd name="connsiteY197" fmla="*/ 713416 h 815526"/>
                <a:gd name="connsiteX198" fmla="*/ 17016 w 915678"/>
                <a:gd name="connsiteY198" fmla="*/ 713376 h 815526"/>
                <a:gd name="connsiteX199" fmla="*/ 16976 w 915678"/>
                <a:gd name="connsiteY199" fmla="*/ 713416 h 815526"/>
                <a:gd name="connsiteX200" fmla="*/ 16812 w 915678"/>
                <a:gd name="connsiteY200" fmla="*/ 717257 h 815526"/>
                <a:gd name="connsiteX201" fmla="*/ 16976 w 915678"/>
                <a:gd name="connsiteY201" fmla="*/ 717422 h 815526"/>
                <a:gd name="connsiteX202" fmla="*/ 490840 w 915678"/>
                <a:gd name="connsiteY202" fmla="*/ 507531 h 815526"/>
                <a:gd name="connsiteX203" fmla="*/ 503385 w 915678"/>
                <a:gd name="connsiteY203" fmla="*/ 507577 h 815526"/>
                <a:gd name="connsiteX204" fmla="*/ 503431 w 915678"/>
                <a:gd name="connsiteY204" fmla="*/ 507531 h 815526"/>
                <a:gd name="connsiteX205" fmla="*/ 503385 w 915678"/>
                <a:gd name="connsiteY205" fmla="*/ 494986 h 815526"/>
                <a:gd name="connsiteX206" fmla="*/ 490840 w 915678"/>
                <a:gd name="connsiteY206" fmla="*/ 495032 h 815526"/>
                <a:gd name="connsiteX207" fmla="*/ 490840 w 915678"/>
                <a:gd name="connsiteY207" fmla="*/ 507531 h 815526"/>
                <a:gd name="connsiteX208" fmla="*/ 453927 w 915678"/>
                <a:gd name="connsiteY208" fmla="*/ 540295 h 815526"/>
                <a:gd name="connsiteX209" fmla="*/ 465523 w 915678"/>
                <a:gd name="connsiteY209" fmla="*/ 542095 h 815526"/>
                <a:gd name="connsiteX210" fmla="*/ 467323 w 915678"/>
                <a:gd name="connsiteY210" fmla="*/ 530499 h 815526"/>
                <a:gd name="connsiteX211" fmla="*/ 466231 w 915678"/>
                <a:gd name="connsiteY211" fmla="*/ 529278 h 815526"/>
                <a:gd name="connsiteX212" fmla="*/ 454635 w 915678"/>
                <a:gd name="connsiteY212" fmla="*/ 527479 h 815526"/>
                <a:gd name="connsiteX213" fmla="*/ 452835 w 915678"/>
                <a:gd name="connsiteY213" fmla="*/ 539075 h 815526"/>
                <a:gd name="connsiteX214" fmla="*/ 453927 w 915678"/>
                <a:gd name="connsiteY214" fmla="*/ 540295 h 815526"/>
                <a:gd name="connsiteX215" fmla="*/ 416870 w 915678"/>
                <a:gd name="connsiteY215" fmla="*/ 573059 h 815526"/>
                <a:gd name="connsiteX216" fmla="*/ 427744 w 915678"/>
                <a:gd name="connsiteY216" fmla="*/ 573059 h 815526"/>
                <a:gd name="connsiteX217" fmla="*/ 427744 w 915678"/>
                <a:gd name="connsiteY217" fmla="*/ 562186 h 815526"/>
                <a:gd name="connsiteX218" fmla="*/ 416870 w 915678"/>
                <a:gd name="connsiteY218" fmla="*/ 562186 h 815526"/>
                <a:gd name="connsiteX219" fmla="*/ 416870 w 915678"/>
                <a:gd name="connsiteY219" fmla="*/ 573059 h 815526"/>
                <a:gd name="connsiteX220" fmla="*/ 379957 w 915678"/>
                <a:gd name="connsiteY220" fmla="*/ 605823 h 815526"/>
                <a:gd name="connsiteX221" fmla="*/ 390074 w 915678"/>
                <a:gd name="connsiteY221" fmla="*/ 605925 h 815526"/>
                <a:gd name="connsiteX222" fmla="*/ 390174 w 915678"/>
                <a:gd name="connsiteY222" fmla="*/ 595808 h 815526"/>
                <a:gd name="connsiteX223" fmla="*/ 380059 w 915678"/>
                <a:gd name="connsiteY223" fmla="*/ 595707 h 815526"/>
                <a:gd name="connsiteX224" fmla="*/ 379957 w 915678"/>
                <a:gd name="connsiteY224" fmla="*/ 595808 h 815526"/>
                <a:gd name="connsiteX225" fmla="*/ 379957 w 915678"/>
                <a:gd name="connsiteY225" fmla="*/ 605823 h 815526"/>
                <a:gd name="connsiteX226" fmla="*/ 342901 w 915678"/>
                <a:gd name="connsiteY226" fmla="*/ 639017 h 815526"/>
                <a:gd name="connsiteX227" fmla="*/ 352058 w 915678"/>
                <a:gd name="connsiteY227" fmla="*/ 639017 h 815526"/>
                <a:gd name="connsiteX228" fmla="*/ 352630 w 915678"/>
                <a:gd name="connsiteY228" fmla="*/ 629860 h 815526"/>
                <a:gd name="connsiteX229" fmla="*/ 343473 w 915678"/>
                <a:gd name="connsiteY229" fmla="*/ 629288 h 815526"/>
                <a:gd name="connsiteX230" fmla="*/ 343473 w 915678"/>
                <a:gd name="connsiteY230" fmla="*/ 638444 h 815526"/>
                <a:gd name="connsiteX231" fmla="*/ 306560 w 915678"/>
                <a:gd name="connsiteY231" fmla="*/ 671209 h 815526"/>
                <a:gd name="connsiteX232" fmla="*/ 314930 w 915678"/>
                <a:gd name="connsiteY232" fmla="*/ 671709 h 815526"/>
                <a:gd name="connsiteX233" fmla="*/ 315430 w 915678"/>
                <a:gd name="connsiteY233" fmla="*/ 663339 h 815526"/>
                <a:gd name="connsiteX234" fmla="*/ 307340 w 915678"/>
                <a:gd name="connsiteY234" fmla="*/ 663132 h 815526"/>
                <a:gd name="connsiteX235" fmla="*/ 307132 w 915678"/>
                <a:gd name="connsiteY235" fmla="*/ 663339 h 815526"/>
                <a:gd name="connsiteX236" fmla="*/ 307129 w 915678"/>
                <a:gd name="connsiteY236" fmla="*/ 671635 h 815526"/>
                <a:gd name="connsiteX237" fmla="*/ 307132 w 915678"/>
                <a:gd name="connsiteY237" fmla="*/ 671638 h 815526"/>
                <a:gd name="connsiteX238" fmla="*/ 270219 w 915678"/>
                <a:gd name="connsiteY238" fmla="*/ 704402 h 815526"/>
                <a:gd name="connsiteX239" fmla="*/ 277659 w 915678"/>
                <a:gd name="connsiteY239" fmla="*/ 704402 h 815526"/>
                <a:gd name="connsiteX240" fmla="*/ 278159 w 915678"/>
                <a:gd name="connsiteY240" fmla="*/ 696891 h 815526"/>
                <a:gd name="connsiteX241" fmla="*/ 270648 w 915678"/>
                <a:gd name="connsiteY241" fmla="*/ 696390 h 815526"/>
                <a:gd name="connsiteX242" fmla="*/ 270648 w 915678"/>
                <a:gd name="connsiteY242" fmla="*/ 703973 h 815526"/>
                <a:gd name="connsiteX243" fmla="*/ 233592 w 915678"/>
                <a:gd name="connsiteY243" fmla="*/ 736594 h 815526"/>
                <a:gd name="connsiteX244" fmla="*/ 240269 w 915678"/>
                <a:gd name="connsiteY244" fmla="*/ 736641 h 815526"/>
                <a:gd name="connsiteX245" fmla="*/ 240316 w 915678"/>
                <a:gd name="connsiteY245" fmla="*/ 736594 h 815526"/>
                <a:gd name="connsiteX246" fmla="*/ 240269 w 915678"/>
                <a:gd name="connsiteY246" fmla="*/ 729917 h 815526"/>
                <a:gd name="connsiteX247" fmla="*/ 233592 w 915678"/>
                <a:gd name="connsiteY247" fmla="*/ 729964 h 815526"/>
                <a:gd name="connsiteX248" fmla="*/ 233592 w 915678"/>
                <a:gd name="connsiteY248" fmla="*/ 736594 h 815526"/>
                <a:gd name="connsiteX249" fmla="*/ 196678 w 915678"/>
                <a:gd name="connsiteY249" fmla="*/ 769358 h 815526"/>
                <a:gd name="connsiteX250" fmla="*/ 202344 w 915678"/>
                <a:gd name="connsiteY250" fmla="*/ 769301 h 815526"/>
                <a:gd name="connsiteX251" fmla="*/ 202285 w 915678"/>
                <a:gd name="connsiteY251" fmla="*/ 763635 h 815526"/>
                <a:gd name="connsiteX252" fmla="*/ 196678 w 915678"/>
                <a:gd name="connsiteY252" fmla="*/ 763635 h 815526"/>
                <a:gd name="connsiteX253" fmla="*/ 196678 w 915678"/>
                <a:gd name="connsiteY253" fmla="*/ 769358 h 815526"/>
                <a:gd name="connsiteX254" fmla="*/ 159765 w 915678"/>
                <a:gd name="connsiteY254" fmla="*/ 802122 h 815526"/>
                <a:gd name="connsiteX255" fmla="*/ 164621 w 915678"/>
                <a:gd name="connsiteY255" fmla="*/ 802113 h 815526"/>
                <a:gd name="connsiteX256" fmla="*/ 164612 w 915678"/>
                <a:gd name="connsiteY256" fmla="*/ 797258 h 815526"/>
                <a:gd name="connsiteX257" fmla="*/ 159765 w 915678"/>
                <a:gd name="connsiteY257" fmla="*/ 797258 h 815526"/>
                <a:gd name="connsiteX258" fmla="*/ 159756 w 915678"/>
                <a:gd name="connsiteY258" fmla="*/ 802113 h 815526"/>
                <a:gd name="connsiteX259" fmla="*/ 159765 w 915678"/>
                <a:gd name="connsiteY259" fmla="*/ 802122 h 815526"/>
                <a:gd name="connsiteX260" fmla="*/ 470667 w 915678"/>
                <a:gd name="connsiteY260" fmla="*/ 483924 h 815526"/>
                <a:gd name="connsiteX261" fmla="*/ 483174 w 915678"/>
                <a:gd name="connsiteY261" fmla="*/ 484885 h 815526"/>
                <a:gd name="connsiteX262" fmla="*/ 484137 w 915678"/>
                <a:gd name="connsiteY262" fmla="*/ 472378 h 815526"/>
                <a:gd name="connsiteX263" fmla="*/ 483973 w 915678"/>
                <a:gd name="connsiteY263" fmla="*/ 472192 h 815526"/>
                <a:gd name="connsiteX264" fmla="*/ 471442 w 915678"/>
                <a:gd name="connsiteY264" fmla="*/ 471579 h 815526"/>
                <a:gd name="connsiteX265" fmla="*/ 470667 w 915678"/>
                <a:gd name="connsiteY265" fmla="*/ 483924 h 815526"/>
                <a:gd name="connsiteX266" fmla="*/ 433753 w 915678"/>
                <a:gd name="connsiteY266" fmla="*/ 516688 h 815526"/>
                <a:gd name="connsiteX267" fmla="*/ 445458 w 915678"/>
                <a:gd name="connsiteY267" fmla="*/ 517535 h 815526"/>
                <a:gd name="connsiteX268" fmla="*/ 446305 w 915678"/>
                <a:gd name="connsiteY268" fmla="*/ 505830 h 815526"/>
                <a:gd name="connsiteX269" fmla="*/ 434600 w 915678"/>
                <a:gd name="connsiteY269" fmla="*/ 504983 h 815526"/>
                <a:gd name="connsiteX270" fmla="*/ 434469 w 915678"/>
                <a:gd name="connsiteY270" fmla="*/ 505099 h 815526"/>
                <a:gd name="connsiteX271" fmla="*/ 433680 w 915678"/>
                <a:gd name="connsiteY271" fmla="*/ 516605 h 815526"/>
                <a:gd name="connsiteX272" fmla="*/ 433753 w 915678"/>
                <a:gd name="connsiteY272" fmla="*/ 516688 h 815526"/>
                <a:gd name="connsiteX273" fmla="*/ 396840 w 915678"/>
                <a:gd name="connsiteY273" fmla="*/ 549452 h 815526"/>
                <a:gd name="connsiteX274" fmla="*/ 407359 w 915678"/>
                <a:gd name="connsiteY274" fmla="*/ 549664 h 815526"/>
                <a:gd name="connsiteX275" fmla="*/ 407571 w 915678"/>
                <a:gd name="connsiteY275" fmla="*/ 549452 h 815526"/>
                <a:gd name="connsiteX276" fmla="*/ 408449 w 915678"/>
                <a:gd name="connsiteY276" fmla="*/ 538764 h 815526"/>
                <a:gd name="connsiteX277" fmla="*/ 408286 w 915678"/>
                <a:gd name="connsiteY277" fmla="*/ 538578 h 815526"/>
                <a:gd name="connsiteX278" fmla="*/ 397412 w 915678"/>
                <a:gd name="connsiteY278" fmla="*/ 537863 h 815526"/>
                <a:gd name="connsiteX279" fmla="*/ 397412 w 915678"/>
                <a:gd name="connsiteY279" fmla="*/ 548737 h 815526"/>
                <a:gd name="connsiteX280" fmla="*/ 359068 w 915678"/>
                <a:gd name="connsiteY280" fmla="*/ 581787 h 815526"/>
                <a:gd name="connsiteX281" fmla="*/ 368982 w 915678"/>
                <a:gd name="connsiteY281" fmla="*/ 581685 h 815526"/>
                <a:gd name="connsiteX282" fmla="*/ 368882 w 915678"/>
                <a:gd name="connsiteY282" fmla="*/ 571772 h 815526"/>
                <a:gd name="connsiteX283" fmla="*/ 359068 w 915678"/>
                <a:gd name="connsiteY283" fmla="*/ 571772 h 815526"/>
                <a:gd name="connsiteX284" fmla="*/ 359068 w 915678"/>
                <a:gd name="connsiteY284" fmla="*/ 581787 h 815526"/>
                <a:gd name="connsiteX285" fmla="*/ 322155 w 915678"/>
                <a:gd name="connsiteY285" fmla="*/ 614551 h 815526"/>
                <a:gd name="connsiteX286" fmla="*/ 331260 w 915678"/>
                <a:gd name="connsiteY286" fmla="*/ 614602 h 815526"/>
                <a:gd name="connsiteX287" fmla="*/ 331312 w 915678"/>
                <a:gd name="connsiteY287" fmla="*/ 614551 h 815526"/>
                <a:gd name="connsiteX288" fmla="*/ 331884 w 915678"/>
                <a:gd name="connsiteY288" fmla="*/ 605394 h 815526"/>
                <a:gd name="connsiteX289" fmla="*/ 322727 w 915678"/>
                <a:gd name="connsiteY289" fmla="*/ 604822 h 815526"/>
                <a:gd name="connsiteX290" fmla="*/ 322676 w 915678"/>
                <a:gd name="connsiteY290" fmla="*/ 613927 h 815526"/>
                <a:gd name="connsiteX291" fmla="*/ 322727 w 915678"/>
                <a:gd name="connsiteY291" fmla="*/ 613979 h 815526"/>
                <a:gd name="connsiteX292" fmla="*/ 284669 w 915678"/>
                <a:gd name="connsiteY292" fmla="*/ 647744 h 815526"/>
                <a:gd name="connsiteX293" fmla="*/ 292965 w 915678"/>
                <a:gd name="connsiteY293" fmla="*/ 647741 h 815526"/>
                <a:gd name="connsiteX294" fmla="*/ 292963 w 915678"/>
                <a:gd name="connsiteY294" fmla="*/ 639446 h 815526"/>
                <a:gd name="connsiteX295" fmla="*/ 284669 w 915678"/>
                <a:gd name="connsiteY295" fmla="*/ 639446 h 815526"/>
                <a:gd name="connsiteX296" fmla="*/ 284666 w 915678"/>
                <a:gd name="connsiteY296" fmla="*/ 647741 h 815526"/>
                <a:gd name="connsiteX297" fmla="*/ 284669 w 915678"/>
                <a:gd name="connsiteY297" fmla="*/ 647744 h 815526"/>
                <a:gd name="connsiteX298" fmla="*/ 248185 w 915678"/>
                <a:gd name="connsiteY298" fmla="*/ 680509 h 815526"/>
                <a:gd name="connsiteX299" fmla="*/ 255667 w 915678"/>
                <a:gd name="connsiteY299" fmla="*/ 680224 h 815526"/>
                <a:gd name="connsiteX300" fmla="*/ 256054 w 915678"/>
                <a:gd name="connsiteY300" fmla="*/ 673498 h 815526"/>
                <a:gd name="connsiteX301" fmla="*/ 248656 w 915678"/>
                <a:gd name="connsiteY301" fmla="*/ 672355 h 815526"/>
                <a:gd name="connsiteX302" fmla="*/ 247513 w 915678"/>
                <a:gd name="connsiteY302" fmla="*/ 679753 h 815526"/>
                <a:gd name="connsiteX303" fmla="*/ 248185 w 915678"/>
                <a:gd name="connsiteY303" fmla="*/ 680509 h 815526"/>
                <a:gd name="connsiteX304" fmla="*/ 211272 w 915678"/>
                <a:gd name="connsiteY304" fmla="*/ 713273 h 815526"/>
                <a:gd name="connsiteX305" fmla="*/ 217746 w 915678"/>
                <a:gd name="connsiteY305" fmla="*/ 713380 h 815526"/>
                <a:gd name="connsiteX306" fmla="*/ 217853 w 915678"/>
                <a:gd name="connsiteY306" fmla="*/ 713273 h 815526"/>
                <a:gd name="connsiteX307" fmla="*/ 217853 w 915678"/>
                <a:gd name="connsiteY307" fmla="*/ 706691 h 815526"/>
                <a:gd name="connsiteX308" fmla="*/ 211339 w 915678"/>
                <a:gd name="connsiteY308" fmla="*/ 705223 h 815526"/>
                <a:gd name="connsiteX309" fmla="*/ 209871 w 915678"/>
                <a:gd name="connsiteY309" fmla="*/ 711736 h 815526"/>
                <a:gd name="connsiteX310" fmla="*/ 210843 w 915678"/>
                <a:gd name="connsiteY310" fmla="*/ 712843 h 815526"/>
                <a:gd name="connsiteX311" fmla="*/ 173786 w 915678"/>
                <a:gd name="connsiteY311" fmla="*/ 745607 h 815526"/>
                <a:gd name="connsiteX312" fmla="*/ 179652 w 915678"/>
                <a:gd name="connsiteY312" fmla="*/ 745607 h 815526"/>
                <a:gd name="connsiteX313" fmla="*/ 179652 w 915678"/>
                <a:gd name="connsiteY313" fmla="*/ 739885 h 815526"/>
                <a:gd name="connsiteX314" fmla="*/ 174196 w 915678"/>
                <a:gd name="connsiteY314" fmla="*/ 739618 h 815526"/>
                <a:gd name="connsiteX315" fmla="*/ 173929 w 915678"/>
                <a:gd name="connsiteY315" fmla="*/ 739885 h 815526"/>
                <a:gd name="connsiteX316" fmla="*/ 173872 w 915678"/>
                <a:gd name="connsiteY316" fmla="*/ 745550 h 815526"/>
                <a:gd name="connsiteX317" fmla="*/ 173929 w 915678"/>
                <a:gd name="connsiteY317" fmla="*/ 745607 h 815526"/>
                <a:gd name="connsiteX318" fmla="*/ 137302 w 915678"/>
                <a:gd name="connsiteY318" fmla="*/ 778801 h 815526"/>
                <a:gd name="connsiteX319" fmla="*/ 142158 w 915678"/>
                <a:gd name="connsiteY319" fmla="*/ 778792 h 815526"/>
                <a:gd name="connsiteX320" fmla="*/ 142150 w 915678"/>
                <a:gd name="connsiteY320" fmla="*/ 773936 h 815526"/>
                <a:gd name="connsiteX321" fmla="*/ 137302 w 915678"/>
                <a:gd name="connsiteY321" fmla="*/ 773936 h 815526"/>
                <a:gd name="connsiteX322" fmla="*/ 137294 w 915678"/>
                <a:gd name="connsiteY322" fmla="*/ 778792 h 815526"/>
                <a:gd name="connsiteX323" fmla="*/ 137302 w 915678"/>
                <a:gd name="connsiteY323" fmla="*/ 778801 h 815526"/>
                <a:gd name="connsiteX324" fmla="*/ 449205 w 915678"/>
                <a:gd name="connsiteY324" fmla="*/ 460459 h 815526"/>
                <a:gd name="connsiteX325" fmla="*/ 461547 w 915678"/>
                <a:gd name="connsiteY325" fmla="*/ 460565 h 815526"/>
                <a:gd name="connsiteX326" fmla="*/ 461653 w 915678"/>
                <a:gd name="connsiteY326" fmla="*/ 460459 h 815526"/>
                <a:gd name="connsiteX327" fmla="*/ 462511 w 915678"/>
                <a:gd name="connsiteY327" fmla="*/ 448012 h 815526"/>
                <a:gd name="connsiteX328" fmla="*/ 449921 w 915678"/>
                <a:gd name="connsiteY328" fmla="*/ 447153 h 815526"/>
                <a:gd name="connsiteX329" fmla="*/ 449875 w 915678"/>
                <a:gd name="connsiteY329" fmla="*/ 459698 h 815526"/>
                <a:gd name="connsiteX330" fmla="*/ 449921 w 915678"/>
                <a:gd name="connsiteY330" fmla="*/ 459744 h 815526"/>
                <a:gd name="connsiteX331" fmla="*/ 412864 w 915678"/>
                <a:gd name="connsiteY331" fmla="*/ 492508 h 815526"/>
                <a:gd name="connsiteX332" fmla="*/ 424512 w 915678"/>
                <a:gd name="connsiteY332" fmla="*/ 493940 h 815526"/>
                <a:gd name="connsiteX333" fmla="*/ 425944 w 915678"/>
                <a:gd name="connsiteY333" fmla="*/ 482293 h 815526"/>
                <a:gd name="connsiteX334" fmla="*/ 414297 w 915678"/>
                <a:gd name="connsiteY334" fmla="*/ 480860 h 815526"/>
                <a:gd name="connsiteX335" fmla="*/ 413437 w 915678"/>
                <a:gd name="connsiteY335" fmla="*/ 481635 h 815526"/>
                <a:gd name="connsiteX336" fmla="*/ 412704 w 915678"/>
                <a:gd name="connsiteY336" fmla="*/ 493347 h 815526"/>
                <a:gd name="connsiteX337" fmla="*/ 412721 w 915678"/>
                <a:gd name="connsiteY337" fmla="*/ 493367 h 815526"/>
                <a:gd name="connsiteX338" fmla="*/ 375236 w 915678"/>
                <a:gd name="connsiteY338" fmla="*/ 525988 h 815526"/>
                <a:gd name="connsiteX339" fmla="*/ 386109 w 915678"/>
                <a:gd name="connsiteY339" fmla="*/ 525988 h 815526"/>
                <a:gd name="connsiteX340" fmla="*/ 386109 w 915678"/>
                <a:gd name="connsiteY340" fmla="*/ 515114 h 815526"/>
                <a:gd name="connsiteX341" fmla="*/ 375386 w 915678"/>
                <a:gd name="connsiteY341" fmla="*/ 514964 h 815526"/>
                <a:gd name="connsiteX342" fmla="*/ 375236 w 915678"/>
                <a:gd name="connsiteY342" fmla="*/ 515114 h 815526"/>
                <a:gd name="connsiteX343" fmla="*/ 375236 w 915678"/>
                <a:gd name="connsiteY343" fmla="*/ 525988 h 815526"/>
                <a:gd name="connsiteX344" fmla="*/ 338179 w 915678"/>
                <a:gd name="connsiteY344" fmla="*/ 558752 h 815526"/>
                <a:gd name="connsiteX345" fmla="*/ 348195 w 915678"/>
                <a:gd name="connsiteY345" fmla="*/ 558752 h 815526"/>
                <a:gd name="connsiteX346" fmla="*/ 349027 w 915678"/>
                <a:gd name="connsiteY346" fmla="*/ 548873 h 815526"/>
                <a:gd name="connsiteX347" fmla="*/ 348910 w 915678"/>
                <a:gd name="connsiteY347" fmla="*/ 548737 h 815526"/>
                <a:gd name="connsiteX348" fmla="*/ 338895 w 915678"/>
                <a:gd name="connsiteY348" fmla="*/ 548737 h 815526"/>
                <a:gd name="connsiteX349" fmla="*/ 338793 w 915678"/>
                <a:gd name="connsiteY349" fmla="*/ 558650 h 815526"/>
                <a:gd name="connsiteX350" fmla="*/ 338895 w 915678"/>
                <a:gd name="connsiteY350" fmla="*/ 558752 h 815526"/>
                <a:gd name="connsiteX351" fmla="*/ 301981 w 915678"/>
                <a:gd name="connsiteY351" fmla="*/ 591516 h 815526"/>
                <a:gd name="connsiteX352" fmla="*/ 311138 w 915678"/>
                <a:gd name="connsiteY352" fmla="*/ 591516 h 815526"/>
                <a:gd name="connsiteX353" fmla="*/ 311710 w 915678"/>
                <a:gd name="connsiteY353" fmla="*/ 582359 h 815526"/>
                <a:gd name="connsiteX354" fmla="*/ 302554 w 915678"/>
                <a:gd name="connsiteY354" fmla="*/ 581787 h 815526"/>
                <a:gd name="connsiteX355" fmla="*/ 302554 w 915678"/>
                <a:gd name="connsiteY355" fmla="*/ 590944 h 815526"/>
                <a:gd name="connsiteX356" fmla="*/ 264353 w 915678"/>
                <a:gd name="connsiteY356" fmla="*/ 624709 h 815526"/>
                <a:gd name="connsiteX357" fmla="*/ 272648 w 915678"/>
                <a:gd name="connsiteY357" fmla="*/ 624706 h 815526"/>
                <a:gd name="connsiteX358" fmla="*/ 272647 w 915678"/>
                <a:gd name="connsiteY358" fmla="*/ 616411 h 815526"/>
                <a:gd name="connsiteX359" fmla="*/ 264353 w 915678"/>
                <a:gd name="connsiteY359" fmla="*/ 616411 h 815526"/>
                <a:gd name="connsiteX360" fmla="*/ 264350 w 915678"/>
                <a:gd name="connsiteY360" fmla="*/ 624706 h 815526"/>
                <a:gd name="connsiteX361" fmla="*/ 264353 w 915678"/>
                <a:gd name="connsiteY361" fmla="*/ 624709 h 815526"/>
                <a:gd name="connsiteX362" fmla="*/ 227439 w 915678"/>
                <a:gd name="connsiteY362" fmla="*/ 657044 h 815526"/>
                <a:gd name="connsiteX363" fmla="*/ 235022 w 915678"/>
                <a:gd name="connsiteY363" fmla="*/ 657044 h 815526"/>
                <a:gd name="connsiteX364" fmla="*/ 235022 w 915678"/>
                <a:gd name="connsiteY364" fmla="*/ 649604 h 815526"/>
                <a:gd name="connsiteX365" fmla="*/ 227511 w 915678"/>
                <a:gd name="connsiteY365" fmla="*/ 649104 h 815526"/>
                <a:gd name="connsiteX366" fmla="*/ 227010 w 915678"/>
                <a:gd name="connsiteY366" fmla="*/ 656615 h 815526"/>
                <a:gd name="connsiteX367" fmla="*/ 190097 w 915678"/>
                <a:gd name="connsiteY367" fmla="*/ 689379 h 815526"/>
                <a:gd name="connsiteX368" fmla="*/ 196678 w 915678"/>
                <a:gd name="connsiteY368" fmla="*/ 689379 h 815526"/>
                <a:gd name="connsiteX369" fmla="*/ 196786 w 915678"/>
                <a:gd name="connsiteY369" fmla="*/ 682905 h 815526"/>
                <a:gd name="connsiteX370" fmla="*/ 196678 w 915678"/>
                <a:gd name="connsiteY370" fmla="*/ 682798 h 815526"/>
                <a:gd name="connsiteX371" fmla="*/ 190097 w 915678"/>
                <a:gd name="connsiteY371" fmla="*/ 682798 h 815526"/>
                <a:gd name="connsiteX372" fmla="*/ 189990 w 915678"/>
                <a:gd name="connsiteY372" fmla="*/ 689272 h 815526"/>
                <a:gd name="connsiteX373" fmla="*/ 190097 w 915678"/>
                <a:gd name="connsiteY373" fmla="*/ 689379 h 815526"/>
                <a:gd name="connsiteX374" fmla="*/ 153184 w 915678"/>
                <a:gd name="connsiteY374" fmla="*/ 722143 h 815526"/>
                <a:gd name="connsiteX375" fmla="*/ 158907 w 915678"/>
                <a:gd name="connsiteY375" fmla="*/ 722143 h 815526"/>
                <a:gd name="connsiteX376" fmla="*/ 159173 w 915678"/>
                <a:gd name="connsiteY376" fmla="*/ 716686 h 815526"/>
                <a:gd name="connsiteX377" fmla="*/ 158907 w 915678"/>
                <a:gd name="connsiteY377" fmla="*/ 716420 h 815526"/>
                <a:gd name="connsiteX378" fmla="*/ 153241 w 915678"/>
                <a:gd name="connsiteY378" fmla="*/ 716363 h 815526"/>
                <a:gd name="connsiteX379" fmla="*/ 153184 w 915678"/>
                <a:gd name="connsiteY379" fmla="*/ 716420 h 815526"/>
                <a:gd name="connsiteX380" fmla="*/ 153184 w 915678"/>
                <a:gd name="connsiteY380" fmla="*/ 722286 h 815526"/>
                <a:gd name="connsiteX381" fmla="*/ 116127 w 915678"/>
                <a:gd name="connsiteY381" fmla="*/ 755050 h 815526"/>
                <a:gd name="connsiteX382" fmla="*/ 121185 w 915678"/>
                <a:gd name="connsiteY382" fmla="*/ 755101 h 815526"/>
                <a:gd name="connsiteX383" fmla="*/ 121236 w 915678"/>
                <a:gd name="connsiteY383" fmla="*/ 750043 h 815526"/>
                <a:gd name="connsiteX384" fmla="*/ 116177 w 915678"/>
                <a:gd name="connsiteY384" fmla="*/ 749993 h 815526"/>
                <a:gd name="connsiteX385" fmla="*/ 116127 w 915678"/>
                <a:gd name="connsiteY385" fmla="*/ 750043 h 815526"/>
                <a:gd name="connsiteX386" fmla="*/ 116127 w 915678"/>
                <a:gd name="connsiteY386" fmla="*/ 755050 h 815526"/>
                <a:gd name="connsiteX387" fmla="*/ 79214 w 915678"/>
                <a:gd name="connsiteY387" fmla="*/ 787672 h 815526"/>
                <a:gd name="connsiteX388" fmla="*/ 83055 w 915678"/>
                <a:gd name="connsiteY388" fmla="*/ 787838 h 815526"/>
                <a:gd name="connsiteX389" fmla="*/ 83220 w 915678"/>
                <a:gd name="connsiteY389" fmla="*/ 787672 h 815526"/>
                <a:gd name="connsiteX390" fmla="*/ 83385 w 915678"/>
                <a:gd name="connsiteY390" fmla="*/ 783830 h 815526"/>
                <a:gd name="connsiteX391" fmla="*/ 83220 w 915678"/>
                <a:gd name="connsiteY391" fmla="*/ 783665 h 815526"/>
                <a:gd name="connsiteX392" fmla="*/ 79214 w 915678"/>
                <a:gd name="connsiteY392" fmla="*/ 783665 h 815526"/>
                <a:gd name="connsiteX393" fmla="*/ 79049 w 915678"/>
                <a:gd name="connsiteY393" fmla="*/ 787506 h 815526"/>
                <a:gd name="connsiteX394" fmla="*/ 79214 w 915678"/>
                <a:gd name="connsiteY394" fmla="*/ 787672 h 815526"/>
                <a:gd name="connsiteX395" fmla="*/ 479823 w 915678"/>
                <a:gd name="connsiteY395" fmla="*/ 391354 h 815526"/>
                <a:gd name="connsiteX396" fmla="*/ 467233 w 915678"/>
                <a:gd name="connsiteY396" fmla="*/ 390496 h 815526"/>
                <a:gd name="connsiteX397" fmla="*/ 466374 w 915678"/>
                <a:gd name="connsiteY397" fmla="*/ 403086 h 815526"/>
                <a:gd name="connsiteX398" fmla="*/ 478965 w 915678"/>
                <a:gd name="connsiteY398" fmla="*/ 403945 h 815526"/>
                <a:gd name="connsiteX399" fmla="*/ 479823 w 915678"/>
                <a:gd name="connsiteY399" fmla="*/ 391354 h 815526"/>
                <a:gd name="connsiteX400" fmla="*/ 516737 w 915678"/>
                <a:gd name="connsiteY400" fmla="*/ 358590 h 815526"/>
                <a:gd name="connsiteX401" fmla="*/ 505032 w 915678"/>
                <a:gd name="connsiteY401" fmla="*/ 357743 h 815526"/>
                <a:gd name="connsiteX402" fmla="*/ 504185 w 915678"/>
                <a:gd name="connsiteY402" fmla="*/ 369448 h 815526"/>
                <a:gd name="connsiteX403" fmla="*/ 515890 w 915678"/>
                <a:gd name="connsiteY403" fmla="*/ 370295 h 815526"/>
                <a:gd name="connsiteX404" fmla="*/ 516021 w 915678"/>
                <a:gd name="connsiteY404" fmla="*/ 370179 h 815526"/>
                <a:gd name="connsiteX405" fmla="*/ 516810 w 915678"/>
                <a:gd name="connsiteY405" fmla="*/ 358673 h 815526"/>
                <a:gd name="connsiteX406" fmla="*/ 516737 w 915678"/>
                <a:gd name="connsiteY406" fmla="*/ 358590 h 815526"/>
                <a:gd name="connsiteX407" fmla="*/ 553650 w 915678"/>
                <a:gd name="connsiteY407" fmla="*/ 325826 h 815526"/>
                <a:gd name="connsiteX408" fmla="*/ 542848 w 915678"/>
                <a:gd name="connsiteY408" fmla="*/ 325182 h 815526"/>
                <a:gd name="connsiteX409" fmla="*/ 542204 w 915678"/>
                <a:gd name="connsiteY409" fmla="*/ 335984 h 815526"/>
                <a:gd name="connsiteX410" fmla="*/ 553078 w 915678"/>
                <a:gd name="connsiteY410" fmla="*/ 335984 h 815526"/>
                <a:gd name="connsiteX411" fmla="*/ 553078 w 915678"/>
                <a:gd name="connsiteY411" fmla="*/ 325111 h 815526"/>
                <a:gd name="connsiteX412" fmla="*/ 590134 w 915678"/>
                <a:gd name="connsiteY412" fmla="*/ 292347 h 815526"/>
                <a:gd name="connsiteX413" fmla="*/ 580426 w 915678"/>
                <a:gd name="connsiteY413" fmla="*/ 292039 h 815526"/>
                <a:gd name="connsiteX414" fmla="*/ 580119 w 915678"/>
                <a:gd name="connsiteY414" fmla="*/ 292347 h 815526"/>
                <a:gd name="connsiteX415" fmla="*/ 579286 w 915678"/>
                <a:gd name="connsiteY415" fmla="*/ 302226 h 815526"/>
                <a:gd name="connsiteX416" fmla="*/ 579403 w 915678"/>
                <a:gd name="connsiteY416" fmla="*/ 302362 h 815526"/>
                <a:gd name="connsiteX417" fmla="*/ 589419 w 915678"/>
                <a:gd name="connsiteY417" fmla="*/ 302362 h 815526"/>
                <a:gd name="connsiteX418" fmla="*/ 589520 w 915678"/>
                <a:gd name="connsiteY418" fmla="*/ 292448 h 815526"/>
                <a:gd name="connsiteX419" fmla="*/ 589419 w 915678"/>
                <a:gd name="connsiteY419" fmla="*/ 292347 h 815526"/>
                <a:gd name="connsiteX420" fmla="*/ 628049 w 915678"/>
                <a:gd name="connsiteY420" fmla="*/ 260584 h 815526"/>
                <a:gd name="connsiteX421" fmla="*/ 618944 w 915678"/>
                <a:gd name="connsiteY421" fmla="*/ 260532 h 815526"/>
                <a:gd name="connsiteX422" fmla="*/ 618892 w 915678"/>
                <a:gd name="connsiteY422" fmla="*/ 260584 h 815526"/>
                <a:gd name="connsiteX423" fmla="*/ 618320 w 915678"/>
                <a:gd name="connsiteY423" fmla="*/ 269741 h 815526"/>
                <a:gd name="connsiteX424" fmla="*/ 627477 w 915678"/>
                <a:gd name="connsiteY424" fmla="*/ 270313 h 815526"/>
                <a:gd name="connsiteX425" fmla="*/ 627528 w 915678"/>
                <a:gd name="connsiteY425" fmla="*/ 261208 h 815526"/>
                <a:gd name="connsiteX426" fmla="*/ 627477 w 915678"/>
                <a:gd name="connsiteY426" fmla="*/ 261156 h 815526"/>
                <a:gd name="connsiteX427" fmla="*/ 664390 w 915678"/>
                <a:gd name="connsiteY427" fmla="*/ 228392 h 815526"/>
                <a:gd name="connsiteX428" fmla="*/ 656094 w 915678"/>
                <a:gd name="connsiteY428" fmla="*/ 228395 h 815526"/>
                <a:gd name="connsiteX429" fmla="*/ 656096 w 915678"/>
                <a:gd name="connsiteY429" fmla="*/ 236690 h 815526"/>
                <a:gd name="connsiteX430" fmla="*/ 664390 w 915678"/>
                <a:gd name="connsiteY430" fmla="*/ 236690 h 815526"/>
                <a:gd name="connsiteX431" fmla="*/ 664393 w 915678"/>
                <a:gd name="connsiteY431" fmla="*/ 228395 h 815526"/>
                <a:gd name="connsiteX432" fmla="*/ 664390 w 915678"/>
                <a:gd name="connsiteY432" fmla="*/ 228392 h 815526"/>
                <a:gd name="connsiteX433" fmla="*/ 701303 w 915678"/>
                <a:gd name="connsiteY433" fmla="*/ 195485 h 815526"/>
                <a:gd name="connsiteX434" fmla="*/ 693792 w 915678"/>
                <a:gd name="connsiteY434" fmla="*/ 194984 h 815526"/>
                <a:gd name="connsiteX435" fmla="*/ 693291 w 915678"/>
                <a:gd name="connsiteY435" fmla="*/ 202496 h 815526"/>
                <a:gd name="connsiteX436" fmla="*/ 700802 w 915678"/>
                <a:gd name="connsiteY436" fmla="*/ 202996 h 815526"/>
                <a:gd name="connsiteX437" fmla="*/ 701303 w 915678"/>
                <a:gd name="connsiteY437" fmla="*/ 195485 h 815526"/>
                <a:gd name="connsiteX438" fmla="*/ 738216 w 915678"/>
                <a:gd name="connsiteY438" fmla="*/ 162721 h 815526"/>
                <a:gd name="connsiteX439" fmla="*/ 731635 w 915678"/>
                <a:gd name="connsiteY439" fmla="*/ 162721 h 815526"/>
                <a:gd name="connsiteX440" fmla="*/ 731541 w 915678"/>
                <a:gd name="connsiteY440" fmla="*/ 169397 h 815526"/>
                <a:gd name="connsiteX441" fmla="*/ 738216 w 915678"/>
                <a:gd name="connsiteY441" fmla="*/ 169493 h 815526"/>
                <a:gd name="connsiteX442" fmla="*/ 738311 w 915678"/>
                <a:gd name="connsiteY442" fmla="*/ 162815 h 815526"/>
                <a:gd name="connsiteX443" fmla="*/ 738216 w 915678"/>
                <a:gd name="connsiteY443" fmla="*/ 162721 h 815526"/>
                <a:gd name="connsiteX444" fmla="*/ 775130 w 915678"/>
                <a:gd name="connsiteY444" fmla="*/ 129957 h 815526"/>
                <a:gd name="connsiteX445" fmla="*/ 769464 w 915678"/>
                <a:gd name="connsiteY445" fmla="*/ 130014 h 815526"/>
                <a:gd name="connsiteX446" fmla="*/ 769523 w 915678"/>
                <a:gd name="connsiteY446" fmla="*/ 135680 h 815526"/>
                <a:gd name="connsiteX447" fmla="*/ 775130 w 915678"/>
                <a:gd name="connsiteY447" fmla="*/ 135680 h 815526"/>
                <a:gd name="connsiteX448" fmla="*/ 775396 w 915678"/>
                <a:gd name="connsiteY448" fmla="*/ 130223 h 815526"/>
                <a:gd name="connsiteX449" fmla="*/ 775130 w 915678"/>
                <a:gd name="connsiteY449" fmla="*/ 129957 h 815526"/>
                <a:gd name="connsiteX450" fmla="*/ 812186 w 915678"/>
                <a:gd name="connsiteY450" fmla="*/ 97192 h 815526"/>
                <a:gd name="connsiteX451" fmla="*/ 807330 w 915678"/>
                <a:gd name="connsiteY451" fmla="*/ 97201 h 815526"/>
                <a:gd name="connsiteX452" fmla="*/ 807339 w 915678"/>
                <a:gd name="connsiteY452" fmla="*/ 102057 h 815526"/>
                <a:gd name="connsiteX453" fmla="*/ 812186 w 915678"/>
                <a:gd name="connsiteY453" fmla="*/ 102057 h 815526"/>
                <a:gd name="connsiteX454" fmla="*/ 812195 w 915678"/>
                <a:gd name="connsiteY454" fmla="*/ 97201 h 815526"/>
                <a:gd name="connsiteX455" fmla="*/ 812186 w 915678"/>
                <a:gd name="connsiteY455" fmla="*/ 97192 h 815526"/>
                <a:gd name="connsiteX456" fmla="*/ 849099 w 915678"/>
                <a:gd name="connsiteY456" fmla="*/ 64428 h 815526"/>
                <a:gd name="connsiteX457" fmla="*/ 845022 w 915678"/>
                <a:gd name="connsiteY457" fmla="*/ 64214 h 815526"/>
                <a:gd name="connsiteX458" fmla="*/ 844807 w 915678"/>
                <a:gd name="connsiteY458" fmla="*/ 68291 h 815526"/>
                <a:gd name="connsiteX459" fmla="*/ 848813 w 915678"/>
                <a:gd name="connsiteY459" fmla="*/ 68291 h 815526"/>
                <a:gd name="connsiteX460" fmla="*/ 848813 w 915678"/>
                <a:gd name="connsiteY460" fmla="*/ 64142 h 815526"/>
                <a:gd name="connsiteX461" fmla="*/ 458648 w 915678"/>
                <a:gd name="connsiteY461" fmla="*/ 368033 h 815526"/>
                <a:gd name="connsiteX462" fmla="*/ 446058 w 915678"/>
                <a:gd name="connsiteY462" fmla="*/ 367318 h 815526"/>
                <a:gd name="connsiteX463" fmla="*/ 445281 w 915678"/>
                <a:gd name="connsiteY463" fmla="*/ 379838 h 815526"/>
                <a:gd name="connsiteX464" fmla="*/ 445342 w 915678"/>
                <a:gd name="connsiteY464" fmla="*/ 379908 h 815526"/>
                <a:gd name="connsiteX465" fmla="*/ 457933 w 915678"/>
                <a:gd name="connsiteY465" fmla="*/ 380624 h 815526"/>
                <a:gd name="connsiteX466" fmla="*/ 458648 w 915678"/>
                <a:gd name="connsiteY466" fmla="*/ 368033 h 815526"/>
                <a:gd name="connsiteX467" fmla="*/ 495562 w 915678"/>
                <a:gd name="connsiteY467" fmla="*/ 335269 h 815526"/>
                <a:gd name="connsiteX468" fmla="*/ 483847 w 915678"/>
                <a:gd name="connsiteY468" fmla="*/ 334574 h 815526"/>
                <a:gd name="connsiteX469" fmla="*/ 483151 w 915678"/>
                <a:gd name="connsiteY469" fmla="*/ 346289 h 815526"/>
                <a:gd name="connsiteX470" fmla="*/ 494846 w 915678"/>
                <a:gd name="connsiteY470" fmla="*/ 347001 h 815526"/>
                <a:gd name="connsiteX471" fmla="*/ 495579 w 915678"/>
                <a:gd name="connsiteY471" fmla="*/ 335289 h 815526"/>
                <a:gd name="connsiteX472" fmla="*/ 495562 w 915678"/>
                <a:gd name="connsiteY472" fmla="*/ 335269 h 815526"/>
                <a:gd name="connsiteX473" fmla="*/ 532618 w 915678"/>
                <a:gd name="connsiteY473" fmla="*/ 302505 h 815526"/>
                <a:gd name="connsiteX474" fmla="*/ 521744 w 915678"/>
                <a:gd name="connsiteY474" fmla="*/ 302505 h 815526"/>
                <a:gd name="connsiteX475" fmla="*/ 521594 w 915678"/>
                <a:gd name="connsiteY475" fmla="*/ 313228 h 815526"/>
                <a:gd name="connsiteX476" fmla="*/ 521744 w 915678"/>
                <a:gd name="connsiteY476" fmla="*/ 313379 h 815526"/>
                <a:gd name="connsiteX477" fmla="*/ 532618 w 915678"/>
                <a:gd name="connsiteY477" fmla="*/ 313379 h 815526"/>
                <a:gd name="connsiteX478" fmla="*/ 532618 w 915678"/>
                <a:gd name="connsiteY478" fmla="*/ 302505 h 815526"/>
                <a:gd name="connsiteX479" fmla="*/ 569531 w 915678"/>
                <a:gd name="connsiteY479" fmla="*/ 269741 h 815526"/>
                <a:gd name="connsiteX480" fmla="*/ 559516 w 915678"/>
                <a:gd name="connsiteY480" fmla="*/ 269741 h 815526"/>
                <a:gd name="connsiteX481" fmla="*/ 560253 w 915678"/>
                <a:gd name="connsiteY481" fmla="*/ 279830 h 815526"/>
                <a:gd name="connsiteX482" fmla="*/ 568959 w 915678"/>
                <a:gd name="connsiteY482" fmla="*/ 280328 h 815526"/>
                <a:gd name="connsiteX483" fmla="*/ 568959 w 915678"/>
                <a:gd name="connsiteY483" fmla="*/ 270313 h 815526"/>
                <a:gd name="connsiteX484" fmla="*/ 605872 w 915678"/>
                <a:gd name="connsiteY484" fmla="*/ 237549 h 815526"/>
                <a:gd name="connsiteX485" fmla="*/ 596716 w 915678"/>
                <a:gd name="connsiteY485" fmla="*/ 237549 h 815526"/>
                <a:gd name="connsiteX486" fmla="*/ 596716 w 915678"/>
                <a:gd name="connsiteY486" fmla="*/ 246706 h 815526"/>
                <a:gd name="connsiteX487" fmla="*/ 605872 w 915678"/>
                <a:gd name="connsiteY487" fmla="*/ 246706 h 815526"/>
                <a:gd name="connsiteX488" fmla="*/ 605924 w 915678"/>
                <a:gd name="connsiteY488" fmla="*/ 237600 h 815526"/>
                <a:gd name="connsiteX489" fmla="*/ 605872 w 915678"/>
                <a:gd name="connsiteY489" fmla="*/ 237549 h 815526"/>
                <a:gd name="connsiteX490" fmla="*/ 642929 w 915678"/>
                <a:gd name="connsiteY490" fmla="*/ 204928 h 815526"/>
                <a:gd name="connsiteX491" fmla="*/ 634633 w 915678"/>
                <a:gd name="connsiteY491" fmla="*/ 204931 h 815526"/>
                <a:gd name="connsiteX492" fmla="*/ 634635 w 915678"/>
                <a:gd name="connsiteY492" fmla="*/ 213226 h 815526"/>
                <a:gd name="connsiteX493" fmla="*/ 642929 w 915678"/>
                <a:gd name="connsiteY493" fmla="*/ 213226 h 815526"/>
                <a:gd name="connsiteX494" fmla="*/ 642932 w 915678"/>
                <a:gd name="connsiteY494" fmla="*/ 204931 h 815526"/>
                <a:gd name="connsiteX495" fmla="*/ 642929 w 915678"/>
                <a:gd name="connsiteY495" fmla="*/ 204928 h 815526"/>
                <a:gd name="connsiteX496" fmla="*/ 679842 w 915678"/>
                <a:gd name="connsiteY496" fmla="*/ 172164 h 815526"/>
                <a:gd name="connsiteX497" fmla="*/ 672402 w 915678"/>
                <a:gd name="connsiteY497" fmla="*/ 172164 h 815526"/>
                <a:gd name="connsiteX498" fmla="*/ 671901 w 915678"/>
                <a:gd name="connsiteY498" fmla="*/ 179675 h 815526"/>
                <a:gd name="connsiteX499" fmla="*/ 679413 w 915678"/>
                <a:gd name="connsiteY499" fmla="*/ 180176 h 815526"/>
                <a:gd name="connsiteX500" fmla="*/ 679413 w 915678"/>
                <a:gd name="connsiteY500" fmla="*/ 172736 h 815526"/>
                <a:gd name="connsiteX501" fmla="*/ 717328 w 915678"/>
                <a:gd name="connsiteY501" fmla="*/ 138255 h 815526"/>
                <a:gd name="connsiteX502" fmla="*/ 710853 w 915678"/>
                <a:gd name="connsiteY502" fmla="*/ 138148 h 815526"/>
                <a:gd name="connsiteX503" fmla="*/ 710746 w 915678"/>
                <a:gd name="connsiteY503" fmla="*/ 138255 h 815526"/>
                <a:gd name="connsiteX504" fmla="*/ 710746 w 915678"/>
                <a:gd name="connsiteY504" fmla="*/ 144836 h 815526"/>
                <a:gd name="connsiteX505" fmla="*/ 717471 w 915678"/>
                <a:gd name="connsiteY505" fmla="*/ 144836 h 815526"/>
                <a:gd name="connsiteX506" fmla="*/ 717471 w 915678"/>
                <a:gd name="connsiteY506" fmla="*/ 138255 h 815526"/>
                <a:gd name="connsiteX507" fmla="*/ 754527 w 915678"/>
                <a:gd name="connsiteY507" fmla="*/ 105491 h 815526"/>
                <a:gd name="connsiteX508" fmla="*/ 748661 w 915678"/>
                <a:gd name="connsiteY508" fmla="*/ 105491 h 815526"/>
                <a:gd name="connsiteX509" fmla="*/ 748661 w 915678"/>
                <a:gd name="connsiteY509" fmla="*/ 111214 h 815526"/>
                <a:gd name="connsiteX510" fmla="*/ 754384 w 915678"/>
                <a:gd name="connsiteY510" fmla="*/ 111643 h 815526"/>
                <a:gd name="connsiteX511" fmla="*/ 754813 w 915678"/>
                <a:gd name="connsiteY511" fmla="*/ 105920 h 815526"/>
                <a:gd name="connsiteX512" fmla="*/ 791726 w 915678"/>
                <a:gd name="connsiteY512" fmla="*/ 73156 h 815526"/>
                <a:gd name="connsiteX513" fmla="*/ 786871 w 915678"/>
                <a:gd name="connsiteY513" fmla="*/ 73165 h 815526"/>
                <a:gd name="connsiteX514" fmla="*/ 786879 w 915678"/>
                <a:gd name="connsiteY514" fmla="*/ 78021 h 815526"/>
                <a:gd name="connsiteX515" fmla="*/ 791726 w 915678"/>
                <a:gd name="connsiteY515" fmla="*/ 78021 h 815526"/>
                <a:gd name="connsiteX516" fmla="*/ 791735 w 915678"/>
                <a:gd name="connsiteY516" fmla="*/ 73165 h 815526"/>
                <a:gd name="connsiteX517" fmla="*/ 791726 w 915678"/>
                <a:gd name="connsiteY517" fmla="*/ 73156 h 815526"/>
                <a:gd name="connsiteX518" fmla="*/ 828354 w 915678"/>
                <a:gd name="connsiteY518" fmla="*/ 40535 h 815526"/>
                <a:gd name="connsiteX519" fmla="*/ 824312 w 915678"/>
                <a:gd name="connsiteY519" fmla="*/ 40744 h 815526"/>
                <a:gd name="connsiteX520" fmla="*/ 824061 w 915678"/>
                <a:gd name="connsiteY520" fmla="*/ 44255 h 815526"/>
                <a:gd name="connsiteX521" fmla="*/ 828210 w 915678"/>
                <a:gd name="connsiteY521" fmla="*/ 44255 h 815526"/>
                <a:gd name="connsiteX522" fmla="*/ 828375 w 915678"/>
                <a:gd name="connsiteY522" fmla="*/ 40413 h 815526"/>
                <a:gd name="connsiteX523" fmla="*/ 828210 w 915678"/>
                <a:gd name="connsiteY523" fmla="*/ 40249 h 815526"/>
                <a:gd name="connsiteX524" fmla="*/ 437759 w 915678"/>
                <a:gd name="connsiteY524" fmla="*/ 344569 h 815526"/>
                <a:gd name="connsiteX525" fmla="*/ 425229 w 915678"/>
                <a:gd name="connsiteY525" fmla="*/ 343957 h 815526"/>
                <a:gd name="connsiteX526" fmla="*/ 424453 w 915678"/>
                <a:gd name="connsiteY526" fmla="*/ 356301 h 815526"/>
                <a:gd name="connsiteX527" fmla="*/ 437044 w 915678"/>
                <a:gd name="connsiteY527" fmla="*/ 357159 h 815526"/>
                <a:gd name="connsiteX528" fmla="*/ 437821 w 915678"/>
                <a:gd name="connsiteY528" fmla="*/ 344639 h 815526"/>
                <a:gd name="connsiteX529" fmla="*/ 437759 w 915678"/>
                <a:gd name="connsiteY529" fmla="*/ 344569 h 815526"/>
                <a:gd name="connsiteX530" fmla="*/ 474816 w 915678"/>
                <a:gd name="connsiteY530" fmla="*/ 311805 h 815526"/>
                <a:gd name="connsiteX531" fmla="*/ 463081 w 915678"/>
                <a:gd name="connsiteY531" fmla="*/ 311802 h 815526"/>
                <a:gd name="connsiteX532" fmla="*/ 463076 w 915678"/>
                <a:gd name="connsiteY532" fmla="*/ 323537 h 815526"/>
                <a:gd name="connsiteX533" fmla="*/ 474813 w 915678"/>
                <a:gd name="connsiteY533" fmla="*/ 323540 h 815526"/>
                <a:gd name="connsiteX534" fmla="*/ 474816 w 915678"/>
                <a:gd name="connsiteY534" fmla="*/ 323537 h 815526"/>
                <a:gd name="connsiteX535" fmla="*/ 474816 w 915678"/>
                <a:gd name="connsiteY535" fmla="*/ 311805 h 815526"/>
                <a:gd name="connsiteX536" fmla="*/ 511729 w 915678"/>
                <a:gd name="connsiteY536" fmla="*/ 279041 h 815526"/>
                <a:gd name="connsiteX537" fmla="*/ 500802 w 915678"/>
                <a:gd name="connsiteY537" fmla="*/ 278988 h 815526"/>
                <a:gd name="connsiteX538" fmla="*/ 500751 w 915678"/>
                <a:gd name="connsiteY538" fmla="*/ 289914 h 815526"/>
                <a:gd name="connsiteX539" fmla="*/ 511676 w 915678"/>
                <a:gd name="connsiteY539" fmla="*/ 289967 h 815526"/>
                <a:gd name="connsiteX540" fmla="*/ 511729 w 915678"/>
                <a:gd name="connsiteY540" fmla="*/ 289914 h 815526"/>
                <a:gd name="connsiteX541" fmla="*/ 511879 w 915678"/>
                <a:gd name="connsiteY541" fmla="*/ 279191 h 815526"/>
                <a:gd name="connsiteX542" fmla="*/ 511729 w 915678"/>
                <a:gd name="connsiteY542" fmla="*/ 279041 h 815526"/>
                <a:gd name="connsiteX543" fmla="*/ 548642 w 915678"/>
                <a:gd name="connsiteY543" fmla="*/ 246276 h 815526"/>
                <a:gd name="connsiteX544" fmla="*/ 538526 w 915678"/>
                <a:gd name="connsiteY544" fmla="*/ 246175 h 815526"/>
                <a:gd name="connsiteX545" fmla="*/ 538425 w 915678"/>
                <a:gd name="connsiteY545" fmla="*/ 256292 h 815526"/>
                <a:gd name="connsiteX546" fmla="*/ 548541 w 915678"/>
                <a:gd name="connsiteY546" fmla="*/ 256393 h 815526"/>
                <a:gd name="connsiteX547" fmla="*/ 548642 w 915678"/>
                <a:gd name="connsiteY547" fmla="*/ 256292 h 815526"/>
                <a:gd name="connsiteX548" fmla="*/ 548642 w 915678"/>
                <a:gd name="connsiteY548" fmla="*/ 246276 h 815526"/>
                <a:gd name="connsiteX549" fmla="*/ 585126 w 915678"/>
                <a:gd name="connsiteY549" fmla="*/ 213512 h 815526"/>
                <a:gd name="connsiteX550" fmla="*/ 575970 w 915678"/>
                <a:gd name="connsiteY550" fmla="*/ 213512 h 815526"/>
                <a:gd name="connsiteX551" fmla="*/ 575397 w 915678"/>
                <a:gd name="connsiteY551" fmla="*/ 222669 h 815526"/>
                <a:gd name="connsiteX552" fmla="*/ 584554 w 915678"/>
                <a:gd name="connsiteY552" fmla="*/ 223241 h 815526"/>
                <a:gd name="connsiteX553" fmla="*/ 584554 w 915678"/>
                <a:gd name="connsiteY553" fmla="*/ 214085 h 815526"/>
                <a:gd name="connsiteX554" fmla="*/ 622612 w 915678"/>
                <a:gd name="connsiteY554" fmla="*/ 181177 h 815526"/>
                <a:gd name="connsiteX555" fmla="*/ 614317 w 915678"/>
                <a:gd name="connsiteY555" fmla="*/ 181180 h 815526"/>
                <a:gd name="connsiteX556" fmla="*/ 614318 w 915678"/>
                <a:gd name="connsiteY556" fmla="*/ 189476 h 815526"/>
                <a:gd name="connsiteX557" fmla="*/ 622612 w 915678"/>
                <a:gd name="connsiteY557" fmla="*/ 189476 h 815526"/>
                <a:gd name="connsiteX558" fmla="*/ 622615 w 915678"/>
                <a:gd name="connsiteY558" fmla="*/ 181180 h 815526"/>
                <a:gd name="connsiteX559" fmla="*/ 622612 w 915678"/>
                <a:gd name="connsiteY559" fmla="*/ 181177 h 815526"/>
                <a:gd name="connsiteX560" fmla="*/ 659525 w 915678"/>
                <a:gd name="connsiteY560" fmla="*/ 148413 h 815526"/>
                <a:gd name="connsiteX561" fmla="*/ 652085 w 915678"/>
                <a:gd name="connsiteY561" fmla="*/ 148413 h 815526"/>
                <a:gd name="connsiteX562" fmla="*/ 652085 w 915678"/>
                <a:gd name="connsiteY562" fmla="*/ 155853 h 815526"/>
                <a:gd name="connsiteX563" fmla="*/ 659567 w 915678"/>
                <a:gd name="connsiteY563" fmla="*/ 155568 h 815526"/>
                <a:gd name="connsiteX564" fmla="*/ 659955 w 915678"/>
                <a:gd name="connsiteY564" fmla="*/ 148843 h 815526"/>
                <a:gd name="connsiteX565" fmla="*/ 697011 w 915678"/>
                <a:gd name="connsiteY565" fmla="*/ 116078 h 815526"/>
                <a:gd name="connsiteX566" fmla="*/ 690382 w 915678"/>
                <a:gd name="connsiteY566" fmla="*/ 115280 h 815526"/>
                <a:gd name="connsiteX567" fmla="*/ 689584 w 915678"/>
                <a:gd name="connsiteY567" fmla="*/ 121910 h 815526"/>
                <a:gd name="connsiteX568" fmla="*/ 690000 w 915678"/>
                <a:gd name="connsiteY568" fmla="*/ 122374 h 815526"/>
                <a:gd name="connsiteX569" fmla="*/ 696678 w 915678"/>
                <a:gd name="connsiteY569" fmla="*/ 122291 h 815526"/>
                <a:gd name="connsiteX570" fmla="*/ 697011 w 915678"/>
                <a:gd name="connsiteY570" fmla="*/ 116078 h 815526"/>
                <a:gd name="connsiteX571" fmla="*/ 733924 w 915678"/>
                <a:gd name="connsiteY571" fmla="*/ 83314 h 815526"/>
                <a:gd name="connsiteX572" fmla="*/ 728077 w 915678"/>
                <a:gd name="connsiteY572" fmla="*/ 83808 h 815526"/>
                <a:gd name="connsiteX573" fmla="*/ 727772 w 915678"/>
                <a:gd name="connsiteY573" fmla="*/ 88751 h 815526"/>
                <a:gd name="connsiteX574" fmla="*/ 733638 w 915678"/>
                <a:gd name="connsiteY574" fmla="*/ 88751 h 815526"/>
                <a:gd name="connsiteX575" fmla="*/ 733638 w 915678"/>
                <a:gd name="connsiteY575" fmla="*/ 83028 h 815526"/>
                <a:gd name="connsiteX576" fmla="*/ 771124 w 915678"/>
                <a:gd name="connsiteY576" fmla="*/ 49692 h 815526"/>
                <a:gd name="connsiteX577" fmla="*/ 766268 w 915678"/>
                <a:gd name="connsiteY577" fmla="*/ 49683 h 815526"/>
                <a:gd name="connsiteX578" fmla="*/ 766259 w 915678"/>
                <a:gd name="connsiteY578" fmla="*/ 49692 h 815526"/>
                <a:gd name="connsiteX579" fmla="*/ 766268 w 915678"/>
                <a:gd name="connsiteY579" fmla="*/ 54548 h 815526"/>
                <a:gd name="connsiteX580" fmla="*/ 771124 w 915678"/>
                <a:gd name="connsiteY580" fmla="*/ 54539 h 815526"/>
                <a:gd name="connsiteX581" fmla="*/ 771124 w 915678"/>
                <a:gd name="connsiteY581" fmla="*/ 49692 h 815526"/>
                <a:gd name="connsiteX582" fmla="*/ 808180 w 915678"/>
                <a:gd name="connsiteY582" fmla="*/ 16928 h 815526"/>
                <a:gd name="connsiteX583" fmla="*/ 804031 w 915678"/>
                <a:gd name="connsiteY583" fmla="*/ 16928 h 815526"/>
                <a:gd name="connsiteX584" fmla="*/ 803865 w 915678"/>
                <a:gd name="connsiteY584" fmla="*/ 20769 h 815526"/>
                <a:gd name="connsiteX585" fmla="*/ 804031 w 915678"/>
                <a:gd name="connsiteY585" fmla="*/ 20934 h 815526"/>
                <a:gd name="connsiteX586" fmla="*/ 808037 w 915678"/>
                <a:gd name="connsiteY586" fmla="*/ 20934 h 815526"/>
                <a:gd name="connsiteX587" fmla="*/ 808037 w 915678"/>
                <a:gd name="connsiteY587" fmla="*/ 16784 h 815526"/>
                <a:gd name="connsiteX588" fmla="*/ 542204 w 915678"/>
                <a:gd name="connsiteY588" fmla="*/ 462176 h 815526"/>
                <a:gd name="connsiteX589" fmla="*/ 529659 w 915678"/>
                <a:gd name="connsiteY589" fmla="*/ 462131 h 815526"/>
                <a:gd name="connsiteX590" fmla="*/ 529613 w 915678"/>
                <a:gd name="connsiteY590" fmla="*/ 462176 h 815526"/>
                <a:gd name="connsiteX591" fmla="*/ 529508 w 915678"/>
                <a:gd name="connsiteY591" fmla="*/ 474518 h 815526"/>
                <a:gd name="connsiteX592" fmla="*/ 529613 w 915678"/>
                <a:gd name="connsiteY592" fmla="*/ 474624 h 815526"/>
                <a:gd name="connsiteX593" fmla="*/ 542061 w 915678"/>
                <a:gd name="connsiteY593" fmla="*/ 475482 h 815526"/>
                <a:gd name="connsiteX594" fmla="*/ 542919 w 915678"/>
                <a:gd name="connsiteY594" fmla="*/ 462892 h 815526"/>
                <a:gd name="connsiteX595" fmla="*/ 579833 w 915678"/>
                <a:gd name="connsiteY595" fmla="*/ 430128 h 815526"/>
                <a:gd name="connsiteX596" fmla="*/ 568098 w 915678"/>
                <a:gd name="connsiteY596" fmla="*/ 430125 h 815526"/>
                <a:gd name="connsiteX597" fmla="*/ 568093 w 915678"/>
                <a:gd name="connsiteY597" fmla="*/ 441860 h 815526"/>
                <a:gd name="connsiteX598" fmla="*/ 579830 w 915678"/>
                <a:gd name="connsiteY598" fmla="*/ 441863 h 815526"/>
                <a:gd name="connsiteX599" fmla="*/ 579833 w 915678"/>
                <a:gd name="connsiteY599" fmla="*/ 441860 h 815526"/>
                <a:gd name="connsiteX600" fmla="*/ 579833 w 915678"/>
                <a:gd name="connsiteY600" fmla="*/ 430128 h 815526"/>
                <a:gd name="connsiteX601" fmla="*/ 616746 w 915678"/>
                <a:gd name="connsiteY601" fmla="*/ 397363 h 815526"/>
                <a:gd name="connsiteX602" fmla="*/ 606022 w 915678"/>
                <a:gd name="connsiteY602" fmla="*/ 397514 h 815526"/>
                <a:gd name="connsiteX603" fmla="*/ 606174 w 915678"/>
                <a:gd name="connsiteY603" fmla="*/ 408237 h 815526"/>
                <a:gd name="connsiteX604" fmla="*/ 616746 w 915678"/>
                <a:gd name="connsiteY604" fmla="*/ 408237 h 815526"/>
                <a:gd name="connsiteX605" fmla="*/ 616746 w 915678"/>
                <a:gd name="connsiteY605" fmla="*/ 397363 h 815526"/>
                <a:gd name="connsiteX606" fmla="*/ 653802 w 915678"/>
                <a:gd name="connsiteY606" fmla="*/ 364599 h 815526"/>
                <a:gd name="connsiteX607" fmla="*/ 643787 w 915678"/>
                <a:gd name="connsiteY607" fmla="*/ 364599 h 815526"/>
                <a:gd name="connsiteX608" fmla="*/ 643479 w 915678"/>
                <a:gd name="connsiteY608" fmla="*/ 374307 h 815526"/>
                <a:gd name="connsiteX609" fmla="*/ 643787 w 915678"/>
                <a:gd name="connsiteY609" fmla="*/ 374615 h 815526"/>
                <a:gd name="connsiteX610" fmla="*/ 653728 w 915678"/>
                <a:gd name="connsiteY610" fmla="*/ 376496 h 815526"/>
                <a:gd name="connsiteX611" fmla="*/ 655609 w 915678"/>
                <a:gd name="connsiteY611" fmla="*/ 366555 h 815526"/>
                <a:gd name="connsiteX612" fmla="*/ 654375 w 915678"/>
                <a:gd name="connsiteY612" fmla="*/ 365172 h 815526"/>
                <a:gd name="connsiteX613" fmla="*/ 691288 w 915678"/>
                <a:gd name="connsiteY613" fmla="*/ 332407 h 815526"/>
                <a:gd name="connsiteX614" fmla="*/ 682131 w 915678"/>
                <a:gd name="connsiteY614" fmla="*/ 331835 h 815526"/>
                <a:gd name="connsiteX615" fmla="*/ 681559 w 915678"/>
                <a:gd name="connsiteY615" fmla="*/ 340992 h 815526"/>
                <a:gd name="connsiteX616" fmla="*/ 690716 w 915678"/>
                <a:gd name="connsiteY616" fmla="*/ 341564 h 815526"/>
                <a:gd name="connsiteX617" fmla="*/ 691288 w 915678"/>
                <a:gd name="connsiteY617" fmla="*/ 332407 h 815526"/>
                <a:gd name="connsiteX618" fmla="*/ 728201 w 915678"/>
                <a:gd name="connsiteY618" fmla="*/ 299643 h 815526"/>
                <a:gd name="connsiteX619" fmla="*/ 719906 w 915678"/>
                <a:gd name="connsiteY619" fmla="*/ 299646 h 815526"/>
                <a:gd name="connsiteX620" fmla="*/ 719907 w 915678"/>
                <a:gd name="connsiteY620" fmla="*/ 307942 h 815526"/>
                <a:gd name="connsiteX621" fmla="*/ 728201 w 915678"/>
                <a:gd name="connsiteY621" fmla="*/ 307942 h 815526"/>
                <a:gd name="connsiteX622" fmla="*/ 728204 w 915678"/>
                <a:gd name="connsiteY622" fmla="*/ 299646 h 815526"/>
                <a:gd name="connsiteX623" fmla="*/ 728201 w 915678"/>
                <a:gd name="connsiteY623" fmla="*/ 299643 h 815526"/>
                <a:gd name="connsiteX624" fmla="*/ 765258 w 915678"/>
                <a:gd name="connsiteY624" fmla="*/ 266879 h 815526"/>
                <a:gd name="connsiteX625" fmla="*/ 757818 w 915678"/>
                <a:gd name="connsiteY625" fmla="*/ 266879 h 815526"/>
                <a:gd name="connsiteX626" fmla="*/ 757660 w 915678"/>
                <a:gd name="connsiteY626" fmla="*/ 274162 h 815526"/>
                <a:gd name="connsiteX627" fmla="*/ 757818 w 915678"/>
                <a:gd name="connsiteY627" fmla="*/ 274319 h 815526"/>
                <a:gd name="connsiteX628" fmla="*/ 765258 w 915678"/>
                <a:gd name="connsiteY628" fmla="*/ 274319 h 815526"/>
                <a:gd name="connsiteX629" fmla="*/ 765258 w 915678"/>
                <a:gd name="connsiteY629" fmla="*/ 266879 h 815526"/>
                <a:gd name="connsiteX630" fmla="*/ 802171 w 915678"/>
                <a:gd name="connsiteY630" fmla="*/ 234115 h 815526"/>
                <a:gd name="connsiteX631" fmla="*/ 795589 w 915678"/>
                <a:gd name="connsiteY631" fmla="*/ 234115 h 815526"/>
                <a:gd name="connsiteX632" fmla="*/ 795482 w 915678"/>
                <a:gd name="connsiteY632" fmla="*/ 240589 h 815526"/>
                <a:gd name="connsiteX633" fmla="*/ 795589 w 915678"/>
                <a:gd name="connsiteY633" fmla="*/ 240697 h 815526"/>
                <a:gd name="connsiteX634" fmla="*/ 802171 w 915678"/>
                <a:gd name="connsiteY634" fmla="*/ 240697 h 815526"/>
                <a:gd name="connsiteX635" fmla="*/ 802278 w 915678"/>
                <a:gd name="connsiteY635" fmla="*/ 234222 h 815526"/>
                <a:gd name="connsiteX636" fmla="*/ 802171 w 915678"/>
                <a:gd name="connsiteY636" fmla="*/ 234115 h 815526"/>
                <a:gd name="connsiteX637" fmla="*/ 839084 w 915678"/>
                <a:gd name="connsiteY637" fmla="*/ 201351 h 815526"/>
                <a:gd name="connsiteX638" fmla="*/ 833418 w 915678"/>
                <a:gd name="connsiteY638" fmla="*/ 201294 h 815526"/>
                <a:gd name="connsiteX639" fmla="*/ 833361 w 915678"/>
                <a:gd name="connsiteY639" fmla="*/ 201351 h 815526"/>
                <a:gd name="connsiteX640" fmla="*/ 833095 w 915678"/>
                <a:gd name="connsiteY640" fmla="*/ 206808 h 815526"/>
                <a:gd name="connsiteX641" fmla="*/ 833361 w 915678"/>
                <a:gd name="connsiteY641" fmla="*/ 207074 h 815526"/>
                <a:gd name="connsiteX642" fmla="*/ 839027 w 915678"/>
                <a:gd name="connsiteY642" fmla="*/ 207131 h 815526"/>
                <a:gd name="connsiteX643" fmla="*/ 839084 w 915678"/>
                <a:gd name="connsiteY643" fmla="*/ 207074 h 815526"/>
                <a:gd name="connsiteX644" fmla="*/ 839084 w 915678"/>
                <a:gd name="connsiteY644" fmla="*/ 201208 h 815526"/>
                <a:gd name="connsiteX645" fmla="*/ 874710 w 915678"/>
                <a:gd name="connsiteY645" fmla="*/ 166870 h 815526"/>
                <a:gd name="connsiteX646" fmla="*/ 869854 w 915678"/>
                <a:gd name="connsiteY646" fmla="*/ 166861 h 815526"/>
                <a:gd name="connsiteX647" fmla="*/ 869845 w 915678"/>
                <a:gd name="connsiteY647" fmla="*/ 166870 h 815526"/>
                <a:gd name="connsiteX648" fmla="*/ 869845 w 915678"/>
                <a:gd name="connsiteY648" fmla="*/ 171878 h 815526"/>
                <a:gd name="connsiteX649" fmla="*/ 874701 w 915678"/>
                <a:gd name="connsiteY649" fmla="*/ 171886 h 815526"/>
                <a:gd name="connsiteX650" fmla="*/ 874710 w 915678"/>
                <a:gd name="connsiteY650" fmla="*/ 171878 h 815526"/>
                <a:gd name="connsiteX651" fmla="*/ 874710 w 915678"/>
                <a:gd name="connsiteY651" fmla="*/ 166870 h 815526"/>
                <a:gd name="connsiteX652" fmla="*/ 911623 w 915678"/>
                <a:gd name="connsiteY652" fmla="*/ 134106 h 815526"/>
                <a:gd name="connsiteX653" fmla="*/ 907782 w 915678"/>
                <a:gd name="connsiteY653" fmla="*/ 133941 h 815526"/>
                <a:gd name="connsiteX654" fmla="*/ 907617 w 915678"/>
                <a:gd name="connsiteY654" fmla="*/ 134106 h 815526"/>
                <a:gd name="connsiteX655" fmla="*/ 906836 w 915678"/>
                <a:gd name="connsiteY655" fmla="*/ 138076 h 815526"/>
                <a:gd name="connsiteX656" fmla="*/ 910808 w 915678"/>
                <a:gd name="connsiteY656" fmla="*/ 138857 h 815526"/>
                <a:gd name="connsiteX657" fmla="*/ 911337 w 915678"/>
                <a:gd name="connsiteY657" fmla="*/ 138398 h 815526"/>
                <a:gd name="connsiteX658" fmla="*/ 911440 w 915678"/>
                <a:gd name="connsiteY658" fmla="*/ 134352 h 815526"/>
                <a:gd name="connsiteX659" fmla="*/ 911337 w 915678"/>
                <a:gd name="connsiteY659" fmla="*/ 134249 h 815526"/>
                <a:gd name="connsiteX660" fmla="*/ 521172 w 915678"/>
                <a:gd name="connsiteY660" fmla="*/ 438712 h 815526"/>
                <a:gd name="connsiteX661" fmla="*/ 508581 w 915678"/>
                <a:gd name="connsiteY661" fmla="*/ 437997 h 815526"/>
                <a:gd name="connsiteX662" fmla="*/ 507866 w 915678"/>
                <a:gd name="connsiteY662" fmla="*/ 450587 h 815526"/>
                <a:gd name="connsiteX663" fmla="*/ 520411 w 915678"/>
                <a:gd name="connsiteY663" fmla="*/ 450633 h 815526"/>
                <a:gd name="connsiteX664" fmla="*/ 520457 w 915678"/>
                <a:gd name="connsiteY664" fmla="*/ 450587 h 815526"/>
                <a:gd name="connsiteX665" fmla="*/ 521172 w 915678"/>
                <a:gd name="connsiteY665" fmla="*/ 437997 h 815526"/>
                <a:gd name="connsiteX666" fmla="*/ 558085 w 915678"/>
                <a:gd name="connsiteY666" fmla="*/ 405376 h 815526"/>
                <a:gd name="connsiteX667" fmla="*/ 546552 w 915678"/>
                <a:gd name="connsiteY667" fmla="*/ 405431 h 815526"/>
                <a:gd name="connsiteX668" fmla="*/ 546608 w 915678"/>
                <a:gd name="connsiteY668" fmla="*/ 416965 h 815526"/>
                <a:gd name="connsiteX669" fmla="*/ 558085 w 915678"/>
                <a:gd name="connsiteY669" fmla="*/ 416965 h 815526"/>
                <a:gd name="connsiteX670" fmla="*/ 558347 w 915678"/>
                <a:gd name="connsiteY670" fmla="*/ 405636 h 815526"/>
                <a:gd name="connsiteX671" fmla="*/ 558085 w 915678"/>
                <a:gd name="connsiteY671" fmla="*/ 405376 h 815526"/>
                <a:gd name="connsiteX672" fmla="*/ 595142 w 915678"/>
                <a:gd name="connsiteY672" fmla="*/ 372612 h 815526"/>
                <a:gd name="connsiteX673" fmla="*/ 584454 w 915678"/>
                <a:gd name="connsiteY673" fmla="*/ 371733 h 815526"/>
                <a:gd name="connsiteX674" fmla="*/ 584268 w 915678"/>
                <a:gd name="connsiteY674" fmla="*/ 371896 h 815526"/>
                <a:gd name="connsiteX675" fmla="*/ 584268 w 915678"/>
                <a:gd name="connsiteY675" fmla="*/ 382770 h 815526"/>
                <a:gd name="connsiteX676" fmla="*/ 595195 w 915678"/>
                <a:gd name="connsiteY676" fmla="*/ 382690 h 815526"/>
                <a:gd name="connsiteX677" fmla="*/ 595857 w 915678"/>
                <a:gd name="connsiteY677" fmla="*/ 372612 h 815526"/>
                <a:gd name="connsiteX678" fmla="*/ 632770 w 915678"/>
                <a:gd name="connsiteY678" fmla="*/ 339847 h 815526"/>
                <a:gd name="connsiteX679" fmla="*/ 622891 w 915678"/>
                <a:gd name="connsiteY679" fmla="*/ 339015 h 815526"/>
                <a:gd name="connsiteX680" fmla="*/ 622755 w 915678"/>
                <a:gd name="connsiteY680" fmla="*/ 339132 h 815526"/>
                <a:gd name="connsiteX681" fmla="*/ 622755 w 915678"/>
                <a:gd name="connsiteY681" fmla="*/ 349147 h 815526"/>
                <a:gd name="connsiteX682" fmla="*/ 632669 w 915678"/>
                <a:gd name="connsiteY682" fmla="*/ 349249 h 815526"/>
                <a:gd name="connsiteX683" fmla="*/ 632770 w 915678"/>
                <a:gd name="connsiteY683" fmla="*/ 349147 h 815526"/>
                <a:gd name="connsiteX684" fmla="*/ 632770 w 915678"/>
                <a:gd name="connsiteY684" fmla="*/ 339132 h 815526"/>
                <a:gd name="connsiteX685" fmla="*/ 669684 w 915678"/>
                <a:gd name="connsiteY685" fmla="*/ 306368 h 815526"/>
                <a:gd name="connsiteX686" fmla="*/ 660578 w 915678"/>
                <a:gd name="connsiteY686" fmla="*/ 306316 h 815526"/>
                <a:gd name="connsiteX687" fmla="*/ 660527 w 915678"/>
                <a:gd name="connsiteY687" fmla="*/ 306368 h 815526"/>
                <a:gd name="connsiteX688" fmla="*/ 660377 w 915678"/>
                <a:gd name="connsiteY688" fmla="*/ 315675 h 815526"/>
                <a:gd name="connsiteX689" fmla="*/ 669684 w 915678"/>
                <a:gd name="connsiteY689" fmla="*/ 315824 h 815526"/>
                <a:gd name="connsiteX690" fmla="*/ 669834 w 915678"/>
                <a:gd name="connsiteY690" fmla="*/ 306518 h 815526"/>
                <a:gd name="connsiteX691" fmla="*/ 669684 w 915678"/>
                <a:gd name="connsiteY691" fmla="*/ 306368 h 815526"/>
                <a:gd name="connsiteX692" fmla="*/ 706740 w 915678"/>
                <a:gd name="connsiteY692" fmla="*/ 273604 h 815526"/>
                <a:gd name="connsiteX693" fmla="*/ 698445 w 915678"/>
                <a:gd name="connsiteY693" fmla="*/ 273607 h 815526"/>
                <a:gd name="connsiteX694" fmla="*/ 698446 w 915678"/>
                <a:gd name="connsiteY694" fmla="*/ 281902 h 815526"/>
                <a:gd name="connsiteX695" fmla="*/ 706740 w 915678"/>
                <a:gd name="connsiteY695" fmla="*/ 281902 h 815526"/>
                <a:gd name="connsiteX696" fmla="*/ 706743 w 915678"/>
                <a:gd name="connsiteY696" fmla="*/ 273607 h 815526"/>
                <a:gd name="connsiteX697" fmla="*/ 706740 w 915678"/>
                <a:gd name="connsiteY697" fmla="*/ 273604 h 815526"/>
                <a:gd name="connsiteX698" fmla="*/ 742509 w 915678"/>
                <a:gd name="connsiteY698" fmla="*/ 242127 h 815526"/>
                <a:gd name="connsiteX699" fmla="*/ 735110 w 915678"/>
                <a:gd name="connsiteY699" fmla="*/ 240984 h 815526"/>
                <a:gd name="connsiteX700" fmla="*/ 733967 w 915678"/>
                <a:gd name="connsiteY700" fmla="*/ 248383 h 815526"/>
                <a:gd name="connsiteX701" fmla="*/ 734640 w 915678"/>
                <a:gd name="connsiteY701" fmla="*/ 249138 h 815526"/>
                <a:gd name="connsiteX702" fmla="*/ 742080 w 915678"/>
                <a:gd name="connsiteY702" fmla="*/ 249138 h 815526"/>
                <a:gd name="connsiteX703" fmla="*/ 742080 w 915678"/>
                <a:gd name="connsiteY703" fmla="*/ 241698 h 815526"/>
                <a:gd name="connsiteX704" fmla="*/ 779851 w 915678"/>
                <a:gd name="connsiteY704" fmla="*/ 209792 h 815526"/>
                <a:gd name="connsiteX705" fmla="*/ 773377 w 915678"/>
                <a:gd name="connsiteY705" fmla="*/ 209685 h 815526"/>
                <a:gd name="connsiteX706" fmla="*/ 773270 w 915678"/>
                <a:gd name="connsiteY706" fmla="*/ 209792 h 815526"/>
                <a:gd name="connsiteX707" fmla="*/ 773270 w 915678"/>
                <a:gd name="connsiteY707" fmla="*/ 216374 h 815526"/>
                <a:gd name="connsiteX708" fmla="*/ 779744 w 915678"/>
                <a:gd name="connsiteY708" fmla="*/ 216481 h 815526"/>
                <a:gd name="connsiteX709" fmla="*/ 779851 w 915678"/>
                <a:gd name="connsiteY709" fmla="*/ 216374 h 815526"/>
                <a:gd name="connsiteX710" fmla="*/ 779851 w 915678"/>
                <a:gd name="connsiteY710" fmla="*/ 209792 h 815526"/>
                <a:gd name="connsiteX711" fmla="*/ 816908 w 915678"/>
                <a:gd name="connsiteY711" fmla="*/ 177028 h 815526"/>
                <a:gd name="connsiteX712" fmla="*/ 811242 w 915678"/>
                <a:gd name="connsiteY712" fmla="*/ 176971 h 815526"/>
                <a:gd name="connsiteX713" fmla="*/ 811185 w 915678"/>
                <a:gd name="connsiteY713" fmla="*/ 177028 h 815526"/>
                <a:gd name="connsiteX714" fmla="*/ 811127 w 915678"/>
                <a:gd name="connsiteY714" fmla="*/ 182694 h 815526"/>
                <a:gd name="connsiteX715" fmla="*/ 811185 w 915678"/>
                <a:gd name="connsiteY715" fmla="*/ 182751 h 815526"/>
                <a:gd name="connsiteX716" fmla="*/ 816850 w 915678"/>
                <a:gd name="connsiteY716" fmla="*/ 182808 h 815526"/>
                <a:gd name="connsiteX717" fmla="*/ 816908 w 915678"/>
                <a:gd name="connsiteY717" fmla="*/ 182751 h 815526"/>
                <a:gd name="connsiteX718" fmla="*/ 816965 w 915678"/>
                <a:gd name="connsiteY718" fmla="*/ 177085 h 815526"/>
                <a:gd name="connsiteX719" fmla="*/ 816908 w 915678"/>
                <a:gd name="connsiteY719" fmla="*/ 177028 h 815526"/>
                <a:gd name="connsiteX720" fmla="*/ 853821 w 915678"/>
                <a:gd name="connsiteY720" fmla="*/ 144264 h 815526"/>
                <a:gd name="connsiteX721" fmla="*/ 848965 w 915678"/>
                <a:gd name="connsiteY721" fmla="*/ 144273 h 815526"/>
                <a:gd name="connsiteX722" fmla="*/ 848974 w 915678"/>
                <a:gd name="connsiteY722" fmla="*/ 149129 h 815526"/>
                <a:gd name="connsiteX723" fmla="*/ 853821 w 915678"/>
                <a:gd name="connsiteY723" fmla="*/ 149129 h 815526"/>
                <a:gd name="connsiteX724" fmla="*/ 853830 w 915678"/>
                <a:gd name="connsiteY724" fmla="*/ 144273 h 815526"/>
                <a:gd name="connsiteX725" fmla="*/ 853821 w 915678"/>
                <a:gd name="connsiteY725" fmla="*/ 144264 h 815526"/>
                <a:gd name="connsiteX726" fmla="*/ 890734 w 915678"/>
                <a:gd name="connsiteY726" fmla="*/ 111500 h 815526"/>
                <a:gd name="connsiteX727" fmla="*/ 886728 w 915678"/>
                <a:gd name="connsiteY727" fmla="*/ 111500 h 815526"/>
                <a:gd name="connsiteX728" fmla="*/ 886728 w 915678"/>
                <a:gd name="connsiteY728" fmla="*/ 115649 h 815526"/>
                <a:gd name="connsiteX729" fmla="*/ 890877 w 915678"/>
                <a:gd name="connsiteY729" fmla="*/ 115649 h 815526"/>
                <a:gd name="connsiteX730" fmla="*/ 891043 w 915678"/>
                <a:gd name="connsiteY730" fmla="*/ 111808 h 815526"/>
                <a:gd name="connsiteX731" fmla="*/ 890877 w 915678"/>
                <a:gd name="connsiteY731" fmla="*/ 111643 h 815526"/>
                <a:gd name="connsiteX732" fmla="*/ 500283 w 915678"/>
                <a:gd name="connsiteY732" fmla="*/ 415105 h 815526"/>
                <a:gd name="connsiteX733" fmla="*/ 487969 w 915678"/>
                <a:gd name="connsiteY733" fmla="*/ 414271 h 815526"/>
                <a:gd name="connsiteX734" fmla="*/ 487836 w 915678"/>
                <a:gd name="connsiteY734" fmla="*/ 414389 h 815526"/>
                <a:gd name="connsiteX735" fmla="*/ 486907 w 915678"/>
                <a:gd name="connsiteY735" fmla="*/ 426900 h 815526"/>
                <a:gd name="connsiteX736" fmla="*/ 486977 w 915678"/>
                <a:gd name="connsiteY736" fmla="*/ 426980 h 815526"/>
                <a:gd name="connsiteX737" fmla="*/ 499568 w 915678"/>
                <a:gd name="connsiteY737" fmla="*/ 426980 h 815526"/>
                <a:gd name="connsiteX738" fmla="*/ 499613 w 915678"/>
                <a:gd name="connsiteY738" fmla="*/ 414435 h 815526"/>
                <a:gd name="connsiteX739" fmla="*/ 499568 w 915678"/>
                <a:gd name="connsiteY739" fmla="*/ 414389 h 815526"/>
                <a:gd name="connsiteX740" fmla="*/ 536624 w 915678"/>
                <a:gd name="connsiteY740" fmla="*/ 381625 h 815526"/>
                <a:gd name="connsiteX741" fmla="*/ 524889 w 915678"/>
                <a:gd name="connsiteY741" fmla="*/ 381622 h 815526"/>
                <a:gd name="connsiteX742" fmla="*/ 524885 w 915678"/>
                <a:gd name="connsiteY742" fmla="*/ 393357 h 815526"/>
                <a:gd name="connsiteX743" fmla="*/ 536621 w 915678"/>
                <a:gd name="connsiteY743" fmla="*/ 393360 h 815526"/>
                <a:gd name="connsiteX744" fmla="*/ 536624 w 915678"/>
                <a:gd name="connsiteY744" fmla="*/ 393357 h 815526"/>
                <a:gd name="connsiteX745" fmla="*/ 536624 w 915678"/>
                <a:gd name="connsiteY745" fmla="*/ 381625 h 815526"/>
                <a:gd name="connsiteX746" fmla="*/ 573537 w 915678"/>
                <a:gd name="connsiteY746" fmla="*/ 348861 h 815526"/>
                <a:gd name="connsiteX747" fmla="*/ 562664 w 915678"/>
                <a:gd name="connsiteY747" fmla="*/ 348861 h 815526"/>
                <a:gd name="connsiteX748" fmla="*/ 562657 w 915678"/>
                <a:gd name="connsiteY748" fmla="*/ 359585 h 815526"/>
                <a:gd name="connsiteX749" fmla="*/ 562664 w 915678"/>
                <a:gd name="connsiteY749" fmla="*/ 359592 h 815526"/>
                <a:gd name="connsiteX750" fmla="*/ 573144 w 915678"/>
                <a:gd name="connsiteY750" fmla="*/ 360526 h 815526"/>
                <a:gd name="connsiteX751" fmla="*/ 573394 w 915678"/>
                <a:gd name="connsiteY751" fmla="*/ 360307 h 815526"/>
                <a:gd name="connsiteX752" fmla="*/ 574273 w 915678"/>
                <a:gd name="connsiteY752" fmla="*/ 349619 h 815526"/>
                <a:gd name="connsiteX753" fmla="*/ 574110 w 915678"/>
                <a:gd name="connsiteY753" fmla="*/ 349433 h 815526"/>
                <a:gd name="connsiteX754" fmla="*/ 611023 w 915678"/>
                <a:gd name="connsiteY754" fmla="*/ 316669 h 815526"/>
                <a:gd name="connsiteX755" fmla="*/ 600906 w 915678"/>
                <a:gd name="connsiteY755" fmla="*/ 316568 h 815526"/>
                <a:gd name="connsiteX756" fmla="*/ 600806 w 915678"/>
                <a:gd name="connsiteY756" fmla="*/ 326684 h 815526"/>
                <a:gd name="connsiteX757" fmla="*/ 610921 w 915678"/>
                <a:gd name="connsiteY757" fmla="*/ 326786 h 815526"/>
                <a:gd name="connsiteX758" fmla="*/ 611023 w 915678"/>
                <a:gd name="connsiteY758" fmla="*/ 326684 h 815526"/>
                <a:gd name="connsiteX759" fmla="*/ 611125 w 915678"/>
                <a:gd name="connsiteY759" fmla="*/ 316771 h 815526"/>
                <a:gd name="connsiteX760" fmla="*/ 611023 w 915678"/>
                <a:gd name="connsiteY760" fmla="*/ 316669 h 815526"/>
                <a:gd name="connsiteX761" fmla="*/ 648079 w 915678"/>
                <a:gd name="connsiteY761" fmla="*/ 283905 h 815526"/>
                <a:gd name="connsiteX762" fmla="*/ 638923 w 915678"/>
                <a:gd name="connsiteY762" fmla="*/ 283905 h 815526"/>
                <a:gd name="connsiteX763" fmla="*/ 638350 w 915678"/>
                <a:gd name="connsiteY763" fmla="*/ 293062 h 815526"/>
                <a:gd name="connsiteX764" fmla="*/ 647507 w 915678"/>
                <a:gd name="connsiteY764" fmla="*/ 293634 h 815526"/>
                <a:gd name="connsiteX765" fmla="*/ 647507 w 915678"/>
                <a:gd name="connsiteY765" fmla="*/ 284477 h 815526"/>
                <a:gd name="connsiteX766" fmla="*/ 685279 w 915678"/>
                <a:gd name="connsiteY766" fmla="*/ 251284 h 815526"/>
                <a:gd name="connsiteX767" fmla="*/ 676909 w 915678"/>
                <a:gd name="connsiteY767" fmla="*/ 250783 h 815526"/>
                <a:gd name="connsiteX768" fmla="*/ 676408 w 915678"/>
                <a:gd name="connsiteY768" fmla="*/ 259153 h 815526"/>
                <a:gd name="connsiteX769" fmla="*/ 684850 w 915678"/>
                <a:gd name="connsiteY769" fmla="*/ 259153 h 815526"/>
                <a:gd name="connsiteX770" fmla="*/ 684852 w 915678"/>
                <a:gd name="connsiteY770" fmla="*/ 250858 h 815526"/>
                <a:gd name="connsiteX771" fmla="*/ 684850 w 915678"/>
                <a:gd name="connsiteY771" fmla="*/ 250855 h 815526"/>
                <a:gd name="connsiteX772" fmla="*/ 721763 w 915678"/>
                <a:gd name="connsiteY772" fmla="*/ 218091 h 815526"/>
                <a:gd name="connsiteX773" fmla="*/ 714365 w 915678"/>
                <a:gd name="connsiteY773" fmla="*/ 216948 h 815526"/>
                <a:gd name="connsiteX774" fmla="*/ 713221 w 915678"/>
                <a:gd name="connsiteY774" fmla="*/ 224346 h 815526"/>
                <a:gd name="connsiteX775" fmla="*/ 713894 w 915678"/>
                <a:gd name="connsiteY775" fmla="*/ 225101 h 815526"/>
                <a:gd name="connsiteX776" fmla="*/ 721292 w 915678"/>
                <a:gd name="connsiteY776" fmla="*/ 226245 h 815526"/>
                <a:gd name="connsiteX777" fmla="*/ 722435 w 915678"/>
                <a:gd name="connsiteY777" fmla="*/ 218846 h 815526"/>
                <a:gd name="connsiteX778" fmla="*/ 721763 w 915678"/>
                <a:gd name="connsiteY778" fmla="*/ 218091 h 815526"/>
                <a:gd name="connsiteX779" fmla="*/ 758819 w 915678"/>
                <a:gd name="connsiteY779" fmla="*/ 185327 h 815526"/>
                <a:gd name="connsiteX780" fmla="*/ 752238 w 915678"/>
                <a:gd name="connsiteY780" fmla="*/ 185327 h 815526"/>
                <a:gd name="connsiteX781" fmla="*/ 752131 w 915678"/>
                <a:gd name="connsiteY781" fmla="*/ 191801 h 815526"/>
                <a:gd name="connsiteX782" fmla="*/ 752238 w 915678"/>
                <a:gd name="connsiteY782" fmla="*/ 191908 h 815526"/>
                <a:gd name="connsiteX783" fmla="*/ 758819 w 915678"/>
                <a:gd name="connsiteY783" fmla="*/ 191908 h 815526"/>
                <a:gd name="connsiteX784" fmla="*/ 758819 w 915678"/>
                <a:gd name="connsiteY784" fmla="*/ 185184 h 815526"/>
                <a:gd name="connsiteX785" fmla="*/ 796019 w 915678"/>
                <a:gd name="connsiteY785" fmla="*/ 152562 h 815526"/>
                <a:gd name="connsiteX786" fmla="*/ 790296 w 915678"/>
                <a:gd name="connsiteY786" fmla="*/ 152133 h 815526"/>
                <a:gd name="connsiteX787" fmla="*/ 789866 w 915678"/>
                <a:gd name="connsiteY787" fmla="*/ 157856 h 815526"/>
                <a:gd name="connsiteX788" fmla="*/ 795733 w 915678"/>
                <a:gd name="connsiteY788" fmla="*/ 157856 h 815526"/>
                <a:gd name="connsiteX789" fmla="*/ 795790 w 915678"/>
                <a:gd name="connsiteY789" fmla="*/ 152190 h 815526"/>
                <a:gd name="connsiteX790" fmla="*/ 795733 w 915678"/>
                <a:gd name="connsiteY790" fmla="*/ 152133 h 815526"/>
                <a:gd name="connsiteX791" fmla="*/ 832646 w 915678"/>
                <a:gd name="connsiteY791" fmla="*/ 119369 h 815526"/>
                <a:gd name="connsiteX792" fmla="*/ 827790 w 915678"/>
                <a:gd name="connsiteY792" fmla="*/ 119378 h 815526"/>
                <a:gd name="connsiteX793" fmla="*/ 827798 w 915678"/>
                <a:gd name="connsiteY793" fmla="*/ 124234 h 815526"/>
                <a:gd name="connsiteX794" fmla="*/ 832646 w 915678"/>
                <a:gd name="connsiteY794" fmla="*/ 124234 h 815526"/>
                <a:gd name="connsiteX795" fmla="*/ 832654 w 915678"/>
                <a:gd name="connsiteY795" fmla="*/ 119378 h 815526"/>
                <a:gd name="connsiteX796" fmla="*/ 832646 w 915678"/>
                <a:gd name="connsiteY796" fmla="*/ 119369 h 815526"/>
                <a:gd name="connsiteX797" fmla="*/ 869702 w 915678"/>
                <a:gd name="connsiteY797" fmla="*/ 86605 h 815526"/>
                <a:gd name="connsiteX798" fmla="*/ 865553 w 915678"/>
                <a:gd name="connsiteY798" fmla="*/ 86605 h 815526"/>
                <a:gd name="connsiteX799" fmla="*/ 865338 w 915678"/>
                <a:gd name="connsiteY799" fmla="*/ 90683 h 815526"/>
                <a:gd name="connsiteX800" fmla="*/ 869416 w 915678"/>
                <a:gd name="connsiteY800" fmla="*/ 90897 h 815526"/>
                <a:gd name="connsiteX801" fmla="*/ 869416 w 915678"/>
                <a:gd name="connsiteY801" fmla="*/ 86891 h 8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Lst>
              <a:rect l="l" t="t" r="r" b="b"/>
              <a:pathLst>
                <a:path w="915678" h="815526">
                  <a:moveTo>
                    <a:pt x="427744" y="436995"/>
                  </a:moveTo>
                  <a:cubicBezTo>
                    <a:pt x="424465" y="433321"/>
                    <a:pt x="424785" y="427684"/>
                    <a:pt x="428460" y="424405"/>
                  </a:cubicBezTo>
                  <a:cubicBezTo>
                    <a:pt x="432134" y="421125"/>
                    <a:pt x="437771" y="421446"/>
                    <a:pt x="441050" y="425120"/>
                  </a:cubicBezTo>
                  <a:cubicBezTo>
                    <a:pt x="444329" y="428794"/>
                    <a:pt x="444009" y="434431"/>
                    <a:pt x="440335" y="437711"/>
                  </a:cubicBezTo>
                  <a:cubicBezTo>
                    <a:pt x="436661" y="440990"/>
                    <a:pt x="431023" y="440669"/>
                    <a:pt x="427744" y="436995"/>
                  </a:cubicBezTo>
                  <a:moveTo>
                    <a:pt x="390688" y="469759"/>
                  </a:moveTo>
                  <a:cubicBezTo>
                    <a:pt x="393927" y="473001"/>
                    <a:pt x="399182" y="473003"/>
                    <a:pt x="402423" y="469762"/>
                  </a:cubicBezTo>
                  <a:cubicBezTo>
                    <a:pt x="405665" y="466523"/>
                    <a:pt x="405666" y="461269"/>
                    <a:pt x="402427" y="458027"/>
                  </a:cubicBezTo>
                  <a:cubicBezTo>
                    <a:pt x="399188" y="454785"/>
                    <a:pt x="393933" y="454784"/>
                    <a:pt x="390691" y="458024"/>
                  </a:cubicBezTo>
                  <a:cubicBezTo>
                    <a:pt x="390691" y="458024"/>
                    <a:pt x="390689" y="458026"/>
                    <a:pt x="390688" y="458027"/>
                  </a:cubicBezTo>
                  <a:cubicBezTo>
                    <a:pt x="387450" y="461268"/>
                    <a:pt x="387450" y="466519"/>
                    <a:pt x="390688" y="469759"/>
                  </a:cubicBezTo>
                  <a:moveTo>
                    <a:pt x="353774" y="502523"/>
                  </a:moveTo>
                  <a:cubicBezTo>
                    <a:pt x="356786" y="505505"/>
                    <a:pt x="361636" y="505505"/>
                    <a:pt x="364648" y="502523"/>
                  </a:cubicBezTo>
                  <a:cubicBezTo>
                    <a:pt x="367555" y="499482"/>
                    <a:pt x="367555" y="494692"/>
                    <a:pt x="364648" y="491650"/>
                  </a:cubicBezTo>
                  <a:cubicBezTo>
                    <a:pt x="361636" y="488668"/>
                    <a:pt x="356786" y="488668"/>
                    <a:pt x="353774" y="491650"/>
                  </a:cubicBezTo>
                  <a:cubicBezTo>
                    <a:pt x="350581" y="494358"/>
                    <a:pt x="350188" y="499144"/>
                    <a:pt x="352896" y="502337"/>
                  </a:cubicBezTo>
                  <a:cubicBezTo>
                    <a:pt x="352949" y="502400"/>
                    <a:pt x="353003" y="502462"/>
                    <a:pt x="353059" y="502523"/>
                  </a:cubicBezTo>
                  <a:moveTo>
                    <a:pt x="316146" y="535145"/>
                  </a:moveTo>
                  <a:cubicBezTo>
                    <a:pt x="318856" y="537910"/>
                    <a:pt x="323294" y="537956"/>
                    <a:pt x="326059" y="535246"/>
                  </a:cubicBezTo>
                  <a:cubicBezTo>
                    <a:pt x="326094" y="535212"/>
                    <a:pt x="326128" y="535179"/>
                    <a:pt x="326161" y="535145"/>
                  </a:cubicBezTo>
                  <a:cubicBezTo>
                    <a:pt x="328888" y="532363"/>
                    <a:pt x="328888" y="527911"/>
                    <a:pt x="326161" y="525129"/>
                  </a:cubicBezTo>
                  <a:cubicBezTo>
                    <a:pt x="323593" y="522206"/>
                    <a:pt x="319140" y="521917"/>
                    <a:pt x="316217" y="524485"/>
                  </a:cubicBezTo>
                  <a:cubicBezTo>
                    <a:pt x="313294" y="527054"/>
                    <a:pt x="313005" y="531506"/>
                    <a:pt x="315573" y="534429"/>
                  </a:cubicBezTo>
                  <a:moveTo>
                    <a:pt x="280377" y="567479"/>
                  </a:moveTo>
                  <a:cubicBezTo>
                    <a:pt x="282748" y="570166"/>
                    <a:pt x="286847" y="570422"/>
                    <a:pt x="289534" y="568052"/>
                  </a:cubicBezTo>
                  <a:cubicBezTo>
                    <a:pt x="292221" y="565681"/>
                    <a:pt x="292477" y="561582"/>
                    <a:pt x="290106" y="558895"/>
                  </a:cubicBezTo>
                  <a:cubicBezTo>
                    <a:pt x="287735" y="556208"/>
                    <a:pt x="283636" y="555952"/>
                    <a:pt x="280949" y="558323"/>
                  </a:cubicBezTo>
                  <a:cubicBezTo>
                    <a:pt x="278262" y="560693"/>
                    <a:pt x="278006" y="564792"/>
                    <a:pt x="280377" y="567479"/>
                  </a:cubicBezTo>
                  <a:moveTo>
                    <a:pt x="243464" y="600244"/>
                  </a:moveTo>
                  <a:cubicBezTo>
                    <a:pt x="245756" y="602534"/>
                    <a:pt x="249470" y="602533"/>
                    <a:pt x="251759" y="600241"/>
                  </a:cubicBezTo>
                  <a:cubicBezTo>
                    <a:pt x="254050" y="597950"/>
                    <a:pt x="254048" y="594236"/>
                    <a:pt x="251758" y="591945"/>
                  </a:cubicBezTo>
                  <a:cubicBezTo>
                    <a:pt x="249467" y="589656"/>
                    <a:pt x="245754" y="589656"/>
                    <a:pt x="243464" y="591945"/>
                  </a:cubicBezTo>
                  <a:cubicBezTo>
                    <a:pt x="241172" y="594236"/>
                    <a:pt x="241172" y="597950"/>
                    <a:pt x="243461" y="600241"/>
                  </a:cubicBezTo>
                  <a:cubicBezTo>
                    <a:pt x="243462" y="600242"/>
                    <a:pt x="243462" y="600242"/>
                    <a:pt x="243464" y="600244"/>
                  </a:cubicBezTo>
                  <a:moveTo>
                    <a:pt x="206551" y="633008"/>
                  </a:moveTo>
                  <a:cubicBezTo>
                    <a:pt x="208518" y="635062"/>
                    <a:pt x="211778" y="635132"/>
                    <a:pt x="213833" y="633165"/>
                  </a:cubicBezTo>
                  <a:cubicBezTo>
                    <a:pt x="213886" y="633114"/>
                    <a:pt x="213939" y="633061"/>
                    <a:pt x="213990" y="633008"/>
                  </a:cubicBezTo>
                  <a:cubicBezTo>
                    <a:pt x="216350" y="631281"/>
                    <a:pt x="216860" y="627967"/>
                    <a:pt x="215134" y="625609"/>
                  </a:cubicBezTo>
                  <a:cubicBezTo>
                    <a:pt x="213407" y="623250"/>
                    <a:pt x="210094" y="622738"/>
                    <a:pt x="207735" y="624466"/>
                  </a:cubicBezTo>
                  <a:cubicBezTo>
                    <a:pt x="207462" y="624665"/>
                    <a:pt x="207210" y="624891"/>
                    <a:pt x="206980" y="625139"/>
                  </a:cubicBezTo>
                  <a:cubicBezTo>
                    <a:pt x="204944" y="627200"/>
                    <a:pt x="204944" y="630517"/>
                    <a:pt x="206980" y="632578"/>
                  </a:cubicBezTo>
                  <a:moveTo>
                    <a:pt x="170209" y="666201"/>
                  </a:moveTo>
                  <a:cubicBezTo>
                    <a:pt x="172027" y="668071"/>
                    <a:pt x="175015" y="668114"/>
                    <a:pt x="176885" y="666295"/>
                  </a:cubicBezTo>
                  <a:cubicBezTo>
                    <a:pt x="178755" y="664478"/>
                    <a:pt x="178798" y="661490"/>
                    <a:pt x="176981" y="659620"/>
                  </a:cubicBezTo>
                  <a:cubicBezTo>
                    <a:pt x="175164" y="657750"/>
                    <a:pt x="172174" y="657707"/>
                    <a:pt x="170304" y="659525"/>
                  </a:cubicBezTo>
                  <a:cubicBezTo>
                    <a:pt x="170272" y="659555"/>
                    <a:pt x="170241" y="659588"/>
                    <a:pt x="170209" y="659620"/>
                  </a:cubicBezTo>
                  <a:cubicBezTo>
                    <a:pt x="168428" y="661452"/>
                    <a:pt x="168428" y="664368"/>
                    <a:pt x="170209" y="666201"/>
                  </a:cubicBezTo>
                  <a:moveTo>
                    <a:pt x="133296" y="698965"/>
                  </a:moveTo>
                  <a:cubicBezTo>
                    <a:pt x="134844" y="700546"/>
                    <a:pt x="137381" y="700572"/>
                    <a:pt x="138962" y="699022"/>
                  </a:cubicBezTo>
                  <a:cubicBezTo>
                    <a:pt x="138981" y="699004"/>
                    <a:pt x="139001" y="698985"/>
                    <a:pt x="139019" y="698965"/>
                  </a:cubicBezTo>
                  <a:cubicBezTo>
                    <a:pt x="140939" y="697713"/>
                    <a:pt x="141480" y="695142"/>
                    <a:pt x="140228" y="693224"/>
                  </a:cubicBezTo>
                  <a:cubicBezTo>
                    <a:pt x="138976" y="691304"/>
                    <a:pt x="136405" y="690763"/>
                    <a:pt x="134485" y="692015"/>
                  </a:cubicBezTo>
                  <a:cubicBezTo>
                    <a:pt x="134147" y="692235"/>
                    <a:pt x="133843" y="692504"/>
                    <a:pt x="133582" y="692813"/>
                  </a:cubicBezTo>
                  <a:cubicBezTo>
                    <a:pt x="132056" y="694415"/>
                    <a:pt x="132056" y="696933"/>
                    <a:pt x="133582" y="698536"/>
                  </a:cubicBezTo>
                  <a:moveTo>
                    <a:pt x="96669" y="731300"/>
                  </a:moveTo>
                  <a:cubicBezTo>
                    <a:pt x="98013" y="732639"/>
                    <a:pt x="100186" y="732635"/>
                    <a:pt x="101525" y="731291"/>
                  </a:cubicBezTo>
                  <a:cubicBezTo>
                    <a:pt x="102864" y="729948"/>
                    <a:pt x="102860" y="727775"/>
                    <a:pt x="101516" y="726436"/>
                  </a:cubicBezTo>
                  <a:cubicBezTo>
                    <a:pt x="100177" y="725101"/>
                    <a:pt x="98010" y="725101"/>
                    <a:pt x="96669" y="726436"/>
                  </a:cubicBezTo>
                  <a:cubicBezTo>
                    <a:pt x="95326" y="727775"/>
                    <a:pt x="95321" y="729948"/>
                    <a:pt x="96660" y="731291"/>
                  </a:cubicBezTo>
                  <a:cubicBezTo>
                    <a:pt x="96663" y="731294"/>
                    <a:pt x="96666" y="731297"/>
                    <a:pt x="96669" y="731300"/>
                  </a:cubicBezTo>
                  <a:moveTo>
                    <a:pt x="58611" y="764493"/>
                  </a:moveTo>
                  <a:cubicBezTo>
                    <a:pt x="59799" y="765534"/>
                    <a:pt x="61573" y="765534"/>
                    <a:pt x="62760" y="764493"/>
                  </a:cubicBezTo>
                  <a:cubicBezTo>
                    <a:pt x="63869" y="763333"/>
                    <a:pt x="63869" y="761505"/>
                    <a:pt x="62760" y="760344"/>
                  </a:cubicBezTo>
                  <a:cubicBezTo>
                    <a:pt x="61746" y="759238"/>
                    <a:pt x="60026" y="759164"/>
                    <a:pt x="58919" y="760178"/>
                  </a:cubicBezTo>
                  <a:cubicBezTo>
                    <a:pt x="58862" y="760231"/>
                    <a:pt x="58807" y="760287"/>
                    <a:pt x="58754" y="760344"/>
                  </a:cubicBezTo>
                  <a:cubicBezTo>
                    <a:pt x="57664" y="761457"/>
                    <a:pt x="57664" y="763237"/>
                    <a:pt x="58754" y="764350"/>
                  </a:cubicBezTo>
                  <a:moveTo>
                    <a:pt x="407428" y="413388"/>
                  </a:moveTo>
                  <a:cubicBezTo>
                    <a:pt x="410691" y="417055"/>
                    <a:pt x="416288" y="417435"/>
                    <a:pt x="420018" y="414246"/>
                  </a:cubicBezTo>
                  <a:cubicBezTo>
                    <a:pt x="423495" y="410795"/>
                    <a:pt x="423515" y="405178"/>
                    <a:pt x="420064" y="401701"/>
                  </a:cubicBezTo>
                  <a:cubicBezTo>
                    <a:pt x="420048" y="401686"/>
                    <a:pt x="420034" y="401671"/>
                    <a:pt x="420018" y="401656"/>
                  </a:cubicBezTo>
                  <a:cubicBezTo>
                    <a:pt x="416830" y="397936"/>
                    <a:pt x="411229" y="397505"/>
                    <a:pt x="407511" y="400694"/>
                  </a:cubicBezTo>
                  <a:cubicBezTo>
                    <a:pt x="403791" y="403882"/>
                    <a:pt x="403360" y="409482"/>
                    <a:pt x="406548" y="413202"/>
                  </a:cubicBezTo>
                  <a:cubicBezTo>
                    <a:pt x="406602" y="413265"/>
                    <a:pt x="406656" y="413326"/>
                    <a:pt x="406712" y="413388"/>
                  </a:cubicBezTo>
                  <a:moveTo>
                    <a:pt x="370514" y="446152"/>
                  </a:moveTo>
                  <a:cubicBezTo>
                    <a:pt x="373753" y="449394"/>
                    <a:pt x="379009" y="449395"/>
                    <a:pt x="382249" y="446155"/>
                  </a:cubicBezTo>
                  <a:cubicBezTo>
                    <a:pt x="385491" y="442916"/>
                    <a:pt x="385493" y="437662"/>
                    <a:pt x="382254" y="434420"/>
                  </a:cubicBezTo>
                  <a:cubicBezTo>
                    <a:pt x="379014" y="431178"/>
                    <a:pt x="373759" y="431176"/>
                    <a:pt x="370517" y="434417"/>
                  </a:cubicBezTo>
                  <a:cubicBezTo>
                    <a:pt x="370517" y="434417"/>
                    <a:pt x="370516" y="434418"/>
                    <a:pt x="370514" y="434420"/>
                  </a:cubicBezTo>
                  <a:cubicBezTo>
                    <a:pt x="367276" y="437660"/>
                    <a:pt x="367276" y="442911"/>
                    <a:pt x="370514" y="446152"/>
                  </a:cubicBezTo>
                  <a:moveTo>
                    <a:pt x="333458" y="478916"/>
                  </a:moveTo>
                  <a:cubicBezTo>
                    <a:pt x="336500" y="481823"/>
                    <a:pt x="341290" y="481823"/>
                    <a:pt x="344332" y="478916"/>
                  </a:cubicBezTo>
                  <a:cubicBezTo>
                    <a:pt x="347313" y="475904"/>
                    <a:pt x="347313" y="471054"/>
                    <a:pt x="344332" y="468042"/>
                  </a:cubicBezTo>
                  <a:cubicBezTo>
                    <a:pt x="341760" y="464637"/>
                    <a:pt x="336916" y="463961"/>
                    <a:pt x="333511" y="466532"/>
                  </a:cubicBezTo>
                  <a:cubicBezTo>
                    <a:pt x="330104" y="469104"/>
                    <a:pt x="329429" y="473949"/>
                    <a:pt x="332000" y="477354"/>
                  </a:cubicBezTo>
                  <a:cubicBezTo>
                    <a:pt x="332226" y="477654"/>
                    <a:pt x="332475" y="477937"/>
                    <a:pt x="332742" y="478201"/>
                  </a:cubicBezTo>
                  <a:moveTo>
                    <a:pt x="296545" y="511680"/>
                  </a:moveTo>
                  <a:cubicBezTo>
                    <a:pt x="299254" y="514446"/>
                    <a:pt x="303693" y="514492"/>
                    <a:pt x="306458" y="511782"/>
                  </a:cubicBezTo>
                  <a:cubicBezTo>
                    <a:pt x="306493" y="511747"/>
                    <a:pt x="306527" y="511715"/>
                    <a:pt x="306560" y="511680"/>
                  </a:cubicBezTo>
                  <a:cubicBezTo>
                    <a:pt x="309381" y="508915"/>
                    <a:pt x="309427" y="504385"/>
                    <a:pt x="306661" y="501563"/>
                  </a:cubicBezTo>
                  <a:cubicBezTo>
                    <a:pt x="303896" y="498742"/>
                    <a:pt x="299366" y="498698"/>
                    <a:pt x="296545" y="501463"/>
                  </a:cubicBezTo>
                  <a:cubicBezTo>
                    <a:pt x="293723" y="504229"/>
                    <a:pt x="293677" y="508757"/>
                    <a:pt x="296443" y="511579"/>
                  </a:cubicBezTo>
                  <a:cubicBezTo>
                    <a:pt x="296477" y="511613"/>
                    <a:pt x="296510" y="511647"/>
                    <a:pt x="296545" y="511680"/>
                  </a:cubicBezTo>
                  <a:moveTo>
                    <a:pt x="259631" y="544444"/>
                  </a:moveTo>
                  <a:cubicBezTo>
                    <a:pt x="262184" y="546915"/>
                    <a:pt x="266236" y="546915"/>
                    <a:pt x="268788" y="544444"/>
                  </a:cubicBezTo>
                  <a:cubicBezTo>
                    <a:pt x="271187" y="541863"/>
                    <a:pt x="271187" y="537869"/>
                    <a:pt x="268788" y="535288"/>
                  </a:cubicBezTo>
                  <a:cubicBezTo>
                    <a:pt x="266417" y="532601"/>
                    <a:pt x="262318" y="532345"/>
                    <a:pt x="259631" y="534715"/>
                  </a:cubicBezTo>
                  <a:cubicBezTo>
                    <a:pt x="256944" y="537086"/>
                    <a:pt x="256688" y="541185"/>
                    <a:pt x="259059" y="543872"/>
                  </a:cubicBezTo>
                  <a:moveTo>
                    <a:pt x="222003" y="576636"/>
                  </a:moveTo>
                  <a:cubicBezTo>
                    <a:pt x="224295" y="578927"/>
                    <a:pt x="228009" y="578925"/>
                    <a:pt x="230298" y="576633"/>
                  </a:cubicBezTo>
                  <a:cubicBezTo>
                    <a:pt x="232589" y="574343"/>
                    <a:pt x="232587" y="570628"/>
                    <a:pt x="230297" y="568338"/>
                  </a:cubicBezTo>
                  <a:cubicBezTo>
                    <a:pt x="228006" y="566049"/>
                    <a:pt x="224293" y="566049"/>
                    <a:pt x="222003" y="568338"/>
                  </a:cubicBezTo>
                  <a:cubicBezTo>
                    <a:pt x="219711" y="570628"/>
                    <a:pt x="219711" y="574343"/>
                    <a:pt x="222000" y="576633"/>
                  </a:cubicBezTo>
                  <a:cubicBezTo>
                    <a:pt x="222001" y="576635"/>
                    <a:pt x="222001" y="576635"/>
                    <a:pt x="222003" y="576636"/>
                  </a:cubicBezTo>
                  <a:moveTo>
                    <a:pt x="185662" y="610402"/>
                  </a:moveTo>
                  <a:cubicBezTo>
                    <a:pt x="187716" y="612482"/>
                    <a:pt x="191068" y="612502"/>
                    <a:pt x="193147" y="610449"/>
                  </a:cubicBezTo>
                  <a:cubicBezTo>
                    <a:pt x="195228" y="608394"/>
                    <a:pt x="195249" y="605042"/>
                    <a:pt x="193194" y="602962"/>
                  </a:cubicBezTo>
                  <a:cubicBezTo>
                    <a:pt x="191140" y="600882"/>
                    <a:pt x="187788" y="600862"/>
                    <a:pt x="185707" y="602915"/>
                  </a:cubicBezTo>
                  <a:cubicBezTo>
                    <a:pt x="185693" y="602930"/>
                    <a:pt x="185677" y="602946"/>
                    <a:pt x="185662" y="602962"/>
                  </a:cubicBezTo>
                  <a:cubicBezTo>
                    <a:pt x="183626" y="605024"/>
                    <a:pt x="183626" y="608340"/>
                    <a:pt x="185662" y="610402"/>
                  </a:cubicBezTo>
                  <a:moveTo>
                    <a:pt x="148748" y="642737"/>
                  </a:moveTo>
                  <a:cubicBezTo>
                    <a:pt x="150581" y="644518"/>
                    <a:pt x="153497" y="644518"/>
                    <a:pt x="155330" y="642737"/>
                  </a:cubicBezTo>
                  <a:cubicBezTo>
                    <a:pt x="157381" y="641127"/>
                    <a:pt x="157738" y="638158"/>
                    <a:pt x="156128" y="636108"/>
                  </a:cubicBezTo>
                  <a:cubicBezTo>
                    <a:pt x="154517" y="634056"/>
                    <a:pt x="151550" y="633699"/>
                    <a:pt x="149498" y="635310"/>
                  </a:cubicBezTo>
                  <a:cubicBezTo>
                    <a:pt x="149335" y="635439"/>
                    <a:pt x="149180" y="635577"/>
                    <a:pt x="149034" y="635726"/>
                  </a:cubicBezTo>
                  <a:cubicBezTo>
                    <a:pt x="147253" y="637559"/>
                    <a:pt x="147253" y="640475"/>
                    <a:pt x="149034" y="642308"/>
                  </a:cubicBezTo>
                  <a:moveTo>
                    <a:pt x="111978" y="675072"/>
                  </a:moveTo>
                  <a:cubicBezTo>
                    <a:pt x="113598" y="676691"/>
                    <a:pt x="116225" y="676691"/>
                    <a:pt x="117844" y="675072"/>
                  </a:cubicBezTo>
                  <a:cubicBezTo>
                    <a:pt x="119371" y="673469"/>
                    <a:pt x="119371" y="670951"/>
                    <a:pt x="117844" y="669349"/>
                  </a:cubicBezTo>
                  <a:cubicBezTo>
                    <a:pt x="116296" y="667768"/>
                    <a:pt x="113759" y="667742"/>
                    <a:pt x="112178" y="669291"/>
                  </a:cubicBezTo>
                  <a:cubicBezTo>
                    <a:pt x="112160" y="669310"/>
                    <a:pt x="112140" y="669329"/>
                    <a:pt x="112121" y="669349"/>
                  </a:cubicBezTo>
                  <a:cubicBezTo>
                    <a:pt x="110540" y="670897"/>
                    <a:pt x="110514" y="673433"/>
                    <a:pt x="112064" y="675014"/>
                  </a:cubicBezTo>
                  <a:cubicBezTo>
                    <a:pt x="112082" y="675033"/>
                    <a:pt x="112101" y="675053"/>
                    <a:pt x="112121" y="675072"/>
                  </a:cubicBezTo>
                  <a:moveTo>
                    <a:pt x="75208" y="707836"/>
                  </a:moveTo>
                  <a:cubicBezTo>
                    <a:pt x="76547" y="709179"/>
                    <a:pt x="78720" y="709184"/>
                    <a:pt x="80064" y="707844"/>
                  </a:cubicBezTo>
                  <a:cubicBezTo>
                    <a:pt x="80067" y="707842"/>
                    <a:pt x="80070" y="707839"/>
                    <a:pt x="80072" y="707836"/>
                  </a:cubicBezTo>
                  <a:cubicBezTo>
                    <a:pt x="81412" y="706492"/>
                    <a:pt x="81407" y="704318"/>
                    <a:pt x="80064" y="702980"/>
                  </a:cubicBezTo>
                  <a:cubicBezTo>
                    <a:pt x="78720" y="701641"/>
                    <a:pt x="76547" y="701645"/>
                    <a:pt x="75208" y="702988"/>
                  </a:cubicBezTo>
                  <a:cubicBezTo>
                    <a:pt x="73873" y="704328"/>
                    <a:pt x="73873" y="706495"/>
                    <a:pt x="75208" y="707836"/>
                  </a:cubicBezTo>
                  <a:moveTo>
                    <a:pt x="38295" y="740600"/>
                  </a:moveTo>
                  <a:cubicBezTo>
                    <a:pt x="39309" y="741706"/>
                    <a:pt x="41029" y="741780"/>
                    <a:pt x="42136" y="740765"/>
                  </a:cubicBezTo>
                  <a:cubicBezTo>
                    <a:pt x="42193" y="740713"/>
                    <a:pt x="42248" y="740657"/>
                    <a:pt x="42301" y="740600"/>
                  </a:cubicBezTo>
                  <a:cubicBezTo>
                    <a:pt x="43391" y="739487"/>
                    <a:pt x="43391" y="737707"/>
                    <a:pt x="42301" y="736594"/>
                  </a:cubicBezTo>
                  <a:cubicBezTo>
                    <a:pt x="41113" y="735554"/>
                    <a:pt x="39339" y="735554"/>
                    <a:pt x="38151" y="736594"/>
                  </a:cubicBezTo>
                  <a:cubicBezTo>
                    <a:pt x="37043" y="737754"/>
                    <a:pt x="37043" y="739583"/>
                    <a:pt x="38151" y="740743"/>
                  </a:cubicBezTo>
                  <a:moveTo>
                    <a:pt x="386539" y="389924"/>
                  </a:moveTo>
                  <a:cubicBezTo>
                    <a:pt x="389781" y="393596"/>
                    <a:pt x="395386" y="393944"/>
                    <a:pt x="399059" y="390702"/>
                  </a:cubicBezTo>
                  <a:cubicBezTo>
                    <a:pt x="402732" y="387460"/>
                    <a:pt x="403081" y="381854"/>
                    <a:pt x="399837" y="378181"/>
                  </a:cubicBezTo>
                  <a:cubicBezTo>
                    <a:pt x="396622" y="374540"/>
                    <a:pt x="391077" y="374161"/>
                    <a:pt x="387397" y="377333"/>
                  </a:cubicBezTo>
                  <a:cubicBezTo>
                    <a:pt x="383730" y="380597"/>
                    <a:pt x="383349" y="386194"/>
                    <a:pt x="386539" y="389924"/>
                  </a:cubicBezTo>
                  <a:moveTo>
                    <a:pt x="349625" y="422688"/>
                  </a:moveTo>
                  <a:cubicBezTo>
                    <a:pt x="352669" y="426114"/>
                    <a:pt x="357914" y="426426"/>
                    <a:pt x="361340" y="423383"/>
                  </a:cubicBezTo>
                  <a:cubicBezTo>
                    <a:pt x="364767" y="420341"/>
                    <a:pt x="365079" y="415096"/>
                    <a:pt x="362036" y="411668"/>
                  </a:cubicBezTo>
                  <a:cubicBezTo>
                    <a:pt x="359000" y="408249"/>
                    <a:pt x="353770" y="407930"/>
                    <a:pt x="350341" y="410956"/>
                  </a:cubicBezTo>
                  <a:cubicBezTo>
                    <a:pt x="346904" y="413987"/>
                    <a:pt x="346576" y="419231"/>
                    <a:pt x="349608" y="422668"/>
                  </a:cubicBezTo>
                  <a:cubicBezTo>
                    <a:pt x="349614" y="422675"/>
                    <a:pt x="349620" y="422682"/>
                    <a:pt x="349625" y="422688"/>
                  </a:cubicBezTo>
                  <a:moveTo>
                    <a:pt x="313284" y="455452"/>
                  </a:moveTo>
                  <a:cubicBezTo>
                    <a:pt x="316287" y="458484"/>
                    <a:pt x="321179" y="458506"/>
                    <a:pt x="324211" y="455505"/>
                  </a:cubicBezTo>
                  <a:cubicBezTo>
                    <a:pt x="327243" y="452502"/>
                    <a:pt x="327266" y="447610"/>
                    <a:pt x="324262" y="444578"/>
                  </a:cubicBezTo>
                  <a:cubicBezTo>
                    <a:pt x="321261" y="441546"/>
                    <a:pt x="316369" y="441523"/>
                    <a:pt x="313337" y="444525"/>
                  </a:cubicBezTo>
                  <a:cubicBezTo>
                    <a:pt x="313319" y="444542"/>
                    <a:pt x="313301" y="444561"/>
                    <a:pt x="313284" y="444578"/>
                  </a:cubicBezTo>
                  <a:cubicBezTo>
                    <a:pt x="310303" y="447590"/>
                    <a:pt x="310303" y="452440"/>
                    <a:pt x="313284" y="455452"/>
                  </a:cubicBezTo>
                  <a:moveTo>
                    <a:pt x="276228" y="488216"/>
                  </a:moveTo>
                  <a:cubicBezTo>
                    <a:pt x="279009" y="490943"/>
                    <a:pt x="283462" y="490943"/>
                    <a:pt x="286243" y="488216"/>
                  </a:cubicBezTo>
                  <a:cubicBezTo>
                    <a:pt x="288953" y="485450"/>
                    <a:pt x="288907" y="481012"/>
                    <a:pt x="286142" y="478302"/>
                  </a:cubicBezTo>
                  <a:cubicBezTo>
                    <a:pt x="283376" y="475592"/>
                    <a:pt x="278938" y="475637"/>
                    <a:pt x="276228" y="478402"/>
                  </a:cubicBezTo>
                  <a:cubicBezTo>
                    <a:pt x="273557" y="481129"/>
                    <a:pt x="273557" y="485490"/>
                    <a:pt x="276228" y="488216"/>
                  </a:cubicBezTo>
                  <a:moveTo>
                    <a:pt x="239315" y="520980"/>
                  </a:moveTo>
                  <a:cubicBezTo>
                    <a:pt x="241843" y="523591"/>
                    <a:pt x="246009" y="523658"/>
                    <a:pt x="248622" y="521130"/>
                  </a:cubicBezTo>
                  <a:cubicBezTo>
                    <a:pt x="251233" y="518601"/>
                    <a:pt x="251299" y="514434"/>
                    <a:pt x="248770" y="511823"/>
                  </a:cubicBezTo>
                  <a:cubicBezTo>
                    <a:pt x="246242" y="509212"/>
                    <a:pt x="242076" y="509145"/>
                    <a:pt x="239465" y="511673"/>
                  </a:cubicBezTo>
                  <a:cubicBezTo>
                    <a:pt x="239413" y="511723"/>
                    <a:pt x="239363" y="511773"/>
                    <a:pt x="239315" y="511823"/>
                  </a:cubicBezTo>
                  <a:cubicBezTo>
                    <a:pt x="236786" y="514323"/>
                    <a:pt x="236764" y="518400"/>
                    <a:pt x="239263" y="520929"/>
                  </a:cubicBezTo>
                  <a:cubicBezTo>
                    <a:pt x="239280" y="520946"/>
                    <a:pt x="239297" y="520963"/>
                    <a:pt x="239315" y="520980"/>
                  </a:cubicBezTo>
                  <a:moveTo>
                    <a:pt x="201829" y="553172"/>
                  </a:moveTo>
                  <a:cubicBezTo>
                    <a:pt x="204160" y="555422"/>
                    <a:pt x="207874" y="555357"/>
                    <a:pt x="210123" y="553025"/>
                  </a:cubicBezTo>
                  <a:cubicBezTo>
                    <a:pt x="212374" y="550694"/>
                    <a:pt x="212308" y="546981"/>
                    <a:pt x="209977" y="544731"/>
                  </a:cubicBezTo>
                  <a:cubicBezTo>
                    <a:pt x="207704" y="542537"/>
                    <a:pt x="204102" y="542537"/>
                    <a:pt x="201829" y="544731"/>
                  </a:cubicBezTo>
                  <a:cubicBezTo>
                    <a:pt x="199520" y="547071"/>
                    <a:pt x="199520" y="550831"/>
                    <a:pt x="201829" y="553172"/>
                  </a:cubicBezTo>
                  <a:moveTo>
                    <a:pt x="164773" y="585793"/>
                  </a:moveTo>
                  <a:cubicBezTo>
                    <a:pt x="166849" y="587852"/>
                    <a:pt x="170201" y="587836"/>
                    <a:pt x="172260" y="585760"/>
                  </a:cubicBezTo>
                  <a:cubicBezTo>
                    <a:pt x="174085" y="583919"/>
                    <a:pt x="174307" y="581024"/>
                    <a:pt x="172785" y="578925"/>
                  </a:cubicBezTo>
                  <a:cubicBezTo>
                    <a:pt x="171068" y="576559"/>
                    <a:pt x="167759" y="576031"/>
                    <a:pt x="165392" y="577748"/>
                  </a:cubicBezTo>
                  <a:cubicBezTo>
                    <a:pt x="163024" y="579465"/>
                    <a:pt x="162498" y="582774"/>
                    <a:pt x="164215" y="585141"/>
                  </a:cubicBezTo>
                  <a:cubicBezTo>
                    <a:pt x="164382" y="585374"/>
                    <a:pt x="164569" y="585591"/>
                    <a:pt x="164773" y="585793"/>
                  </a:cubicBezTo>
                  <a:moveTo>
                    <a:pt x="127287" y="619129"/>
                  </a:moveTo>
                  <a:cubicBezTo>
                    <a:pt x="129292" y="620798"/>
                    <a:pt x="132269" y="620524"/>
                    <a:pt x="133936" y="618520"/>
                  </a:cubicBezTo>
                  <a:cubicBezTo>
                    <a:pt x="135245" y="616946"/>
                    <a:pt x="135391" y="614707"/>
                    <a:pt x="134298" y="612977"/>
                  </a:cubicBezTo>
                  <a:cubicBezTo>
                    <a:pt x="132465" y="611196"/>
                    <a:pt x="129549" y="611196"/>
                    <a:pt x="127716" y="612977"/>
                  </a:cubicBezTo>
                  <a:cubicBezTo>
                    <a:pt x="125899" y="614736"/>
                    <a:pt x="125851" y="617634"/>
                    <a:pt x="127609" y="619451"/>
                  </a:cubicBezTo>
                  <a:cubicBezTo>
                    <a:pt x="127643" y="619487"/>
                    <a:pt x="127681" y="619523"/>
                    <a:pt x="127716" y="619559"/>
                  </a:cubicBezTo>
                  <a:moveTo>
                    <a:pt x="90946" y="651894"/>
                  </a:moveTo>
                  <a:cubicBezTo>
                    <a:pt x="92494" y="653474"/>
                    <a:pt x="95031" y="653500"/>
                    <a:pt x="96612" y="651951"/>
                  </a:cubicBezTo>
                  <a:cubicBezTo>
                    <a:pt x="96630" y="651932"/>
                    <a:pt x="96650" y="651914"/>
                    <a:pt x="96669" y="651894"/>
                  </a:cubicBezTo>
                  <a:cubicBezTo>
                    <a:pt x="98250" y="650345"/>
                    <a:pt x="98276" y="647809"/>
                    <a:pt x="96726" y="646228"/>
                  </a:cubicBezTo>
                  <a:cubicBezTo>
                    <a:pt x="96708" y="646209"/>
                    <a:pt x="96689" y="646189"/>
                    <a:pt x="96669" y="646171"/>
                  </a:cubicBezTo>
                  <a:cubicBezTo>
                    <a:pt x="95121" y="644590"/>
                    <a:pt x="92584" y="644564"/>
                    <a:pt x="91003" y="646113"/>
                  </a:cubicBezTo>
                  <a:cubicBezTo>
                    <a:pt x="90985" y="646132"/>
                    <a:pt x="90965" y="646151"/>
                    <a:pt x="90946" y="646171"/>
                  </a:cubicBezTo>
                  <a:cubicBezTo>
                    <a:pt x="89365" y="647719"/>
                    <a:pt x="89339" y="650255"/>
                    <a:pt x="90889" y="651836"/>
                  </a:cubicBezTo>
                  <a:cubicBezTo>
                    <a:pt x="90907" y="651855"/>
                    <a:pt x="90926" y="651875"/>
                    <a:pt x="90946" y="651894"/>
                  </a:cubicBezTo>
                  <a:moveTo>
                    <a:pt x="53890" y="684658"/>
                  </a:moveTo>
                  <a:cubicBezTo>
                    <a:pt x="55233" y="685997"/>
                    <a:pt x="57406" y="685993"/>
                    <a:pt x="58746" y="684649"/>
                  </a:cubicBezTo>
                  <a:cubicBezTo>
                    <a:pt x="60085" y="683306"/>
                    <a:pt x="60081" y="681132"/>
                    <a:pt x="58737" y="679793"/>
                  </a:cubicBezTo>
                  <a:cubicBezTo>
                    <a:pt x="57398" y="678458"/>
                    <a:pt x="55230" y="678458"/>
                    <a:pt x="53890" y="679793"/>
                  </a:cubicBezTo>
                  <a:cubicBezTo>
                    <a:pt x="52546" y="681132"/>
                    <a:pt x="52542" y="683306"/>
                    <a:pt x="53881" y="684649"/>
                  </a:cubicBezTo>
                  <a:cubicBezTo>
                    <a:pt x="53884" y="684652"/>
                    <a:pt x="53887" y="684655"/>
                    <a:pt x="53890" y="684658"/>
                  </a:cubicBezTo>
                  <a:moveTo>
                    <a:pt x="16976" y="717422"/>
                  </a:moveTo>
                  <a:cubicBezTo>
                    <a:pt x="18082" y="718551"/>
                    <a:pt x="19894" y="718569"/>
                    <a:pt x="21023" y="717462"/>
                  </a:cubicBezTo>
                  <a:cubicBezTo>
                    <a:pt x="22151" y="716356"/>
                    <a:pt x="22170" y="714545"/>
                    <a:pt x="21064" y="713416"/>
                  </a:cubicBezTo>
                  <a:cubicBezTo>
                    <a:pt x="19957" y="712287"/>
                    <a:pt x="18145" y="712270"/>
                    <a:pt x="17016" y="713376"/>
                  </a:cubicBezTo>
                  <a:cubicBezTo>
                    <a:pt x="17004" y="713388"/>
                    <a:pt x="16989" y="713403"/>
                    <a:pt x="16976" y="713416"/>
                  </a:cubicBezTo>
                  <a:cubicBezTo>
                    <a:pt x="15870" y="714432"/>
                    <a:pt x="15796" y="716150"/>
                    <a:pt x="16812" y="717257"/>
                  </a:cubicBezTo>
                  <a:cubicBezTo>
                    <a:pt x="16863" y="717315"/>
                    <a:pt x="16919" y="717369"/>
                    <a:pt x="16976" y="717422"/>
                  </a:cubicBezTo>
                  <a:moveTo>
                    <a:pt x="490840" y="507531"/>
                  </a:moveTo>
                  <a:cubicBezTo>
                    <a:pt x="494291" y="511008"/>
                    <a:pt x="499908" y="511028"/>
                    <a:pt x="503385" y="507577"/>
                  </a:cubicBezTo>
                  <a:cubicBezTo>
                    <a:pt x="503401" y="507561"/>
                    <a:pt x="503415" y="507547"/>
                    <a:pt x="503431" y="507531"/>
                  </a:cubicBezTo>
                  <a:cubicBezTo>
                    <a:pt x="506882" y="504054"/>
                    <a:pt x="506862" y="498437"/>
                    <a:pt x="503385" y="494986"/>
                  </a:cubicBezTo>
                  <a:cubicBezTo>
                    <a:pt x="499908" y="491535"/>
                    <a:pt x="494291" y="491555"/>
                    <a:pt x="490840" y="495032"/>
                  </a:cubicBezTo>
                  <a:cubicBezTo>
                    <a:pt x="487406" y="498490"/>
                    <a:pt x="487406" y="504071"/>
                    <a:pt x="490840" y="507531"/>
                  </a:cubicBezTo>
                  <a:moveTo>
                    <a:pt x="453927" y="540295"/>
                  </a:moveTo>
                  <a:cubicBezTo>
                    <a:pt x="456632" y="543995"/>
                    <a:pt x="461825" y="544801"/>
                    <a:pt x="465523" y="542095"/>
                  </a:cubicBezTo>
                  <a:cubicBezTo>
                    <a:pt x="469223" y="539390"/>
                    <a:pt x="470028" y="534197"/>
                    <a:pt x="467323" y="530499"/>
                  </a:cubicBezTo>
                  <a:cubicBezTo>
                    <a:pt x="467001" y="530057"/>
                    <a:pt x="466635" y="529648"/>
                    <a:pt x="466231" y="529278"/>
                  </a:cubicBezTo>
                  <a:cubicBezTo>
                    <a:pt x="463526" y="525579"/>
                    <a:pt x="458334" y="524773"/>
                    <a:pt x="454635" y="527479"/>
                  </a:cubicBezTo>
                  <a:cubicBezTo>
                    <a:pt x="450935" y="530184"/>
                    <a:pt x="450130" y="535376"/>
                    <a:pt x="452835" y="539075"/>
                  </a:cubicBezTo>
                  <a:cubicBezTo>
                    <a:pt x="453157" y="539517"/>
                    <a:pt x="453523" y="539926"/>
                    <a:pt x="453927" y="540295"/>
                  </a:cubicBezTo>
                  <a:moveTo>
                    <a:pt x="416870" y="573059"/>
                  </a:moveTo>
                  <a:cubicBezTo>
                    <a:pt x="419882" y="576041"/>
                    <a:pt x="424732" y="576041"/>
                    <a:pt x="427744" y="573059"/>
                  </a:cubicBezTo>
                  <a:cubicBezTo>
                    <a:pt x="430651" y="570018"/>
                    <a:pt x="430651" y="565227"/>
                    <a:pt x="427744" y="562186"/>
                  </a:cubicBezTo>
                  <a:cubicBezTo>
                    <a:pt x="424732" y="559204"/>
                    <a:pt x="419882" y="559204"/>
                    <a:pt x="416870" y="562186"/>
                  </a:cubicBezTo>
                  <a:cubicBezTo>
                    <a:pt x="413963" y="565227"/>
                    <a:pt x="413963" y="570018"/>
                    <a:pt x="416870" y="573059"/>
                  </a:cubicBezTo>
                  <a:moveTo>
                    <a:pt x="379957" y="605823"/>
                  </a:moveTo>
                  <a:cubicBezTo>
                    <a:pt x="382723" y="608645"/>
                    <a:pt x="387253" y="608691"/>
                    <a:pt x="390074" y="605925"/>
                  </a:cubicBezTo>
                  <a:cubicBezTo>
                    <a:pt x="392895" y="603159"/>
                    <a:pt x="392940" y="598630"/>
                    <a:pt x="390174" y="595808"/>
                  </a:cubicBezTo>
                  <a:cubicBezTo>
                    <a:pt x="387409" y="592987"/>
                    <a:pt x="382880" y="592941"/>
                    <a:pt x="380059" y="595707"/>
                  </a:cubicBezTo>
                  <a:cubicBezTo>
                    <a:pt x="380024" y="595741"/>
                    <a:pt x="379990" y="595774"/>
                    <a:pt x="379957" y="595808"/>
                  </a:cubicBezTo>
                  <a:cubicBezTo>
                    <a:pt x="377230" y="598590"/>
                    <a:pt x="377230" y="603042"/>
                    <a:pt x="379957" y="605823"/>
                  </a:cubicBezTo>
                  <a:moveTo>
                    <a:pt x="342901" y="639017"/>
                  </a:moveTo>
                  <a:cubicBezTo>
                    <a:pt x="345482" y="641416"/>
                    <a:pt x="349476" y="641416"/>
                    <a:pt x="352058" y="639017"/>
                  </a:cubicBezTo>
                  <a:cubicBezTo>
                    <a:pt x="354745" y="636646"/>
                    <a:pt x="355001" y="632547"/>
                    <a:pt x="352630" y="629860"/>
                  </a:cubicBezTo>
                  <a:cubicBezTo>
                    <a:pt x="350259" y="627173"/>
                    <a:pt x="346160" y="626917"/>
                    <a:pt x="343473" y="629288"/>
                  </a:cubicBezTo>
                  <a:cubicBezTo>
                    <a:pt x="341074" y="631869"/>
                    <a:pt x="341074" y="635863"/>
                    <a:pt x="343473" y="638444"/>
                  </a:cubicBezTo>
                  <a:moveTo>
                    <a:pt x="306560" y="671209"/>
                  </a:moveTo>
                  <a:cubicBezTo>
                    <a:pt x="308733" y="673658"/>
                    <a:pt x="312480" y="673883"/>
                    <a:pt x="314930" y="671709"/>
                  </a:cubicBezTo>
                  <a:cubicBezTo>
                    <a:pt x="317379" y="669536"/>
                    <a:pt x="317604" y="665789"/>
                    <a:pt x="315430" y="663339"/>
                  </a:cubicBezTo>
                  <a:cubicBezTo>
                    <a:pt x="313253" y="661048"/>
                    <a:pt x="309632" y="660954"/>
                    <a:pt x="307340" y="663132"/>
                  </a:cubicBezTo>
                  <a:cubicBezTo>
                    <a:pt x="307268" y="663199"/>
                    <a:pt x="307199" y="663268"/>
                    <a:pt x="307132" y="663339"/>
                  </a:cubicBezTo>
                  <a:cubicBezTo>
                    <a:pt x="304840" y="665630"/>
                    <a:pt x="304840" y="669344"/>
                    <a:pt x="307129" y="671635"/>
                  </a:cubicBezTo>
                  <a:cubicBezTo>
                    <a:pt x="307131" y="671636"/>
                    <a:pt x="307131" y="671636"/>
                    <a:pt x="307132" y="671638"/>
                  </a:cubicBezTo>
                  <a:moveTo>
                    <a:pt x="270219" y="704402"/>
                  </a:moveTo>
                  <a:cubicBezTo>
                    <a:pt x="272280" y="706438"/>
                    <a:pt x="275597" y="706438"/>
                    <a:pt x="277659" y="704402"/>
                  </a:cubicBezTo>
                  <a:cubicBezTo>
                    <a:pt x="279871" y="702466"/>
                    <a:pt x="280095" y="699103"/>
                    <a:pt x="278159" y="696891"/>
                  </a:cubicBezTo>
                  <a:cubicBezTo>
                    <a:pt x="276224" y="694679"/>
                    <a:pt x="272860" y="694454"/>
                    <a:pt x="270648" y="696390"/>
                  </a:cubicBezTo>
                  <a:cubicBezTo>
                    <a:pt x="268595" y="698500"/>
                    <a:pt x="268595" y="701862"/>
                    <a:pt x="270648" y="703973"/>
                  </a:cubicBezTo>
                  <a:moveTo>
                    <a:pt x="233592" y="736594"/>
                  </a:moveTo>
                  <a:cubicBezTo>
                    <a:pt x="235423" y="738451"/>
                    <a:pt x="238412" y="738472"/>
                    <a:pt x="240269" y="736641"/>
                  </a:cubicBezTo>
                  <a:cubicBezTo>
                    <a:pt x="240285" y="736625"/>
                    <a:pt x="240300" y="736610"/>
                    <a:pt x="240316" y="736594"/>
                  </a:cubicBezTo>
                  <a:cubicBezTo>
                    <a:pt x="242148" y="734737"/>
                    <a:pt x="242126" y="731748"/>
                    <a:pt x="240269" y="729917"/>
                  </a:cubicBezTo>
                  <a:cubicBezTo>
                    <a:pt x="238412" y="728087"/>
                    <a:pt x="235423" y="728108"/>
                    <a:pt x="233592" y="729964"/>
                  </a:cubicBezTo>
                  <a:cubicBezTo>
                    <a:pt x="231779" y="731802"/>
                    <a:pt x="231779" y="734755"/>
                    <a:pt x="233592" y="736594"/>
                  </a:cubicBezTo>
                  <a:moveTo>
                    <a:pt x="196678" y="769358"/>
                  </a:moveTo>
                  <a:cubicBezTo>
                    <a:pt x="198259" y="770906"/>
                    <a:pt x="200795" y="770880"/>
                    <a:pt x="202344" y="769301"/>
                  </a:cubicBezTo>
                  <a:cubicBezTo>
                    <a:pt x="203892" y="767720"/>
                    <a:pt x="203866" y="765183"/>
                    <a:pt x="202285" y="763635"/>
                  </a:cubicBezTo>
                  <a:cubicBezTo>
                    <a:pt x="200729" y="762108"/>
                    <a:pt x="198236" y="762108"/>
                    <a:pt x="196678" y="763635"/>
                  </a:cubicBezTo>
                  <a:cubicBezTo>
                    <a:pt x="195152" y="765237"/>
                    <a:pt x="195152" y="767756"/>
                    <a:pt x="196678" y="769358"/>
                  </a:cubicBezTo>
                  <a:moveTo>
                    <a:pt x="159765" y="802122"/>
                  </a:moveTo>
                  <a:cubicBezTo>
                    <a:pt x="161108" y="803461"/>
                    <a:pt x="163282" y="803457"/>
                    <a:pt x="164621" y="802113"/>
                  </a:cubicBezTo>
                  <a:cubicBezTo>
                    <a:pt x="165960" y="800770"/>
                    <a:pt x="165956" y="798597"/>
                    <a:pt x="164612" y="797258"/>
                  </a:cubicBezTo>
                  <a:cubicBezTo>
                    <a:pt x="163273" y="795923"/>
                    <a:pt x="161106" y="795923"/>
                    <a:pt x="159765" y="797258"/>
                  </a:cubicBezTo>
                  <a:cubicBezTo>
                    <a:pt x="158422" y="798597"/>
                    <a:pt x="158417" y="800770"/>
                    <a:pt x="159756" y="802113"/>
                  </a:cubicBezTo>
                  <a:cubicBezTo>
                    <a:pt x="159759" y="802116"/>
                    <a:pt x="159762" y="802119"/>
                    <a:pt x="159765" y="802122"/>
                  </a:cubicBezTo>
                  <a:moveTo>
                    <a:pt x="470667" y="483924"/>
                  </a:moveTo>
                  <a:cubicBezTo>
                    <a:pt x="473856" y="487644"/>
                    <a:pt x="479456" y="488074"/>
                    <a:pt x="483174" y="484885"/>
                  </a:cubicBezTo>
                  <a:cubicBezTo>
                    <a:pt x="486894" y="481697"/>
                    <a:pt x="487325" y="476098"/>
                    <a:pt x="484137" y="472378"/>
                  </a:cubicBezTo>
                  <a:cubicBezTo>
                    <a:pt x="484083" y="472315"/>
                    <a:pt x="484028" y="472253"/>
                    <a:pt x="483973" y="472192"/>
                  </a:cubicBezTo>
                  <a:cubicBezTo>
                    <a:pt x="480682" y="468562"/>
                    <a:pt x="475072" y="468288"/>
                    <a:pt x="471442" y="471579"/>
                  </a:cubicBezTo>
                  <a:cubicBezTo>
                    <a:pt x="467885" y="474806"/>
                    <a:pt x="467540" y="480277"/>
                    <a:pt x="470667" y="483924"/>
                  </a:cubicBezTo>
                  <a:moveTo>
                    <a:pt x="433753" y="516688"/>
                  </a:moveTo>
                  <a:cubicBezTo>
                    <a:pt x="436752" y="520155"/>
                    <a:pt x="441992" y="520532"/>
                    <a:pt x="445458" y="517535"/>
                  </a:cubicBezTo>
                  <a:cubicBezTo>
                    <a:pt x="448925" y="514536"/>
                    <a:pt x="449304" y="509295"/>
                    <a:pt x="446305" y="505830"/>
                  </a:cubicBezTo>
                  <a:cubicBezTo>
                    <a:pt x="443306" y="502363"/>
                    <a:pt x="438066" y="501984"/>
                    <a:pt x="434600" y="504983"/>
                  </a:cubicBezTo>
                  <a:cubicBezTo>
                    <a:pt x="434556" y="505022"/>
                    <a:pt x="434512" y="505060"/>
                    <a:pt x="434469" y="505099"/>
                  </a:cubicBezTo>
                  <a:cubicBezTo>
                    <a:pt x="431073" y="508059"/>
                    <a:pt x="430720" y="513210"/>
                    <a:pt x="433680" y="516605"/>
                  </a:cubicBezTo>
                  <a:cubicBezTo>
                    <a:pt x="433705" y="516633"/>
                    <a:pt x="433729" y="516661"/>
                    <a:pt x="433753" y="516688"/>
                  </a:cubicBezTo>
                  <a:moveTo>
                    <a:pt x="396840" y="549452"/>
                  </a:moveTo>
                  <a:cubicBezTo>
                    <a:pt x="399687" y="552415"/>
                    <a:pt x="404396" y="552510"/>
                    <a:pt x="407359" y="549664"/>
                  </a:cubicBezTo>
                  <a:cubicBezTo>
                    <a:pt x="407432" y="549594"/>
                    <a:pt x="407502" y="549524"/>
                    <a:pt x="407571" y="549452"/>
                  </a:cubicBezTo>
                  <a:cubicBezTo>
                    <a:pt x="410764" y="546744"/>
                    <a:pt x="411157" y="541958"/>
                    <a:pt x="408449" y="538764"/>
                  </a:cubicBezTo>
                  <a:cubicBezTo>
                    <a:pt x="408396" y="538701"/>
                    <a:pt x="408342" y="538640"/>
                    <a:pt x="408286" y="538578"/>
                  </a:cubicBezTo>
                  <a:cubicBezTo>
                    <a:pt x="405440" y="535462"/>
                    <a:pt x="400643" y="535147"/>
                    <a:pt x="397412" y="537863"/>
                  </a:cubicBezTo>
                  <a:cubicBezTo>
                    <a:pt x="394431" y="540875"/>
                    <a:pt x="394431" y="545725"/>
                    <a:pt x="397412" y="548737"/>
                  </a:cubicBezTo>
                  <a:moveTo>
                    <a:pt x="359068" y="581787"/>
                  </a:moveTo>
                  <a:cubicBezTo>
                    <a:pt x="361834" y="584497"/>
                    <a:pt x="366272" y="584451"/>
                    <a:pt x="368982" y="581685"/>
                  </a:cubicBezTo>
                  <a:cubicBezTo>
                    <a:pt x="371692" y="578920"/>
                    <a:pt x="371647" y="574481"/>
                    <a:pt x="368882" y="571772"/>
                  </a:cubicBezTo>
                  <a:cubicBezTo>
                    <a:pt x="366155" y="569100"/>
                    <a:pt x="361794" y="569100"/>
                    <a:pt x="359068" y="571772"/>
                  </a:cubicBezTo>
                  <a:cubicBezTo>
                    <a:pt x="356341" y="574553"/>
                    <a:pt x="356341" y="579006"/>
                    <a:pt x="359068" y="581787"/>
                  </a:cubicBezTo>
                  <a:moveTo>
                    <a:pt x="322155" y="614551"/>
                  </a:moveTo>
                  <a:cubicBezTo>
                    <a:pt x="324654" y="617079"/>
                    <a:pt x="328732" y="617102"/>
                    <a:pt x="331260" y="614602"/>
                  </a:cubicBezTo>
                  <a:cubicBezTo>
                    <a:pt x="331277" y="614585"/>
                    <a:pt x="331295" y="614568"/>
                    <a:pt x="331312" y="614551"/>
                  </a:cubicBezTo>
                  <a:cubicBezTo>
                    <a:pt x="333999" y="612180"/>
                    <a:pt x="334255" y="608081"/>
                    <a:pt x="331884" y="605394"/>
                  </a:cubicBezTo>
                  <a:cubicBezTo>
                    <a:pt x="329513" y="602707"/>
                    <a:pt x="325414" y="602451"/>
                    <a:pt x="322727" y="604822"/>
                  </a:cubicBezTo>
                  <a:cubicBezTo>
                    <a:pt x="320199" y="607321"/>
                    <a:pt x="320176" y="611399"/>
                    <a:pt x="322676" y="613927"/>
                  </a:cubicBezTo>
                  <a:cubicBezTo>
                    <a:pt x="322693" y="613944"/>
                    <a:pt x="322710" y="613962"/>
                    <a:pt x="322727" y="613979"/>
                  </a:cubicBezTo>
                  <a:moveTo>
                    <a:pt x="284669" y="647744"/>
                  </a:moveTo>
                  <a:cubicBezTo>
                    <a:pt x="286961" y="650035"/>
                    <a:pt x="290676" y="650034"/>
                    <a:pt x="292965" y="647741"/>
                  </a:cubicBezTo>
                  <a:cubicBezTo>
                    <a:pt x="295255" y="645451"/>
                    <a:pt x="295254" y="641737"/>
                    <a:pt x="292963" y="639446"/>
                  </a:cubicBezTo>
                  <a:cubicBezTo>
                    <a:pt x="290673" y="637157"/>
                    <a:pt x="286960" y="637157"/>
                    <a:pt x="284669" y="639446"/>
                  </a:cubicBezTo>
                  <a:cubicBezTo>
                    <a:pt x="282377" y="641737"/>
                    <a:pt x="282377" y="645451"/>
                    <a:pt x="284666" y="647741"/>
                  </a:cubicBezTo>
                  <a:cubicBezTo>
                    <a:pt x="284668" y="647743"/>
                    <a:pt x="284668" y="647743"/>
                    <a:pt x="284669" y="647744"/>
                  </a:cubicBezTo>
                  <a:moveTo>
                    <a:pt x="248185" y="680509"/>
                  </a:moveTo>
                  <a:cubicBezTo>
                    <a:pt x="250330" y="682496"/>
                    <a:pt x="253679" y="682368"/>
                    <a:pt x="255667" y="680224"/>
                  </a:cubicBezTo>
                  <a:cubicBezTo>
                    <a:pt x="257389" y="678364"/>
                    <a:pt x="257552" y="675544"/>
                    <a:pt x="256054" y="673498"/>
                  </a:cubicBezTo>
                  <a:cubicBezTo>
                    <a:pt x="254327" y="671139"/>
                    <a:pt x="251014" y="670628"/>
                    <a:pt x="248656" y="672355"/>
                  </a:cubicBezTo>
                  <a:cubicBezTo>
                    <a:pt x="246297" y="674082"/>
                    <a:pt x="245784" y="677394"/>
                    <a:pt x="247513" y="679753"/>
                  </a:cubicBezTo>
                  <a:cubicBezTo>
                    <a:pt x="247712" y="680026"/>
                    <a:pt x="247938" y="680278"/>
                    <a:pt x="248185" y="680509"/>
                  </a:cubicBezTo>
                  <a:moveTo>
                    <a:pt x="211272" y="713273"/>
                  </a:moveTo>
                  <a:cubicBezTo>
                    <a:pt x="213030" y="715090"/>
                    <a:pt x="215929" y="715138"/>
                    <a:pt x="217746" y="713380"/>
                  </a:cubicBezTo>
                  <a:cubicBezTo>
                    <a:pt x="217782" y="713346"/>
                    <a:pt x="217818" y="713310"/>
                    <a:pt x="217853" y="713273"/>
                  </a:cubicBezTo>
                  <a:cubicBezTo>
                    <a:pt x="219635" y="711440"/>
                    <a:pt x="219635" y="708524"/>
                    <a:pt x="217853" y="706691"/>
                  </a:cubicBezTo>
                  <a:cubicBezTo>
                    <a:pt x="216460" y="704486"/>
                    <a:pt x="213544" y="703830"/>
                    <a:pt x="211339" y="705223"/>
                  </a:cubicBezTo>
                  <a:cubicBezTo>
                    <a:pt x="209136" y="706615"/>
                    <a:pt x="208478" y="709533"/>
                    <a:pt x="209871" y="711736"/>
                  </a:cubicBezTo>
                  <a:cubicBezTo>
                    <a:pt x="210135" y="712154"/>
                    <a:pt x="210464" y="712527"/>
                    <a:pt x="210843" y="712843"/>
                  </a:cubicBezTo>
                  <a:moveTo>
                    <a:pt x="173786" y="745607"/>
                  </a:moveTo>
                  <a:cubicBezTo>
                    <a:pt x="175406" y="747227"/>
                    <a:pt x="178033" y="747227"/>
                    <a:pt x="179652" y="745607"/>
                  </a:cubicBezTo>
                  <a:cubicBezTo>
                    <a:pt x="181179" y="744005"/>
                    <a:pt x="181179" y="741487"/>
                    <a:pt x="179652" y="739885"/>
                  </a:cubicBezTo>
                  <a:cubicBezTo>
                    <a:pt x="178219" y="738304"/>
                    <a:pt x="175777" y="738185"/>
                    <a:pt x="174196" y="739618"/>
                  </a:cubicBezTo>
                  <a:cubicBezTo>
                    <a:pt x="174103" y="739703"/>
                    <a:pt x="174014" y="739792"/>
                    <a:pt x="173929" y="739885"/>
                  </a:cubicBezTo>
                  <a:cubicBezTo>
                    <a:pt x="172348" y="741433"/>
                    <a:pt x="172323" y="743969"/>
                    <a:pt x="173872" y="745550"/>
                  </a:cubicBezTo>
                  <a:cubicBezTo>
                    <a:pt x="173891" y="745569"/>
                    <a:pt x="173909" y="745589"/>
                    <a:pt x="173929" y="745607"/>
                  </a:cubicBezTo>
                  <a:moveTo>
                    <a:pt x="137302" y="778801"/>
                  </a:moveTo>
                  <a:cubicBezTo>
                    <a:pt x="138646" y="780140"/>
                    <a:pt x="140819" y="780136"/>
                    <a:pt x="142158" y="778792"/>
                  </a:cubicBezTo>
                  <a:cubicBezTo>
                    <a:pt x="143497" y="777449"/>
                    <a:pt x="143493" y="775275"/>
                    <a:pt x="142150" y="773936"/>
                  </a:cubicBezTo>
                  <a:cubicBezTo>
                    <a:pt x="140810" y="772601"/>
                    <a:pt x="138643" y="772601"/>
                    <a:pt x="137302" y="773936"/>
                  </a:cubicBezTo>
                  <a:cubicBezTo>
                    <a:pt x="135959" y="775275"/>
                    <a:pt x="135955" y="777449"/>
                    <a:pt x="137294" y="778792"/>
                  </a:cubicBezTo>
                  <a:cubicBezTo>
                    <a:pt x="137297" y="778795"/>
                    <a:pt x="137299" y="778798"/>
                    <a:pt x="137302" y="778801"/>
                  </a:cubicBezTo>
                  <a:moveTo>
                    <a:pt x="449205" y="460459"/>
                  </a:moveTo>
                  <a:cubicBezTo>
                    <a:pt x="452585" y="463896"/>
                    <a:pt x="458110" y="463943"/>
                    <a:pt x="461547" y="460565"/>
                  </a:cubicBezTo>
                  <a:cubicBezTo>
                    <a:pt x="461583" y="460530"/>
                    <a:pt x="461619" y="460495"/>
                    <a:pt x="461653" y="460459"/>
                  </a:cubicBezTo>
                  <a:cubicBezTo>
                    <a:pt x="465301" y="457246"/>
                    <a:pt x="465685" y="451695"/>
                    <a:pt x="462511" y="448012"/>
                  </a:cubicBezTo>
                  <a:cubicBezTo>
                    <a:pt x="459248" y="444345"/>
                    <a:pt x="453651" y="443964"/>
                    <a:pt x="449921" y="447153"/>
                  </a:cubicBezTo>
                  <a:cubicBezTo>
                    <a:pt x="446444" y="450604"/>
                    <a:pt x="446424" y="456222"/>
                    <a:pt x="449875" y="459698"/>
                  </a:cubicBezTo>
                  <a:cubicBezTo>
                    <a:pt x="449891" y="459714"/>
                    <a:pt x="449905" y="459728"/>
                    <a:pt x="449921" y="459744"/>
                  </a:cubicBezTo>
                  <a:moveTo>
                    <a:pt x="412864" y="492508"/>
                  </a:moveTo>
                  <a:cubicBezTo>
                    <a:pt x="415686" y="496121"/>
                    <a:pt x="420901" y="496762"/>
                    <a:pt x="424512" y="493940"/>
                  </a:cubicBezTo>
                  <a:cubicBezTo>
                    <a:pt x="428125" y="491120"/>
                    <a:pt x="428766" y="485905"/>
                    <a:pt x="425944" y="482293"/>
                  </a:cubicBezTo>
                  <a:cubicBezTo>
                    <a:pt x="423124" y="478681"/>
                    <a:pt x="417909" y="478039"/>
                    <a:pt x="414297" y="480860"/>
                  </a:cubicBezTo>
                  <a:cubicBezTo>
                    <a:pt x="413992" y="481098"/>
                    <a:pt x="413706" y="481357"/>
                    <a:pt x="413437" y="481635"/>
                  </a:cubicBezTo>
                  <a:cubicBezTo>
                    <a:pt x="410000" y="484666"/>
                    <a:pt x="409672" y="489910"/>
                    <a:pt x="412704" y="493347"/>
                  </a:cubicBezTo>
                  <a:cubicBezTo>
                    <a:pt x="412710" y="493354"/>
                    <a:pt x="412716" y="493359"/>
                    <a:pt x="412721" y="493367"/>
                  </a:cubicBezTo>
                  <a:moveTo>
                    <a:pt x="375236" y="525988"/>
                  </a:moveTo>
                  <a:cubicBezTo>
                    <a:pt x="378277" y="528895"/>
                    <a:pt x="383068" y="528895"/>
                    <a:pt x="386109" y="525988"/>
                  </a:cubicBezTo>
                  <a:cubicBezTo>
                    <a:pt x="389091" y="522976"/>
                    <a:pt x="389091" y="518126"/>
                    <a:pt x="386109" y="515114"/>
                  </a:cubicBezTo>
                  <a:cubicBezTo>
                    <a:pt x="383191" y="512111"/>
                    <a:pt x="378389" y="512044"/>
                    <a:pt x="375386" y="514964"/>
                  </a:cubicBezTo>
                  <a:cubicBezTo>
                    <a:pt x="375336" y="515012"/>
                    <a:pt x="375286" y="515062"/>
                    <a:pt x="375236" y="515114"/>
                  </a:cubicBezTo>
                  <a:cubicBezTo>
                    <a:pt x="372254" y="518126"/>
                    <a:pt x="372254" y="522976"/>
                    <a:pt x="375236" y="525988"/>
                  </a:cubicBezTo>
                  <a:moveTo>
                    <a:pt x="338179" y="558752"/>
                  </a:moveTo>
                  <a:cubicBezTo>
                    <a:pt x="340961" y="561479"/>
                    <a:pt x="345413" y="561479"/>
                    <a:pt x="348195" y="558752"/>
                  </a:cubicBezTo>
                  <a:cubicBezTo>
                    <a:pt x="351153" y="556254"/>
                    <a:pt x="351525" y="551830"/>
                    <a:pt x="349027" y="548873"/>
                  </a:cubicBezTo>
                  <a:cubicBezTo>
                    <a:pt x="348989" y="548827"/>
                    <a:pt x="348950" y="548781"/>
                    <a:pt x="348910" y="548737"/>
                  </a:cubicBezTo>
                  <a:cubicBezTo>
                    <a:pt x="346129" y="546010"/>
                    <a:pt x="341676" y="546010"/>
                    <a:pt x="338895" y="548737"/>
                  </a:cubicBezTo>
                  <a:cubicBezTo>
                    <a:pt x="336129" y="551446"/>
                    <a:pt x="336083" y="555885"/>
                    <a:pt x="338793" y="558650"/>
                  </a:cubicBezTo>
                  <a:cubicBezTo>
                    <a:pt x="338827" y="558685"/>
                    <a:pt x="338860" y="558719"/>
                    <a:pt x="338895" y="558752"/>
                  </a:cubicBezTo>
                  <a:moveTo>
                    <a:pt x="301981" y="591516"/>
                  </a:moveTo>
                  <a:cubicBezTo>
                    <a:pt x="304534" y="593987"/>
                    <a:pt x="308586" y="593987"/>
                    <a:pt x="311138" y="591516"/>
                  </a:cubicBezTo>
                  <a:cubicBezTo>
                    <a:pt x="313825" y="589145"/>
                    <a:pt x="314081" y="585046"/>
                    <a:pt x="311710" y="582359"/>
                  </a:cubicBezTo>
                  <a:cubicBezTo>
                    <a:pt x="309340" y="579672"/>
                    <a:pt x="305241" y="579416"/>
                    <a:pt x="302554" y="581787"/>
                  </a:cubicBezTo>
                  <a:cubicBezTo>
                    <a:pt x="300083" y="584339"/>
                    <a:pt x="300083" y="588391"/>
                    <a:pt x="302554" y="590944"/>
                  </a:cubicBezTo>
                  <a:moveTo>
                    <a:pt x="264353" y="624709"/>
                  </a:moveTo>
                  <a:cubicBezTo>
                    <a:pt x="266645" y="627000"/>
                    <a:pt x="270359" y="626999"/>
                    <a:pt x="272648" y="624706"/>
                  </a:cubicBezTo>
                  <a:cubicBezTo>
                    <a:pt x="274939" y="622416"/>
                    <a:pt x="274937" y="618702"/>
                    <a:pt x="272647" y="616411"/>
                  </a:cubicBezTo>
                  <a:cubicBezTo>
                    <a:pt x="270356" y="614122"/>
                    <a:pt x="266643" y="614122"/>
                    <a:pt x="264353" y="616411"/>
                  </a:cubicBezTo>
                  <a:cubicBezTo>
                    <a:pt x="262061" y="618702"/>
                    <a:pt x="262061" y="622416"/>
                    <a:pt x="264350" y="624706"/>
                  </a:cubicBezTo>
                  <a:cubicBezTo>
                    <a:pt x="264351" y="624708"/>
                    <a:pt x="264351" y="624708"/>
                    <a:pt x="264353" y="624709"/>
                  </a:cubicBezTo>
                  <a:moveTo>
                    <a:pt x="227439" y="657044"/>
                  </a:moveTo>
                  <a:cubicBezTo>
                    <a:pt x="229578" y="659026"/>
                    <a:pt x="232883" y="659026"/>
                    <a:pt x="235022" y="657044"/>
                  </a:cubicBezTo>
                  <a:cubicBezTo>
                    <a:pt x="236985" y="654952"/>
                    <a:pt x="236985" y="651696"/>
                    <a:pt x="235022" y="649604"/>
                  </a:cubicBezTo>
                  <a:cubicBezTo>
                    <a:pt x="233087" y="647392"/>
                    <a:pt x="229723" y="647168"/>
                    <a:pt x="227511" y="649104"/>
                  </a:cubicBezTo>
                  <a:cubicBezTo>
                    <a:pt x="225299" y="651039"/>
                    <a:pt x="225074" y="654403"/>
                    <a:pt x="227010" y="656615"/>
                  </a:cubicBezTo>
                  <a:moveTo>
                    <a:pt x="190097" y="689379"/>
                  </a:moveTo>
                  <a:cubicBezTo>
                    <a:pt x="191930" y="691160"/>
                    <a:pt x="194846" y="691160"/>
                    <a:pt x="196678" y="689379"/>
                  </a:cubicBezTo>
                  <a:cubicBezTo>
                    <a:pt x="198495" y="687621"/>
                    <a:pt x="198544" y="684722"/>
                    <a:pt x="196786" y="682905"/>
                  </a:cubicBezTo>
                  <a:cubicBezTo>
                    <a:pt x="196751" y="682869"/>
                    <a:pt x="196714" y="682833"/>
                    <a:pt x="196678" y="682798"/>
                  </a:cubicBezTo>
                  <a:cubicBezTo>
                    <a:pt x="194846" y="681016"/>
                    <a:pt x="191930" y="681016"/>
                    <a:pt x="190097" y="682798"/>
                  </a:cubicBezTo>
                  <a:cubicBezTo>
                    <a:pt x="188280" y="684556"/>
                    <a:pt x="188231" y="687455"/>
                    <a:pt x="189990" y="689272"/>
                  </a:cubicBezTo>
                  <a:cubicBezTo>
                    <a:pt x="190024" y="689308"/>
                    <a:pt x="190061" y="689343"/>
                    <a:pt x="190097" y="689379"/>
                  </a:cubicBezTo>
                  <a:moveTo>
                    <a:pt x="153184" y="722143"/>
                  </a:moveTo>
                  <a:cubicBezTo>
                    <a:pt x="154786" y="723670"/>
                    <a:pt x="157304" y="723670"/>
                    <a:pt x="158907" y="722143"/>
                  </a:cubicBezTo>
                  <a:cubicBezTo>
                    <a:pt x="160488" y="720710"/>
                    <a:pt x="160606" y="718267"/>
                    <a:pt x="159173" y="716686"/>
                  </a:cubicBezTo>
                  <a:cubicBezTo>
                    <a:pt x="159088" y="716593"/>
                    <a:pt x="159000" y="716505"/>
                    <a:pt x="158907" y="716420"/>
                  </a:cubicBezTo>
                  <a:cubicBezTo>
                    <a:pt x="157359" y="714839"/>
                    <a:pt x="154822" y="714814"/>
                    <a:pt x="153241" y="716363"/>
                  </a:cubicBezTo>
                  <a:cubicBezTo>
                    <a:pt x="153222" y="716382"/>
                    <a:pt x="153202" y="716400"/>
                    <a:pt x="153184" y="716420"/>
                  </a:cubicBezTo>
                  <a:cubicBezTo>
                    <a:pt x="151564" y="718040"/>
                    <a:pt x="151564" y="720667"/>
                    <a:pt x="153184" y="722286"/>
                  </a:cubicBezTo>
                  <a:moveTo>
                    <a:pt x="116127" y="755050"/>
                  </a:moveTo>
                  <a:cubicBezTo>
                    <a:pt x="117509" y="756461"/>
                    <a:pt x="119774" y="756484"/>
                    <a:pt x="121185" y="755101"/>
                  </a:cubicBezTo>
                  <a:cubicBezTo>
                    <a:pt x="122596" y="753718"/>
                    <a:pt x="122619" y="751454"/>
                    <a:pt x="121236" y="750043"/>
                  </a:cubicBezTo>
                  <a:cubicBezTo>
                    <a:pt x="119853" y="748632"/>
                    <a:pt x="117588" y="748609"/>
                    <a:pt x="116177" y="749993"/>
                  </a:cubicBezTo>
                  <a:cubicBezTo>
                    <a:pt x="116160" y="750008"/>
                    <a:pt x="116144" y="750026"/>
                    <a:pt x="116127" y="750043"/>
                  </a:cubicBezTo>
                  <a:cubicBezTo>
                    <a:pt x="114764" y="751434"/>
                    <a:pt x="114764" y="753660"/>
                    <a:pt x="116127" y="755050"/>
                  </a:cubicBezTo>
                  <a:moveTo>
                    <a:pt x="79214" y="787672"/>
                  </a:moveTo>
                  <a:cubicBezTo>
                    <a:pt x="80228" y="788777"/>
                    <a:pt x="81948" y="788852"/>
                    <a:pt x="83055" y="787838"/>
                  </a:cubicBezTo>
                  <a:cubicBezTo>
                    <a:pt x="83113" y="787785"/>
                    <a:pt x="83167" y="787729"/>
                    <a:pt x="83220" y="787672"/>
                  </a:cubicBezTo>
                  <a:cubicBezTo>
                    <a:pt x="84326" y="786657"/>
                    <a:pt x="84400" y="784937"/>
                    <a:pt x="83385" y="783830"/>
                  </a:cubicBezTo>
                  <a:cubicBezTo>
                    <a:pt x="83333" y="783773"/>
                    <a:pt x="83277" y="783718"/>
                    <a:pt x="83220" y="783665"/>
                  </a:cubicBezTo>
                  <a:cubicBezTo>
                    <a:pt x="82107" y="782575"/>
                    <a:pt x="80327" y="782575"/>
                    <a:pt x="79214" y="783665"/>
                  </a:cubicBezTo>
                  <a:cubicBezTo>
                    <a:pt x="78108" y="784680"/>
                    <a:pt x="78034" y="786400"/>
                    <a:pt x="79049" y="787506"/>
                  </a:cubicBezTo>
                  <a:cubicBezTo>
                    <a:pt x="79101" y="787564"/>
                    <a:pt x="79157" y="787619"/>
                    <a:pt x="79214" y="787672"/>
                  </a:cubicBezTo>
                  <a:moveTo>
                    <a:pt x="479823" y="391354"/>
                  </a:moveTo>
                  <a:cubicBezTo>
                    <a:pt x="476584" y="387640"/>
                    <a:pt x="470947" y="387257"/>
                    <a:pt x="467233" y="390496"/>
                  </a:cubicBezTo>
                  <a:cubicBezTo>
                    <a:pt x="463519" y="393735"/>
                    <a:pt x="463135" y="399372"/>
                    <a:pt x="466374" y="403086"/>
                  </a:cubicBezTo>
                  <a:cubicBezTo>
                    <a:pt x="469614" y="406801"/>
                    <a:pt x="475251" y="407184"/>
                    <a:pt x="478965" y="403945"/>
                  </a:cubicBezTo>
                  <a:cubicBezTo>
                    <a:pt x="482679" y="400706"/>
                    <a:pt x="483063" y="395069"/>
                    <a:pt x="479823" y="391354"/>
                  </a:cubicBezTo>
                  <a:moveTo>
                    <a:pt x="516737" y="358590"/>
                  </a:moveTo>
                  <a:cubicBezTo>
                    <a:pt x="513738" y="355123"/>
                    <a:pt x="508497" y="354746"/>
                    <a:pt x="505032" y="357743"/>
                  </a:cubicBezTo>
                  <a:cubicBezTo>
                    <a:pt x="501565" y="360742"/>
                    <a:pt x="501186" y="365983"/>
                    <a:pt x="504185" y="369448"/>
                  </a:cubicBezTo>
                  <a:cubicBezTo>
                    <a:pt x="507184" y="372915"/>
                    <a:pt x="512424" y="373294"/>
                    <a:pt x="515890" y="370295"/>
                  </a:cubicBezTo>
                  <a:cubicBezTo>
                    <a:pt x="515934" y="370257"/>
                    <a:pt x="515978" y="370218"/>
                    <a:pt x="516021" y="370179"/>
                  </a:cubicBezTo>
                  <a:cubicBezTo>
                    <a:pt x="519416" y="367219"/>
                    <a:pt x="519770" y="362068"/>
                    <a:pt x="516810" y="358673"/>
                  </a:cubicBezTo>
                  <a:cubicBezTo>
                    <a:pt x="516785" y="358646"/>
                    <a:pt x="516761" y="358617"/>
                    <a:pt x="516737" y="358590"/>
                  </a:cubicBezTo>
                  <a:moveTo>
                    <a:pt x="553650" y="325826"/>
                  </a:moveTo>
                  <a:cubicBezTo>
                    <a:pt x="550844" y="322666"/>
                    <a:pt x="546008" y="322377"/>
                    <a:pt x="542848" y="325182"/>
                  </a:cubicBezTo>
                  <a:cubicBezTo>
                    <a:pt x="539687" y="327988"/>
                    <a:pt x="539398" y="332824"/>
                    <a:pt x="542204" y="335984"/>
                  </a:cubicBezTo>
                  <a:cubicBezTo>
                    <a:pt x="545246" y="338892"/>
                    <a:pt x="550036" y="338892"/>
                    <a:pt x="553078" y="335984"/>
                  </a:cubicBezTo>
                  <a:cubicBezTo>
                    <a:pt x="556059" y="332973"/>
                    <a:pt x="556059" y="328122"/>
                    <a:pt x="553078" y="325111"/>
                  </a:cubicBezTo>
                  <a:moveTo>
                    <a:pt x="590134" y="292347"/>
                  </a:moveTo>
                  <a:cubicBezTo>
                    <a:pt x="587539" y="289581"/>
                    <a:pt x="583192" y="289444"/>
                    <a:pt x="580426" y="292039"/>
                  </a:cubicBezTo>
                  <a:cubicBezTo>
                    <a:pt x="580321" y="292138"/>
                    <a:pt x="580218" y="292241"/>
                    <a:pt x="580119" y="292347"/>
                  </a:cubicBezTo>
                  <a:cubicBezTo>
                    <a:pt x="577160" y="294845"/>
                    <a:pt x="576788" y="299269"/>
                    <a:pt x="579286" y="302226"/>
                  </a:cubicBezTo>
                  <a:cubicBezTo>
                    <a:pt x="579325" y="302272"/>
                    <a:pt x="579363" y="302317"/>
                    <a:pt x="579403" y="302362"/>
                  </a:cubicBezTo>
                  <a:cubicBezTo>
                    <a:pt x="582185" y="305089"/>
                    <a:pt x="586637" y="305089"/>
                    <a:pt x="589419" y="302362"/>
                  </a:cubicBezTo>
                  <a:cubicBezTo>
                    <a:pt x="592184" y="299652"/>
                    <a:pt x="592230" y="295214"/>
                    <a:pt x="589520" y="292448"/>
                  </a:cubicBezTo>
                  <a:cubicBezTo>
                    <a:pt x="589486" y="292414"/>
                    <a:pt x="589453" y="292379"/>
                    <a:pt x="589419" y="292347"/>
                  </a:cubicBezTo>
                  <a:moveTo>
                    <a:pt x="628049" y="260584"/>
                  </a:moveTo>
                  <a:cubicBezTo>
                    <a:pt x="625549" y="258056"/>
                    <a:pt x="621472" y="258033"/>
                    <a:pt x="618944" y="260532"/>
                  </a:cubicBezTo>
                  <a:cubicBezTo>
                    <a:pt x="618926" y="260550"/>
                    <a:pt x="618909" y="260567"/>
                    <a:pt x="618892" y="260584"/>
                  </a:cubicBezTo>
                  <a:cubicBezTo>
                    <a:pt x="616205" y="262955"/>
                    <a:pt x="615949" y="267054"/>
                    <a:pt x="618320" y="269741"/>
                  </a:cubicBezTo>
                  <a:cubicBezTo>
                    <a:pt x="620691" y="272428"/>
                    <a:pt x="624790" y="272684"/>
                    <a:pt x="627477" y="270313"/>
                  </a:cubicBezTo>
                  <a:cubicBezTo>
                    <a:pt x="630005" y="267814"/>
                    <a:pt x="630028" y="263736"/>
                    <a:pt x="627528" y="261208"/>
                  </a:cubicBezTo>
                  <a:cubicBezTo>
                    <a:pt x="627511" y="261191"/>
                    <a:pt x="627494" y="261173"/>
                    <a:pt x="627477" y="261156"/>
                  </a:cubicBezTo>
                  <a:moveTo>
                    <a:pt x="664390" y="228392"/>
                  </a:moveTo>
                  <a:cubicBezTo>
                    <a:pt x="662098" y="226101"/>
                    <a:pt x="658384" y="226103"/>
                    <a:pt x="656094" y="228395"/>
                  </a:cubicBezTo>
                  <a:cubicBezTo>
                    <a:pt x="653804" y="230686"/>
                    <a:pt x="653805" y="234400"/>
                    <a:pt x="656096" y="236690"/>
                  </a:cubicBezTo>
                  <a:cubicBezTo>
                    <a:pt x="658386" y="238980"/>
                    <a:pt x="662099" y="238980"/>
                    <a:pt x="664390" y="236690"/>
                  </a:cubicBezTo>
                  <a:cubicBezTo>
                    <a:pt x="666682" y="234400"/>
                    <a:pt x="666682" y="230686"/>
                    <a:pt x="664393" y="228395"/>
                  </a:cubicBezTo>
                  <a:cubicBezTo>
                    <a:pt x="664391" y="228394"/>
                    <a:pt x="664391" y="228394"/>
                    <a:pt x="664390" y="228392"/>
                  </a:cubicBezTo>
                  <a:moveTo>
                    <a:pt x="701303" y="195485"/>
                  </a:moveTo>
                  <a:cubicBezTo>
                    <a:pt x="699367" y="193273"/>
                    <a:pt x="696004" y="193048"/>
                    <a:pt x="693792" y="194984"/>
                  </a:cubicBezTo>
                  <a:cubicBezTo>
                    <a:pt x="691580" y="196920"/>
                    <a:pt x="691355" y="200284"/>
                    <a:pt x="693291" y="202496"/>
                  </a:cubicBezTo>
                  <a:cubicBezTo>
                    <a:pt x="695227" y="204708"/>
                    <a:pt x="698590" y="204932"/>
                    <a:pt x="700802" y="202996"/>
                  </a:cubicBezTo>
                  <a:cubicBezTo>
                    <a:pt x="703014" y="201061"/>
                    <a:pt x="703239" y="197697"/>
                    <a:pt x="701303" y="195485"/>
                  </a:cubicBezTo>
                  <a:moveTo>
                    <a:pt x="738216" y="162721"/>
                  </a:moveTo>
                  <a:cubicBezTo>
                    <a:pt x="736384" y="160940"/>
                    <a:pt x="733468" y="160940"/>
                    <a:pt x="731635" y="162721"/>
                  </a:cubicBezTo>
                  <a:cubicBezTo>
                    <a:pt x="729765" y="164538"/>
                    <a:pt x="729722" y="167527"/>
                    <a:pt x="731541" y="169397"/>
                  </a:cubicBezTo>
                  <a:cubicBezTo>
                    <a:pt x="733358" y="171267"/>
                    <a:pt x="736347" y="171310"/>
                    <a:pt x="738216" y="169493"/>
                  </a:cubicBezTo>
                  <a:cubicBezTo>
                    <a:pt x="740086" y="167675"/>
                    <a:pt x="740129" y="164685"/>
                    <a:pt x="738311" y="162815"/>
                  </a:cubicBezTo>
                  <a:cubicBezTo>
                    <a:pt x="738281" y="162784"/>
                    <a:pt x="738248" y="162752"/>
                    <a:pt x="738216" y="162721"/>
                  </a:cubicBezTo>
                  <a:moveTo>
                    <a:pt x="775130" y="129957"/>
                  </a:moveTo>
                  <a:cubicBezTo>
                    <a:pt x="773549" y="128409"/>
                    <a:pt x="771013" y="128434"/>
                    <a:pt x="769464" y="130014"/>
                  </a:cubicBezTo>
                  <a:cubicBezTo>
                    <a:pt x="767916" y="131595"/>
                    <a:pt x="767942" y="134132"/>
                    <a:pt x="769523" y="135680"/>
                  </a:cubicBezTo>
                  <a:cubicBezTo>
                    <a:pt x="771079" y="137206"/>
                    <a:pt x="773572" y="137206"/>
                    <a:pt x="775130" y="135680"/>
                  </a:cubicBezTo>
                  <a:cubicBezTo>
                    <a:pt x="776711" y="134246"/>
                    <a:pt x="776830" y="131804"/>
                    <a:pt x="775396" y="130223"/>
                  </a:cubicBezTo>
                  <a:cubicBezTo>
                    <a:pt x="775312" y="130130"/>
                    <a:pt x="775223" y="130041"/>
                    <a:pt x="775130" y="129957"/>
                  </a:cubicBezTo>
                  <a:moveTo>
                    <a:pt x="812186" y="97192"/>
                  </a:moveTo>
                  <a:cubicBezTo>
                    <a:pt x="810843" y="95853"/>
                    <a:pt x="808669" y="95858"/>
                    <a:pt x="807330" y="97201"/>
                  </a:cubicBezTo>
                  <a:cubicBezTo>
                    <a:pt x="805991" y="98545"/>
                    <a:pt x="805995" y="100718"/>
                    <a:pt x="807339" y="102057"/>
                  </a:cubicBezTo>
                  <a:cubicBezTo>
                    <a:pt x="808678" y="103392"/>
                    <a:pt x="810846" y="103392"/>
                    <a:pt x="812186" y="102057"/>
                  </a:cubicBezTo>
                  <a:cubicBezTo>
                    <a:pt x="813530" y="100718"/>
                    <a:pt x="813534" y="98545"/>
                    <a:pt x="812195" y="97201"/>
                  </a:cubicBezTo>
                  <a:cubicBezTo>
                    <a:pt x="812192" y="97198"/>
                    <a:pt x="812189" y="97195"/>
                    <a:pt x="812186" y="97192"/>
                  </a:cubicBezTo>
                  <a:moveTo>
                    <a:pt x="849099" y="64428"/>
                  </a:moveTo>
                  <a:cubicBezTo>
                    <a:pt x="848032" y="63244"/>
                    <a:pt x="846207" y="63146"/>
                    <a:pt x="845022" y="64214"/>
                  </a:cubicBezTo>
                  <a:cubicBezTo>
                    <a:pt x="843837" y="65281"/>
                    <a:pt x="843740" y="67107"/>
                    <a:pt x="844807" y="68291"/>
                  </a:cubicBezTo>
                  <a:cubicBezTo>
                    <a:pt x="845920" y="69382"/>
                    <a:pt x="847700" y="69382"/>
                    <a:pt x="848813" y="68291"/>
                  </a:cubicBezTo>
                  <a:cubicBezTo>
                    <a:pt x="849922" y="67131"/>
                    <a:pt x="849922" y="65303"/>
                    <a:pt x="848813" y="64142"/>
                  </a:cubicBezTo>
                  <a:moveTo>
                    <a:pt x="458648" y="368033"/>
                  </a:moveTo>
                  <a:cubicBezTo>
                    <a:pt x="455345" y="364410"/>
                    <a:pt x="449750" y="364091"/>
                    <a:pt x="446058" y="367318"/>
                  </a:cubicBezTo>
                  <a:cubicBezTo>
                    <a:pt x="442385" y="370561"/>
                    <a:pt x="442037" y="376167"/>
                    <a:pt x="445281" y="379838"/>
                  </a:cubicBezTo>
                  <a:cubicBezTo>
                    <a:pt x="445301" y="379863"/>
                    <a:pt x="445321" y="379885"/>
                    <a:pt x="445342" y="379908"/>
                  </a:cubicBezTo>
                  <a:cubicBezTo>
                    <a:pt x="448622" y="383583"/>
                    <a:pt x="454259" y="383903"/>
                    <a:pt x="457933" y="380624"/>
                  </a:cubicBezTo>
                  <a:cubicBezTo>
                    <a:pt x="461607" y="377344"/>
                    <a:pt x="461928" y="371707"/>
                    <a:pt x="458648" y="368033"/>
                  </a:cubicBezTo>
                  <a:moveTo>
                    <a:pt x="495562" y="335269"/>
                  </a:moveTo>
                  <a:cubicBezTo>
                    <a:pt x="492518" y="331842"/>
                    <a:pt x="487273" y="331530"/>
                    <a:pt x="483847" y="334574"/>
                  </a:cubicBezTo>
                  <a:cubicBezTo>
                    <a:pt x="480420" y="337615"/>
                    <a:pt x="480108" y="342861"/>
                    <a:pt x="483151" y="346289"/>
                  </a:cubicBezTo>
                  <a:cubicBezTo>
                    <a:pt x="486187" y="349708"/>
                    <a:pt x="491417" y="350027"/>
                    <a:pt x="494846" y="347001"/>
                  </a:cubicBezTo>
                  <a:cubicBezTo>
                    <a:pt x="498283" y="343969"/>
                    <a:pt x="498610" y="338726"/>
                    <a:pt x="495579" y="335289"/>
                  </a:cubicBezTo>
                  <a:cubicBezTo>
                    <a:pt x="495573" y="335282"/>
                    <a:pt x="495567" y="335276"/>
                    <a:pt x="495562" y="335269"/>
                  </a:cubicBezTo>
                  <a:moveTo>
                    <a:pt x="532618" y="302505"/>
                  </a:moveTo>
                  <a:cubicBezTo>
                    <a:pt x="529606" y="299523"/>
                    <a:pt x="524756" y="299523"/>
                    <a:pt x="521744" y="302505"/>
                  </a:cubicBezTo>
                  <a:cubicBezTo>
                    <a:pt x="518741" y="305424"/>
                    <a:pt x="518674" y="310225"/>
                    <a:pt x="521594" y="313228"/>
                  </a:cubicBezTo>
                  <a:cubicBezTo>
                    <a:pt x="521643" y="313278"/>
                    <a:pt x="521693" y="313328"/>
                    <a:pt x="521744" y="313379"/>
                  </a:cubicBezTo>
                  <a:cubicBezTo>
                    <a:pt x="524756" y="316360"/>
                    <a:pt x="529606" y="316360"/>
                    <a:pt x="532618" y="313379"/>
                  </a:cubicBezTo>
                  <a:cubicBezTo>
                    <a:pt x="535525" y="310337"/>
                    <a:pt x="535525" y="305547"/>
                    <a:pt x="532618" y="302505"/>
                  </a:cubicBezTo>
                  <a:moveTo>
                    <a:pt x="569531" y="269741"/>
                  </a:moveTo>
                  <a:cubicBezTo>
                    <a:pt x="566750" y="267014"/>
                    <a:pt x="562297" y="267014"/>
                    <a:pt x="559516" y="269741"/>
                  </a:cubicBezTo>
                  <a:cubicBezTo>
                    <a:pt x="556934" y="272731"/>
                    <a:pt x="557263" y="277248"/>
                    <a:pt x="560253" y="279830"/>
                  </a:cubicBezTo>
                  <a:cubicBezTo>
                    <a:pt x="562707" y="281951"/>
                    <a:pt x="566279" y="282155"/>
                    <a:pt x="568959" y="280328"/>
                  </a:cubicBezTo>
                  <a:cubicBezTo>
                    <a:pt x="571686" y="277547"/>
                    <a:pt x="571686" y="273094"/>
                    <a:pt x="568959" y="270313"/>
                  </a:cubicBezTo>
                  <a:moveTo>
                    <a:pt x="605872" y="237549"/>
                  </a:moveTo>
                  <a:cubicBezTo>
                    <a:pt x="603320" y="235078"/>
                    <a:pt x="599268" y="235078"/>
                    <a:pt x="596716" y="237549"/>
                  </a:cubicBezTo>
                  <a:cubicBezTo>
                    <a:pt x="594316" y="240130"/>
                    <a:pt x="594316" y="244125"/>
                    <a:pt x="596716" y="246706"/>
                  </a:cubicBezTo>
                  <a:cubicBezTo>
                    <a:pt x="599268" y="249177"/>
                    <a:pt x="603320" y="249177"/>
                    <a:pt x="605872" y="246706"/>
                  </a:cubicBezTo>
                  <a:cubicBezTo>
                    <a:pt x="608400" y="244206"/>
                    <a:pt x="608423" y="240129"/>
                    <a:pt x="605924" y="237600"/>
                  </a:cubicBezTo>
                  <a:cubicBezTo>
                    <a:pt x="605907" y="237583"/>
                    <a:pt x="605889" y="237566"/>
                    <a:pt x="605872" y="237549"/>
                  </a:cubicBezTo>
                  <a:moveTo>
                    <a:pt x="642929" y="204928"/>
                  </a:moveTo>
                  <a:cubicBezTo>
                    <a:pt x="640637" y="202637"/>
                    <a:pt x="636922" y="202639"/>
                    <a:pt x="634633" y="204931"/>
                  </a:cubicBezTo>
                  <a:cubicBezTo>
                    <a:pt x="632343" y="207221"/>
                    <a:pt x="632344" y="210936"/>
                    <a:pt x="634635" y="213226"/>
                  </a:cubicBezTo>
                  <a:cubicBezTo>
                    <a:pt x="636925" y="215515"/>
                    <a:pt x="640638" y="215515"/>
                    <a:pt x="642929" y="213226"/>
                  </a:cubicBezTo>
                  <a:cubicBezTo>
                    <a:pt x="645221" y="210936"/>
                    <a:pt x="645221" y="207221"/>
                    <a:pt x="642932" y="204931"/>
                  </a:cubicBezTo>
                  <a:cubicBezTo>
                    <a:pt x="642930" y="204929"/>
                    <a:pt x="642930" y="204929"/>
                    <a:pt x="642929" y="204928"/>
                  </a:cubicBezTo>
                  <a:moveTo>
                    <a:pt x="679842" y="172164"/>
                  </a:moveTo>
                  <a:cubicBezTo>
                    <a:pt x="677780" y="170128"/>
                    <a:pt x="674464" y="170128"/>
                    <a:pt x="672402" y="172164"/>
                  </a:cubicBezTo>
                  <a:cubicBezTo>
                    <a:pt x="670190" y="174100"/>
                    <a:pt x="669965" y="177463"/>
                    <a:pt x="671901" y="179675"/>
                  </a:cubicBezTo>
                  <a:cubicBezTo>
                    <a:pt x="673837" y="181887"/>
                    <a:pt x="677201" y="182112"/>
                    <a:pt x="679413" y="180176"/>
                  </a:cubicBezTo>
                  <a:cubicBezTo>
                    <a:pt x="681449" y="178114"/>
                    <a:pt x="681449" y="174798"/>
                    <a:pt x="679413" y="172736"/>
                  </a:cubicBezTo>
                  <a:moveTo>
                    <a:pt x="717328" y="138255"/>
                  </a:moveTo>
                  <a:cubicBezTo>
                    <a:pt x="715569" y="136438"/>
                    <a:pt x="712670" y="136389"/>
                    <a:pt x="710853" y="138148"/>
                  </a:cubicBezTo>
                  <a:cubicBezTo>
                    <a:pt x="710818" y="138182"/>
                    <a:pt x="710782" y="138219"/>
                    <a:pt x="710746" y="138255"/>
                  </a:cubicBezTo>
                  <a:cubicBezTo>
                    <a:pt x="708965" y="140088"/>
                    <a:pt x="708965" y="143004"/>
                    <a:pt x="710746" y="144836"/>
                  </a:cubicBezTo>
                  <a:cubicBezTo>
                    <a:pt x="712626" y="146635"/>
                    <a:pt x="715591" y="146635"/>
                    <a:pt x="717471" y="144836"/>
                  </a:cubicBezTo>
                  <a:cubicBezTo>
                    <a:pt x="719252" y="143004"/>
                    <a:pt x="719252" y="140088"/>
                    <a:pt x="717471" y="138255"/>
                  </a:cubicBezTo>
                  <a:moveTo>
                    <a:pt x="754527" y="105491"/>
                  </a:moveTo>
                  <a:cubicBezTo>
                    <a:pt x="752877" y="103946"/>
                    <a:pt x="750311" y="103946"/>
                    <a:pt x="748661" y="105491"/>
                  </a:cubicBezTo>
                  <a:cubicBezTo>
                    <a:pt x="747134" y="107093"/>
                    <a:pt x="747134" y="109611"/>
                    <a:pt x="748661" y="111214"/>
                  </a:cubicBezTo>
                  <a:cubicBezTo>
                    <a:pt x="750123" y="112912"/>
                    <a:pt x="752686" y="113105"/>
                    <a:pt x="754384" y="111643"/>
                  </a:cubicBezTo>
                  <a:cubicBezTo>
                    <a:pt x="756082" y="110181"/>
                    <a:pt x="756275" y="107618"/>
                    <a:pt x="754813" y="105920"/>
                  </a:cubicBezTo>
                  <a:moveTo>
                    <a:pt x="791726" y="73156"/>
                  </a:moveTo>
                  <a:cubicBezTo>
                    <a:pt x="790383" y="71817"/>
                    <a:pt x="788210" y="71821"/>
                    <a:pt x="786871" y="73165"/>
                  </a:cubicBezTo>
                  <a:cubicBezTo>
                    <a:pt x="785531" y="74508"/>
                    <a:pt x="785536" y="76681"/>
                    <a:pt x="786879" y="78021"/>
                  </a:cubicBezTo>
                  <a:cubicBezTo>
                    <a:pt x="788218" y="79355"/>
                    <a:pt x="790386" y="79355"/>
                    <a:pt x="791726" y="78021"/>
                  </a:cubicBezTo>
                  <a:cubicBezTo>
                    <a:pt x="793070" y="76681"/>
                    <a:pt x="793074" y="74508"/>
                    <a:pt x="791735" y="73165"/>
                  </a:cubicBezTo>
                  <a:cubicBezTo>
                    <a:pt x="791732" y="73162"/>
                    <a:pt x="791729" y="73159"/>
                    <a:pt x="791726" y="73156"/>
                  </a:cubicBezTo>
                  <a:moveTo>
                    <a:pt x="828354" y="40535"/>
                  </a:moveTo>
                  <a:cubicBezTo>
                    <a:pt x="827180" y="39476"/>
                    <a:pt x="825370" y="39569"/>
                    <a:pt x="824312" y="40744"/>
                  </a:cubicBezTo>
                  <a:cubicBezTo>
                    <a:pt x="823433" y="41718"/>
                    <a:pt x="823330" y="43165"/>
                    <a:pt x="824061" y="44255"/>
                  </a:cubicBezTo>
                  <a:cubicBezTo>
                    <a:pt x="825222" y="45364"/>
                    <a:pt x="827050" y="45364"/>
                    <a:pt x="828210" y="44255"/>
                  </a:cubicBezTo>
                  <a:cubicBezTo>
                    <a:pt x="829316" y="43240"/>
                    <a:pt x="829391" y="41521"/>
                    <a:pt x="828375" y="40413"/>
                  </a:cubicBezTo>
                  <a:cubicBezTo>
                    <a:pt x="828324" y="40356"/>
                    <a:pt x="828268" y="40302"/>
                    <a:pt x="828210" y="40249"/>
                  </a:cubicBezTo>
                  <a:moveTo>
                    <a:pt x="437759" y="344569"/>
                  </a:moveTo>
                  <a:cubicBezTo>
                    <a:pt x="434469" y="340939"/>
                    <a:pt x="428859" y="340666"/>
                    <a:pt x="425229" y="343957"/>
                  </a:cubicBezTo>
                  <a:cubicBezTo>
                    <a:pt x="421672" y="347183"/>
                    <a:pt x="421327" y="352654"/>
                    <a:pt x="424453" y="356301"/>
                  </a:cubicBezTo>
                  <a:cubicBezTo>
                    <a:pt x="427717" y="359968"/>
                    <a:pt x="433314" y="360349"/>
                    <a:pt x="437044" y="357159"/>
                  </a:cubicBezTo>
                  <a:cubicBezTo>
                    <a:pt x="440717" y="353916"/>
                    <a:pt x="441064" y="348310"/>
                    <a:pt x="437821" y="344639"/>
                  </a:cubicBezTo>
                  <a:cubicBezTo>
                    <a:pt x="437801" y="344615"/>
                    <a:pt x="437781" y="344592"/>
                    <a:pt x="437759" y="344569"/>
                  </a:cubicBezTo>
                  <a:moveTo>
                    <a:pt x="474816" y="311805"/>
                  </a:moveTo>
                  <a:cubicBezTo>
                    <a:pt x="471577" y="308563"/>
                    <a:pt x="466321" y="308561"/>
                    <a:pt x="463081" y="311802"/>
                  </a:cubicBezTo>
                  <a:cubicBezTo>
                    <a:pt x="459839" y="315041"/>
                    <a:pt x="459837" y="320295"/>
                    <a:pt x="463076" y="323537"/>
                  </a:cubicBezTo>
                  <a:cubicBezTo>
                    <a:pt x="466316" y="326779"/>
                    <a:pt x="471571" y="326780"/>
                    <a:pt x="474813" y="323540"/>
                  </a:cubicBezTo>
                  <a:cubicBezTo>
                    <a:pt x="474813" y="323540"/>
                    <a:pt x="474814" y="323538"/>
                    <a:pt x="474816" y="323537"/>
                  </a:cubicBezTo>
                  <a:cubicBezTo>
                    <a:pt x="478054" y="320296"/>
                    <a:pt x="478054" y="315045"/>
                    <a:pt x="474816" y="311805"/>
                  </a:cubicBezTo>
                  <a:moveTo>
                    <a:pt x="511729" y="279041"/>
                  </a:moveTo>
                  <a:cubicBezTo>
                    <a:pt x="508726" y="276009"/>
                    <a:pt x="503834" y="275986"/>
                    <a:pt x="500802" y="278988"/>
                  </a:cubicBezTo>
                  <a:cubicBezTo>
                    <a:pt x="497771" y="281991"/>
                    <a:pt x="497748" y="286883"/>
                    <a:pt x="500751" y="289914"/>
                  </a:cubicBezTo>
                  <a:cubicBezTo>
                    <a:pt x="503753" y="292946"/>
                    <a:pt x="508644" y="292969"/>
                    <a:pt x="511676" y="289967"/>
                  </a:cubicBezTo>
                  <a:cubicBezTo>
                    <a:pt x="511695" y="289950"/>
                    <a:pt x="511712" y="289931"/>
                    <a:pt x="511729" y="289914"/>
                  </a:cubicBezTo>
                  <a:cubicBezTo>
                    <a:pt x="514732" y="286996"/>
                    <a:pt x="514799" y="282194"/>
                    <a:pt x="511879" y="279191"/>
                  </a:cubicBezTo>
                  <a:cubicBezTo>
                    <a:pt x="511831" y="279141"/>
                    <a:pt x="511781" y="279091"/>
                    <a:pt x="511729" y="279041"/>
                  </a:cubicBezTo>
                  <a:moveTo>
                    <a:pt x="548642" y="246276"/>
                  </a:moveTo>
                  <a:cubicBezTo>
                    <a:pt x="545877" y="243455"/>
                    <a:pt x="541347" y="243409"/>
                    <a:pt x="538526" y="246175"/>
                  </a:cubicBezTo>
                  <a:cubicBezTo>
                    <a:pt x="535704" y="248940"/>
                    <a:pt x="535660" y="253470"/>
                    <a:pt x="538425" y="256292"/>
                  </a:cubicBezTo>
                  <a:cubicBezTo>
                    <a:pt x="541191" y="259113"/>
                    <a:pt x="545719" y="259159"/>
                    <a:pt x="548541" y="256393"/>
                  </a:cubicBezTo>
                  <a:cubicBezTo>
                    <a:pt x="548575" y="256359"/>
                    <a:pt x="548609" y="256326"/>
                    <a:pt x="548642" y="256292"/>
                  </a:cubicBezTo>
                  <a:cubicBezTo>
                    <a:pt x="551369" y="253510"/>
                    <a:pt x="551369" y="249058"/>
                    <a:pt x="548642" y="246276"/>
                  </a:cubicBezTo>
                  <a:moveTo>
                    <a:pt x="585126" y="213512"/>
                  </a:moveTo>
                  <a:cubicBezTo>
                    <a:pt x="582574" y="211041"/>
                    <a:pt x="578522" y="211041"/>
                    <a:pt x="575970" y="213512"/>
                  </a:cubicBezTo>
                  <a:cubicBezTo>
                    <a:pt x="573283" y="215883"/>
                    <a:pt x="573027" y="219982"/>
                    <a:pt x="575397" y="222669"/>
                  </a:cubicBezTo>
                  <a:cubicBezTo>
                    <a:pt x="577768" y="225356"/>
                    <a:pt x="581867" y="225612"/>
                    <a:pt x="584554" y="223241"/>
                  </a:cubicBezTo>
                  <a:cubicBezTo>
                    <a:pt x="586954" y="220660"/>
                    <a:pt x="586954" y="216666"/>
                    <a:pt x="584554" y="214085"/>
                  </a:cubicBezTo>
                  <a:moveTo>
                    <a:pt x="622612" y="181177"/>
                  </a:moveTo>
                  <a:cubicBezTo>
                    <a:pt x="620320" y="178887"/>
                    <a:pt x="616606" y="178888"/>
                    <a:pt x="614317" y="181180"/>
                  </a:cubicBezTo>
                  <a:cubicBezTo>
                    <a:pt x="612026" y="183471"/>
                    <a:pt x="612027" y="187185"/>
                    <a:pt x="614318" y="189476"/>
                  </a:cubicBezTo>
                  <a:cubicBezTo>
                    <a:pt x="616609" y="191765"/>
                    <a:pt x="620321" y="191765"/>
                    <a:pt x="622612" y="189476"/>
                  </a:cubicBezTo>
                  <a:cubicBezTo>
                    <a:pt x="624904" y="187185"/>
                    <a:pt x="624904" y="183471"/>
                    <a:pt x="622615" y="181180"/>
                  </a:cubicBezTo>
                  <a:cubicBezTo>
                    <a:pt x="622613" y="181179"/>
                    <a:pt x="622613" y="181179"/>
                    <a:pt x="622612" y="181177"/>
                  </a:cubicBezTo>
                  <a:moveTo>
                    <a:pt x="659525" y="148413"/>
                  </a:moveTo>
                  <a:cubicBezTo>
                    <a:pt x="657464" y="146377"/>
                    <a:pt x="654147" y="146377"/>
                    <a:pt x="652085" y="148413"/>
                  </a:cubicBezTo>
                  <a:cubicBezTo>
                    <a:pt x="650122" y="150505"/>
                    <a:pt x="650122" y="153761"/>
                    <a:pt x="652085" y="155853"/>
                  </a:cubicBezTo>
                  <a:cubicBezTo>
                    <a:pt x="654230" y="157840"/>
                    <a:pt x="657580" y="157713"/>
                    <a:pt x="659567" y="155568"/>
                  </a:cubicBezTo>
                  <a:cubicBezTo>
                    <a:pt x="661289" y="153708"/>
                    <a:pt x="661453" y="150888"/>
                    <a:pt x="659955" y="148843"/>
                  </a:cubicBezTo>
                  <a:moveTo>
                    <a:pt x="697011" y="116078"/>
                  </a:moveTo>
                  <a:cubicBezTo>
                    <a:pt x="695401" y="114027"/>
                    <a:pt x="692433" y="113670"/>
                    <a:pt x="690382" y="115280"/>
                  </a:cubicBezTo>
                  <a:cubicBezTo>
                    <a:pt x="688331" y="116891"/>
                    <a:pt x="687973" y="119858"/>
                    <a:pt x="689584" y="121910"/>
                  </a:cubicBezTo>
                  <a:cubicBezTo>
                    <a:pt x="689713" y="122073"/>
                    <a:pt x="689851" y="122228"/>
                    <a:pt x="690000" y="122374"/>
                  </a:cubicBezTo>
                  <a:cubicBezTo>
                    <a:pt x="691867" y="124195"/>
                    <a:pt x="694856" y="124158"/>
                    <a:pt x="696678" y="122291"/>
                  </a:cubicBezTo>
                  <a:cubicBezTo>
                    <a:pt x="698330" y="120597"/>
                    <a:pt x="698473" y="117940"/>
                    <a:pt x="697011" y="116078"/>
                  </a:cubicBezTo>
                  <a:moveTo>
                    <a:pt x="733924" y="83314"/>
                  </a:moveTo>
                  <a:cubicBezTo>
                    <a:pt x="732173" y="81836"/>
                    <a:pt x="729556" y="82057"/>
                    <a:pt x="728077" y="83808"/>
                  </a:cubicBezTo>
                  <a:cubicBezTo>
                    <a:pt x="726895" y="85207"/>
                    <a:pt x="726771" y="87216"/>
                    <a:pt x="727772" y="88751"/>
                  </a:cubicBezTo>
                  <a:cubicBezTo>
                    <a:pt x="729392" y="90371"/>
                    <a:pt x="732018" y="90371"/>
                    <a:pt x="733638" y="88751"/>
                  </a:cubicBezTo>
                  <a:cubicBezTo>
                    <a:pt x="735165" y="87149"/>
                    <a:pt x="735165" y="84631"/>
                    <a:pt x="733638" y="83028"/>
                  </a:cubicBezTo>
                  <a:moveTo>
                    <a:pt x="771124" y="49692"/>
                  </a:moveTo>
                  <a:cubicBezTo>
                    <a:pt x="769784" y="48348"/>
                    <a:pt x="767611" y="48344"/>
                    <a:pt x="766268" y="49683"/>
                  </a:cubicBezTo>
                  <a:cubicBezTo>
                    <a:pt x="766265" y="49686"/>
                    <a:pt x="766262" y="49689"/>
                    <a:pt x="766259" y="49692"/>
                  </a:cubicBezTo>
                  <a:cubicBezTo>
                    <a:pt x="764920" y="51035"/>
                    <a:pt x="764924" y="53208"/>
                    <a:pt x="766268" y="54548"/>
                  </a:cubicBezTo>
                  <a:cubicBezTo>
                    <a:pt x="767611" y="55887"/>
                    <a:pt x="769784" y="55883"/>
                    <a:pt x="771124" y="54539"/>
                  </a:cubicBezTo>
                  <a:cubicBezTo>
                    <a:pt x="772459" y="53200"/>
                    <a:pt x="772459" y="51032"/>
                    <a:pt x="771124" y="49692"/>
                  </a:cubicBezTo>
                  <a:moveTo>
                    <a:pt x="808180" y="16928"/>
                  </a:moveTo>
                  <a:cubicBezTo>
                    <a:pt x="807020" y="15819"/>
                    <a:pt x="805191" y="15819"/>
                    <a:pt x="804031" y="16928"/>
                  </a:cubicBezTo>
                  <a:cubicBezTo>
                    <a:pt x="802925" y="17942"/>
                    <a:pt x="802850" y="19662"/>
                    <a:pt x="803865" y="20769"/>
                  </a:cubicBezTo>
                  <a:cubicBezTo>
                    <a:pt x="803918" y="20826"/>
                    <a:pt x="803974" y="20881"/>
                    <a:pt x="804031" y="20934"/>
                  </a:cubicBezTo>
                  <a:cubicBezTo>
                    <a:pt x="805144" y="22024"/>
                    <a:pt x="806924" y="22024"/>
                    <a:pt x="808037" y="20934"/>
                  </a:cubicBezTo>
                  <a:cubicBezTo>
                    <a:pt x="809077" y="19746"/>
                    <a:pt x="809077" y="17972"/>
                    <a:pt x="808037" y="16784"/>
                  </a:cubicBezTo>
                  <a:moveTo>
                    <a:pt x="542204" y="462176"/>
                  </a:moveTo>
                  <a:cubicBezTo>
                    <a:pt x="538753" y="458700"/>
                    <a:pt x="533136" y="458680"/>
                    <a:pt x="529659" y="462131"/>
                  </a:cubicBezTo>
                  <a:cubicBezTo>
                    <a:pt x="529643" y="462146"/>
                    <a:pt x="529629" y="462161"/>
                    <a:pt x="529613" y="462176"/>
                  </a:cubicBezTo>
                  <a:cubicBezTo>
                    <a:pt x="526177" y="465556"/>
                    <a:pt x="526130" y="471081"/>
                    <a:pt x="529508" y="474518"/>
                  </a:cubicBezTo>
                  <a:cubicBezTo>
                    <a:pt x="529543" y="474554"/>
                    <a:pt x="529578" y="474589"/>
                    <a:pt x="529613" y="474624"/>
                  </a:cubicBezTo>
                  <a:cubicBezTo>
                    <a:pt x="532827" y="478272"/>
                    <a:pt x="538378" y="478656"/>
                    <a:pt x="542061" y="475482"/>
                  </a:cubicBezTo>
                  <a:cubicBezTo>
                    <a:pt x="545728" y="472219"/>
                    <a:pt x="546109" y="466622"/>
                    <a:pt x="542919" y="462892"/>
                  </a:cubicBezTo>
                  <a:moveTo>
                    <a:pt x="579833" y="430128"/>
                  </a:moveTo>
                  <a:cubicBezTo>
                    <a:pt x="576593" y="426886"/>
                    <a:pt x="571338" y="426884"/>
                    <a:pt x="568098" y="430125"/>
                  </a:cubicBezTo>
                  <a:cubicBezTo>
                    <a:pt x="564856" y="433364"/>
                    <a:pt x="564854" y="438618"/>
                    <a:pt x="568093" y="441860"/>
                  </a:cubicBezTo>
                  <a:cubicBezTo>
                    <a:pt x="571333" y="445102"/>
                    <a:pt x="576588" y="445103"/>
                    <a:pt x="579830" y="441863"/>
                  </a:cubicBezTo>
                  <a:cubicBezTo>
                    <a:pt x="579830" y="441863"/>
                    <a:pt x="579831" y="441861"/>
                    <a:pt x="579833" y="441860"/>
                  </a:cubicBezTo>
                  <a:cubicBezTo>
                    <a:pt x="583070" y="438619"/>
                    <a:pt x="583070" y="433368"/>
                    <a:pt x="579833" y="430128"/>
                  </a:cubicBezTo>
                  <a:moveTo>
                    <a:pt x="616746" y="397363"/>
                  </a:moveTo>
                  <a:cubicBezTo>
                    <a:pt x="613743" y="394445"/>
                    <a:pt x="608943" y="394512"/>
                    <a:pt x="606022" y="397514"/>
                  </a:cubicBezTo>
                  <a:cubicBezTo>
                    <a:pt x="603104" y="400517"/>
                    <a:pt x="603171" y="405318"/>
                    <a:pt x="606174" y="408237"/>
                  </a:cubicBezTo>
                  <a:cubicBezTo>
                    <a:pt x="609117" y="411099"/>
                    <a:pt x="613803" y="411099"/>
                    <a:pt x="616746" y="408237"/>
                  </a:cubicBezTo>
                  <a:cubicBezTo>
                    <a:pt x="619728" y="405225"/>
                    <a:pt x="619728" y="400375"/>
                    <a:pt x="616746" y="397363"/>
                  </a:cubicBezTo>
                  <a:moveTo>
                    <a:pt x="653802" y="364599"/>
                  </a:moveTo>
                  <a:cubicBezTo>
                    <a:pt x="651021" y="361872"/>
                    <a:pt x="646568" y="361872"/>
                    <a:pt x="643787" y="364599"/>
                  </a:cubicBezTo>
                  <a:cubicBezTo>
                    <a:pt x="641021" y="367195"/>
                    <a:pt x="640884" y="371541"/>
                    <a:pt x="643479" y="374307"/>
                  </a:cubicBezTo>
                  <a:cubicBezTo>
                    <a:pt x="643578" y="374413"/>
                    <a:pt x="643681" y="374516"/>
                    <a:pt x="643787" y="374615"/>
                  </a:cubicBezTo>
                  <a:cubicBezTo>
                    <a:pt x="646012" y="377880"/>
                    <a:pt x="650463" y="378721"/>
                    <a:pt x="653728" y="376496"/>
                  </a:cubicBezTo>
                  <a:cubicBezTo>
                    <a:pt x="656991" y="374271"/>
                    <a:pt x="657834" y="369820"/>
                    <a:pt x="655609" y="366555"/>
                  </a:cubicBezTo>
                  <a:cubicBezTo>
                    <a:pt x="655259" y="366043"/>
                    <a:pt x="654844" y="365578"/>
                    <a:pt x="654375" y="365172"/>
                  </a:cubicBezTo>
                  <a:moveTo>
                    <a:pt x="691288" y="332407"/>
                  </a:moveTo>
                  <a:cubicBezTo>
                    <a:pt x="688917" y="329721"/>
                    <a:pt x="684818" y="329464"/>
                    <a:pt x="682131" y="331835"/>
                  </a:cubicBezTo>
                  <a:cubicBezTo>
                    <a:pt x="679444" y="334206"/>
                    <a:pt x="679188" y="338305"/>
                    <a:pt x="681559" y="340992"/>
                  </a:cubicBezTo>
                  <a:cubicBezTo>
                    <a:pt x="683930" y="343679"/>
                    <a:pt x="688029" y="343935"/>
                    <a:pt x="690716" y="341564"/>
                  </a:cubicBezTo>
                  <a:cubicBezTo>
                    <a:pt x="693403" y="339194"/>
                    <a:pt x="693659" y="335094"/>
                    <a:pt x="691288" y="332407"/>
                  </a:cubicBezTo>
                  <a:moveTo>
                    <a:pt x="728201" y="299643"/>
                  </a:moveTo>
                  <a:cubicBezTo>
                    <a:pt x="725909" y="297353"/>
                    <a:pt x="722195" y="297354"/>
                    <a:pt x="719906" y="299646"/>
                  </a:cubicBezTo>
                  <a:cubicBezTo>
                    <a:pt x="717615" y="301937"/>
                    <a:pt x="717617" y="305651"/>
                    <a:pt x="719907" y="307942"/>
                  </a:cubicBezTo>
                  <a:cubicBezTo>
                    <a:pt x="722198" y="310231"/>
                    <a:pt x="725911" y="310231"/>
                    <a:pt x="728201" y="307942"/>
                  </a:cubicBezTo>
                  <a:cubicBezTo>
                    <a:pt x="730493" y="305651"/>
                    <a:pt x="730493" y="301937"/>
                    <a:pt x="728204" y="299646"/>
                  </a:cubicBezTo>
                  <a:cubicBezTo>
                    <a:pt x="728203" y="299645"/>
                    <a:pt x="728203" y="299645"/>
                    <a:pt x="728201" y="299643"/>
                  </a:cubicBezTo>
                  <a:moveTo>
                    <a:pt x="765258" y="266879"/>
                  </a:moveTo>
                  <a:cubicBezTo>
                    <a:pt x="763166" y="264916"/>
                    <a:pt x="759910" y="264916"/>
                    <a:pt x="757818" y="266879"/>
                  </a:cubicBezTo>
                  <a:cubicBezTo>
                    <a:pt x="755763" y="268846"/>
                    <a:pt x="755693" y="272107"/>
                    <a:pt x="757660" y="274162"/>
                  </a:cubicBezTo>
                  <a:cubicBezTo>
                    <a:pt x="757712" y="274215"/>
                    <a:pt x="757765" y="274268"/>
                    <a:pt x="757818" y="274319"/>
                  </a:cubicBezTo>
                  <a:cubicBezTo>
                    <a:pt x="759879" y="276355"/>
                    <a:pt x="763196" y="276355"/>
                    <a:pt x="765258" y="274319"/>
                  </a:cubicBezTo>
                  <a:cubicBezTo>
                    <a:pt x="767294" y="272257"/>
                    <a:pt x="767294" y="268941"/>
                    <a:pt x="765258" y="266879"/>
                  </a:cubicBezTo>
                  <a:moveTo>
                    <a:pt x="802171" y="234115"/>
                  </a:moveTo>
                  <a:cubicBezTo>
                    <a:pt x="800338" y="232334"/>
                    <a:pt x="797422" y="232334"/>
                    <a:pt x="795589" y="234115"/>
                  </a:cubicBezTo>
                  <a:cubicBezTo>
                    <a:pt x="793772" y="235873"/>
                    <a:pt x="793724" y="238772"/>
                    <a:pt x="795482" y="240589"/>
                  </a:cubicBezTo>
                  <a:cubicBezTo>
                    <a:pt x="795517" y="240625"/>
                    <a:pt x="795554" y="240661"/>
                    <a:pt x="795589" y="240697"/>
                  </a:cubicBezTo>
                  <a:cubicBezTo>
                    <a:pt x="797422" y="242478"/>
                    <a:pt x="800338" y="242478"/>
                    <a:pt x="802171" y="240697"/>
                  </a:cubicBezTo>
                  <a:cubicBezTo>
                    <a:pt x="803988" y="238938"/>
                    <a:pt x="804037" y="236039"/>
                    <a:pt x="802278" y="234222"/>
                  </a:cubicBezTo>
                  <a:cubicBezTo>
                    <a:pt x="802242" y="234187"/>
                    <a:pt x="802207" y="234151"/>
                    <a:pt x="802171" y="234115"/>
                  </a:cubicBezTo>
                  <a:moveTo>
                    <a:pt x="839084" y="201351"/>
                  </a:moveTo>
                  <a:cubicBezTo>
                    <a:pt x="837536" y="199770"/>
                    <a:pt x="834999" y="199744"/>
                    <a:pt x="833418" y="201294"/>
                  </a:cubicBezTo>
                  <a:cubicBezTo>
                    <a:pt x="833400" y="201312"/>
                    <a:pt x="833380" y="201331"/>
                    <a:pt x="833361" y="201351"/>
                  </a:cubicBezTo>
                  <a:cubicBezTo>
                    <a:pt x="831780" y="202785"/>
                    <a:pt x="831662" y="205227"/>
                    <a:pt x="833095" y="206808"/>
                  </a:cubicBezTo>
                  <a:cubicBezTo>
                    <a:pt x="833180" y="206901"/>
                    <a:pt x="833268" y="206990"/>
                    <a:pt x="833361" y="207074"/>
                  </a:cubicBezTo>
                  <a:cubicBezTo>
                    <a:pt x="834909" y="208655"/>
                    <a:pt x="837446" y="208681"/>
                    <a:pt x="839027" y="207131"/>
                  </a:cubicBezTo>
                  <a:cubicBezTo>
                    <a:pt x="839046" y="207113"/>
                    <a:pt x="839066" y="207094"/>
                    <a:pt x="839084" y="207074"/>
                  </a:cubicBezTo>
                  <a:cubicBezTo>
                    <a:pt x="840704" y="205454"/>
                    <a:pt x="840704" y="202827"/>
                    <a:pt x="839084" y="201208"/>
                  </a:cubicBezTo>
                  <a:moveTo>
                    <a:pt x="874710" y="166870"/>
                  </a:moveTo>
                  <a:cubicBezTo>
                    <a:pt x="873371" y="165526"/>
                    <a:pt x="871197" y="165522"/>
                    <a:pt x="869854" y="166861"/>
                  </a:cubicBezTo>
                  <a:cubicBezTo>
                    <a:pt x="869851" y="166864"/>
                    <a:pt x="869848" y="166867"/>
                    <a:pt x="869845" y="166870"/>
                  </a:cubicBezTo>
                  <a:cubicBezTo>
                    <a:pt x="868482" y="168261"/>
                    <a:pt x="868482" y="170487"/>
                    <a:pt x="869845" y="171878"/>
                  </a:cubicBezTo>
                  <a:cubicBezTo>
                    <a:pt x="871184" y="173221"/>
                    <a:pt x="873358" y="173225"/>
                    <a:pt x="874701" y="171886"/>
                  </a:cubicBezTo>
                  <a:cubicBezTo>
                    <a:pt x="874704" y="171883"/>
                    <a:pt x="874707" y="171880"/>
                    <a:pt x="874710" y="171878"/>
                  </a:cubicBezTo>
                  <a:cubicBezTo>
                    <a:pt x="876073" y="170487"/>
                    <a:pt x="876073" y="168261"/>
                    <a:pt x="874710" y="166870"/>
                  </a:cubicBezTo>
                  <a:moveTo>
                    <a:pt x="911623" y="134106"/>
                  </a:moveTo>
                  <a:cubicBezTo>
                    <a:pt x="910609" y="133000"/>
                    <a:pt x="908889" y="132925"/>
                    <a:pt x="907782" y="133941"/>
                  </a:cubicBezTo>
                  <a:cubicBezTo>
                    <a:pt x="907724" y="133993"/>
                    <a:pt x="907670" y="134049"/>
                    <a:pt x="907617" y="134106"/>
                  </a:cubicBezTo>
                  <a:cubicBezTo>
                    <a:pt x="906305" y="134987"/>
                    <a:pt x="905956" y="136764"/>
                    <a:pt x="906836" y="138076"/>
                  </a:cubicBezTo>
                  <a:cubicBezTo>
                    <a:pt x="907717" y="139388"/>
                    <a:pt x="909496" y="139739"/>
                    <a:pt x="910808" y="138857"/>
                  </a:cubicBezTo>
                  <a:cubicBezTo>
                    <a:pt x="911002" y="138726"/>
                    <a:pt x="911180" y="138573"/>
                    <a:pt x="911337" y="138398"/>
                  </a:cubicBezTo>
                  <a:cubicBezTo>
                    <a:pt x="912483" y="137309"/>
                    <a:pt x="912529" y="135498"/>
                    <a:pt x="911440" y="134352"/>
                  </a:cubicBezTo>
                  <a:cubicBezTo>
                    <a:pt x="911407" y="134318"/>
                    <a:pt x="911373" y="134283"/>
                    <a:pt x="911337" y="134249"/>
                  </a:cubicBezTo>
                  <a:moveTo>
                    <a:pt x="521172" y="438712"/>
                  </a:moveTo>
                  <a:cubicBezTo>
                    <a:pt x="517893" y="435038"/>
                    <a:pt x="512256" y="434717"/>
                    <a:pt x="508581" y="437997"/>
                  </a:cubicBezTo>
                  <a:cubicBezTo>
                    <a:pt x="504907" y="441276"/>
                    <a:pt x="504587" y="446913"/>
                    <a:pt x="507866" y="450587"/>
                  </a:cubicBezTo>
                  <a:cubicBezTo>
                    <a:pt x="511317" y="454064"/>
                    <a:pt x="516934" y="454084"/>
                    <a:pt x="520411" y="450633"/>
                  </a:cubicBezTo>
                  <a:cubicBezTo>
                    <a:pt x="520427" y="450617"/>
                    <a:pt x="520441" y="450603"/>
                    <a:pt x="520457" y="450587"/>
                  </a:cubicBezTo>
                  <a:cubicBezTo>
                    <a:pt x="524079" y="447284"/>
                    <a:pt x="524398" y="441689"/>
                    <a:pt x="521172" y="437997"/>
                  </a:cubicBezTo>
                  <a:moveTo>
                    <a:pt x="558085" y="405376"/>
                  </a:moveTo>
                  <a:cubicBezTo>
                    <a:pt x="554885" y="402207"/>
                    <a:pt x="549721" y="402231"/>
                    <a:pt x="546552" y="405431"/>
                  </a:cubicBezTo>
                  <a:cubicBezTo>
                    <a:pt x="543383" y="408632"/>
                    <a:pt x="543407" y="413796"/>
                    <a:pt x="546608" y="416965"/>
                  </a:cubicBezTo>
                  <a:cubicBezTo>
                    <a:pt x="549787" y="420112"/>
                    <a:pt x="554908" y="420112"/>
                    <a:pt x="558085" y="416965"/>
                  </a:cubicBezTo>
                  <a:cubicBezTo>
                    <a:pt x="561286" y="413909"/>
                    <a:pt x="561402" y="408837"/>
                    <a:pt x="558347" y="405636"/>
                  </a:cubicBezTo>
                  <a:cubicBezTo>
                    <a:pt x="558261" y="405547"/>
                    <a:pt x="558174" y="405460"/>
                    <a:pt x="558085" y="405376"/>
                  </a:cubicBezTo>
                  <a:moveTo>
                    <a:pt x="595142" y="372612"/>
                  </a:moveTo>
                  <a:cubicBezTo>
                    <a:pt x="592433" y="369418"/>
                    <a:pt x="587647" y="369025"/>
                    <a:pt x="584454" y="371733"/>
                  </a:cubicBezTo>
                  <a:cubicBezTo>
                    <a:pt x="584391" y="371786"/>
                    <a:pt x="584330" y="371840"/>
                    <a:pt x="584268" y="371896"/>
                  </a:cubicBezTo>
                  <a:cubicBezTo>
                    <a:pt x="581361" y="374938"/>
                    <a:pt x="581361" y="379728"/>
                    <a:pt x="584268" y="382770"/>
                  </a:cubicBezTo>
                  <a:cubicBezTo>
                    <a:pt x="587307" y="385764"/>
                    <a:pt x="592199" y="385730"/>
                    <a:pt x="595195" y="382690"/>
                  </a:cubicBezTo>
                  <a:cubicBezTo>
                    <a:pt x="597884" y="379960"/>
                    <a:pt x="598166" y="375670"/>
                    <a:pt x="595857" y="372612"/>
                  </a:cubicBezTo>
                  <a:moveTo>
                    <a:pt x="632770" y="339847"/>
                  </a:moveTo>
                  <a:cubicBezTo>
                    <a:pt x="630272" y="336889"/>
                    <a:pt x="625848" y="336517"/>
                    <a:pt x="622891" y="339015"/>
                  </a:cubicBezTo>
                  <a:cubicBezTo>
                    <a:pt x="622845" y="339053"/>
                    <a:pt x="622799" y="339092"/>
                    <a:pt x="622755" y="339132"/>
                  </a:cubicBezTo>
                  <a:cubicBezTo>
                    <a:pt x="620028" y="341913"/>
                    <a:pt x="620028" y="346366"/>
                    <a:pt x="622755" y="349147"/>
                  </a:cubicBezTo>
                  <a:cubicBezTo>
                    <a:pt x="625465" y="351913"/>
                    <a:pt x="629903" y="351959"/>
                    <a:pt x="632669" y="349249"/>
                  </a:cubicBezTo>
                  <a:cubicBezTo>
                    <a:pt x="632703" y="349215"/>
                    <a:pt x="632737" y="349182"/>
                    <a:pt x="632770" y="349147"/>
                  </a:cubicBezTo>
                  <a:cubicBezTo>
                    <a:pt x="635497" y="346366"/>
                    <a:pt x="635497" y="341913"/>
                    <a:pt x="632770" y="339132"/>
                  </a:cubicBezTo>
                  <a:moveTo>
                    <a:pt x="669684" y="306368"/>
                  </a:moveTo>
                  <a:cubicBezTo>
                    <a:pt x="667184" y="303840"/>
                    <a:pt x="663106" y="303817"/>
                    <a:pt x="660578" y="306316"/>
                  </a:cubicBezTo>
                  <a:cubicBezTo>
                    <a:pt x="660561" y="306334"/>
                    <a:pt x="660544" y="306351"/>
                    <a:pt x="660527" y="306368"/>
                  </a:cubicBezTo>
                  <a:cubicBezTo>
                    <a:pt x="657916" y="308896"/>
                    <a:pt x="657849" y="313062"/>
                    <a:pt x="660377" y="315675"/>
                  </a:cubicBezTo>
                  <a:cubicBezTo>
                    <a:pt x="662906" y="318286"/>
                    <a:pt x="667073" y="318352"/>
                    <a:pt x="669684" y="315824"/>
                  </a:cubicBezTo>
                  <a:cubicBezTo>
                    <a:pt x="672295" y="313296"/>
                    <a:pt x="672362" y="309129"/>
                    <a:pt x="669834" y="306518"/>
                  </a:cubicBezTo>
                  <a:cubicBezTo>
                    <a:pt x="669784" y="306467"/>
                    <a:pt x="669734" y="306417"/>
                    <a:pt x="669684" y="306368"/>
                  </a:cubicBezTo>
                  <a:moveTo>
                    <a:pt x="706740" y="273604"/>
                  </a:moveTo>
                  <a:cubicBezTo>
                    <a:pt x="704448" y="271313"/>
                    <a:pt x="700734" y="271315"/>
                    <a:pt x="698445" y="273607"/>
                  </a:cubicBezTo>
                  <a:cubicBezTo>
                    <a:pt x="696154" y="275897"/>
                    <a:pt x="696155" y="279611"/>
                    <a:pt x="698446" y="281902"/>
                  </a:cubicBezTo>
                  <a:cubicBezTo>
                    <a:pt x="700737" y="284191"/>
                    <a:pt x="704449" y="284191"/>
                    <a:pt x="706740" y="281902"/>
                  </a:cubicBezTo>
                  <a:cubicBezTo>
                    <a:pt x="709032" y="279611"/>
                    <a:pt x="709032" y="275897"/>
                    <a:pt x="706743" y="273607"/>
                  </a:cubicBezTo>
                  <a:cubicBezTo>
                    <a:pt x="706741" y="273605"/>
                    <a:pt x="706741" y="273605"/>
                    <a:pt x="706740" y="273604"/>
                  </a:cubicBezTo>
                  <a:moveTo>
                    <a:pt x="742509" y="242127"/>
                  </a:moveTo>
                  <a:cubicBezTo>
                    <a:pt x="740782" y="239768"/>
                    <a:pt x="737468" y="239257"/>
                    <a:pt x="735110" y="240984"/>
                  </a:cubicBezTo>
                  <a:cubicBezTo>
                    <a:pt x="732751" y="242711"/>
                    <a:pt x="732239" y="246023"/>
                    <a:pt x="733967" y="248383"/>
                  </a:cubicBezTo>
                  <a:cubicBezTo>
                    <a:pt x="734166" y="248656"/>
                    <a:pt x="734392" y="248908"/>
                    <a:pt x="734640" y="249138"/>
                  </a:cubicBezTo>
                  <a:cubicBezTo>
                    <a:pt x="736701" y="251174"/>
                    <a:pt x="740018" y="251174"/>
                    <a:pt x="742080" y="249138"/>
                  </a:cubicBezTo>
                  <a:cubicBezTo>
                    <a:pt x="744115" y="247076"/>
                    <a:pt x="744115" y="243760"/>
                    <a:pt x="742080" y="241698"/>
                  </a:cubicBezTo>
                  <a:moveTo>
                    <a:pt x="779851" y="209792"/>
                  </a:moveTo>
                  <a:cubicBezTo>
                    <a:pt x="778093" y="207975"/>
                    <a:pt x="775194" y="207927"/>
                    <a:pt x="773377" y="209685"/>
                  </a:cubicBezTo>
                  <a:cubicBezTo>
                    <a:pt x="773341" y="209719"/>
                    <a:pt x="773306" y="209757"/>
                    <a:pt x="773270" y="209792"/>
                  </a:cubicBezTo>
                  <a:cubicBezTo>
                    <a:pt x="771489" y="211625"/>
                    <a:pt x="771489" y="214541"/>
                    <a:pt x="773270" y="216374"/>
                  </a:cubicBezTo>
                  <a:cubicBezTo>
                    <a:pt x="775028" y="218191"/>
                    <a:pt x="777927" y="218240"/>
                    <a:pt x="779744" y="216481"/>
                  </a:cubicBezTo>
                  <a:cubicBezTo>
                    <a:pt x="779780" y="216445"/>
                    <a:pt x="779815" y="216410"/>
                    <a:pt x="779851" y="216374"/>
                  </a:cubicBezTo>
                  <a:cubicBezTo>
                    <a:pt x="781633" y="214541"/>
                    <a:pt x="781633" y="211625"/>
                    <a:pt x="779851" y="209792"/>
                  </a:cubicBezTo>
                  <a:moveTo>
                    <a:pt x="816908" y="177028"/>
                  </a:moveTo>
                  <a:cubicBezTo>
                    <a:pt x="815360" y="175447"/>
                    <a:pt x="812823" y="175422"/>
                    <a:pt x="811242" y="176971"/>
                  </a:cubicBezTo>
                  <a:cubicBezTo>
                    <a:pt x="811223" y="176990"/>
                    <a:pt x="811203" y="177008"/>
                    <a:pt x="811185" y="177028"/>
                  </a:cubicBezTo>
                  <a:cubicBezTo>
                    <a:pt x="809604" y="178576"/>
                    <a:pt x="809578" y="181113"/>
                    <a:pt x="811127" y="182694"/>
                  </a:cubicBezTo>
                  <a:cubicBezTo>
                    <a:pt x="811146" y="182713"/>
                    <a:pt x="811165" y="182733"/>
                    <a:pt x="811185" y="182751"/>
                  </a:cubicBezTo>
                  <a:cubicBezTo>
                    <a:pt x="812733" y="184332"/>
                    <a:pt x="815269" y="184358"/>
                    <a:pt x="816850" y="182808"/>
                  </a:cubicBezTo>
                  <a:cubicBezTo>
                    <a:pt x="816869" y="182790"/>
                    <a:pt x="816889" y="182771"/>
                    <a:pt x="816908" y="182751"/>
                  </a:cubicBezTo>
                  <a:cubicBezTo>
                    <a:pt x="818489" y="181203"/>
                    <a:pt x="818514" y="178666"/>
                    <a:pt x="816965" y="177085"/>
                  </a:cubicBezTo>
                  <a:cubicBezTo>
                    <a:pt x="816946" y="177067"/>
                    <a:pt x="816928" y="177047"/>
                    <a:pt x="816908" y="177028"/>
                  </a:cubicBezTo>
                  <a:moveTo>
                    <a:pt x="853821" y="144264"/>
                  </a:moveTo>
                  <a:cubicBezTo>
                    <a:pt x="852477" y="142925"/>
                    <a:pt x="850303" y="142929"/>
                    <a:pt x="848965" y="144273"/>
                  </a:cubicBezTo>
                  <a:cubicBezTo>
                    <a:pt x="847626" y="145616"/>
                    <a:pt x="847630" y="147790"/>
                    <a:pt x="848974" y="149129"/>
                  </a:cubicBezTo>
                  <a:cubicBezTo>
                    <a:pt x="850313" y="150464"/>
                    <a:pt x="852480" y="150464"/>
                    <a:pt x="853821" y="149129"/>
                  </a:cubicBezTo>
                  <a:cubicBezTo>
                    <a:pt x="855164" y="147790"/>
                    <a:pt x="855169" y="145616"/>
                    <a:pt x="853830" y="144273"/>
                  </a:cubicBezTo>
                  <a:cubicBezTo>
                    <a:pt x="853827" y="144270"/>
                    <a:pt x="853824" y="144267"/>
                    <a:pt x="853821" y="144264"/>
                  </a:cubicBezTo>
                  <a:moveTo>
                    <a:pt x="890734" y="111500"/>
                  </a:moveTo>
                  <a:cubicBezTo>
                    <a:pt x="889621" y="110410"/>
                    <a:pt x="887841" y="110410"/>
                    <a:pt x="886728" y="111500"/>
                  </a:cubicBezTo>
                  <a:cubicBezTo>
                    <a:pt x="885688" y="112688"/>
                    <a:pt x="885688" y="114462"/>
                    <a:pt x="886728" y="115649"/>
                  </a:cubicBezTo>
                  <a:cubicBezTo>
                    <a:pt x="887888" y="116758"/>
                    <a:pt x="889717" y="116758"/>
                    <a:pt x="890877" y="115649"/>
                  </a:cubicBezTo>
                  <a:cubicBezTo>
                    <a:pt x="891983" y="114635"/>
                    <a:pt x="892058" y="112915"/>
                    <a:pt x="891043" y="111808"/>
                  </a:cubicBezTo>
                  <a:cubicBezTo>
                    <a:pt x="890990" y="111750"/>
                    <a:pt x="890935" y="111696"/>
                    <a:pt x="890877" y="111643"/>
                  </a:cubicBezTo>
                  <a:moveTo>
                    <a:pt x="500283" y="415105"/>
                  </a:moveTo>
                  <a:cubicBezTo>
                    <a:pt x="497113" y="411473"/>
                    <a:pt x="491600" y="411100"/>
                    <a:pt x="487969" y="414271"/>
                  </a:cubicBezTo>
                  <a:cubicBezTo>
                    <a:pt x="487924" y="414309"/>
                    <a:pt x="487880" y="414349"/>
                    <a:pt x="487836" y="414389"/>
                  </a:cubicBezTo>
                  <a:cubicBezTo>
                    <a:pt x="484124" y="417587"/>
                    <a:pt x="483709" y="423188"/>
                    <a:pt x="486907" y="426900"/>
                  </a:cubicBezTo>
                  <a:cubicBezTo>
                    <a:pt x="486930" y="426927"/>
                    <a:pt x="486954" y="426953"/>
                    <a:pt x="486977" y="426980"/>
                  </a:cubicBezTo>
                  <a:cubicBezTo>
                    <a:pt x="490478" y="430397"/>
                    <a:pt x="496067" y="430397"/>
                    <a:pt x="499568" y="426980"/>
                  </a:cubicBezTo>
                  <a:cubicBezTo>
                    <a:pt x="503044" y="423529"/>
                    <a:pt x="503064" y="417912"/>
                    <a:pt x="499613" y="414435"/>
                  </a:cubicBezTo>
                  <a:cubicBezTo>
                    <a:pt x="499598" y="414419"/>
                    <a:pt x="499583" y="414405"/>
                    <a:pt x="499568" y="414389"/>
                  </a:cubicBezTo>
                  <a:moveTo>
                    <a:pt x="536624" y="381625"/>
                  </a:moveTo>
                  <a:cubicBezTo>
                    <a:pt x="533385" y="378383"/>
                    <a:pt x="528130" y="378382"/>
                    <a:pt x="524889" y="381622"/>
                  </a:cubicBezTo>
                  <a:cubicBezTo>
                    <a:pt x="521647" y="384862"/>
                    <a:pt x="521646" y="390115"/>
                    <a:pt x="524885" y="393357"/>
                  </a:cubicBezTo>
                  <a:cubicBezTo>
                    <a:pt x="528124" y="396599"/>
                    <a:pt x="533379" y="396601"/>
                    <a:pt x="536621" y="393360"/>
                  </a:cubicBezTo>
                  <a:cubicBezTo>
                    <a:pt x="536621" y="393360"/>
                    <a:pt x="536623" y="393359"/>
                    <a:pt x="536624" y="393357"/>
                  </a:cubicBezTo>
                  <a:cubicBezTo>
                    <a:pt x="539862" y="390117"/>
                    <a:pt x="539862" y="384866"/>
                    <a:pt x="536624" y="381625"/>
                  </a:cubicBezTo>
                  <a:moveTo>
                    <a:pt x="573537" y="348861"/>
                  </a:moveTo>
                  <a:cubicBezTo>
                    <a:pt x="570526" y="345879"/>
                    <a:pt x="565675" y="345879"/>
                    <a:pt x="562664" y="348861"/>
                  </a:cubicBezTo>
                  <a:cubicBezTo>
                    <a:pt x="559701" y="351820"/>
                    <a:pt x="559698" y="356621"/>
                    <a:pt x="562657" y="359585"/>
                  </a:cubicBezTo>
                  <a:cubicBezTo>
                    <a:pt x="562659" y="359587"/>
                    <a:pt x="562661" y="359589"/>
                    <a:pt x="562664" y="359592"/>
                  </a:cubicBezTo>
                  <a:cubicBezTo>
                    <a:pt x="565299" y="362744"/>
                    <a:pt x="569992" y="363163"/>
                    <a:pt x="573144" y="360526"/>
                  </a:cubicBezTo>
                  <a:cubicBezTo>
                    <a:pt x="573228" y="360454"/>
                    <a:pt x="573313" y="360381"/>
                    <a:pt x="573394" y="360307"/>
                  </a:cubicBezTo>
                  <a:cubicBezTo>
                    <a:pt x="576588" y="357599"/>
                    <a:pt x="576981" y="352813"/>
                    <a:pt x="574273" y="349619"/>
                  </a:cubicBezTo>
                  <a:cubicBezTo>
                    <a:pt x="574220" y="349556"/>
                    <a:pt x="574165" y="349495"/>
                    <a:pt x="574110" y="349433"/>
                  </a:cubicBezTo>
                  <a:moveTo>
                    <a:pt x="611023" y="316669"/>
                  </a:moveTo>
                  <a:cubicBezTo>
                    <a:pt x="608257" y="313848"/>
                    <a:pt x="603728" y="313802"/>
                    <a:pt x="600906" y="316568"/>
                  </a:cubicBezTo>
                  <a:cubicBezTo>
                    <a:pt x="598085" y="319333"/>
                    <a:pt x="598040" y="323863"/>
                    <a:pt x="600806" y="326684"/>
                  </a:cubicBezTo>
                  <a:cubicBezTo>
                    <a:pt x="603572" y="329506"/>
                    <a:pt x="608100" y="329552"/>
                    <a:pt x="610921" y="326786"/>
                  </a:cubicBezTo>
                  <a:cubicBezTo>
                    <a:pt x="610956" y="326752"/>
                    <a:pt x="610990" y="326719"/>
                    <a:pt x="611023" y="326684"/>
                  </a:cubicBezTo>
                  <a:cubicBezTo>
                    <a:pt x="613789" y="323975"/>
                    <a:pt x="613834" y="319536"/>
                    <a:pt x="611125" y="316771"/>
                  </a:cubicBezTo>
                  <a:cubicBezTo>
                    <a:pt x="611090" y="316737"/>
                    <a:pt x="611057" y="316702"/>
                    <a:pt x="611023" y="316669"/>
                  </a:cubicBezTo>
                  <a:moveTo>
                    <a:pt x="648079" y="283905"/>
                  </a:moveTo>
                  <a:cubicBezTo>
                    <a:pt x="645498" y="281506"/>
                    <a:pt x="641504" y="281506"/>
                    <a:pt x="638923" y="283905"/>
                  </a:cubicBezTo>
                  <a:cubicBezTo>
                    <a:pt x="636236" y="286276"/>
                    <a:pt x="635979" y="290375"/>
                    <a:pt x="638350" y="293062"/>
                  </a:cubicBezTo>
                  <a:cubicBezTo>
                    <a:pt x="640721" y="295749"/>
                    <a:pt x="644820" y="296005"/>
                    <a:pt x="647507" y="293634"/>
                  </a:cubicBezTo>
                  <a:cubicBezTo>
                    <a:pt x="649978" y="291082"/>
                    <a:pt x="649978" y="287030"/>
                    <a:pt x="647507" y="284477"/>
                  </a:cubicBezTo>
                  <a:moveTo>
                    <a:pt x="685279" y="251284"/>
                  </a:moveTo>
                  <a:cubicBezTo>
                    <a:pt x="683105" y="248835"/>
                    <a:pt x="679358" y="248610"/>
                    <a:pt x="676909" y="250783"/>
                  </a:cubicBezTo>
                  <a:cubicBezTo>
                    <a:pt x="674459" y="252957"/>
                    <a:pt x="674235" y="256704"/>
                    <a:pt x="676408" y="259153"/>
                  </a:cubicBezTo>
                  <a:cubicBezTo>
                    <a:pt x="678749" y="261462"/>
                    <a:pt x="682509" y="261462"/>
                    <a:pt x="684850" y="259153"/>
                  </a:cubicBezTo>
                  <a:cubicBezTo>
                    <a:pt x="687142" y="256863"/>
                    <a:pt x="687142" y="253148"/>
                    <a:pt x="684852" y="250858"/>
                  </a:cubicBezTo>
                  <a:cubicBezTo>
                    <a:pt x="684851" y="250856"/>
                    <a:pt x="684851" y="250856"/>
                    <a:pt x="684850" y="250855"/>
                  </a:cubicBezTo>
                  <a:moveTo>
                    <a:pt x="721763" y="218091"/>
                  </a:moveTo>
                  <a:cubicBezTo>
                    <a:pt x="720036" y="215731"/>
                    <a:pt x="716722" y="215221"/>
                    <a:pt x="714365" y="216948"/>
                  </a:cubicBezTo>
                  <a:cubicBezTo>
                    <a:pt x="712005" y="218674"/>
                    <a:pt x="711493" y="221987"/>
                    <a:pt x="713221" y="224346"/>
                  </a:cubicBezTo>
                  <a:cubicBezTo>
                    <a:pt x="713420" y="224619"/>
                    <a:pt x="713646" y="224871"/>
                    <a:pt x="713894" y="225101"/>
                  </a:cubicBezTo>
                  <a:cubicBezTo>
                    <a:pt x="715621" y="227461"/>
                    <a:pt x="718934" y="227971"/>
                    <a:pt x="721292" y="226245"/>
                  </a:cubicBezTo>
                  <a:cubicBezTo>
                    <a:pt x="723651" y="224518"/>
                    <a:pt x="724164" y="221205"/>
                    <a:pt x="722435" y="218846"/>
                  </a:cubicBezTo>
                  <a:cubicBezTo>
                    <a:pt x="722236" y="218573"/>
                    <a:pt x="722010" y="218321"/>
                    <a:pt x="721763" y="218091"/>
                  </a:cubicBezTo>
                  <a:moveTo>
                    <a:pt x="758819" y="185327"/>
                  </a:moveTo>
                  <a:cubicBezTo>
                    <a:pt x="756986" y="183545"/>
                    <a:pt x="754071" y="183545"/>
                    <a:pt x="752238" y="185327"/>
                  </a:cubicBezTo>
                  <a:cubicBezTo>
                    <a:pt x="750421" y="187085"/>
                    <a:pt x="750372" y="189984"/>
                    <a:pt x="752131" y="191801"/>
                  </a:cubicBezTo>
                  <a:cubicBezTo>
                    <a:pt x="752165" y="191837"/>
                    <a:pt x="752202" y="191872"/>
                    <a:pt x="752238" y="191908"/>
                  </a:cubicBezTo>
                  <a:cubicBezTo>
                    <a:pt x="754071" y="193689"/>
                    <a:pt x="756986" y="193689"/>
                    <a:pt x="758819" y="191908"/>
                  </a:cubicBezTo>
                  <a:cubicBezTo>
                    <a:pt x="760618" y="190028"/>
                    <a:pt x="760618" y="187064"/>
                    <a:pt x="758819" y="185184"/>
                  </a:cubicBezTo>
                  <a:moveTo>
                    <a:pt x="796019" y="152562"/>
                  </a:moveTo>
                  <a:cubicBezTo>
                    <a:pt x="794557" y="150864"/>
                    <a:pt x="791994" y="150671"/>
                    <a:pt x="790296" y="152133"/>
                  </a:cubicBezTo>
                  <a:cubicBezTo>
                    <a:pt x="788597" y="153595"/>
                    <a:pt x="788404" y="156158"/>
                    <a:pt x="789866" y="157856"/>
                  </a:cubicBezTo>
                  <a:cubicBezTo>
                    <a:pt x="791516" y="159401"/>
                    <a:pt x="794083" y="159401"/>
                    <a:pt x="795733" y="157856"/>
                  </a:cubicBezTo>
                  <a:cubicBezTo>
                    <a:pt x="797313" y="156308"/>
                    <a:pt x="797339" y="153771"/>
                    <a:pt x="795790" y="152190"/>
                  </a:cubicBezTo>
                  <a:cubicBezTo>
                    <a:pt x="795771" y="152172"/>
                    <a:pt x="795753" y="152152"/>
                    <a:pt x="795733" y="152133"/>
                  </a:cubicBezTo>
                  <a:moveTo>
                    <a:pt x="832646" y="119369"/>
                  </a:moveTo>
                  <a:cubicBezTo>
                    <a:pt x="831302" y="118030"/>
                    <a:pt x="829129" y="118034"/>
                    <a:pt x="827790" y="119378"/>
                  </a:cubicBezTo>
                  <a:cubicBezTo>
                    <a:pt x="826451" y="120721"/>
                    <a:pt x="826455" y="122894"/>
                    <a:pt x="827798" y="124234"/>
                  </a:cubicBezTo>
                  <a:cubicBezTo>
                    <a:pt x="829138" y="125569"/>
                    <a:pt x="831305" y="125569"/>
                    <a:pt x="832646" y="124234"/>
                  </a:cubicBezTo>
                  <a:cubicBezTo>
                    <a:pt x="833989" y="122894"/>
                    <a:pt x="833994" y="120721"/>
                    <a:pt x="832654" y="119378"/>
                  </a:cubicBezTo>
                  <a:cubicBezTo>
                    <a:pt x="832652" y="119375"/>
                    <a:pt x="832649" y="119372"/>
                    <a:pt x="832646" y="119369"/>
                  </a:cubicBezTo>
                  <a:moveTo>
                    <a:pt x="869702" y="86605"/>
                  </a:moveTo>
                  <a:cubicBezTo>
                    <a:pt x="868542" y="85496"/>
                    <a:pt x="866713" y="85496"/>
                    <a:pt x="865553" y="86605"/>
                  </a:cubicBezTo>
                  <a:cubicBezTo>
                    <a:pt x="864368" y="87672"/>
                    <a:pt x="864271" y="89498"/>
                    <a:pt x="865338" y="90683"/>
                  </a:cubicBezTo>
                  <a:cubicBezTo>
                    <a:pt x="866406" y="91867"/>
                    <a:pt x="868231" y="91965"/>
                    <a:pt x="869416" y="90897"/>
                  </a:cubicBezTo>
                  <a:cubicBezTo>
                    <a:pt x="870506" y="89784"/>
                    <a:pt x="870506" y="88004"/>
                    <a:pt x="869416" y="8689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5" name="Freeform: Shape 64">
              <a:extLst>
                <a:ext uri="{FF2B5EF4-FFF2-40B4-BE49-F238E27FC236}">
                  <a16:creationId xmlns:a16="http://schemas.microsoft.com/office/drawing/2014/main" id="{7438B9C5-4E7C-4C67-8D0F-35231142B53F}"/>
                </a:ext>
              </a:extLst>
            </p:cNvPr>
            <p:cNvSpPr/>
            <p:nvPr/>
          </p:nvSpPr>
          <p:spPr>
            <a:xfrm>
              <a:off x="5859265" y="2830484"/>
              <a:ext cx="786911" cy="715374"/>
            </a:xfrm>
            <a:custGeom>
              <a:avLst/>
              <a:gdLst>
                <a:gd name="connsiteX0" fmla="*/ 412818 w 786911"/>
                <a:gd name="connsiteY0" fmla="*/ 383011 h 715374"/>
                <a:gd name="connsiteX1" fmla="*/ 412818 w 786911"/>
                <a:gd name="connsiteY1" fmla="*/ 394457 h 715374"/>
                <a:gd name="connsiteX2" fmla="*/ 401515 w 786911"/>
                <a:gd name="connsiteY2" fmla="*/ 394457 h 715374"/>
                <a:gd name="connsiteX3" fmla="*/ 401515 w 786911"/>
                <a:gd name="connsiteY3" fmla="*/ 383154 h 715374"/>
                <a:gd name="connsiteX4" fmla="*/ 412961 w 786911"/>
                <a:gd name="connsiteY4" fmla="*/ 383154 h 715374"/>
                <a:gd name="connsiteX5" fmla="*/ 445439 w 786911"/>
                <a:gd name="connsiteY5" fmla="*/ 352679 h 715374"/>
                <a:gd name="connsiteX6" fmla="*/ 434918 w 786911"/>
                <a:gd name="connsiteY6" fmla="*/ 352745 h 715374"/>
                <a:gd name="connsiteX7" fmla="*/ 434984 w 786911"/>
                <a:gd name="connsiteY7" fmla="*/ 363267 h 715374"/>
                <a:gd name="connsiteX8" fmla="*/ 445439 w 786911"/>
                <a:gd name="connsiteY8" fmla="*/ 363267 h 715374"/>
                <a:gd name="connsiteX9" fmla="*/ 445505 w 786911"/>
                <a:gd name="connsiteY9" fmla="*/ 352745 h 715374"/>
                <a:gd name="connsiteX10" fmla="*/ 445439 w 786911"/>
                <a:gd name="connsiteY10" fmla="*/ 352679 h 715374"/>
                <a:gd name="connsiteX11" fmla="*/ 477917 w 786911"/>
                <a:gd name="connsiteY11" fmla="*/ 322205 h 715374"/>
                <a:gd name="connsiteX12" fmla="*/ 468019 w 786911"/>
                <a:gd name="connsiteY12" fmla="*/ 322788 h 715374"/>
                <a:gd name="connsiteX13" fmla="*/ 467759 w 786911"/>
                <a:gd name="connsiteY13" fmla="*/ 331791 h 715374"/>
                <a:gd name="connsiteX14" fmla="*/ 477631 w 786911"/>
                <a:gd name="connsiteY14" fmla="*/ 331791 h 715374"/>
                <a:gd name="connsiteX15" fmla="*/ 477793 w 786911"/>
                <a:gd name="connsiteY15" fmla="*/ 322080 h 715374"/>
                <a:gd name="connsiteX16" fmla="*/ 477631 w 786911"/>
                <a:gd name="connsiteY16" fmla="*/ 321918 h 715374"/>
                <a:gd name="connsiteX17" fmla="*/ 510252 w 786911"/>
                <a:gd name="connsiteY17" fmla="*/ 291587 h 715374"/>
                <a:gd name="connsiteX18" fmla="*/ 501147 w 786911"/>
                <a:gd name="connsiteY18" fmla="*/ 291495 h 715374"/>
                <a:gd name="connsiteX19" fmla="*/ 501057 w 786911"/>
                <a:gd name="connsiteY19" fmla="*/ 300600 h 715374"/>
                <a:gd name="connsiteX20" fmla="*/ 510161 w 786911"/>
                <a:gd name="connsiteY20" fmla="*/ 300692 h 715374"/>
                <a:gd name="connsiteX21" fmla="*/ 510252 w 786911"/>
                <a:gd name="connsiteY21" fmla="*/ 300600 h 715374"/>
                <a:gd name="connsiteX22" fmla="*/ 510364 w 786911"/>
                <a:gd name="connsiteY22" fmla="*/ 291698 h 715374"/>
                <a:gd name="connsiteX23" fmla="*/ 510252 w 786911"/>
                <a:gd name="connsiteY23" fmla="*/ 291587 h 715374"/>
                <a:gd name="connsiteX24" fmla="*/ 542873 w 786911"/>
                <a:gd name="connsiteY24" fmla="*/ 261112 h 715374"/>
                <a:gd name="connsiteX25" fmla="*/ 534575 w 786911"/>
                <a:gd name="connsiteY25" fmla="*/ 261112 h 715374"/>
                <a:gd name="connsiteX26" fmla="*/ 534289 w 786911"/>
                <a:gd name="connsiteY26" fmla="*/ 269410 h 715374"/>
                <a:gd name="connsiteX27" fmla="*/ 542587 w 786911"/>
                <a:gd name="connsiteY27" fmla="*/ 269696 h 715374"/>
                <a:gd name="connsiteX28" fmla="*/ 542587 w 786911"/>
                <a:gd name="connsiteY28" fmla="*/ 261398 h 715374"/>
                <a:gd name="connsiteX29" fmla="*/ 575065 w 786911"/>
                <a:gd name="connsiteY29" fmla="*/ 230923 h 715374"/>
                <a:gd name="connsiteX30" fmla="*/ 567625 w 786911"/>
                <a:gd name="connsiteY30" fmla="*/ 230923 h 715374"/>
                <a:gd name="connsiteX31" fmla="*/ 567625 w 786911"/>
                <a:gd name="connsiteY31" fmla="*/ 238506 h 715374"/>
                <a:gd name="connsiteX32" fmla="*/ 575065 w 786911"/>
                <a:gd name="connsiteY32" fmla="*/ 238506 h 715374"/>
                <a:gd name="connsiteX33" fmla="*/ 575065 w 786911"/>
                <a:gd name="connsiteY33" fmla="*/ 230923 h 715374"/>
                <a:gd name="connsiteX34" fmla="*/ 607543 w 786911"/>
                <a:gd name="connsiteY34" fmla="*/ 200162 h 715374"/>
                <a:gd name="connsiteX35" fmla="*/ 600819 w 786911"/>
                <a:gd name="connsiteY35" fmla="*/ 200019 h 715374"/>
                <a:gd name="connsiteX36" fmla="*/ 600676 w 786911"/>
                <a:gd name="connsiteY36" fmla="*/ 206743 h 715374"/>
                <a:gd name="connsiteX37" fmla="*/ 607400 w 786911"/>
                <a:gd name="connsiteY37" fmla="*/ 206886 h 715374"/>
                <a:gd name="connsiteX38" fmla="*/ 607543 w 786911"/>
                <a:gd name="connsiteY38" fmla="*/ 200162 h 715374"/>
                <a:gd name="connsiteX39" fmla="*/ 640164 w 786911"/>
                <a:gd name="connsiteY39" fmla="*/ 169687 h 715374"/>
                <a:gd name="connsiteX40" fmla="*/ 634298 w 786911"/>
                <a:gd name="connsiteY40" fmla="*/ 169544 h 715374"/>
                <a:gd name="connsiteX41" fmla="*/ 634155 w 786911"/>
                <a:gd name="connsiteY41" fmla="*/ 169687 h 715374"/>
                <a:gd name="connsiteX42" fmla="*/ 633951 w 786911"/>
                <a:gd name="connsiteY42" fmla="*/ 175348 h 715374"/>
                <a:gd name="connsiteX43" fmla="*/ 634155 w 786911"/>
                <a:gd name="connsiteY43" fmla="*/ 175553 h 715374"/>
                <a:gd name="connsiteX44" fmla="*/ 640021 w 786911"/>
                <a:gd name="connsiteY44" fmla="*/ 175553 h 715374"/>
                <a:gd name="connsiteX45" fmla="*/ 640021 w 786911"/>
                <a:gd name="connsiteY45" fmla="*/ 169544 h 715374"/>
                <a:gd name="connsiteX46" fmla="*/ 672499 w 786911"/>
                <a:gd name="connsiteY46" fmla="*/ 139069 h 715374"/>
                <a:gd name="connsiteX47" fmla="*/ 667253 w 786911"/>
                <a:gd name="connsiteY47" fmla="*/ 139452 h 715374"/>
                <a:gd name="connsiteX48" fmla="*/ 667062 w 786911"/>
                <a:gd name="connsiteY48" fmla="*/ 144076 h 715374"/>
                <a:gd name="connsiteX49" fmla="*/ 672356 w 786911"/>
                <a:gd name="connsiteY49" fmla="*/ 144076 h 715374"/>
                <a:gd name="connsiteX50" fmla="*/ 672449 w 786911"/>
                <a:gd name="connsiteY50" fmla="*/ 139019 h 715374"/>
                <a:gd name="connsiteX51" fmla="*/ 672356 w 786911"/>
                <a:gd name="connsiteY51" fmla="*/ 138926 h 715374"/>
                <a:gd name="connsiteX52" fmla="*/ 704834 w 786911"/>
                <a:gd name="connsiteY52" fmla="*/ 108451 h 715374"/>
                <a:gd name="connsiteX53" fmla="*/ 700383 w 786911"/>
                <a:gd name="connsiteY53" fmla="*/ 108435 h 715374"/>
                <a:gd name="connsiteX54" fmla="*/ 700367 w 786911"/>
                <a:gd name="connsiteY54" fmla="*/ 112886 h 715374"/>
                <a:gd name="connsiteX55" fmla="*/ 704818 w 786911"/>
                <a:gd name="connsiteY55" fmla="*/ 112902 h 715374"/>
                <a:gd name="connsiteX56" fmla="*/ 704834 w 786911"/>
                <a:gd name="connsiteY56" fmla="*/ 112886 h 715374"/>
                <a:gd name="connsiteX57" fmla="*/ 704834 w 786911"/>
                <a:gd name="connsiteY57" fmla="*/ 108451 h 715374"/>
                <a:gd name="connsiteX58" fmla="*/ 737312 w 786911"/>
                <a:gd name="connsiteY58" fmla="*/ 77976 h 715374"/>
                <a:gd name="connsiteX59" fmla="*/ 733735 w 786911"/>
                <a:gd name="connsiteY59" fmla="*/ 77976 h 715374"/>
                <a:gd name="connsiteX60" fmla="*/ 733664 w 786911"/>
                <a:gd name="connsiteY60" fmla="*/ 81624 h 715374"/>
                <a:gd name="connsiteX61" fmla="*/ 737312 w 786911"/>
                <a:gd name="connsiteY61" fmla="*/ 81696 h 715374"/>
                <a:gd name="connsiteX62" fmla="*/ 737452 w 786911"/>
                <a:gd name="connsiteY62" fmla="*/ 78259 h 715374"/>
                <a:gd name="connsiteX63" fmla="*/ 737312 w 786911"/>
                <a:gd name="connsiteY63" fmla="*/ 78119 h 715374"/>
                <a:gd name="connsiteX64" fmla="*/ 432133 w 786911"/>
                <a:gd name="connsiteY64" fmla="*/ 403185 h 715374"/>
                <a:gd name="connsiteX65" fmla="*/ 421546 w 786911"/>
                <a:gd name="connsiteY65" fmla="*/ 403185 h 715374"/>
                <a:gd name="connsiteX66" fmla="*/ 421546 w 786911"/>
                <a:gd name="connsiteY66" fmla="*/ 414631 h 715374"/>
                <a:gd name="connsiteX67" fmla="*/ 432992 w 786911"/>
                <a:gd name="connsiteY67" fmla="*/ 414631 h 715374"/>
                <a:gd name="connsiteX68" fmla="*/ 432992 w 786911"/>
                <a:gd name="connsiteY68" fmla="*/ 403328 h 715374"/>
                <a:gd name="connsiteX69" fmla="*/ 464468 w 786911"/>
                <a:gd name="connsiteY69" fmla="*/ 373282 h 715374"/>
                <a:gd name="connsiteX70" fmla="*/ 453947 w 786911"/>
                <a:gd name="connsiteY70" fmla="*/ 373216 h 715374"/>
                <a:gd name="connsiteX71" fmla="*/ 453881 w 786911"/>
                <a:gd name="connsiteY71" fmla="*/ 373282 h 715374"/>
                <a:gd name="connsiteX72" fmla="*/ 453755 w 786911"/>
                <a:gd name="connsiteY72" fmla="*/ 383601 h 715374"/>
                <a:gd name="connsiteX73" fmla="*/ 453881 w 786911"/>
                <a:gd name="connsiteY73" fmla="*/ 383727 h 715374"/>
                <a:gd name="connsiteX74" fmla="*/ 464403 w 786911"/>
                <a:gd name="connsiteY74" fmla="*/ 383793 h 715374"/>
                <a:gd name="connsiteX75" fmla="*/ 464468 w 786911"/>
                <a:gd name="connsiteY75" fmla="*/ 383727 h 715374"/>
                <a:gd name="connsiteX76" fmla="*/ 464468 w 786911"/>
                <a:gd name="connsiteY76" fmla="*/ 373139 h 715374"/>
                <a:gd name="connsiteX77" fmla="*/ 496946 w 786911"/>
                <a:gd name="connsiteY77" fmla="*/ 342664 h 715374"/>
                <a:gd name="connsiteX78" fmla="*/ 487236 w 786911"/>
                <a:gd name="connsiteY78" fmla="*/ 342503 h 715374"/>
                <a:gd name="connsiteX79" fmla="*/ 487074 w 786911"/>
                <a:gd name="connsiteY79" fmla="*/ 342664 h 715374"/>
                <a:gd name="connsiteX80" fmla="*/ 487074 w 786911"/>
                <a:gd name="connsiteY80" fmla="*/ 352393 h 715374"/>
                <a:gd name="connsiteX81" fmla="*/ 496785 w 786911"/>
                <a:gd name="connsiteY81" fmla="*/ 352555 h 715374"/>
                <a:gd name="connsiteX82" fmla="*/ 496946 w 786911"/>
                <a:gd name="connsiteY82" fmla="*/ 352393 h 715374"/>
                <a:gd name="connsiteX83" fmla="*/ 496946 w 786911"/>
                <a:gd name="connsiteY83" fmla="*/ 342664 h 715374"/>
                <a:gd name="connsiteX84" fmla="*/ 529424 w 786911"/>
                <a:gd name="connsiteY84" fmla="*/ 312189 h 715374"/>
                <a:gd name="connsiteX85" fmla="*/ 520319 w 786911"/>
                <a:gd name="connsiteY85" fmla="*/ 312098 h 715374"/>
                <a:gd name="connsiteX86" fmla="*/ 520229 w 786911"/>
                <a:gd name="connsiteY86" fmla="*/ 321203 h 715374"/>
                <a:gd name="connsiteX87" fmla="*/ 529333 w 786911"/>
                <a:gd name="connsiteY87" fmla="*/ 321295 h 715374"/>
                <a:gd name="connsiteX88" fmla="*/ 529424 w 786911"/>
                <a:gd name="connsiteY88" fmla="*/ 321203 h 715374"/>
                <a:gd name="connsiteX89" fmla="*/ 529536 w 786911"/>
                <a:gd name="connsiteY89" fmla="*/ 312301 h 715374"/>
                <a:gd name="connsiteX90" fmla="*/ 529424 w 786911"/>
                <a:gd name="connsiteY90" fmla="*/ 312189 h 715374"/>
                <a:gd name="connsiteX91" fmla="*/ 561902 w 786911"/>
                <a:gd name="connsiteY91" fmla="*/ 281714 h 715374"/>
                <a:gd name="connsiteX92" fmla="*/ 554016 w 786911"/>
                <a:gd name="connsiteY92" fmla="*/ 281445 h 715374"/>
                <a:gd name="connsiteX93" fmla="*/ 553747 w 786911"/>
                <a:gd name="connsiteY93" fmla="*/ 281714 h 715374"/>
                <a:gd name="connsiteX94" fmla="*/ 553540 w 786911"/>
                <a:gd name="connsiteY94" fmla="*/ 289805 h 715374"/>
                <a:gd name="connsiteX95" fmla="*/ 553747 w 786911"/>
                <a:gd name="connsiteY95" fmla="*/ 290013 h 715374"/>
                <a:gd name="connsiteX96" fmla="*/ 561902 w 786911"/>
                <a:gd name="connsiteY96" fmla="*/ 290013 h 715374"/>
                <a:gd name="connsiteX97" fmla="*/ 562110 w 786911"/>
                <a:gd name="connsiteY97" fmla="*/ 281922 h 715374"/>
                <a:gd name="connsiteX98" fmla="*/ 561902 w 786911"/>
                <a:gd name="connsiteY98" fmla="*/ 281714 h 715374"/>
                <a:gd name="connsiteX99" fmla="*/ 594523 w 786911"/>
                <a:gd name="connsiteY99" fmla="*/ 251239 h 715374"/>
                <a:gd name="connsiteX100" fmla="*/ 586940 w 786911"/>
                <a:gd name="connsiteY100" fmla="*/ 251239 h 715374"/>
                <a:gd name="connsiteX101" fmla="*/ 586940 w 786911"/>
                <a:gd name="connsiteY101" fmla="*/ 258679 h 715374"/>
                <a:gd name="connsiteX102" fmla="*/ 594523 w 786911"/>
                <a:gd name="connsiteY102" fmla="*/ 258679 h 715374"/>
                <a:gd name="connsiteX103" fmla="*/ 594523 w 786911"/>
                <a:gd name="connsiteY103" fmla="*/ 251239 h 715374"/>
                <a:gd name="connsiteX104" fmla="*/ 627001 w 786911"/>
                <a:gd name="connsiteY104" fmla="*/ 220764 h 715374"/>
                <a:gd name="connsiteX105" fmla="*/ 620324 w 786911"/>
                <a:gd name="connsiteY105" fmla="*/ 220812 h 715374"/>
                <a:gd name="connsiteX106" fmla="*/ 620371 w 786911"/>
                <a:gd name="connsiteY106" fmla="*/ 227489 h 715374"/>
                <a:gd name="connsiteX107" fmla="*/ 627001 w 786911"/>
                <a:gd name="connsiteY107" fmla="*/ 227489 h 715374"/>
                <a:gd name="connsiteX108" fmla="*/ 627049 w 786911"/>
                <a:gd name="connsiteY108" fmla="*/ 220812 h 715374"/>
                <a:gd name="connsiteX109" fmla="*/ 627001 w 786911"/>
                <a:gd name="connsiteY109" fmla="*/ 220764 h 715374"/>
                <a:gd name="connsiteX110" fmla="*/ 659479 w 786911"/>
                <a:gd name="connsiteY110" fmla="*/ 190290 h 715374"/>
                <a:gd name="connsiteX111" fmla="*/ 653470 w 786911"/>
                <a:gd name="connsiteY111" fmla="*/ 190290 h 715374"/>
                <a:gd name="connsiteX112" fmla="*/ 653470 w 786911"/>
                <a:gd name="connsiteY112" fmla="*/ 196299 h 715374"/>
                <a:gd name="connsiteX113" fmla="*/ 659479 w 786911"/>
                <a:gd name="connsiteY113" fmla="*/ 196299 h 715374"/>
                <a:gd name="connsiteX114" fmla="*/ 659479 w 786911"/>
                <a:gd name="connsiteY114" fmla="*/ 190433 h 715374"/>
                <a:gd name="connsiteX115" fmla="*/ 692243 w 786911"/>
                <a:gd name="connsiteY115" fmla="*/ 159958 h 715374"/>
                <a:gd name="connsiteX116" fmla="*/ 687186 w 786911"/>
                <a:gd name="connsiteY116" fmla="*/ 159865 h 715374"/>
                <a:gd name="connsiteX117" fmla="*/ 687093 w 786911"/>
                <a:gd name="connsiteY117" fmla="*/ 159958 h 715374"/>
                <a:gd name="connsiteX118" fmla="*/ 687093 w 786911"/>
                <a:gd name="connsiteY118" fmla="*/ 165251 h 715374"/>
                <a:gd name="connsiteX119" fmla="*/ 692150 w 786911"/>
                <a:gd name="connsiteY119" fmla="*/ 165344 h 715374"/>
                <a:gd name="connsiteX120" fmla="*/ 692243 w 786911"/>
                <a:gd name="connsiteY120" fmla="*/ 165251 h 715374"/>
                <a:gd name="connsiteX121" fmla="*/ 692336 w 786911"/>
                <a:gd name="connsiteY121" fmla="*/ 160194 h 715374"/>
                <a:gd name="connsiteX122" fmla="*/ 692243 w 786911"/>
                <a:gd name="connsiteY122" fmla="*/ 160101 h 715374"/>
                <a:gd name="connsiteX123" fmla="*/ 724864 w 786911"/>
                <a:gd name="connsiteY123" fmla="*/ 129483 h 715374"/>
                <a:gd name="connsiteX124" fmla="*/ 720429 w 786911"/>
                <a:gd name="connsiteY124" fmla="*/ 129483 h 715374"/>
                <a:gd name="connsiteX125" fmla="*/ 720176 w 786911"/>
                <a:gd name="connsiteY125" fmla="*/ 133522 h 715374"/>
                <a:gd name="connsiteX126" fmla="*/ 720429 w 786911"/>
                <a:gd name="connsiteY126" fmla="*/ 133775 h 715374"/>
                <a:gd name="connsiteX127" fmla="*/ 724674 w 786911"/>
                <a:gd name="connsiteY127" fmla="*/ 133965 h 715374"/>
                <a:gd name="connsiteX128" fmla="*/ 724864 w 786911"/>
                <a:gd name="connsiteY128" fmla="*/ 133775 h 715374"/>
                <a:gd name="connsiteX129" fmla="*/ 724864 w 786911"/>
                <a:gd name="connsiteY129" fmla="*/ 129340 h 715374"/>
                <a:gd name="connsiteX130" fmla="*/ 757343 w 786911"/>
                <a:gd name="connsiteY130" fmla="*/ 98865 h 715374"/>
                <a:gd name="connsiteX131" fmla="*/ 753623 w 786911"/>
                <a:gd name="connsiteY131" fmla="*/ 98865 h 715374"/>
                <a:gd name="connsiteX132" fmla="*/ 753551 w 786911"/>
                <a:gd name="connsiteY132" fmla="*/ 102513 h 715374"/>
                <a:gd name="connsiteX133" fmla="*/ 757199 w 786911"/>
                <a:gd name="connsiteY133" fmla="*/ 102585 h 715374"/>
                <a:gd name="connsiteX134" fmla="*/ 757199 w 786911"/>
                <a:gd name="connsiteY134" fmla="*/ 98865 h 715374"/>
                <a:gd name="connsiteX135" fmla="*/ 451592 w 786911"/>
                <a:gd name="connsiteY135" fmla="*/ 424503 h 715374"/>
                <a:gd name="connsiteX136" fmla="*/ 440260 w 786911"/>
                <a:gd name="connsiteY136" fmla="*/ 424474 h 715374"/>
                <a:gd name="connsiteX137" fmla="*/ 440233 w 786911"/>
                <a:gd name="connsiteY137" fmla="*/ 435806 h 715374"/>
                <a:gd name="connsiteX138" fmla="*/ 451563 w 786911"/>
                <a:gd name="connsiteY138" fmla="*/ 435835 h 715374"/>
                <a:gd name="connsiteX139" fmla="*/ 451592 w 786911"/>
                <a:gd name="connsiteY139" fmla="*/ 435806 h 715374"/>
                <a:gd name="connsiteX140" fmla="*/ 451592 w 786911"/>
                <a:gd name="connsiteY140" fmla="*/ 424503 h 715374"/>
                <a:gd name="connsiteX141" fmla="*/ 484070 w 786911"/>
                <a:gd name="connsiteY141" fmla="*/ 394028 h 715374"/>
                <a:gd name="connsiteX142" fmla="*/ 473754 w 786911"/>
                <a:gd name="connsiteY142" fmla="*/ 393756 h 715374"/>
                <a:gd name="connsiteX143" fmla="*/ 473482 w 786911"/>
                <a:gd name="connsiteY143" fmla="*/ 394028 h 715374"/>
                <a:gd name="connsiteX144" fmla="*/ 473196 w 786911"/>
                <a:gd name="connsiteY144" fmla="*/ 404616 h 715374"/>
                <a:gd name="connsiteX145" fmla="*/ 483783 w 786911"/>
                <a:gd name="connsiteY145" fmla="*/ 404902 h 715374"/>
                <a:gd name="connsiteX146" fmla="*/ 483909 w 786911"/>
                <a:gd name="connsiteY146" fmla="*/ 394583 h 715374"/>
                <a:gd name="connsiteX147" fmla="*/ 483783 w 786911"/>
                <a:gd name="connsiteY147" fmla="*/ 394457 h 715374"/>
                <a:gd name="connsiteX148" fmla="*/ 516261 w 786911"/>
                <a:gd name="connsiteY148" fmla="*/ 363839 h 715374"/>
                <a:gd name="connsiteX149" fmla="*/ 506532 w 786911"/>
                <a:gd name="connsiteY149" fmla="*/ 363839 h 715374"/>
                <a:gd name="connsiteX150" fmla="*/ 506371 w 786911"/>
                <a:gd name="connsiteY150" fmla="*/ 373550 h 715374"/>
                <a:gd name="connsiteX151" fmla="*/ 506532 w 786911"/>
                <a:gd name="connsiteY151" fmla="*/ 373711 h 715374"/>
                <a:gd name="connsiteX152" fmla="*/ 516261 w 786911"/>
                <a:gd name="connsiteY152" fmla="*/ 373711 h 715374"/>
                <a:gd name="connsiteX153" fmla="*/ 516423 w 786911"/>
                <a:gd name="connsiteY153" fmla="*/ 364001 h 715374"/>
                <a:gd name="connsiteX154" fmla="*/ 516261 w 786911"/>
                <a:gd name="connsiteY154" fmla="*/ 363839 h 715374"/>
                <a:gd name="connsiteX155" fmla="*/ 548883 w 786911"/>
                <a:gd name="connsiteY155" fmla="*/ 333364 h 715374"/>
                <a:gd name="connsiteX156" fmla="*/ 539726 w 786911"/>
                <a:gd name="connsiteY156" fmla="*/ 333364 h 715374"/>
                <a:gd name="connsiteX157" fmla="*/ 539726 w 786911"/>
                <a:gd name="connsiteY157" fmla="*/ 342521 h 715374"/>
                <a:gd name="connsiteX158" fmla="*/ 548883 w 786911"/>
                <a:gd name="connsiteY158" fmla="*/ 342521 h 715374"/>
                <a:gd name="connsiteX159" fmla="*/ 548883 w 786911"/>
                <a:gd name="connsiteY159" fmla="*/ 333364 h 715374"/>
                <a:gd name="connsiteX160" fmla="*/ 581647 w 786911"/>
                <a:gd name="connsiteY160" fmla="*/ 303033 h 715374"/>
                <a:gd name="connsiteX161" fmla="*/ 573348 w 786911"/>
                <a:gd name="connsiteY161" fmla="*/ 302746 h 715374"/>
                <a:gd name="connsiteX162" fmla="*/ 573062 w 786911"/>
                <a:gd name="connsiteY162" fmla="*/ 311045 h 715374"/>
                <a:gd name="connsiteX163" fmla="*/ 581153 w 786911"/>
                <a:gd name="connsiteY163" fmla="*/ 311252 h 715374"/>
                <a:gd name="connsiteX164" fmla="*/ 581360 w 786911"/>
                <a:gd name="connsiteY164" fmla="*/ 311045 h 715374"/>
                <a:gd name="connsiteX165" fmla="*/ 581363 w 786911"/>
                <a:gd name="connsiteY165" fmla="*/ 302749 h 715374"/>
                <a:gd name="connsiteX166" fmla="*/ 581360 w 786911"/>
                <a:gd name="connsiteY166" fmla="*/ 302746 h 715374"/>
                <a:gd name="connsiteX167" fmla="*/ 613839 w 786911"/>
                <a:gd name="connsiteY167" fmla="*/ 272271 h 715374"/>
                <a:gd name="connsiteX168" fmla="*/ 606353 w 786911"/>
                <a:gd name="connsiteY168" fmla="*/ 272369 h 715374"/>
                <a:gd name="connsiteX169" fmla="*/ 606450 w 786911"/>
                <a:gd name="connsiteY169" fmla="*/ 279854 h 715374"/>
                <a:gd name="connsiteX170" fmla="*/ 613839 w 786911"/>
                <a:gd name="connsiteY170" fmla="*/ 279854 h 715374"/>
                <a:gd name="connsiteX171" fmla="*/ 613839 w 786911"/>
                <a:gd name="connsiteY171" fmla="*/ 272271 h 715374"/>
                <a:gd name="connsiteX172" fmla="*/ 646316 w 786911"/>
                <a:gd name="connsiteY172" fmla="*/ 241797 h 715374"/>
                <a:gd name="connsiteX173" fmla="*/ 639639 w 786911"/>
                <a:gd name="connsiteY173" fmla="*/ 241844 h 715374"/>
                <a:gd name="connsiteX174" fmla="*/ 639686 w 786911"/>
                <a:gd name="connsiteY174" fmla="*/ 248521 h 715374"/>
                <a:gd name="connsiteX175" fmla="*/ 646316 w 786911"/>
                <a:gd name="connsiteY175" fmla="*/ 248521 h 715374"/>
                <a:gd name="connsiteX176" fmla="*/ 646364 w 786911"/>
                <a:gd name="connsiteY176" fmla="*/ 241844 h 715374"/>
                <a:gd name="connsiteX177" fmla="*/ 646316 w 786911"/>
                <a:gd name="connsiteY177" fmla="*/ 241797 h 715374"/>
                <a:gd name="connsiteX178" fmla="*/ 679081 w 786911"/>
                <a:gd name="connsiteY178" fmla="*/ 211035 h 715374"/>
                <a:gd name="connsiteX179" fmla="*/ 673011 w 786911"/>
                <a:gd name="connsiteY179" fmla="*/ 211118 h 715374"/>
                <a:gd name="connsiteX180" fmla="*/ 673094 w 786911"/>
                <a:gd name="connsiteY180" fmla="*/ 217188 h 715374"/>
                <a:gd name="connsiteX181" fmla="*/ 679081 w 786911"/>
                <a:gd name="connsiteY181" fmla="*/ 217188 h 715374"/>
                <a:gd name="connsiteX182" fmla="*/ 679081 w 786911"/>
                <a:gd name="connsiteY182" fmla="*/ 211179 h 715374"/>
                <a:gd name="connsiteX183" fmla="*/ 711559 w 786911"/>
                <a:gd name="connsiteY183" fmla="*/ 180704 h 715374"/>
                <a:gd name="connsiteX184" fmla="*/ 706501 w 786911"/>
                <a:gd name="connsiteY184" fmla="*/ 180611 h 715374"/>
                <a:gd name="connsiteX185" fmla="*/ 706408 w 786911"/>
                <a:gd name="connsiteY185" fmla="*/ 180704 h 715374"/>
                <a:gd name="connsiteX186" fmla="*/ 706315 w 786911"/>
                <a:gd name="connsiteY186" fmla="*/ 185761 h 715374"/>
                <a:gd name="connsiteX187" fmla="*/ 706408 w 786911"/>
                <a:gd name="connsiteY187" fmla="*/ 185854 h 715374"/>
                <a:gd name="connsiteX188" fmla="*/ 711466 w 786911"/>
                <a:gd name="connsiteY188" fmla="*/ 185947 h 715374"/>
                <a:gd name="connsiteX189" fmla="*/ 711559 w 786911"/>
                <a:gd name="connsiteY189" fmla="*/ 185854 h 715374"/>
                <a:gd name="connsiteX190" fmla="*/ 711559 w 786911"/>
                <a:gd name="connsiteY190" fmla="*/ 180560 h 715374"/>
                <a:gd name="connsiteX191" fmla="*/ 744037 w 786911"/>
                <a:gd name="connsiteY191" fmla="*/ 150086 h 715374"/>
                <a:gd name="connsiteX192" fmla="*/ 739601 w 786911"/>
                <a:gd name="connsiteY192" fmla="*/ 150086 h 715374"/>
                <a:gd name="connsiteX193" fmla="*/ 739601 w 786911"/>
                <a:gd name="connsiteY193" fmla="*/ 154521 h 715374"/>
                <a:gd name="connsiteX194" fmla="*/ 744037 w 786911"/>
                <a:gd name="connsiteY194" fmla="*/ 154521 h 715374"/>
                <a:gd name="connsiteX195" fmla="*/ 744227 w 786911"/>
                <a:gd name="connsiteY195" fmla="*/ 150276 h 715374"/>
                <a:gd name="connsiteX196" fmla="*/ 744037 w 786911"/>
                <a:gd name="connsiteY196" fmla="*/ 150086 h 715374"/>
                <a:gd name="connsiteX197" fmla="*/ 776658 w 786911"/>
                <a:gd name="connsiteY197" fmla="*/ 119611 h 715374"/>
                <a:gd name="connsiteX198" fmla="*/ 773016 w 786911"/>
                <a:gd name="connsiteY198" fmla="*/ 119689 h 715374"/>
                <a:gd name="connsiteX199" fmla="*/ 773095 w 786911"/>
                <a:gd name="connsiteY199" fmla="*/ 123331 h 715374"/>
                <a:gd name="connsiteX200" fmla="*/ 776658 w 786911"/>
                <a:gd name="connsiteY200" fmla="*/ 123331 h 715374"/>
                <a:gd name="connsiteX201" fmla="*/ 776658 w 786911"/>
                <a:gd name="connsiteY201" fmla="*/ 119611 h 715374"/>
                <a:gd name="connsiteX202" fmla="*/ 354587 w 786911"/>
                <a:gd name="connsiteY202" fmla="*/ 320917 h 715374"/>
                <a:gd name="connsiteX203" fmla="*/ 343284 w 786911"/>
                <a:gd name="connsiteY203" fmla="*/ 320917 h 715374"/>
                <a:gd name="connsiteX204" fmla="*/ 343526 w 786911"/>
                <a:gd name="connsiteY204" fmla="*/ 332246 h 715374"/>
                <a:gd name="connsiteX205" fmla="*/ 354158 w 786911"/>
                <a:gd name="connsiteY205" fmla="*/ 332649 h 715374"/>
                <a:gd name="connsiteX206" fmla="*/ 354158 w 786911"/>
                <a:gd name="connsiteY206" fmla="*/ 321203 h 715374"/>
                <a:gd name="connsiteX207" fmla="*/ 386636 w 786911"/>
                <a:gd name="connsiteY207" fmla="*/ 290728 h 715374"/>
                <a:gd name="connsiteX208" fmla="*/ 376114 w 786911"/>
                <a:gd name="connsiteY208" fmla="*/ 290794 h 715374"/>
                <a:gd name="connsiteX209" fmla="*/ 376180 w 786911"/>
                <a:gd name="connsiteY209" fmla="*/ 301316 h 715374"/>
                <a:gd name="connsiteX210" fmla="*/ 386636 w 786911"/>
                <a:gd name="connsiteY210" fmla="*/ 301316 h 715374"/>
                <a:gd name="connsiteX211" fmla="*/ 386702 w 786911"/>
                <a:gd name="connsiteY211" fmla="*/ 290794 h 715374"/>
                <a:gd name="connsiteX212" fmla="*/ 386636 w 786911"/>
                <a:gd name="connsiteY212" fmla="*/ 290728 h 715374"/>
                <a:gd name="connsiteX213" fmla="*/ 419543 w 786911"/>
                <a:gd name="connsiteY213" fmla="*/ 260110 h 715374"/>
                <a:gd name="connsiteX214" fmla="*/ 409814 w 786911"/>
                <a:gd name="connsiteY214" fmla="*/ 260110 h 715374"/>
                <a:gd name="connsiteX215" fmla="*/ 409652 w 786911"/>
                <a:gd name="connsiteY215" fmla="*/ 269821 h 715374"/>
                <a:gd name="connsiteX216" fmla="*/ 409814 w 786911"/>
                <a:gd name="connsiteY216" fmla="*/ 269982 h 715374"/>
                <a:gd name="connsiteX217" fmla="*/ 419543 w 786911"/>
                <a:gd name="connsiteY217" fmla="*/ 269982 h 715374"/>
                <a:gd name="connsiteX218" fmla="*/ 419705 w 786911"/>
                <a:gd name="connsiteY218" fmla="*/ 260272 h 715374"/>
                <a:gd name="connsiteX219" fmla="*/ 419543 w 786911"/>
                <a:gd name="connsiteY219" fmla="*/ 260110 h 715374"/>
                <a:gd name="connsiteX220" fmla="*/ 452164 w 786911"/>
                <a:gd name="connsiteY220" fmla="*/ 229635 h 715374"/>
                <a:gd name="connsiteX221" fmla="*/ 443060 w 786911"/>
                <a:gd name="connsiteY221" fmla="*/ 229762 h 715374"/>
                <a:gd name="connsiteX222" fmla="*/ 442721 w 786911"/>
                <a:gd name="connsiteY222" fmla="*/ 238363 h 715374"/>
                <a:gd name="connsiteX223" fmla="*/ 451878 w 786911"/>
                <a:gd name="connsiteY223" fmla="*/ 238363 h 715374"/>
                <a:gd name="connsiteX224" fmla="*/ 451989 w 786911"/>
                <a:gd name="connsiteY224" fmla="*/ 229461 h 715374"/>
                <a:gd name="connsiteX225" fmla="*/ 451878 w 786911"/>
                <a:gd name="connsiteY225" fmla="*/ 229349 h 715374"/>
                <a:gd name="connsiteX226" fmla="*/ 484356 w 786911"/>
                <a:gd name="connsiteY226" fmla="*/ 198874 h 715374"/>
                <a:gd name="connsiteX227" fmla="*/ 476057 w 786911"/>
                <a:gd name="connsiteY227" fmla="*/ 198588 h 715374"/>
                <a:gd name="connsiteX228" fmla="*/ 475771 w 786911"/>
                <a:gd name="connsiteY228" fmla="*/ 206886 h 715374"/>
                <a:gd name="connsiteX229" fmla="*/ 484070 w 786911"/>
                <a:gd name="connsiteY229" fmla="*/ 207172 h 715374"/>
                <a:gd name="connsiteX230" fmla="*/ 484356 w 786911"/>
                <a:gd name="connsiteY230" fmla="*/ 198874 h 715374"/>
                <a:gd name="connsiteX231" fmla="*/ 516834 w 786911"/>
                <a:gd name="connsiteY231" fmla="*/ 168399 h 715374"/>
                <a:gd name="connsiteX232" fmla="*/ 509394 w 786911"/>
                <a:gd name="connsiteY232" fmla="*/ 168399 h 715374"/>
                <a:gd name="connsiteX233" fmla="*/ 509149 w 786911"/>
                <a:gd name="connsiteY233" fmla="*/ 176084 h 715374"/>
                <a:gd name="connsiteX234" fmla="*/ 516834 w 786911"/>
                <a:gd name="connsiteY234" fmla="*/ 176330 h 715374"/>
                <a:gd name="connsiteX235" fmla="*/ 517078 w 786911"/>
                <a:gd name="connsiteY235" fmla="*/ 168644 h 715374"/>
                <a:gd name="connsiteX236" fmla="*/ 516834 w 786911"/>
                <a:gd name="connsiteY236" fmla="*/ 168399 h 715374"/>
                <a:gd name="connsiteX237" fmla="*/ 550313 w 786911"/>
                <a:gd name="connsiteY237" fmla="*/ 138067 h 715374"/>
                <a:gd name="connsiteX238" fmla="*/ 543446 w 786911"/>
                <a:gd name="connsiteY238" fmla="*/ 138067 h 715374"/>
                <a:gd name="connsiteX239" fmla="*/ 543303 w 786911"/>
                <a:gd name="connsiteY239" fmla="*/ 144792 h 715374"/>
                <a:gd name="connsiteX240" fmla="*/ 550027 w 786911"/>
                <a:gd name="connsiteY240" fmla="*/ 144935 h 715374"/>
                <a:gd name="connsiteX241" fmla="*/ 550027 w 786911"/>
                <a:gd name="connsiteY241" fmla="*/ 138210 h 715374"/>
                <a:gd name="connsiteX242" fmla="*/ 582505 w 786911"/>
                <a:gd name="connsiteY242" fmla="*/ 107735 h 715374"/>
                <a:gd name="connsiteX243" fmla="*/ 576496 w 786911"/>
                <a:gd name="connsiteY243" fmla="*/ 107735 h 715374"/>
                <a:gd name="connsiteX244" fmla="*/ 576281 w 786911"/>
                <a:gd name="connsiteY244" fmla="*/ 113673 h 715374"/>
                <a:gd name="connsiteX245" fmla="*/ 582219 w 786911"/>
                <a:gd name="connsiteY245" fmla="*/ 113888 h 715374"/>
                <a:gd name="connsiteX246" fmla="*/ 582219 w 786911"/>
                <a:gd name="connsiteY246" fmla="*/ 107878 h 715374"/>
                <a:gd name="connsiteX247" fmla="*/ 614697 w 786911"/>
                <a:gd name="connsiteY247" fmla="*/ 77404 h 715374"/>
                <a:gd name="connsiteX248" fmla="*/ 609639 w 786911"/>
                <a:gd name="connsiteY248" fmla="*/ 77311 h 715374"/>
                <a:gd name="connsiteX249" fmla="*/ 609546 w 786911"/>
                <a:gd name="connsiteY249" fmla="*/ 77404 h 715374"/>
                <a:gd name="connsiteX250" fmla="*/ 609403 w 786911"/>
                <a:gd name="connsiteY250" fmla="*/ 82554 h 715374"/>
                <a:gd name="connsiteX251" fmla="*/ 614554 w 786911"/>
                <a:gd name="connsiteY251" fmla="*/ 82697 h 715374"/>
                <a:gd name="connsiteX252" fmla="*/ 614647 w 786911"/>
                <a:gd name="connsiteY252" fmla="*/ 77640 h 715374"/>
                <a:gd name="connsiteX253" fmla="*/ 614554 w 786911"/>
                <a:gd name="connsiteY253" fmla="*/ 77547 h 715374"/>
                <a:gd name="connsiteX254" fmla="*/ 647032 w 786911"/>
                <a:gd name="connsiteY254" fmla="*/ 47072 h 715374"/>
                <a:gd name="connsiteX255" fmla="*/ 642596 w 786911"/>
                <a:gd name="connsiteY255" fmla="*/ 47072 h 715374"/>
                <a:gd name="connsiteX256" fmla="*/ 642596 w 786911"/>
                <a:gd name="connsiteY256" fmla="*/ 51507 h 715374"/>
                <a:gd name="connsiteX257" fmla="*/ 647032 w 786911"/>
                <a:gd name="connsiteY257" fmla="*/ 51507 h 715374"/>
                <a:gd name="connsiteX258" fmla="*/ 647222 w 786911"/>
                <a:gd name="connsiteY258" fmla="*/ 47262 h 715374"/>
                <a:gd name="connsiteX259" fmla="*/ 647032 w 786911"/>
                <a:gd name="connsiteY259" fmla="*/ 47072 h 715374"/>
                <a:gd name="connsiteX260" fmla="*/ 679796 w 786911"/>
                <a:gd name="connsiteY260" fmla="*/ 16883 h 715374"/>
                <a:gd name="connsiteX261" fmla="*/ 676155 w 786911"/>
                <a:gd name="connsiteY261" fmla="*/ 16819 h 715374"/>
                <a:gd name="connsiteX262" fmla="*/ 676090 w 786911"/>
                <a:gd name="connsiteY262" fmla="*/ 20460 h 715374"/>
                <a:gd name="connsiteX263" fmla="*/ 679732 w 786911"/>
                <a:gd name="connsiteY263" fmla="*/ 20524 h 715374"/>
                <a:gd name="connsiteX264" fmla="*/ 679796 w 786911"/>
                <a:gd name="connsiteY264" fmla="*/ 20460 h 715374"/>
                <a:gd name="connsiteX265" fmla="*/ 679796 w 786911"/>
                <a:gd name="connsiteY265" fmla="*/ 16883 h 715374"/>
                <a:gd name="connsiteX266" fmla="*/ 373902 w 786911"/>
                <a:gd name="connsiteY266" fmla="*/ 341663 h 715374"/>
                <a:gd name="connsiteX267" fmla="*/ 362599 w 786911"/>
                <a:gd name="connsiteY267" fmla="*/ 341663 h 715374"/>
                <a:gd name="connsiteX268" fmla="*/ 362241 w 786911"/>
                <a:gd name="connsiteY268" fmla="*/ 353037 h 715374"/>
                <a:gd name="connsiteX269" fmla="*/ 373616 w 786911"/>
                <a:gd name="connsiteY269" fmla="*/ 353395 h 715374"/>
                <a:gd name="connsiteX270" fmla="*/ 373616 w 786911"/>
                <a:gd name="connsiteY270" fmla="*/ 342092 h 715374"/>
                <a:gd name="connsiteX271" fmla="*/ 407238 w 786911"/>
                <a:gd name="connsiteY271" fmla="*/ 311188 h 715374"/>
                <a:gd name="connsiteX272" fmla="*/ 396651 w 786911"/>
                <a:gd name="connsiteY272" fmla="*/ 310759 h 715374"/>
                <a:gd name="connsiteX273" fmla="*/ 396222 w 786911"/>
                <a:gd name="connsiteY273" fmla="*/ 321346 h 715374"/>
                <a:gd name="connsiteX274" fmla="*/ 406537 w 786911"/>
                <a:gd name="connsiteY274" fmla="*/ 321618 h 715374"/>
                <a:gd name="connsiteX275" fmla="*/ 406809 w 786911"/>
                <a:gd name="connsiteY275" fmla="*/ 321346 h 715374"/>
                <a:gd name="connsiteX276" fmla="*/ 406809 w 786911"/>
                <a:gd name="connsiteY276" fmla="*/ 310759 h 715374"/>
                <a:gd name="connsiteX277" fmla="*/ 439287 w 786911"/>
                <a:gd name="connsiteY277" fmla="*/ 280284 h 715374"/>
                <a:gd name="connsiteX278" fmla="*/ 429577 w 786911"/>
                <a:gd name="connsiteY278" fmla="*/ 280122 h 715374"/>
                <a:gd name="connsiteX279" fmla="*/ 429415 w 786911"/>
                <a:gd name="connsiteY279" fmla="*/ 280284 h 715374"/>
                <a:gd name="connsiteX280" fmla="*/ 429415 w 786911"/>
                <a:gd name="connsiteY280" fmla="*/ 290013 h 715374"/>
                <a:gd name="connsiteX281" fmla="*/ 439126 w 786911"/>
                <a:gd name="connsiteY281" fmla="*/ 290174 h 715374"/>
                <a:gd name="connsiteX282" fmla="*/ 439287 w 786911"/>
                <a:gd name="connsiteY282" fmla="*/ 290013 h 715374"/>
                <a:gd name="connsiteX283" fmla="*/ 439287 w 786911"/>
                <a:gd name="connsiteY283" fmla="*/ 280284 h 715374"/>
                <a:gd name="connsiteX284" fmla="*/ 471765 w 786911"/>
                <a:gd name="connsiteY284" fmla="*/ 249809 h 715374"/>
                <a:gd name="connsiteX285" fmla="*/ 462660 w 786911"/>
                <a:gd name="connsiteY285" fmla="*/ 249717 h 715374"/>
                <a:gd name="connsiteX286" fmla="*/ 462570 w 786911"/>
                <a:gd name="connsiteY286" fmla="*/ 258822 h 715374"/>
                <a:gd name="connsiteX287" fmla="*/ 471674 w 786911"/>
                <a:gd name="connsiteY287" fmla="*/ 258914 h 715374"/>
                <a:gd name="connsiteX288" fmla="*/ 471765 w 786911"/>
                <a:gd name="connsiteY288" fmla="*/ 258822 h 715374"/>
                <a:gd name="connsiteX289" fmla="*/ 471877 w 786911"/>
                <a:gd name="connsiteY289" fmla="*/ 249920 h 715374"/>
                <a:gd name="connsiteX290" fmla="*/ 471765 w 786911"/>
                <a:gd name="connsiteY290" fmla="*/ 249809 h 715374"/>
                <a:gd name="connsiteX291" fmla="*/ 504386 w 786911"/>
                <a:gd name="connsiteY291" fmla="*/ 219334 h 715374"/>
                <a:gd name="connsiteX292" fmla="*/ 496088 w 786911"/>
                <a:gd name="connsiteY292" fmla="*/ 219048 h 715374"/>
                <a:gd name="connsiteX293" fmla="*/ 495802 w 786911"/>
                <a:gd name="connsiteY293" fmla="*/ 227346 h 715374"/>
                <a:gd name="connsiteX294" fmla="*/ 504100 w 786911"/>
                <a:gd name="connsiteY294" fmla="*/ 227632 h 715374"/>
                <a:gd name="connsiteX295" fmla="*/ 504386 w 786911"/>
                <a:gd name="connsiteY295" fmla="*/ 219334 h 715374"/>
                <a:gd name="connsiteX296" fmla="*/ 536006 w 786911"/>
                <a:gd name="connsiteY296" fmla="*/ 189288 h 715374"/>
                <a:gd name="connsiteX297" fmla="*/ 528520 w 786911"/>
                <a:gd name="connsiteY297" fmla="*/ 189241 h 715374"/>
                <a:gd name="connsiteX298" fmla="*/ 528473 w 786911"/>
                <a:gd name="connsiteY298" fmla="*/ 196728 h 715374"/>
                <a:gd name="connsiteX299" fmla="*/ 535959 w 786911"/>
                <a:gd name="connsiteY299" fmla="*/ 196774 h 715374"/>
                <a:gd name="connsiteX300" fmla="*/ 536006 w 786911"/>
                <a:gd name="connsiteY300" fmla="*/ 196728 h 715374"/>
                <a:gd name="connsiteX301" fmla="*/ 536006 w 786911"/>
                <a:gd name="connsiteY301" fmla="*/ 189288 h 715374"/>
                <a:gd name="connsiteX302" fmla="*/ 568484 w 786911"/>
                <a:gd name="connsiteY302" fmla="*/ 158813 h 715374"/>
                <a:gd name="connsiteX303" fmla="*/ 561806 w 786911"/>
                <a:gd name="connsiteY303" fmla="*/ 158860 h 715374"/>
                <a:gd name="connsiteX304" fmla="*/ 561854 w 786911"/>
                <a:gd name="connsiteY304" fmla="*/ 165538 h 715374"/>
                <a:gd name="connsiteX305" fmla="*/ 568484 w 786911"/>
                <a:gd name="connsiteY305" fmla="*/ 165538 h 715374"/>
                <a:gd name="connsiteX306" fmla="*/ 568531 w 786911"/>
                <a:gd name="connsiteY306" fmla="*/ 158860 h 715374"/>
                <a:gd name="connsiteX307" fmla="*/ 568484 w 786911"/>
                <a:gd name="connsiteY307" fmla="*/ 158813 h 715374"/>
                <a:gd name="connsiteX308" fmla="*/ 600962 w 786911"/>
                <a:gd name="connsiteY308" fmla="*/ 128338 h 715374"/>
                <a:gd name="connsiteX309" fmla="*/ 595096 w 786911"/>
                <a:gd name="connsiteY309" fmla="*/ 128338 h 715374"/>
                <a:gd name="connsiteX310" fmla="*/ 595096 w 786911"/>
                <a:gd name="connsiteY310" fmla="*/ 134347 h 715374"/>
                <a:gd name="connsiteX311" fmla="*/ 600962 w 786911"/>
                <a:gd name="connsiteY311" fmla="*/ 134490 h 715374"/>
                <a:gd name="connsiteX312" fmla="*/ 601105 w 786911"/>
                <a:gd name="connsiteY312" fmla="*/ 134347 h 715374"/>
                <a:gd name="connsiteX313" fmla="*/ 601309 w 786911"/>
                <a:gd name="connsiteY313" fmla="*/ 128686 h 715374"/>
                <a:gd name="connsiteX314" fmla="*/ 601105 w 786911"/>
                <a:gd name="connsiteY314" fmla="*/ 128481 h 715374"/>
                <a:gd name="connsiteX315" fmla="*/ 633726 w 786911"/>
                <a:gd name="connsiteY315" fmla="*/ 98006 h 715374"/>
                <a:gd name="connsiteX316" fmla="*/ 628466 w 786911"/>
                <a:gd name="connsiteY316" fmla="*/ 97898 h 715374"/>
                <a:gd name="connsiteX317" fmla="*/ 628358 w 786911"/>
                <a:gd name="connsiteY317" fmla="*/ 103157 h 715374"/>
                <a:gd name="connsiteX318" fmla="*/ 633617 w 786911"/>
                <a:gd name="connsiteY318" fmla="*/ 103266 h 715374"/>
                <a:gd name="connsiteX319" fmla="*/ 633726 w 786911"/>
                <a:gd name="connsiteY319" fmla="*/ 103157 h 715374"/>
                <a:gd name="connsiteX320" fmla="*/ 633726 w 786911"/>
                <a:gd name="connsiteY320" fmla="*/ 98006 h 715374"/>
                <a:gd name="connsiteX321" fmla="*/ 666204 w 786911"/>
                <a:gd name="connsiteY321" fmla="*/ 67531 h 715374"/>
                <a:gd name="connsiteX322" fmla="*/ 661959 w 786911"/>
                <a:gd name="connsiteY322" fmla="*/ 67341 h 715374"/>
                <a:gd name="connsiteX323" fmla="*/ 661769 w 786911"/>
                <a:gd name="connsiteY323" fmla="*/ 67531 h 715374"/>
                <a:gd name="connsiteX324" fmla="*/ 661769 w 786911"/>
                <a:gd name="connsiteY324" fmla="*/ 71967 h 715374"/>
                <a:gd name="connsiteX325" fmla="*/ 666204 w 786911"/>
                <a:gd name="connsiteY325" fmla="*/ 71967 h 715374"/>
                <a:gd name="connsiteX326" fmla="*/ 666204 w 786911"/>
                <a:gd name="connsiteY326" fmla="*/ 67531 h 715374"/>
                <a:gd name="connsiteX327" fmla="*/ 699111 w 786911"/>
                <a:gd name="connsiteY327" fmla="*/ 36913 h 715374"/>
                <a:gd name="connsiteX328" fmla="*/ 695470 w 786911"/>
                <a:gd name="connsiteY328" fmla="*/ 36849 h 715374"/>
                <a:gd name="connsiteX329" fmla="*/ 695405 w 786911"/>
                <a:gd name="connsiteY329" fmla="*/ 40490 h 715374"/>
                <a:gd name="connsiteX330" fmla="*/ 699047 w 786911"/>
                <a:gd name="connsiteY330" fmla="*/ 40555 h 715374"/>
                <a:gd name="connsiteX331" fmla="*/ 699111 w 786911"/>
                <a:gd name="connsiteY331" fmla="*/ 40490 h 715374"/>
                <a:gd name="connsiteX332" fmla="*/ 699251 w 786911"/>
                <a:gd name="connsiteY332" fmla="*/ 37054 h 715374"/>
                <a:gd name="connsiteX333" fmla="*/ 699111 w 786911"/>
                <a:gd name="connsiteY333" fmla="*/ 36913 h 715374"/>
                <a:gd name="connsiteX334" fmla="*/ 392931 w 786911"/>
                <a:gd name="connsiteY334" fmla="*/ 362409 h 715374"/>
                <a:gd name="connsiteX335" fmla="*/ 381599 w 786911"/>
                <a:gd name="connsiteY335" fmla="*/ 362380 h 715374"/>
                <a:gd name="connsiteX336" fmla="*/ 381572 w 786911"/>
                <a:gd name="connsiteY336" fmla="*/ 373711 h 715374"/>
                <a:gd name="connsiteX337" fmla="*/ 392902 w 786911"/>
                <a:gd name="connsiteY337" fmla="*/ 373740 h 715374"/>
                <a:gd name="connsiteX338" fmla="*/ 392931 w 786911"/>
                <a:gd name="connsiteY338" fmla="*/ 373711 h 715374"/>
                <a:gd name="connsiteX339" fmla="*/ 392931 w 786911"/>
                <a:gd name="connsiteY339" fmla="*/ 362409 h 715374"/>
                <a:gd name="connsiteX340" fmla="*/ 425838 w 786911"/>
                <a:gd name="connsiteY340" fmla="*/ 331647 h 715374"/>
                <a:gd name="connsiteX341" fmla="*/ 415322 w 786911"/>
                <a:gd name="connsiteY341" fmla="*/ 331290 h 715374"/>
                <a:gd name="connsiteX342" fmla="*/ 414965 w 786911"/>
                <a:gd name="connsiteY342" fmla="*/ 341806 h 715374"/>
                <a:gd name="connsiteX343" fmla="*/ 425552 w 786911"/>
                <a:gd name="connsiteY343" fmla="*/ 341806 h 715374"/>
                <a:gd name="connsiteX344" fmla="*/ 425618 w 786911"/>
                <a:gd name="connsiteY344" fmla="*/ 331284 h 715374"/>
                <a:gd name="connsiteX345" fmla="*/ 425552 w 786911"/>
                <a:gd name="connsiteY345" fmla="*/ 331218 h 715374"/>
                <a:gd name="connsiteX346" fmla="*/ 458173 w 786911"/>
                <a:gd name="connsiteY346" fmla="*/ 300743 h 715374"/>
                <a:gd name="connsiteX347" fmla="*/ 448461 w 786911"/>
                <a:gd name="connsiteY347" fmla="*/ 300761 h 715374"/>
                <a:gd name="connsiteX348" fmla="*/ 448478 w 786911"/>
                <a:gd name="connsiteY348" fmla="*/ 310472 h 715374"/>
                <a:gd name="connsiteX349" fmla="*/ 458173 w 786911"/>
                <a:gd name="connsiteY349" fmla="*/ 310472 h 715374"/>
                <a:gd name="connsiteX350" fmla="*/ 458190 w 786911"/>
                <a:gd name="connsiteY350" fmla="*/ 300761 h 715374"/>
                <a:gd name="connsiteX351" fmla="*/ 458173 w 786911"/>
                <a:gd name="connsiteY351" fmla="*/ 300743 h 715374"/>
                <a:gd name="connsiteX352" fmla="*/ 490651 w 786911"/>
                <a:gd name="connsiteY352" fmla="*/ 270268 h 715374"/>
                <a:gd name="connsiteX353" fmla="*/ 481677 w 786911"/>
                <a:gd name="connsiteY353" fmla="*/ 268727 h 715374"/>
                <a:gd name="connsiteX354" fmla="*/ 480137 w 786911"/>
                <a:gd name="connsiteY354" fmla="*/ 277701 h 715374"/>
                <a:gd name="connsiteX355" fmla="*/ 481351 w 786911"/>
                <a:gd name="connsiteY355" fmla="*/ 278996 h 715374"/>
                <a:gd name="connsiteX356" fmla="*/ 490405 w 786911"/>
                <a:gd name="connsiteY356" fmla="*/ 278027 h 715374"/>
                <a:gd name="connsiteX357" fmla="*/ 490651 w 786911"/>
                <a:gd name="connsiteY357" fmla="*/ 270268 h 715374"/>
                <a:gd name="connsiteX358" fmla="*/ 523129 w 786911"/>
                <a:gd name="connsiteY358" fmla="*/ 239650 h 715374"/>
                <a:gd name="connsiteX359" fmla="*/ 514831 w 786911"/>
                <a:gd name="connsiteY359" fmla="*/ 239364 h 715374"/>
                <a:gd name="connsiteX360" fmla="*/ 514545 w 786911"/>
                <a:gd name="connsiteY360" fmla="*/ 247663 h 715374"/>
                <a:gd name="connsiteX361" fmla="*/ 522843 w 786911"/>
                <a:gd name="connsiteY361" fmla="*/ 247949 h 715374"/>
                <a:gd name="connsiteX362" fmla="*/ 523129 w 786911"/>
                <a:gd name="connsiteY362" fmla="*/ 239650 h 715374"/>
                <a:gd name="connsiteX363" fmla="*/ 555607 w 786911"/>
                <a:gd name="connsiteY363" fmla="*/ 209175 h 715374"/>
                <a:gd name="connsiteX364" fmla="*/ 548096 w 786911"/>
                <a:gd name="connsiteY364" fmla="*/ 208961 h 715374"/>
                <a:gd name="connsiteX365" fmla="*/ 547881 w 786911"/>
                <a:gd name="connsiteY365" fmla="*/ 216472 h 715374"/>
                <a:gd name="connsiteX366" fmla="*/ 555392 w 786911"/>
                <a:gd name="connsiteY366" fmla="*/ 216687 h 715374"/>
                <a:gd name="connsiteX367" fmla="*/ 555607 w 786911"/>
                <a:gd name="connsiteY367" fmla="*/ 209175 h 715374"/>
                <a:gd name="connsiteX368" fmla="*/ 588228 w 786911"/>
                <a:gd name="connsiteY368" fmla="*/ 178701 h 715374"/>
                <a:gd name="connsiteX369" fmla="*/ 581350 w 786911"/>
                <a:gd name="connsiteY369" fmla="*/ 178547 h 715374"/>
                <a:gd name="connsiteX370" fmla="*/ 581197 w 786911"/>
                <a:gd name="connsiteY370" fmla="*/ 185425 h 715374"/>
                <a:gd name="connsiteX371" fmla="*/ 588075 w 786911"/>
                <a:gd name="connsiteY371" fmla="*/ 185578 h 715374"/>
                <a:gd name="connsiteX372" fmla="*/ 588228 w 786911"/>
                <a:gd name="connsiteY372" fmla="*/ 185425 h 715374"/>
                <a:gd name="connsiteX373" fmla="*/ 588275 w 786911"/>
                <a:gd name="connsiteY373" fmla="*/ 178748 h 715374"/>
                <a:gd name="connsiteX374" fmla="*/ 588228 w 786911"/>
                <a:gd name="connsiteY374" fmla="*/ 178701 h 715374"/>
                <a:gd name="connsiteX375" fmla="*/ 620706 w 786911"/>
                <a:gd name="connsiteY375" fmla="*/ 148226 h 715374"/>
                <a:gd name="connsiteX376" fmla="*/ 614637 w 786911"/>
                <a:gd name="connsiteY376" fmla="*/ 148165 h 715374"/>
                <a:gd name="connsiteX377" fmla="*/ 614575 w 786911"/>
                <a:gd name="connsiteY377" fmla="*/ 154235 h 715374"/>
                <a:gd name="connsiteX378" fmla="*/ 620646 w 786911"/>
                <a:gd name="connsiteY378" fmla="*/ 154295 h 715374"/>
                <a:gd name="connsiteX379" fmla="*/ 620706 w 786911"/>
                <a:gd name="connsiteY379" fmla="*/ 154235 h 715374"/>
                <a:gd name="connsiteX380" fmla="*/ 620706 w 786911"/>
                <a:gd name="connsiteY380" fmla="*/ 148226 h 715374"/>
                <a:gd name="connsiteX381" fmla="*/ 653184 w 786911"/>
                <a:gd name="connsiteY381" fmla="*/ 117751 h 715374"/>
                <a:gd name="connsiteX382" fmla="*/ 648132 w 786911"/>
                <a:gd name="connsiteY382" fmla="*/ 117991 h 715374"/>
                <a:gd name="connsiteX383" fmla="*/ 648372 w 786911"/>
                <a:gd name="connsiteY383" fmla="*/ 123044 h 715374"/>
                <a:gd name="connsiteX384" fmla="*/ 653184 w 786911"/>
                <a:gd name="connsiteY384" fmla="*/ 123044 h 715374"/>
                <a:gd name="connsiteX385" fmla="*/ 653184 w 786911"/>
                <a:gd name="connsiteY385" fmla="*/ 117751 h 715374"/>
                <a:gd name="connsiteX386" fmla="*/ 686091 w 786911"/>
                <a:gd name="connsiteY386" fmla="*/ 88420 h 715374"/>
                <a:gd name="connsiteX387" fmla="*/ 681656 w 786911"/>
                <a:gd name="connsiteY387" fmla="*/ 88420 h 715374"/>
                <a:gd name="connsiteX388" fmla="*/ 681466 w 786911"/>
                <a:gd name="connsiteY388" fmla="*/ 92665 h 715374"/>
                <a:gd name="connsiteX389" fmla="*/ 681656 w 786911"/>
                <a:gd name="connsiteY389" fmla="*/ 92856 h 715374"/>
                <a:gd name="connsiteX390" fmla="*/ 686091 w 786911"/>
                <a:gd name="connsiteY390" fmla="*/ 92856 h 715374"/>
                <a:gd name="connsiteX391" fmla="*/ 686091 w 786911"/>
                <a:gd name="connsiteY391" fmla="*/ 88420 h 715374"/>
                <a:gd name="connsiteX392" fmla="*/ 718569 w 786911"/>
                <a:gd name="connsiteY392" fmla="*/ 57945 h 715374"/>
                <a:gd name="connsiteX393" fmla="*/ 714849 w 786911"/>
                <a:gd name="connsiteY393" fmla="*/ 57945 h 715374"/>
                <a:gd name="connsiteX394" fmla="*/ 714849 w 786911"/>
                <a:gd name="connsiteY394" fmla="*/ 61665 h 715374"/>
                <a:gd name="connsiteX395" fmla="*/ 718569 w 786911"/>
                <a:gd name="connsiteY395" fmla="*/ 61808 h 715374"/>
                <a:gd name="connsiteX396" fmla="*/ 718712 w 786911"/>
                <a:gd name="connsiteY396" fmla="*/ 58088 h 715374"/>
                <a:gd name="connsiteX397" fmla="*/ 367750 w 786911"/>
                <a:gd name="connsiteY397" fmla="*/ 425218 h 715374"/>
                <a:gd name="connsiteX398" fmla="*/ 379081 w 786911"/>
                <a:gd name="connsiteY398" fmla="*/ 425247 h 715374"/>
                <a:gd name="connsiteX399" fmla="*/ 379109 w 786911"/>
                <a:gd name="connsiteY399" fmla="*/ 413915 h 715374"/>
                <a:gd name="connsiteX400" fmla="*/ 367778 w 786911"/>
                <a:gd name="connsiteY400" fmla="*/ 413887 h 715374"/>
                <a:gd name="connsiteX401" fmla="*/ 367750 w 786911"/>
                <a:gd name="connsiteY401" fmla="*/ 413915 h 715374"/>
                <a:gd name="connsiteX402" fmla="*/ 367750 w 786911"/>
                <a:gd name="connsiteY402" fmla="*/ 425218 h 715374"/>
                <a:gd name="connsiteX403" fmla="*/ 335701 w 786911"/>
                <a:gd name="connsiteY403" fmla="*/ 455693 h 715374"/>
                <a:gd name="connsiteX404" fmla="*/ 346217 w 786911"/>
                <a:gd name="connsiteY404" fmla="*/ 456051 h 715374"/>
                <a:gd name="connsiteX405" fmla="*/ 346575 w 786911"/>
                <a:gd name="connsiteY405" fmla="*/ 445535 h 715374"/>
                <a:gd name="connsiteX406" fmla="*/ 335987 w 786911"/>
                <a:gd name="connsiteY406" fmla="*/ 445535 h 715374"/>
                <a:gd name="connsiteX407" fmla="*/ 335921 w 786911"/>
                <a:gd name="connsiteY407" fmla="*/ 456057 h 715374"/>
                <a:gd name="connsiteX408" fmla="*/ 335987 w 786911"/>
                <a:gd name="connsiteY408" fmla="*/ 456123 h 715374"/>
                <a:gd name="connsiteX409" fmla="*/ 302651 w 786911"/>
                <a:gd name="connsiteY409" fmla="*/ 486168 h 715374"/>
                <a:gd name="connsiteX410" fmla="*/ 312523 w 786911"/>
                <a:gd name="connsiteY410" fmla="*/ 486168 h 715374"/>
                <a:gd name="connsiteX411" fmla="*/ 312523 w 786911"/>
                <a:gd name="connsiteY411" fmla="*/ 476296 h 715374"/>
                <a:gd name="connsiteX412" fmla="*/ 302794 w 786911"/>
                <a:gd name="connsiteY412" fmla="*/ 476296 h 715374"/>
                <a:gd name="connsiteX413" fmla="*/ 302777 w 786911"/>
                <a:gd name="connsiteY413" fmla="*/ 486008 h 715374"/>
                <a:gd name="connsiteX414" fmla="*/ 302794 w 786911"/>
                <a:gd name="connsiteY414" fmla="*/ 486025 h 715374"/>
                <a:gd name="connsiteX415" fmla="*/ 270316 w 786911"/>
                <a:gd name="connsiteY415" fmla="*/ 516500 h 715374"/>
                <a:gd name="connsiteX416" fmla="*/ 279290 w 786911"/>
                <a:gd name="connsiteY416" fmla="*/ 518041 h 715374"/>
                <a:gd name="connsiteX417" fmla="*/ 280830 w 786911"/>
                <a:gd name="connsiteY417" fmla="*/ 509067 h 715374"/>
                <a:gd name="connsiteX418" fmla="*/ 279616 w 786911"/>
                <a:gd name="connsiteY418" fmla="*/ 507773 h 715374"/>
                <a:gd name="connsiteX419" fmla="*/ 270642 w 786911"/>
                <a:gd name="connsiteY419" fmla="*/ 506232 h 715374"/>
                <a:gd name="connsiteX420" fmla="*/ 269101 w 786911"/>
                <a:gd name="connsiteY420" fmla="*/ 515205 h 715374"/>
                <a:gd name="connsiteX421" fmla="*/ 270316 w 786911"/>
                <a:gd name="connsiteY421" fmla="*/ 516500 h 715374"/>
                <a:gd name="connsiteX422" fmla="*/ 237838 w 786911"/>
                <a:gd name="connsiteY422" fmla="*/ 547118 h 715374"/>
                <a:gd name="connsiteX423" fmla="*/ 246136 w 786911"/>
                <a:gd name="connsiteY423" fmla="*/ 547404 h 715374"/>
                <a:gd name="connsiteX424" fmla="*/ 246422 w 786911"/>
                <a:gd name="connsiteY424" fmla="*/ 539106 h 715374"/>
                <a:gd name="connsiteX425" fmla="*/ 238124 w 786911"/>
                <a:gd name="connsiteY425" fmla="*/ 538820 h 715374"/>
                <a:gd name="connsiteX426" fmla="*/ 237838 w 786911"/>
                <a:gd name="connsiteY426" fmla="*/ 547118 h 715374"/>
                <a:gd name="connsiteX427" fmla="*/ 205217 w 786911"/>
                <a:gd name="connsiteY427" fmla="*/ 577736 h 715374"/>
                <a:gd name="connsiteX428" fmla="*/ 212728 w 786911"/>
                <a:gd name="connsiteY428" fmla="*/ 577951 h 715374"/>
                <a:gd name="connsiteX429" fmla="*/ 212943 w 786911"/>
                <a:gd name="connsiteY429" fmla="*/ 570439 h 715374"/>
                <a:gd name="connsiteX430" fmla="*/ 205431 w 786911"/>
                <a:gd name="connsiteY430" fmla="*/ 570225 h 715374"/>
                <a:gd name="connsiteX431" fmla="*/ 205217 w 786911"/>
                <a:gd name="connsiteY431" fmla="*/ 577736 h 715374"/>
                <a:gd name="connsiteX432" fmla="*/ 172596 w 786911"/>
                <a:gd name="connsiteY432" fmla="*/ 608211 h 715374"/>
                <a:gd name="connsiteX433" fmla="*/ 179473 w 786911"/>
                <a:gd name="connsiteY433" fmla="*/ 608364 h 715374"/>
                <a:gd name="connsiteX434" fmla="*/ 179626 w 786911"/>
                <a:gd name="connsiteY434" fmla="*/ 601487 h 715374"/>
                <a:gd name="connsiteX435" fmla="*/ 172749 w 786911"/>
                <a:gd name="connsiteY435" fmla="*/ 601333 h 715374"/>
                <a:gd name="connsiteX436" fmla="*/ 172596 w 786911"/>
                <a:gd name="connsiteY436" fmla="*/ 601487 h 715374"/>
                <a:gd name="connsiteX437" fmla="*/ 172549 w 786911"/>
                <a:gd name="connsiteY437" fmla="*/ 608164 h 715374"/>
                <a:gd name="connsiteX438" fmla="*/ 172596 w 786911"/>
                <a:gd name="connsiteY438" fmla="*/ 608211 h 715374"/>
                <a:gd name="connsiteX439" fmla="*/ 140118 w 786911"/>
                <a:gd name="connsiteY439" fmla="*/ 638686 h 715374"/>
                <a:gd name="connsiteX440" fmla="*/ 146187 w 786911"/>
                <a:gd name="connsiteY440" fmla="*/ 638746 h 715374"/>
                <a:gd name="connsiteX441" fmla="*/ 146249 w 786911"/>
                <a:gd name="connsiteY441" fmla="*/ 632677 h 715374"/>
                <a:gd name="connsiteX442" fmla="*/ 140178 w 786911"/>
                <a:gd name="connsiteY442" fmla="*/ 632617 h 715374"/>
                <a:gd name="connsiteX443" fmla="*/ 140118 w 786911"/>
                <a:gd name="connsiteY443" fmla="*/ 632677 h 715374"/>
                <a:gd name="connsiteX444" fmla="*/ 140118 w 786911"/>
                <a:gd name="connsiteY444" fmla="*/ 638686 h 715374"/>
                <a:gd name="connsiteX445" fmla="*/ 107640 w 786911"/>
                <a:gd name="connsiteY445" fmla="*/ 669161 h 715374"/>
                <a:gd name="connsiteX446" fmla="*/ 112693 w 786911"/>
                <a:gd name="connsiteY446" fmla="*/ 668921 h 715374"/>
                <a:gd name="connsiteX447" fmla="*/ 112451 w 786911"/>
                <a:gd name="connsiteY447" fmla="*/ 663867 h 715374"/>
                <a:gd name="connsiteX448" fmla="*/ 107640 w 786911"/>
                <a:gd name="connsiteY448" fmla="*/ 663867 h 715374"/>
                <a:gd name="connsiteX449" fmla="*/ 107640 w 786911"/>
                <a:gd name="connsiteY449" fmla="*/ 669161 h 715374"/>
                <a:gd name="connsiteX450" fmla="*/ 387208 w 786911"/>
                <a:gd name="connsiteY450" fmla="*/ 446107 h 715374"/>
                <a:gd name="connsiteX451" fmla="*/ 398511 w 786911"/>
                <a:gd name="connsiteY451" fmla="*/ 446107 h 715374"/>
                <a:gd name="connsiteX452" fmla="*/ 398511 w 786911"/>
                <a:gd name="connsiteY452" fmla="*/ 434661 h 715374"/>
                <a:gd name="connsiteX453" fmla="*/ 387208 w 786911"/>
                <a:gd name="connsiteY453" fmla="*/ 434661 h 715374"/>
                <a:gd name="connsiteX454" fmla="*/ 387032 w 786911"/>
                <a:gd name="connsiteY454" fmla="*/ 445788 h 715374"/>
                <a:gd name="connsiteX455" fmla="*/ 387208 w 786911"/>
                <a:gd name="connsiteY455" fmla="*/ 445964 h 715374"/>
                <a:gd name="connsiteX456" fmla="*/ 354587 w 786911"/>
                <a:gd name="connsiteY456" fmla="*/ 476439 h 715374"/>
                <a:gd name="connsiteX457" fmla="*/ 365109 w 786911"/>
                <a:gd name="connsiteY457" fmla="*/ 476505 h 715374"/>
                <a:gd name="connsiteX458" fmla="*/ 365174 w 786911"/>
                <a:gd name="connsiteY458" fmla="*/ 476439 h 715374"/>
                <a:gd name="connsiteX459" fmla="*/ 365174 w 786911"/>
                <a:gd name="connsiteY459" fmla="*/ 465852 h 715374"/>
                <a:gd name="connsiteX460" fmla="*/ 354478 w 786911"/>
                <a:gd name="connsiteY460" fmla="*/ 466616 h 715374"/>
                <a:gd name="connsiteX461" fmla="*/ 354158 w 786911"/>
                <a:gd name="connsiteY461" fmla="*/ 476153 h 715374"/>
                <a:gd name="connsiteX462" fmla="*/ 321680 w 786911"/>
                <a:gd name="connsiteY462" fmla="*/ 506628 h 715374"/>
                <a:gd name="connsiteX463" fmla="*/ 331390 w 786911"/>
                <a:gd name="connsiteY463" fmla="*/ 506790 h 715374"/>
                <a:gd name="connsiteX464" fmla="*/ 331552 w 786911"/>
                <a:gd name="connsiteY464" fmla="*/ 506628 h 715374"/>
                <a:gd name="connsiteX465" fmla="*/ 330968 w 786911"/>
                <a:gd name="connsiteY465" fmla="*/ 496730 h 715374"/>
                <a:gd name="connsiteX466" fmla="*/ 321966 w 786911"/>
                <a:gd name="connsiteY466" fmla="*/ 496470 h 715374"/>
                <a:gd name="connsiteX467" fmla="*/ 321966 w 786911"/>
                <a:gd name="connsiteY467" fmla="*/ 506342 h 715374"/>
                <a:gd name="connsiteX468" fmla="*/ 289488 w 786911"/>
                <a:gd name="connsiteY468" fmla="*/ 536817 h 715374"/>
                <a:gd name="connsiteX469" fmla="*/ 298593 w 786911"/>
                <a:gd name="connsiteY469" fmla="*/ 536908 h 715374"/>
                <a:gd name="connsiteX470" fmla="*/ 298683 w 786911"/>
                <a:gd name="connsiteY470" fmla="*/ 527803 h 715374"/>
                <a:gd name="connsiteX471" fmla="*/ 289579 w 786911"/>
                <a:gd name="connsiteY471" fmla="*/ 527711 h 715374"/>
                <a:gd name="connsiteX472" fmla="*/ 289488 w 786911"/>
                <a:gd name="connsiteY472" fmla="*/ 527803 h 715374"/>
                <a:gd name="connsiteX473" fmla="*/ 289376 w 786911"/>
                <a:gd name="connsiteY473" fmla="*/ 536705 h 715374"/>
                <a:gd name="connsiteX474" fmla="*/ 289488 w 786911"/>
                <a:gd name="connsiteY474" fmla="*/ 536817 h 715374"/>
                <a:gd name="connsiteX475" fmla="*/ 257010 w 786911"/>
                <a:gd name="connsiteY475" fmla="*/ 567864 h 715374"/>
                <a:gd name="connsiteX476" fmla="*/ 265305 w 786911"/>
                <a:gd name="connsiteY476" fmla="*/ 567867 h 715374"/>
                <a:gd name="connsiteX477" fmla="*/ 265308 w 786911"/>
                <a:gd name="connsiteY477" fmla="*/ 567864 h 715374"/>
                <a:gd name="connsiteX478" fmla="*/ 265516 w 786911"/>
                <a:gd name="connsiteY478" fmla="*/ 559773 h 715374"/>
                <a:gd name="connsiteX479" fmla="*/ 265308 w 786911"/>
                <a:gd name="connsiteY479" fmla="*/ 559566 h 715374"/>
                <a:gd name="connsiteX480" fmla="*/ 257010 w 786911"/>
                <a:gd name="connsiteY480" fmla="*/ 559279 h 715374"/>
                <a:gd name="connsiteX481" fmla="*/ 256724 w 786911"/>
                <a:gd name="connsiteY481" fmla="*/ 567578 h 715374"/>
                <a:gd name="connsiteX482" fmla="*/ 224246 w 786911"/>
                <a:gd name="connsiteY482" fmla="*/ 598053 h 715374"/>
                <a:gd name="connsiteX483" fmla="*/ 231731 w 786911"/>
                <a:gd name="connsiteY483" fmla="*/ 598100 h 715374"/>
                <a:gd name="connsiteX484" fmla="*/ 231779 w 786911"/>
                <a:gd name="connsiteY484" fmla="*/ 590613 h 715374"/>
                <a:gd name="connsiteX485" fmla="*/ 224292 w 786911"/>
                <a:gd name="connsiteY485" fmla="*/ 590567 h 715374"/>
                <a:gd name="connsiteX486" fmla="*/ 224246 w 786911"/>
                <a:gd name="connsiteY486" fmla="*/ 590613 h 715374"/>
                <a:gd name="connsiteX487" fmla="*/ 224246 w 786911"/>
                <a:gd name="connsiteY487" fmla="*/ 598053 h 715374"/>
                <a:gd name="connsiteX488" fmla="*/ 192626 w 786911"/>
                <a:gd name="connsiteY488" fmla="*/ 628814 h 715374"/>
                <a:gd name="connsiteX489" fmla="*/ 199304 w 786911"/>
                <a:gd name="connsiteY489" fmla="*/ 628767 h 715374"/>
                <a:gd name="connsiteX490" fmla="*/ 199256 w 786911"/>
                <a:gd name="connsiteY490" fmla="*/ 622089 h 715374"/>
                <a:gd name="connsiteX491" fmla="*/ 192626 w 786911"/>
                <a:gd name="connsiteY491" fmla="*/ 622089 h 715374"/>
                <a:gd name="connsiteX492" fmla="*/ 192579 w 786911"/>
                <a:gd name="connsiteY492" fmla="*/ 628767 h 715374"/>
                <a:gd name="connsiteX493" fmla="*/ 192626 w 786911"/>
                <a:gd name="connsiteY493" fmla="*/ 628814 h 715374"/>
                <a:gd name="connsiteX494" fmla="*/ 159576 w 786911"/>
                <a:gd name="connsiteY494" fmla="*/ 659289 h 715374"/>
                <a:gd name="connsiteX495" fmla="*/ 165442 w 786911"/>
                <a:gd name="connsiteY495" fmla="*/ 659289 h 715374"/>
                <a:gd name="connsiteX496" fmla="*/ 165442 w 786911"/>
                <a:gd name="connsiteY496" fmla="*/ 653280 h 715374"/>
                <a:gd name="connsiteX497" fmla="*/ 159576 w 786911"/>
                <a:gd name="connsiteY497" fmla="*/ 653137 h 715374"/>
                <a:gd name="connsiteX498" fmla="*/ 159433 w 786911"/>
                <a:gd name="connsiteY498" fmla="*/ 653280 h 715374"/>
                <a:gd name="connsiteX499" fmla="*/ 159228 w 786911"/>
                <a:gd name="connsiteY499" fmla="*/ 658941 h 715374"/>
                <a:gd name="connsiteX500" fmla="*/ 159433 w 786911"/>
                <a:gd name="connsiteY500" fmla="*/ 659146 h 715374"/>
                <a:gd name="connsiteX501" fmla="*/ 126955 w 786911"/>
                <a:gd name="connsiteY501" fmla="*/ 689334 h 715374"/>
                <a:gd name="connsiteX502" fmla="*/ 132214 w 786911"/>
                <a:gd name="connsiteY502" fmla="*/ 689443 h 715374"/>
                <a:gd name="connsiteX503" fmla="*/ 132323 w 786911"/>
                <a:gd name="connsiteY503" fmla="*/ 684184 h 715374"/>
                <a:gd name="connsiteX504" fmla="*/ 127064 w 786911"/>
                <a:gd name="connsiteY504" fmla="*/ 684075 h 715374"/>
                <a:gd name="connsiteX505" fmla="*/ 126955 w 786911"/>
                <a:gd name="connsiteY505" fmla="*/ 684184 h 715374"/>
                <a:gd name="connsiteX506" fmla="*/ 126955 w 786911"/>
                <a:gd name="connsiteY506" fmla="*/ 689334 h 715374"/>
                <a:gd name="connsiteX507" fmla="*/ 407238 w 786911"/>
                <a:gd name="connsiteY507" fmla="*/ 466710 h 715374"/>
                <a:gd name="connsiteX508" fmla="*/ 418541 w 786911"/>
                <a:gd name="connsiteY508" fmla="*/ 466710 h 715374"/>
                <a:gd name="connsiteX509" fmla="*/ 418300 w 786911"/>
                <a:gd name="connsiteY509" fmla="*/ 455381 h 715374"/>
                <a:gd name="connsiteX510" fmla="*/ 407668 w 786911"/>
                <a:gd name="connsiteY510" fmla="*/ 454978 h 715374"/>
                <a:gd name="connsiteX511" fmla="*/ 407668 w 786911"/>
                <a:gd name="connsiteY511" fmla="*/ 466424 h 715374"/>
                <a:gd name="connsiteX512" fmla="*/ 375190 w 786911"/>
                <a:gd name="connsiteY512" fmla="*/ 496899 h 715374"/>
                <a:gd name="connsiteX513" fmla="*/ 385711 w 786911"/>
                <a:gd name="connsiteY513" fmla="*/ 496833 h 715374"/>
                <a:gd name="connsiteX514" fmla="*/ 385646 w 786911"/>
                <a:gd name="connsiteY514" fmla="*/ 486311 h 715374"/>
                <a:gd name="connsiteX515" fmla="*/ 375190 w 786911"/>
                <a:gd name="connsiteY515" fmla="*/ 486311 h 715374"/>
                <a:gd name="connsiteX516" fmla="*/ 375124 w 786911"/>
                <a:gd name="connsiteY516" fmla="*/ 496833 h 715374"/>
                <a:gd name="connsiteX517" fmla="*/ 375190 w 786911"/>
                <a:gd name="connsiteY517" fmla="*/ 496899 h 715374"/>
                <a:gd name="connsiteX518" fmla="*/ 341567 w 786911"/>
                <a:gd name="connsiteY518" fmla="*/ 527660 h 715374"/>
                <a:gd name="connsiteX519" fmla="*/ 351296 w 786911"/>
                <a:gd name="connsiteY519" fmla="*/ 527660 h 715374"/>
                <a:gd name="connsiteX520" fmla="*/ 351458 w 786911"/>
                <a:gd name="connsiteY520" fmla="*/ 517949 h 715374"/>
                <a:gd name="connsiteX521" fmla="*/ 351296 w 786911"/>
                <a:gd name="connsiteY521" fmla="*/ 517788 h 715374"/>
                <a:gd name="connsiteX522" fmla="*/ 341567 w 786911"/>
                <a:gd name="connsiteY522" fmla="*/ 517788 h 715374"/>
                <a:gd name="connsiteX523" fmla="*/ 341405 w 786911"/>
                <a:gd name="connsiteY523" fmla="*/ 527498 h 715374"/>
                <a:gd name="connsiteX524" fmla="*/ 341567 w 786911"/>
                <a:gd name="connsiteY524" fmla="*/ 527660 h 715374"/>
                <a:gd name="connsiteX525" fmla="*/ 308946 w 786911"/>
                <a:gd name="connsiteY525" fmla="*/ 558135 h 715374"/>
                <a:gd name="connsiteX526" fmla="*/ 317848 w 786911"/>
                <a:gd name="connsiteY526" fmla="*/ 558246 h 715374"/>
                <a:gd name="connsiteX527" fmla="*/ 317960 w 786911"/>
                <a:gd name="connsiteY527" fmla="*/ 558135 h 715374"/>
                <a:gd name="connsiteX528" fmla="*/ 319501 w 786911"/>
                <a:gd name="connsiteY528" fmla="*/ 549161 h 715374"/>
                <a:gd name="connsiteX529" fmla="*/ 310527 w 786911"/>
                <a:gd name="connsiteY529" fmla="*/ 547620 h 715374"/>
                <a:gd name="connsiteX530" fmla="*/ 309232 w 786911"/>
                <a:gd name="connsiteY530" fmla="*/ 548835 h 715374"/>
                <a:gd name="connsiteX531" fmla="*/ 309121 w 786911"/>
                <a:gd name="connsiteY531" fmla="*/ 557737 h 715374"/>
                <a:gd name="connsiteX532" fmla="*/ 309232 w 786911"/>
                <a:gd name="connsiteY532" fmla="*/ 557849 h 715374"/>
                <a:gd name="connsiteX533" fmla="*/ 276468 w 786911"/>
                <a:gd name="connsiteY533" fmla="*/ 589182 h 715374"/>
                <a:gd name="connsiteX534" fmla="*/ 284766 w 786911"/>
                <a:gd name="connsiteY534" fmla="*/ 589468 h 715374"/>
                <a:gd name="connsiteX535" fmla="*/ 285053 w 786911"/>
                <a:gd name="connsiteY535" fmla="*/ 581170 h 715374"/>
                <a:gd name="connsiteX536" fmla="*/ 276754 w 786911"/>
                <a:gd name="connsiteY536" fmla="*/ 580884 h 715374"/>
                <a:gd name="connsiteX537" fmla="*/ 276468 w 786911"/>
                <a:gd name="connsiteY537" fmla="*/ 589182 h 715374"/>
                <a:gd name="connsiteX538" fmla="*/ 243990 w 786911"/>
                <a:gd name="connsiteY538" fmla="*/ 619657 h 715374"/>
                <a:gd name="connsiteX539" fmla="*/ 251430 w 786911"/>
                <a:gd name="connsiteY539" fmla="*/ 619657 h 715374"/>
                <a:gd name="connsiteX540" fmla="*/ 251675 w 786911"/>
                <a:gd name="connsiteY540" fmla="*/ 611973 h 715374"/>
                <a:gd name="connsiteX541" fmla="*/ 243990 w 786911"/>
                <a:gd name="connsiteY541" fmla="*/ 611726 h 715374"/>
                <a:gd name="connsiteX542" fmla="*/ 243745 w 786911"/>
                <a:gd name="connsiteY542" fmla="*/ 619412 h 715374"/>
                <a:gd name="connsiteX543" fmla="*/ 243990 w 786911"/>
                <a:gd name="connsiteY543" fmla="*/ 619657 h 715374"/>
                <a:gd name="connsiteX544" fmla="*/ 211369 w 786911"/>
                <a:gd name="connsiteY544" fmla="*/ 650132 h 715374"/>
                <a:gd name="connsiteX545" fmla="*/ 218237 w 786911"/>
                <a:gd name="connsiteY545" fmla="*/ 650132 h 715374"/>
                <a:gd name="connsiteX546" fmla="*/ 218380 w 786911"/>
                <a:gd name="connsiteY546" fmla="*/ 643407 h 715374"/>
                <a:gd name="connsiteX547" fmla="*/ 211655 w 786911"/>
                <a:gd name="connsiteY547" fmla="*/ 643264 h 715374"/>
                <a:gd name="connsiteX548" fmla="*/ 211655 w 786911"/>
                <a:gd name="connsiteY548" fmla="*/ 649989 h 715374"/>
                <a:gd name="connsiteX549" fmla="*/ 178319 w 786911"/>
                <a:gd name="connsiteY549" fmla="*/ 680035 h 715374"/>
                <a:gd name="connsiteX550" fmla="*/ 184328 w 786911"/>
                <a:gd name="connsiteY550" fmla="*/ 680035 h 715374"/>
                <a:gd name="connsiteX551" fmla="*/ 184328 w 786911"/>
                <a:gd name="connsiteY551" fmla="*/ 674169 h 715374"/>
                <a:gd name="connsiteX552" fmla="*/ 178319 w 786911"/>
                <a:gd name="connsiteY552" fmla="*/ 674169 h 715374"/>
                <a:gd name="connsiteX553" fmla="*/ 178319 w 786911"/>
                <a:gd name="connsiteY553" fmla="*/ 680178 h 715374"/>
                <a:gd name="connsiteX554" fmla="*/ 145841 w 786911"/>
                <a:gd name="connsiteY554" fmla="*/ 710653 h 715374"/>
                <a:gd name="connsiteX555" fmla="*/ 150898 w 786911"/>
                <a:gd name="connsiteY555" fmla="*/ 710746 h 715374"/>
                <a:gd name="connsiteX556" fmla="*/ 150991 w 786911"/>
                <a:gd name="connsiteY556" fmla="*/ 710653 h 715374"/>
                <a:gd name="connsiteX557" fmla="*/ 151135 w 786911"/>
                <a:gd name="connsiteY557" fmla="*/ 705502 h 715374"/>
                <a:gd name="connsiteX558" fmla="*/ 145984 w 786911"/>
                <a:gd name="connsiteY558" fmla="*/ 705359 h 715374"/>
                <a:gd name="connsiteX559" fmla="*/ 145891 w 786911"/>
                <a:gd name="connsiteY559" fmla="*/ 710417 h 715374"/>
                <a:gd name="connsiteX560" fmla="*/ 145984 w 786911"/>
                <a:gd name="connsiteY560" fmla="*/ 710510 h 715374"/>
                <a:gd name="connsiteX561" fmla="*/ 309518 w 786911"/>
                <a:gd name="connsiteY561" fmla="*/ 363124 h 715374"/>
                <a:gd name="connsiteX562" fmla="*/ 320850 w 786911"/>
                <a:gd name="connsiteY562" fmla="*/ 363153 h 715374"/>
                <a:gd name="connsiteX563" fmla="*/ 320877 w 786911"/>
                <a:gd name="connsiteY563" fmla="*/ 351821 h 715374"/>
                <a:gd name="connsiteX564" fmla="*/ 309547 w 786911"/>
                <a:gd name="connsiteY564" fmla="*/ 351792 h 715374"/>
                <a:gd name="connsiteX565" fmla="*/ 309518 w 786911"/>
                <a:gd name="connsiteY565" fmla="*/ 351821 h 715374"/>
                <a:gd name="connsiteX566" fmla="*/ 309518 w 786911"/>
                <a:gd name="connsiteY566" fmla="*/ 363124 h 715374"/>
                <a:gd name="connsiteX567" fmla="*/ 277040 w 786911"/>
                <a:gd name="connsiteY567" fmla="*/ 393599 h 715374"/>
                <a:gd name="connsiteX568" fmla="*/ 287356 w 786911"/>
                <a:gd name="connsiteY568" fmla="*/ 393871 h 715374"/>
                <a:gd name="connsiteX569" fmla="*/ 287628 w 786911"/>
                <a:gd name="connsiteY569" fmla="*/ 393599 h 715374"/>
                <a:gd name="connsiteX570" fmla="*/ 287914 w 786911"/>
                <a:gd name="connsiteY570" fmla="*/ 383011 h 715374"/>
                <a:gd name="connsiteX571" fmla="*/ 277327 w 786911"/>
                <a:gd name="connsiteY571" fmla="*/ 382725 h 715374"/>
                <a:gd name="connsiteX572" fmla="*/ 277201 w 786911"/>
                <a:gd name="connsiteY572" fmla="*/ 393044 h 715374"/>
                <a:gd name="connsiteX573" fmla="*/ 277327 w 786911"/>
                <a:gd name="connsiteY573" fmla="*/ 393170 h 715374"/>
                <a:gd name="connsiteX574" fmla="*/ 244849 w 786911"/>
                <a:gd name="connsiteY574" fmla="*/ 423788 h 715374"/>
                <a:gd name="connsiteX575" fmla="*/ 254578 w 786911"/>
                <a:gd name="connsiteY575" fmla="*/ 423788 h 715374"/>
                <a:gd name="connsiteX576" fmla="*/ 254739 w 786911"/>
                <a:gd name="connsiteY576" fmla="*/ 414077 h 715374"/>
                <a:gd name="connsiteX577" fmla="*/ 254578 w 786911"/>
                <a:gd name="connsiteY577" fmla="*/ 413915 h 715374"/>
                <a:gd name="connsiteX578" fmla="*/ 244849 w 786911"/>
                <a:gd name="connsiteY578" fmla="*/ 413915 h 715374"/>
                <a:gd name="connsiteX579" fmla="*/ 244687 w 786911"/>
                <a:gd name="connsiteY579" fmla="*/ 423626 h 715374"/>
                <a:gd name="connsiteX580" fmla="*/ 244849 w 786911"/>
                <a:gd name="connsiteY580" fmla="*/ 423788 h 715374"/>
                <a:gd name="connsiteX581" fmla="*/ 211941 w 786911"/>
                <a:gd name="connsiteY581" fmla="*/ 454692 h 715374"/>
                <a:gd name="connsiteX582" fmla="*/ 220816 w 786911"/>
                <a:gd name="connsiteY582" fmla="*/ 456726 h 715374"/>
                <a:gd name="connsiteX583" fmla="*/ 222851 w 786911"/>
                <a:gd name="connsiteY583" fmla="*/ 447851 h 715374"/>
                <a:gd name="connsiteX584" fmla="*/ 221241 w 786911"/>
                <a:gd name="connsiteY584" fmla="*/ 446107 h 715374"/>
                <a:gd name="connsiteX585" fmla="*/ 212084 w 786911"/>
                <a:gd name="connsiteY585" fmla="*/ 445821 h 715374"/>
                <a:gd name="connsiteX586" fmla="*/ 211798 w 786911"/>
                <a:gd name="connsiteY586" fmla="*/ 454978 h 715374"/>
                <a:gd name="connsiteX587" fmla="*/ 179320 w 786911"/>
                <a:gd name="connsiteY587" fmla="*/ 485453 h 715374"/>
                <a:gd name="connsiteX588" fmla="*/ 187619 w 786911"/>
                <a:gd name="connsiteY588" fmla="*/ 485739 h 715374"/>
                <a:gd name="connsiteX589" fmla="*/ 187905 w 786911"/>
                <a:gd name="connsiteY589" fmla="*/ 477441 h 715374"/>
                <a:gd name="connsiteX590" fmla="*/ 179814 w 786911"/>
                <a:gd name="connsiteY590" fmla="*/ 477233 h 715374"/>
                <a:gd name="connsiteX591" fmla="*/ 179606 w 786911"/>
                <a:gd name="connsiteY591" fmla="*/ 477441 h 715374"/>
                <a:gd name="connsiteX592" fmla="*/ 179604 w 786911"/>
                <a:gd name="connsiteY592" fmla="*/ 485736 h 715374"/>
                <a:gd name="connsiteX593" fmla="*/ 179606 w 786911"/>
                <a:gd name="connsiteY593" fmla="*/ 485739 h 715374"/>
                <a:gd name="connsiteX594" fmla="*/ 147128 w 786911"/>
                <a:gd name="connsiteY594" fmla="*/ 516214 h 715374"/>
                <a:gd name="connsiteX595" fmla="*/ 154640 w 786911"/>
                <a:gd name="connsiteY595" fmla="*/ 516429 h 715374"/>
                <a:gd name="connsiteX596" fmla="*/ 154855 w 786911"/>
                <a:gd name="connsiteY596" fmla="*/ 508917 h 715374"/>
                <a:gd name="connsiteX597" fmla="*/ 147272 w 786911"/>
                <a:gd name="connsiteY597" fmla="*/ 508917 h 715374"/>
                <a:gd name="connsiteX598" fmla="*/ 147272 w 786911"/>
                <a:gd name="connsiteY598" fmla="*/ 516500 h 715374"/>
                <a:gd name="connsiteX599" fmla="*/ 114507 w 786911"/>
                <a:gd name="connsiteY599" fmla="*/ 546260 h 715374"/>
                <a:gd name="connsiteX600" fmla="*/ 121185 w 786911"/>
                <a:gd name="connsiteY600" fmla="*/ 546212 h 715374"/>
                <a:gd name="connsiteX601" fmla="*/ 121137 w 786911"/>
                <a:gd name="connsiteY601" fmla="*/ 539535 h 715374"/>
                <a:gd name="connsiteX602" fmla="*/ 114507 w 786911"/>
                <a:gd name="connsiteY602" fmla="*/ 539535 h 715374"/>
                <a:gd name="connsiteX603" fmla="*/ 114460 w 786911"/>
                <a:gd name="connsiteY603" fmla="*/ 546212 h 715374"/>
                <a:gd name="connsiteX604" fmla="*/ 114507 w 786911"/>
                <a:gd name="connsiteY604" fmla="*/ 546260 h 715374"/>
                <a:gd name="connsiteX605" fmla="*/ 81886 w 786911"/>
                <a:gd name="connsiteY605" fmla="*/ 576735 h 715374"/>
                <a:gd name="connsiteX606" fmla="*/ 87956 w 786911"/>
                <a:gd name="connsiteY606" fmla="*/ 576795 h 715374"/>
                <a:gd name="connsiteX607" fmla="*/ 88017 w 786911"/>
                <a:gd name="connsiteY607" fmla="*/ 570725 h 715374"/>
                <a:gd name="connsiteX608" fmla="*/ 81946 w 786911"/>
                <a:gd name="connsiteY608" fmla="*/ 570665 h 715374"/>
                <a:gd name="connsiteX609" fmla="*/ 81886 w 786911"/>
                <a:gd name="connsiteY609" fmla="*/ 570725 h 715374"/>
                <a:gd name="connsiteX610" fmla="*/ 81886 w 786911"/>
                <a:gd name="connsiteY610" fmla="*/ 576735 h 715374"/>
                <a:gd name="connsiteX611" fmla="*/ 49551 w 786911"/>
                <a:gd name="connsiteY611" fmla="*/ 607066 h 715374"/>
                <a:gd name="connsiteX612" fmla="*/ 54609 w 786911"/>
                <a:gd name="connsiteY612" fmla="*/ 607159 h 715374"/>
                <a:gd name="connsiteX613" fmla="*/ 54702 w 786911"/>
                <a:gd name="connsiteY613" fmla="*/ 607066 h 715374"/>
                <a:gd name="connsiteX614" fmla="*/ 54795 w 786911"/>
                <a:gd name="connsiteY614" fmla="*/ 602009 h 715374"/>
                <a:gd name="connsiteX615" fmla="*/ 54702 w 786911"/>
                <a:gd name="connsiteY615" fmla="*/ 601916 h 715374"/>
                <a:gd name="connsiteX616" fmla="*/ 49644 w 786911"/>
                <a:gd name="connsiteY616" fmla="*/ 601823 h 715374"/>
                <a:gd name="connsiteX617" fmla="*/ 49551 w 786911"/>
                <a:gd name="connsiteY617" fmla="*/ 601916 h 715374"/>
                <a:gd name="connsiteX618" fmla="*/ 49551 w 786911"/>
                <a:gd name="connsiteY618" fmla="*/ 607210 h 715374"/>
                <a:gd name="connsiteX619" fmla="*/ 17073 w 786911"/>
                <a:gd name="connsiteY619" fmla="*/ 637684 h 715374"/>
                <a:gd name="connsiteX620" fmla="*/ 21509 w 786911"/>
                <a:gd name="connsiteY620" fmla="*/ 637684 h 715374"/>
                <a:gd name="connsiteX621" fmla="*/ 21509 w 786911"/>
                <a:gd name="connsiteY621" fmla="*/ 633249 h 715374"/>
                <a:gd name="connsiteX622" fmla="*/ 17073 w 786911"/>
                <a:gd name="connsiteY622" fmla="*/ 633249 h 715374"/>
                <a:gd name="connsiteX623" fmla="*/ 16883 w 786911"/>
                <a:gd name="connsiteY623" fmla="*/ 637494 h 715374"/>
                <a:gd name="connsiteX624" fmla="*/ 17073 w 786911"/>
                <a:gd name="connsiteY624" fmla="*/ 637684 h 715374"/>
                <a:gd name="connsiteX625" fmla="*/ 328977 w 786911"/>
                <a:gd name="connsiteY625" fmla="*/ 383870 h 715374"/>
                <a:gd name="connsiteX626" fmla="*/ 340279 w 786911"/>
                <a:gd name="connsiteY626" fmla="*/ 383870 h 715374"/>
                <a:gd name="connsiteX627" fmla="*/ 340279 w 786911"/>
                <a:gd name="connsiteY627" fmla="*/ 372424 h 715374"/>
                <a:gd name="connsiteX628" fmla="*/ 328833 w 786911"/>
                <a:gd name="connsiteY628" fmla="*/ 372424 h 715374"/>
                <a:gd name="connsiteX629" fmla="*/ 328833 w 786911"/>
                <a:gd name="connsiteY629" fmla="*/ 383727 h 715374"/>
                <a:gd name="connsiteX630" fmla="*/ 296212 w 786911"/>
                <a:gd name="connsiteY630" fmla="*/ 414202 h 715374"/>
                <a:gd name="connsiteX631" fmla="*/ 306734 w 786911"/>
                <a:gd name="connsiteY631" fmla="*/ 414267 h 715374"/>
                <a:gd name="connsiteX632" fmla="*/ 306800 w 786911"/>
                <a:gd name="connsiteY632" fmla="*/ 414202 h 715374"/>
                <a:gd name="connsiteX633" fmla="*/ 307158 w 786911"/>
                <a:gd name="connsiteY633" fmla="*/ 403686 h 715374"/>
                <a:gd name="connsiteX634" fmla="*/ 296642 w 786911"/>
                <a:gd name="connsiteY634" fmla="*/ 403328 h 715374"/>
                <a:gd name="connsiteX635" fmla="*/ 296642 w 786911"/>
                <a:gd name="connsiteY635" fmla="*/ 413915 h 715374"/>
                <a:gd name="connsiteX636" fmla="*/ 264164 w 786911"/>
                <a:gd name="connsiteY636" fmla="*/ 444820 h 715374"/>
                <a:gd name="connsiteX637" fmla="*/ 273874 w 786911"/>
                <a:gd name="connsiteY637" fmla="*/ 444981 h 715374"/>
                <a:gd name="connsiteX638" fmla="*/ 274036 w 786911"/>
                <a:gd name="connsiteY638" fmla="*/ 444820 h 715374"/>
                <a:gd name="connsiteX639" fmla="*/ 274036 w 786911"/>
                <a:gd name="connsiteY639" fmla="*/ 435091 h 715374"/>
                <a:gd name="connsiteX640" fmla="*/ 264325 w 786911"/>
                <a:gd name="connsiteY640" fmla="*/ 434929 h 715374"/>
                <a:gd name="connsiteX641" fmla="*/ 264164 w 786911"/>
                <a:gd name="connsiteY641" fmla="*/ 435091 h 715374"/>
                <a:gd name="connsiteX642" fmla="*/ 264164 w 786911"/>
                <a:gd name="connsiteY642" fmla="*/ 444820 h 715374"/>
                <a:gd name="connsiteX643" fmla="*/ 231400 w 786911"/>
                <a:gd name="connsiteY643" fmla="*/ 474722 h 715374"/>
                <a:gd name="connsiteX644" fmla="*/ 240505 w 786911"/>
                <a:gd name="connsiteY644" fmla="*/ 474814 h 715374"/>
                <a:gd name="connsiteX645" fmla="*/ 240595 w 786911"/>
                <a:gd name="connsiteY645" fmla="*/ 465709 h 715374"/>
                <a:gd name="connsiteX646" fmla="*/ 231491 w 786911"/>
                <a:gd name="connsiteY646" fmla="*/ 465617 h 715374"/>
                <a:gd name="connsiteX647" fmla="*/ 231400 w 786911"/>
                <a:gd name="connsiteY647" fmla="*/ 465709 h 715374"/>
                <a:gd name="connsiteX648" fmla="*/ 231288 w 786911"/>
                <a:gd name="connsiteY648" fmla="*/ 474611 h 715374"/>
                <a:gd name="connsiteX649" fmla="*/ 231400 w 786911"/>
                <a:gd name="connsiteY649" fmla="*/ 474722 h 715374"/>
                <a:gd name="connsiteX650" fmla="*/ 198922 w 786911"/>
                <a:gd name="connsiteY650" fmla="*/ 505197 h 715374"/>
                <a:gd name="connsiteX651" fmla="*/ 206808 w 786911"/>
                <a:gd name="connsiteY651" fmla="*/ 505466 h 715374"/>
                <a:gd name="connsiteX652" fmla="*/ 207077 w 786911"/>
                <a:gd name="connsiteY652" fmla="*/ 505197 h 715374"/>
                <a:gd name="connsiteX653" fmla="*/ 207284 w 786911"/>
                <a:gd name="connsiteY653" fmla="*/ 497106 h 715374"/>
                <a:gd name="connsiteX654" fmla="*/ 207077 w 786911"/>
                <a:gd name="connsiteY654" fmla="*/ 496899 h 715374"/>
                <a:gd name="connsiteX655" fmla="*/ 198922 w 786911"/>
                <a:gd name="connsiteY655" fmla="*/ 496899 h 715374"/>
                <a:gd name="connsiteX656" fmla="*/ 198714 w 786911"/>
                <a:gd name="connsiteY656" fmla="*/ 504990 h 715374"/>
                <a:gd name="connsiteX657" fmla="*/ 198922 w 786911"/>
                <a:gd name="connsiteY657" fmla="*/ 505197 h 715374"/>
                <a:gd name="connsiteX658" fmla="*/ 166300 w 786911"/>
                <a:gd name="connsiteY658" fmla="*/ 536244 h 715374"/>
                <a:gd name="connsiteX659" fmla="*/ 173883 w 786911"/>
                <a:gd name="connsiteY659" fmla="*/ 536244 h 715374"/>
                <a:gd name="connsiteX660" fmla="*/ 173883 w 786911"/>
                <a:gd name="connsiteY660" fmla="*/ 528805 h 715374"/>
                <a:gd name="connsiteX661" fmla="*/ 166300 w 786911"/>
                <a:gd name="connsiteY661" fmla="*/ 528805 h 715374"/>
                <a:gd name="connsiteX662" fmla="*/ 166300 w 786911"/>
                <a:gd name="connsiteY662" fmla="*/ 536244 h 715374"/>
                <a:gd name="connsiteX663" fmla="*/ 133822 w 786911"/>
                <a:gd name="connsiteY663" fmla="*/ 566719 h 715374"/>
                <a:gd name="connsiteX664" fmla="*/ 140500 w 786911"/>
                <a:gd name="connsiteY664" fmla="*/ 566672 h 715374"/>
                <a:gd name="connsiteX665" fmla="*/ 140453 w 786911"/>
                <a:gd name="connsiteY665" fmla="*/ 559995 h 715374"/>
                <a:gd name="connsiteX666" fmla="*/ 133822 w 786911"/>
                <a:gd name="connsiteY666" fmla="*/ 559995 h 715374"/>
                <a:gd name="connsiteX667" fmla="*/ 133775 w 786911"/>
                <a:gd name="connsiteY667" fmla="*/ 566672 h 715374"/>
                <a:gd name="connsiteX668" fmla="*/ 133822 w 786911"/>
                <a:gd name="connsiteY668" fmla="*/ 566719 h 715374"/>
                <a:gd name="connsiteX669" fmla="*/ 101345 w 786911"/>
                <a:gd name="connsiteY669" fmla="*/ 597194 h 715374"/>
                <a:gd name="connsiteX670" fmla="*/ 107354 w 786911"/>
                <a:gd name="connsiteY670" fmla="*/ 597194 h 715374"/>
                <a:gd name="connsiteX671" fmla="*/ 107354 w 786911"/>
                <a:gd name="connsiteY671" fmla="*/ 591185 h 715374"/>
                <a:gd name="connsiteX672" fmla="*/ 101345 w 786911"/>
                <a:gd name="connsiteY672" fmla="*/ 591185 h 715374"/>
                <a:gd name="connsiteX673" fmla="*/ 101345 w 786911"/>
                <a:gd name="connsiteY673" fmla="*/ 597051 h 715374"/>
                <a:gd name="connsiteX674" fmla="*/ 68867 w 786911"/>
                <a:gd name="connsiteY674" fmla="*/ 627526 h 715374"/>
                <a:gd name="connsiteX675" fmla="*/ 73924 w 786911"/>
                <a:gd name="connsiteY675" fmla="*/ 627619 h 715374"/>
                <a:gd name="connsiteX676" fmla="*/ 74017 w 786911"/>
                <a:gd name="connsiteY676" fmla="*/ 627526 h 715374"/>
                <a:gd name="connsiteX677" fmla="*/ 74017 w 786911"/>
                <a:gd name="connsiteY677" fmla="*/ 622232 h 715374"/>
                <a:gd name="connsiteX678" fmla="*/ 68960 w 786911"/>
                <a:gd name="connsiteY678" fmla="*/ 622139 h 715374"/>
                <a:gd name="connsiteX679" fmla="*/ 68867 w 786911"/>
                <a:gd name="connsiteY679" fmla="*/ 622232 h 715374"/>
                <a:gd name="connsiteX680" fmla="*/ 68774 w 786911"/>
                <a:gd name="connsiteY680" fmla="*/ 627290 h 715374"/>
                <a:gd name="connsiteX681" fmla="*/ 68867 w 786911"/>
                <a:gd name="connsiteY681" fmla="*/ 627383 h 715374"/>
                <a:gd name="connsiteX682" fmla="*/ 36245 w 786911"/>
                <a:gd name="connsiteY682" fmla="*/ 658001 h 715374"/>
                <a:gd name="connsiteX683" fmla="*/ 40681 w 786911"/>
                <a:gd name="connsiteY683" fmla="*/ 658001 h 715374"/>
                <a:gd name="connsiteX684" fmla="*/ 40724 w 786911"/>
                <a:gd name="connsiteY684" fmla="*/ 653752 h 715374"/>
                <a:gd name="connsiteX685" fmla="*/ 40681 w 786911"/>
                <a:gd name="connsiteY685" fmla="*/ 653709 h 715374"/>
                <a:gd name="connsiteX686" fmla="*/ 36436 w 786911"/>
                <a:gd name="connsiteY686" fmla="*/ 653519 h 715374"/>
                <a:gd name="connsiteX687" fmla="*/ 36245 w 786911"/>
                <a:gd name="connsiteY687" fmla="*/ 653709 h 715374"/>
                <a:gd name="connsiteX688" fmla="*/ 36245 w 786911"/>
                <a:gd name="connsiteY688" fmla="*/ 658144 h 715374"/>
                <a:gd name="connsiteX689" fmla="*/ 348292 w 786911"/>
                <a:gd name="connsiteY689" fmla="*/ 404616 h 715374"/>
                <a:gd name="connsiteX690" fmla="*/ 359738 w 786911"/>
                <a:gd name="connsiteY690" fmla="*/ 404616 h 715374"/>
                <a:gd name="connsiteX691" fmla="*/ 359738 w 786911"/>
                <a:gd name="connsiteY691" fmla="*/ 393313 h 715374"/>
                <a:gd name="connsiteX692" fmla="*/ 348435 w 786911"/>
                <a:gd name="connsiteY692" fmla="*/ 393313 h 715374"/>
                <a:gd name="connsiteX693" fmla="*/ 348435 w 786911"/>
                <a:gd name="connsiteY693" fmla="*/ 404759 h 715374"/>
                <a:gd name="connsiteX694" fmla="*/ 315957 w 786911"/>
                <a:gd name="connsiteY694" fmla="*/ 435234 h 715374"/>
                <a:gd name="connsiteX695" fmla="*/ 326478 w 786911"/>
                <a:gd name="connsiteY695" fmla="*/ 435168 h 715374"/>
                <a:gd name="connsiteX696" fmla="*/ 326413 w 786911"/>
                <a:gd name="connsiteY696" fmla="*/ 424646 h 715374"/>
                <a:gd name="connsiteX697" fmla="*/ 315957 w 786911"/>
                <a:gd name="connsiteY697" fmla="*/ 424646 h 715374"/>
                <a:gd name="connsiteX698" fmla="*/ 315891 w 786911"/>
                <a:gd name="connsiteY698" fmla="*/ 435168 h 715374"/>
                <a:gd name="connsiteX699" fmla="*/ 315957 w 786911"/>
                <a:gd name="connsiteY699" fmla="*/ 435234 h 715374"/>
                <a:gd name="connsiteX700" fmla="*/ 283479 w 786911"/>
                <a:gd name="connsiteY700" fmla="*/ 465709 h 715374"/>
                <a:gd name="connsiteX701" fmla="*/ 293377 w 786911"/>
                <a:gd name="connsiteY701" fmla="*/ 465125 h 715374"/>
                <a:gd name="connsiteX702" fmla="*/ 293637 w 786911"/>
                <a:gd name="connsiteY702" fmla="*/ 456123 h 715374"/>
                <a:gd name="connsiteX703" fmla="*/ 283765 w 786911"/>
                <a:gd name="connsiteY703" fmla="*/ 456123 h 715374"/>
                <a:gd name="connsiteX704" fmla="*/ 283603 w 786911"/>
                <a:gd name="connsiteY704" fmla="*/ 465833 h 715374"/>
                <a:gd name="connsiteX705" fmla="*/ 283765 w 786911"/>
                <a:gd name="connsiteY705" fmla="*/ 465995 h 715374"/>
                <a:gd name="connsiteX706" fmla="*/ 251287 w 786911"/>
                <a:gd name="connsiteY706" fmla="*/ 496470 h 715374"/>
                <a:gd name="connsiteX707" fmla="*/ 260392 w 786911"/>
                <a:gd name="connsiteY707" fmla="*/ 496561 h 715374"/>
                <a:gd name="connsiteX708" fmla="*/ 260482 w 786911"/>
                <a:gd name="connsiteY708" fmla="*/ 487456 h 715374"/>
                <a:gd name="connsiteX709" fmla="*/ 251378 w 786911"/>
                <a:gd name="connsiteY709" fmla="*/ 487364 h 715374"/>
                <a:gd name="connsiteX710" fmla="*/ 251287 w 786911"/>
                <a:gd name="connsiteY710" fmla="*/ 487456 h 715374"/>
                <a:gd name="connsiteX711" fmla="*/ 251175 w 786911"/>
                <a:gd name="connsiteY711" fmla="*/ 496358 h 715374"/>
                <a:gd name="connsiteX712" fmla="*/ 251287 w 786911"/>
                <a:gd name="connsiteY712" fmla="*/ 496470 h 715374"/>
                <a:gd name="connsiteX713" fmla="*/ 218666 w 786911"/>
                <a:gd name="connsiteY713" fmla="*/ 526945 h 715374"/>
                <a:gd name="connsiteX714" fmla="*/ 226964 w 786911"/>
                <a:gd name="connsiteY714" fmla="*/ 526945 h 715374"/>
                <a:gd name="connsiteX715" fmla="*/ 227250 w 786911"/>
                <a:gd name="connsiteY715" fmla="*/ 518646 h 715374"/>
                <a:gd name="connsiteX716" fmla="*/ 218952 w 786911"/>
                <a:gd name="connsiteY716" fmla="*/ 518360 h 715374"/>
                <a:gd name="connsiteX717" fmla="*/ 218952 w 786911"/>
                <a:gd name="connsiteY717" fmla="*/ 526658 h 715374"/>
                <a:gd name="connsiteX718" fmla="*/ 186474 w 786911"/>
                <a:gd name="connsiteY718" fmla="*/ 557133 h 715374"/>
                <a:gd name="connsiteX719" fmla="*/ 193914 w 786911"/>
                <a:gd name="connsiteY719" fmla="*/ 557133 h 715374"/>
                <a:gd name="connsiteX720" fmla="*/ 193914 w 786911"/>
                <a:gd name="connsiteY720" fmla="*/ 549550 h 715374"/>
                <a:gd name="connsiteX721" fmla="*/ 186474 w 786911"/>
                <a:gd name="connsiteY721" fmla="*/ 549550 h 715374"/>
                <a:gd name="connsiteX722" fmla="*/ 186474 w 786911"/>
                <a:gd name="connsiteY722" fmla="*/ 557133 h 715374"/>
                <a:gd name="connsiteX723" fmla="*/ 153996 w 786911"/>
                <a:gd name="connsiteY723" fmla="*/ 587608 h 715374"/>
                <a:gd name="connsiteX724" fmla="*/ 160673 w 786911"/>
                <a:gd name="connsiteY724" fmla="*/ 587561 h 715374"/>
                <a:gd name="connsiteX725" fmla="*/ 160626 w 786911"/>
                <a:gd name="connsiteY725" fmla="*/ 580884 h 715374"/>
                <a:gd name="connsiteX726" fmla="*/ 153996 w 786911"/>
                <a:gd name="connsiteY726" fmla="*/ 580884 h 715374"/>
                <a:gd name="connsiteX727" fmla="*/ 153949 w 786911"/>
                <a:gd name="connsiteY727" fmla="*/ 587561 h 715374"/>
                <a:gd name="connsiteX728" fmla="*/ 153996 w 786911"/>
                <a:gd name="connsiteY728" fmla="*/ 587608 h 715374"/>
                <a:gd name="connsiteX729" fmla="*/ 121089 w 786911"/>
                <a:gd name="connsiteY729" fmla="*/ 617797 h 715374"/>
                <a:gd name="connsiteX730" fmla="*/ 126955 w 786911"/>
                <a:gd name="connsiteY730" fmla="*/ 617940 h 715374"/>
                <a:gd name="connsiteX731" fmla="*/ 127098 w 786911"/>
                <a:gd name="connsiteY731" fmla="*/ 617797 h 715374"/>
                <a:gd name="connsiteX732" fmla="*/ 127303 w 786911"/>
                <a:gd name="connsiteY732" fmla="*/ 612136 h 715374"/>
                <a:gd name="connsiteX733" fmla="*/ 127098 w 786911"/>
                <a:gd name="connsiteY733" fmla="*/ 611931 h 715374"/>
                <a:gd name="connsiteX734" fmla="*/ 121232 w 786911"/>
                <a:gd name="connsiteY734" fmla="*/ 611931 h 715374"/>
                <a:gd name="connsiteX735" fmla="*/ 121089 w 786911"/>
                <a:gd name="connsiteY735" fmla="*/ 617797 h 715374"/>
                <a:gd name="connsiteX736" fmla="*/ 88182 w 786911"/>
                <a:gd name="connsiteY736" fmla="*/ 648415 h 715374"/>
                <a:gd name="connsiteX737" fmla="*/ 93428 w 786911"/>
                <a:gd name="connsiteY737" fmla="*/ 648032 h 715374"/>
                <a:gd name="connsiteX738" fmla="*/ 93619 w 786911"/>
                <a:gd name="connsiteY738" fmla="*/ 643407 h 715374"/>
                <a:gd name="connsiteX739" fmla="*/ 88325 w 786911"/>
                <a:gd name="connsiteY739" fmla="*/ 643407 h 715374"/>
                <a:gd name="connsiteX740" fmla="*/ 88232 w 786911"/>
                <a:gd name="connsiteY740" fmla="*/ 648465 h 715374"/>
                <a:gd name="connsiteX741" fmla="*/ 88325 w 786911"/>
                <a:gd name="connsiteY741" fmla="*/ 648558 h 7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Lst>
              <a:rect l="l" t="t" r="r" b="b"/>
              <a:pathLst>
                <a:path w="786911" h="715374">
                  <a:moveTo>
                    <a:pt x="412818" y="383011"/>
                  </a:moveTo>
                  <a:cubicBezTo>
                    <a:pt x="415946" y="386186"/>
                    <a:pt x="415946" y="391282"/>
                    <a:pt x="412818" y="394457"/>
                  </a:cubicBezTo>
                  <a:cubicBezTo>
                    <a:pt x="409692" y="397568"/>
                    <a:pt x="404642" y="397568"/>
                    <a:pt x="401515" y="394457"/>
                  </a:cubicBezTo>
                  <a:cubicBezTo>
                    <a:pt x="398405" y="391331"/>
                    <a:pt x="398405" y="386281"/>
                    <a:pt x="401515" y="383154"/>
                  </a:cubicBezTo>
                  <a:cubicBezTo>
                    <a:pt x="404720" y="380103"/>
                    <a:pt x="409757" y="380103"/>
                    <a:pt x="412961" y="383154"/>
                  </a:cubicBezTo>
                  <a:moveTo>
                    <a:pt x="445439" y="352679"/>
                  </a:moveTo>
                  <a:cubicBezTo>
                    <a:pt x="442516" y="349792"/>
                    <a:pt x="437805" y="349822"/>
                    <a:pt x="434918" y="352745"/>
                  </a:cubicBezTo>
                  <a:cubicBezTo>
                    <a:pt x="432031" y="355670"/>
                    <a:pt x="432061" y="360380"/>
                    <a:pt x="434984" y="363267"/>
                  </a:cubicBezTo>
                  <a:cubicBezTo>
                    <a:pt x="437882" y="366128"/>
                    <a:pt x="442542" y="366128"/>
                    <a:pt x="445439" y="363267"/>
                  </a:cubicBezTo>
                  <a:cubicBezTo>
                    <a:pt x="448362" y="360380"/>
                    <a:pt x="448393" y="355670"/>
                    <a:pt x="445505" y="352745"/>
                  </a:cubicBezTo>
                  <a:cubicBezTo>
                    <a:pt x="445484" y="352724"/>
                    <a:pt x="445461" y="352701"/>
                    <a:pt x="445439" y="352679"/>
                  </a:cubicBezTo>
                  <a:moveTo>
                    <a:pt x="477917" y="322205"/>
                  </a:moveTo>
                  <a:cubicBezTo>
                    <a:pt x="475023" y="319632"/>
                    <a:pt x="470592" y="319894"/>
                    <a:pt x="468019" y="322788"/>
                  </a:cubicBezTo>
                  <a:cubicBezTo>
                    <a:pt x="465762" y="325329"/>
                    <a:pt x="465652" y="329124"/>
                    <a:pt x="467759" y="331791"/>
                  </a:cubicBezTo>
                  <a:cubicBezTo>
                    <a:pt x="470522" y="334425"/>
                    <a:pt x="474868" y="334425"/>
                    <a:pt x="477631" y="331791"/>
                  </a:cubicBezTo>
                  <a:cubicBezTo>
                    <a:pt x="480357" y="329154"/>
                    <a:pt x="480430" y="324806"/>
                    <a:pt x="477793" y="322080"/>
                  </a:cubicBezTo>
                  <a:cubicBezTo>
                    <a:pt x="477740" y="322024"/>
                    <a:pt x="477686" y="321971"/>
                    <a:pt x="477631" y="321918"/>
                  </a:cubicBezTo>
                  <a:moveTo>
                    <a:pt x="510252" y="291587"/>
                  </a:moveTo>
                  <a:cubicBezTo>
                    <a:pt x="507763" y="289047"/>
                    <a:pt x="503687" y="289007"/>
                    <a:pt x="501147" y="291495"/>
                  </a:cubicBezTo>
                  <a:cubicBezTo>
                    <a:pt x="498607" y="293984"/>
                    <a:pt x="498567" y="298061"/>
                    <a:pt x="501057" y="300600"/>
                  </a:cubicBezTo>
                  <a:cubicBezTo>
                    <a:pt x="503545" y="303140"/>
                    <a:pt x="507621" y="303180"/>
                    <a:pt x="510161" y="300692"/>
                  </a:cubicBezTo>
                  <a:cubicBezTo>
                    <a:pt x="510192" y="300662"/>
                    <a:pt x="510222" y="300630"/>
                    <a:pt x="510252" y="300600"/>
                  </a:cubicBezTo>
                  <a:cubicBezTo>
                    <a:pt x="512742" y="298172"/>
                    <a:pt x="512792" y="294188"/>
                    <a:pt x="510364" y="291698"/>
                  </a:cubicBezTo>
                  <a:cubicBezTo>
                    <a:pt x="510327" y="291661"/>
                    <a:pt x="510289" y="291624"/>
                    <a:pt x="510252" y="291587"/>
                  </a:cubicBezTo>
                  <a:moveTo>
                    <a:pt x="542873" y="261112"/>
                  </a:moveTo>
                  <a:cubicBezTo>
                    <a:pt x="540551" y="258895"/>
                    <a:pt x="536897" y="258895"/>
                    <a:pt x="534575" y="261112"/>
                  </a:cubicBezTo>
                  <a:cubicBezTo>
                    <a:pt x="532204" y="263324"/>
                    <a:pt x="532077" y="267039"/>
                    <a:pt x="534289" y="269410"/>
                  </a:cubicBezTo>
                  <a:cubicBezTo>
                    <a:pt x="536501" y="271781"/>
                    <a:pt x="540216" y="271908"/>
                    <a:pt x="542587" y="269696"/>
                  </a:cubicBezTo>
                  <a:cubicBezTo>
                    <a:pt x="544803" y="267374"/>
                    <a:pt x="544803" y="263720"/>
                    <a:pt x="542587" y="261398"/>
                  </a:cubicBezTo>
                  <a:moveTo>
                    <a:pt x="575065" y="230923"/>
                  </a:moveTo>
                  <a:cubicBezTo>
                    <a:pt x="573003" y="228887"/>
                    <a:pt x="569687" y="228887"/>
                    <a:pt x="567625" y="230923"/>
                  </a:cubicBezTo>
                  <a:cubicBezTo>
                    <a:pt x="565572" y="233033"/>
                    <a:pt x="565572" y="236395"/>
                    <a:pt x="567625" y="238506"/>
                  </a:cubicBezTo>
                  <a:cubicBezTo>
                    <a:pt x="569687" y="240542"/>
                    <a:pt x="573003" y="240542"/>
                    <a:pt x="575065" y="238506"/>
                  </a:cubicBezTo>
                  <a:cubicBezTo>
                    <a:pt x="577118" y="236395"/>
                    <a:pt x="577118" y="233033"/>
                    <a:pt x="575065" y="230923"/>
                  </a:cubicBezTo>
                  <a:moveTo>
                    <a:pt x="607543" y="200162"/>
                  </a:moveTo>
                  <a:cubicBezTo>
                    <a:pt x="605726" y="198266"/>
                    <a:pt x="602716" y="198202"/>
                    <a:pt x="600819" y="200019"/>
                  </a:cubicBezTo>
                  <a:cubicBezTo>
                    <a:pt x="598923" y="201836"/>
                    <a:pt x="598859" y="204847"/>
                    <a:pt x="600676" y="206743"/>
                  </a:cubicBezTo>
                  <a:cubicBezTo>
                    <a:pt x="602493" y="208640"/>
                    <a:pt x="605503" y="208703"/>
                    <a:pt x="607400" y="206886"/>
                  </a:cubicBezTo>
                  <a:cubicBezTo>
                    <a:pt x="609296" y="205069"/>
                    <a:pt x="609360" y="202059"/>
                    <a:pt x="607543" y="200162"/>
                  </a:cubicBezTo>
                  <a:moveTo>
                    <a:pt x="640164" y="169687"/>
                  </a:moveTo>
                  <a:cubicBezTo>
                    <a:pt x="638583" y="168027"/>
                    <a:pt x="635958" y="167963"/>
                    <a:pt x="634298" y="169544"/>
                  </a:cubicBezTo>
                  <a:cubicBezTo>
                    <a:pt x="634250" y="169591"/>
                    <a:pt x="634201" y="169638"/>
                    <a:pt x="634155" y="169687"/>
                  </a:cubicBezTo>
                  <a:cubicBezTo>
                    <a:pt x="632536" y="171193"/>
                    <a:pt x="632444" y="173729"/>
                    <a:pt x="633951" y="175348"/>
                  </a:cubicBezTo>
                  <a:cubicBezTo>
                    <a:pt x="634016" y="175420"/>
                    <a:pt x="634085" y="175487"/>
                    <a:pt x="634155" y="175553"/>
                  </a:cubicBezTo>
                  <a:cubicBezTo>
                    <a:pt x="635775" y="177172"/>
                    <a:pt x="638402" y="177172"/>
                    <a:pt x="640021" y="175553"/>
                  </a:cubicBezTo>
                  <a:cubicBezTo>
                    <a:pt x="641657" y="173883"/>
                    <a:pt x="641657" y="171213"/>
                    <a:pt x="640021" y="169544"/>
                  </a:cubicBezTo>
                  <a:moveTo>
                    <a:pt x="672499" y="139069"/>
                  </a:moveTo>
                  <a:cubicBezTo>
                    <a:pt x="670944" y="137725"/>
                    <a:pt x="668596" y="137897"/>
                    <a:pt x="667253" y="139452"/>
                  </a:cubicBezTo>
                  <a:cubicBezTo>
                    <a:pt x="666121" y="140761"/>
                    <a:pt x="666042" y="142679"/>
                    <a:pt x="667062" y="144076"/>
                  </a:cubicBezTo>
                  <a:cubicBezTo>
                    <a:pt x="668550" y="145476"/>
                    <a:pt x="670870" y="145476"/>
                    <a:pt x="672356" y="144076"/>
                  </a:cubicBezTo>
                  <a:cubicBezTo>
                    <a:pt x="673778" y="142706"/>
                    <a:pt x="673820" y="140441"/>
                    <a:pt x="672449" y="139019"/>
                  </a:cubicBezTo>
                  <a:cubicBezTo>
                    <a:pt x="672419" y="138987"/>
                    <a:pt x="672388" y="138956"/>
                    <a:pt x="672356" y="138926"/>
                  </a:cubicBezTo>
                  <a:moveTo>
                    <a:pt x="704834" y="108451"/>
                  </a:moveTo>
                  <a:cubicBezTo>
                    <a:pt x="703609" y="107217"/>
                    <a:pt x="701616" y="107210"/>
                    <a:pt x="700383" y="108435"/>
                  </a:cubicBezTo>
                  <a:cubicBezTo>
                    <a:pt x="699148" y="109660"/>
                    <a:pt x="699141" y="111653"/>
                    <a:pt x="700367" y="112886"/>
                  </a:cubicBezTo>
                  <a:cubicBezTo>
                    <a:pt x="701592" y="114119"/>
                    <a:pt x="703585" y="114127"/>
                    <a:pt x="704818" y="112902"/>
                  </a:cubicBezTo>
                  <a:cubicBezTo>
                    <a:pt x="704824" y="112898"/>
                    <a:pt x="704828" y="112892"/>
                    <a:pt x="704834" y="112886"/>
                  </a:cubicBezTo>
                  <a:cubicBezTo>
                    <a:pt x="706053" y="111659"/>
                    <a:pt x="706053" y="109678"/>
                    <a:pt x="704834" y="108451"/>
                  </a:cubicBezTo>
                  <a:moveTo>
                    <a:pt x="737312" y="77976"/>
                  </a:moveTo>
                  <a:cubicBezTo>
                    <a:pt x="736315" y="77013"/>
                    <a:pt x="734732" y="77013"/>
                    <a:pt x="733735" y="77976"/>
                  </a:cubicBezTo>
                  <a:cubicBezTo>
                    <a:pt x="732708" y="78963"/>
                    <a:pt x="732676" y="80597"/>
                    <a:pt x="733664" y="81624"/>
                  </a:cubicBezTo>
                  <a:cubicBezTo>
                    <a:pt x="734651" y="82652"/>
                    <a:pt x="736285" y="82683"/>
                    <a:pt x="737312" y="81696"/>
                  </a:cubicBezTo>
                  <a:cubicBezTo>
                    <a:pt x="738299" y="80786"/>
                    <a:pt x="738362" y="79246"/>
                    <a:pt x="737452" y="78259"/>
                  </a:cubicBezTo>
                  <a:cubicBezTo>
                    <a:pt x="737408" y="78210"/>
                    <a:pt x="737361" y="78163"/>
                    <a:pt x="737312" y="78119"/>
                  </a:cubicBezTo>
                  <a:moveTo>
                    <a:pt x="432133" y="403185"/>
                  </a:moveTo>
                  <a:cubicBezTo>
                    <a:pt x="429107" y="400521"/>
                    <a:pt x="424572" y="400521"/>
                    <a:pt x="421546" y="403185"/>
                  </a:cubicBezTo>
                  <a:cubicBezTo>
                    <a:pt x="418418" y="406360"/>
                    <a:pt x="418418" y="411456"/>
                    <a:pt x="421546" y="414631"/>
                  </a:cubicBezTo>
                  <a:cubicBezTo>
                    <a:pt x="424751" y="417683"/>
                    <a:pt x="429787" y="417683"/>
                    <a:pt x="432992" y="414631"/>
                  </a:cubicBezTo>
                  <a:cubicBezTo>
                    <a:pt x="436102" y="411505"/>
                    <a:pt x="436102" y="406454"/>
                    <a:pt x="432992" y="403328"/>
                  </a:cubicBezTo>
                  <a:moveTo>
                    <a:pt x="464468" y="373282"/>
                  </a:moveTo>
                  <a:cubicBezTo>
                    <a:pt x="461581" y="370359"/>
                    <a:pt x="456871" y="370329"/>
                    <a:pt x="453947" y="373216"/>
                  </a:cubicBezTo>
                  <a:cubicBezTo>
                    <a:pt x="453925" y="373238"/>
                    <a:pt x="453902" y="373259"/>
                    <a:pt x="453881" y="373282"/>
                  </a:cubicBezTo>
                  <a:cubicBezTo>
                    <a:pt x="450996" y="376097"/>
                    <a:pt x="450941" y="380716"/>
                    <a:pt x="453755" y="383601"/>
                  </a:cubicBezTo>
                  <a:cubicBezTo>
                    <a:pt x="453796" y="383644"/>
                    <a:pt x="453838" y="383685"/>
                    <a:pt x="453881" y="383727"/>
                  </a:cubicBezTo>
                  <a:cubicBezTo>
                    <a:pt x="456768" y="386650"/>
                    <a:pt x="461478" y="386680"/>
                    <a:pt x="464403" y="383793"/>
                  </a:cubicBezTo>
                  <a:cubicBezTo>
                    <a:pt x="464424" y="383771"/>
                    <a:pt x="464447" y="383750"/>
                    <a:pt x="464468" y="383727"/>
                  </a:cubicBezTo>
                  <a:cubicBezTo>
                    <a:pt x="467340" y="380782"/>
                    <a:pt x="467340" y="376084"/>
                    <a:pt x="464468" y="373139"/>
                  </a:cubicBezTo>
                  <a:moveTo>
                    <a:pt x="496946" y="342664"/>
                  </a:moveTo>
                  <a:cubicBezTo>
                    <a:pt x="494310" y="339939"/>
                    <a:pt x="489961" y="339866"/>
                    <a:pt x="487236" y="342503"/>
                  </a:cubicBezTo>
                  <a:cubicBezTo>
                    <a:pt x="487180" y="342556"/>
                    <a:pt x="487127" y="342610"/>
                    <a:pt x="487074" y="342664"/>
                  </a:cubicBezTo>
                  <a:cubicBezTo>
                    <a:pt x="484457" y="345380"/>
                    <a:pt x="484457" y="349678"/>
                    <a:pt x="487074" y="352393"/>
                  </a:cubicBezTo>
                  <a:cubicBezTo>
                    <a:pt x="489711" y="355119"/>
                    <a:pt x="494059" y="355192"/>
                    <a:pt x="496785" y="352555"/>
                  </a:cubicBezTo>
                  <a:cubicBezTo>
                    <a:pt x="496841" y="352502"/>
                    <a:pt x="496893" y="352448"/>
                    <a:pt x="496946" y="352393"/>
                  </a:cubicBezTo>
                  <a:cubicBezTo>
                    <a:pt x="499563" y="349678"/>
                    <a:pt x="499563" y="345380"/>
                    <a:pt x="496946" y="342664"/>
                  </a:cubicBezTo>
                  <a:moveTo>
                    <a:pt x="529424" y="312189"/>
                  </a:moveTo>
                  <a:cubicBezTo>
                    <a:pt x="526935" y="309650"/>
                    <a:pt x="522859" y="309610"/>
                    <a:pt x="520319" y="312098"/>
                  </a:cubicBezTo>
                  <a:cubicBezTo>
                    <a:pt x="517781" y="314587"/>
                    <a:pt x="517739" y="318663"/>
                    <a:pt x="520229" y="321203"/>
                  </a:cubicBezTo>
                  <a:cubicBezTo>
                    <a:pt x="522717" y="323743"/>
                    <a:pt x="526793" y="323783"/>
                    <a:pt x="529333" y="321295"/>
                  </a:cubicBezTo>
                  <a:cubicBezTo>
                    <a:pt x="529364" y="321265"/>
                    <a:pt x="529394" y="321233"/>
                    <a:pt x="529424" y="321203"/>
                  </a:cubicBezTo>
                  <a:cubicBezTo>
                    <a:pt x="531914" y="318775"/>
                    <a:pt x="531964" y="314790"/>
                    <a:pt x="529536" y="312301"/>
                  </a:cubicBezTo>
                  <a:cubicBezTo>
                    <a:pt x="529499" y="312264"/>
                    <a:pt x="529462" y="312227"/>
                    <a:pt x="529424" y="312189"/>
                  </a:cubicBezTo>
                  <a:moveTo>
                    <a:pt x="561902" y="281714"/>
                  </a:moveTo>
                  <a:cubicBezTo>
                    <a:pt x="559799" y="279462"/>
                    <a:pt x="556268" y="279342"/>
                    <a:pt x="554016" y="281445"/>
                  </a:cubicBezTo>
                  <a:cubicBezTo>
                    <a:pt x="553923" y="281533"/>
                    <a:pt x="553833" y="281621"/>
                    <a:pt x="553747" y="281714"/>
                  </a:cubicBezTo>
                  <a:cubicBezTo>
                    <a:pt x="551455" y="283892"/>
                    <a:pt x="551362" y="287513"/>
                    <a:pt x="553540" y="289805"/>
                  </a:cubicBezTo>
                  <a:cubicBezTo>
                    <a:pt x="553607" y="289877"/>
                    <a:pt x="553676" y="289945"/>
                    <a:pt x="553747" y="290013"/>
                  </a:cubicBezTo>
                  <a:cubicBezTo>
                    <a:pt x="556021" y="292212"/>
                    <a:pt x="559629" y="292212"/>
                    <a:pt x="561902" y="290013"/>
                  </a:cubicBezTo>
                  <a:cubicBezTo>
                    <a:pt x="564194" y="287835"/>
                    <a:pt x="564287" y="284214"/>
                    <a:pt x="562110" y="281922"/>
                  </a:cubicBezTo>
                  <a:cubicBezTo>
                    <a:pt x="562043" y="281850"/>
                    <a:pt x="561974" y="281782"/>
                    <a:pt x="561902" y="281714"/>
                  </a:cubicBezTo>
                  <a:moveTo>
                    <a:pt x="594523" y="251239"/>
                  </a:moveTo>
                  <a:cubicBezTo>
                    <a:pt x="592413" y="249186"/>
                    <a:pt x="589051" y="249186"/>
                    <a:pt x="586940" y="251239"/>
                  </a:cubicBezTo>
                  <a:cubicBezTo>
                    <a:pt x="584904" y="253301"/>
                    <a:pt x="584904" y="256618"/>
                    <a:pt x="586940" y="258679"/>
                  </a:cubicBezTo>
                  <a:cubicBezTo>
                    <a:pt x="589051" y="260732"/>
                    <a:pt x="592413" y="260732"/>
                    <a:pt x="594523" y="258679"/>
                  </a:cubicBezTo>
                  <a:cubicBezTo>
                    <a:pt x="596559" y="256618"/>
                    <a:pt x="596559" y="253301"/>
                    <a:pt x="594523" y="251239"/>
                  </a:cubicBezTo>
                  <a:moveTo>
                    <a:pt x="627001" y="220764"/>
                  </a:moveTo>
                  <a:cubicBezTo>
                    <a:pt x="625144" y="218933"/>
                    <a:pt x="622155" y="218955"/>
                    <a:pt x="620324" y="220812"/>
                  </a:cubicBezTo>
                  <a:cubicBezTo>
                    <a:pt x="618494" y="222669"/>
                    <a:pt x="618516" y="225658"/>
                    <a:pt x="620371" y="227489"/>
                  </a:cubicBezTo>
                  <a:cubicBezTo>
                    <a:pt x="622210" y="229302"/>
                    <a:pt x="625163" y="229302"/>
                    <a:pt x="627001" y="227489"/>
                  </a:cubicBezTo>
                  <a:cubicBezTo>
                    <a:pt x="628858" y="225658"/>
                    <a:pt x="628880" y="222669"/>
                    <a:pt x="627049" y="220812"/>
                  </a:cubicBezTo>
                  <a:cubicBezTo>
                    <a:pt x="627033" y="220796"/>
                    <a:pt x="627017" y="220780"/>
                    <a:pt x="627001" y="220764"/>
                  </a:cubicBezTo>
                  <a:moveTo>
                    <a:pt x="659479" y="190290"/>
                  </a:moveTo>
                  <a:cubicBezTo>
                    <a:pt x="657810" y="188654"/>
                    <a:pt x="655140" y="188654"/>
                    <a:pt x="653470" y="190290"/>
                  </a:cubicBezTo>
                  <a:cubicBezTo>
                    <a:pt x="651906" y="191988"/>
                    <a:pt x="651906" y="194600"/>
                    <a:pt x="653470" y="196299"/>
                  </a:cubicBezTo>
                  <a:cubicBezTo>
                    <a:pt x="655140" y="197934"/>
                    <a:pt x="657810" y="197934"/>
                    <a:pt x="659479" y="196299"/>
                  </a:cubicBezTo>
                  <a:cubicBezTo>
                    <a:pt x="661099" y="194679"/>
                    <a:pt x="661099" y="192052"/>
                    <a:pt x="659479" y="190433"/>
                  </a:cubicBezTo>
                  <a:moveTo>
                    <a:pt x="692243" y="159958"/>
                  </a:moveTo>
                  <a:cubicBezTo>
                    <a:pt x="690873" y="158536"/>
                    <a:pt x="688608" y="158494"/>
                    <a:pt x="687186" y="159865"/>
                  </a:cubicBezTo>
                  <a:cubicBezTo>
                    <a:pt x="687154" y="159895"/>
                    <a:pt x="687123" y="159926"/>
                    <a:pt x="687093" y="159958"/>
                  </a:cubicBezTo>
                  <a:cubicBezTo>
                    <a:pt x="685693" y="161446"/>
                    <a:pt x="685693" y="163763"/>
                    <a:pt x="687093" y="165251"/>
                  </a:cubicBezTo>
                  <a:cubicBezTo>
                    <a:pt x="688463" y="166674"/>
                    <a:pt x="690728" y="166715"/>
                    <a:pt x="692150" y="165344"/>
                  </a:cubicBezTo>
                  <a:cubicBezTo>
                    <a:pt x="692182" y="165314"/>
                    <a:pt x="692213" y="165283"/>
                    <a:pt x="692243" y="165251"/>
                  </a:cubicBezTo>
                  <a:cubicBezTo>
                    <a:pt x="693666" y="163881"/>
                    <a:pt x="693707" y="161616"/>
                    <a:pt x="692336" y="160194"/>
                  </a:cubicBezTo>
                  <a:cubicBezTo>
                    <a:pt x="692306" y="160162"/>
                    <a:pt x="692275" y="160131"/>
                    <a:pt x="692243" y="160101"/>
                  </a:cubicBezTo>
                  <a:moveTo>
                    <a:pt x="724864" y="129483"/>
                  </a:moveTo>
                  <a:cubicBezTo>
                    <a:pt x="723637" y="128264"/>
                    <a:pt x="721657" y="128264"/>
                    <a:pt x="720429" y="129483"/>
                  </a:cubicBezTo>
                  <a:cubicBezTo>
                    <a:pt x="719245" y="130529"/>
                    <a:pt x="719130" y="132336"/>
                    <a:pt x="720176" y="133522"/>
                  </a:cubicBezTo>
                  <a:cubicBezTo>
                    <a:pt x="720255" y="133612"/>
                    <a:pt x="720339" y="133696"/>
                    <a:pt x="720429" y="133775"/>
                  </a:cubicBezTo>
                  <a:cubicBezTo>
                    <a:pt x="721549" y="135000"/>
                    <a:pt x="723449" y="135086"/>
                    <a:pt x="724674" y="133965"/>
                  </a:cubicBezTo>
                  <a:cubicBezTo>
                    <a:pt x="724740" y="133905"/>
                    <a:pt x="724804" y="133841"/>
                    <a:pt x="724864" y="133775"/>
                  </a:cubicBezTo>
                  <a:cubicBezTo>
                    <a:pt x="726084" y="132547"/>
                    <a:pt x="726084" y="130567"/>
                    <a:pt x="724864" y="129340"/>
                  </a:cubicBezTo>
                  <a:moveTo>
                    <a:pt x="757343" y="98865"/>
                  </a:moveTo>
                  <a:cubicBezTo>
                    <a:pt x="756297" y="97883"/>
                    <a:pt x="754668" y="97883"/>
                    <a:pt x="753623" y="98865"/>
                  </a:cubicBezTo>
                  <a:cubicBezTo>
                    <a:pt x="752595" y="99852"/>
                    <a:pt x="752564" y="101486"/>
                    <a:pt x="753551" y="102513"/>
                  </a:cubicBezTo>
                  <a:cubicBezTo>
                    <a:pt x="754538" y="103540"/>
                    <a:pt x="756172" y="103572"/>
                    <a:pt x="757199" y="102585"/>
                  </a:cubicBezTo>
                  <a:cubicBezTo>
                    <a:pt x="758181" y="101539"/>
                    <a:pt x="758181" y="99911"/>
                    <a:pt x="757199" y="98865"/>
                  </a:cubicBezTo>
                  <a:moveTo>
                    <a:pt x="451592" y="424503"/>
                  </a:moveTo>
                  <a:cubicBezTo>
                    <a:pt x="448470" y="421367"/>
                    <a:pt x="443398" y="421354"/>
                    <a:pt x="440260" y="424474"/>
                  </a:cubicBezTo>
                  <a:cubicBezTo>
                    <a:pt x="437124" y="427596"/>
                    <a:pt x="437111" y="432670"/>
                    <a:pt x="440233" y="435806"/>
                  </a:cubicBezTo>
                  <a:cubicBezTo>
                    <a:pt x="443353" y="438942"/>
                    <a:pt x="448427" y="438955"/>
                    <a:pt x="451563" y="435835"/>
                  </a:cubicBezTo>
                  <a:cubicBezTo>
                    <a:pt x="451573" y="435825"/>
                    <a:pt x="451582" y="435816"/>
                    <a:pt x="451592" y="435806"/>
                  </a:cubicBezTo>
                  <a:cubicBezTo>
                    <a:pt x="454702" y="432680"/>
                    <a:pt x="454702" y="427629"/>
                    <a:pt x="451592" y="424503"/>
                  </a:cubicBezTo>
                  <a:moveTo>
                    <a:pt x="484070" y="394028"/>
                  </a:moveTo>
                  <a:cubicBezTo>
                    <a:pt x="481297" y="391105"/>
                    <a:pt x="476677" y="390982"/>
                    <a:pt x="473754" y="393756"/>
                  </a:cubicBezTo>
                  <a:cubicBezTo>
                    <a:pt x="473661" y="393845"/>
                    <a:pt x="473571" y="393935"/>
                    <a:pt x="473482" y="394028"/>
                  </a:cubicBezTo>
                  <a:cubicBezTo>
                    <a:pt x="470479" y="396872"/>
                    <a:pt x="470352" y="401612"/>
                    <a:pt x="473196" y="404616"/>
                  </a:cubicBezTo>
                  <a:cubicBezTo>
                    <a:pt x="476040" y="407619"/>
                    <a:pt x="480780" y="407746"/>
                    <a:pt x="483783" y="404902"/>
                  </a:cubicBezTo>
                  <a:cubicBezTo>
                    <a:pt x="486668" y="402088"/>
                    <a:pt x="486724" y="397468"/>
                    <a:pt x="483909" y="394583"/>
                  </a:cubicBezTo>
                  <a:cubicBezTo>
                    <a:pt x="483868" y="394540"/>
                    <a:pt x="483826" y="394499"/>
                    <a:pt x="483783" y="394457"/>
                  </a:cubicBezTo>
                  <a:moveTo>
                    <a:pt x="516261" y="363839"/>
                  </a:moveTo>
                  <a:cubicBezTo>
                    <a:pt x="513546" y="361222"/>
                    <a:pt x="509248" y="361222"/>
                    <a:pt x="506532" y="363839"/>
                  </a:cubicBezTo>
                  <a:cubicBezTo>
                    <a:pt x="503807" y="366476"/>
                    <a:pt x="503734" y="370824"/>
                    <a:pt x="506371" y="373550"/>
                  </a:cubicBezTo>
                  <a:cubicBezTo>
                    <a:pt x="506424" y="373604"/>
                    <a:pt x="506478" y="373658"/>
                    <a:pt x="506532" y="373711"/>
                  </a:cubicBezTo>
                  <a:cubicBezTo>
                    <a:pt x="509248" y="376328"/>
                    <a:pt x="513546" y="376328"/>
                    <a:pt x="516261" y="373711"/>
                  </a:cubicBezTo>
                  <a:cubicBezTo>
                    <a:pt x="518987" y="371075"/>
                    <a:pt x="519060" y="366727"/>
                    <a:pt x="516423" y="364001"/>
                  </a:cubicBezTo>
                  <a:cubicBezTo>
                    <a:pt x="516370" y="363947"/>
                    <a:pt x="516316" y="363892"/>
                    <a:pt x="516261" y="363839"/>
                  </a:cubicBezTo>
                  <a:moveTo>
                    <a:pt x="548883" y="333364"/>
                  </a:moveTo>
                  <a:cubicBezTo>
                    <a:pt x="546330" y="330893"/>
                    <a:pt x="542278" y="330893"/>
                    <a:pt x="539726" y="333364"/>
                  </a:cubicBezTo>
                  <a:cubicBezTo>
                    <a:pt x="537326" y="335945"/>
                    <a:pt x="537326" y="339940"/>
                    <a:pt x="539726" y="342521"/>
                  </a:cubicBezTo>
                  <a:cubicBezTo>
                    <a:pt x="542278" y="344992"/>
                    <a:pt x="546330" y="344992"/>
                    <a:pt x="548883" y="342521"/>
                  </a:cubicBezTo>
                  <a:cubicBezTo>
                    <a:pt x="551282" y="339940"/>
                    <a:pt x="551282" y="335945"/>
                    <a:pt x="548883" y="333364"/>
                  </a:cubicBezTo>
                  <a:moveTo>
                    <a:pt x="581647" y="303033"/>
                  </a:moveTo>
                  <a:cubicBezTo>
                    <a:pt x="579435" y="300662"/>
                    <a:pt x="575719" y="300534"/>
                    <a:pt x="573348" y="302746"/>
                  </a:cubicBezTo>
                  <a:cubicBezTo>
                    <a:pt x="570978" y="304958"/>
                    <a:pt x="570850" y="308674"/>
                    <a:pt x="573062" y="311045"/>
                  </a:cubicBezTo>
                  <a:cubicBezTo>
                    <a:pt x="575240" y="313337"/>
                    <a:pt x="578861" y="313430"/>
                    <a:pt x="581153" y="311252"/>
                  </a:cubicBezTo>
                  <a:cubicBezTo>
                    <a:pt x="581225" y="311185"/>
                    <a:pt x="581293" y="311116"/>
                    <a:pt x="581360" y="311045"/>
                  </a:cubicBezTo>
                  <a:cubicBezTo>
                    <a:pt x="583653" y="308754"/>
                    <a:pt x="583653" y="305040"/>
                    <a:pt x="581363" y="302749"/>
                  </a:cubicBezTo>
                  <a:cubicBezTo>
                    <a:pt x="581362" y="302748"/>
                    <a:pt x="581362" y="302748"/>
                    <a:pt x="581360" y="302746"/>
                  </a:cubicBezTo>
                  <a:moveTo>
                    <a:pt x="613839" y="272271"/>
                  </a:moveTo>
                  <a:cubicBezTo>
                    <a:pt x="611744" y="270231"/>
                    <a:pt x="608393" y="270274"/>
                    <a:pt x="606353" y="272369"/>
                  </a:cubicBezTo>
                  <a:cubicBezTo>
                    <a:pt x="604313" y="274462"/>
                    <a:pt x="604355" y="277814"/>
                    <a:pt x="606450" y="279854"/>
                  </a:cubicBezTo>
                  <a:cubicBezTo>
                    <a:pt x="608505" y="281857"/>
                    <a:pt x="611783" y="281857"/>
                    <a:pt x="613839" y="279854"/>
                  </a:cubicBezTo>
                  <a:cubicBezTo>
                    <a:pt x="615892" y="277744"/>
                    <a:pt x="615892" y="274382"/>
                    <a:pt x="613839" y="272271"/>
                  </a:cubicBezTo>
                  <a:moveTo>
                    <a:pt x="646316" y="241797"/>
                  </a:moveTo>
                  <a:cubicBezTo>
                    <a:pt x="644459" y="239965"/>
                    <a:pt x="641471" y="239987"/>
                    <a:pt x="639639" y="241844"/>
                  </a:cubicBezTo>
                  <a:cubicBezTo>
                    <a:pt x="637809" y="243701"/>
                    <a:pt x="637831" y="246690"/>
                    <a:pt x="639686" y="248521"/>
                  </a:cubicBezTo>
                  <a:cubicBezTo>
                    <a:pt x="641525" y="250334"/>
                    <a:pt x="644478" y="250334"/>
                    <a:pt x="646316" y="248521"/>
                  </a:cubicBezTo>
                  <a:cubicBezTo>
                    <a:pt x="648174" y="246690"/>
                    <a:pt x="648195" y="243701"/>
                    <a:pt x="646364" y="241844"/>
                  </a:cubicBezTo>
                  <a:cubicBezTo>
                    <a:pt x="646348" y="241828"/>
                    <a:pt x="646332" y="241812"/>
                    <a:pt x="646316" y="241797"/>
                  </a:cubicBezTo>
                  <a:moveTo>
                    <a:pt x="679081" y="211035"/>
                  </a:moveTo>
                  <a:cubicBezTo>
                    <a:pt x="677382" y="209381"/>
                    <a:pt x="674664" y="209419"/>
                    <a:pt x="673011" y="211118"/>
                  </a:cubicBezTo>
                  <a:cubicBezTo>
                    <a:pt x="671357" y="212817"/>
                    <a:pt x="671395" y="215534"/>
                    <a:pt x="673094" y="217188"/>
                  </a:cubicBezTo>
                  <a:cubicBezTo>
                    <a:pt x="674760" y="218809"/>
                    <a:pt x="677414" y="218809"/>
                    <a:pt x="679081" y="217188"/>
                  </a:cubicBezTo>
                  <a:cubicBezTo>
                    <a:pt x="680716" y="215518"/>
                    <a:pt x="680716" y="212848"/>
                    <a:pt x="679081" y="211179"/>
                  </a:cubicBezTo>
                  <a:moveTo>
                    <a:pt x="711559" y="180704"/>
                  </a:moveTo>
                  <a:cubicBezTo>
                    <a:pt x="710188" y="179281"/>
                    <a:pt x="707923" y="179240"/>
                    <a:pt x="706501" y="180611"/>
                  </a:cubicBezTo>
                  <a:cubicBezTo>
                    <a:pt x="706469" y="180641"/>
                    <a:pt x="706438" y="180672"/>
                    <a:pt x="706408" y="180704"/>
                  </a:cubicBezTo>
                  <a:cubicBezTo>
                    <a:pt x="704986" y="182074"/>
                    <a:pt x="704944" y="184339"/>
                    <a:pt x="706315" y="185761"/>
                  </a:cubicBezTo>
                  <a:cubicBezTo>
                    <a:pt x="706345" y="185793"/>
                    <a:pt x="706376" y="185824"/>
                    <a:pt x="706408" y="185854"/>
                  </a:cubicBezTo>
                  <a:cubicBezTo>
                    <a:pt x="707779" y="187276"/>
                    <a:pt x="710043" y="187318"/>
                    <a:pt x="711466" y="185947"/>
                  </a:cubicBezTo>
                  <a:cubicBezTo>
                    <a:pt x="711497" y="185917"/>
                    <a:pt x="711529" y="185886"/>
                    <a:pt x="711559" y="185854"/>
                  </a:cubicBezTo>
                  <a:cubicBezTo>
                    <a:pt x="712958" y="184368"/>
                    <a:pt x="712958" y="182048"/>
                    <a:pt x="711559" y="180560"/>
                  </a:cubicBezTo>
                  <a:moveTo>
                    <a:pt x="744037" y="150086"/>
                  </a:moveTo>
                  <a:cubicBezTo>
                    <a:pt x="742809" y="148867"/>
                    <a:pt x="740829" y="148867"/>
                    <a:pt x="739601" y="150086"/>
                  </a:cubicBezTo>
                  <a:cubicBezTo>
                    <a:pt x="738455" y="151342"/>
                    <a:pt x="738455" y="153265"/>
                    <a:pt x="739601" y="154521"/>
                  </a:cubicBezTo>
                  <a:cubicBezTo>
                    <a:pt x="740829" y="155740"/>
                    <a:pt x="742809" y="155740"/>
                    <a:pt x="744037" y="154521"/>
                  </a:cubicBezTo>
                  <a:cubicBezTo>
                    <a:pt x="745261" y="153402"/>
                    <a:pt x="745347" y="151501"/>
                    <a:pt x="744227" y="150276"/>
                  </a:cubicBezTo>
                  <a:cubicBezTo>
                    <a:pt x="744167" y="150210"/>
                    <a:pt x="744102" y="150146"/>
                    <a:pt x="744037" y="150086"/>
                  </a:cubicBezTo>
                  <a:moveTo>
                    <a:pt x="776658" y="119611"/>
                  </a:moveTo>
                  <a:cubicBezTo>
                    <a:pt x="775630" y="118626"/>
                    <a:pt x="774001" y="118662"/>
                    <a:pt x="773016" y="119689"/>
                  </a:cubicBezTo>
                  <a:cubicBezTo>
                    <a:pt x="772032" y="120717"/>
                    <a:pt x="772068" y="122346"/>
                    <a:pt x="773095" y="123331"/>
                  </a:cubicBezTo>
                  <a:cubicBezTo>
                    <a:pt x="774091" y="124285"/>
                    <a:pt x="775662" y="124285"/>
                    <a:pt x="776658" y="123331"/>
                  </a:cubicBezTo>
                  <a:cubicBezTo>
                    <a:pt x="777573" y="122260"/>
                    <a:pt x="777573" y="120681"/>
                    <a:pt x="776658" y="119611"/>
                  </a:cubicBezTo>
                  <a:moveTo>
                    <a:pt x="354587" y="320917"/>
                  </a:moveTo>
                  <a:cubicBezTo>
                    <a:pt x="351461" y="317806"/>
                    <a:pt x="346410" y="317806"/>
                    <a:pt x="343284" y="320917"/>
                  </a:cubicBezTo>
                  <a:cubicBezTo>
                    <a:pt x="340222" y="324112"/>
                    <a:pt x="340331" y="329184"/>
                    <a:pt x="343526" y="332246"/>
                  </a:cubicBezTo>
                  <a:cubicBezTo>
                    <a:pt x="346456" y="335053"/>
                    <a:pt x="351023" y="335227"/>
                    <a:pt x="354158" y="332649"/>
                  </a:cubicBezTo>
                  <a:cubicBezTo>
                    <a:pt x="357285" y="329474"/>
                    <a:pt x="357285" y="324378"/>
                    <a:pt x="354158" y="321203"/>
                  </a:cubicBezTo>
                  <a:moveTo>
                    <a:pt x="386636" y="290728"/>
                  </a:moveTo>
                  <a:cubicBezTo>
                    <a:pt x="383713" y="287841"/>
                    <a:pt x="379001" y="287871"/>
                    <a:pt x="376114" y="290794"/>
                  </a:cubicBezTo>
                  <a:cubicBezTo>
                    <a:pt x="373227" y="293718"/>
                    <a:pt x="373257" y="298428"/>
                    <a:pt x="376180" y="301316"/>
                  </a:cubicBezTo>
                  <a:cubicBezTo>
                    <a:pt x="379078" y="304177"/>
                    <a:pt x="383738" y="304177"/>
                    <a:pt x="386636" y="301316"/>
                  </a:cubicBezTo>
                  <a:cubicBezTo>
                    <a:pt x="389559" y="298428"/>
                    <a:pt x="389589" y="293718"/>
                    <a:pt x="386702" y="290794"/>
                  </a:cubicBezTo>
                  <a:cubicBezTo>
                    <a:pt x="386680" y="290772"/>
                    <a:pt x="386659" y="290750"/>
                    <a:pt x="386636" y="290728"/>
                  </a:cubicBezTo>
                  <a:moveTo>
                    <a:pt x="419543" y="260110"/>
                  </a:moveTo>
                  <a:cubicBezTo>
                    <a:pt x="416827" y="257493"/>
                    <a:pt x="412529" y="257493"/>
                    <a:pt x="409814" y="260110"/>
                  </a:cubicBezTo>
                  <a:cubicBezTo>
                    <a:pt x="407088" y="262747"/>
                    <a:pt x="407015" y="267095"/>
                    <a:pt x="409652" y="269821"/>
                  </a:cubicBezTo>
                  <a:cubicBezTo>
                    <a:pt x="409705" y="269875"/>
                    <a:pt x="409759" y="269929"/>
                    <a:pt x="409814" y="269982"/>
                  </a:cubicBezTo>
                  <a:cubicBezTo>
                    <a:pt x="412529" y="272599"/>
                    <a:pt x="416827" y="272599"/>
                    <a:pt x="419543" y="269982"/>
                  </a:cubicBezTo>
                  <a:cubicBezTo>
                    <a:pt x="422268" y="267345"/>
                    <a:pt x="422341" y="262997"/>
                    <a:pt x="419705" y="260272"/>
                  </a:cubicBezTo>
                  <a:cubicBezTo>
                    <a:pt x="419652" y="260217"/>
                    <a:pt x="419597" y="260163"/>
                    <a:pt x="419543" y="260110"/>
                  </a:cubicBezTo>
                  <a:moveTo>
                    <a:pt x="452164" y="229635"/>
                  </a:moveTo>
                  <a:cubicBezTo>
                    <a:pt x="449614" y="227156"/>
                    <a:pt x="445538" y="227213"/>
                    <a:pt x="443060" y="229762"/>
                  </a:cubicBezTo>
                  <a:cubicBezTo>
                    <a:pt x="440765" y="232122"/>
                    <a:pt x="440619" y="235830"/>
                    <a:pt x="442721" y="238363"/>
                  </a:cubicBezTo>
                  <a:cubicBezTo>
                    <a:pt x="445273" y="240834"/>
                    <a:pt x="449325" y="240834"/>
                    <a:pt x="451878" y="238363"/>
                  </a:cubicBezTo>
                  <a:cubicBezTo>
                    <a:pt x="454367" y="235935"/>
                    <a:pt x="454417" y="231950"/>
                    <a:pt x="451989" y="229461"/>
                  </a:cubicBezTo>
                  <a:cubicBezTo>
                    <a:pt x="451952" y="229423"/>
                    <a:pt x="451915" y="229386"/>
                    <a:pt x="451878" y="229349"/>
                  </a:cubicBezTo>
                  <a:moveTo>
                    <a:pt x="484356" y="198874"/>
                  </a:moveTo>
                  <a:cubicBezTo>
                    <a:pt x="482144" y="196503"/>
                    <a:pt x="478428" y="196376"/>
                    <a:pt x="476057" y="198588"/>
                  </a:cubicBezTo>
                  <a:cubicBezTo>
                    <a:pt x="473687" y="200800"/>
                    <a:pt x="473559" y="204515"/>
                    <a:pt x="475771" y="206886"/>
                  </a:cubicBezTo>
                  <a:cubicBezTo>
                    <a:pt x="477983" y="209257"/>
                    <a:pt x="481699" y="209384"/>
                    <a:pt x="484070" y="207172"/>
                  </a:cubicBezTo>
                  <a:cubicBezTo>
                    <a:pt x="486440" y="204960"/>
                    <a:pt x="486568" y="201245"/>
                    <a:pt x="484356" y="198874"/>
                  </a:cubicBezTo>
                  <a:moveTo>
                    <a:pt x="516834" y="168399"/>
                  </a:moveTo>
                  <a:cubicBezTo>
                    <a:pt x="514772" y="166363"/>
                    <a:pt x="511456" y="166363"/>
                    <a:pt x="509394" y="168399"/>
                  </a:cubicBezTo>
                  <a:cubicBezTo>
                    <a:pt x="507205" y="170454"/>
                    <a:pt x="507095" y="173895"/>
                    <a:pt x="509149" y="176084"/>
                  </a:cubicBezTo>
                  <a:cubicBezTo>
                    <a:pt x="511204" y="178274"/>
                    <a:pt x="514645" y="178383"/>
                    <a:pt x="516834" y="176330"/>
                  </a:cubicBezTo>
                  <a:cubicBezTo>
                    <a:pt x="519024" y="174275"/>
                    <a:pt x="519133" y="170834"/>
                    <a:pt x="517078" y="168644"/>
                  </a:cubicBezTo>
                  <a:cubicBezTo>
                    <a:pt x="517000" y="168559"/>
                    <a:pt x="516918" y="168478"/>
                    <a:pt x="516834" y="168399"/>
                  </a:cubicBezTo>
                  <a:moveTo>
                    <a:pt x="550313" y="138067"/>
                  </a:moveTo>
                  <a:cubicBezTo>
                    <a:pt x="548415" y="136176"/>
                    <a:pt x="545344" y="136176"/>
                    <a:pt x="543446" y="138067"/>
                  </a:cubicBezTo>
                  <a:cubicBezTo>
                    <a:pt x="541550" y="139884"/>
                    <a:pt x="541486" y="142896"/>
                    <a:pt x="543303" y="144792"/>
                  </a:cubicBezTo>
                  <a:cubicBezTo>
                    <a:pt x="545120" y="146689"/>
                    <a:pt x="548130" y="146752"/>
                    <a:pt x="550027" y="144935"/>
                  </a:cubicBezTo>
                  <a:cubicBezTo>
                    <a:pt x="551826" y="143055"/>
                    <a:pt x="551826" y="140090"/>
                    <a:pt x="550027" y="138210"/>
                  </a:cubicBezTo>
                  <a:moveTo>
                    <a:pt x="582505" y="107735"/>
                  </a:moveTo>
                  <a:cubicBezTo>
                    <a:pt x="580835" y="106100"/>
                    <a:pt x="578166" y="106100"/>
                    <a:pt x="576496" y="107735"/>
                  </a:cubicBezTo>
                  <a:cubicBezTo>
                    <a:pt x="574798" y="109316"/>
                    <a:pt x="574700" y="111975"/>
                    <a:pt x="576281" y="113673"/>
                  </a:cubicBezTo>
                  <a:cubicBezTo>
                    <a:pt x="577862" y="115371"/>
                    <a:pt x="580521" y="115469"/>
                    <a:pt x="582219" y="113888"/>
                  </a:cubicBezTo>
                  <a:cubicBezTo>
                    <a:pt x="583854" y="112218"/>
                    <a:pt x="583854" y="109548"/>
                    <a:pt x="582219" y="107878"/>
                  </a:cubicBezTo>
                  <a:moveTo>
                    <a:pt x="614697" y="77404"/>
                  </a:moveTo>
                  <a:cubicBezTo>
                    <a:pt x="613326" y="75981"/>
                    <a:pt x="611061" y="75940"/>
                    <a:pt x="609639" y="77311"/>
                  </a:cubicBezTo>
                  <a:cubicBezTo>
                    <a:pt x="609608" y="77341"/>
                    <a:pt x="609576" y="77372"/>
                    <a:pt x="609546" y="77404"/>
                  </a:cubicBezTo>
                  <a:cubicBezTo>
                    <a:pt x="608084" y="78786"/>
                    <a:pt x="608020" y="81092"/>
                    <a:pt x="609403" y="82554"/>
                  </a:cubicBezTo>
                  <a:cubicBezTo>
                    <a:pt x="610785" y="84016"/>
                    <a:pt x="613092" y="84079"/>
                    <a:pt x="614554" y="82697"/>
                  </a:cubicBezTo>
                  <a:cubicBezTo>
                    <a:pt x="615976" y="81327"/>
                    <a:pt x="616018" y="79062"/>
                    <a:pt x="614647" y="77640"/>
                  </a:cubicBezTo>
                  <a:cubicBezTo>
                    <a:pt x="614617" y="77608"/>
                    <a:pt x="614585" y="77577"/>
                    <a:pt x="614554" y="77547"/>
                  </a:cubicBezTo>
                  <a:moveTo>
                    <a:pt x="647032" y="47072"/>
                  </a:moveTo>
                  <a:cubicBezTo>
                    <a:pt x="645804" y="45853"/>
                    <a:pt x="643824" y="45853"/>
                    <a:pt x="642596" y="47072"/>
                  </a:cubicBezTo>
                  <a:cubicBezTo>
                    <a:pt x="641451" y="48328"/>
                    <a:pt x="641451" y="50251"/>
                    <a:pt x="642596" y="51507"/>
                  </a:cubicBezTo>
                  <a:cubicBezTo>
                    <a:pt x="643824" y="52726"/>
                    <a:pt x="645804" y="52726"/>
                    <a:pt x="647032" y="51507"/>
                  </a:cubicBezTo>
                  <a:cubicBezTo>
                    <a:pt x="648257" y="50387"/>
                    <a:pt x="648342" y="48487"/>
                    <a:pt x="647222" y="47262"/>
                  </a:cubicBezTo>
                  <a:cubicBezTo>
                    <a:pt x="647162" y="47196"/>
                    <a:pt x="647098" y="47132"/>
                    <a:pt x="647032" y="47072"/>
                  </a:cubicBezTo>
                  <a:moveTo>
                    <a:pt x="679796" y="16883"/>
                  </a:moveTo>
                  <a:cubicBezTo>
                    <a:pt x="678809" y="15860"/>
                    <a:pt x="677178" y="15830"/>
                    <a:pt x="676155" y="16819"/>
                  </a:cubicBezTo>
                  <a:cubicBezTo>
                    <a:pt x="675132" y="17806"/>
                    <a:pt x="675102" y="19437"/>
                    <a:pt x="676090" y="20460"/>
                  </a:cubicBezTo>
                  <a:cubicBezTo>
                    <a:pt x="677078" y="21483"/>
                    <a:pt x="678709" y="21513"/>
                    <a:pt x="679732" y="20524"/>
                  </a:cubicBezTo>
                  <a:cubicBezTo>
                    <a:pt x="679753" y="20503"/>
                    <a:pt x="679775" y="20481"/>
                    <a:pt x="679796" y="20460"/>
                  </a:cubicBezTo>
                  <a:cubicBezTo>
                    <a:pt x="680759" y="19463"/>
                    <a:pt x="680759" y="17880"/>
                    <a:pt x="679796" y="16883"/>
                  </a:cubicBezTo>
                  <a:moveTo>
                    <a:pt x="373902" y="341663"/>
                  </a:moveTo>
                  <a:cubicBezTo>
                    <a:pt x="370776" y="338552"/>
                    <a:pt x="365725" y="338552"/>
                    <a:pt x="362599" y="341663"/>
                  </a:cubicBezTo>
                  <a:cubicBezTo>
                    <a:pt x="359360" y="344704"/>
                    <a:pt x="359200" y="349798"/>
                    <a:pt x="362241" y="353037"/>
                  </a:cubicBezTo>
                  <a:cubicBezTo>
                    <a:pt x="365283" y="356276"/>
                    <a:pt x="370377" y="356437"/>
                    <a:pt x="373616" y="353395"/>
                  </a:cubicBezTo>
                  <a:cubicBezTo>
                    <a:pt x="376726" y="350269"/>
                    <a:pt x="376726" y="345218"/>
                    <a:pt x="373616" y="342092"/>
                  </a:cubicBezTo>
                  <a:moveTo>
                    <a:pt x="407238" y="311188"/>
                  </a:moveTo>
                  <a:cubicBezTo>
                    <a:pt x="404433" y="308146"/>
                    <a:pt x="399693" y="307953"/>
                    <a:pt x="396651" y="310759"/>
                  </a:cubicBezTo>
                  <a:cubicBezTo>
                    <a:pt x="393609" y="313564"/>
                    <a:pt x="393416" y="318304"/>
                    <a:pt x="396222" y="321346"/>
                  </a:cubicBezTo>
                  <a:cubicBezTo>
                    <a:pt x="398996" y="324269"/>
                    <a:pt x="403614" y="324392"/>
                    <a:pt x="406537" y="321618"/>
                  </a:cubicBezTo>
                  <a:cubicBezTo>
                    <a:pt x="406630" y="321529"/>
                    <a:pt x="406721" y="321439"/>
                    <a:pt x="406809" y="321346"/>
                  </a:cubicBezTo>
                  <a:cubicBezTo>
                    <a:pt x="409681" y="318402"/>
                    <a:pt x="409681" y="313703"/>
                    <a:pt x="406809" y="310759"/>
                  </a:cubicBezTo>
                  <a:moveTo>
                    <a:pt x="439287" y="280284"/>
                  </a:moveTo>
                  <a:cubicBezTo>
                    <a:pt x="436650" y="277558"/>
                    <a:pt x="432302" y="277485"/>
                    <a:pt x="429577" y="280122"/>
                  </a:cubicBezTo>
                  <a:cubicBezTo>
                    <a:pt x="429521" y="280175"/>
                    <a:pt x="429468" y="280229"/>
                    <a:pt x="429415" y="280284"/>
                  </a:cubicBezTo>
                  <a:cubicBezTo>
                    <a:pt x="426798" y="282999"/>
                    <a:pt x="426798" y="287297"/>
                    <a:pt x="429415" y="290013"/>
                  </a:cubicBezTo>
                  <a:cubicBezTo>
                    <a:pt x="432052" y="292738"/>
                    <a:pt x="436400" y="292811"/>
                    <a:pt x="439126" y="290174"/>
                  </a:cubicBezTo>
                  <a:cubicBezTo>
                    <a:pt x="439181" y="290121"/>
                    <a:pt x="439234" y="290067"/>
                    <a:pt x="439287" y="290013"/>
                  </a:cubicBezTo>
                  <a:cubicBezTo>
                    <a:pt x="441904" y="287297"/>
                    <a:pt x="441904" y="282999"/>
                    <a:pt x="439287" y="280284"/>
                  </a:cubicBezTo>
                  <a:moveTo>
                    <a:pt x="471765" y="249809"/>
                  </a:moveTo>
                  <a:cubicBezTo>
                    <a:pt x="469276" y="247269"/>
                    <a:pt x="465200" y="247229"/>
                    <a:pt x="462660" y="249717"/>
                  </a:cubicBezTo>
                  <a:cubicBezTo>
                    <a:pt x="460122" y="252207"/>
                    <a:pt x="460080" y="256283"/>
                    <a:pt x="462570" y="258822"/>
                  </a:cubicBezTo>
                  <a:cubicBezTo>
                    <a:pt x="465058" y="261362"/>
                    <a:pt x="469134" y="261402"/>
                    <a:pt x="471674" y="258914"/>
                  </a:cubicBezTo>
                  <a:cubicBezTo>
                    <a:pt x="471705" y="258884"/>
                    <a:pt x="471735" y="258852"/>
                    <a:pt x="471765" y="258822"/>
                  </a:cubicBezTo>
                  <a:cubicBezTo>
                    <a:pt x="474255" y="256394"/>
                    <a:pt x="474305" y="252410"/>
                    <a:pt x="471877" y="249920"/>
                  </a:cubicBezTo>
                  <a:cubicBezTo>
                    <a:pt x="471840" y="249883"/>
                    <a:pt x="471802" y="249846"/>
                    <a:pt x="471765" y="249809"/>
                  </a:cubicBezTo>
                  <a:moveTo>
                    <a:pt x="504386" y="219334"/>
                  </a:moveTo>
                  <a:cubicBezTo>
                    <a:pt x="502174" y="216963"/>
                    <a:pt x="498459" y="216836"/>
                    <a:pt x="496088" y="219048"/>
                  </a:cubicBezTo>
                  <a:cubicBezTo>
                    <a:pt x="493717" y="221260"/>
                    <a:pt x="493590" y="224975"/>
                    <a:pt x="495802" y="227346"/>
                  </a:cubicBezTo>
                  <a:cubicBezTo>
                    <a:pt x="498014" y="229717"/>
                    <a:pt x="501729" y="229844"/>
                    <a:pt x="504100" y="227632"/>
                  </a:cubicBezTo>
                  <a:cubicBezTo>
                    <a:pt x="506471" y="225420"/>
                    <a:pt x="506598" y="221704"/>
                    <a:pt x="504386" y="219334"/>
                  </a:cubicBezTo>
                  <a:moveTo>
                    <a:pt x="536006" y="189288"/>
                  </a:moveTo>
                  <a:cubicBezTo>
                    <a:pt x="533951" y="187208"/>
                    <a:pt x="530599" y="187188"/>
                    <a:pt x="528520" y="189241"/>
                  </a:cubicBezTo>
                  <a:cubicBezTo>
                    <a:pt x="526440" y="191295"/>
                    <a:pt x="526418" y="194648"/>
                    <a:pt x="528473" y="196728"/>
                  </a:cubicBezTo>
                  <a:cubicBezTo>
                    <a:pt x="530528" y="198808"/>
                    <a:pt x="533880" y="198828"/>
                    <a:pt x="535959" y="196774"/>
                  </a:cubicBezTo>
                  <a:cubicBezTo>
                    <a:pt x="535974" y="196759"/>
                    <a:pt x="535990" y="196744"/>
                    <a:pt x="536006" y="196728"/>
                  </a:cubicBezTo>
                  <a:cubicBezTo>
                    <a:pt x="538042" y="194666"/>
                    <a:pt x="538042" y="191350"/>
                    <a:pt x="536006" y="189288"/>
                  </a:cubicBezTo>
                  <a:moveTo>
                    <a:pt x="568484" y="158813"/>
                  </a:moveTo>
                  <a:cubicBezTo>
                    <a:pt x="566627" y="156982"/>
                    <a:pt x="563638" y="157003"/>
                    <a:pt x="561806" y="158860"/>
                  </a:cubicBezTo>
                  <a:cubicBezTo>
                    <a:pt x="559977" y="160717"/>
                    <a:pt x="559997" y="163706"/>
                    <a:pt x="561854" y="165538"/>
                  </a:cubicBezTo>
                  <a:cubicBezTo>
                    <a:pt x="563692" y="167350"/>
                    <a:pt x="566645" y="167350"/>
                    <a:pt x="568484" y="165538"/>
                  </a:cubicBezTo>
                  <a:cubicBezTo>
                    <a:pt x="570341" y="163706"/>
                    <a:pt x="570362" y="160717"/>
                    <a:pt x="568531" y="158860"/>
                  </a:cubicBezTo>
                  <a:cubicBezTo>
                    <a:pt x="568515" y="158845"/>
                    <a:pt x="568500" y="158829"/>
                    <a:pt x="568484" y="158813"/>
                  </a:cubicBezTo>
                  <a:moveTo>
                    <a:pt x="600962" y="128338"/>
                  </a:moveTo>
                  <a:cubicBezTo>
                    <a:pt x="599342" y="126719"/>
                    <a:pt x="596715" y="126719"/>
                    <a:pt x="595096" y="128338"/>
                  </a:cubicBezTo>
                  <a:cubicBezTo>
                    <a:pt x="593460" y="130008"/>
                    <a:pt x="593460" y="132678"/>
                    <a:pt x="595096" y="134347"/>
                  </a:cubicBezTo>
                  <a:cubicBezTo>
                    <a:pt x="596677" y="136007"/>
                    <a:pt x="599302" y="136071"/>
                    <a:pt x="600962" y="134490"/>
                  </a:cubicBezTo>
                  <a:cubicBezTo>
                    <a:pt x="601010" y="134443"/>
                    <a:pt x="601059" y="134396"/>
                    <a:pt x="601105" y="134347"/>
                  </a:cubicBezTo>
                  <a:cubicBezTo>
                    <a:pt x="602724" y="132841"/>
                    <a:pt x="602816" y="130305"/>
                    <a:pt x="601309" y="128686"/>
                  </a:cubicBezTo>
                  <a:cubicBezTo>
                    <a:pt x="601244" y="128614"/>
                    <a:pt x="601175" y="128547"/>
                    <a:pt x="601105" y="128481"/>
                  </a:cubicBezTo>
                  <a:moveTo>
                    <a:pt x="633726" y="98006"/>
                  </a:moveTo>
                  <a:cubicBezTo>
                    <a:pt x="632304" y="96524"/>
                    <a:pt x="629949" y="96475"/>
                    <a:pt x="628466" y="97898"/>
                  </a:cubicBezTo>
                  <a:cubicBezTo>
                    <a:pt x="626984" y="99320"/>
                    <a:pt x="626936" y="101675"/>
                    <a:pt x="628358" y="103157"/>
                  </a:cubicBezTo>
                  <a:cubicBezTo>
                    <a:pt x="629780" y="104639"/>
                    <a:pt x="632135" y="104688"/>
                    <a:pt x="633617" y="103266"/>
                  </a:cubicBezTo>
                  <a:cubicBezTo>
                    <a:pt x="633654" y="103230"/>
                    <a:pt x="633690" y="103194"/>
                    <a:pt x="633726" y="103157"/>
                  </a:cubicBezTo>
                  <a:cubicBezTo>
                    <a:pt x="635107" y="101718"/>
                    <a:pt x="635107" y="99446"/>
                    <a:pt x="633726" y="98006"/>
                  </a:cubicBezTo>
                  <a:moveTo>
                    <a:pt x="666204" y="67531"/>
                  </a:moveTo>
                  <a:cubicBezTo>
                    <a:pt x="665084" y="66307"/>
                    <a:pt x="663184" y="66221"/>
                    <a:pt x="661959" y="67341"/>
                  </a:cubicBezTo>
                  <a:cubicBezTo>
                    <a:pt x="661893" y="67401"/>
                    <a:pt x="661829" y="67466"/>
                    <a:pt x="661769" y="67531"/>
                  </a:cubicBezTo>
                  <a:cubicBezTo>
                    <a:pt x="660550" y="68759"/>
                    <a:pt x="660550" y="70739"/>
                    <a:pt x="661769" y="71967"/>
                  </a:cubicBezTo>
                  <a:cubicBezTo>
                    <a:pt x="663025" y="73113"/>
                    <a:pt x="664948" y="73113"/>
                    <a:pt x="666204" y="71967"/>
                  </a:cubicBezTo>
                  <a:cubicBezTo>
                    <a:pt x="667423" y="70739"/>
                    <a:pt x="667423" y="68759"/>
                    <a:pt x="666204" y="67531"/>
                  </a:cubicBezTo>
                  <a:moveTo>
                    <a:pt x="699111" y="36913"/>
                  </a:moveTo>
                  <a:cubicBezTo>
                    <a:pt x="698124" y="35890"/>
                    <a:pt x="696493" y="35860"/>
                    <a:pt x="695470" y="36849"/>
                  </a:cubicBezTo>
                  <a:cubicBezTo>
                    <a:pt x="694447" y="37836"/>
                    <a:pt x="694417" y="39467"/>
                    <a:pt x="695405" y="40490"/>
                  </a:cubicBezTo>
                  <a:cubicBezTo>
                    <a:pt x="696393" y="41513"/>
                    <a:pt x="698024" y="41543"/>
                    <a:pt x="699047" y="40555"/>
                  </a:cubicBezTo>
                  <a:cubicBezTo>
                    <a:pt x="699068" y="40533"/>
                    <a:pt x="699090" y="40512"/>
                    <a:pt x="699111" y="40490"/>
                  </a:cubicBezTo>
                  <a:cubicBezTo>
                    <a:pt x="700098" y="39580"/>
                    <a:pt x="700161" y="38041"/>
                    <a:pt x="699251" y="37054"/>
                  </a:cubicBezTo>
                  <a:cubicBezTo>
                    <a:pt x="699207" y="37005"/>
                    <a:pt x="699160" y="36958"/>
                    <a:pt x="699111" y="36913"/>
                  </a:cubicBezTo>
                  <a:moveTo>
                    <a:pt x="392931" y="362409"/>
                  </a:moveTo>
                  <a:cubicBezTo>
                    <a:pt x="389809" y="359272"/>
                    <a:pt x="384737" y="359259"/>
                    <a:pt x="381599" y="362380"/>
                  </a:cubicBezTo>
                  <a:cubicBezTo>
                    <a:pt x="378463" y="365502"/>
                    <a:pt x="378450" y="370575"/>
                    <a:pt x="381572" y="373711"/>
                  </a:cubicBezTo>
                  <a:cubicBezTo>
                    <a:pt x="384693" y="376848"/>
                    <a:pt x="389766" y="376861"/>
                    <a:pt x="392902" y="373740"/>
                  </a:cubicBezTo>
                  <a:cubicBezTo>
                    <a:pt x="392912" y="373730"/>
                    <a:pt x="392921" y="373721"/>
                    <a:pt x="392931" y="373711"/>
                  </a:cubicBezTo>
                  <a:cubicBezTo>
                    <a:pt x="396041" y="370585"/>
                    <a:pt x="396041" y="365535"/>
                    <a:pt x="392931" y="362409"/>
                  </a:cubicBezTo>
                  <a:moveTo>
                    <a:pt x="425838" y="331647"/>
                  </a:moveTo>
                  <a:cubicBezTo>
                    <a:pt x="423032" y="328644"/>
                    <a:pt x="418325" y="328484"/>
                    <a:pt x="415322" y="331290"/>
                  </a:cubicBezTo>
                  <a:cubicBezTo>
                    <a:pt x="412319" y="334095"/>
                    <a:pt x="412159" y="338803"/>
                    <a:pt x="414965" y="341806"/>
                  </a:cubicBezTo>
                  <a:cubicBezTo>
                    <a:pt x="417909" y="344677"/>
                    <a:pt x="422608" y="344677"/>
                    <a:pt x="425552" y="341806"/>
                  </a:cubicBezTo>
                  <a:cubicBezTo>
                    <a:pt x="428475" y="338919"/>
                    <a:pt x="428505" y="334209"/>
                    <a:pt x="425618" y="331284"/>
                  </a:cubicBezTo>
                  <a:cubicBezTo>
                    <a:pt x="425596" y="331263"/>
                    <a:pt x="425574" y="331240"/>
                    <a:pt x="425552" y="331218"/>
                  </a:cubicBezTo>
                  <a:moveTo>
                    <a:pt x="458173" y="300743"/>
                  </a:moveTo>
                  <a:cubicBezTo>
                    <a:pt x="455486" y="298066"/>
                    <a:pt x="451138" y="298074"/>
                    <a:pt x="448461" y="300761"/>
                  </a:cubicBezTo>
                  <a:cubicBezTo>
                    <a:pt x="445784" y="303447"/>
                    <a:pt x="445791" y="307795"/>
                    <a:pt x="448478" y="310472"/>
                  </a:cubicBezTo>
                  <a:cubicBezTo>
                    <a:pt x="451158" y="313144"/>
                    <a:pt x="455493" y="313144"/>
                    <a:pt x="458173" y="310472"/>
                  </a:cubicBezTo>
                  <a:cubicBezTo>
                    <a:pt x="460860" y="307795"/>
                    <a:pt x="460867" y="303447"/>
                    <a:pt x="458190" y="300761"/>
                  </a:cubicBezTo>
                  <a:cubicBezTo>
                    <a:pt x="458185" y="300755"/>
                    <a:pt x="458179" y="300749"/>
                    <a:pt x="458173" y="300743"/>
                  </a:cubicBezTo>
                  <a:moveTo>
                    <a:pt x="490651" y="270268"/>
                  </a:moveTo>
                  <a:cubicBezTo>
                    <a:pt x="488598" y="267365"/>
                    <a:pt x="484580" y="266674"/>
                    <a:pt x="481677" y="268727"/>
                  </a:cubicBezTo>
                  <a:cubicBezTo>
                    <a:pt x="478773" y="270781"/>
                    <a:pt x="478083" y="274798"/>
                    <a:pt x="480137" y="277701"/>
                  </a:cubicBezTo>
                  <a:cubicBezTo>
                    <a:pt x="480480" y="278188"/>
                    <a:pt x="480889" y="278623"/>
                    <a:pt x="481351" y="278996"/>
                  </a:cubicBezTo>
                  <a:cubicBezTo>
                    <a:pt x="484118" y="281228"/>
                    <a:pt x="488173" y="280794"/>
                    <a:pt x="490405" y="278027"/>
                  </a:cubicBezTo>
                  <a:cubicBezTo>
                    <a:pt x="492212" y="275787"/>
                    <a:pt x="492312" y="272619"/>
                    <a:pt x="490651" y="270268"/>
                  </a:cubicBezTo>
                  <a:moveTo>
                    <a:pt x="523129" y="239650"/>
                  </a:moveTo>
                  <a:cubicBezTo>
                    <a:pt x="520917" y="237280"/>
                    <a:pt x="517201" y="237152"/>
                    <a:pt x="514831" y="239364"/>
                  </a:cubicBezTo>
                  <a:cubicBezTo>
                    <a:pt x="512460" y="241576"/>
                    <a:pt x="512333" y="245292"/>
                    <a:pt x="514545" y="247663"/>
                  </a:cubicBezTo>
                  <a:cubicBezTo>
                    <a:pt x="516757" y="250033"/>
                    <a:pt x="520472" y="250161"/>
                    <a:pt x="522843" y="247949"/>
                  </a:cubicBezTo>
                  <a:cubicBezTo>
                    <a:pt x="525214" y="245737"/>
                    <a:pt x="525341" y="242021"/>
                    <a:pt x="523129" y="239650"/>
                  </a:cubicBezTo>
                  <a:moveTo>
                    <a:pt x="555607" y="209175"/>
                  </a:moveTo>
                  <a:cubicBezTo>
                    <a:pt x="553593" y="207042"/>
                    <a:pt x="550229" y="206946"/>
                    <a:pt x="548096" y="208961"/>
                  </a:cubicBezTo>
                  <a:cubicBezTo>
                    <a:pt x="545962" y="210975"/>
                    <a:pt x="545867" y="214339"/>
                    <a:pt x="547881" y="216472"/>
                  </a:cubicBezTo>
                  <a:cubicBezTo>
                    <a:pt x="549896" y="218605"/>
                    <a:pt x="553259" y="218701"/>
                    <a:pt x="555392" y="216687"/>
                  </a:cubicBezTo>
                  <a:cubicBezTo>
                    <a:pt x="557526" y="214672"/>
                    <a:pt x="557622" y="211309"/>
                    <a:pt x="555607" y="209175"/>
                  </a:cubicBezTo>
                  <a:moveTo>
                    <a:pt x="588228" y="178701"/>
                  </a:moveTo>
                  <a:cubicBezTo>
                    <a:pt x="586371" y="176759"/>
                    <a:pt x="583292" y="176690"/>
                    <a:pt x="581350" y="178547"/>
                  </a:cubicBezTo>
                  <a:cubicBezTo>
                    <a:pt x="579409" y="180405"/>
                    <a:pt x="579340" y="183483"/>
                    <a:pt x="581197" y="185425"/>
                  </a:cubicBezTo>
                  <a:cubicBezTo>
                    <a:pt x="583054" y="187367"/>
                    <a:pt x="586133" y="187435"/>
                    <a:pt x="588075" y="185578"/>
                  </a:cubicBezTo>
                  <a:cubicBezTo>
                    <a:pt x="588126" y="185528"/>
                    <a:pt x="588178" y="185477"/>
                    <a:pt x="588228" y="185425"/>
                  </a:cubicBezTo>
                  <a:cubicBezTo>
                    <a:pt x="590085" y="183595"/>
                    <a:pt x="590107" y="180605"/>
                    <a:pt x="588275" y="178748"/>
                  </a:cubicBezTo>
                  <a:cubicBezTo>
                    <a:pt x="588260" y="178732"/>
                    <a:pt x="588244" y="178716"/>
                    <a:pt x="588228" y="178701"/>
                  </a:cubicBezTo>
                  <a:moveTo>
                    <a:pt x="620706" y="148226"/>
                  </a:moveTo>
                  <a:cubicBezTo>
                    <a:pt x="619046" y="146533"/>
                    <a:pt x="616329" y="146506"/>
                    <a:pt x="614637" y="148165"/>
                  </a:cubicBezTo>
                  <a:cubicBezTo>
                    <a:pt x="612943" y="149824"/>
                    <a:pt x="612916" y="152542"/>
                    <a:pt x="614575" y="154235"/>
                  </a:cubicBezTo>
                  <a:cubicBezTo>
                    <a:pt x="616235" y="155927"/>
                    <a:pt x="618952" y="155954"/>
                    <a:pt x="620646" y="154295"/>
                  </a:cubicBezTo>
                  <a:cubicBezTo>
                    <a:pt x="620666" y="154275"/>
                    <a:pt x="620686" y="154255"/>
                    <a:pt x="620706" y="154235"/>
                  </a:cubicBezTo>
                  <a:cubicBezTo>
                    <a:pt x="622341" y="152565"/>
                    <a:pt x="622341" y="149895"/>
                    <a:pt x="620706" y="148226"/>
                  </a:cubicBezTo>
                  <a:moveTo>
                    <a:pt x="653184" y="117751"/>
                  </a:moveTo>
                  <a:cubicBezTo>
                    <a:pt x="651722" y="116421"/>
                    <a:pt x="649460" y="116530"/>
                    <a:pt x="648132" y="117991"/>
                  </a:cubicBezTo>
                  <a:cubicBezTo>
                    <a:pt x="646803" y="119453"/>
                    <a:pt x="646910" y="121715"/>
                    <a:pt x="648372" y="123044"/>
                  </a:cubicBezTo>
                  <a:cubicBezTo>
                    <a:pt x="649737" y="124285"/>
                    <a:pt x="651821" y="124285"/>
                    <a:pt x="653184" y="123044"/>
                  </a:cubicBezTo>
                  <a:cubicBezTo>
                    <a:pt x="654583" y="121558"/>
                    <a:pt x="654583" y="119239"/>
                    <a:pt x="653184" y="117751"/>
                  </a:cubicBezTo>
                  <a:moveTo>
                    <a:pt x="686091" y="88420"/>
                  </a:moveTo>
                  <a:cubicBezTo>
                    <a:pt x="684864" y="87201"/>
                    <a:pt x="682884" y="87201"/>
                    <a:pt x="681656" y="88420"/>
                  </a:cubicBezTo>
                  <a:cubicBezTo>
                    <a:pt x="680431" y="89541"/>
                    <a:pt x="680345" y="91441"/>
                    <a:pt x="681466" y="92665"/>
                  </a:cubicBezTo>
                  <a:cubicBezTo>
                    <a:pt x="681526" y="92731"/>
                    <a:pt x="681590" y="92796"/>
                    <a:pt x="681656" y="92856"/>
                  </a:cubicBezTo>
                  <a:cubicBezTo>
                    <a:pt x="682884" y="94075"/>
                    <a:pt x="684864" y="94075"/>
                    <a:pt x="686091" y="92856"/>
                  </a:cubicBezTo>
                  <a:cubicBezTo>
                    <a:pt x="687237" y="91599"/>
                    <a:pt x="687237" y="89676"/>
                    <a:pt x="686091" y="88420"/>
                  </a:cubicBezTo>
                  <a:moveTo>
                    <a:pt x="718569" y="57945"/>
                  </a:moveTo>
                  <a:cubicBezTo>
                    <a:pt x="717523" y="56964"/>
                    <a:pt x="715895" y="56964"/>
                    <a:pt x="714849" y="57945"/>
                  </a:cubicBezTo>
                  <a:cubicBezTo>
                    <a:pt x="713934" y="59016"/>
                    <a:pt x="713934" y="60595"/>
                    <a:pt x="714849" y="61665"/>
                  </a:cubicBezTo>
                  <a:cubicBezTo>
                    <a:pt x="715837" y="62733"/>
                    <a:pt x="717502" y="62796"/>
                    <a:pt x="718569" y="61808"/>
                  </a:cubicBezTo>
                  <a:cubicBezTo>
                    <a:pt x="719637" y="60821"/>
                    <a:pt x="719699" y="59156"/>
                    <a:pt x="718712" y="58088"/>
                  </a:cubicBezTo>
                  <a:moveTo>
                    <a:pt x="367750" y="425218"/>
                  </a:moveTo>
                  <a:cubicBezTo>
                    <a:pt x="370872" y="428355"/>
                    <a:pt x="375944" y="428367"/>
                    <a:pt x="379081" y="425247"/>
                  </a:cubicBezTo>
                  <a:cubicBezTo>
                    <a:pt x="382218" y="422125"/>
                    <a:pt x="382230" y="417052"/>
                    <a:pt x="379109" y="413915"/>
                  </a:cubicBezTo>
                  <a:cubicBezTo>
                    <a:pt x="375988" y="410779"/>
                    <a:pt x="370915" y="410766"/>
                    <a:pt x="367778" y="413887"/>
                  </a:cubicBezTo>
                  <a:cubicBezTo>
                    <a:pt x="367768" y="413897"/>
                    <a:pt x="367760" y="413905"/>
                    <a:pt x="367750" y="413915"/>
                  </a:cubicBezTo>
                  <a:cubicBezTo>
                    <a:pt x="364639" y="417042"/>
                    <a:pt x="364639" y="422092"/>
                    <a:pt x="367750" y="425218"/>
                  </a:cubicBezTo>
                  <a:moveTo>
                    <a:pt x="335701" y="455693"/>
                  </a:moveTo>
                  <a:cubicBezTo>
                    <a:pt x="338507" y="458696"/>
                    <a:pt x="343214" y="458857"/>
                    <a:pt x="346217" y="456051"/>
                  </a:cubicBezTo>
                  <a:cubicBezTo>
                    <a:pt x="349220" y="453245"/>
                    <a:pt x="349380" y="448538"/>
                    <a:pt x="346575" y="445535"/>
                  </a:cubicBezTo>
                  <a:cubicBezTo>
                    <a:pt x="343630" y="442663"/>
                    <a:pt x="338932" y="442663"/>
                    <a:pt x="335987" y="445535"/>
                  </a:cubicBezTo>
                  <a:cubicBezTo>
                    <a:pt x="333064" y="448422"/>
                    <a:pt x="333034" y="453132"/>
                    <a:pt x="335921" y="456057"/>
                  </a:cubicBezTo>
                  <a:cubicBezTo>
                    <a:pt x="335943" y="456078"/>
                    <a:pt x="335964" y="456101"/>
                    <a:pt x="335987" y="456123"/>
                  </a:cubicBezTo>
                  <a:moveTo>
                    <a:pt x="302651" y="486168"/>
                  </a:moveTo>
                  <a:cubicBezTo>
                    <a:pt x="305384" y="488878"/>
                    <a:pt x="309790" y="488878"/>
                    <a:pt x="312523" y="486168"/>
                  </a:cubicBezTo>
                  <a:cubicBezTo>
                    <a:pt x="315157" y="483404"/>
                    <a:pt x="315157" y="479060"/>
                    <a:pt x="312523" y="476296"/>
                  </a:cubicBezTo>
                  <a:cubicBezTo>
                    <a:pt x="309807" y="473679"/>
                    <a:pt x="305509" y="473679"/>
                    <a:pt x="302794" y="476296"/>
                  </a:cubicBezTo>
                  <a:cubicBezTo>
                    <a:pt x="300107" y="478973"/>
                    <a:pt x="300100" y="483321"/>
                    <a:pt x="302777" y="486008"/>
                  </a:cubicBezTo>
                  <a:cubicBezTo>
                    <a:pt x="302782" y="486014"/>
                    <a:pt x="302788" y="486019"/>
                    <a:pt x="302794" y="486025"/>
                  </a:cubicBezTo>
                  <a:moveTo>
                    <a:pt x="270316" y="516500"/>
                  </a:moveTo>
                  <a:cubicBezTo>
                    <a:pt x="272369" y="519403"/>
                    <a:pt x="276387" y="520094"/>
                    <a:pt x="279290" y="518041"/>
                  </a:cubicBezTo>
                  <a:cubicBezTo>
                    <a:pt x="282194" y="515988"/>
                    <a:pt x="282884" y="511970"/>
                    <a:pt x="280830" y="509067"/>
                  </a:cubicBezTo>
                  <a:cubicBezTo>
                    <a:pt x="280487" y="508581"/>
                    <a:pt x="280079" y="508146"/>
                    <a:pt x="279616" y="507773"/>
                  </a:cubicBezTo>
                  <a:cubicBezTo>
                    <a:pt x="277563" y="504870"/>
                    <a:pt x="273545" y="504179"/>
                    <a:pt x="270642" y="506232"/>
                  </a:cubicBezTo>
                  <a:cubicBezTo>
                    <a:pt x="267738" y="508285"/>
                    <a:pt x="267048" y="512302"/>
                    <a:pt x="269101" y="515205"/>
                  </a:cubicBezTo>
                  <a:cubicBezTo>
                    <a:pt x="269445" y="515690"/>
                    <a:pt x="269852" y="516127"/>
                    <a:pt x="270316" y="516500"/>
                  </a:cubicBezTo>
                  <a:moveTo>
                    <a:pt x="237838" y="547118"/>
                  </a:moveTo>
                  <a:cubicBezTo>
                    <a:pt x="240050" y="549489"/>
                    <a:pt x="243765" y="549616"/>
                    <a:pt x="246136" y="547404"/>
                  </a:cubicBezTo>
                  <a:cubicBezTo>
                    <a:pt x="248507" y="545192"/>
                    <a:pt x="248634" y="541477"/>
                    <a:pt x="246422" y="539106"/>
                  </a:cubicBezTo>
                  <a:cubicBezTo>
                    <a:pt x="244210" y="536735"/>
                    <a:pt x="240495" y="536608"/>
                    <a:pt x="238124" y="538820"/>
                  </a:cubicBezTo>
                  <a:cubicBezTo>
                    <a:pt x="235753" y="541032"/>
                    <a:pt x="235626" y="544747"/>
                    <a:pt x="237838" y="547118"/>
                  </a:cubicBezTo>
                  <a:moveTo>
                    <a:pt x="205217" y="577736"/>
                  </a:moveTo>
                  <a:cubicBezTo>
                    <a:pt x="207231" y="579869"/>
                    <a:pt x="210595" y="579965"/>
                    <a:pt x="212728" y="577951"/>
                  </a:cubicBezTo>
                  <a:cubicBezTo>
                    <a:pt x="214862" y="575936"/>
                    <a:pt x="214957" y="572573"/>
                    <a:pt x="212943" y="570439"/>
                  </a:cubicBezTo>
                  <a:cubicBezTo>
                    <a:pt x="210928" y="568306"/>
                    <a:pt x="207565" y="568210"/>
                    <a:pt x="205431" y="570225"/>
                  </a:cubicBezTo>
                  <a:cubicBezTo>
                    <a:pt x="203298" y="572239"/>
                    <a:pt x="203202" y="575603"/>
                    <a:pt x="205217" y="577736"/>
                  </a:cubicBezTo>
                  <a:moveTo>
                    <a:pt x="172596" y="608211"/>
                  </a:moveTo>
                  <a:cubicBezTo>
                    <a:pt x="174453" y="610153"/>
                    <a:pt x="177532" y="610221"/>
                    <a:pt x="179473" y="608364"/>
                  </a:cubicBezTo>
                  <a:cubicBezTo>
                    <a:pt x="181415" y="606507"/>
                    <a:pt x="181484" y="603428"/>
                    <a:pt x="179626" y="601487"/>
                  </a:cubicBezTo>
                  <a:cubicBezTo>
                    <a:pt x="177769" y="599545"/>
                    <a:pt x="174690" y="599476"/>
                    <a:pt x="172749" y="601333"/>
                  </a:cubicBezTo>
                  <a:cubicBezTo>
                    <a:pt x="172697" y="601384"/>
                    <a:pt x="172646" y="601435"/>
                    <a:pt x="172596" y="601487"/>
                  </a:cubicBezTo>
                  <a:cubicBezTo>
                    <a:pt x="170739" y="603318"/>
                    <a:pt x="170717" y="606307"/>
                    <a:pt x="172549" y="608164"/>
                  </a:cubicBezTo>
                  <a:cubicBezTo>
                    <a:pt x="172564" y="608180"/>
                    <a:pt x="172580" y="608195"/>
                    <a:pt x="172596" y="608211"/>
                  </a:cubicBezTo>
                  <a:moveTo>
                    <a:pt x="140118" y="638686"/>
                  </a:moveTo>
                  <a:cubicBezTo>
                    <a:pt x="141777" y="640379"/>
                    <a:pt x="144494" y="640406"/>
                    <a:pt x="146187" y="638746"/>
                  </a:cubicBezTo>
                  <a:cubicBezTo>
                    <a:pt x="147881" y="637088"/>
                    <a:pt x="147908" y="634369"/>
                    <a:pt x="146249" y="632677"/>
                  </a:cubicBezTo>
                  <a:cubicBezTo>
                    <a:pt x="144589" y="630984"/>
                    <a:pt x="141872" y="630957"/>
                    <a:pt x="140178" y="632617"/>
                  </a:cubicBezTo>
                  <a:cubicBezTo>
                    <a:pt x="140158" y="632637"/>
                    <a:pt x="140138" y="632657"/>
                    <a:pt x="140118" y="632677"/>
                  </a:cubicBezTo>
                  <a:cubicBezTo>
                    <a:pt x="138482" y="634347"/>
                    <a:pt x="138482" y="637016"/>
                    <a:pt x="140118" y="638686"/>
                  </a:cubicBezTo>
                  <a:moveTo>
                    <a:pt x="107640" y="669161"/>
                  </a:moveTo>
                  <a:cubicBezTo>
                    <a:pt x="109102" y="670490"/>
                    <a:pt x="111364" y="670381"/>
                    <a:pt x="112693" y="668921"/>
                  </a:cubicBezTo>
                  <a:cubicBezTo>
                    <a:pt x="114021" y="667458"/>
                    <a:pt x="113914" y="665196"/>
                    <a:pt x="112451" y="663867"/>
                  </a:cubicBezTo>
                  <a:cubicBezTo>
                    <a:pt x="111088" y="662627"/>
                    <a:pt x="109005" y="662627"/>
                    <a:pt x="107640" y="663867"/>
                  </a:cubicBezTo>
                  <a:cubicBezTo>
                    <a:pt x="106241" y="665355"/>
                    <a:pt x="106241" y="667674"/>
                    <a:pt x="107640" y="669161"/>
                  </a:cubicBezTo>
                  <a:moveTo>
                    <a:pt x="387208" y="446107"/>
                  </a:moveTo>
                  <a:cubicBezTo>
                    <a:pt x="390334" y="449218"/>
                    <a:pt x="395385" y="449218"/>
                    <a:pt x="398511" y="446107"/>
                  </a:cubicBezTo>
                  <a:cubicBezTo>
                    <a:pt x="401638" y="442932"/>
                    <a:pt x="401638" y="437836"/>
                    <a:pt x="398511" y="434661"/>
                  </a:cubicBezTo>
                  <a:cubicBezTo>
                    <a:pt x="395385" y="431551"/>
                    <a:pt x="390334" y="431551"/>
                    <a:pt x="387208" y="434661"/>
                  </a:cubicBezTo>
                  <a:cubicBezTo>
                    <a:pt x="384086" y="437686"/>
                    <a:pt x="384007" y="442668"/>
                    <a:pt x="387032" y="445788"/>
                  </a:cubicBezTo>
                  <a:cubicBezTo>
                    <a:pt x="387089" y="445848"/>
                    <a:pt x="387148" y="445907"/>
                    <a:pt x="387208" y="445964"/>
                  </a:cubicBezTo>
                  <a:moveTo>
                    <a:pt x="354587" y="476439"/>
                  </a:moveTo>
                  <a:cubicBezTo>
                    <a:pt x="357474" y="479362"/>
                    <a:pt x="362184" y="479392"/>
                    <a:pt x="365109" y="476505"/>
                  </a:cubicBezTo>
                  <a:cubicBezTo>
                    <a:pt x="365130" y="476484"/>
                    <a:pt x="365153" y="476462"/>
                    <a:pt x="365174" y="476439"/>
                  </a:cubicBezTo>
                  <a:cubicBezTo>
                    <a:pt x="368046" y="473495"/>
                    <a:pt x="368046" y="468796"/>
                    <a:pt x="365174" y="465852"/>
                  </a:cubicBezTo>
                  <a:cubicBezTo>
                    <a:pt x="362010" y="463109"/>
                    <a:pt x="357221" y="463451"/>
                    <a:pt x="354478" y="466616"/>
                  </a:cubicBezTo>
                  <a:cubicBezTo>
                    <a:pt x="352133" y="469320"/>
                    <a:pt x="352000" y="473297"/>
                    <a:pt x="354158" y="476153"/>
                  </a:cubicBezTo>
                  <a:moveTo>
                    <a:pt x="321680" y="506628"/>
                  </a:moveTo>
                  <a:cubicBezTo>
                    <a:pt x="324317" y="509354"/>
                    <a:pt x="328665" y="509426"/>
                    <a:pt x="331390" y="506790"/>
                  </a:cubicBezTo>
                  <a:cubicBezTo>
                    <a:pt x="331445" y="506737"/>
                    <a:pt x="331499" y="506682"/>
                    <a:pt x="331552" y="506628"/>
                  </a:cubicBezTo>
                  <a:cubicBezTo>
                    <a:pt x="334124" y="503734"/>
                    <a:pt x="333863" y="499302"/>
                    <a:pt x="330968" y="496730"/>
                  </a:cubicBezTo>
                  <a:cubicBezTo>
                    <a:pt x="328427" y="494472"/>
                    <a:pt x="324633" y="494364"/>
                    <a:pt x="321966" y="496470"/>
                  </a:cubicBezTo>
                  <a:cubicBezTo>
                    <a:pt x="319332" y="499234"/>
                    <a:pt x="319332" y="503578"/>
                    <a:pt x="321966" y="506342"/>
                  </a:cubicBezTo>
                  <a:moveTo>
                    <a:pt x="289488" y="536817"/>
                  </a:moveTo>
                  <a:cubicBezTo>
                    <a:pt x="291977" y="539356"/>
                    <a:pt x="296054" y="539396"/>
                    <a:pt x="298593" y="536908"/>
                  </a:cubicBezTo>
                  <a:cubicBezTo>
                    <a:pt x="301133" y="534419"/>
                    <a:pt x="301173" y="530343"/>
                    <a:pt x="298683" y="527803"/>
                  </a:cubicBezTo>
                  <a:cubicBezTo>
                    <a:pt x="296195" y="525263"/>
                    <a:pt x="292118" y="525223"/>
                    <a:pt x="289579" y="527711"/>
                  </a:cubicBezTo>
                  <a:cubicBezTo>
                    <a:pt x="289548" y="527742"/>
                    <a:pt x="289518" y="527773"/>
                    <a:pt x="289488" y="527803"/>
                  </a:cubicBezTo>
                  <a:cubicBezTo>
                    <a:pt x="286998" y="530231"/>
                    <a:pt x="286948" y="534216"/>
                    <a:pt x="289376" y="536705"/>
                  </a:cubicBezTo>
                  <a:cubicBezTo>
                    <a:pt x="289414" y="536742"/>
                    <a:pt x="289451" y="536780"/>
                    <a:pt x="289488" y="536817"/>
                  </a:cubicBezTo>
                  <a:moveTo>
                    <a:pt x="257010" y="567864"/>
                  </a:moveTo>
                  <a:cubicBezTo>
                    <a:pt x="259301" y="570156"/>
                    <a:pt x="263015" y="570156"/>
                    <a:pt x="265305" y="567867"/>
                  </a:cubicBezTo>
                  <a:cubicBezTo>
                    <a:pt x="265307" y="567865"/>
                    <a:pt x="265307" y="567865"/>
                    <a:pt x="265308" y="567864"/>
                  </a:cubicBezTo>
                  <a:cubicBezTo>
                    <a:pt x="267600" y="565686"/>
                    <a:pt x="267693" y="562065"/>
                    <a:pt x="265516" y="559773"/>
                  </a:cubicBezTo>
                  <a:cubicBezTo>
                    <a:pt x="265448" y="559702"/>
                    <a:pt x="265380" y="559633"/>
                    <a:pt x="265308" y="559566"/>
                  </a:cubicBezTo>
                  <a:cubicBezTo>
                    <a:pt x="263096" y="557195"/>
                    <a:pt x="259381" y="557068"/>
                    <a:pt x="257010" y="559279"/>
                  </a:cubicBezTo>
                  <a:cubicBezTo>
                    <a:pt x="254639" y="561491"/>
                    <a:pt x="254512" y="565207"/>
                    <a:pt x="256724" y="567578"/>
                  </a:cubicBezTo>
                  <a:moveTo>
                    <a:pt x="224246" y="598053"/>
                  </a:moveTo>
                  <a:cubicBezTo>
                    <a:pt x="226300" y="600133"/>
                    <a:pt x="229653" y="600153"/>
                    <a:pt x="231731" y="598100"/>
                  </a:cubicBezTo>
                  <a:cubicBezTo>
                    <a:pt x="233812" y="596045"/>
                    <a:pt x="233833" y="592693"/>
                    <a:pt x="231779" y="590613"/>
                  </a:cubicBezTo>
                  <a:cubicBezTo>
                    <a:pt x="229724" y="588533"/>
                    <a:pt x="226372" y="588513"/>
                    <a:pt x="224292" y="590567"/>
                  </a:cubicBezTo>
                  <a:cubicBezTo>
                    <a:pt x="224277" y="590581"/>
                    <a:pt x="224262" y="590597"/>
                    <a:pt x="224246" y="590613"/>
                  </a:cubicBezTo>
                  <a:cubicBezTo>
                    <a:pt x="222210" y="592675"/>
                    <a:pt x="222210" y="595991"/>
                    <a:pt x="224246" y="598053"/>
                  </a:cubicBezTo>
                  <a:moveTo>
                    <a:pt x="192626" y="628814"/>
                  </a:moveTo>
                  <a:cubicBezTo>
                    <a:pt x="194483" y="630644"/>
                    <a:pt x="197472" y="630624"/>
                    <a:pt x="199304" y="628767"/>
                  </a:cubicBezTo>
                  <a:cubicBezTo>
                    <a:pt x="201133" y="626910"/>
                    <a:pt x="201112" y="623919"/>
                    <a:pt x="199256" y="622089"/>
                  </a:cubicBezTo>
                  <a:cubicBezTo>
                    <a:pt x="197418" y="620277"/>
                    <a:pt x="194465" y="620277"/>
                    <a:pt x="192626" y="622089"/>
                  </a:cubicBezTo>
                  <a:cubicBezTo>
                    <a:pt x="190769" y="623919"/>
                    <a:pt x="190748" y="626910"/>
                    <a:pt x="192579" y="628767"/>
                  </a:cubicBezTo>
                  <a:cubicBezTo>
                    <a:pt x="192595" y="628782"/>
                    <a:pt x="192611" y="628798"/>
                    <a:pt x="192626" y="628814"/>
                  </a:cubicBezTo>
                  <a:moveTo>
                    <a:pt x="159576" y="659289"/>
                  </a:moveTo>
                  <a:cubicBezTo>
                    <a:pt x="161196" y="660908"/>
                    <a:pt x="163822" y="660908"/>
                    <a:pt x="165442" y="659289"/>
                  </a:cubicBezTo>
                  <a:cubicBezTo>
                    <a:pt x="167077" y="657619"/>
                    <a:pt x="167077" y="654949"/>
                    <a:pt x="165442" y="653280"/>
                  </a:cubicBezTo>
                  <a:cubicBezTo>
                    <a:pt x="163861" y="651620"/>
                    <a:pt x="161236" y="651556"/>
                    <a:pt x="159576" y="653137"/>
                  </a:cubicBezTo>
                  <a:cubicBezTo>
                    <a:pt x="159527" y="653184"/>
                    <a:pt x="159480" y="653231"/>
                    <a:pt x="159433" y="653280"/>
                  </a:cubicBezTo>
                  <a:cubicBezTo>
                    <a:pt x="157813" y="654786"/>
                    <a:pt x="157722" y="657321"/>
                    <a:pt x="159228" y="658941"/>
                  </a:cubicBezTo>
                  <a:cubicBezTo>
                    <a:pt x="159294" y="659013"/>
                    <a:pt x="159363" y="659080"/>
                    <a:pt x="159433" y="659146"/>
                  </a:cubicBezTo>
                  <a:moveTo>
                    <a:pt x="126955" y="689334"/>
                  </a:moveTo>
                  <a:cubicBezTo>
                    <a:pt x="128377" y="690817"/>
                    <a:pt x="130732" y="690865"/>
                    <a:pt x="132214" y="689443"/>
                  </a:cubicBezTo>
                  <a:cubicBezTo>
                    <a:pt x="133697" y="688021"/>
                    <a:pt x="133745" y="685666"/>
                    <a:pt x="132323" y="684184"/>
                  </a:cubicBezTo>
                  <a:cubicBezTo>
                    <a:pt x="130901" y="682702"/>
                    <a:pt x="128546" y="682653"/>
                    <a:pt x="127064" y="684075"/>
                  </a:cubicBezTo>
                  <a:cubicBezTo>
                    <a:pt x="127026" y="684111"/>
                    <a:pt x="126991" y="684147"/>
                    <a:pt x="126955" y="684184"/>
                  </a:cubicBezTo>
                  <a:cubicBezTo>
                    <a:pt x="125574" y="685623"/>
                    <a:pt x="125574" y="687895"/>
                    <a:pt x="126955" y="689334"/>
                  </a:cubicBezTo>
                  <a:moveTo>
                    <a:pt x="407238" y="466710"/>
                  </a:moveTo>
                  <a:cubicBezTo>
                    <a:pt x="410365" y="469820"/>
                    <a:pt x="415415" y="469820"/>
                    <a:pt x="418541" y="466710"/>
                  </a:cubicBezTo>
                  <a:cubicBezTo>
                    <a:pt x="421603" y="463515"/>
                    <a:pt x="421494" y="458443"/>
                    <a:pt x="418300" y="455381"/>
                  </a:cubicBezTo>
                  <a:cubicBezTo>
                    <a:pt x="415369" y="452574"/>
                    <a:pt x="410802" y="452400"/>
                    <a:pt x="407668" y="454978"/>
                  </a:cubicBezTo>
                  <a:cubicBezTo>
                    <a:pt x="404540" y="458153"/>
                    <a:pt x="404540" y="463249"/>
                    <a:pt x="407668" y="466424"/>
                  </a:cubicBezTo>
                  <a:moveTo>
                    <a:pt x="375190" y="496899"/>
                  </a:moveTo>
                  <a:cubicBezTo>
                    <a:pt x="378113" y="499786"/>
                    <a:pt x="382824" y="499756"/>
                    <a:pt x="385711" y="496833"/>
                  </a:cubicBezTo>
                  <a:cubicBezTo>
                    <a:pt x="388599" y="493909"/>
                    <a:pt x="388569" y="489199"/>
                    <a:pt x="385646" y="486311"/>
                  </a:cubicBezTo>
                  <a:cubicBezTo>
                    <a:pt x="382747" y="483450"/>
                    <a:pt x="378087" y="483450"/>
                    <a:pt x="375190" y="486311"/>
                  </a:cubicBezTo>
                  <a:cubicBezTo>
                    <a:pt x="372267" y="489199"/>
                    <a:pt x="372237" y="493909"/>
                    <a:pt x="375124" y="496833"/>
                  </a:cubicBezTo>
                  <a:cubicBezTo>
                    <a:pt x="375145" y="496855"/>
                    <a:pt x="375167" y="496877"/>
                    <a:pt x="375190" y="496899"/>
                  </a:cubicBezTo>
                  <a:moveTo>
                    <a:pt x="341567" y="527660"/>
                  </a:moveTo>
                  <a:cubicBezTo>
                    <a:pt x="344283" y="530277"/>
                    <a:pt x="348581" y="530277"/>
                    <a:pt x="351296" y="527660"/>
                  </a:cubicBezTo>
                  <a:cubicBezTo>
                    <a:pt x="354022" y="525023"/>
                    <a:pt x="354095" y="520675"/>
                    <a:pt x="351458" y="517949"/>
                  </a:cubicBezTo>
                  <a:cubicBezTo>
                    <a:pt x="351405" y="517895"/>
                    <a:pt x="351351" y="517841"/>
                    <a:pt x="351296" y="517788"/>
                  </a:cubicBezTo>
                  <a:cubicBezTo>
                    <a:pt x="348581" y="515171"/>
                    <a:pt x="344283" y="515171"/>
                    <a:pt x="341567" y="517788"/>
                  </a:cubicBezTo>
                  <a:cubicBezTo>
                    <a:pt x="338842" y="520425"/>
                    <a:pt x="338769" y="524773"/>
                    <a:pt x="341405" y="527498"/>
                  </a:cubicBezTo>
                  <a:cubicBezTo>
                    <a:pt x="341458" y="527553"/>
                    <a:pt x="341513" y="527607"/>
                    <a:pt x="341567" y="527660"/>
                  </a:cubicBezTo>
                  <a:moveTo>
                    <a:pt x="308946" y="558135"/>
                  </a:moveTo>
                  <a:cubicBezTo>
                    <a:pt x="311374" y="560624"/>
                    <a:pt x="315359" y="560674"/>
                    <a:pt x="317848" y="558246"/>
                  </a:cubicBezTo>
                  <a:cubicBezTo>
                    <a:pt x="317885" y="558209"/>
                    <a:pt x="317923" y="558172"/>
                    <a:pt x="317960" y="558135"/>
                  </a:cubicBezTo>
                  <a:cubicBezTo>
                    <a:pt x="320863" y="556082"/>
                    <a:pt x="321554" y="552064"/>
                    <a:pt x="319501" y="549161"/>
                  </a:cubicBezTo>
                  <a:cubicBezTo>
                    <a:pt x="317448" y="546257"/>
                    <a:pt x="313430" y="545567"/>
                    <a:pt x="310527" y="547620"/>
                  </a:cubicBezTo>
                  <a:cubicBezTo>
                    <a:pt x="310041" y="547964"/>
                    <a:pt x="309606" y="548373"/>
                    <a:pt x="309232" y="548835"/>
                  </a:cubicBezTo>
                  <a:cubicBezTo>
                    <a:pt x="306743" y="551263"/>
                    <a:pt x="306693" y="555248"/>
                    <a:pt x="309121" y="557737"/>
                  </a:cubicBezTo>
                  <a:cubicBezTo>
                    <a:pt x="309158" y="557774"/>
                    <a:pt x="309195" y="557812"/>
                    <a:pt x="309232" y="557849"/>
                  </a:cubicBezTo>
                  <a:moveTo>
                    <a:pt x="276468" y="589182"/>
                  </a:moveTo>
                  <a:cubicBezTo>
                    <a:pt x="278680" y="591553"/>
                    <a:pt x="282396" y="591680"/>
                    <a:pt x="284766" y="589468"/>
                  </a:cubicBezTo>
                  <a:cubicBezTo>
                    <a:pt x="287137" y="587256"/>
                    <a:pt x="287265" y="583541"/>
                    <a:pt x="285053" y="581170"/>
                  </a:cubicBezTo>
                  <a:cubicBezTo>
                    <a:pt x="282841" y="578799"/>
                    <a:pt x="279125" y="578672"/>
                    <a:pt x="276754" y="580884"/>
                  </a:cubicBezTo>
                  <a:cubicBezTo>
                    <a:pt x="274383" y="583096"/>
                    <a:pt x="274256" y="586811"/>
                    <a:pt x="276468" y="589182"/>
                  </a:cubicBezTo>
                  <a:moveTo>
                    <a:pt x="243990" y="619657"/>
                  </a:moveTo>
                  <a:cubicBezTo>
                    <a:pt x="246052" y="621693"/>
                    <a:pt x="249368" y="621693"/>
                    <a:pt x="251430" y="619657"/>
                  </a:cubicBezTo>
                  <a:cubicBezTo>
                    <a:pt x="253620" y="617602"/>
                    <a:pt x="253729" y="614162"/>
                    <a:pt x="251675" y="611973"/>
                  </a:cubicBezTo>
                  <a:cubicBezTo>
                    <a:pt x="249620" y="609782"/>
                    <a:pt x="246181" y="609673"/>
                    <a:pt x="243990" y="611726"/>
                  </a:cubicBezTo>
                  <a:cubicBezTo>
                    <a:pt x="241800" y="613781"/>
                    <a:pt x="241691" y="617222"/>
                    <a:pt x="243745" y="619412"/>
                  </a:cubicBezTo>
                  <a:cubicBezTo>
                    <a:pt x="243824" y="619497"/>
                    <a:pt x="243906" y="619578"/>
                    <a:pt x="243990" y="619657"/>
                  </a:cubicBezTo>
                  <a:moveTo>
                    <a:pt x="211369" y="650132"/>
                  </a:moveTo>
                  <a:cubicBezTo>
                    <a:pt x="213268" y="652023"/>
                    <a:pt x="216338" y="652023"/>
                    <a:pt x="218237" y="650132"/>
                  </a:cubicBezTo>
                  <a:cubicBezTo>
                    <a:pt x="220134" y="648315"/>
                    <a:pt x="220197" y="645305"/>
                    <a:pt x="218380" y="643407"/>
                  </a:cubicBezTo>
                  <a:cubicBezTo>
                    <a:pt x="216563" y="641512"/>
                    <a:pt x="213551" y="641447"/>
                    <a:pt x="211655" y="643264"/>
                  </a:cubicBezTo>
                  <a:cubicBezTo>
                    <a:pt x="209857" y="645144"/>
                    <a:pt x="209857" y="648109"/>
                    <a:pt x="211655" y="649989"/>
                  </a:cubicBezTo>
                  <a:moveTo>
                    <a:pt x="178319" y="680035"/>
                  </a:moveTo>
                  <a:cubicBezTo>
                    <a:pt x="179988" y="681670"/>
                    <a:pt x="182658" y="681670"/>
                    <a:pt x="184328" y="680035"/>
                  </a:cubicBezTo>
                  <a:cubicBezTo>
                    <a:pt x="185948" y="678415"/>
                    <a:pt x="185948" y="675788"/>
                    <a:pt x="184328" y="674169"/>
                  </a:cubicBezTo>
                  <a:cubicBezTo>
                    <a:pt x="182658" y="672533"/>
                    <a:pt x="179987" y="672533"/>
                    <a:pt x="178319" y="674169"/>
                  </a:cubicBezTo>
                  <a:cubicBezTo>
                    <a:pt x="176755" y="675867"/>
                    <a:pt x="176755" y="678479"/>
                    <a:pt x="178319" y="680178"/>
                  </a:cubicBezTo>
                  <a:moveTo>
                    <a:pt x="145841" y="710653"/>
                  </a:moveTo>
                  <a:cubicBezTo>
                    <a:pt x="147211" y="712075"/>
                    <a:pt x="149476" y="712116"/>
                    <a:pt x="150898" y="710746"/>
                  </a:cubicBezTo>
                  <a:cubicBezTo>
                    <a:pt x="150930" y="710716"/>
                    <a:pt x="150961" y="710684"/>
                    <a:pt x="150991" y="710653"/>
                  </a:cubicBezTo>
                  <a:cubicBezTo>
                    <a:pt x="152454" y="709269"/>
                    <a:pt x="152518" y="706964"/>
                    <a:pt x="151135" y="705502"/>
                  </a:cubicBezTo>
                  <a:cubicBezTo>
                    <a:pt x="149751" y="704040"/>
                    <a:pt x="147446" y="703975"/>
                    <a:pt x="145984" y="705359"/>
                  </a:cubicBezTo>
                  <a:cubicBezTo>
                    <a:pt x="144562" y="706729"/>
                    <a:pt x="144520" y="708994"/>
                    <a:pt x="145891" y="710417"/>
                  </a:cubicBezTo>
                  <a:cubicBezTo>
                    <a:pt x="145921" y="710448"/>
                    <a:pt x="145952" y="710479"/>
                    <a:pt x="145984" y="710510"/>
                  </a:cubicBezTo>
                  <a:moveTo>
                    <a:pt x="309518" y="363124"/>
                  </a:moveTo>
                  <a:cubicBezTo>
                    <a:pt x="312639" y="366260"/>
                    <a:pt x="317712" y="366273"/>
                    <a:pt x="320850" y="363153"/>
                  </a:cubicBezTo>
                  <a:cubicBezTo>
                    <a:pt x="323986" y="360031"/>
                    <a:pt x="323999" y="354957"/>
                    <a:pt x="320877" y="351821"/>
                  </a:cubicBezTo>
                  <a:cubicBezTo>
                    <a:pt x="317757" y="348685"/>
                    <a:pt x="312683" y="348672"/>
                    <a:pt x="309547" y="351792"/>
                  </a:cubicBezTo>
                  <a:cubicBezTo>
                    <a:pt x="309537" y="351802"/>
                    <a:pt x="309528" y="351811"/>
                    <a:pt x="309518" y="351821"/>
                  </a:cubicBezTo>
                  <a:cubicBezTo>
                    <a:pt x="306408" y="354947"/>
                    <a:pt x="306408" y="359998"/>
                    <a:pt x="309518" y="363124"/>
                  </a:cubicBezTo>
                  <a:moveTo>
                    <a:pt x="277040" y="393599"/>
                  </a:moveTo>
                  <a:cubicBezTo>
                    <a:pt x="279815" y="396522"/>
                    <a:pt x="284433" y="396645"/>
                    <a:pt x="287356" y="393871"/>
                  </a:cubicBezTo>
                  <a:cubicBezTo>
                    <a:pt x="287449" y="393782"/>
                    <a:pt x="287539" y="393692"/>
                    <a:pt x="287628" y="393599"/>
                  </a:cubicBezTo>
                  <a:cubicBezTo>
                    <a:pt x="290631" y="390755"/>
                    <a:pt x="290758" y="386014"/>
                    <a:pt x="287914" y="383011"/>
                  </a:cubicBezTo>
                  <a:cubicBezTo>
                    <a:pt x="285070" y="380008"/>
                    <a:pt x="280330" y="379881"/>
                    <a:pt x="277327" y="382725"/>
                  </a:cubicBezTo>
                  <a:cubicBezTo>
                    <a:pt x="274442" y="385539"/>
                    <a:pt x="274386" y="390159"/>
                    <a:pt x="277201" y="393044"/>
                  </a:cubicBezTo>
                  <a:cubicBezTo>
                    <a:pt x="277242" y="393087"/>
                    <a:pt x="277284" y="393128"/>
                    <a:pt x="277327" y="393170"/>
                  </a:cubicBezTo>
                  <a:moveTo>
                    <a:pt x="244849" y="423788"/>
                  </a:moveTo>
                  <a:cubicBezTo>
                    <a:pt x="247564" y="426404"/>
                    <a:pt x="251862" y="426404"/>
                    <a:pt x="254578" y="423788"/>
                  </a:cubicBezTo>
                  <a:cubicBezTo>
                    <a:pt x="257303" y="421151"/>
                    <a:pt x="257376" y="416803"/>
                    <a:pt x="254739" y="414077"/>
                  </a:cubicBezTo>
                  <a:cubicBezTo>
                    <a:pt x="254686" y="414023"/>
                    <a:pt x="254632" y="413968"/>
                    <a:pt x="254578" y="413915"/>
                  </a:cubicBezTo>
                  <a:cubicBezTo>
                    <a:pt x="251862" y="411299"/>
                    <a:pt x="247564" y="411299"/>
                    <a:pt x="244849" y="413915"/>
                  </a:cubicBezTo>
                  <a:cubicBezTo>
                    <a:pt x="242123" y="416552"/>
                    <a:pt x="242050" y="420900"/>
                    <a:pt x="244687" y="423626"/>
                  </a:cubicBezTo>
                  <a:cubicBezTo>
                    <a:pt x="244740" y="423680"/>
                    <a:pt x="244794" y="423735"/>
                    <a:pt x="244849" y="423788"/>
                  </a:cubicBezTo>
                  <a:moveTo>
                    <a:pt x="211941" y="454692"/>
                  </a:moveTo>
                  <a:cubicBezTo>
                    <a:pt x="213830" y="457705"/>
                    <a:pt x="217805" y="458615"/>
                    <a:pt x="220816" y="456726"/>
                  </a:cubicBezTo>
                  <a:cubicBezTo>
                    <a:pt x="223829" y="454836"/>
                    <a:pt x="224739" y="450863"/>
                    <a:pt x="222851" y="447851"/>
                  </a:cubicBezTo>
                  <a:cubicBezTo>
                    <a:pt x="222427" y="447175"/>
                    <a:pt x="221881" y="446584"/>
                    <a:pt x="221241" y="446107"/>
                  </a:cubicBezTo>
                  <a:cubicBezTo>
                    <a:pt x="218792" y="443499"/>
                    <a:pt x="214693" y="443372"/>
                    <a:pt x="212084" y="445821"/>
                  </a:cubicBezTo>
                  <a:cubicBezTo>
                    <a:pt x="209476" y="448271"/>
                    <a:pt x="209349" y="452370"/>
                    <a:pt x="211798" y="454978"/>
                  </a:cubicBezTo>
                  <a:moveTo>
                    <a:pt x="179320" y="485453"/>
                  </a:moveTo>
                  <a:cubicBezTo>
                    <a:pt x="181532" y="487824"/>
                    <a:pt x="185248" y="487951"/>
                    <a:pt x="187619" y="485739"/>
                  </a:cubicBezTo>
                  <a:cubicBezTo>
                    <a:pt x="189989" y="483527"/>
                    <a:pt x="190117" y="479811"/>
                    <a:pt x="187905" y="477441"/>
                  </a:cubicBezTo>
                  <a:cubicBezTo>
                    <a:pt x="185727" y="475149"/>
                    <a:pt x="182106" y="475056"/>
                    <a:pt x="179814" y="477233"/>
                  </a:cubicBezTo>
                  <a:cubicBezTo>
                    <a:pt x="179742" y="477300"/>
                    <a:pt x="179674" y="477369"/>
                    <a:pt x="179606" y="477441"/>
                  </a:cubicBezTo>
                  <a:cubicBezTo>
                    <a:pt x="177314" y="479731"/>
                    <a:pt x="177314" y="483446"/>
                    <a:pt x="179604" y="485736"/>
                  </a:cubicBezTo>
                  <a:cubicBezTo>
                    <a:pt x="179605" y="485738"/>
                    <a:pt x="179605" y="485738"/>
                    <a:pt x="179606" y="485739"/>
                  </a:cubicBezTo>
                  <a:moveTo>
                    <a:pt x="147128" y="516214"/>
                  </a:moveTo>
                  <a:cubicBezTo>
                    <a:pt x="149143" y="518347"/>
                    <a:pt x="152507" y="518443"/>
                    <a:pt x="154640" y="516429"/>
                  </a:cubicBezTo>
                  <a:cubicBezTo>
                    <a:pt x="156773" y="514414"/>
                    <a:pt x="156869" y="511050"/>
                    <a:pt x="154855" y="508917"/>
                  </a:cubicBezTo>
                  <a:cubicBezTo>
                    <a:pt x="152744" y="506864"/>
                    <a:pt x="149382" y="506864"/>
                    <a:pt x="147272" y="508917"/>
                  </a:cubicBezTo>
                  <a:cubicBezTo>
                    <a:pt x="145290" y="511056"/>
                    <a:pt x="145290" y="514361"/>
                    <a:pt x="147272" y="516500"/>
                  </a:cubicBezTo>
                  <a:moveTo>
                    <a:pt x="114507" y="546260"/>
                  </a:moveTo>
                  <a:cubicBezTo>
                    <a:pt x="116365" y="548091"/>
                    <a:pt x="119353" y="548070"/>
                    <a:pt x="121185" y="546212"/>
                  </a:cubicBezTo>
                  <a:cubicBezTo>
                    <a:pt x="123015" y="544355"/>
                    <a:pt x="122993" y="541367"/>
                    <a:pt x="121137" y="539535"/>
                  </a:cubicBezTo>
                  <a:cubicBezTo>
                    <a:pt x="119299" y="537722"/>
                    <a:pt x="116346" y="537722"/>
                    <a:pt x="114507" y="539535"/>
                  </a:cubicBezTo>
                  <a:cubicBezTo>
                    <a:pt x="112650" y="541367"/>
                    <a:pt x="112629" y="544355"/>
                    <a:pt x="114460" y="546212"/>
                  </a:cubicBezTo>
                  <a:cubicBezTo>
                    <a:pt x="114476" y="546228"/>
                    <a:pt x="114492" y="546244"/>
                    <a:pt x="114507" y="546260"/>
                  </a:cubicBezTo>
                  <a:moveTo>
                    <a:pt x="81886" y="576735"/>
                  </a:moveTo>
                  <a:cubicBezTo>
                    <a:pt x="83546" y="578427"/>
                    <a:pt x="86263" y="578454"/>
                    <a:pt x="87956" y="576795"/>
                  </a:cubicBezTo>
                  <a:cubicBezTo>
                    <a:pt x="89650" y="575137"/>
                    <a:pt x="89677" y="572418"/>
                    <a:pt x="88017" y="570725"/>
                  </a:cubicBezTo>
                  <a:cubicBezTo>
                    <a:pt x="86357" y="569033"/>
                    <a:pt x="83640" y="569006"/>
                    <a:pt x="81946" y="570665"/>
                  </a:cubicBezTo>
                  <a:cubicBezTo>
                    <a:pt x="81926" y="570685"/>
                    <a:pt x="81906" y="570705"/>
                    <a:pt x="81886" y="570725"/>
                  </a:cubicBezTo>
                  <a:cubicBezTo>
                    <a:pt x="80251" y="572394"/>
                    <a:pt x="80251" y="575065"/>
                    <a:pt x="81886" y="576735"/>
                  </a:cubicBezTo>
                  <a:moveTo>
                    <a:pt x="49551" y="607066"/>
                  </a:moveTo>
                  <a:cubicBezTo>
                    <a:pt x="50922" y="608489"/>
                    <a:pt x="53187" y="608530"/>
                    <a:pt x="54609" y="607159"/>
                  </a:cubicBezTo>
                  <a:cubicBezTo>
                    <a:pt x="54641" y="607129"/>
                    <a:pt x="54672" y="607098"/>
                    <a:pt x="54702" y="607066"/>
                  </a:cubicBezTo>
                  <a:cubicBezTo>
                    <a:pt x="56124" y="605696"/>
                    <a:pt x="56166" y="603431"/>
                    <a:pt x="54795" y="602009"/>
                  </a:cubicBezTo>
                  <a:cubicBezTo>
                    <a:pt x="54765" y="601977"/>
                    <a:pt x="54734" y="601946"/>
                    <a:pt x="54702" y="601916"/>
                  </a:cubicBezTo>
                  <a:cubicBezTo>
                    <a:pt x="53331" y="600494"/>
                    <a:pt x="51067" y="600452"/>
                    <a:pt x="49644" y="601823"/>
                  </a:cubicBezTo>
                  <a:cubicBezTo>
                    <a:pt x="49613" y="601853"/>
                    <a:pt x="49582" y="601884"/>
                    <a:pt x="49551" y="601916"/>
                  </a:cubicBezTo>
                  <a:cubicBezTo>
                    <a:pt x="48152" y="603402"/>
                    <a:pt x="48152" y="605723"/>
                    <a:pt x="49551" y="607210"/>
                  </a:cubicBezTo>
                  <a:moveTo>
                    <a:pt x="17073" y="637684"/>
                  </a:moveTo>
                  <a:cubicBezTo>
                    <a:pt x="18301" y="638903"/>
                    <a:pt x="20281" y="638903"/>
                    <a:pt x="21509" y="637684"/>
                  </a:cubicBezTo>
                  <a:cubicBezTo>
                    <a:pt x="22655" y="636428"/>
                    <a:pt x="22655" y="634505"/>
                    <a:pt x="21509" y="633249"/>
                  </a:cubicBezTo>
                  <a:cubicBezTo>
                    <a:pt x="20281" y="632030"/>
                    <a:pt x="18301" y="632030"/>
                    <a:pt x="17073" y="633249"/>
                  </a:cubicBezTo>
                  <a:cubicBezTo>
                    <a:pt x="15849" y="634369"/>
                    <a:pt x="15763" y="636269"/>
                    <a:pt x="16883" y="637494"/>
                  </a:cubicBezTo>
                  <a:cubicBezTo>
                    <a:pt x="16943" y="637560"/>
                    <a:pt x="17008" y="637624"/>
                    <a:pt x="17073" y="637684"/>
                  </a:cubicBezTo>
                  <a:moveTo>
                    <a:pt x="328977" y="383870"/>
                  </a:moveTo>
                  <a:cubicBezTo>
                    <a:pt x="332103" y="386980"/>
                    <a:pt x="337153" y="386980"/>
                    <a:pt x="340279" y="383870"/>
                  </a:cubicBezTo>
                  <a:cubicBezTo>
                    <a:pt x="343407" y="380695"/>
                    <a:pt x="343407" y="375599"/>
                    <a:pt x="340279" y="372424"/>
                  </a:cubicBezTo>
                  <a:cubicBezTo>
                    <a:pt x="337075" y="369372"/>
                    <a:pt x="332038" y="369372"/>
                    <a:pt x="328833" y="372424"/>
                  </a:cubicBezTo>
                  <a:cubicBezTo>
                    <a:pt x="325723" y="375550"/>
                    <a:pt x="325723" y="380601"/>
                    <a:pt x="328833" y="383727"/>
                  </a:cubicBezTo>
                  <a:moveTo>
                    <a:pt x="296212" y="414202"/>
                  </a:moveTo>
                  <a:cubicBezTo>
                    <a:pt x="299100" y="417125"/>
                    <a:pt x="303810" y="417155"/>
                    <a:pt x="306734" y="414267"/>
                  </a:cubicBezTo>
                  <a:cubicBezTo>
                    <a:pt x="306756" y="414246"/>
                    <a:pt x="306778" y="414225"/>
                    <a:pt x="306800" y="414202"/>
                  </a:cubicBezTo>
                  <a:cubicBezTo>
                    <a:pt x="309803" y="411396"/>
                    <a:pt x="309963" y="406689"/>
                    <a:pt x="307158" y="403686"/>
                  </a:cubicBezTo>
                  <a:cubicBezTo>
                    <a:pt x="304352" y="400682"/>
                    <a:pt x="299645" y="400522"/>
                    <a:pt x="296642" y="403328"/>
                  </a:cubicBezTo>
                  <a:cubicBezTo>
                    <a:pt x="293770" y="406272"/>
                    <a:pt x="293770" y="410971"/>
                    <a:pt x="296642" y="413915"/>
                  </a:cubicBezTo>
                  <a:moveTo>
                    <a:pt x="264164" y="444820"/>
                  </a:moveTo>
                  <a:cubicBezTo>
                    <a:pt x="266801" y="447545"/>
                    <a:pt x="271149" y="447618"/>
                    <a:pt x="273874" y="444981"/>
                  </a:cubicBezTo>
                  <a:cubicBezTo>
                    <a:pt x="273928" y="444928"/>
                    <a:pt x="273983" y="444874"/>
                    <a:pt x="274036" y="444820"/>
                  </a:cubicBezTo>
                  <a:cubicBezTo>
                    <a:pt x="276653" y="442104"/>
                    <a:pt x="276653" y="437806"/>
                    <a:pt x="274036" y="435091"/>
                  </a:cubicBezTo>
                  <a:cubicBezTo>
                    <a:pt x="271399" y="432365"/>
                    <a:pt x="267051" y="432292"/>
                    <a:pt x="264325" y="434929"/>
                  </a:cubicBezTo>
                  <a:cubicBezTo>
                    <a:pt x="264271" y="434982"/>
                    <a:pt x="264217" y="435036"/>
                    <a:pt x="264164" y="435091"/>
                  </a:cubicBezTo>
                  <a:cubicBezTo>
                    <a:pt x="261547" y="437806"/>
                    <a:pt x="261547" y="442104"/>
                    <a:pt x="264164" y="444820"/>
                  </a:cubicBezTo>
                  <a:moveTo>
                    <a:pt x="231400" y="474722"/>
                  </a:moveTo>
                  <a:cubicBezTo>
                    <a:pt x="233889" y="477262"/>
                    <a:pt x="237965" y="477302"/>
                    <a:pt x="240505" y="474814"/>
                  </a:cubicBezTo>
                  <a:cubicBezTo>
                    <a:pt x="243043" y="472324"/>
                    <a:pt x="243084" y="468248"/>
                    <a:pt x="240595" y="465709"/>
                  </a:cubicBezTo>
                  <a:cubicBezTo>
                    <a:pt x="238107" y="463169"/>
                    <a:pt x="234029" y="463129"/>
                    <a:pt x="231491" y="465617"/>
                  </a:cubicBezTo>
                  <a:cubicBezTo>
                    <a:pt x="231460" y="465647"/>
                    <a:pt x="231430" y="465679"/>
                    <a:pt x="231400" y="465709"/>
                  </a:cubicBezTo>
                  <a:cubicBezTo>
                    <a:pt x="228910" y="468137"/>
                    <a:pt x="228860" y="472121"/>
                    <a:pt x="231288" y="474611"/>
                  </a:cubicBezTo>
                  <a:cubicBezTo>
                    <a:pt x="231325" y="474648"/>
                    <a:pt x="231362" y="474685"/>
                    <a:pt x="231400" y="474722"/>
                  </a:cubicBezTo>
                  <a:moveTo>
                    <a:pt x="198922" y="505197"/>
                  </a:moveTo>
                  <a:cubicBezTo>
                    <a:pt x="201025" y="507449"/>
                    <a:pt x="204556" y="507569"/>
                    <a:pt x="206808" y="505466"/>
                  </a:cubicBezTo>
                  <a:cubicBezTo>
                    <a:pt x="206901" y="505379"/>
                    <a:pt x="206991" y="505290"/>
                    <a:pt x="207077" y="505197"/>
                  </a:cubicBezTo>
                  <a:cubicBezTo>
                    <a:pt x="209369" y="503020"/>
                    <a:pt x="209462" y="499398"/>
                    <a:pt x="207284" y="497106"/>
                  </a:cubicBezTo>
                  <a:cubicBezTo>
                    <a:pt x="207217" y="497035"/>
                    <a:pt x="207148" y="496966"/>
                    <a:pt x="207077" y="496899"/>
                  </a:cubicBezTo>
                  <a:cubicBezTo>
                    <a:pt x="204803" y="494700"/>
                    <a:pt x="201195" y="494700"/>
                    <a:pt x="198922" y="496899"/>
                  </a:cubicBezTo>
                  <a:cubicBezTo>
                    <a:pt x="196629" y="499076"/>
                    <a:pt x="196536" y="502698"/>
                    <a:pt x="198714" y="504990"/>
                  </a:cubicBezTo>
                  <a:cubicBezTo>
                    <a:pt x="198781" y="505061"/>
                    <a:pt x="198850" y="505130"/>
                    <a:pt x="198922" y="505197"/>
                  </a:cubicBezTo>
                  <a:moveTo>
                    <a:pt x="166300" y="536244"/>
                  </a:moveTo>
                  <a:cubicBezTo>
                    <a:pt x="168411" y="538298"/>
                    <a:pt x="171773" y="538298"/>
                    <a:pt x="173883" y="536244"/>
                  </a:cubicBezTo>
                  <a:cubicBezTo>
                    <a:pt x="175919" y="534183"/>
                    <a:pt x="175919" y="530866"/>
                    <a:pt x="173883" y="528805"/>
                  </a:cubicBezTo>
                  <a:cubicBezTo>
                    <a:pt x="171773" y="526751"/>
                    <a:pt x="168411" y="526751"/>
                    <a:pt x="166300" y="528805"/>
                  </a:cubicBezTo>
                  <a:cubicBezTo>
                    <a:pt x="164265" y="530866"/>
                    <a:pt x="164265" y="534183"/>
                    <a:pt x="166300" y="536244"/>
                  </a:cubicBezTo>
                  <a:moveTo>
                    <a:pt x="133822" y="566719"/>
                  </a:moveTo>
                  <a:cubicBezTo>
                    <a:pt x="135680" y="568551"/>
                    <a:pt x="138668" y="568529"/>
                    <a:pt x="140500" y="566672"/>
                  </a:cubicBezTo>
                  <a:cubicBezTo>
                    <a:pt x="142330" y="564815"/>
                    <a:pt x="142308" y="561826"/>
                    <a:pt x="140453" y="559995"/>
                  </a:cubicBezTo>
                  <a:cubicBezTo>
                    <a:pt x="138614" y="558182"/>
                    <a:pt x="135661" y="558182"/>
                    <a:pt x="133822" y="559995"/>
                  </a:cubicBezTo>
                  <a:cubicBezTo>
                    <a:pt x="131965" y="561826"/>
                    <a:pt x="131944" y="564815"/>
                    <a:pt x="133775" y="566672"/>
                  </a:cubicBezTo>
                  <a:cubicBezTo>
                    <a:pt x="133791" y="566688"/>
                    <a:pt x="133807" y="566704"/>
                    <a:pt x="133822" y="566719"/>
                  </a:cubicBezTo>
                  <a:moveTo>
                    <a:pt x="101345" y="597194"/>
                  </a:moveTo>
                  <a:cubicBezTo>
                    <a:pt x="103014" y="598830"/>
                    <a:pt x="105684" y="598830"/>
                    <a:pt x="107354" y="597194"/>
                  </a:cubicBezTo>
                  <a:cubicBezTo>
                    <a:pt x="108917" y="595496"/>
                    <a:pt x="108917" y="592883"/>
                    <a:pt x="107354" y="591185"/>
                  </a:cubicBezTo>
                  <a:cubicBezTo>
                    <a:pt x="105684" y="589550"/>
                    <a:pt x="103013" y="589550"/>
                    <a:pt x="101345" y="591185"/>
                  </a:cubicBezTo>
                  <a:cubicBezTo>
                    <a:pt x="99725" y="592805"/>
                    <a:pt x="99725" y="595432"/>
                    <a:pt x="101345" y="597051"/>
                  </a:cubicBezTo>
                  <a:moveTo>
                    <a:pt x="68867" y="627526"/>
                  </a:moveTo>
                  <a:cubicBezTo>
                    <a:pt x="70237" y="628948"/>
                    <a:pt x="72502" y="628990"/>
                    <a:pt x="73924" y="627619"/>
                  </a:cubicBezTo>
                  <a:cubicBezTo>
                    <a:pt x="73956" y="627589"/>
                    <a:pt x="73987" y="627558"/>
                    <a:pt x="74017" y="627526"/>
                  </a:cubicBezTo>
                  <a:cubicBezTo>
                    <a:pt x="75417" y="626038"/>
                    <a:pt x="75417" y="623719"/>
                    <a:pt x="74017" y="622232"/>
                  </a:cubicBezTo>
                  <a:cubicBezTo>
                    <a:pt x="72647" y="620810"/>
                    <a:pt x="70382" y="620769"/>
                    <a:pt x="68960" y="622139"/>
                  </a:cubicBezTo>
                  <a:cubicBezTo>
                    <a:pt x="68928" y="622169"/>
                    <a:pt x="68897" y="622201"/>
                    <a:pt x="68867" y="622232"/>
                  </a:cubicBezTo>
                  <a:cubicBezTo>
                    <a:pt x="67444" y="623603"/>
                    <a:pt x="67403" y="625868"/>
                    <a:pt x="68774" y="627290"/>
                  </a:cubicBezTo>
                  <a:cubicBezTo>
                    <a:pt x="68804" y="627322"/>
                    <a:pt x="68835" y="627353"/>
                    <a:pt x="68867" y="627383"/>
                  </a:cubicBezTo>
                  <a:moveTo>
                    <a:pt x="36245" y="658001"/>
                  </a:moveTo>
                  <a:cubicBezTo>
                    <a:pt x="37473" y="659220"/>
                    <a:pt x="39453" y="659220"/>
                    <a:pt x="40681" y="658001"/>
                  </a:cubicBezTo>
                  <a:cubicBezTo>
                    <a:pt x="41865" y="656839"/>
                    <a:pt x="41885" y="654938"/>
                    <a:pt x="40724" y="653752"/>
                  </a:cubicBezTo>
                  <a:cubicBezTo>
                    <a:pt x="40709" y="653737"/>
                    <a:pt x="40695" y="653723"/>
                    <a:pt x="40681" y="653709"/>
                  </a:cubicBezTo>
                  <a:cubicBezTo>
                    <a:pt x="39562" y="652484"/>
                    <a:pt x="37660" y="652398"/>
                    <a:pt x="36436" y="653519"/>
                  </a:cubicBezTo>
                  <a:cubicBezTo>
                    <a:pt x="36370" y="653579"/>
                    <a:pt x="36306" y="653643"/>
                    <a:pt x="36245" y="653709"/>
                  </a:cubicBezTo>
                  <a:cubicBezTo>
                    <a:pt x="35026" y="654936"/>
                    <a:pt x="35026" y="656917"/>
                    <a:pt x="36245" y="658144"/>
                  </a:cubicBezTo>
                  <a:moveTo>
                    <a:pt x="348292" y="404616"/>
                  </a:moveTo>
                  <a:cubicBezTo>
                    <a:pt x="351497" y="407667"/>
                    <a:pt x="356533" y="407667"/>
                    <a:pt x="359738" y="404616"/>
                  </a:cubicBezTo>
                  <a:cubicBezTo>
                    <a:pt x="362848" y="401489"/>
                    <a:pt x="362848" y="396439"/>
                    <a:pt x="359738" y="393313"/>
                  </a:cubicBezTo>
                  <a:cubicBezTo>
                    <a:pt x="356611" y="390202"/>
                    <a:pt x="351561" y="390202"/>
                    <a:pt x="348435" y="393313"/>
                  </a:cubicBezTo>
                  <a:cubicBezTo>
                    <a:pt x="345307" y="396488"/>
                    <a:pt x="345307" y="401584"/>
                    <a:pt x="348435" y="404759"/>
                  </a:cubicBezTo>
                  <a:moveTo>
                    <a:pt x="315957" y="435234"/>
                  </a:moveTo>
                  <a:cubicBezTo>
                    <a:pt x="318880" y="438121"/>
                    <a:pt x="323591" y="438091"/>
                    <a:pt x="326478" y="435168"/>
                  </a:cubicBezTo>
                  <a:cubicBezTo>
                    <a:pt x="329366" y="432243"/>
                    <a:pt x="329336" y="427533"/>
                    <a:pt x="326413" y="424646"/>
                  </a:cubicBezTo>
                  <a:cubicBezTo>
                    <a:pt x="323514" y="421785"/>
                    <a:pt x="318854" y="421785"/>
                    <a:pt x="315957" y="424646"/>
                  </a:cubicBezTo>
                  <a:cubicBezTo>
                    <a:pt x="313034" y="427533"/>
                    <a:pt x="313004" y="432243"/>
                    <a:pt x="315891" y="435168"/>
                  </a:cubicBezTo>
                  <a:cubicBezTo>
                    <a:pt x="315912" y="435189"/>
                    <a:pt x="315934" y="435212"/>
                    <a:pt x="315957" y="435234"/>
                  </a:cubicBezTo>
                  <a:moveTo>
                    <a:pt x="283479" y="465709"/>
                  </a:moveTo>
                  <a:cubicBezTo>
                    <a:pt x="286373" y="468281"/>
                    <a:pt x="290804" y="468019"/>
                    <a:pt x="293377" y="465125"/>
                  </a:cubicBezTo>
                  <a:cubicBezTo>
                    <a:pt x="295634" y="462584"/>
                    <a:pt x="295743" y="458789"/>
                    <a:pt x="293637" y="456123"/>
                  </a:cubicBezTo>
                  <a:cubicBezTo>
                    <a:pt x="290873" y="453489"/>
                    <a:pt x="286528" y="453489"/>
                    <a:pt x="283765" y="456123"/>
                  </a:cubicBezTo>
                  <a:cubicBezTo>
                    <a:pt x="281039" y="458759"/>
                    <a:pt x="280966" y="463107"/>
                    <a:pt x="283603" y="465833"/>
                  </a:cubicBezTo>
                  <a:cubicBezTo>
                    <a:pt x="283656" y="465887"/>
                    <a:pt x="283711" y="465942"/>
                    <a:pt x="283765" y="465995"/>
                  </a:cubicBezTo>
                  <a:moveTo>
                    <a:pt x="251287" y="496470"/>
                  </a:moveTo>
                  <a:cubicBezTo>
                    <a:pt x="253776" y="499009"/>
                    <a:pt x="257853" y="499049"/>
                    <a:pt x="260392" y="496561"/>
                  </a:cubicBezTo>
                  <a:cubicBezTo>
                    <a:pt x="262930" y="494072"/>
                    <a:pt x="262972" y="489996"/>
                    <a:pt x="260482" y="487456"/>
                  </a:cubicBezTo>
                  <a:cubicBezTo>
                    <a:pt x="257994" y="484916"/>
                    <a:pt x="253917" y="484876"/>
                    <a:pt x="251378" y="487364"/>
                  </a:cubicBezTo>
                  <a:cubicBezTo>
                    <a:pt x="251347" y="487394"/>
                    <a:pt x="251317" y="487426"/>
                    <a:pt x="251287" y="487456"/>
                  </a:cubicBezTo>
                  <a:cubicBezTo>
                    <a:pt x="248797" y="489884"/>
                    <a:pt x="248747" y="493869"/>
                    <a:pt x="251175" y="496358"/>
                  </a:cubicBezTo>
                  <a:cubicBezTo>
                    <a:pt x="251213" y="496395"/>
                    <a:pt x="251250" y="496432"/>
                    <a:pt x="251287" y="496470"/>
                  </a:cubicBezTo>
                  <a:moveTo>
                    <a:pt x="218666" y="526945"/>
                  </a:moveTo>
                  <a:cubicBezTo>
                    <a:pt x="220988" y="529161"/>
                    <a:pt x="224642" y="529161"/>
                    <a:pt x="226964" y="526945"/>
                  </a:cubicBezTo>
                  <a:cubicBezTo>
                    <a:pt x="229335" y="524733"/>
                    <a:pt x="229462" y="521017"/>
                    <a:pt x="227250" y="518646"/>
                  </a:cubicBezTo>
                  <a:cubicBezTo>
                    <a:pt x="225038" y="516275"/>
                    <a:pt x="221323" y="516148"/>
                    <a:pt x="218952" y="518360"/>
                  </a:cubicBezTo>
                  <a:cubicBezTo>
                    <a:pt x="216736" y="520682"/>
                    <a:pt x="216736" y="524336"/>
                    <a:pt x="218952" y="526658"/>
                  </a:cubicBezTo>
                  <a:moveTo>
                    <a:pt x="186474" y="557133"/>
                  </a:moveTo>
                  <a:cubicBezTo>
                    <a:pt x="188536" y="559169"/>
                    <a:pt x="191852" y="559169"/>
                    <a:pt x="193914" y="557133"/>
                  </a:cubicBezTo>
                  <a:cubicBezTo>
                    <a:pt x="195967" y="555023"/>
                    <a:pt x="195967" y="551661"/>
                    <a:pt x="193914" y="549550"/>
                  </a:cubicBezTo>
                  <a:cubicBezTo>
                    <a:pt x="191852" y="547514"/>
                    <a:pt x="188536" y="547514"/>
                    <a:pt x="186474" y="549550"/>
                  </a:cubicBezTo>
                  <a:cubicBezTo>
                    <a:pt x="184421" y="551661"/>
                    <a:pt x="184421" y="555023"/>
                    <a:pt x="186474" y="557133"/>
                  </a:cubicBezTo>
                  <a:moveTo>
                    <a:pt x="153996" y="587608"/>
                  </a:moveTo>
                  <a:cubicBezTo>
                    <a:pt x="155853" y="589440"/>
                    <a:pt x="158842" y="589418"/>
                    <a:pt x="160673" y="587561"/>
                  </a:cubicBezTo>
                  <a:cubicBezTo>
                    <a:pt x="162503" y="585704"/>
                    <a:pt x="162482" y="582715"/>
                    <a:pt x="160626" y="580884"/>
                  </a:cubicBezTo>
                  <a:cubicBezTo>
                    <a:pt x="158788" y="579071"/>
                    <a:pt x="155835" y="579071"/>
                    <a:pt x="153996" y="580884"/>
                  </a:cubicBezTo>
                  <a:cubicBezTo>
                    <a:pt x="152139" y="582715"/>
                    <a:pt x="152117" y="585704"/>
                    <a:pt x="153949" y="587561"/>
                  </a:cubicBezTo>
                  <a:cubicBezTo>
                    <a:pt x="153965" y="587577"/>
                    <a:pt x="153980" y="587593"/>
                    <a:pt x="153996" y="587608"/>
                  </a:cubicBezTo>
                  <a:moveTo>
                    <a:pt x="121089" y="617797"/>
                  </a:moveTo>
                  <a:cubicBezTo>
                    <a:pt x="122670" y="619457"/>
                    <a:pt x="125295" y="619521"/>
                    <a:pt x="126955" y="617940"/>
                  </a:cubicBezTo>
                  <a:cubicBezTo>
                    <a:pt x="127004" y="617894"/>
                    <a:pt x="127051" y="617846"/>
                    <a:pt x="127098" y="617797"/>
                  </a:cubicBezTo>
                  <a:cubicBezTo>
                    <a:pt x="128718" y="616290"/>
                    <a:pt x="128809" y="613755"/>
                    <a:pt x="127303" y="612136"/>
                  </a:cubicBezTo>
                  <a:cubicBezTo>
                    <a:pt x="127237" y="612064"/>
                    <a:pt x="127168" y="611997"/>
                    <a:pt x="127098" y="611931"/>
                  </a:cubicBezTo>
                  <a:cubicBezTo>
                    <a:pt x="125478" y="610311"/>
                    <a:pt x="122852" y="610311"/>
                    <a:pt x="121232" y="611931"/>
                  </a:cubicBezTo>
                  <a:cubicBezTo>
                    <a:pt x="119647" y="613543"/>
                    <a:pt x="119584" y="616109"/>
                    <a:pt x="121089" y="617797"/>
                  </a:cubicBezTo>
                  <a:moveTo>
                    <a:pt x="88182" y="648415"/>
                  </a:moveTo>
                  <a:cubicBezTo>
                    <a:pt x="89737" y="649759"/>
                    <a:pt x="92086" y="649587"/>
                    <a:pt x="93428" y="648032"/>
                  </a:cubicBezTo>
                  <a:cubicBezTo>
                    <a:pt x="94560" y="646722"/>
                    <a:pt x="94639" y="644805"/>
                    <a:pt x="93619" y="643407"/>
                  </a:cubicBezTo>
                  <a:cubicBezTo>
                    <a:pt x="92132" y="642008"/>
                    <a:pt x="89813" y="642008"/>
                    <a:pt x="88325" y="643407"/>
                  </a:cubicBezTo>
                  <a:cubicBezTo>
                    <a:pt x="86903" y="644778"/>
                    <a:pt x="86861" y="647043"/>
                    <a:pt x="88232" y="648465"/>
                  </a:cubicBezTo>
                  <a:cubicBezTo>
                    <a:pt x="88262" y="648497"/>
                    <a:pt x="88293" y="648528"/>
                    <a:pt x="88325" y="648558"/>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6" name="Freeform: Shape 65">
              <a:extLst>
                <a:ext uri="{FF2B5EF4-FFF2-40B4-BE49-F238E27FC236}">
                  <a16:creationId xmlns:a16="http://schemas.microsoft.com/office/drawing/2014/main" id="{E8A52289-760A-4B2C-B008-1B6C3CD0702F}"/>
                </a:ext>
              </a:extLst>
            </p:cNvPr>
            <p:cNvSpPr/>
            <p:nvPr/>
          </p:nvSpPr>
          <p:spPr>
            <a:xfrm>
              <a:off x="6290611" y="2659867"/>
              <a:ext cx="371994" cy="371994"/>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chemeClr val="tx1">
                <a:lumMod val="10000"/>
                <a:lumOff val="90000"/>
              </a:schemeClr>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7" name="Freeform: Shape 66">
              <a:extLst>
                <a:ext uri="{FF2B5EF4-FFF2-40B4-BE49-F238E27FC236}">
                  <a16:creationId xmlns:a16="http://schemas.microsoft.com/office/drawing/2014/main" id="{E6E7E350-45DE-4C52-975A-FC3E011AAD38}"/>
                </a:ext>
              </a:extLst>
            </p:cNvPr>
            <p:cNvSpPr/>
            <p:nvPr/>
          </p:nvSpPr>
          <p:spPr>
            <a:xfrm>
              <a:off x="6252267" y="2641840"/>
              <a:ext cx="371994" cy="371994"/>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6" name="Group 5">
            <a:extLst>
              <a:ext uri="{FF2B5EF4-FFF2-40B4-BE49-F238E27FC236}">
                <a16:creationId xmlns:a16="http://schemas.microsoft.com/office/drawing/2014/main" id="{B4815A1C-0BE1-4E49-8591-608E9A61C141}"/>
              </a:ext>
            </a:extLst>
          </p:cNvPr>
          <p:cNvGrpSpPr/>
          <p:nvPr/>
        </p:nvGrpSpPr>
        <p:grpSpPr>
          <a:xfrm flipH="1">
            <a:off x="7026175" y="3341014"/>
            <a:ext cx="718777" cy="294570"/>
            <a:chOff x="6657076" y="1291161"/>
            <a:chExt cx="941857" cy="385993"/>
          </a:xfrm>
          <a:solidFill>
            <a:schemeClr val="accent1"/>
          </a:solidFill>
        </p:grpSpPr>
        <p:sp>
          <p:nvSpPr>
            <p:cNvPr id="77" name="Oval 76">
              <a:extLst>
                <a:ext uri="{FF2B5EF4-FFF2-40B4-BE49-F238E27FC236}">
                  <a16:creationId xmlns:a16="http://schemas.microsoft.com/office/drawing/2014/main" id="{9A02BF72-BE2D-4CD4-A142-CD23834D7EF5}"/>
                </a:ext>
              </a:extLst>
            </p:cNvPr>
            <p:cNvSpPr/>
            <p:nvPr/>
          </p:nvSpPr>
          <p:spPr>
            <a:xfrm>
              <a:off x="6657076" y="1291161"/>
              <a:ext cx="381823" cy="385993"/>
            </a:xfrm>
            <a:prstGeom prst="ellipse">
              <a:avLst/>
            </a:prstGeom>
            <a:grp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78" name="Oval 77">
              <a:extLst>
                <a:ext uri="{FF2B5EF4-FFF2-40B4-BE49-F238E27FC236}">
                  <a16:creationId xmlns:a16="http://schemas.microsoft.com/office/drawing/2014/main" id="{F7BF0720-A9A9-4360-80F8-0D73E76A6B6E}"/>
                </a:ext>
              </a:extLst>
            </p:cNvPr>
            <p:cNvSpPr/>
            <p:nvPr/>
          </p:nvSpPr>
          <p:spPr>
            <a:xfrm>
              <a:off x="7511466" y="1439946"/>
              <a:ext cx="87467" cy="88423"/>
            </a:xfrm>
            <a:prstGeom prst="ellipse">
              <a:avLst/>
            </a:prstGeom>
            <a:grp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79" name="Oval 78">
              <a:extLst>
                <a:ext uri="{FF2B5EF4-FFF2-40B4-BE49-F238E27FC236}">
                  <a16:creationId xmlns:a16="http://schemas.microsoft.com/office/drawing/2014/main" id="{82C03B7D-6267-40CF-80F9-14B01E4D20C0}"/>
                </a:ext>
              </a:extLst>
            </p:cNvPr>
            <p:cNvSpPr/>
            <p:nvPr/>
          </p:nvSpPr>
          <p:spPr>
            <a:xfrm>
              <a:off x="7193259" y="1401352"/>
              <a:ext cx="163834" cy="165623"/>
            </a:xfrm>
            <a:prstGeom prst="ellipse">
              <a:avLst/>
            </a:prstGeom>
            <a:grp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grpSp>
      <p:grpSp>
        <p:nvGrpSpPr>
          <p:cNvPr id="7" name="Group 6">
            <a:extLst>
              <a:ext uri="{FF2B5EF4-FFF2-40B4-BE49-F238E27FC236}">
                <a16:creationId xmlns:a16="http://schemas.microsoft.com/office/drawing/2014/main" id="{C2F13467-6241-448A-A49F-CC4AC8677EF3}"/>
              </a:ext>
            </a:extLst>
          </p:cNvPr>
          <p:cNvGrpSpPr/>
          <p:nvPr/>
        </p:nvGrpSpPr>
        <p:grpSpPr>
          <a:xfrm>
            <a:off x="7415623" y="2605835"/>
            <a:ext cx="1337179" cy="1029681"/>
            <a:chOff x="2261562" y="804947"/>
            <a:chExt cx="1657029" cy="1275978"/>
          </a:xfrm>
        </p:grpSpPr>
        <p:sp>
          <p:nvSpPr>
            <p:cNvPr id="94" name="Freeform: Shape 93">
              <a:extLst>
                <a:ext uri="{FF2B5EF4-FFF2-40B4-BE49-F238E27FC236}">
                  <a16:creationId xmlns:a16="http://schemas.microsoft.com/office/drawing/2014/main" id="{9E469F37-8138-4D18-BD74-032EC0E6E7A7}"/>
                </a:ext>
              </a:extLst>
            </p:cNvPr>
            <p:cNvSpPr/>
            <p:nvPr/>
          </p:nvSpPr>
          <p:spPr>
            <a:xfrm>
              <a:off x="3717178" y="1063245"/>
              <a:ext cx="99074" cy="50898"/>
            </a:xfrm>
            <a:custGeom>
              <a:avLst/>
              <a:gdLst>
                <a:gd name="connsiteX0" fmla="*/ 272991 w 272991"/>
                <a:gd name="connsiteY0" fmla="*/ 0 h 140247"/>
                <a:gd name="connsiteX1" fmla="*/ 272991 w 272991"/>
                <a:gd name="connsiteY1" fmla="*/ 113539 h 140247"/>
                <a:gd name="connsiteX2" fmla="*/ 214840 w 272991"/>
                <a:gd name="connsiteY2" fmla="*/ 131592 h 140247"/>
                <a:gd name="connsiteX3" fmla="*/ 128996 w 272991"/>
                <a:gd name="connsiteY3" fmla="*/ 140247 h 140247"/>
                <a:gd name="connsiteX4" fmla="*/ 43151 w 272991"/>
                <a:gd name="connsiteY4" fmla="*/ 131592 h 140247"/>
                <a:gd name="connsiteX5" fmla="*/ 0 w 272991"/>
                <a:gd name="connsiteY5" fmla="*/ 118196 h 140247"/>
                <a:gd name="connsiteX6" fmla="*/ 0 w 272991"/>
                <a:gd name="connsiteY6" fmla="*/ 8138 h 140247"/>
                <a:gd name="connsiteX7" fmla="*/ 3922 w 272991"/>
                <a:gd name="connsiteY7" fmla="*/ 10266 h 140247"/>
                <a:gd name="connsiteX8" fmla="*/ 128996 w 272991"/>
                <a:gd name="connsiteY8" fmla="*/ 35500 h 140247"/>
                <a:gd name="connsiteX9" fmla="*/ 254070 w 272991"/>
                <a:gd name="connsiteY9" fmla="*/ 10266 h 140247"/>
                <a:gd name="connsiteX10" fmla="*/ 272991 w 272991"/>
                <a:gd name="connsiteY10" fmla="*/ 0 h 140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991" h="140247">
                  <a:moveTo>
                    <a:pt x="272991" y="0"/>
                  </a:moveTo>
                  <a:lnTo>
                    <a:pt x="272991" y="113539"/>
                  </a:lnTo>
                  <a:lnTo>
                    <a:pt x="214840" y="131592"/>
                  </a:lnTo>
                  <a:cubicBezTo>
                    <a:pt x="187111" y="137267"/>
                    <a:pt x="158401" y="140247"/>
                    <a:pt x="128996" y="140247"/>
                  </a:cubicBezTo>
                  <a:cubicBezTo>
                    <a:pt x="99591" y="140247"/>
                    <a:pt x="70881" y="137267"/>
                    <a:pt x="43151" y="131592"/>
                  </a:cubicBezTo>
                  <a:lnTo>
                    <a:pt x="0" y="118196"/>
                  </a:lnTo>
                  <a:lnTo>
                    <a:pt x="0" y="8138"/>
                  </a:lnTo>
                  <a:lnTo>
                    <a:pt x="3922" y="10266"/>
                  </a:lnTo>
                  <a:cubicBezTo>
                    <a:pt x="42358" y="26516"/>
                    <a:pt x="84622" y="35500"/>
                    <a:pt x="128996" y="35500"/>
                  </a:cubicBezTo>
                  <a:cubicBezTo>
                    <a:pt x="173369" y="35500"/>
                    <a:pt x="215634" y="26516"/>
                    <a:pt x="254070" y="10266"/>
                  </a:cubicBezTo>
                  <a:lnTo>
                    <a:pt x="272991" y="0"/>
                  </a:lnTo>
                  <a:close/>
                </a:path>
              </a:pathLst>
            </a:custGeom>
            <a:solidFill>
              <a:srgbClr val="00BCEB">
                <a:lumMod val="75000"/>
              </a:srgbClr>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5" name="Freeform: Shape 94">
              <a:extLst>
                <a:ext uri="{FF2B5EF4-FFF2-40B4-BE49-F238E27FC236}">
                  <a16:creationId xmlns:a16="http://schemas.microsoft.com/office/drawing/2014/main" id="{803E9449-064C-4462-9985-81A597EE4548}"/>
                </a:ext>
              </a:extLst>
            </p:cNvPr>
            <p:cNvSpPr/>
            <p:nvPr/>
          </p:nvSpPr>
          <p:spPr>
            <a:xfrm>
              <a:off x="3609395" y="804947"/>
              <a:ext cx="309196" cy="301193"/>
            </a:xfrm>
            <a:custGeom>
              <a:avLst/>
              <a:gdLst>
                <a:gd name="connsiteX0" fmla="*/ 425987 w 851974"/>
                <a:gd name="connsiteY0" fmla="*/ 0 h 829923"/>
                <a:gd name="connsiteX1" fmla="*/ 851974 w 851974"/>
                <a:gd name="connsiteY1" fmla="*/ 425987 h 829923"/>
                <a:gd name="connsiteX2" fmla="*/ 591790 w 851974"/>
                <a:gd name="connsiteY2" fmla="*/ 818495 h 829923"/>
                <a:gd name="connsiteX3" fmla="*/ 569982 w 851974"/>
                <a:gd name="connsiteY3" fmla="*/ 825266 h 829923"/>
                <a:gd name="connsiteX4" fmla="*/ 569982 w 851974"/>
                <a:gd name="connsiteY4" fmla="*/ 711727 h 829923"/>
                <a:gd name="connsiteX5" fmla="*/ 605630 w 851974"/>
                <a:gd name="connsiteY5" fmla="*/ 692385 h 829923"/>
                <a:gd name="connsiteX6" fmla="*/ 747227 w 851974"/>
                <a:gd name="connsiteY6" fmla="*/ 425987 h 829923"/>
                <a:gd name="connsiteX7" fmla="*/ 425987 w 851974"/>
                <a:gd name="connsiteY7" fmla="*/ 104747 h 829923"/>
                <a:gd name="connsiteX8" fmla="*/ 104747 w 851974"/>
                <a:gd name="connsiteY8" fmla="*/ 425987 h 829923"/>
                <a:gd name="connsiteX9" fmla="*/ 246344 w 851974"/>
                <a:gd name="connsiteY9" fmla="*/ 692385 h 829923"/>
                <a:gd name="connsiteX10" fmla="*/ 296991 w 851974"/>
                <a:gd name="connsiteY10" fmla="*/ 719865 h 829923"/>
                <a:gd name="connsiteX11" fmla="*/ 296991 w 851974"/>
                <a:gd name="connsiteY11" fmla="*/ 829923 h 829923"/>
                <a:gd name="connsiteX12" fmla="*/ 260183 w 851974"/>
                <a:gd name="connsiteY12" fmla="*/ 818495 h 829923"/>
                <a:gd name="connsiteX13" fmla="*/ 0 w 851974"/>
                <a:gd name="connsiteY13" fmla="*/ 425987 h 829923"/>
                <a:gd name="connsiteX14" fmla="*/ 425987 w 851974"/>
                <a:gd name="connsiteY14" fmla="*/ 0 h 829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1974" h="829923">
                  <a:moveTo>
                    <a:pt x="425987" y="0"/>
                  </a:moveTo>
                  <a:cubicBezTo>
                    <a:pt x="661229" y="0"/>
                    <a:pt x="851974" y="190744"/>
                    <a:pt x="851974" y="425987"/>
                  </a:cubicBezTo>
                  <a:cubicBezTo>
                    <a:pt x="851974" y="602419"/>
                    <a:pt x="744680" y="753821"/>
                    <a:pt x="591790" y="818495"/>
                  </a:cubicBezTo>
                  <a:lnTo>
                    <a:pt x="569982" y="825266"/>
                  </a:lnTo>
                  <a:lnTo>
                    <a:pt x="569982" y="711727"/>
                  </a:lnTo>
                  <a:lnTo>
                    <a:pt x="605630" y="692385"/>
                  </a:lnTo>
                  <a:cubicBezTo>
                    <a:pt x="691076" y="634672"/>
                    <a:pt x="747227" y="536921"/>
                    <a:pt x="747227" y="425987"/>
                  </a:cubicBezTo>
                  <a:cubicBezTo>
                    <a:pt x="747227" y="248492"/>
                    <a:pt x="603481" y="104747"/>
                    <a:pt x="425987" y="104747"/>
                  </a:cubicBezTo>
                  <a:cubicBezTo>
                    <a:pt x="248492" y="104747"/>
                    <a:pt x="104747" y="248492"/>
                    <a:pt x="104747" y="425987"/>
                  </a:cubicBezTo>
                  <a:cubicBezTo>
                    <a:pt x="104747" y="536921"/>
                    <a:pt x="160897" y="634672"/>
                    <a:pt x="246344" y="692385"/>
                  </a:cubicBezTo>
                  <a:lnTo>
                    <a:pt x="296991" y="719865"/>
                  </a:lnTo>
                  <a:lnTo>
                    <a:pt x="296991" y="829923"/>
                  </a:lnTo>
                  <a:lnTo>
                    <a:pt x="260183" y="818495"/>
                  </a:lnTo>
                  <a:cubicBezTo>
                    <a:pt x="107294" y="753821"/>
                    <a:pt x="0" y="602419"/>
                    <a:pt x="0" y="425987"/>
                  </a:cubicBezTo>
                  <a:cubicBezTo>
                    <a:pt x="0" y="190744"/>
                    <a:pt x="190744" y="0"/>
                    <a:pt x="425987" y="0"/>
                  </a:cubicBezTo>
                  <a:close/>
                </a:path>
              </a:pathLst>
            </a:custGeom>
            <a:solidFill>
              <a:srgbClr val="00BCEB">
                <a:lumMod val="75000"/>
              </a:srgbClr>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6" name="Freeform: Shape 95">
              <a:extLst>
                <a:ext uri="{FF2B5EF4-FFF2-40B4-BE49-F238E27FC236}">
                  <a16:creationId xmlns:a16="http://schemas.microsoft.com/office/drawing/2014/main" id="{C13BBAEE-959E-4698-9037-CBCF12D180A7}"/>
                </a:ext>
              </a:extLst>
            </p:cNvPr>
            <p:cNvSpPr/>
            <p:nvPr/>
          </p:nvSpPr>
          <p:spPr>
            <a:xfrm>
              <a:off x="3717178" y="907287"/>
              <a:ext cx="99074" cy="168842"/>
            </a:xfrm>
            <a:custGeom>
              <a:avLst/>
              <a:gdLst>
                <a:gd name="connsiteX0" fmla="*/ 136496 w 272991"/>
                <a:gd name="connsiteY0" fmla="*/ 0 h 465236"/>
                <a:gd name="connsiteX1" fmla="*/ 272991 w 272991"/>
                <a:gd name="connsiteY1" fmla="*/ 136496 h 465236"/>
                <a:gd name="connsiteX2" fmla="*/ 272991 w 272991"/>
                <a:gd name="connsiteY2" fmla="*/ 429736 h 465236"/>
                <a:gd name="connsiteX3" fmla="*/ 254070 w 272991"/>
                <a:gd name="connsiteY3" fmla="*/ 440002 h 465236"/>
                <a:gd name="connsiteX4" fmla="*/ 128996 w 272991"/>
                <a:gd name="connsiteY4" fmla="*/ 465236 h 465236"/>
                <a:gd name="connsiteX5" fmla="*/ 3922 w 272991"/>
                <a:gd name="connsiteY5" fmla="*/ 440002 h 465236"/>
                <a:gd name="connsiteX6" fmla="*/ 0 w 272991"/>
                <a:gd name="connsiteY6" fmla="*/ 437874 h 465236"/>
                <a:gd name="connsiteX7" fmla="*/ 0 w 272991"/>
                <a:gd name="connsiteY7" fmla="*/ 267742 h 465236"/>
                <a:gd name="connsiteX8" fmla="*/ 130746 w 272991"/>
                <a:gd name="connsiteY8" fmla="*/ 267742 h 465236"/>
                <a:gd name="connsiteX9" fmla="*/ 264992 w 272991"/>
                <a:gd name="connsiteY9" fmla="*/ 133746 h 465236"/>
                <a:gd name="connsiteX10" fmla="*/ 133746 w 272991"/>
                <a:gd name="connsiteY10" fmla="*/ 250 h 465236"/>
                <a:gd name="connsiteX11" fmla="*/ 136496 w 272991"/>
                <a:gd name="connsiteY11" fmla="*/ 0 h 465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991" h="465236">
                  <a:moveTo>
                    <a:pt x="136496" y="0"/>
                  </a:moveTo>
                  <a:cubicBezTo>
                    <a:pt x="211993" y="0"/>
                    <a:pt x="272991" y="60998"/>
                    <a:pt x="272991" y="136496"/>
                  </a:cubicBezTo>
                  <a:lnTo>
                    <a:pt x="272991" y="429736"/>
                  </a:lnTo>
                  <a:lnTo>
                    <a:pt x="254070" y="440002"/>
                  </a:lnTo>
                  <a:cubicBezTo>
                    <a:pt x="215634" y="456252"/>
                    <a:pt x="173369" y="465236"/>
                    <a:pt x="128996" y="465236"/>
                  </a:cubicBezTo>
                  <a:cubicBezTo>
                    <a:pt x="84622" y="465236"/>
                    <a:pt x="42358" y="456252"/>
                    <a:pt x="3922" y="440002"/>
                  </a:cubicBezTo>
                  <a:lnTo>
                    <a:pt x="0" y="437874"/>
                  </a:lnTo>
                  <a:lnTo>
                    <a:pt x="0" y="267742"/>
                  </a:lnTo>
                  <a:lnTo>
                    <a:pt x="130746" y="267742"/>
                  </a:lnTo>
                  <a:cubicBezTo>
                    <a:pt x="204994" y="267742"/>
                    <a:pt x="264992" y="207744"/>
                    <a:pt x="264992" y="133746"/>
                  </a:cubicBezTo>
                  <a:cubicBezTo>
                    <a:pt x="264992" y="60998"/>
                    <a:pt x="206244" y="2000"/>
                    <a:pt x="133746" y="250"/>
                  </a:cubicBezTo>
                  <a:cubicBezTo>
                    <a:pt x="134746" y="250"/>
                    <a:pt x="135496" y="0"/>
                    <a:pt x="136496" y="0"/>
                  </a:cubicBezTo>
                  <a:close/>
                </a:path>
              </a:pathLst>
            </a:custGeom>
            <a:solidFill>
              <a:srgbClr val="00BCEB"/>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7" name="Freeform: Shape 96">
              <a:extLst>
                <a:ext uri="{FF2B5EF4-FFF2-40B4-BE49-F238E27FC236}">
                  <a16:creationId xmlns:a16="http://schemas.microsoft.com/office/drawing/2014/main" id="{A862FA8C-B71E-424C-B9AD-55F2CC7521EB}"/>
                </a:ext>
              </a:extLst>
            </p:cNvPr>
            <p:cNvSpPr/>
            <p:nvPr/>
          </p:nvSpPr>
          <p:spPr>
            <a:xfrm>
              <a:off x="3717178" y="1104450"/>
              <a:ext cx="99074" cy="676971"/>
            </a:xfrm>
            <a:custGeom>
              <a:avLst/>
              <a:gdLst>
                <a:gd name="connsiteX0" fmla="*/ 272991 w 272991"/>
                <a:gd name="connsiteY0" fmla="*/ 0 h 1865360"/>
                <a:gd name="connsiteX1" fmla="*/ 272991 w 272991"/>
                <a:gd name="connsiteY1" fmla="*/ 1865360 h 1865360"/>
                <a:gd name="connsiteX2" fmla="*/ 214840 w 272991"/>
                <a:gd name="connsiteY2" fmla="*/ 1847306 h 1865360"/>
                <a:gd name="connsiteX3" fmla="*/ 128996 w 272991"/>
                <a:gd name="connsiteY3" fmla="*/ 1838651 h 1865360"/>
                <a:gd name="connsiteX4" fmla="*/ 43151 w 272991"/>
                <a:gd name="connsiteY4" fmla="*/ 1847306 h 1865360"/>
                <a:gd name="connsiteX5" fmla="*/ 0 w 272991"/>
                <a:gd name="connsiteY5" fmla="*/ 1860703 h 1865360"/>
                <a:gd name="connsiteX6" fmla="*/ 0 w 272991"/>
                <a:gd name="connsiteY6" fmla="*/ 4657 h 1865360"/>
                <a:gd name="connsiteX7" fmla="*/ 43151 w 272991"/>
                <a:gd name="connsiteY7" fmla="*/ 18053 h 1865360"/>
                <a:gd name="connsiteX8" fmla="*/ 128996 w 272991"/>
                <a:gd name="connsiteY8" fmla="*/ 26708 h 1865360"/>
                <a:gd name="connsiteX9" fmla="*/ 214840 w 272991"/>
                <a:gd name="connsiteY9" fmla="*/ 18053 h 1865360"/>
                <a:gd name="connsiteX10" fmla="*/ 272991 w 272991"/>
                <a:gd name="connsiteY10" fmla="*/ 0 h 1865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991" h="1865360">
                  <a:moveTo>
                    <a:pt x="272991" y="0"/>
                  </a:moveTo>
                  <a:lnTo>
                    <a:pt x="272991" y="1865360"/>
                  </a:lnTo>
                  <a:lnTo>
                    <a:pt x="214840" y="1847306"/>
                  </a:lnTo>
                  <a:cubicBezTo>
                    <a:pt x="187111" y="1841632"/>
                    <a:pt x="158401" y="1838651"/>
                    <a:pt x="128996" y="1838651"/>
                  </a:cubicBezTo>
                  <a:cubicBezTo>
                    <a:pt x="99591" y="1838651"/>
                    <a:pt x="70881" y="1841632"/>
                    <a:pt x="43151" y="1847306"/>
                  </a:cubicBezTo>
                  <a:lnTo>
                    <a:pt x="0" y="1860703"/>
                  </a:lnTo>
                  <a:lnTo>
                    <a:pt x="0" y="4657"/>
                  </a:lnTo>
                  <a:lnTo>
                    <a:pt x="43151" y="18053"/>
                  </a:lnTo>
                  <a:cubicBezTo>
                    <a:pt x="70881" y="23728"/>
                    <a:pt x="99591" y="26708"/>
                    <a:pt x="128996" y="26708"/>
                  </a:cubicBezTo>
                  <a:cubicBezTo>
                    <a:pt x="158401" y="26708"/>
                    <a:pt x="187111" y="23728"/>
                    <a:pt x="214840" y="18053"/>
                  </a:cubicBezTo>
                  <a:lnTo>
                    <a:pt x="272991" y="0"/>
                  </a:lnTo>
                  <a:close/>
                </a:path>
              </a:pathLst>
            </a:custGeom>
            <a:solidFill>
              <a:srgbClr val="00BCEB"/>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8" name="Freeform: Shape 97">
              <a:extLst>
                <a:ext uri="{FF2B5EF4-FFF2-40B4-BE49-F238E27FC236}">
                  <a16:creationId xmlns:a16="http://schemas.microsoft.com/office/drawing/2014/main" id="{93A5B8C0-9E48-40E9-9830-D4B21D0CE370}"/>
                </a:ext>
              </a:extLst>
            </p:cNvPr>
            <p:cNvSpPr/>
            <p:nvPr/>
          </p:nvSpPr>
          <p:spPr>
            <a:xfrm>
              <a:off x="3609395" y="1771729"/>
              <a:ext cx="309196" cy="309196"/>
            </a:xfrm>
            <a:custGeom>
              <a:avLst/>
              <a:gdLst>
                <a:gd name="connsiteX0" fmla="*/ 154598 w 309196"/>
                <a:gd name="connsiteY0" fmla="*/ 38015 h 309196"/>
                <a:gd name="connsiteX1" fmla="*/ 109206 w 309196"/>
                <a:gd name="connsiteY1" fmla="*/ 47172 h 309196"/>
                <a:gd name="connsiteX2" fmla="*/ 107783 w 309196"/>
                <a:gd name="connsiteY2" fmla="*/ 47945 h 309196"/>
                <a:gd name="connsiteX3" fmla="*/ 107783 w 309196"/>
                <a:gd name="connsiteY3" fmla="*/ 47945 h 309196"/>
                <a:gd name="connsiteX4" fmla="*/ 89402 w 309196"/>
                <a:gd name="connsiteY4" fmla="*/ 57918 h 309196"/>
                <a:gd name="connsiteX5" fmla="*/ 38014 w 309196"/>
                <a:gd name="connsiteY5" fmla="*/ 154598 h 309196"/>
                <a:gd name="connsiteX6" fmla="*/ 154598 w 309196"/>
                <a:gd name="connsiteY6" fmla="*/ 271182 h 309196"/>
                <a:gd name="connsiteX7" fmla="*/ 271182 w 309196"/>
                <a:gd name="connsiteY7" fmla="*/ 154598 h 309196"/>
                <a:gd name="connsiteX8" fmla="*/ 219794 w 309196"/>
                <a:gd name="connsiteY8" fmla="*/ 57918 h 309196"/>
                <a:gd name="connsiteX9" fmla="*/ 206856 w 309196"/>
                <a:gd name="connsiteY9" fmla="*/ 50898 h 309196"/>
                <a:gd name="connsiteX10" fmla="*/ 206856 w 309196"/>
                <a:gd name="connsiteY10" fmla="*/ 50898 h 309196"/>
                <a:gd name="connsiteX11" fmla="*/ 199990 w 309196"/>
                <a:gd name="connsiteY11" fmla="*/ 47172 h 309196"/>
                <a:gd name="connsiteX12" fmla="*/ 154598 w 309196"/>
                <a:gd name="connsiteY12" fmla="*/ 38015 h 309196"/>
                <a:gd name="connsiteX13" fmla="*/ 154598 w 309196"/>
                <a:gd name="connsiteY13" fmla="*/ 0 h 309196"/>
                <a:gd name="connsiteX14" fmla="*/ 185753 w 309196"/>
                <a:gd name="connsiteY14" fmla="*/ 3141 h 309196"/>
                <a:gd name="connsiteX15" fmla="*/ 206857 w 309196"/>
                <a:gd name="connsiteY15" fmla="*/ 9693 h 309196"/>
                <a:gd name="connsiteX16" fmla="*/ 206857 w 309196"/>
                <a:gd name="connsiteY16" fmla="*/ 9693 h 309196"/>
                <a:gd name="connsiteX17" fmla="*/ 214771 w 309196"/>
                <a:gd name="connsiteY17" fmla="*/ 12150 h 309196"/>
                <a:gd name="connsiteX18" fmla="*/ 309196 w 309196"/>
                <a:gd name="connsiteY18" fmla="*/ 154598 h 309196"/>
                <a:gd name="connsiteX19" fmla="*/ 154598 w 309196"/>
                <a:gd name="connsiteY19" fmla="*/ 309196 h 309196"/>
                <a:gd name="connsiteX20" fmla="*/ 0 w 309196"/>
                <a:gd name="connsiteY20" fmla="*/ 154598 h 309196"/>
                <a:gd name="connsiteX21" fmla="*/ 94425 w 309196"/>
                <a:gd name="connsiteY21" fmla="*/ 12150 h 309196"/>
                <a:gd name="connsiteX22" fmla="*/ 107783 w 309196"/>
                <a:gd name="connsiteY22" fmla="*/ 8003 h 309196"/>
                <a:gd name="connsiteX23" fmla="*/ 107783 w 309196"/>
                <a:gd name="connsiteY23" fmla="*/ 8003 h 309196"/>
                <a:gd name="connsiteX24" fmla="*/ 123444 w 309196"/>
                <a:gd name="connsiteY24" fmla="*/ 3141 h 309196"/>
                <a:gd name="connsiteX25" fmla="*/ 154598 w 309196"/>
                <a:gd name="connsiteY25" fmla="*/ 0 h 30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9196" h="309196">
                  <a:moveTo>
                    <a:pt x="154598" y="38015"/>
                  </a:moveTo>
                  <a:cubicBezTo>
                    <a:pt x="138494" y="38015"/>
                    <a:pt x="123156" y="41275"/>
                    <a:pt x="109206" y="47172"/>
                  </a:cubicBezTo>
                  <a:lnTo>
                    <a:pt x="107783" y="47945"/>
                  </a:lnTo>
                  <a:lnTo>
                    <a:pt x="107783" y="47945"/>
                  </a:lnTo>
                  <a:lnTo>
                    <a:pt x="89402" y="57918"/>
                  </a:lnTo>
                  <a:cubicBezTo>
                    <a:pt x="58392" y="78863"/>
                    <a:pt x="38014" y="114338"/>
                    <a:pt x="38014" y="154598"/>
                  </a:cubicBezTo>
                  <a:cubicBezTo>
                    <a:pt x="38014" y="219014"/>
                    <a:pt x="90182" y="271182"/>
                    <a:pt x="154598" y="271182"/>
                  </a:cubicBezTo>
                  <a:cubicBezTo>
                    <a:pt x="219014" y="271182"/>
                    <a:pt x="271182" y="219014"/>
                    <a:pt x="271182" y="154598"/>
                  </a:cubicBezTo>
                  <a:cubicBezTo>
                    <a:pt x="271182" y="114338"/>
                    <a:pt x="250803" y="78863"/>
                    <a:pt x="219794" y="57918"/>
                  </a:cubicBezTo>
                  <a:lnTo>
                    <a:pt x="206856" y="50898"/>
                  </a:lnTo>
                  <a:lnTo>
                    <a:pt x="206856" y="50898"/>
                  </a:lnTo>
                  <a:lnTo>
                    <a:pt x="199990" y="47172"/>
                  </a:lnTo>
                  <a:cubicBezTo>
                    <a:pt x="186041" y="41275"/>
                    <a:pt x="170702" y="38015"/>
                    <a:pt x="154598" y="38015"/>
                  </a:cubicBezTo>
                  <a:close/>
                  <a:moveTo>
                    <a:pt x="154598" y="0"/>
                  </a:moveTo>
                  <a:cubicBezTo>
                    <a:pt x="165270" y="0"/>
                    <a:pt x="175690" y="1082"/>
                    <a:pt x="185753" y="3141"/>
                  </a:cubicBezTo>
                  <a:lnTo>
                    <a:pt x="206857" y="9693"/>
                  </a:lnTo>
                  <a:lnTo>
                    <a:pt x="206857" y="9693"/>
                  </a:lnTo>
                  <a:lnTo>
                    <a:pt x="214771" y="12150"/>
                  </a:lnTo>
                  <a:cubicBezTo>
                    <a:pt x="270257" y="35621"/>
                    <a:pt x="309196" y="90568"/>
                    <a:pt x="309196" y="154598"/>
                  </a:cubicBezTo>
                  <a:cubicBezTo>
                    <a:pt x="309196" y="239972"/>
                    <a:pt x="239971" y="309196"/>
                    <a:pt x="154598" y="309196"/>
                  </a:cubicBezTo>
                  <a:cubicBezTo>
                    <a:pt x="69224" y="309196"/>
                    <a:pt x="0" y="239972"/>
                    <a:pt x="0" y="154598"/>
                  </a:cubicBezTo>
                  <a:cubicBezTo>
                    <a:pt x="0" y="90568"/>
                    <a:pt x="38939" y="35621"/>
                    <a:pt x="94425" y="12150"/>
                  </a:cubicBezTo>
                  <a:lnTo>
                    <a:pt x="107783" y="8003"/>
                  </a:lnTo>
                  <a:lnTo>
                    <a:pt x="107783" y="8003"/>
                  </a:lnTo>
                  <a:lnTo>
                    <a:pt x="123444" y="3141"/>
                  </a:lnTo>
                  <a:cubicBezTo>
                    <a:pt x="133507" y="1082"/>
                    <a:pt x="143927" y="0"/>
                    <a:pt x="154598" y="0"/>
                  </a:cubicBezTo>
                  <a:close/>
                </a:path>
              </a:pathLst>
            </a:custGeom>
            <a:solidFill>
              <a:srgbClr val="005468"/>
            </a:solidFill>
            <a:ln w="24984"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9" name="Freeform: Shape 98">
              <a:extLst>
                <a:ext uri="{FF2B5EF4-FFF2-40B4-BE49-F238E27FC236}">
                  <a16:creationId xmlns:a16="http://schemas.microsoft.com/office/drawing/2014/main" id="{A5D11619-54E9-4702-B1AA-641C4E8AAD2A}"/>
                </a:ext>
              </a:extLst>
            </p:cNvPr>
            <p:cNvSpPr/>
            <p:nvPr/>
          </p:nvSpPr>
          <p:spPr>
            <a:xfrm>
              <a:off x="3717178" y="1809743"/>
              <a:ext cx="99074" cy="113227"/>
            </a:xfrm>
            <a:custGeom>
              <a:avLst/>
              <a:gdLst>
                <a:gd name="connsiteX0" fmla="*/ 128996 w 272991"/>
                <a:gd name="connsiteY0" fmla="*/ 0 h 311991"/>
                <a:gd name="connsiteX1" fmla="*/ 254070 w 272991"/>
                <a:gd name="connsiteY1" fmla="*/ 25234 h 311991"/>
                <a:gd name="connsiteX2" fmla="*/ 272991 w 272991"/>
                <a:gd name="connsiteY2" fmla="*/ 35500 h 311991"/>
                <a:gd name="connsiteX3" fmla="*/ 272991 w 272991"/>
                <a:gd name="connsiteY3" fmla="*/ 175495 h 311991"/>
                <a:gd name="connsiteX4" fmla="*/ 136496 w 272991"/>
                <a:gd name="connsiteY4" fmla="*/ 311991 h 311991"/>
                <a:gd name="connsiteX5" fmla="*/ 0 w 272991"/>
                <a:gd name="connsiteY5" fmla="*/ 175495 h 311991"/>
                <a:gd name="connsiteX6" fmla="*/ 0 w 272991"/>
                <a:gd name="connsiteY6" fmla="*/ 27362 h 311991"/>
                <a:gd name="connsiteX7" fmla="*/ 3922 w 272991"/>
                <a:gd name="connsiteY7" fmla="*/ 25234 h 311991"/>
                <a:gd name="connsiteX8" fmla="*/ 128996 w 272991"/>
                <a:gd name="connsiteY8" fmla="*/ 0 h 311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991" h="311991">
                  <a:moveTo>
                    <a:pt x="128996" y="0"/>
                  </a:moveTo>
                  <a:cubicBezTo>
                    <a:pt x="173369" y="0"/>
                    <a:pt x="215634" y="8984"/>
                    <a:pt x="254070" y="25234"/>
                  </a:cubicBezTo>
                  <a:lnTo>
                    <a:pt x="272991" y="35500"/>
                  </a:lnTo>
                  <a:lnTo>
                    <a:pt x="272991" y="175495"/>
                  </a:lnTo>
                  <a:cubicBezTo>
                    <a:pt x="272991" y="250992"/>
                    <a:pt x="211993" y="311991"/>
                    <a:pt x="136496" y="311991"/>
                  </a:cubicBezTo>
                  <a:cubicBezTo>
                    <a:pt x="60998" y="311991"/>
                    <a:pt x="0" y="251243"/>
                    <a:pt x="0" y="175495"/>
                  </a:cubicBezTo>
                  <a:lnTo>
                    <a:pt x="0" y="27362"/>
                  </a:lnTo>
                  <a:lnTo>
                    <a:pt x="3922" y="25234"/>
                  </a:lnTo>
                  <a:cubicBezTo>
                    <a:pt x="42358" y="8984"/>
                    <a:pt x="84622" y="0"/>
                    <a:pt x="128996" y="0"/>
                  </a:cubicBezTo>
                  <a:close/>
                </a:path>
              </a:pathLst>
            </a:custGeom>
            <a:solidFill>
              <a:srgbClr val="00BCEB"/>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0" name="Freeform: Shape 99">
              <a:extLst>
                <a:ext uri="{FF2B5EF4-FFF2-40B4-BE49-F238E27FC236}">
                  <a16:creationId xmlns:a16="http://schemas.microsoft.com/office/drawing/2014/main" id="{E5B86550-2468-467A-941A-A1F7E5D45A6B}"/>
                </a:ext>
              </a:extLst>
            </p:cNvPr>
            <p:cNvSpPr/>
            <p:nvPr/>
          </p:nvSpPr>
          <p:spPr>
            <a:xfrm>
              <a:off x="2701404" y="862649"/>
              <a:ext cx="186171" cy="187260"/>
            </a:xfrm>
            <a:custGeom>
              <a:avLst/>
              <a:gdLst>
                <a:gd name="connsiteX0" fmla="*/ 0 w 512984"/>
                <a:gd name="connsiteY0" fmla="*/ 257992 h 515984"/>
                <a:gd name="connsiteX1" fmla="*/ 256492 w 512984"/>
                <a:gd name="connsiteY1" fmla="*/ 0 h 515984"/>
                <a:gd name="connsiteX2" fmla="*/ 512984 w 512984"/>
                <a:gd name="connsiteY2" fmla="*/ 257992 h 515984"/>
                <a:gd name="connsiteX3" fmla="*/ 256492 w 512984"/>
                <a:gd name="connsiteY3" fmla="*/ 515984 h 515984"/>
                <a:gd name="connsiteX4" fmla="*/ 0 w 512984"/>
                <a:gd name="connsiteY4" fmla="*/ 257992 h 515984"/>
                <a:gd name="connsiteX5" fmla="*/ 0 w 512984"/>
                <a:gd name="connsiteY5" fmla="*/ 257992 h 515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2984" h="515984">
                  <a:moveTo>
                    <a:pt x="0" y="257992"/>
                  </a:moveTo>
                  <a:cubicBezTo>
                    <a:pt x="0" y="115496"/>
                    <a:pt x="114746" y="0"/>
                    <a:pt x="256492" y="0"/>
                  </a:cubicBezTo>
                  <a:cubicBezTo>
                    <a:pt x="398238" y="0"/>
                    <a:pt x="512984" y="115496"/>
                    <a:pt x="512984" y="257992"/>
                  </a:cubicBezTo>
                  <a:cubicBezTo>
                    <a:pt x="512984" y="400488"/>
                    <a:pt x="398238" y="515984"/>
                    <a:pt x="256492" y="515984"/>
                  </a:cubicBezTo>
                  <a:cubicBezTo>
                    <a:pt x="114746" y="515984"/>
                    <a:pt x="0" y="400488"/>
                    <a:pt x="0" y="257992"/>
                  </a:cubicBezTo>
                  <a:lnTo>
                    <a:pt x="0" y="257992"/>
                  </a:lnTo>
                  <a:close/>
                </a:path>
              </a:pathLst>
            </a:custGeom>
            <a:solidFill>
              <a:srgbClr val="00BCEB">
                <a:lumMod val="40000"/>
                <a:lumOff val="60000"/>
              </a:srgbClr>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1" name="Freeform: Shape 100">
              <a:extLst>
                <a:ext uri="{FF2B5EF4-FFF2-40B4-BE49-F238E27FC236}">
                  <a16:creationId xmlns:a16="http://schemas.microsoft.com/office/drawing/2014/main" id="{B9F5AD08-99BE-407A-A45E-FE698E94BE5D}"/>
                </a:ext>
              </a:extLst>
            </p:cNvPr>
            <p:cNvSpPr/>
            <p:nvPr/>
          </p:nvSpPr>
          <p:spPr>
            <a:xfrm>
              <a:off x="2261562" y="907288"/>
              <a:ext cx="1503520" cy="96896"/>
            </a:xfrm>
            <a:custGeom>
              <a:avLst/>
              <a:gdLst>
                <a:gd name="connsiteX0" fmla="*/ 4142872 w 4142871"/>
                <a:gd name="connsiteY0" fmla="*/ 250 h 266991"/>
                <a:gd name="connsiteX1" fmla="*/ 4140122 w 4142871"/>
                <a:gd name="connsiteY1" fmla="*/ 0 h 266991"/>
                <a:gd name="connsiteX2" fmla="*/ 133496 w 4142871"/>
                <a:gd name="connsiteY2" fmla="*/ 0 h 266991"/>
                <a:gd name="connsiteX3" fmla="*/ 0 w 4142871"/>
                <a:gd name="connsiteY3" fmla="*/ 133496 h 266991"/>
                <a:gd name="connsiteX4" fmla="*/ 133496 w 4142871"/>
                <a:gd name="connsiteY4" fmla="*/ 266992 h 266991"/>
                <a:gd name="connsiteX5" fmla="*/ 4009626 w 4142871"/>
                <a:gd name="connsiteY5" fmla="*/ 266992 h 266991"/>
                <a:gd name="connsiteX6" fmla="*/ 4009626 w 4142871"/>
                <a:gd name="connsiteY6" fmla="*/ 136246 h 266991"/>
                <a:gd name="connsiteX7" fmla="*/ 4142872 w 4142871"/>
                <a:gd name="connsiteY7" fmla="*/ 250 h 266991"/>
                <a:gd name="connsiteX8" fmla="*/ 4142872 w 4142871"/>
                <a:gd name="connsiteY8" fmla="*/ 250 h 266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2871" h="266991">
                  <a:moveTo>
                    <a:pt x="4142872" y="250"/>
                  </a:moveTo>
                  <a:cubicBezTo>
                    <a:pt x="4141871" y="250"/>
                    <a:pt x="4141121" y="0"/>
                    <a:pt x="4140122" y="0"/>
                  </a:cubicBezTo>
                  <a:lnTo>
                    <a:pt x="133496" y="0"/>
                  </a:lnTo>
                  <a:cubicBezTo>
                    <a:pt x="59748" y="0"/>
                    <a:pt x="0" y="59748"/>
                    <a:pt x="0" y="133496"/>
                  </a:cubicBezTo>
                  <a:cubicBezTo>
                    <a:pt x="0" y="207244"/>
                    <a:pt x="59748" y="266992"/>
                    <a:pt x="133496" y="266992"/>
                  </a:cubicBezTo>
                  <a:lnTo>
                    <a:pt x="4009626" y="266992"/>
                  </a:lnTo>
                  <a:lnTo>
                    <a:pt x="4009626" y="136246"/>
                  </a:lnTo>
                  <a:cubicBezTo>
                    <a:pt x="4009626" y="61748"/>
                    <a:pt x="4068874" y="1750"/>
                    <a:pt x="4142872" y="250"/>
                  </a:cubicBezTo>
                  <a:lnTo>
                    <a:pt x="4142872" y="250"/>
                  </a:lnTo>
                  <a:close/>
                </a:path>
              </a:pathLst>
            </a:custGeom>
            <a:solidFill>
              <a:srgbClr val="00BCEB"/>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2" name="Freeform: Shape 101">
              <a:extLst>
                <a:ext uri="{FF2B5EF4-FFF2-40B4-BE49-F238E27FC236}">
                  <a16:creationId xmlns:a16="http://schemas.microsoft.com/office/drawing/2014/main" id="{37CA84EB-BDB6-4199-9194-FADE839BB683}"/>
                </a:ext>
              </a:extLst>
            </p:cNvPr>
            <p:cNvSpPr/>
            <p:nvPr/>
          </p:nvSpPr>
          <p:spPr>
            <a:xfrm>
              <a:off x="3717171" y="907289"/>
              <a:ext cx="95807" cy="96896"/>
            </a:xfrm>
            <a:custGeom>
              <a:avLst/>
              <a:gdLst>
                <a:gd name="connsiteX0" fmla="*/ 263992 w 263991"/>
                <a:gd name="connsiteY0" fmla="*/ 133246 h 266991"/>
                <a:gd name="connsiteX1" fmla="*/ 133246 w 263991"/>
                <a:gd name="connsiteY1" fmla="*/ 0 h 266991"/>
                <a:gd name="connsiteX2" fmla="*/ 0 w 263991"/>
                <a:gd name="connsiteY2" fmla="*/ 135996 h 266991"/>
                <a:gd name="connsiteX3" fmla="*/ 0 w 263991"/>
                <a:gd name="connsiteY3" fmla="*/ 266992 h 266991"/>
                <a:gd name="connsiteX4" fmla="*/ 130246 w 263991"/>
                <a:gd name="connsiteY4" fmla="*/ 266992 h 266991"/>
                <a:gd name="connsiteX5" fmla="*/ 263992 w 263991"/>
                <a:gd name="connsiteY5" fmla="*/ 133246 h 266991"/>
                <a:gd name="connsiteX6" fmla="*/ 263992 w 263991"/>
                <a:gd name="connsiteY6" fmla="*/ 133246 h 266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991" h="266991">
                  <a:moveTo>
                    <a:pt x="263992" y="133246"/>
                  </a:moveTo>
                  <a:cubicBezTo>
                    <a:pt x="263992" y="60498"/>
                    <a:pt x="205744" y="1250"/>
                    <a:pt x="133246" y="0"/>
                  </a:cubicBezTo>
                  <a:cubicBezTo>
                    <a:pt x="59248" y="1750"/>
                    <a:pt x="0" y="61498"/>
                    <a:pt x="0" y="135996"/>
                  </a:cubicBezTo>
                  <a:lnTo>
                    <a:pt x="0" y="266992"/>
                  </a:lnTo>
                  <a:lnTo>
                    <a:pt x="130246" y="266992"/>
                  </a:lnTo>
                  <a:cubicBezTo>
                    <a:pt x="204244" y="266992"/>
                    <a:pt x="263992" y="207244"/>
                    <a:pt x="263992" y="133246"/>
                  </a:cubicBezTo>
                  <a:lnTo>
                    <a:pt x="263992" y="133246"/>
                  </a:lnTo>
                  <a:close/>
                </a:path>
              </a:pathLst>
            </a:custGeom>
            <a:solidFill>
              <a:srgbClr val="00BCEB">
                <a:lumMod val="50000"/>
              </a:srgbClr>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2" name="Freeform: Shape 111">
              <a:extLst>
                <a:ext uri="{FF2B5EF4-FFF2-40B4-BE49-F238E27FC236}">
                  <a16:creationId xmlns:a16="http://schemas.microsoft.com/office/drawing/2014/main" id="{1C6963CC-9D05-4256-A388-B856AA26D234}"/>
                </a:ext>
              </a:extLst>
            </p:cNvPr>
            <p:cNvSpPr/>
            <p:nvPr/>
          </p:nvSpPr>
          <p:spPr>
            <a:xfrm>
              <a:off x="3717166" y="907290"/>
              <a:ext cx="95807" cy="96896"/>
            </a:xfrm>
            <a:custGeom>
              <a:avLst/>
              <a:gdLst>
                <a:gd name="connsiteX0" fmla="*/ 263992 w 263991"/>
                <a:gd name="connsiteY0" fmla="*/ 133246 h 266991"/>
                <a:gd name="connsiteX1" fmla="*/ 133246 w 263991"/>
                <a:gd name="connsiteY1" fmla="*/ 0 h 266991"/>
                <a:gd name="connsiteX2" fmla="*/ 0 w 263991"/>
                <a:gd name="connsiteY2" fmla="*/ 135996 h 266991"/>
                <a:gd name="connsiteX3" fmla="*/ 0 w 263991"/>
                <a:gd name="connsiteY3" fmla="*/ 266992 h 266991"/>
                <a:gd name="connsiteX4" fmla="*/ 130246 w 263991"/>
                <a:gd name="connsiteY4" fmla="*/ 266992 h 266991"/>
                <a:gd name="connsiteX5" fmla="*/ 263992 w 263991"/>
                <a:gd name="connsiteY5" fmla="*/ 133246 h 266991"/>
                <a:gd name="connsiteX6" fmla="*/ 263992 w 263991"/>
                <a:gd name="connsiteY6" fmla="*/ 133246 h 266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991" h="266991">
                  <a:moveTo>
                    <a:pt x="263992" y="133246"/>
                  </a:moveTo>
                  <a:cubicBezTo>
                    <a:pt x="263992" y="60498"/>
                    <a:pt x="205744" y="1250"/>
                    <a:pt x="133246" y="0"/>
                  </a:cubicBezTo>
                  <a:cubicBezTo>
                    <a:pt x="59248" y="1750"/>
                    <a:pt x="0" y="61498"/>
                    <a:pt x="0" y="135996"/>
                  </a:cubicBezTo>
                  <a:lnTo>
                    <a:pt x="0" y="266992"/>
                  </a:lnTo>
                  <a:lnTo>
                    <a:pt x="130246" y="266992"/>
                  </a:lnTo>
                  <a:cubicBezTo>
                    <a:pt x="204244" y="266992"/>
                    <a:pt x="263992" y="207244"/>
                    <a:pt x="263992" y="133246"/>
                  </a:cubicBezTo>
                  <a:lnTo>
                    <a:pt x="263992" y="133246"/>
                  </a:lnTo>
                  <a:close/>
                </a:path>
              </a:pathLst>
            </a:custGeom>
            <a:solidFill>
              <a:srgbClr val="00BCEB">
                <a:lumMod val="75000"/>
              </a:srgbClr>
            </a:solidFill>
            <a:ln w="24984" cap="flat">
              <a:solidFill>
                <a:srgbClr val="008DB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Tree>
    <p:extLst>
      <p:ext uri="{BB962C8B-B14F-4D97-AF65-F5344CB8AC3E}">
        <p14:creationId xmlns:p14="http://schemas.microsoft.com/office/powerpoint/2010/main" val="39382605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Freeform: Shape 144">
            <a:extLst>
              <a:ext uri="{FF2B5EF4-FFF2-40B4-BE49-F238E27FC236}">
                <a16:creationId xmlns:a16="http://schemas.microsoft.com/office/drawing/2014/main" id="{C6330A7B-A861-4255-AF83-2902F7C6BAA7}"/>
              </a:ext>
            </a:extLst>
          </p:cNvPr>
          <p:cNvSpPr>
            <a:spLocks/>
          </p:cNvSpPr>
          <p:nvPr/>
        </p:nvSpPr>
        <p:spPr bwMode="auto">
          <a:xfrm>
            <a:off x="8180918" y="2964390"/>
            <a:ext cx="972806" cy="986972"/>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36" name="Oval 135">
            <a:extLst>
              <a:ext uri="{FF2B5EF4-FFF2-40B4-BE49-F238E27FC236}">
                <a16:creationId xmlns:a16="http://schemas.microsoft.com/office/drawing/2014/main" id="{C6E37AC2-9D23-42DA-B727-9CAC8170A48A}"/>
              </a:ext>
            </a:extLst>
          </p:cNvPr>
          <p:cNvSpPr/>
          <p:nvPr/>
        </p:nvSpPr>
        <p:spPr>
          <a:xfrm>
            <a:off x="4999120" y="2799774"/>
            <a:ext cx="1294557" cy="1294557"/>
          </a:xfrm>
          <a:prstGeom prst="ellipse">
            <a:avLst/>
          </a:prstGeom>
          <a:solidFill>
            <a:schemeClr val="bg2">
              <a:lumMod val="85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Freeform: Shape 94">
            <a:extLst>
              <a:ext uri="{FF2B5EF4-FFF2-40B4-BE49-F238E27FC236}">
                <a16:creationId xmlns:a16="http://schemas.microsoft.com/office/drawing/2014/main" id="{916FB15A-B3EF-4DD6-A730-F321D8088768}"/>
              </a:ext>
            </a:extLst>
          </p:cNvPr>
          <p:cNvSpPr>
            <a:spLocks/>
          </p:cNvSpPr>
          <p:nvPr/>
        </p:nvSpPr>
        <p:spPr bwMode="auto">
          <a:xfrm>
            <a:off x="1349043" y="3871893"/>
            <a:ext cx="1408040" cy="331948"/>
          </a:xfrm>
          <a:custGeom>
            <a:avLst/>
            <a:gdLst>
              <a:gd name="connsiteX0" fmla="*/ 3786 w 1225551"/>
              <a:gd name="connsiteY0" fmla="*/ 254000 h 288926"/>
              <a:gd name="connsiteX1" fmla="*/ 45427 w 1225551"/>
              <a:gd name="connsiteY1" fmla="*/ 281164 h 288926"/>
              <a:gd name="connsiteX2" fmla="*/ 45427 w 1225551"/>
              <a:gd name="connsiteY2" fmla="*/ 285045 h 288926"/>
              <a:gd name="connsiteX3" fmla="*/ 45427 w 1225551"/>
              <a:gd name="connsiteY3" fmla="*/ 288925 h 288926"/>
              <a:gd name="connsiteX4" fmla="*/ 41642 w 1225551"/>
              <a:gd name="connsiteY4" fmla="*/ 288925 h 288926"/>
              <a:gd name="connsiteX5" fmla="*/ 0 w 1225551"/>
              <a:gd name="connsiteY5" fmla="*/ 261761 h 288926"/>
              <a:gd name="connsiteX6" fmla="*/ 0 w 1225551"/>
              <a:gd name="connsiteY6" fmla="*/ 257881 h 288926"/>
              <a:gd name="connsiteX7" fmla="*/ 3786 w 1225551"/>
              <a:gd name="connsiteY7" fmla="*/ 254000 h 288926"/>
              <a:gd name="connsiteX8" fmla="*/ 3799 w 1225551"/>
              <a:gd name="connsiteY8" fmla="*/ 215900 h 288926"/>
              <a:gd name="connsiteX9" fmla="*/ 106363 w 1225551"/>
              <a:gd name="connsiteY9" fmla="*/ 281238 h 288926"/>
              <a:gd name="connsiteX10" fmla="*/ 106363 w 1225551"/>
              <a:gd name="connsiteY10" fmla="*/ 285082 h 288926"/>
              <a:gd name="connsiteX11" fmla="*/ 102564 w 1225551"/>
              <a:gd name="connsiteY11" fmla="*/ 288925 h 288926"/>
              <a:gd name="connsiteX12" fmla="*/ 0 w 1225551"/>
              <a:gd name="connsiteY12" fmla="*/ 223587 h 288926"/>
              <a:gd name="connsiteX13" fmla="*/ 0 w 1225551"/>
              <a:gd name="connsiteY13" fmla="*/ 219744 h 288926"/>
              <a:gd name="connsiteX14" fmla="*/ 3799 w 1225551"/>
              <a:gd name="connsiteY14" fmla="*/ 215900 h 288926"/>
              <a:gd name="connsiteX15" fmla="*/ 3788 w 1225551"/>
              <a:gd name="connsiteY15" fmla="*/ 176213 h 288926"/>
              <a:gd name="connsiteX16" fmla="*/ 166688 w 1225551"/>
              <a:gd name="connsiteY16" fmla="*/ 281153 h 288926"/>
              <a:gd name="connsiteX17" fmla="*/ 166688 w 1225551"/>
              <a:gd name="connsiteY17" fmla="*/ 285039 h 288926"/>
              <a:gd name="connsiteX18" fmla="*/ 162900 w 1225551"/>
              <a:gd name="connsiteY18" fmla="*/ 288926 h 288926"/>
              <a:gd name="connsiteX19" fmla="*/ 0 w 1225551"/>
              <a:gd name="connsiteY19" fmla="*/ 183986 h 288926"/>
              <a:gd name="connsiteX20" fmla="*/ 0 w 1225551"/>
              <a:gd name="connsiteY20" fmla="*/ 180100 h 288926"/>
              <a:gd name="connsiteX21" fmla="*/ 3788 w 1225551"/>
              <a:gd name="connsiteY21" fmla="*/ 176213 h 288926"/>
              <a:gd name="connsiteX22" fmla="*/ 0 w 1225551"/>
              <a:gd name="connsiteY22" fmla="*/ 136525 h 288926"/>
              <a:gd name="connsiteX23" fmla="*/ 3784 w 1225551"/>
              <a:gd name="connsiteY23" fmla="*/ 136525 h 288926"/>
              <a:gd name="connsiteX24" fmla="*/ 227013 w 1225551"/>
              <a:gd name="connsiteY24" fmla="*/ 281110 h 288926"/>
              <a:gd name="connsiteX25" fmla="*/ 227013 w 1225551"/>
              <a:gd name="connsiteY25" fmla="*/ 285017 h 288926"/>
              <a:gd name="connsiteX26" fmla="*/ 223229 w 1225551"/>
              <a:gd name="connsiteY26" fmla="*/ 288925 h 288926"/>
              <a:gd name="connsiteX27" fmla="*/ 0 w 1225551"/>
              <a:gd name="connsiteY27" fmla="*/ 144341 h 288926"/>
              <a:gd name="connsiteX28" fmla="*/ 0 w 1225551"/>
              <a:gd name="connsiteY28" fmla="*/ 136525 h 288926"/>
              <a:gd name="connsiteX29" fmla="*/ 0 w 1225551"/>
              <a:gd name="connsiteY29" fmla="*/ 96838 h 288926"/>
              <a:gd name="connsiteX30" fmla="*/ 3781 w 1225551"/>
              <a:gd name="connsiteY30" fmla="*/ 96838 h 288926"/>
              <a:gd name="connsiteX31" fmla="*/ 287338 w 1225551"/>
              <a:gd name="connsiteY31" fmla="*/ 281086 h 288926"/>
              <a:gd name="connsiteX32" fmla="*/ 287338 w 1225551"/>
              <a:gd name="connsiteY32" fmla="*/ 285006 h 288926"/>
              <a:gd name="connsiteX33" fmla="*/ 283557 w 1225551"/>
              <a:gd name="connsiteY33" fmla="*/ 288926 h 288926"/>
              <a:gd name="connsiteX34" fmla="*/ 0 w 1225551"/>
              <a:gd name="connsiteY34" fmla="*/ 100758 h 288926"/>
              <a:gd name="connsiteX35" fmla="*/ 0 w 1225551"/>
              <a:gd name="connsiteY35" fmla="*/ 96838 h 288926"/>
              <a:gd name="connsiteX36" fmla="*/ 0 w 1225551"/>
              <a:gd name="connsiteY36" fmla="*/ 58738 h 288926"/>
              <a:gd name="connsiteX37" fmla="*/ 3779 w 1225551"/>
              <a:gd name="connsiteY37" fmla="*/ 58738 h 288926"/>
              <a:gd name="connsiteX38" fmla="*/ 347663 w 1225551"/>
              <a:gd name="connsiteY38" fmla="*/ 281123 h 288926"/>
              <a:gd name="connsiteX39" fmla="*/ 347663 w 1225551"/>
              <a:gd name="connsiteY39" fmla="*/ 285025 h 288926"/>
              <a:gd name="connsiteX40" fmla="*/ 343884 w 1225551"/>
              <a:gd name="connsiteY40" fmla="*/ 288926 h 288926"/>
              <a:gd name="connsiteX41" fmla="*/ 0 w 1225551"/>
              <a:gd name="connsiteY41" fmla="*/ 62640 h 288926"/>
              <a:gd name="connsiteX42" fmla="*/ 0 w 1225551"/>
              <a:gd name="connsiteY42" fmla="*/ 58738 h 288926"/>
              <a:gd name="connsiteX43" fmla="*/ 0 w 1225551"/>
              <a:gd name="connsiteY43" fmla="*/ 19050 h 288926"/>
              <a:gd name="connsiteX44" fmla="*/ 3792 w 1225551"/>
              <a:gd name="connsiteY44" fmla="*/ 19050 h 288926"/>
              <a:gd name="connsiteX45" fmla="*/ 409575 w 1225551"/>
              <a:gd name="connsiteY45" fmla="*/ 281103 h 288926"/>
              <a:gd name="connsiteX46" fmla="*/ 409575 w 1225551"/>
              <a:gd name="connsiteY46" fmla="*/ 285014 h 288926"/>
              <a:gd name="connsiteX47" fmla="*/ 405783 w 1225551"/>
              <a:gd name="connsiteY47" fmla="*/ 288925 h 288926"/>
              <a:gd name="connsiteX48" fmla="*/ 3792 w 1225551"/>
              <a:gd name="connsiteY48" fmla="*/ 26873 h 288926"/>
              <a:gd name="connsiteX49" fmla="*/ 0 w 1225551"/>
              <a:gd name="connsiteY49" fmla="*/ 22961 h 288926"/>
              <a:gd name="connsiteX50" fmla="*/ 0 w 1225551"/>
              <a:gd name="connsiteY50" fmla="*/ 19050 h 288926"/>
              <a:gd name="connsiteX51" fmla="*/ 1180124 w 1225551"/>
              <a:gd name="connsiteY51" fmla="*/ 0 h 288926"/>
              <a:gd name="connsiteX52" fmla="*/ 1183909 w 1225551"/>
              <a:gd name="connsiteY52" fmla="*/ 0 h 288926"/>
              <a:gd name="connsiteX53" fmla="*/ 1225551 w 1225551"/>
              <a:gd name="connsiteY53" fmla="*/ 27164 h 288926"/>
              <a:gd name="connsiteX54" fmla="*/ 1225551 w 1225551"/>
              <a:gd name="connsiteY54" fmla="*/ 31045 h 288926"/>
              <a:gd name="connsiteX55" fmla="*/ 1221765 w 1225551"/>
              <a:gd name="connsiteY55" fmla="*/ 34925 h 288926"/>
              <a:gd name="connsiteX56" fmla="*/ 1180124 w 1225551"/>
              <a:gd name="connsiteY56" fmla="*/ 7761 h 288926"/>
              <a:gd name="connsiteX57" fmla="*/ 1180124 w 1225551"/>
              <a:gd name="connsiteY57" fmla="*/ 3881 h 288926"/>
              <a:gd name="connsiteX58" fmla="*/ 1180124 w 1225551"/>
              <a:gd name="connsiteY58" fmla="*/ 0 h 288926"/>
              <a:gd name="connsiteX59" fmla="*/ 1122987 w 1225551"/>
              <a:gd name="connsiteY59" fmla="*/ 0 h 288926"/>
              <a:gd name="connsiteX60" fmla="*/ 1225551 w 1225551"/>
              <a:gd name="connsiteY60" fmla="*/ 66759 h 288926"/>
              <a:gd name="connsiteX61" fmla="*/ 1225551 w 1225551"/>
              <a:gd name="connsiteY61" fmla="*/ 70686 h 288926"/>
              <a:gd name="connsiteX62" fmla="*/ 1221752 w 1225551"/>
              <a:gd name="connsiteY62" fmla="*/ 74613 h 288926"/>
              <a:gd name="connsiteX63" fmla="*/ 1119188 w 1225551"/>
              <a:gd name="connsiteY63" fmla="*/ 7854 h 288926"/>
              <a:gd name="connsiteX64" fmla="*/ 1119188 w 1225551"/>
              <a:gd name="connsiteY64" fmla="*/ 3927 h 288926"/>
              <a:gd name="connsiteX65" fmla="*/ 1122987 w 1225551"/>
              <a:gd name="connsiteY65" fmla="*/ 0 h 288926"/>
              <a:gd name="connsiteX66" fmla="*/ 1062651 w 1225551"/>
              <a:gd name="connsiteY66" fmla="*/ 0 h 288926"/>
              <a:gd name="connsiteX67" fmla="*/ 1225551 w 1225551"/>
              <a:gd name="connsiteY67" fmla="*/ 104940 h 288926"/>
              <a:gd name="connsiteX68" fmla="*/ 1225551 w 1225551"/>
              <a:gd name="connsiteY68" fmla="*/ 108826 h 288926"/>
              <a:gd name="connsiteX69" fmla="*/ 1221763 w 1225551"/>
              <a:gd name="connsiteY69" fmla="*/ 112713 h 288926"/>
              <a:gd name="connsiteX70" fmla="*/ 1058863 w 1225551"/>
              <a:gd name="connsiteY70" fmla="*/ 7773 h 288926"/>
              <a:gd name="connsiteX71" fmla="*/ 1058863 w 1225551"/>
              <a:gd name="connsiteY71" fmla="*/ 3887 h 288926"/>
              <a:gd name="connsiteX72" fmla="*/ 1062651 w 1225551"/>
              <a:gd name="connsiteY72" fmla="*/ 0 h 288926"/>
              <a:gd name="connsiteX73" fmla="*/ 1002322 w 1225551"/>
              <a:gd name="connsiteY73" fmla="*/ 0 h 288926"/>
              <a:gd name="connsiteX74" fmla="*/ 1225551 w 1225551"/>
              <a:gd name="connsiteY74" fmla="*/ 144585 h 288926"/>
              <a:gd name="connsiteX75" fmla="*/ 1225551 w 1225551"/>
              <a:gd name="connsiteY75" fmla="*/ 152400 h 288926"/>
              <a:gd name="connsiteX76" fmla="*/ 1221768 w 1225551"/>
              <a:gd name="connsiteY76" fmla="*/ 152400 h 288926"/>
              <a:gd name="connsiteX77" fmla="*/ 998538 w 1225551"/>
              <a:gd name="connsiteY77" fmla="*/ 7816 h 288926"/>
              <a:gd name="connsiteX78" fmla="*/ 998538 w 1225551"/>
              <a:gd name="connsiteY78" fmla="*/ 3908 h 288926"/>
              <a:gd name="connsiteX79" fmla="*/ 1002322 w 1225551"/>
              <a:gd name="connsiteY79" fmla="*/ 0 h 288926"/>
              <a:gd name="connsiteX80" fmla="*/ 941994 w 1225551"/>
              <a:gd name="connsiteY80" fmla="*/ 0 h 288926"/>
              <a:gd name="connsiteX81" fmla="*/ 1225551 w 1225551"/>
              <a:gd name="connsiteY81" fmla="*/ 188168 h 288926"/>
              <a:gd name="connsiteX82" fmla="*/ 1225551 w 1225551"/>
              <a:gd name="connsiteY82" fmla="*/ 192088 h 288926"/>
              <a:gd name="connsiteX83" fmla="*/ 1221770 w 1225551"/>
              <a:gd name="connsiteY83" fmla="*/ 192088 h 288926"/>
              <a:gd name="connsiteX84" fmla="*/ 938213 w 1225551"/>
              <a:gd name="connsiteY84" fmla="*/ 7840 h 288926"/>
              <a:gd name="connsiteX85" fmla="*/ 938213 w 1225551"/>
              <a:gd name="connsiteY85" fmla="*/ 3920 h 288926"/>
              <a:gd name="connsiteX86" fmla="*/ 941994 w 1225551"/>
              <a:gd name="connsiteY86" fmla="*/ 0 h 288926"/>
              <a:gd name="connsiteX87" fmla="*/ 881667 w 1225551"/>
              <a:gd name="connsiteY87" fmla="*/ 0 h 288926"/>
              <a:gd name="connsiteX88" fmla="*/ 1225551 w 1225551"/>
              <a:gd name="connsiteY88" fmla="*/ 226287 h 288926"/>
              <a:gd name="connsiteX89" fmla="*/ 1225551 w 1225551"/>
              <a:gd name="connsiteY89" fmla="*/ 230188 h 288926"/>
              <a:gd name="connsiteX90" fmla="*/ 1221772 w 1225551"/>
              <a:gd name="connsiteY90" fmla="*/ 230188 h 288926"/>
              <a:gd name="connsiteX91" fmla="*/ 877888 w 1225551"/>
              <a:gd name="connsiteY91" fmla="*/ 7803 h 288926"/>
              <a:gd name="connsiteX92" fmla="*/ 877888 w 1225551"/>
              <a:gd name="connsiteY92" fmla="*/ 3902 h 288926"/>
              <a:gd name="connsiteX93" fmla="*/ 881667 w 1225551"/>
              <a:gd name="connsiteY93" fmla="*/ 0 h 288926"/>
              <a:gd name="connsiteX94" fmla="*/ 821341 w 1225551"/>
              <a:gd name="connsiteY94" fmla="*/ 0 h 288926"/>
              <a:gd name="connsiteX95" fmla="*/ 1221773 w 1225551"/>
              <a:gd name="connsiteY95" fmla="*/ 262053 h 288926"/>
              <a:gd name="connsiteX96" fmla="*/ 1225551 w 1225551"/>
              <a:gd name="connsiteY96" fmla="*/ 265964 h 288926"/>
              <a:gd name="connsiteX97" fmla="*/ 1225551 w 1225551"/>
              <a:gd name="connsiteY97" fmla="*/ 269875 h 288926"/>
              <a:gd name="connsiteX98" fmla="*/ 1221773 w 1225551"/>
              <a:gd name="connsiteY98" fmla="*/ 269875 h 288926"/>
              <a:gd name="connsiteX99" fmla="*/ 817563 w 1225551"/>
              <a:gd name="connsiteY99" fmla="*/ 7823 h 288926"/>
              <a:gd name="connsiteX100" fmla="*/ 817563 w 1225551"/>
              <a:gd name="connsiteY100" fmla="*/ 3911 h 288926"/>
              <a:gd name="connsiteX101" fmla="*/ 821341 w 1225551"/>
              <a:gd name="connsiteY101" fmla="*/ 0 h 288926"/>
              <a:gd name="connsiteX102" fmla="*/ 761020 w 1225551"/>
              <a:gd name="connsiteY102" fmla="*/ 0 h 288926"/>
              <a:gd name="connsiteX103" fmla="*/ 1192213 w 1225551"/>
              <a:gd name="connsiteY103" fmla="*/ 281116 h 288926"/>
              <a:gd name="connsiteX104" fmla="*/ 1192213 w 1225551"/>
              <a:gd name="connsiteY104" fmla="*/ 285021 h 288926"/>
              <a:gd name="connsiteX105" fmla="*/ 1192213 w 1225551"/>
              <a:gd name="connsiteY105" fmla="*/ 288925 h 288926"/>
              <a:gd name="connsiteX106" fmla="*/ 1188431 w 1225551"/>
              <a:gd name="connsiteY106" fmla="*/ 288925 h 288926"/>
              <a:gd name="connsiteX107" fmla="*/ 757238 w 1225551"/>
              <a:gd name="connsiteY107" fmla="*/ 7809 h 288926"/>
              <a:gd name="connsiteX108" fmla="*/ 757238 w 1225551"/>
              <a:gd name="connsiteY108" fmla="*/ 3905 h 288926"/>
              <a:gd name="connsiteX109" fmla="*/ 761020 w 1225551"/>
              <a:gd name="connsiteY109" fmla="*/ 0 h 288926"/>
              <a:gd name="connsiteX110" fmla="*/ 700690 w 1225551"/>
              <a:gd name="connsiteY110" fmla="*/ 0 h 288926"/>
              <a:gd name="connsiteX111" fmla="*/ 1131286 w 1225551"/>
              <a:gd name="connsiteY111" fmla="*/ 281116 h 288926"/>
              <a:gd name="connsiteX112" fmla="*/ 1131286 w 1225551"/>
              <a:gd name="connsiteY112" fmla="*/ 285021 h 288926"/>
              <a:gd name="connsiteX113" fmla="*/ 1131286 w 1225551"/>
              <a:gd name="connsiteY113" fmla="*/ 288925 h 288926"/>
              <a:gd name="connsiteX114" fmla="*/ 1127509 w 1225551"/>
              <a:gd name="connsiteY114" fmla="*/ 288925 h 288926"/>
              <a:gd name="connsiteX115" fmla="*/ 696913 w 1225551"/>
              <a:gd name="connsiteY115" fmla="*/ 7809 h 288926"/>
              <a:gd name="connsiteX116" fmla="*/ 696913 w 1225551"/>
              <a:gd name="connsiteY116" fmla="*/ 3905 h 288926"/>
              <a:gd name="connsiteX117" fmla="*/ 700690 w 1225551"/>
              <a:gd name="connsiteY117" fmla="*/ 0 h 288926"/>
              <a:gd name="connsiteX118" fmla="*/ 638791 w 1225551"/>
              <a:gd name="connsiteY118" fmla="*/ 0 h 288926"/>
              <a:gd name="connsiteX119" fmla="*/ 1070947 w 1225551"/>
              <a:gd name="connsiteY119" fmla="*/ 281116 h 288926"/>
              <a:gd name="connsiteX120" fmla="*/ 1070947 w 1225551"/>
              <a:gd name="connsiteY120" fmla="*/ 285021 h 288926"/>
              <a:gd name="connsiteX121" fmla="*/ 1070947 w 1225551"/>
              <a:gd name="connsiteY121" fmla="*/ 288925 h 288926"/>
              <a:gd name="connsiteX122" fmla="*/ 1067156 w 1225551"/>
              <a:gd name="connsiteY122" fmla="*/ 288925 h 288926"/>
              <a:gd name="connsiteX123" fmla="*/ 635000 w 1225551"/>
              <a:gd name="connsiteY123" fmla="*/ 7809 h 288926"/>
              <a:gd name="connsiteX124" fmla="*/ 635000 w 1225551"/>
              <a:gd name="connsiteY124" fmla="*/ 3905 h 288926"/>
              <a:gd name="connsiteX125" fmla="*/ 638791 w 1225551"/>
              <a:gd name="connsiteY125" fmla="*/ 0 h 288926"/>
              <a:gd name="connsiteX126" fmla="*/ 578466 w 1225551"/>
              <a:gd name="connsiteY126" fmla="*/ 0 h 288926"/>
              <a:gd name="connsiteX127" fmla="*/ 1010622 w 1225551"/>
              <a:gd name="connsiteY127" fmla="*/ 281116 h 288926"/>
              <a:gd name="connsiteX128" fmla="*/ 1010622 w 1225551"/>
              <a:gd name="connsiteY128" fmla="*/ 285021 h 288926"/>
              <a:gd name="connsiteX129" fmla="*/ 1010622 w 1225551"/>
              <a:gd name="connsiteY129" fmla="*/ 288925 h 288926"/>
              <a:gd name="connsiteX130" fmla="*/ 1006831 w 1225551"/>
              <a:gd name="connsiteY130" fmla="*/ 288925 h 288926"/>
              <a:gd name="connsiteX131" fmla="*/ 578466 w 1225551"/>
              <a:gd name="connsiteY131" fmla="*/ 7809 h 288926"/>
              <a:gd name="connsiteX132" fmla="*/ 574675 w 1225551"/>
              <a:gd name="connsiteY132" fmla="*/ 3905 h 288926"/>
              <a:gd name="connsiteX133" fmla="*/ 578466 w 1225551"/>
              <a:gd name="connsiteY133" fmla="*/ 0 h 288926"/>
              <a:gd name="connsiteX134" fmla="*/ 518141 w 1225551"/>
              <a:gd name="connsiteY134" fmla="*/ 0 h 288926"/>
              <a:gd name="connsiteX135" fmla="*/ 521932 w 1225551"/>
              <a:gd name="connsiteY135" fmla="*/ 0 h 288926"/>
              <a:gd name="connsiteX136" fmla="*/ 950297 w 1225551"/>
              <a:gd name="connsiteY136" fmla="*/ 281116 h 288926"/>
              <a:gd name="connsiteX137" fmla="*/ 950297 w 1225551"/>
              <a:gd name="connsiteY137" fmla="*/ 285021 h 288926"/>
              <a:gd name="connsiteX138" fmla="*/ 950297 w 1225551"/>
              <a:gd name="connsiteY138" fmla="*/ 288925 h 288926"/>
              <a:gd name="connsiteX139" fmla="*/ 946506 w 1225551"/>
              <a:gd name="connsiteY139" fmla="*/ 288925 h 288926"/>
              <a:gd name="connsiteX140" fmla="*/ 518141 w 1225551"/>
              <a:gd name="connsiteY140" fmla="*/ 7809 h 288926"/>
              <a:gd name="connsiteX141" fmla="*/ 514350 w 1225551"/>
              <a:gd name="connsiteY141" fmla="*/ 3905 h 288926"/>
              <a:gd name="connsiteX142" fmla="*/ 518141 w 1225551"/>
              <a:gd name="connsiteY142" fmla="*/ 0 h 288926"/>
              <a:gd name="connsiteX143" fmla="*/ 457802 w 1225551"/>
              <a:gd name="connsiteY143" fmla="*/ 0 h 288926"/>
              <a:gd name="connsiteX144" fmla="*/ 461579 w 1225551"/>
              <a:gd name="connsiteY144" fmla="*/ 0 h 288926"/>
              <a:gd name="connsiteX145" fmla="*/ 888398 w 1225551"/>
              <a:gd name="connsiteY145" fmla="*/ 281116 h 288926"/>
              <a:gd name="connsiteX146" fmla="*/ 892175 w 1225551"/>
              <a:gd name="connsiteY146" fmla="*/ 285021 h 288926"/>
              <a:gd name="connsiteX147" fmla="*/ 888398 w 1225551"/>
              <a:gd name="connsiteY147" fmla="*/ 288925 h 288926"/>
              <a:gd name="connsiteX148" fmla="*/ 884621 w 1225551"/>
              <a:gd name="connsiteY148" fmla="*/ 288925 h 288926"/>
              <a:gd name="connsiteX149" fmla="*/ 457802 w 1225551"/>
              <a:gd name="connsiteY149" fmla="*/ 7809 h 288926"/>
              <a:gd name="connsiteX150" fmla="*/ 454025 w 1225551"/>
              <a:gd name="connsiteY150" fmla="*/ 3905 h 288926"/>
              <a:gd name="connsiteX151" fmla="*/ 457802 w 1225551"/>
              <a:gd name="connsiteY151" fmla="*/ 0 h 288926"/>
              <a:gd name="connsiteX152" fmla="*/ 397477 w 1225551"/>
              <a:gd name="connsiteY152" fmla="*/ 0 h 288926"/>
              <a:gd name="connsiteX153" fmla="*/ 401254 w 1225551"/>
              <a:gd name="connsiteY153" fmla="*/ 0 h 288926"/>
              <a:gd name="connsiteX154" fmla="*/ 828073 w 1225551"/>
              <a:gd name="connsiteY154" fmla="*/ 281116 h 288926"/>
              <a:gd name="connsiteX155" fmla="*/ 831850 w 1225551"/>
              <a:gd name="connsiteY155" fmla="*/ 285021 h 288926"/>
              <a:gd name="connsiteX156" fmla="*/ 828073 w 1225551"/>
              <a:gd name="connsiteY156" fmla="*/ 288925 h 288926"/>
              <a:gd name="connsiteX157" fmla="*/ 824296 w 1225551"/>
              <a:gd name="connsiteY157" fmla="*/ 288925 h 288926"/>
              <a:gd name="connsiteX158" fmla="*/ 397477 w 1225551"/>
              <a:gd name="connsiteY158" fmla="*/ 7809 h 288926"/>
              <a:gd name="connsiteX159" fmla="*/ 393700 w 1225551"/>
              <a:gd name="connsiteY159" fmla="*/ 3905 h 288926"/>
              <a:gd name="connsiteX160" fmla="*/ 397477 w 1225551"/>
              <a:gd name="connsiteY160" fmla="*/ 0 h 288926"/>
              <a:gd name="connsiteX161" fmla="*/ 337152 w 1225551"/>
              <a:gd name="connsiteY161" fmla="*/ 0 h 288926"/>
              <a:gd name="connsiteX162" fmla="*/ 340929 w 1225551"/>
              <a:gd name="connsiteY162" fmla="*/ 0 h 288926"/>
              <a:gd name="connsiteX163" fmla="*/ 767748 w 1225551"/>
              <a:gd name="connsiteY163" fmla="*/ 281116 h 288926"/>
              <a:gd name="connsiteX164" fmla="*/ 771525 w 1225551"/>
              <a:gd name="connsiteY164" fmla="*/ 285021 h 288926"/>
              <a:gd name="connsiteX165" fmla="*/ 767748 w 1225551"/>
              <a:gd name="connsiteY165" fmla="*/ 288925 h 288926"/>
              <a:gd name="connsiteX166" fmla="*/ 763971 w 1225551"/>
              <a:gd name="connsiteY166" fmla="*/ 288925 h 288926"/>
              <a:gd name="connsiteX167" fmla="*/ 337152 w 1225551"/>
              <a:gd name="connsiteY167" fmla="*/ 7809 h 288926"/>
              <a:gd name="connsiteX168" fmla="*/ 333375 w 1225551"/>
              <a:gd name="connsiteY168" fmla="*/ 3905 h 288926"/>
              <a:gd name="connsiteX169" fmla="*/ 337152 w 1225551"/>
              <a:gd name="connsiteY169" fmla="*/ 0 h 288926"/>
              <a:gd name="connsiteX170" fmla="*/ 276827 w 1225551"/>
              <a:gd name="connsiteY170" fmla="*/ 0 h 288926"/>
              <a:gd name="connsiteX171" fmla="*/ 280604 w 1225551"/>
              <a:gd name="connsiteY171" fmla="*/ 0 h 288926"/>
              <a:gd name="connsiteX172" fmla="*/ 707423 w 1225551"/>
              <a:gd name="connsiteY172" fmla="*/ 281116 h 288926"/>
              <a:gd name="connsiteX173" fmla="*/ 711200 w 1225551"/>
              <a:gd name="connsiteY173" fmla="*/ 285021 h 288926"/>
              <a:gd name="connsiteX174" fmla="*/ 707423 w 1225551"/>
              <a:gd name="connsiteY174" fmla="*/ 288925 h 288926"/>
              <a:gd name="connsiteX175" fmla="*/ 703646 w 1225551"/>
              <a:gd name="connsiteY175" fmla="*/ 288925 h 288926"/>
              <a:gd name="connsiteX176" fmla="*/ 276827 w 1225551"/>
              <a:gd name="connsiteY176" fmla="*/ 7809 h 288926"/>
              <a:gd name="connsiteX177" fmla="*/ 276827 w 1225551"/>
              <a:gd name="connsiteY177" fmla="*/ 3905 h 288926"/>
              <a:gd name="connsiteX178" fmla="*/ 276827 w 1225551"/>
              <a:gd name="connsiteY178" fmla="*/ 0 h 288926"/>
              <a:gd name="connsiteX179" fmla="*/ 216502 w 1225551"/>
              <a:gd name="connsiteY179" fmla="*/ 0 h 288926"/>
              <a:gd name="connsiteX180" fmla="*/ 220279 w 1225551"/>
              <a:gd name="connsiteY180" fmla="*/ 0 h 288926"/>
              <a:gd name="connsiteX181" fmla="*/ 647098 w 1225551"/>
              <a:gd name="connsiteY181" fmla="*/ 281116 h 288926"/>
              <a:gd name="connsiteX182" fmla="*/ 650875 w 1225551"/>
              <a:gd name="connsiteY182" fmla="*/ 285021 h 288926"/>
              <a:gd name="connsiteX183" fmla="*/ 647098 w 1225551"/>
              <a:gd name="connsiteY183" fmla="*/ 288925 h 288926"/>
              <a:gd name="connsiteX184" fmla="*/ 216502 w 1225551"/>
              <a:gd name="connsiteY184" fmla="*/ 7809 h 288926"/>
              <a:gd name="connsiteX185" fmla="*/ 216502 w 1225551"/>
              <a:gd name="connsiteY185" fmla="*/ 3905 h 288926"/>
              <a:gd name="connsiteX186" fmla="*/ 216502 w 1225551"/>
              <a:gd name="connsiteY186" fmla="*/ 0 h 288926"/>
              <a:gd name="connsiteX187" fmla="*/ 156177 w 1225551"/>
              <a:gd name="connsiteY187" fmla="*/ 0 h 288926"/>
              <a:gd name="connsiteX188" fmla="*/ 159954 w 1225551"/>
              <a:gd name="connsiteY188" fmla="*/ 0 h 288926"/>
              <a:gd name="connsiteX189" fmla="*/ 590550 w 1225551"/>
              <a:gd name="connsiteY189" fmla="*/ 281116 h 288926"/>
              <a:gd name="connsiteX190" fmla="*/ 590550 w 1225551"/>
              <a:gd name="connsiteY190" fmla="*/ 285021 h 288926"/>
              <a:gd name="connsiteX191" fmla="*/ 586773 w 1225551"/>
              <a:gd name="connsiteY191" fmla="*/ 288925 h 288926"/>
              <a:gd name="connsiteX192" fmla="*/ 156177 w 1225551"/>
              <a:gd name="connsiteY192" fmla="*/ 7809 h 288926"/>
              <a:gd name="connsiteX193" fmla="*/ 156177 w 1225551"/>
              <a:gd name="connsiteY193" fmla="*/ 3905 h 288926"/>
              <a:gd name="connsiteX194" fmla="*/ 156177 w 1225551"/>
              <a:gd name="connsiteY194" fmla="*/ 0 h 288926"/>
              <a:gd name="connsiteX195" fmla="*/ 95852 w 1225551"/>
              <a:gd name="connsiteY195" fmla="*/ 0 h 288926"/>
              <a:gd name="connsiteX196" fmla="*/ 99629 w 1225551"/>
              <a:gd name="connsiteY196" fmla="*/ 0 h 288926"/>
              <a:gd name="connsiteX197" fmla="*/ 530225 w 1225551"/>
              <a:gd name="connsiteY197" fmla="*/ 281116 h 288926"/>
              <a:gd name="connsiteX198" fmla="*/ 530225 w 1225551"/>
              <a:gd name="connsiteY198" fmla="*/ 285021 h 288926"/>
              <a:gd name="connsiteX199" fmla="*/ 526448 w 1225551"/>
              <a:gd name="connsiteY199" fmla="*/ 288925 h 288926"/>
              <a:gd name="connsiteX200" fmla="*/ 95852 w 1225551"/>
              <a:gd name="connsiteY200" fmla="*/ 7809 h 288926"/>
              <a:gd name="connsiteX201" fmla="*/ 95852 w 1225551"/>
              <a:gd name="connsiteY201" fmla="*/ 3905 h 288926"/>
              <a:gd name="connsiteX202" fmla="*/ 95852 w 1225551"/>
              <a:gd name="connsiteY202" fmla="*/ 0 h 288926"/>
              <a:gd name="connsiteX203" fmla="*/ 34925 w 1225551"/>
              <a:gd name="connsiteY203" fmla="*/ 0 h 288926"/>
              <a:gd name="connsiteX204" fmla="*/ 38707 w 1225551"/>
              <a:gd name="connsiteY204" fmla="*/ 0 h 288926"/>
              <a:gd name="connsiteX205" fmla="*/ 469900 w 1225551"/>
              <a:gd name="connsiteY205" fmla="*/ 281116 h 288926"/>
              <a:gd name="connsiteX206" fmla="*/ 469900 w 1225551"/>
              <a:gd name="connsiteY206" fmla="*/ 285021 h 288926"/>
              <a:gd name="connsiteX207" fmla="*/ 466118 w 1225551"/>
              <a:gd name="connsiteY207" fmla="*/ 288925 h 288926"/>
              <a:gd name="connsiteX208" fmla="*/ 34925 w 1225551"/>
              <a:gd name="connsiteY208" fmla="*/ 7809 h 288926"/>
              <a:gd name="connsiteX209" fmla="*/ 34925 w 1225551"/>
              <a:gd name="connsiteY209" fmla="*/ 3905 h 288926"/>
              <a:gd name="connsiteX210" fmla="*/ 34925 w 1225551"/>
              <a:gd name="connsiteY210" fmla="*/ 0 h 288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225551" h="288926">
                <a:moveTo>
                  <a:pt x="3786" y="254000"/>
                </a:moveTo>
                <a:cubicBezTo>
                  <a:pt x="3786" y="254000"/>
                  <a:pt x="3786" y="254000"/>
                  <a:pt x="45427" y="281164"/>
                </a:cubicBezTo>
                <a:cubicBezTo>
                  <a:pt x="45427" y="285045"/>
                  <a:pt x="49213" y="285045"/>
                  <a:pt x="45427" y="285045"/>
                </a:cubicBezTo>
                <a:cubicBezTo>
                  <a:pt x="45427" y="285045"/>
                  <a:pt x="45427" y="285045"/>
                  <a:pt x="45427" y="288925"/>
                </a:cubicBezTo>
                <a:cubicBezTo>
                  <a:pt x="45427" y="288925"/>
                  <a:pt x="45427" y="288925"/>
                  <a:pt x="41642" y="288925"/>
                </a:cubicBezTo>
                <a:cubicBezTo>
                  <a:pt x="41642" y="288925"/>
                  <a:pt x="41642" y="288925"/>
                  <a:pt x="0" y="261761"/>
                </a:cubicBezTo>
                <a:cubicBezTo>
                  <a:pt x="0" y="261761"/>
                  <a:pt x="0" y="257881"/>
                  <a:pt x="0" y="257881"/>
                </a:cubicBezTo>
                <a:cubicBezTo>
                  <a:pt x="0" y="254000"/>
                  <a:pt x="0" y="254000"/>
                  <a:pt x="3786" y="254000"/>
                </a:cubicBezTo>
                <a:close/>
                <a:moveTo>
                  <a:pt x="3799" y="215900"/>
                </a:moveTo>
                <a:cubicBezTo>
                  <a:pt x="3799" y="215900"/>
                  <a:pt x="3799" y="215900"/>
                  <a:pt x="106363" y="281238"/>
                </a:cubicBezTo>
                <a:cubicBezTo>
                  <a:pt x="106363" y="285082"/>
                  <a:pt x="106363" y="285082"/>
                  <a:pt x="106363" y="285082"/>
                </a:cubicBezTo>
                <a:cubicBezTo>
                  <a:pt x="106363" y="285082"/>
                  <a:pt x="106363" y="285082"/>
                  <a:pt x="102564" y="288925"/>
                </a:cubicBezTo>
                <a:cubicBezTo>
                  <a:pt x="102564" y="288925"/>
                  <a:pt x="102564" y="288925"/>
                  <a:pt x="0" y="223587"/>
                </a:cubicBezTo>
                <a:cubicBezTo>
                  <a:pt x="0" y="223587"/>
                  <a:pt x="0" y="219744"/>
                  <a:pt x="0" y="219744"/>
                </a:cubicBezTo>
                <a:cubicBezTo>
                  <a:pt x="0" y="215900"/>
                  <a:pt x="0" y="215900"/>
                  <a:pt x="3799" y="215900"/>
                </a:cubicBezTo>
                <a:close/>
                <a:moveTo>
                  <a:pt x="3788" y="176213"/>
                </a:moveTo>
                <a:cubicBezTo>
                  <a:pt x="3788" y="176213"/>
                  <a:pt x="3788" y="176213"/>
                  <a:pt x="166688" y="281153"/>
                </a:cubicBezTo>
                <a:cubicBezTo>
                  <a:pt x="166688" y="285039"/>
                  <a:pt x="166688" y="285039"/>
                  <a:pt x="166688" y="285039"/>
                </a:cubicBezTo>
                <a:cubicBezTo>
                  <a:pt x="166688" y="285039"/>
                  <a:pt x="166688" y="285039"/>
                  <a:pt x="162900" y="288926"/>
                </a:cubicBezTo>
                <a:cubicBezTo>
                  <a:pt x="162900" y="288926"/>
                  <a:pt x="162900" y="288926"/>
                  <a:pt x="0" y="183986"/>
                </a:cubicBezTo>
                <a:cubicBezTo>
                  <a:pt x="0" y="180100"/>
                  <a:pt x="0" y="180100"/>
                  <a:pt x="0" y="180100"/>
                </a:cubicBezTo>
                <a:cubicBezTo>
                  <a:pt x="0" y="176213"/>
                  <a:pt x="0" y="176213"/>
                  <a:pt x="3788" y="176213"/>
                </a:cubicBezTo>
                <a:close/>
                <a:moveTo>
                  <a:pt x="0" y="136525"/>
                </a:moveTo>
                <a:cubicBezTo>
                  <a:pt x="0" y="136525"/>
                  <a:pt x="0" y="136525"/>
                  <a:pt x="3784" y="136525"/>
                </a:cubicBezTo>
                <a:cubicBezTo>
                  <a:pt x="3784" y="136525"/>
                  <a:pt x="3784" y="136525"/>
                  <a:pt x="227013" y="281110"/>
                </a:cubicBezTo>
                <a:cubicBezTo>
                  <a:pt x="227013" y="285017"/>
                  <a:pt x="227013" y="285017"/>
                  <a:pt x="227013" y="285017"/>
                </a:cubicBezTo>
                <a:cubicBezTo>
                  <a:pt x="227013" y="285017"/>
                  <a:pt x="227013" y="285017"/>
                  <a:pt x="223229" y="288925"/>
                </a:cubicBezTo>
                <a:cubicBezTo>
                  <a:pt x="223229" y="288925"/>
                  <a:pt x="223229" y="288925"/>
                  <a:pt x="0" y="144341"/>
                </a:cubicBezTo>
                <a:cubicBezTo>
                  <a:pt x="0" y="140433"/>
                  <a:pt x="0" y="140433"/>
                  <a:pt x="0" y="136525"/>
                </a:cubicBezTo>
                <a:close/>
                <a:moveTo>
                  <a:pt x="0" y="96838"/>
                </a:moveTo>
                <a:cubicBezTo>
                  <a:pt x="0" y="96838"/>
                  <a:pt x="0" y="96838"/>
                  <a:pt x="3781" y="96838"/>
                </a:cubicBezTo>
                <a:cubicBezTo>
                  <a:pt x="3781" y="96838"/>
                  <a:pt x="3781" y="96838"/>
                  <a:pt x="287338" y="281086"/>
                </a:cubicBezTo>
                <a:cubicBezTo>
                  <a:pt x="287338" y="285006"/>
                  <a:pt x="287338" y="285006"/>
                  <a:pt x="287338" y="285006"/>
                </a:cubicBezTo>
                <a:cubicBezTo>
                  <a:pt x="287338" y="285006"/>
                  <a:pt x="287338" y="285006"/>
                  <a:pt x="283557" y="288926"/>
                </a:cubicBezTo>
                <a:cubicBezTo>
                  <a:pt x="283557" y="288926"/>
                  <a:pt x="283557" y="288926"/>
                  <a:pt x="0" y="100758"/>
                </a:cubicBezTo>
                <a:cubicBezTo>
                  <a:pt x="0" y="100758"/>
                  <a:pt x="0" y="100758"/>
                  <a:pt x="0" y="96838"/>
                </a:cubicBezTo>
                <a:close/>
                <a:moveTo>
                  <a:pt x="0" y="58738"/>
                </a:moveTo>
                <a:cubicBezTo>
                  <a:pt x="0" y="58738"/>
                  <a:pt x="0" y="58738"/>
                  <a:pt x="3779" y="58738"/>
                </a:cubicBezTo>
                <a:cubicBezTo>
                  <a:pt x="3779" y="58738"/>
                  <a:pt x="3779" y="58738"/>
                  <a:pt x="347663" y="281123"/>
                </a:cubicBezTo>
                <a:cubicBezTo>
                  <a:pt x="347663" y="285025"/>
                  <a:pt x="347663" y="285025"/>
                  <a:pt x="347663" y="285025"/>
                </a:cubicBezTo>
                <a:cubicBezTo>
                  <a:pt x="347663" y="285025"/>
                  <a:pt x="347663" y="285025"/>
                  <a:pt x="343884" y="288926"/>
                </a:cubicBezTo>
                <a:cubicBezTo>
                  <a:pt x="343884" y="288926"/>
                  <a:pt x="343884" y="288926"/>
                  <a:pt x="0" y="62640"/>
                </a:cubicBezTo>
                <a:cubicBezTo>
                  <a:pt x="0" y="62640"/>
                  <a:pt x="0" y="62640"/>
                  <a:pt x="0" y="58738"/>
                </a:cubicBezTo>
                <a:close/>
                <a:moveTo>
                  <a:pt x="0" y="19050"/>
                </a:moveTo>
                <a:cubicBezTo>
                  <a:pt x="0" y="19050"/>
                  <a:pt x="0" y="19050"/>
                  <a:pt x="3792" y="19050"/>
                </a:cubicBezTo>
                <a:cubicBezTo>
                  <a:pt x="3792" y="19050"/>
                  <a:pt x="3792" y="19050"/>
                  <a:pt x="409575" y="281103"/>
                </a:cubicBezTo>
                <a:cubicBezTo>
                  <a:pt x="409575" y="285014"/>
                  <a:pt x="409575" y="285014"/>
                  <a:pt x="409575" y="285014"/>
                </a:cubicBezTo>
                <a:cubicBezTo>
                  <a:pt x="409575" y="285014"/>
                  <a:pt x="409575" y="285014"/>
                  <a:pt x="405783" y="288925"/>
                </a:cubicBezTo>
                <a:cubicBezTo>
                  <a:pt x="405783" y="288925"/>
                  <a:pt x="405783" y="288925"/>
                  <a:pt x="3792" y="26873"/>
                </a:cubicBezTo>
                <a:cubicBezTo>
                  <a:pt x="0" y="26873"/>
                  <a:pt x="0" y="22961"/>
                  <a:pt x="0" y="22961"/>
                </a:cubicBezTo>
                <a:cubicBezTo>
                  <a:pt x="0" y="22961"/>
                  <a:pt x="0" y="22961"/>
                  <a:pt x="0" y="19050"/>
                </a:cubicBezTo>
                <a:close/>
                <a:moveTo>
                  <a:pt x="1180124" y="0"/>
                </a:moveTo>
                <a:cubicBezTo>
                  <a:pt x="1183909" y="0"/>
                  <a:pt x="1183909" y="0"/>
                  <a:pt x="1183909" y="0"/>
                </a:cubicBezTo>
                <a:cubicBezTo>
                  <a:pt x="1183909" y="0"/>
                  <a:pt x="1183909" y="0"/>
                  <a:pt x="1225551" y="27164"/>
                </a:cubicBezTo>
                <a:cubicBezTo>
                  <a:pt x="1225551" y="27164"/>
                  <a:pt x="1225551" y="31045"/>
                  <a:pt x="1225551" y="31045"/>
                </a:cubicBezTo>
                <a:cubicBezTo>
                  <a:pt x="1225551" y="31045"/>
                  <a:pt x="1225551" y="31045"/>
                  <a:pt x="1221765" y="34925"/>
                </a:cubicBezTo>
                <a:cubicBezTo>
                  <a:pt x="1221765" y="34925"/>
                  <a:pt x="1221765" y="34925"/>
                  <a:pt x="1180124" y="7761"/>
                </a:cubicBezTo>
                <a:cubicBezTo>
                  <a:pt x="1180124" y="3881"/>
                  <a:pt x="1176338" y="3881"/>
                  <a:pt x="1180124" y="3881"/>
                </a:cubicBezTo>
                <a:cubicBezTo>
                  <a:pt x="1180124" y="0"/>
                  <a:pt x="1180124" y="0"/>
                  <a:pt x="1180124" y="0"/>
                </a:cubicBezTo>
                <a:close/>
                <a:moveTo>
                  <a:pt x="1122987" y="0"/>
                </a:moveTo>
                <a:cubicBezTo>
                  <a:pt x="1122987" y="0"/>
                  <a:pt x="1122987" y="0"/>
                  <a:pt x="1225551" y="66759"/>
                </a:cubicBezTo>
                <a:cubicBezTo>
                  <a:pt x="1225551" y="66759"/>
                  <a:pt x="1225551" y="70686"/>
                  <a:pt x="1225551" y="70686"/>
                </a:cubicBezTo>
                <a:cubicBezTo>
                  <a:pt x="1225551" y="70686"/>
                  <a:pt x="1225551" y="70686"/>
                  <a:pt x="1221752" y="74613"/>
                </a:cubicBezTo>
                <a:cubicBezTo>
                  <a:pt x="1221752" y="74613"/>
                  <a:pt x="1221752" y="74613"/>
                  <a:pt x="1119188" y="7854"/>
                </a:cubicBezTo>
                <a:cubicBezTo>
                  <a:pt x="1119188" y="3927"/>
                  <a:pt x="1119188" y="3927"/>
                  <a:pt x="1119188" y="3927"/>
                </a:cubicBezTo>
                <a:cubicBezTo>
                  <a:pt x="1119188" y="0"/>
                  <a:pt x="1119188" y="0"/>
                  <a:pt x="1122987" y="0"/>
                </a:cubicBezTo>
                <a:close/>
                <a:moveTo>
                  <a:pt x="1062651" y="0"/>
                </a:moveTo>
                <a:cubicBezTo>
                  <a:pt x="1062651" y="0"/>
                  <a:pt x="1062651" y="0"/>
                  <a:pt x="1225551" y="104940"/>
                </a:cubicBezTo>
                <a:cubicBezTo>
                  <a:pt x="1225551" y="108826"/>
                  <a:pt x="1225551" y="108826"/>
                  <a:pt x="1225551" y="108826"/>
                </a:cubicBezTo>
                <a:cubicBezTo>
                  <a:pt x="1225551" y="108826"/>
                  <a:pt x="1225551" y="108826"/>
                  <a:pt x="1221763" y="112713"/>
                </a:cubicBezTo>
                <a:cubicBezTo>
                  <a:pt x="1221763" y="112713"/>
                  <a:pt x="1221763" y="112713"/>
                  <a:pt x="1058863" y="7773"/>
                </a:cubicBezTo>
                <a:cubicBezTo>
                  <a:pt x="1058863" y="3887"/>
                  <a:pt x="1058863" y="3887"/>
                  <a:pt x="1058863" y="3887"/>
                </a:cubicBezTo>
                <a:cubicBezTo>
                  <a:pt x="1058863" y="0"/>
                  <a:pt x="1058863" y="0"/>
                  <a:pt x="1062651" y="0"/>
                </a:cubicBezTo>
                <a:close/>
                <a:moveTo>
                  <a:pt x="1002322" y="0"/>
                </a:moveTo>
                <a:cubicBezTo>
                  <a:pt x="1002322" y="0"/>
                  <a:pt x="1002322" y="0"/>
                  <a:pt x="1225551" y="144585"/>
                </a:cubicBezTo>
                <a:cubicBezTo>
                  <a:pt x="1225551" y="148492"/>
                  <a:pt x="1225551" y="148492"/>
                  <a:pt x="1225551" y="152400"/>
                </a:cubicBezTo>
                <a:cubicBezTo>
                  <a:pt x="1225551" y="152400"/>
                  <a:pt x="1225551" y="152400"/>
                  <a:pt x="1221768" y="152400"/>
                </a:cubicBezTo>
                <a:cubicBezTo>
                  <a:pt x="1221768" y="152400"/>
                  <a:pt x="1221768" y="152400"/>
                  <a:pt x="998538" y="7816"/>
                </a:cubicBezTo>
                <a:cubicBezTo>
                  <a:pt x="998538" y="3908"/>
                  <a:pt x="998538" y="3908"/>
                  <a:pt x="998538" y="3908"/>
                </a:cubicBezTo>
                <a:cubicBezTo>
                  <a:pt x="998538" y="0"/>
                  <a:pt x="998538" y="0"/>
                  <a:pt x="1002322" y="0"/>
                </a:cubicBezTo>
                <a:close/>
                <a:moveTo>
                  <a:pt x="941994" y="0"/>
                </a:moveTo>
                <a:cubicBezTo>
                  <a:pt x="941994" y="0"/>
                  <a:pt x="941994" y="0"/>
                  <a:pt x="1225551" y="188168"/>
                </a:cubicBezTo>
                <a:cubicBezTo>
                  <a:pt x="1225551" y="188168"/>
                  <a:pt x="1225551" y="188168"/>
                  <a:pt x="1225551" y="192088"/>
                </a:cubicBezTo>
                <a:cubicBezTo>
                  <a:pt x="1225551" y="192088"/>
                  <a:pt x="1225551" y="192088"/>
                  <a:pt x="1221770" y="192088"/>
                </a:cubicBezTo>
                <a:cubicBezTo>
                  <a:pt x="1221770" y="192088"/>
                  <a:pt x="1221770" y="192088"/>
                  <a:pt x="938213" y="7840"/>
                </a:cubicBezTo>
                <a:cubicBezTo>
                  <a:pt x="938213" y="3920"/>
                  <a:pt x="938213" y="3920"/>
                  <a:pt x="938213" y="3920"/>
                </a:cubicBezTo>
                <a:cubicBezTo>
                  <a:pt x="938213" y="0"/>
                  <a:pt x="938213" y="0"/>
                  <a:pt x="941994" y="0"/>
                </a:cubicBezTo>
                <a:close/>
                <a:moveTo>
                  <a:pt x="881667" y="0"/>
                </a:moveTo>
                <a:cubicBezTo>
                  <a:pt x="881667" y="0"/>
                  <a:pt x="881667" y="0"/>
                  <a:pt x="1225551" y="226287"/>
                </a:cubicBezTo>
                <a:cubicBezTo>
                  <a:pt x="1225551" y="226287"/>
                  <a:pt x="1225551" y="226287"/>
                  <a:pt x="1225551" y="230188"/>
                </a:cubicBezTo>
                <a:cubicBezTo>
                  <a:pt x="1225551" y="230188"/>
                  <a:pt x="1225551" y="230188"/>
                  <a:pt x="1221772" y="230188"/>
                </a:cubicBezTo>
                <a:cubicBezTo>
                  <a:pt x="1221772" y="230188"/>
                  <a:pt x="1221772" y="230188"/>
                  <a:pt x="877888" y="7803"/>
                </a:cubicBezTo>
                <a:cubicBezTo>
                  <a:pt x="877888" y="3902"/>
                  <a:pt x="877888" y="3902"/>
                  <a:pt x="877888" y="3902"/>
                </a:cubicBezTo>
                <a:cubicBezTo>
                  <a:pt x="877888" y="0"/>
                  <a:pt x="877888" y="0"/>
                  <a:pt x="881667" y="0"/>
                </a:cubicBezTo>
                <a:close/>
                <a:moveTo>
                  <a:pt x="821341" y="0"/>
                </a:moveTo>
                <a:cubicBezTo>
                  <a:pt x="821341" y="0"/>
                  <a:pt x="821341" y="0"/>
                  <a:pt x="1221773" y="262053"/>
                </a:cubicBezTo>
                <a:cubicBezTo>
                  <a:pt x="1225551" y="262053"/>
                  <a:pt x="1225551" y="265964"/>
                  <a:pt x="1225551" y="265964"/>
                </a:cubicBezTo>
                <a:cubicBezTo>
                  <a:pt x="1225551" y="265964"/>
                  <a:pt x="1225551" y="265964"/>
                  <a:pt x="1225551" y="269875"/>
                </a:cubicBezTo>
                <a:cubicBezTo>
                  <a:pt x="1225551" y="269875"/>
                  <a:pt x="1225551" y="269875"/>
                  <a:pt x="1221773" y="269875"/>
                </a:cubicBezTo>
                <a:cubicBezTo>
                  <a:pt x="1221773" y="269875"/>
                  <a:pt x="1221773" y="269875"/>
                  <a:pt x="817563" y="7823"/>
                </a:cubicBezTo>
                <a:cubicBezTo>
                  <a:pt x="817563" y="3911"/>
                  <a:pt x="817563" y="3911"/>
                  <a:pt x="817563" y="3911"/>
                </a:cubicBezTo>
                <a:cubicBezTo>
                  <a:pt x="817563" y="0"/>
                  <a:pt x="817563" y="0"/>
                  <a:pt x="821341" y="0"/>
                </a:cubicBezTo>
                <a:close/>
                <a:moveTo>
                  <a:pt x="761020" y="0"/>
                </a:moveTo>
                <a:cubicBezTo>
                  <a:pt x="761020" y="0"/>
                  <a:pt x="761020" y="0"/>
                  <a:pt x="1192213" y="281116"/>
                </a:cubicBezTo>
                <a:cubicBezTo>
                  <a:pt x="1192213" y="285021"/>
                  <a:pt x="1192213" y="285021"/>
                  <a:pt x="1192213" y="285021"/>
                </a:cubicBezTo>
                <a:cubicBezTo>
                  <a:pt x="1192213" y="285021"/>
                  <a:pt x="1192213" y="285021"/>
                  <a:pt x="1192213" y="288925"/>
                </a:cubicBezTo>
                <a:cubicBezTo>
                  <a:pt x="1192213" y="288925"/>
                  <a:pt x="1192213" y="288925"/>
                  <a:pt x="1188431" y="288925"/>
                </a:cubicBezTo>
                <a:cubicBezTo>
                  <a:pt x="1188431" y="288925"/>
                  <a:pt x="1188431" y="288925"/>
                  <a:pt x="757238" y="7809"/>
                </a:cubicBezTo>
                <a:cubicBezTo>
                  <a:pt x="757238" y="3905"/>
                  <a:pt x="757238" y="3905"/>
                  <a:pt x="757238" y="3905"/>
                </a:cubicBezTo>
                <a:cubicBezTo>
                  <a:pt x="757238" y="0"/>
                  <a:pt x="761020" y="0"/>
                  <a:pt x="761020" y="0"/>
                </a:cubicBezTo>
                <a:close/>
                <a:moveTo>
                  <a:pt x="700690" y="0"/>
                </a:moveTo>
                <a:cubicBezTo>
                  <a:pt x="700690" y="0"/>
                  <a:pt x="700690" y="0"/>
                  <a:pt x="1131286" y="281116"/>
                </a:cubicBezTo>
                <a:cubicBezTo>
                  <a:pt x="1131286" y="285021"/>
                  <a:pt x="1135063" y="285021"/>
                  <a:pt x="1131286" y="285021"/>
                </a:cubicBezTo>
                <a:cubicBezTo>
                  <a:pt x="1131286" y="285021"/>
                  <a:pt x="1131286" y="285021"/>
                  <a:pt x="1131286" y="288925"/>
                </a:cubicBezTo>
                <a:cubicBezTo>
                  <a:pt x="1131286" y="288925"/>
                  <a:pt x="1131286" y="288925"/>
                  <a:pt x="1127509" y="288925"/>
                </a:cubicBezTo>
                <a:cubicBezTo>
                  <a:pt x="1127509" y="288925"/>
                  <a:pt x="1127509" y="288925"/>
                  <a:pt x="696913" y="7809"/>
                </a:cubicBezTo>
                <a:cubicBezTo>
                  <a:pt x="696913" y="3905"/>
                  <a:pt x="696913" y="3905"/>
                  <a:pt x="696913" y="3905"/>
                </a:cubicBezTo>
                <a:cubicBezTo>
                  <a:pt x="696913" y="0"/>
                  <a:pt x="700690" y="0"/>
                  <a:pt x="700690" y="0"/>
                </a:cubicBezTo>
                <a:close/>
                <a:moveTo>
                  <a:pt x="638791" y="0"/>
                </a:moveTo>
                <a:cubicBezTo>
                  <a:pt x="638791" y="0"/>
                  <a:pt x="638791" y="0"/>
                  <a:pt x="1070947" y="281116"/>
                </a:cubicBezTo>
                <a:cubicBezTo>
                  <a:pt x="1070947" y="285021"/>
                  <a:pt x="1074738" y="285021"/>
                  <a:pt x="1070947" y="285021"/>
                </a:cubicBezTo>
                <a:cubicBezTo>
                  <a:pt x="1070947" y="285021"/>
                  <a:pt x="1070947" y="285021"/>
                  <a:pt x="1070947" y="288925"/>
                </a:cubicBezTo>
                <a:cubicBezTo>
                  <a:pt x="1070947" y="288925"/>
                  <a:pt x="1070947" y="288925"/>
                  <a:pt x="1067156" y="288925"/>
                </a:cubicBezTo>
                <a:cubicBezTo>
                  <a:pt x="1067156" y="288925"/>
                  <a:pt x="1067156" y="288925"/>
                  <a:pt x="635000" y="7809"/>
                </a:cubicBezTo>
                <a:cubicBezTo>
                  <a:pt x="635000" y="3905"/>
                  <a:pt x="635000" y="3905"/>
                  <a:pt x="635000" y="3905"/>
                </a:cubicBezTo>
                <a:cubicBezTo>
                  <a:pt x="635000" y="0"/>
                  <a:pt x="638791" y="0"/>
                  <a:pt x="638791" y="0"/>
                </a:cubicBezTo>
                <a:close/>
                <a:moveTo>
                  <a:pt x="578466" y="0"/>
                </a:moveTo>
                <a:cubicBezTo>
                  <a:pt x="578466" y="0"/>
                  <a:pt x="578466" y="0"/>
                  <a:pt x="1010622" y="281116"/>
                </a:cubicBezTo>
                <a:cubicBezTo>
                  <a:pt x="1014413" y="285021"/>
                  <a:pt x="1014413" y="285021"/>
                  <a:pt x="1010622" y="285021"/>
                </a:cubicBezTo>
                <a:cubicBezTo>
                  <a:pt x="1010622" y="285021"/>
                  <a:pt x="1010622" y="285021"/>
                  <a:pt x="1010622" y="288925"/>
                </a:cubicBezTo>
                <a:cubicBezTo>
                  <a:pt x="1010622" y="288925"/>
                  <a:pt x="1010622" y="288925"/>
                  <a:pt x="1006831" y="288925"/>
                </a:cubicBezTo>
                <a:cubicBezTo>
                  <a:pt x="1006831" y="288925"/>
                  <a:pt x="1006831" y="288925"/>
                  <a:pt x="578466" y="7809"/>
                </a:cubicBezTo>
                <a:cubicBezTo>
                  <a:pt x="574675" y="3905"/>
                  <a:pt x="574675" y="3905"/>
                  <a:pt x="574675" y="3905"/>
                </a:cubicBezTo>
                <a:cubicBezTo>
                  <a:pt x="574675" y="0"/>
                  <a:pt x="578466" y="0"/>
                  <a:pt x="578466" y="0"/>
                </a:cubicBezTo>
                <a:close/>
                <a:moveTo>
                  <a:pt x="518141" y="0"/>
                </a:moveTo>
                <a:cubicBezTo>
                  <a:pt x="518141" y="0"/>
                  <a:pt x="518141" y="0"/>
                  <a:pt x="521932" y="0"/>
                </a:cubicBezTo>
                <a:cubicBezTo>
                  <a:pt x="521932" y="0"/>
                  <a:pt x="521932" y="0"/>
                  <a:pt x="950297" y="281116"/>
                </a:cubicBezTo>
                <a:cubicBezTo>
                  <a:pt x="954088" y="285021"/>
                  <a:pt x="954088" y="285021"/>
                  <a:pt x="950297" y="285021"/>
                </a:cubicBezTo>
                <a:cubicBezTo>
                  <a:pt x="950297" y="285021"/>
                  <a:pt x="950297" y="285021"/>
                  <a:pt x="950297" y="288925"/>
                </a:cubicBezTo>
                <a:cubicBezTo>
                  <a:pt x="950297" y="288925"/>
                  <a:pt x="950297" y="288925"/>
                  <a:pt x="946506" y="288925"/>
                </a:cubicBezTo>
                <a:cubicBezTo>
                  <a:pt x="946506" y="288925"/>
                  <a:pt x="946506" y="288925"/>
                  <a:pt x="518141" y="7809"/>
                </a:cubicBezTo>
                <a:cubicBezTo>
                  <a:pt x="514350" y="3905"/>
                  <a:pt x="514350" y="3905"/>
                  <a:pt x="514350" y="3905"/>
                </a:cubicBezTo>
                <a:cubicBezTo>
                  <a:pt x="514350" y="0"/>
                  <a:pt x="518141" y="0"/>
                  <a:pt x="518141" y="0"/>
                </a:cubicBezTo>
                <a:close/>
                <a:moveTo>
                  <a:pt x="457802" y="0"/>
                </a:moveTo>
                <a:cubicBezTo>
                  <a:pt x="457802" y="0"/>
                  <a:pt x="457802" y="0"/>
                  <a:pt x="461579" y="0"/>
                </a:cubicBezTo>
                <a:cubicBezTo>
                  <a:pt x="461579" y="0"/>
                  <a:pt x="461579" y="0"/>
                  <a:pt x="888398" y="281116"/>
                </a:cubicBezTo>
                <a:cubicBezTo>
                  <a:pt x="892175" y="285021"/>
                  <a:pt x="892175" y="285021"/>
                  <a:pt x="892175" y="285021"/>
                </a:cubicBezTo>
                <a:cubicBezTo>
                  <a:pt x="892175" y="285021"/>
                  <a:pt x="892175" y="285021"/>
                  <a:pt x="888398" y="288925"/>
                </a:cubicBezTo>
                <a:cubicBezTo>
                  <a:pt x="888398" y="288925"/>
                  <a:pt x="888398" y="288925"/>
                  <a:pt x="884621" y="288925"/>
                </a:cubicBezTo>
                <a:cubicBezTo>
                  <a:pt x="884621" y="288925"/>
                  <a:pt x="884621" y="288925"/>
                  <a:pt x="457802" y="7809"/>
                </a:cubicBezTo>
                <a:cubicBezTo>
                  <a:pt x="454025" y="3905"/>
                  <a:pt x="454025" y="3905"/>
                  <a:pt x="454025" y="3905"/>
                </a:cubicBezTo>
                <a:cubicBezTo>
                  <a:pt x="457802" y="0"/>
                  <a:pt x="457802" y="0"/>
                  <a:pt x="457802" y="0"/>
                </a:cubicBezTo>
                <a:close/>
                <a:moveTo>
                  <a:pt x="397477" y="0"/>
                </a:moveTo>
                <a:cubicBezTo>
                  <a:pt x="397477" y="0"/>
                  <a:pt x="397477" y="0"/>
                  <a:pt x="401254" y="0"/>
                </a:cubicBezTo>
                <a:cubicBezTo>
                  <a:pt x="401254" y="0"/>
                  <a:pt x="401254" y="0"/>
                  <a:pt x="828073" y="281116"/>
                </a:cubicBezTo>
                <a:cubicBezTo>
                  <a:pt x="831850" y="285021"/>
                  <a:pt x="831850" y="285021"/>
                  <a:pt x="831850" y="285021"/>
                </a:cubicBezTo>
                <a:cubicBezTo>
                  <a:pt x="831850" y="285021"/>
                  <a:pt x="831850" y="285021"/>
                  <a:pt x="828073" y="288925"/>
                </a:cubicBezTo>
                <a:cubicBezTo>
                  <a:pt x="828073" y="288925"/>
                  <a:pt x="828073" y="288925"/>
                  <a:pt x="824296" y="288925"/>
                </a:cubicBezTo>
                <a:cubicBezTo>
                  <a:pt x="824296" y="288925"/>
                  <a:pt x="824296" y="288925"/>
                  <a:pt x="397477" y="7809"/>
                </a:cubicBezTo>
                <a:cubicBezTo>
                  <a:pt x="393700" y="3905"/>
                  <a:pt x="393700" y="3905"/>
                  <a:pt x="393700" y="3905"/>
                </a:cubicBezTo>
                <a:cubicBezTo>
                  <a:pt x="397477" y="0"/>
                  <a:pt x="397477" y="0"/>
                  <a:pt x="397477" y="0"/>
                </a:cubicBezTo>
                <a:close/>
                <a:moveTo>
                  <a:pt x="337152" y="0"/>
                </a:moveTo>
                <a:cubicBezTo>
                  <a:pt x="337152" y="0"/>
                  <a:pt x="340929" y="0"/>
                  <a:pt x="340929" y="0"/>
                </a:cubicBezTo>
                <a:cubicBezTo>
                  <a:pt x="340929" y="0"/>
                  <a:pt x="340929" y="0"/>
                  <a:pt x="767748" y="281116"/>
                </a:cubicBezTo>
                <a:cubicBezTo>
                  <a:pt x="771525" y="285021"/>
                  <a:pt x="771525" y="285021"/>
                  <a:pt x="771525" y="285021"/>
                </a:cubicBezTo>
                <a:cubicBezTo>
                  <a:pt x="771525" y="285021"/>
                  <a:pt x="771525" y="285021"/>
                  <a:pt x="767748" y="288925"/>
                </a:cubicBezTo>
                <a:cubicBezTo>
                  <a:pt x="767748" y="288925"/>
                  <a:pt x="767748" y="288925"/>
                  <a:pt x="763971" y="288925"/>
                </a:cubicBezTo>
                <a:cubicBezTo>
                  <a:pt x="763971" y="288925"/>
                  <a:pt x="763971" y="288925"/>
                  <a:pt x="337152" y="7809"/>
                </a:cubicBezTo>
                <a:cubicBezTo>
                  <a:pt x="333375" y="3905"/>
                  <a:pt x="333375" y="3905"/>
                  <a:pt x="333375" y="3905"/>
                </a:cubicBezTo>
                <a:cubicBezTo>
                  <a:pt x="337152" y="0"/>
                  <a:pt x="337152" y="0"/>
                  <a:pt x="337152" y="0"/>
                </a:cubicBezTo>
                <a:close/>
                <a:moveTo>
                  <a:pt x="276827" y="0"/>
                </a:moveTo>
                <a:cubicBezTo>
                  <a:pt x="276827" y="0"/>
                  <a:pt x="280604" y="0"/>
                  <a:pt x="280604" y="0"/>
                </a:cubicBezTo>
                <a:cubicBezTo>
                  <a:pt x="280604" y="0"/>
                  <a:pt x="280604" y="0"/>
                  <a:pt x="707423" y="281116"/>
                </a:cubicBezTo>
                <a:cubicBezTo>
                  <a:pt x="711200" y="285021"/>
                  <a:pt x="711200" y="285021"/>
                  <a:pt x="711200" y="285021"/>
                </a:cubicBezTo>
                <a:cubicBezTo>
                  <a:pt x="711200" y="285021"/>
                  <a:pt x="711200" y="285021"/>
                  <a:pt x="707423" y="288925"/>
                </a:cubicBezTo>
                <a:cubicBezTo>
                  <a:pt x="707423" y="288925"/>
                  <a:pt x="707423" y="288925"/>
                  <a:pt x="703646" y="288925"/>
                </a:cubicBezTo>
                <a:cubicBezTo>
                  <a:pt x="703646" y="288925"/>
                  <a:pt x="703646" y="288925"/>
                  <a:pt x="276827" y="7809"/>
                </a:cubicBezTo>
                <a:cubicBezTo>
                  <a:pt x="273050" y="3905"/>
                  <a:pt x="273050" y="3905"/>
                  <a:pt x="276827" y="3905"/>
                </a:cubicBezTo>
                <a:cubicBezTo>
                  <a:pt x="276827" y="0"/>
                  <a:pt x="276827" y="0"/>
                  <a:pt x="276827" y="0"/>
                </a:cubicBezTo>
                <a:close/>
                <a:moveTo>
                  <a:pt x="216502" y="0"/>
                </a:moveTo>
                <a:cubicBezTo>
                  <a:pt x="216502" y="0"/>
                  <a:pt x="220279" y="0"/>
                  <a:pt x="220279" y="0"/>
                </a:cubicBezTo>
                <a:cubicBezTo>
                  <a:pt x="220279" y="0"/>
                  <a:pt x="220279" y="0"/>
                  <a:pt x="647098" y="281116"/>
                </a:cubicBezTo>
                <a:cubicBezTo>
                  <a:pt x="650875" y="285021"/>
                  <a:pt x="650875" y="285021"/>
                  <a:pt x="650875" y="285021"/>
                </a:cubicBezTo>
                <a:cubicBezTo>
                  <a:pt x="650875" y="285021"/>
                  <a:pt x="650875" y="285021"/>
                  <a:pt x="647098" y="288925"/>
                </a:cubicBezTo>
                <a:cubicBezTo>
                  <a:pt x="647098" y="288925"/>
                  <a:pt x="647098" y="288925"/>
                  <a:pt x="216502" y="7809"/>
                </a:cubicBezTo>
                <a:cubicBezTo>
                  <a:pt x="212725" y="3905"/>
                  <a:pt x="212725" y="3905"/>
                  <a:pt x="216502" y="3905"/>
                </a:cubicBezTo>
                <a:cubicBezTo>
                  <a:pt x="216502" y="0"/>
                  <a:pt x="216502" y="0"/>
                  <a:pt x="216502" y="0"/>
                </a:cubicBezTo>
                <a:close/>
                <a:moveTo>
                  <a:pt x="156177" y="0"/>
                </a:moveTo>
                <a:cubicBezTo>
                  <a:pt x="159954" y="0"/>
                  <a:pt x="159954" y="0"/>
                  <a:pt x="159954" y="0"/>
                </a:cubicBezTo>
                <a:cubicBezTo>
                  <a:pt x="159954" y="0"/>
                  <a:pt x="159954" y="0"/>
                  <a:pt x="590550" y="281116"/>
                </a:cubicBezTo>
                <a:cubicBezTo>
                  <a:pt x="590550" y="285021"/>
                  <a:pt x="590550" y="285021"/>
                  <a:pt x="590550" y="285021"/>
                </a:cubicBezTo>
                <a:cubicBezTo>
                  <a:pt x="590550" y="285021"/>
                  <a:pt x="590550" y="285021"/>
                  <a:pt x="586773" y="288925"/>
                </a:cubicBezTo>
                <a:cubicBezTo>
                  <a:pt x="586773" y="288925"/>
                  <a:pt x="586773" y="288925"/>
                  <a:pt x="156177" y="7809"/>
                </a:cubicBezTo>
                <a:cubicBezTo>
                  <a:pt x="156177" y="3905"/>
                  <a:pt x="152400" y="3905"/>
                  <a:pt x="156177" y="3905"/>
                </a:cubicBezTo>
                <a:cubicBezTo>
                  <a:pt x="156177" y="0"/>
                  <a:pt x="156177" y="0"/>
                  <a:pt x="156177" y="0"/>
                </a:cubicBezTo>
                <a:close/>
                <a:moveTo>
                  <a:pt x="95852" y="0"/>
                </a:moveTo>
                <a:cubicBezTo>
                  <a:pt x="99629" y="0"/>
                  <a:pt x="99629" y="0"/>
                  <a:pt x="99629" y="0"/>
                </a:cubicBezTo>
                <a:cubicBezTo>
                  <a:pt x="99629" y="0"/>
                  <a:pt x="99629" y="0"/>
                  <a:pt x="530225" y="281116"/>
                </a:cubicBezTo>
                <a:cubicBezTo>
                  <a:pt x="530225" y="285021"/>
                  <a:pt x="530225" y="285021"/>
                  <a:pt x="530225" y="285021"/>
                </a:cubicBezTo>
                <a:cubicBezTo>
                  <a:pt x="530225" y="285021"/>
                  <a:pt x="530225" y="285021"/>
                  <a:pt x="526448" y="288925"/>
                </a:cubicBezTo>
                <a:cubicBezTo>
                  <a:pt x="526448" y="288925"/>
                  <a:pt x="526448" y="288925"/>
                  <a:pt x="95852" y="7809"/>
                </a:cubicBezTo>
                <a:cubicBezTo>
                  <a:pt x="95852" y="3905"/>
                  <a:pt x="92075" y="3905"/>
                  <a:pt x="95852" y="3905"/>
                </a:cubicBezTo>
                <a:cubicBezTo>
                  <a:pt x="95852" y="0"/>
                  <a:pt x="95852" y="0"/>
                  <a:pt x="95852" y="0"/>
                </a:cubicBezTo>
                <a:close/>
                <a:moveTo>
                  <a:pt x="34925" y="0"/>
                </a:moveTo>
                <a:cubicBezTo>
                  <a:pt x="38707" y="0"/>
                  <a:pt x="38707" y="0"/>
                  <a:pt x="38707" y="0"/>
                </a:cubicBezTo>
                <a:cubicBezTo>
                  <a:pt x="38707" y="0"/>
                  <a:pt x="38707" y="0"/>
                  <a:pt x="469900" y="281116"/>
                </a:cubicBezTo>
                <a:cubicBezTo>
                  <a:pt x="469900" y="285021"/>
                  <a:pt x="469900" y="285021"/>
                  <a:pt x="469900" y="285021"/>
                </a:cubicBezTo>
                <a:cubicBezTo>
                  <a:pt x="469900" y="285021"/>
                  <a:pt x="469900" y="285021"/>
                  <a:pt x="466118" y="288925"/>
                </a:cubicBezTo>
                <a:cubicBezTo>
                  <a:pt x="466118" y="288925"/>
                  <a:pt x="466118" y="288925"/>
                  <a:pt x="34925" y="7809"/>
                </a:cubicBezTo>
                <a:cubicBezTo>
                  <a:pt x="34925" y="3905"/>
                  <a:pt x="34925" y="3905"/>
                  <a:pt x="34925" y="3905"/>
                </a:cubicBezTo>
                <a:cubicBezTo>
                  <a:pt x="34925" y="0"/>
                  <a:pt x="34925" y="0"/>
                  <a:pt x="34925" y="0"/>
                </a:cubicBezTo>
                <a:close/>
              </a:path>
            </a:pathLst>
          </a:custGeom>
          <a:solidFill>
            <a:srgbClr val="74BF4B"/>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pic>
        <p:nvPicPr>
          <p:cNvPr id="76" name="Picture 75" descr="A picture containing indoor, sitting, black, close&#10;&#10;Description automatically generated">
            <a:extLst>
              <a:ext uri="{FF2B5EF4-FFF2-40B4-BE49-F238E27FC236}">
                <a16:creationId xmlns:a16="http://schemas.microsoft.com/office/drawing/2014/main" id="{584075A9-0AF4-4524-B0A9-ADB7BED3D921}"/>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1104487" y="3061440"/>
            <a:ext cx="1453241" cy="1114320"/>
          </a:xfrm>
          <a:custGeom>
            <a:avLst/>
            <a:gdLst>
              <a:gd name="connsiteX0" fmla="*/ 154161 w 1516691"/>
              <a:gd name="connsiteY0" fmla="*/ 0 h 1162975"/>
              <a:gd name="connsiteX1" fmla="*/ 1516691 w 1516691"/>
              <a:gd name="connsiteY1" fmla="*/ 0 h 1162975"/>
              <a:gd name="connsiteX2" fmla="*/ 1516691 w 1516691"/>
              <a:gd name="connsiteY2" fmla="*/ 1162975 h 1162975"/>
              <a:gd name="connsiteX3" fmla="*/ 239538 w 1516691"/>
              <a:gd name="connsiteY3" fmla="*/ 1162975 h 1162975"/>
              <a:gd name="connsiteX4" fmla="*/ 167746 w 1516691"/>
              <a:gd name="connsiteY4" fmla="*/ 1075962 h 1162975"/>
              <a:gd name="connsiteX5" fmla="*/ 0 w 1516691"/>
              <a:gd name="connsiteY5" fmla="*/ 526800 h 1162975"/>
              <a:gd name="connsiteX6" fmla="*/ 118547 w 1516691"/>
              <a:gd name="connsiteY6" fmla="*/ 58621 h 1162975"/>
              <a:gd name="connsiteX7" fmla="*/ 154161 w 1516691"/>
              <a:gd name="connsiteY7" fmla="*/ 0 h 116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6691" h="1162975">
                <a:moveTo>
                  <a:pt x="154161" y="0"/>
                </a:moveTo>
                <a:lnTo>
                  <a:pt x="1516691" y="0"/>
                </a:lnTo>
                <a:lnTo>
                  <a:pt x="1516691" y="1162975"/>
                </a:lnTo>
                <a:lnTo>
                  <a:pt x="239538" y="1162975"/>
                </a:lnTo>
                <a:lnTo>
                  <a:pt x="167746" y="1075962"/>
                </a:lnTo>
                <a:cubicBezTo>
                  <a:pt x="61840" y="919201"/>
                  <a:pt x="0" y="730222"/>
                  <a:pt x="0" y="526800"/>
                </a:cubicBezTo>
                <a:cubicBezTo>
                  <a:pt x="0" y="357282"/>
                  <a:pt x="42944" y="197793"/>
                  <a:pt x="118547" y="58621"/>
                </a:cubicBezTo>
                <a:lnTo>
                  <a:pt x="154161" y="0"/>
                </a:lnTo>
                <a:close/>
              </a:path>
            </a:pathLst>
          </a:custGeom>
        </p:spPr>
      </p:pic>
      <p:pic>
        <p:nvPicPr>
          <p:cNvPr id="93" name="Picture 92" descr="A black and white photo of a person&#10;&#10;Description generated with high confidence">
            <a:extLst>
              <a:ext uri="{FF2B5EF4-FFF2-40B4-BE49-F238E27FC236}">
                <a16:creationId xmlns:a16="http://schemas.microsoft.com/office/drawing/2014/main" id="{A4DBBE46-6F10-43ED-994A-C799BD6D5E9D}"/>
              </a:ext>
            </a:extLst>
          </p:cNvPr>
          <p:cNvPicPr>
            <a:picLocks noChangeAspect="1"/>
          </p:cNvPicPr>
          <p:nvPr/>
        </p:nvPicPr>
        <p:blipFill rotWithShape="1">
          <a:blip r:embed="rId4"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p:blipFill>
        <p:spPr>
          <a:xfrm>
            <a:off x="8483225" y="2902353"/>
            <a:ext cx="1340999" cy="1635519"/>
          </a:xfrm>
          <a:custGeom>
            <a:avLst/>
            <a:gdLst>
              <a:gd name="connsiteX0" fmla="*/ 0 w 1340999"/>
              <a:gd name="connsiteY0" fmla="*/ 0 h 1635519"/>
              <a:gd name="connsiteX1" fmla="*/ 1087324 w 1340999"/>
              <a:gd name="connsiteY1" fmla="*/ 0 h 1635519"/>
              <a:gd name="connsiteX2" fmla="*/ 1173253 w 1340999"/>
              <a:gd name="connsiteY2" fmla="*/ 104148 h 1635519"/>
              <a:gd name="connsiteX3" fmla="*/ 1340999 w 1340999"/>
              <a:gd name="connsiteY3" fmla="*/ 653310 h 1635519"/>
              <a:gd name="connsiteX4" fmla="*/ 358790 w 1340999"/>
              <a:gd name="connsiteY4" fmla="*/ 1635519 h 1635519"/>
              <a:gd name="connsiteX5" fmla="*/ 66711 w 1340999"/>
              <a:gd name="connsiteY5" fmla="*/ 1591361 h 1635519"/>
              <a:gd name="connsiteX6" fmla="*/ 0 w 1340999"/>
              <a:gd name="connsiteY6" fmla="*/ 1566944 h 1635519"/>
              <a:gd name="connsiteX7" fmla="*/ 0 w 1340999"/>
              <a:gd name="connsiteY7" fmla="*/ 0 h 163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0999" h="1635519">
                <a:moveTo>
                  <a:pt x="0" y="0"/>
                </a:moveTo>
                <a:lnTo>
                  <a:pt x="1087324" y="0"/>
                </a:lnTo>
                <a:lnTo>
                  <a:pt x="1173253" y="104148"/>
                </a:lnTo>
                <a:cubicBezTo>
                  <a:pt x="1279159" y="260909"/>
                  <a:pt x="1340999" y="449888"/>
                  <a:pt x="1340999" y="653310"/>
                </a:cubicBezTo>
                <a:cubicBezTo>
                  <a:pt x="1340999" y="1195769"/>
                  <a:pt x="901249" y="1635519"/>
                  <a:pt x="358790" y="1635519"/>
                </a:cubicBezTo>
                <a:cubicBezTo>
                  <a:pt x="257079" y="1635519"/>
                  <a:pt x="158979" y="1620059"/>
                  <a:pt x="66711" y="1591361"/>
                </a:cubicBezTo>
                <a:lnTo>
                  <a:pt x="0" y="1566944"/>
                </a:lnTo>
                <a:lnTo>
                  <a:pt x="0" y="0"/>
                </a:lnTo>
                <a:close/>
              </a:path>
            </a:pathLst>
          </a:custGeom>
        </p:spPr>
      </p:pic>
      <p:sp>
        <p:nvSpPr>
          <p:cNvPr id="36" name="Rectangle 35">
            <a:extLst>
              <a:ext uri="{FF2B5EF4-FFF2-40B4-BE49-F238E27FC236}">
                <a16:creationId xmlns:a16="http://schemas.microsoft.com/office/drawing/2014/main" id="{0AC9CDE7-0425-4922-BCDB-8D75F9331DB5}"/>
              </a:ext>
            </a:extLst>
          </p:cNvPr>
          <p:cNvSpPr/>
          <p:nvPr/>
        </p:nvSpPr>
        <p:spPr>
          <a:xfrm>
            <a:off x="533400" y="4679234"/>
            <a:ext cx="3111673" cy="584775"/>
          </a:xfrm>
          <a:prstGeom prst="rect">
            <a:avLst/>
          </a:prstGeom>
        </p:spPr>
        <p:txBody>
          <a:bodyPr wrap="square">
            <a:spAutoFit/>
          </a:bodyPr>
          <a:lstStyle/>
          <a:p>
            <a:pPr algn="ctr"/>
            <a:r>
              <a:rPr lang="en-US" sz="1600" dirty="0">
                <a:solidFill>
                  <a:schemeClr val="bg1"/>
                </a:solidFill>
              </a:rPr>
              <a:t>Quickly extend access to remote workers</a:t>
            </a:r>
          </a:p>
        </p:txBody>
      </p:sp>
      <p:sp>
        <p:nvSpPr>
          <p:cNvPr id="37" name="Rectangle 36">
            <a:extLst>
              <a:ext uri="{FF2B5EF4-FFF2-40B4-BE49-F238E27FC236}">
                <a16:creationId xmlns:a16="http://schemas.microsoft.com/office/drawing/2014/main" id="{6C446F78-F369-409F-820B-F7D085C11089}"/>
              </a:ext>
            </a:extLst>
          </p:cNvPr>
          <p:cNvSpPr/>
          <p:nvPr/>
        </p:nvSpPr>
        <p:spPr>
          <a:xfrm>
            <a:off x="3909790" y="4679234"/>
            <a:ext cx="3111673" cy="830997"/>
          </a:xfrm>
          <a:prstGeom prst="rect">
            <a:avLst/>
          </a:prstGeom>
        </p:spPr>
        <p:txBody>
          <a:bodyPr wrap="square">
            <a:spAutoFit/>
          </a:bodyPr>
          <a:lstStyle/>
          <a:p>
            <a:pPr algn="ctr"/>
            <a:r>
              <a:rPr lang="en-US" sz="1600" dirty="0">
                <a:solidFill>
                  <a:schemeClr val="bg1"/>
                </a:solidFill>
              </a:rPr>
              <a:t>Gain visibility and control over who’s accessing the network and on what devices</a:t>
            </a:r>
          </a:p>
        </p:txBody>
      </p:sp>
      <p:sp>
        <p:nvSpPr>
          <p:cNvPr id="38" name="Rectangle 37">
            <a:extLst>
              <a:ext uri="{FF2B5EF4-FFF2-40B4-BE49-F238E27FC236}">
                <a16:creationId xmlns:a16="http://schemas.microsoft.com/office/drawing/2014/main" id="{984292B5-9261-4388-851A-1ECD19D96B75}"/>
              </a:ext>
            </a:extLst>
          </p:cNvPr>
          <p:cNvSpPr/>
          <p:nvPr/>
        </p:nvSpPr>
        <p:spPr>
          <a:xfrm>
            <a:off x="7286179" y="4679234"/>
            <a:ext cx="3111673" cy="584775"/>
          </a:xfrm>
          <a:prstGeom prst="rect">
            <a:avLst/>
          </a:prstGeom>
        </p:spPr>
        <p:txBody>
          <a:bodyPr wrap="square">
            <a:spAutoFit/>
          </a:bodyPr>
          <a:lstStyle/>
          <a:p>
            <a:pPr algn="ctr"/>
            <a:r>
              <a:rPr lang="en-US" sz="1600" dirty="0">
                <a:solidFill>
                  <a:schemeClr val="bg1"/>
                </a:solidFill>
              </a:rPr>
              <a:t>Perform continuous endpoint posture checks</a:t>
            </a:r>
          </a:p>
        </p:txBody>
      </p:sp>
      <p:sp>
        <p:nvSpPr>
          <p:cNvPr id="4" name="Footer Placeholder 3">
            <a:extLst>
              <a:ext uri="{FF2B5EF4-FFF2-40B4-BE49-F238E27FC236}">
                <a16:creationId xmlns:a16="http://schemas.microsoft.com/office/drawing/2014/main" id="{714098E1-6B84-44E2-87FB-83451E1BF6E0}"/>
              </a:ext>
            </a:extLst>
          </p:cNvPr>
          <p:cNvSpPr>
            <a:spLocks noGrp="1"/>
          </p:cNvSpPr>
          <p:nvPr>
            <p:ph type="ftr" sz="quarter" idx="10"/>
          </p:nvPr>
        </p:nvSpPr>
        <p:spPr/>
        <p:txBody>
          <a:bodyPr/>
          <a:lstStyle/>
          <a:p>
            <a:r>
              <a:rPr lang="en-US" dirty="0"/>
              <a:t>© 2020 Cisco and/or its affiliates. All rights reserved. Cisco Confidential</a:t>
            </a:r>
          </a:p>
        </p:txBody>
      </p:sp>
      <p:sp>
        <p:nvSpPr>
          <p:cNvPr id="2" name="Title 1">
            <a:extLst>
              <a:ext uri="{FF2B5EF4-FFF2-40B4-BE49-F238E27FC236}">
                <a16:creationId xmlns:a16="http://schemas.microsoft.com/office/drawing/2014/main" id="{FA0BE187-2788-4615-8701-F892CE34BE42}"/>
              </a:ext>
            </a:extLst>
          </p:cNvPr>
          <p:cNvSpPr>
            <a:spLocks noGrp="1"/>
          </p:cNvSpPr>
          <p:nvPr>
            <p:ph type="title"/>
          </p:nvPr>
        </p:nvSpPr>
        <p:spPr>
          <a:xfrm>
            <a:off x="533400" y="481807"/>
            <a:ext cx="11127317" cy="787908"/>
          </a:xfrm>
        </p:spPr>
        <p:txBody>
          <a:bodyPr/>
          <a:lstStyle/>
          <a:p>
            <a:r>
              <a:rPr lang="en-US" sz="3200" dirty="0"/>
              <a:t>Enable secure access to your network for any user, from any device, at any time, in any location</a:t>
            </a:r>
          </a:p>
        </p:txBody>
      </p:sp>
      <p:sp>
        <p:nvSpPr>
          <p:cNvPr id="13" name="Oval 12">
            <a:extLst>
              <a:ext uri="{FF2B5EF4-FFF2-40B4-BE49-F238E27FC236}">
                <a16:creationId xmlns:a16="http://schemas.microsoft.com/office/drawing/2014/main" id="{81F52E8D-EE05-4790-837B-CF583A67FBB9}"/>
              </a:ext>
            </a:extLst>
          </p:cNvPr>
          <p:cNvSpPr/>
          <p:nvPr/>
        </p:nvSpPr>
        <p:spPr>
          <a:xfrm>
            <a:off x="1107027" y="2578115"/>
            <a:ext cx="1964418" cy="1964418"/>
          </a:xfrm>
          <a:prstGeom prst="ellipse">
            <a:avLst/>
          </a:prstGeom>
          <a:noFill/>
          <a:ln w="190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905E508A-29A5-41BF-B31C-C67FFC07B785}"/>
              </a:ext>
            </a:extLst>
          </p:cNvPr>
          <p:cNvSpPr/>
          <p:nvPr/>
        </p:nvSpPr>
        <p:spPr>
          <a:xfrm>
            <a:off x="7859806" y="2578115"/>
            <a:ext cx="1964418" cy="1964418"/>
          </a:xfrm>
          <a:prstGeom prst="ellipse">
            <a:avLst/>
          </a:prstGeom>
          <a:noFill/>
          <a:ln w="190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48" name="Group 2047">
            <a:extLst>
              <a:ext uri="{FF2B5EF4-FFF2-40B4-BE49-F238E27FC236}">
                <a16:creationId xmlns:a16="http://schemas.microsoft.com/office/drawing/2014/main" id="{E485D0AB-9F0B-4F29-BC12-2BB4C6AEE3C4}"/>
              </a:ext>
            </a:extLst>
          </p:cNvPr>
          <p:cNvGrpSpPr/>
          <p:nvPr/>
        </p:nvGrpSpPr>
        <p:grpSpPr>
          <a:xfrm>
            <a:off x="4483417" y="2578115"/>
            <a:ext cx="1964418" cy="1964418"/>
            <a:chOff x="7859806" y="2578115"/>
            <a:chExt cx="1964418" cy="1964418"/>
          </a:xfrm>
        </p:grpSpPr>
        <p:pic>
          <p:nvPicPr>
            <p:cNvPr id="86" name="Picture 85" descr="A couple of people posing for the camera&#10;&#10;Description automatically generated">
              <a:extLst>
                <a:ext uri="{FF2B5EF4-FFF2-40B4-BE49-F238E27FC236}">
                  <a16:creationId xmlns:a16="http://schemas.microsoft.com/office/drawing/2014/main" id="{1C993A93-686D-47DC-A1E5-ADDEDC7DD6D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375509" y="2907014"/>
              <a:ext cx="1230275" cy="1635519"/>
            </a:xfrm>
            <a:custGeom>
              <a:avLst/>
              <a:gdLst>
                <a:gd name="connsiteX0" fmla="*/ 0 w 1159939"/>
                <a:gd name="connsiteY0" fmla="*/ 0 h 1635519"/>
                <a:gd name="connsiteX1" fmla="*/ 1122509 w 1159939"/>
                <a:gd name="connsiteY1" fmla="*/ 0 h 1635519"/>
                <a:gd name="connsiteX2" fmla="*/ 1159939 w 1159939"/>
                <a:gd name="connsiteY2" fmla="*/ 45366 h 1635519"/>
                <a:gd name="connsiteX3" fmla="*/ 1159939 w 1159939"/>
                <a:gd name="connsiteY3" fmla="*/ 1261254 h 1635519"/>
                <a:gd name="connsiteX4" fmla="*/ 1088502 w 1159939"/>
                <a:gd name="connsiteY4" fmla="*/ 1347837 h 1635519"/>
                <a:gd name="connsiteX5" fmla="*/ 393975 w 1159939"/>
                <a:gd name="connsiteY5" fmla="*/ 1635519 h 1635519"/>
                <a:gd name="connsiteX6" fmla="*/ 11655 w 1159939"/>
                <a:gd name="connsiteY6" fmla="*/ 1558332 h 1635519"/>
                <a:gd name="connsiteX7" fmla="*/ 0 w 1159939"/>
                <a:gd name="connsiteY7" fmla="*/ 1552718 h 1635519"/>
                <a:gd name="connsiteX8" fmla="*/ 0 w 1159939"/>
                <a:gd name="connsiteY8" fmla="*/ 0 h 1635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9939" h="1635519">
                  <a:moveTo>
                    <a:pt x="0" y="0"/>
                  </a:moveTo>
                  <a:lnTo>
                    <a:pt x="1122509" y="0"/>
                  </a:lnTo>
                  <a:lnTo>
                    <a:pt x="1159939" y="45366"/>
                  </a:lnTo>
                  <a:lnTo>
                    <a:pt x="1159939" y="1261254"/>
                  </a:lnTo>
                  <a:lnTo>
                    <a:pt x="1088502" y="1347837"/>
                  </a:lnTo>
                  <a:cubicBezTo>
                    <a:pt x="910757" y="1525582"/>
                    <a:pt x="665204" y="1635519"/>
                    <a:pt x="393975" y="1635519"/>
                  </a:cubicBezTo>
                  <a:cubicBezTo>
                    <a:pt x="258360" y="1635519"/>
                    <a:pt x="129165" y="1608035"/>
                    <a:pt x="11655" y="1558332"/>
                  </a:cubicBezTo>
                  <a:lnTo>
                    <a:pt x="0" y="1552718"/>
                  </a:lnTo>
                  <a:lnTo>
                    <a:pt x="0" y="0"/>
                  </a:lnTo>
                  <a:close/>
                </a:path>
              </a:pathLst>
            </a:custGeom>
          </p:spPr>
        </p:pic>
        <p:sp>
          <p:nvSpPr>
            <p:cNvPr id="15" name="Oval 14">
              <a:extLst>
                <a:ext uri="{FF2B5EF4-FFF2-40B4-BE49-F238E27FC236}">
                  <a16:creationId xmlns:a16="http://schemas.microsoft.com/office/drawing/2014/main" id="{A439E070-9431-4FB2-B8EB-2782976017B8}"/>
                </a:ext>
              </a:extLst>
            </p:cNvPr>
            <p:cNvSpPr/>
            <p:nvPr/>
          </p:nvSpPr>
          <p:spPr>
            <a:xfrm>
              <a:off x="7859806" y="2578115"/>
              <a:ext cx="1964418" cy="1964418"/>
            </a:xfrm>
            <a:prstGeom prst="ellipse">
              <a:avLst/>
            </a:prstGeom>
            <a:noFill/>
            <a:ln w="190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Rectangle 16">
            <a:extLst>
              <a:ext uri="{FF2B5EF4-FFF2-40B4-BE49-F238E27FC236}">
                <a16:creationId xmlns:a16="http://schemas.microsoft.com/office/drawing/2014/main" id="{3241151E-E993-4076-A2E5-9AA5BEDA255E}"/>
              </a:ext>
            </a:extLst>
          </p:cNvPr>
          <p:cNvSpPr/>
          <p:nvPr/>
        </p:nvSpPr>
        <p:spPr>
          <a:xfrm>
            <a:off x="0" y="2435069"/>
            <a:ext cx="10788661" cy="27987"/>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 Placeholder 3">
            <a:extLst>
              <a:ext uri="{FF2B5EF4-FFF2-40B4-BE49-F238E27FC236}">
                <a16:creationId xmlns:a16="http://schemas.microsoft.com/office/drawing/2014/main" id="{27E29BBD-D3F7-4357-8216-0D5E06CEEFBE}"/>
              </a:ext>
            </a:extLst>
          </p:cNvPr>
          <p:cNvSpPr txBox="1">
            <a:spLocks/>
          </p:cNvSpPr>
          <p:nvPr/>
        </p:nvSpPr>
        <p:spPr>
          <a:xfrm>
            <a:off x="533399" y="1456307"/>
            <a:ext cx="8660653" cy="347231"/>
          </a:xfrm>
          <a:prstGeom prst="rect">
            <a:avLst/>
          </a:prstGeom>
          <a:noFill/>
        </p:spPr>
        <p:txBody>
          <a:bodyPr wrap="square" lIns="0" tIns="0" rIns="0" bIns="0" rtlCol="0">
            <a:noAutofit/>
          </a:bodyPr>
          <a:lstStyle>
            <a:lvl1pPr marL="0" indent="0" algn="l" defTabSz="912239" rtl="0" eaLnBrk="1" fontAlgn="base" hangingPunct="1">
              <a:lnSpc>
                <a:spcPct val="95000"/>
              </a:lnSpc>
              <a:spcBef>
                <a:spcPts val="1433"/>
              </a:spcBef>
              <a:spcAft>
                <a:spcPct val="0"/>
              </a:spcAft>
              <a:buClr>
                <a:schemeClr val="tx2"/>
              </a:buClr>
              <a:buSzPct val="90000"/>
              <a:buFont typeface="Arial" charset="0"/>
              <a:buNone/>
              <a:defRPr lang="en-US" sz="1400" kern="1200" smtClean="0">
                <a:solidFill>
                  <a:schemeClr val="accent1"/>
                </a:solidFill>
                <a:latin typeface="+mn-lt"/>
                <a:ea typeface="+mn-ea"/>
                <a:cs typeface="+mn-cs"/>
              </a:defRPr>
            </a:lvl1pPr>
            <a:lvl2pPr marL="169349" indent="0" algn="l" defTabSz="912239" rtl="0" eaLnBrk="1" fontAlgn="base" hangingPunct="1">
              <a:lnSpc>
                <a:spcPct val="95000"/>
              </a:lnSpc>
              <a:spcBef>
                <a:spcPts val="800"/>
              </a:spcBef>
              <a:spcAft>
                <a:spcPct val="0"/>
              </a:spcAft>
              <a:buClr>
                <a:schemeClr val="tx2"/>
              </a:buClr>
              <a:buFont typeface="Arial" charset="0"/>
              <a:buNone/>
              <a:defRPr lang="en-US" sz="1800" kern="1200" smtClean="0">
                <a:solidFill>
                  <a:schemeClr val="tx1"/>
                </a:solidFill>
                <a:latin typeface="+mn-lt"/>
                <a:ea typeface="+mn-ea"/>
                <a:cs typeface="+mn-cs"/>
              </a:defRPr>
            </a:lvl2pPr>
            <a:lvl3pPr marL="575704" indent="-226473" algn="l" defTabSz="912239" rtl="0" eaLnBrk="1" fontAlgn="base" hangingPunct="1">
              <a:lnSpc>
                <a:spcPct val="95000"/>
              </a:lnSpc>
              <a:spcBef>
                <a:spcPts val="833"/>
              </a:spcBef>
              <a:spcAft>
                <a:spcPct val="0"/>
              </a:spcAft>
              <a:buFont typeface="Arial" charset="0"/>
              <a:buChar char="•"/>
              <a:defRPr lang="en-US" sz="1800" kern="1200" smtClean="0">
                <a:solidFill>
                  <a:schemeClr val="tx1"/>
                </a:solidFill>
                <a:latin typeface="+mn-lt"/>
                <a:ea typeface="+mn-ea"/>
                <a:cs typeface="+mn-cs"/>
              </a:defRPr>
            </a:lvl3pPr>
            <a:lvl4pPr marL="670950" indent="-226473" algn="l" defTabSz="912239" rtl="0" eaLnBrk="1" fontAlgn="base" hangingPunct="1">
              <a:lnSpc>
                <a:spcPct val="95000"/>
              </a:lnSpc>
              <a:spcBef>
                <a:spcPts val="833"/>
              </a:spcBef>
              <a:spcAft>
                <a:spcPct val="0"/>
              </a:spcAft>
              <a:buFont typeface="Arial" charset="0"/>
              <a:buChar char="•"/>
              <a:defRPr lang="en-US" sz="1800" kern="1200" smtClean="0">
                <a:solidFill>
                  <a:schemeClr val="tx1"/>
                </a:solidFill>
                <a:latin typeface="+mn-lt"/>
                <a:ea typeface="+mn-ea"/>
                <a:cs typeface="+mn-cs"/>
              </a:defRPr>
            </a:lvl4pPr>
            <a:lvl5pPr marL="766196" indent="-226473" algn="l" defTabSz="912239" rtl="0" eaLnBrk="1" fontAlgn="base" hangingPunct="1">
              <a:lnSpc>
                <a:spcPct val="95000"/>
              </a:lnSpc>
              <a:spcBef>
                <a:spcPts val="833"/>
              </a:spcBef>
              <a:spcAft>
                <a:spcPct val="0"/>
              </a:spcAft>
              <a:buFont typeface="Arial" charset="0"/>
              <a:buChar char="•"/>
              <a:defRPr lang="en-US" sz="1800" kern="1200">
                <a:solidFill>
                  <a:schemeClr val="tx1"/>
                </a:solidFill>
                <a:latin typeface="+mn-lt"/>
                <a:ea typeface="+mn-ea"/>
                <a:cs typeface="+mn-cs"/>
              </a:defRPr>
            </a:lvl5pPr>
            <a:lvl6pPr marL="1151750" indent="-228582" algn="l" defTabSz="914324"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30" indent="-228552" algn="l" defTabSz="914324"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133" indent="0" algn="l" defTabSz="914324" rtl="0" eaLnBrk="1" latinLnBrk="0" hangingPunct="1">
              <a:spcBef>
                <a:spcPct val="20000"/>
              </a:spcBef>
              <a:buFont typeface="Arial" pitchFamily="34" charset="0"/>
              <a:buNone/>
              <a:defRPr sz="2000" kern="1200">
                <a:solidFill>
                  <a:schemeClr val="tx1"/>
                </a:solidFill>
                <a:latin typeface="+mn-lt"/>
                <a:ea typeface="+mn-ea"/>
                <a:cs typeface="+mn-cs"/>
              </a:defRPr>
            </a:lvl8pPr>
            <a:lvl9pPr marL="3885878" indent="-228582" algn="l" defTabSz="91432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ctr"/>
            <a:r>
              <a:rPr lang="en-US" sz="2400" dirty="0"/>
              <a:t>Risk-based access control predicated on security and trust</a:t>
            </a:r>
          </a:p>
        </p:txBody>
      </p:sp>
      <p:sp>
        <p:nvSpPr>
          <p:cNvPr id="19" name="Rectangle 10">
            <a:extLst>
              <a:ext uri="{FF2B5EF4-FFF2-40B4-BE49-F238E27FC236}">
                <a16:creationId xmlns:a16="http://schemas.microsoft.com/office/drawing/2014/main" id="{ED78405E-70FF-4E6A-AC4C-5301DC9A4626}"/>
              </a:ext>
            </a:extLst>
          </p:cNvPr>
          <p:cNvSpPr/>
          <p:nvPr/>
        </p:nvSpPr>
        <p:spPr>
          <a:xfrm>
            <a:off x="11204294" y="2303362"/>
            <a:ext cx="0" cy="3840480"/>
          </a:xfrm>
          <a:custGeom>
            <a:avLst/>
            <a:gdLst>
              <a:gd name="connsiteX0" fmla="*/ 0 w 11658600"/>
              <a:gd name="connsiteY0" fmla="*/ 0 h 5139159"/>
              <a:gd name="connsiteX1" fmla="*/ 11658600 w 11658600"/>
              <a:gd name="connsiteY1" fmla="*/ 0 h 5139159"/>
              <a:gd name="connsiteX2" fmla="*/ 11658600 w 11658600"/>
              <a:gd name="connsiteY2" fmla="*/ 5139159 h 5139159"/>
              <a:gd name="connsiteX3" fmla="*/ 0 w 11658600"/>
              <a:gd name="connsiteY3" fmla="*/ 5139159 h 5139159"/>
              <a:gd name="connsiteX4" fmla="*/ 0 w 11658600"/>
              <a:gd name="connsiteY4" fmla="*/ 0 h 5139159"/>
              <a:gd name="connsiteX0" fmla="*/ 0 w 11658600"/>
              <a:gd name="connsiteY0" fmla="*/ 0 h 5139159"/>
              <a:gd name="connsiteX1" fmla="*/ 11658600 w 11658600"/>
              <a:gd name="connsiteY1" fmla="*/ 0 h 5139159"/>
              <a:gd name="connsiteX2" fmla="*/ 11658600 w 11658600"/>
              <a:gd name="connsiteY2" fmla="*/ 5139159 h 5139159"/>
              <a:gd name="connsiteX3" fmla="*/ 0 w 11658600"/>
              <a:gd name="connsiteY3" fmla="*/ 5139159 h 5139159"/>
              <a:gd name="connsiteX4" fmla="*/ 91440 w 11658600"/>
              <a:gd name="connsiteY4" fmla="*/ 91440 h 5139159"/>
              <a:gd name="connsiteX0" fmla="*/ 0 w 11658600"/>
              <a:gd name="connsiteY0" fmla="*/ 0 h 5139159"/>
              <a:gd name="connsiteX1" fmla="*/ 11658600 w 11658600"/>
              <a:gd name="connsiteY1" fmla="*/ 0 h 5139159"/>
              <a:gd name="connsiteX2" fmla="*/ 11658600 w 11658600"/>
              <a:gd name="connsiteY2" fmla="*/ 5139159 h 5139159"/>
              <a:gd name="connsiteX3" fmla="*/ 0 w 11658600"/>
              <a:gd name="connsiteY3" fmla="*/ 5139159 h 5139159"/>
              <a:gd name="connsiteX0" fmla="*/ 0 w 11658600"/>
              <a:gd name="connsiteY0" fmla="*/ 0 h 5139159"/>
              <a:gd name="connsiteX1" fmla="*/ 11658600 w 11658600"/>
              <a:gd name="connsiteY1" fmla="*/ 0 h 5139159"/>
              <a:gd name="connsiteX2" fmla="*/ 11658600 w 11658600"/>
              <a:gd name="connsiteY2" fmla="*/ 5139159 h 5139159"/>
              <a:gd name="connsiteX0" fmla="*/ 0 w 0"/>
              <a:gd name="connsiteY0" fmla="*/ 0 h 5139159"/>
              <a:gd name="connsiteX1" fmla="*/ 0 w 0"/>
              <a:gd name="connsiteY1" fmla="*/ 5139159 h 5139159"/>
            </a:gdLst>
            <a:ahLst/>
            <a:cxnLst>
              <a:cxn ang="0">
                <a:pos x="connsiteX0" y="connsiteY0"/>
              </a:cxn>
              <a:cxn ang="0">
                <a:pos x="connsiteX1" y="connsiteY1"/>
              </a:cxn>
            </a:cxnLst>
            <a:rect l="l" t="t" r="r" b="b"/>
            <a:pathLst>
              <a:path h="5139159">
                <a:moveTo>
                  <a:pt x="0" y="0"/>
                </a:moveTo>
                <a:lnTo>
                  <a:pt x="0" y="5139159"/>
                </a:lnTo>
              </a:path>
            </a:pathLst>
          </a:custGeom>
          <a:noFill/>
          <a:ln w="63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E3BE9BD0-250F-42F7-8656-8561D04916E4}"/>
              </a:ext>
            </a:extLst>
          </p:cNvPr>
          <p:cNvSpPr/>
          <p:nvPr/>
        </p:nvSpPr>
        <p:spPr>
          <a:xfrm>
            <a:off x="10412694" y="1517905"/>
            <a:ext cx="1570916" cy="1570914"/>
          </a:xfrm>
          <a:prstGeom prst="ellipse">
            <a:avLst/>
          </a:prstGeom>
          <a:solidFill>
            <a:schemeClr val="bg2"/>
          </a:solidFill>
          <a:ln w="63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4" name="Group 23">
            <a:extLst>
              <a:ext uri="{FF2B5EF4-FFF2-40B4-BE49-F238E27FC236}">
                <a16:creationId xmlns:a16="http://schemas.microsoft.com/office/drawing/2014/main" id="{9565AC4F-31AA-4405-9664-EEFDD086F324}"/>
              </a:ext>
            </a:extLst>
          </p:cNvPr>
          <p:cNvGrpSpPr/>
          <p:nvPr/>
        </p:nvGrpSpPr>
        <p:grpSpPr>
          <a:xfrm>
            <a:off x="1834734" y="2194560"/>
            <a:ext cx="509004" cy="509004"/>
            <a:chOff x="987706" y="2608489"/>
            <a:chExt cx="1038422" cy="1038422"/>
          </a:xfrm>
        </p:grpSpPr>
        <p:sp>
          <p:nvSpPr>
            <p:cNvPr id="25" name="Oval 24">
              <a:extLst>
                <a:ext uri="{FF2B5EF4-FFF2-40B4-BE49-F238E27FC236}">
                  <a16:creationId xmlns:a16="http://schemas.microsoft.com/office/drawing/2014/main" id="{4C384986-AA13-474F-B3C4-5F97FA577ADD}"/>
                </a:ext>
              </a:extLst>
            </p:cNvPr>
            <p:cNvSpPr/>
            <p:nvPr/>
          </p:nvSpPr>
          <p:spPr>
            <a:xfrm>
              <a:off x="987706" y="2608489"/>
              <a:ext cx="1038422" cy="1038422"/>
            </a:xfrm>
            <a:prstGeom prst="ellipse">
              <a:avLst/>
            </a:prstGeom>
            <a:pattFill prst="wdUpDiag">
              <a:fgClr>
                <a:schemeClr val="tx2">
                  <a:lumMod val="20000"/>
                  <a:lumOff val="80000"/>
                </a:schemeClr>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26" name="Oval 25">
              <a:extLst>
                <a:ext uri="{FF2B5EF4-FFF2-40B4-BE49-F238E27FC236}">
                  <a16:creationId xmlns:a16="http://schemas.microsoft.com/office/drawing/2014/main" id="{0477B957-0A2A-4DD0-A409-F1A7E3DE1589}"/>
                </a:ext>
              </a:extLst>
            </p:cNvPr>
            <p:cNvSpPr/>
            <p:nvPr/>
          </p:nvSpPr>
          <p:spPr>
            <a:xfrm>
              <a:off x="1097280" y="2718063"/>
              <a:ext cx="928848" cy="928848"/>
            </a:xfrm>
            <a:prstGeom prst="ellipse">
              <a:avLst/>
            </a:prstGeom>
            <a:solidFill>
              <a:schemeClr val="tx2">
                <a:lumMod val="75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solidFill>
                  <a:schemeClr val="bg2"/>
                </a:solidFill>
              </a:endParaRPr>
            </a:p>
          </p:txBody>
        </p:sp>
      </p:grpSp>
      <p:grpSp>
        <p:nvGrpSpPr>
          <p:cNvPr id="27" name="Group 26">
            <a:extLst>
              <a:ext uri="{FF2B5EF4-FFF2-40B4-BE49-F238E27FC236}">
                <a16:creationId xmlns:a16="http://schemas.microsoft.com/office/drawing/2014/main" id="{4C09CA55-DE4F-464C-98D9-B9227EE27D45}"/>
              </a:ext>
            </a:extLst>
          </p:cNvPr>
          <p:cNvGrpSpPr/>
          <p:nvPr/>
        </p:nvGrpSpPr>
        <p:grpSpPr>
          <a:xfrm>
            <a:off x="5211124" y="2194560"/>
            <a:ext cx="509004" cy="509004"/>
            <a:chOff x="987706" y="2608489"/>
            <a:chExt cx="1038422" cy="1038422"/>
          </a:xfrm>
        </p:grpSpPr>
        <p:sp>
          <p:nvSpPr>
            <p:cNvPr id="28" name="Oval 27">
              <a:extLst>
                <a:ext uri="{FF2B5EF4-FFF2-40B4-BE49-F238E27FC236}">
                  <a16:creationId xmlns:a16="http://schemas.microsoft.com/office/drawing/2014/main" id="{15DCF7C4-2F57-4D59-A711-44E5AC0AB728}"/>
                </a:ext>
              </a:extLst>
            </p:cNvPr>
            <p:cNvSpPr/>
            <p:nvPr/>
          </p:nvSpPr>
          <p:spPr>
            <a:xfrm>
              <a:off x="987706" y="2608489"/>
              <a:ext cx="1038422" cy="1038422"/>
            </a:xfrm>
            <a:prstGeom prst="ellipse">
              <a:avLst/>
            </a:prstGeom>
            <a:pattFill prst="wdUpDiag">
              <a:fgClr>
                <a:schemeClr val="tx2">
                  <a:lumMod val="20000"/>
                  <a:lumOff val="80000"/>
                </a:schemeClr>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29" name="Oval 28">
              <a:extLst>
                <a:ext uri="{FF2B5EF4-FFF2-40B4-BE49-F238E27FC236}">
                  <a16:creationId xmlns:a16="http://schemas.microsoft.com/office/drawing/2014/main" id="{F9F618B1-7680-4C29-A9B8-36DFE40D9D4A}"/>
                </a:ext>
              </a:extLst>
            </p:cNvPr>
            <p:cNvSpPr/>
            <p:nvPr/>
          </p:nvSpPr>
          <p:spPr>
            <a:xfrm>
              <a:off x="1097280" y="2718063"/>
              <a:ext cx="928848" cy="928848"/>
            </a:xfrm>
            <a:prstGeom prst="ellipse">
              <a:avLst/>
            </a:prstGeom>
            <a:solidFill>
              <a:schemeClr val="tx2">
                <a:lumMod val="75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solidFill>
                  <a:schemeClr val="bg2"/>
                </a:solidFill>
              </a:endParaRPr>
            </a:p>
          </p:txBody>
        </p:sp>
      </p:grpSp>
      <p:grpSp>
        <p:nvGrpSpPr>
          <p:cNvPr id="30" name="Group 29">
            <a:extLst>
              <a:ext uri="{FF2B5EF4-FFF2-40B4-BE49-F238E27FC236}">
                <a16:creationId xmlns:a16="http://schemas.microsoft.com/office/drawing/2014/main" id="{1AD04CF7-A6E7-4DC7-AEC6-5288FBC658A8}"/>
              </a:ext>
            </a:extLst>
          </p:cNvPr>
          <p:cNvGrpSpPr/>
          <p:nvPr/>
        </p:nvGrpSpPr>
        <p:grpSpPr>
          <a:xfrm>
            <a:off x="8587513" y="2194560"/>
            <a:ext cx="509004" cy="509004"/>
            <a:chOff x="987706" y="2608489"/>
            <a:chExt cx="1038422" cy="1038422"/>
          </a:xfrm>
        </p:grpSpPr>
        <p:sp>
          <p:nvSpPr>
            <p:cNvPr id="31" name="Oval 30">
              <a:extLst>
                <a:ext uri="{FF2B5EF4-FFF2-40B4-BE49-F238E27FC236}">
                  <a16:creationId xmlns:a16="http://schemas.microsoft.com/office/drawing/2014/main" id="{C737BA10-A9E2-4371-BADD-1E58A8875464}"/>
                </a:ext>
              </a:extLst>
            </p:cNvPr>
            <p:cNvSpPr/>
            <p:nvPr/>
          </p:nvSpPr>
          <p:spPr>
            <a:xfrm>
              <a:off x="987706" y="2608489"/>
              <a:ext cx="1038422" cy="1038422"/>
            </a:xfrm>
            <a:prstGeom prst="ellipse">
              <a:avLst/>
            </a:prstGeom>
            <a:pattFill prst="wdUpDiag">
              <a:fgClr>
                <a:schemeClr val="tx2">
                  <a:lumMod val="20000"/>
                  <a:lumOff val="80000"/>
                </a:schemeClr>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2" name="Oval 31">
              <a:extLst>
                <a:ext uri="{FF2B5EF4-FFF2-40B4-BE49-F238E27FC236}">
                  <a16:creationId xmlns:a16="http://schemas.microsoft.com/office/drawing/2014/main" id="{33754695-DE58-4EB3-8890-7CCFE9FDC9D8}"/>
                </a:ext>
              </a:extLst>
            </p:cNvPr>
            <p:cNvSpPr/>
            <p:nvPr/>
          </p:nvSpPr>
          <p:spPr>
            <a:xfrm>
              <a:off x="1097280" y="2718063"/>
              <a:ext cx="928848" cy="928848"/>
            </a:xfrm>
            <a:prstGeom prst="ellipse">
              <a:avLst/>
            </a:prstGeom>
            <a:solidFill>
              <a:schemeClr val="tx2">
                <a:lumMod val="75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solidFill>
                  <a:schemeClr val="bg2"/>
                </a:solidFill>
              </a:endParaRPr>
            </a:p>
          </p:txBody>
        </p:sp>
      </p:grpSp>
      <p:cxnSp>
        <p:nvCxnSpPr>
          <p:cNvPr id="47" name="Straight Connector 46">
            <a:extLst>
              <a:ext uri="{FF2B5EF4-FFF2-40B4-BE49-F238E27FC236}">
                <a16:creationId xmlns:a16="http://schemas.microsoft.com/office/drawing/2014/main" id="{FCB5D1B3-3654-49C9-989D-EE872A755F50}"/>
              </a:ext>
            </a:extLst>
          </p:cNvPr>
          <p:cNvCxnSpPr>
            <a:cxnSpLocks/>
          </p:cNvCxnSpPr>
          <p:nvPr/>
        </p:nvCxnSpPr>
        <p:spPr>
          <a:xfrm>
            <a:off x="0" y="6086004"/>
            <a:ext cx="10607886" cy="0"/>
          </a:xfrm>
          <a:prstGeom prst="line">
            <a:avLst/>
          </a:prstGeom>
          <a:ln w="127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8A213695-4742-4F71-AA80-B8B1A4F8D1A7}"/>
              </a:ext>
            </a:extLst>
          </p:cNvPr>
          <p:cNvGrpSpPr/>
          <p:nvPr/>
        </p:nvGrpSpPr>
        <p:grpSpPr>
          <a:xfrm>
            <a:off x="10607886" y="5385397"/>
            <a:ext cx="697419" cy="799258"/>
            <a:chOff x="14183664" y="221508"/>
            <a:chExt cx="1531860" cy="1755547"/>
          </a:xfrm>
          <a:solidFill>
            <a:srgbClr val="3D5271"/>
          </a:solidFill>
        </p:grpSpPr>
        <p:sp>
          <p:nvSpPr>
            <p:cNvPr id="64" name="Oval 63">
              <a:extLst>
                <a:ext uri="{FF2B5EF4-FFF2-40B4-BE49-F238E27FC236}">
                  <a16:creationId xmlns:a16="http://schemas.microsoft.com/office/drawing/2014/main" id="{CF141CCE-50C5-4D83-82E1-D94FE8604E7F}"/>
                </a:ext>
              </a:extLst>
            </p:cNvPr>
            <p:cNvSpPr/>
            <p:nvPr/>
          </p:nvSpPr>
          <p:spPr>
            <a:xfrm>
              <a:off x="14183664" y="1637009"/>
              <a:ext cx="246724" cy="246724"/>
            </a:xfrm>
            <a:prstGeom prst="ellipse">
              <a:avLst/>
            </a:prstGeom>
            <a:solidFill>
              <a:srgbClr val="1E4471"/>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5" name="Freeform: Shape 64">
              <a:extLst>
                <a:ext uri="{FF2B5EF4-FFF2-40B4-BE49-F238E27FC236}">
                  <a16:creationId xmlns:a16="http://schemas.microsoft.com/office/drawing/2014/main" id="{09344232-CCB5-4722-A020-610570879AD1}"/>
                </a:ext>
              </a:extLst>
            </p:cNvPr>
            <p:cNvSpPr/>
            <p:nvPr/>
          </p:nvSpPr>
          <p:spPr>
            <a:xfrm>
              <a:off x="15282156" y="221508"/>
              <a:ext cx="433368" cy="433368"/>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rgbClr val="0D274D"/>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6" name="Rectangle: Rounded Corners 65">
              <a:extLst>
                <a:ext uri="{FF2B5EF4-FFF2-40B4-BE49-F238E27FC236}">
                  <a16:creationId xmlns:a16="http://schemas.microsoft.com/office/drawing/2014/main" id="{0D046E76-0C5A-48CD-91B9-7480FDB79FCC}"/>
                </a:ext>
              </a:extLst>
            </p:cNvPr>
            <p:cNvSpPr/>
            <p:nvPr/>
          </p:nvSpPr>
          <p:spPr>
            <a:xfrm>
              <a:off x="15434070" y="403220"/>
              <a:ext cx="129540" cy="1463040"/>
            </a:xfrm>
            <a:prstGeom prst="roundRect">
              <a:avLst>
                <a:gd name="adj" fmla="val 50000"/>
              </a:avLst>
            </a:prstGeom>
            <a:grp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7" name="Freeform: Shape 66">
              <a:extLst>
                <a:ext uri="{FF2B5EF4-FFF2-40B4-BE49-F238E27FC236}">
                  <a16:creationId xmlns:a16="http://schemas.microsoft.com/office/drawing/2014/main" id="{2A34280D-B557-48AE-AD1C-FC49CCEE88DA}"/>
                </a:ext>
              </a:extLst>
            </p:cNvPr>
            <p:cNvSpPr/>
            <p:nvPr/>
          </p:nvSpPr>
          <p:spPr>
            <a:xfrm>
              <a:off x="15282156" y="1543687"/>
              <a:ext cx="433368" cy="433368"/>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rgbClr val="0D274D">
                <a:lumMod val="75000"/>
                <a:lumOff val="25000"/>
              </a:srgbClr>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8" name="Rectangle: Rounded Corners 67">
              <a:extLst>
                <a:ext uri="{FF2B5EF4-FFF2-40B4-BE49-F238E27FC236}">
                  <a16:creationId xmlns:a16="http://schemas.microsoft.com/office/drawing/2014/main" id="{D315DECD-A3DE-49F3-A391-5380F24325CA}"/>
                </a:ext>
              </a:extLst>
            </p:cNvPr>
            <p:cNvSpPr/>
            <p:nvPr/>
          </p:nvSpPr>
          <p:spPr>
            <a:xfrm>
              <a:off x="14296386" y="1696363"/>
              <a:ext cx="1184910" cy="128016"/>
            </a:xfrm>
            <a:prstGeom prst="roundRect">
              <a:avLst>
                <a:gd name="adj" fmla="val 50000"/>
              </a:avLst>
            </a:prstGeom>
            <a:solidFill>
              <a:srgbClr val="0D274D"/>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9" name="Oval 68">
              <a:extLst>
                <a:ext uri="{FF2B5EF4-FFF2-40B4-BE49-F238E27FC236}">
                  <a16:creationId xmlns:a16="http://schemas.microsoft.com/office/drawing/2014/main" id="{624531A6-7667-4006-B4F5-D173D5B47C7A}"/>
                </a:ext>
              </a:extLst>
            </p:cNvPr>
            <p:cNvSpPr/>
            <p:nvPr/>
          </p:nvSpPr>
          <p:spPr>
            <a:xfrm>
              <a:off x="15375478" y="1637009"/>
              <a:ext cx="246724" cy="246724"/>
            </a:xfrm>
            <a:prstGeom prst="ellipse">
              <a:avLst/>
            </a:prstGeom>
            <a:grp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sp>
        <p:nvSpPr>
          <p:cNvPr id="109" name="Freeform 56">
            <a:extLst>
              <a:ext uri="{FF2B5EF4-FFF2-40B4-BE49-F238E27FC236}">
                <a16:creationId xmlns:a16="http://schemas.microsoft.com/office/drawing/2014/main" id="{888877C1-42D7-4D75-9460-D14F766EF7B2}"/>
              </a:ext>
            </a:extLst>
          </p:cNvPr>
          <p:cNvSpPr>
            <a:spLocks/>
          </p:cNvSpPr>
          <p:nvPr/>
        </p:nvSpPr>
        <p:spPr bwMode="auto">
          <a:xfrm rot="5400000">
            <a:off x="2273030" y="2902354"/>
            <a:ext cx="444561" cy="444561"/>
          </a:xfrm>
          <a:custGeom>
            <a:avLst/>
            <a:gdLst>
              <a:gd name="T0" fmla="*/ 41 w 218"/>
              <a:gd name="T1" fmla="*/ 215 h 215"/>
              <a:gd name="T2" fmla="*/ 8 w 218"/>
              <a:gd name="T3" fmla="*/ 157 h 215"/>
              <a:gd name="T4" fmla="*/ 19 w 218"/>
              <a:gd name="T5" fmla="*/ 67 h 215"/>
              <a:gd name="T6" fmla="*/ 112 w 218"/>
              <a:gd name="T7" fmla="*/ 4 h 215"/>
              <a:gd name="T8" fmla="*/ 190 w 218"/>
              <a:gd name="T9" fmla="*/ 20 h 215"/>
              <a:gd name="T10" fmla="*/ 215 w 218"/>
              <a:gd name="T11" fmla="*/ 38 h 215"/>
              <a:gd name="T12" fmla="*/ 216 w 218"/>
              <a:gd name="T13" fmla="*/ 46 h 215"/>
              <a:gd name="T14" fmla="*/ 208 w 218"/>
              <a:gd name="T15" fmla="*/ 45 h 215"/>
              <a:gd name="T16" fmla="*/ 123 w 218"/>
              <a:gd name="T17" fmla="*/ 13 h 215"/>
              <a:gd name="T18" fmla="*/ 41 w 218"/>
              <a:gd name="T19" fmla="*/ 53 h 215"/>
              <a:gd name="T20" fmla="*/ 20 w 218"/>
              <a:gd name="T21" fmla="*/ 165 h 215"/>
              <a:gd name="T22" fmla="*/ 46 w 218"/>
              <a:gd name="T23" fmla="*/ 206 h 215"/>
              <a:gd name="T24" fmla="*/ 46 w 218"/>
              <a:gd name="T25" fmla="*/ 215 h 215"/>
              <a:gd name="T26" fmla="*/ 41 w 218"/>
              <a:gd name="T27"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8" h="215">
                <a:moveTo>
                  <a:pt x="41" y="215"/>
                </a:moveTo>
                <a:cubicBezTo>
                  <a:pt x="25" y="199"/>
                  <a:pt x="13" y="180"/>
                  <a:pt x="8" y="157"/>
                </a:cubicBezTo>
                <a:cubicBezTo>
                  <a:pt x="0" y="126"/>
                  <a:pt x="3" y="96"/>
                  <a:pt x="19" y="67"/>
                </a:cubicBezTo>
                <a:cubicBezTo>
                  <a:pt x="39" y="31"/>
                  <a:pt x="70" y="10"/>
                  <a:pt x="112" y="4"/>
                </a:cubicBezTo>
                <a:cubicBezTo>
                  <a:pt x="140" y="0"/>
                  <a:pt x="166" y="5"/>
                  <a:pt x="190" y="20"/>
                </a:cubicBezTo>
                <a:cubicBezTo>
                  <a:pt x="199" y="25"/>
                  <a:pt x="208" y="31"/>
                  <a:pt x="215" y="38"/>
                </a:cubicBezTo>
                <a:cubicBezTo>
                  <a:pt x="218" y="41"/>
                  <a:pt x="218" y="44"/>
                  <a:pt x="216" y="46"/>
                </a:cubicBezTo>
                <a:cubicBezTo>
                  <a:pt x="214" y="48"/>
                  <a:pt x="211" y="48"/>
                  <a:pt x="208" y="45"/>
                </a:cubicBezTo>
                <a:cubicBezTo>
                  <a:pt x="184" y="23"/>
                  <a:pt x="156" y="11"/>
                  <a:pt x="123" y="13"/>
                </a:cubicBezTo>
                <a:cubicBezTo>
                  <a:pt x="90" y="14"/>
                  <a:pt x="62" y="27"/>
                  <a:pt x="41" y="53"/>
                </a:cubicBezTo>
                <a:cubicBezTo>
                  <a:pt x="13" y="86"/>
                  <a:pt x="7" y="124"/>
                  <a:pt x="20" y="165"/>
                </a:cubicBezTo>
                <a:cubicBezTo>
                  <a:pt x="25" y="181"/>
                  <a:pt x="35" y="194"/>
                  <a:pt x="46" y="206"/>
                </a:cubicBezTo>
                <a:cubicBezTo>
                  <a:pt x="49" y="210"/>
                  <a:pt x="49" y="212"/>
                  <a:pt x="46" y="215"/>
                </a:cubicBezTo>
                <a:cubicBezTo>
                  <a:pt x="44" y="215"/>
                  <a:pt x="43" y="215"/>
                  <a:pt x="41" y="21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1" name="Freeform 58">
            <a:extLst>
              <a:ext uri="{FF2B5EF4-FFF2-40B4-BE49-F238E27FC236}">
                <a16:creationId xmlns:a16="http://schemas.microsoft.com/office/drawing/2014/main" id="{A70946D7-49FC-4E30-A9CF-8AD360CFB7E1}"/>
              </a:ext>
            </a:extLst>
          </p:cNvPr>
          <p:cNvSpPr>
            <a:spLocks/>
          </p:cNvSpPr>
          <p:nvPr/>
        </p:nvSpPr>
        <p:spPr bwMode="auto">
          <a:xfrm rot="5400000">
            <a:off x="2306824" y="2954172"/>
            <a:ext cx="355950" cy="348440"/>
          </a:xfrm>
          <a:custGeom>
            <a:avLst/>
            <a:gdLst>
              <a:gd name="T0" fmla="*/ 17 w 175"/>
              <a:gd name="T1" fmla="*/ 102 h 169"/>
              <a:gd name="T2" fmla="*/ 42 w 175"/>
              <a:gd name="T3" fmla="*/ 159 h 169"/>
              <a:gd name="T4" fmla="*/ 44 w 175"/>
              <a:gd name="T5" fmla="*/ 162 h 169"/>
              <a:gd name="T6" fmla="*/ 42 w 175"/>
              <a:gd name="T7" fmla="*/ 168 h 169"/>
              <a:gd name="T8" fmla="*/ 36 w 175"/>
              <a:gd name="T9" fmla="*/ 167 h 169"/>
              <a:gd name="T10" fmla="*/ 22 w 175"/>
              <a:gd name="T11" fmla="*/ 150 h 169"/>
              <a:gd name="T12" fmla="*/ 30 w 175"/>
              <a:gd name="T13" fmla="*/ 37 h 169"/>
              <a:gd name="T14" fmla="*/ 113 w 175"/>
              <a:gd name="T15" fmla="*/ 2 h 169"/>
              <a:gd name="T16" fmla="*/ 172 w 175"/>
              <a:gd name="T17" fmla="*/ 29 h 169"/>
              <a:gd name="T18" fmla="*/ 173 w 175"/>
              <a:gd name="T19" fmla="*/ 37 h 169"/>
              <a:gd name="T20" fmla="*/ 166 w 175"/>
              <a:gd name="T21" fmla="*/ 36 h 169"/>
              <a:gd name="T22" fmla="*/ 110 w 175"/>
              <a:gd name="T23" fmla="*/ 12 h 169"/>
              <a:gd name="T24" fmla="*/ 33 w 175"/>
              <a:gd name="T25" fmla="*/ 50 h 169"/>
              <a:gd name="T26" fmla="*/ 17 w 175"/>
              <a:gd name="T27" fmla="*/ 10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5" h="169">
                <a:moveTo>
                  <a:pt x="17" y="102"/>
                </a:moveTo>
                <a:cubicBezTo>
                  <a:pt x="18" y="122"/>
                  <a:pt x="26" y="142"/>
                  <a:pt x="42" y="159"/>
                </a:cubicBezTo>
                <a:cubicBezTo>
                  <a:pt x="43" y="160"/>
                  <a:pt x="43" y="161"/>
                  <a:pt x="44" y="162"/>
                </a:cubicBezTo>
                <a:cubicBezTo>
                  <a:pt x="45" y="164"/>
                  <a:pt x="44" y="166"/>
                  <a:pt x="42" y="168"/>
                </a:cubicBezTo>
                <a:cubicBezTo>
                  <a:pt x="40" y="169"/>
                  <a:pt x="38" y="169"/>
                  <a:pt x="36" y="167"/>
                </a:cubicBezTo>
                <a:cubicBezTo>
                  <a:pt x="31" y="161"/>
                  <a:pt x="26" y="156"/>
                  <a:pt x="22" y="150"/>
                </a:cubicBezTo>
                <a:cubicBezTo>
                  <a:pt x="0" y="114"/>
                  <a:pt x="3" y="69"/>
                  <a:pt x="30" y="37"/>
                </a:cubicBezTo>
                <a:cubicBezTo>
                  <a:pt x="51" y="11"/>
                  <a:pt x="79" y="0"/>
                  <a:pt x="113" y="2"/>
                </a:cubicBezTo>
                <a:cubicBezTo>
                  <a:pt x="136" y="4"/>
                  <a:pt x="156" y="13"/>
                  <a:pt x="172" y="29"/>
                </a:cubicBezTo>
                <a:cubicBezTo>
                  <a:pt x="175" y="32"/>
                  <a:pt x="175" y="35"/>
                  <a:pt x="173" y="37"/>
                </a:cubicBezTo>
                <a:cubicBezTo>
                  <a:pt x="171" y="39"/>
                  <a:pt x="168" y="38"/>
                  <a:pt x="166" y="36"/>
                </a:cubicBezTo>
                <a:cubicBezTo>
                  <a:pt x="150" y="21"/>
                  <a:pt x="131" y="12"/>
                  <a:pt x="110" y="12"/>
                </a:cubicBezTo>
                <a:cubicBezTo>
                  <a:pt x="77" y="10"/>
                  <a:pt x="51" y="23"/>
                  <a:pt x="33" y="50"/>
                </a:cubicBezTo>
                <a:cubicBezTo>
                  <a:pt x="22" y="64"/>
                  <a:pt x="17" y="81"/>
                  <a:pt x="17" y="10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2" name="Freeform 59">
            <a:extLst>
              <a:ext uri="{FF2B5EF4-FFF2-40B4-BE49-F238E27FC236}">
                <a16:creationId xmlns:a16="http://schemas.microsoft.com/office/drawing/2014/main" id="{6C719387-B28F-46B8-9175-1953474EA766}"/>
              </a:ext>
            </a:extLst>
          </p:cNvPr>
          <p:cNvSpPr>
            <a:spLocks/>
          </p:cNvSpPr>
          <p:nvPr/>
        </p:nvSpPr>
        <p:spPr bwMode="auto">
          <a:xfrm rot="5400000">
            <a:off x="2358639" y="3011998"/>
            <a:ext cx="246311" cy="264333"/>
          </a:xfrm>
          <a:custGeom>
            <a:avLst/>
            <a:gdLst>
              <a:gd name="T0" fmla="*/ 0 w 121"/>
              <a:gd name="T1" fmla="*/ 73 h 128"/>
              <a:gd name="T2" fmla="*/ 41 w 121"/>
              <a:gd name="T3" fmla="*/ 13 h 128"/>
              <a:gd name="T4" fmla="*/ 117 w 121"/>
              <a:gd name="T5" fmla="*/ 25 h 128"/>
              <a:gd name="T6" fmla="*/ 120 w 121"/>
              <a:gd name="T7" fmla="*/ 27 h 128"/>
              <a:gd name="T8" fmla="*/ 119 w 121"/>
              <a:gd name="T9" fmla="*/ 34 h 128"/>
              <a:gd name="T10" fmla="*/ 113 w 121"/>
              <a:gd name="T11" fmla="*/ 34 h 128"/>
              <a:gd name="T12" fmla="*/ 110 w 121"/>
              <a:gd name="T13" fmla="*/ 32 h 128"/>
              <a:gd name="T14" fmla="*/ 25 w 121"/>
              <a:gd name="T15" fmla="*/ 36 h 128"/>
              <a:gd name="T16" fmla="*/ 26 w 121"/>
              <a:gd name="T17" fmla="*/ 119 h 128"/>
              <a:gd name="T18" fmla="*/ 27 w 121"/>
              <a:gd name="T19" fmla="*/ 126 h 128"/>
              <a:gd name="T20" fmla="*/ 19 w 121"/>
              <a:gd name="T21" fmla="*/ 125 h 128"/>
              <a:gd name="T22" fmla="*/ 0 w 121"/>
              <a:gd name="T23" fmla="*/ 7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128">
                <a:moveTo>
                  <a:pt x="0" y="73"/>
                </a:moveTo>
                <a:cubicBezTo>
                  <a:pt x="1" y="47"/>
                  <a:pt x="14" y="25"/>
                  <a:pt x="41" y="13"/>
                </a:cubicBezTo>
                <a:cubicBezTo>
                  <a:pt x="69" y="0"/>
                  <a:pt x="95" y="5"/>
                  <a:pt x="117" y="25"/>
                </a:cubicBezTo>
                <a:cubicBezTo>
                  <a:pt x="118" y="26"/>
                  <a:pt x="119" y="26"/>
                  <a:pt x="120" y="27"/>
                </a:cubicBezTo>
                <a:cubicBezTo>
                  <a:pt x="121" y="29"/>
                  <a:pt x="121" y="32"/>
                  <a:pt x="119" y="34"/>
                </a:cubicBezTo>
                <a:cubicBezTo>
                  <a:pt x="118" y="36"/>
                  <a:pt x="115" y="36"/>
                  <a:pt x="113" y="34"/>
                </a:cubicBezTo>
                <a:cubicBezTo>
                  <a:pt x="112" y="34"/>
                  <a:pt x="111" y="33"/>
                  <a:pt x="110" y="32"/>
                </a:cubicBezTo>
                <a:cubicBezTo>
                  <a:pt x="86" y="10"/>
                  <a:pt x="48" y="11"/>
                  <a:pt x="25" y="36"/>
                </a:cubicBezTo>
                <a:cubicBezTo>
                  <a:pt x="4" y="60"/>
                  <a:pt x="4" y="95"/>
                  <a:pt x="26" y="119"/>
                </a:cubicBezTo>
                <a:cubicBezTo>
                  <a:pt x="29" y="121"/>
                  <a:pt x="29" y="124"/>
                  <a:pt x="27" y="126"/>
                </a:cubicBezTo>
                <a:cubicBezTo>
                  <a:pt x="25" y="128"/>
                  <a:pt x="22" y="128"/>
                  <a:pt x="19" y="125"/>
                </a:cubicBezTo>
                <a:cubicBezTo>
                  <a:pt x="6" y="112"/>
                  <a:pt x="0" y="95"/>
                  <a:pt x="0" y="7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49" name="Oval 2048">
            <a:extLst>
              <a:ext uri="{FF2B5EF4-FFF2-40B4-BE49-F238E27FC236}">
                <a16:creationId xmlns:a16="http://schemas.microsoft.com/office/drawing/2014/main" id="{BEB29183-C943-41F3-88C3-20934684EBE5}"/>
              </a:ext>
            </a:extLst>
          </p:cNvPr>
          <p:cNvSpPr/>
          <p:nvPr/>
        </p:nvSpPr>
        <p:spPr>
          <a:xfrm>
            <a:off x="1539132" y="3194111"/>
            <a:ext cx="661354" cy="661354"/>
          </a:xfrm>
          <a:prstGeom prst="ellipse">
            <a:avLst/>
          </a:prstGeom>
          <a:solidFill>
            <a:schemeClr val="tx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Freeform: Shape 96">
            <a:extLst>
              <a:ext uri="{FF2B5EF4-FFF2-40B4-BE49-F238E27FC236}">
                <a16:creationId xmlns:a16="http://schemas.microsoft.com/office/drawing/2014/main" id="{41EA7A56-D5B4-473D-8783-2546234231D4}"/>
              </a:ext>
            </a:extLst>
          </p:cNvPr>
          <p:cNvSpPr/>
          <p:nvPr/>
        </p:nvSpPr>
        <p:spPr>
          <a:xfrm>
            <a:off x="1283891" y="3197414"/>
            <a:ext cx="1171836" cy="773186"/>
          </a:xfrm>
          <a:custGeom>
            <a:avLst/>
            <a:gdLst>
              <a:gd name="connsiteX0" fmla="*/ 1211362 w 1224482"/>
              <a:gd name="connsiteY0" fmla="*/ 0 h 807922"/>
              <a:gd name="connsiteX1" fmla="*/ 1211362 w 1224482"/>
              <a:gd name="connsiteY1" fmla="*/ 332025 h 807922"/>
              <a:gd name="connsiteX2" fmla="*/ 618727 w 1224482"/>
              <a:gd name="connsiteY2" fmla="*/ 332025 h 807922"/>
              <a:gd name="connsiteX3" fmla="*/ 618727 w 1224482"/>
              <a:gd name="connsiteY3" fmla="*/ 56058 h 807922"/>
              <a:gd name="connsiteX4" fmla="*/ 605756 w 1224482"/>
              <a:gd name="connsiteY4" fmla="*/ 56058 h 807922"/>
              <a:gd name="connsiteX5" fmla="*/ 605756 w 1224482"/>
              <a:gd name="connsiteY5" fmla="*/ 332025 h 807922"/>
              <a:gd name="connsiteX6" fmla="*/ 12971 w 1224482"/>
              <a:gd name="connsiteY6" fmla="*/ 332025 h 807922"/>
              <a:gd name="connsiteX7" fmla="*/ 12971 w 1224482"/>
              <a:gd name="connsiteY7" fmla="*/ 239887 h 807922"/>
              <a:gd name="connsiteX8" fmla="*/ 0 w 1224482"/>
              <a:gd name="connsiteY8" fmla="*/ 239887 h 807922"/>
              <a:gd name="connsiteX9" fmla="*/ 0 w 1224482"/>
              <a:gd name="connsiteY9" fmla="*/ 765879 h 807922"/>
              <a:gd name="connsiteX10" fmla="*/ 12971 w 1224482"/>
              <a:gd name="connsiteY10" fmla="*/ 765879 h 807922"/>
              <a:gd name="connsiteX11" fmla="*/ 12971 w 1224482"/>
              <a:gd name="connsiteY11" fmla="*/ 344996 h 807922"/>
              <a:gd name="connsiteX12" fmla="*/ 605756 w 1224482"/>
              <a:gd name="connsiteY12" fmla="*/ 344996 h 807922"/>
              <a:gd name="connsiteX13" fmla="*/ 605756 w 1224482"/>
              <a:gd name="connsiteY13" fmla="*/ 582050 h 807922"/>
              <a:gd name="connsiteX14" fmla="*/ 618727 w 1224482"/>
              <a:gd name="connsiteY14" fmla="*/ 582050 h 807922"/>
              <a:gd name="connsiteX15" fmla="*/ 618727 w 1224482"/>
              <a:gd name="connsiteY15" fmla="*/ 344996 h 807922"/>
              <a:gd name="connsiteX16" fmla="*/ 1211362 w 1224482"/>
              <a:gd name="connsiteY16" fmla="*/ 344996 h 807922"/>
              <a:gd name="connsiteX17" fmla="*/ 1211362 w 1224482"/>
              <a:gd name="connsiteY17" fmla="*/ 807923 h 807922"/>
              <a:gd name="connsiteX18" fmla="*/ 1224482 w 1224482"/>
              <a:gd name="connsiteY18" fmla="*/ 807923 h 807922"/>
              <a:gd name="connsiteX19" fmla="*/ 1224482 w 1224482"/>
              <a:gd name="connsiteY19" fmla="*/ 0 h 807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24482" h="807922">
                <a:moveTo>
                  <a:pt x="1211362" y="0"/>
                </a:moveTo>
                <a:lnTo>
                  <a:pt x="1211362" y="332025"/>
                </a:lnTo>
                <a:lnTo>
                  <a:pt x="618727" y="332025"/>
                </a:lnTo>
                <a:lnTo>
                  <a:pt x="618727" y="56058"/>
                </a:lnTo>
                <a:lnTo>
                  <a:pt x="605756" y="56058"/>
                </a:lnTo>
                <a:lnTo>
                  <a:pt x="605756" y="332025"/>
                </a:lnTo>
                <a:lnTo>
                  <a:pt x="12971" y="332025"/>
                </a:lnTo>
                <a:lnTo>
                  <a:pt x="12971" y="239887"/>
                </a:lnTo>
                <a:lnTo>
                  <a:pt x="0" y="239887"/>
                </a:lnTo>
                <a:lnTo>
                  <a:pt x="0" y="765879"/>
                </a:lnTo>
                <a:lnTo>
                  <a:pt x="12971" y="765879"/>
                </a:lnTo>
                <a:lnTo>
                  <a:pt x="12971" y="344996"/>
                </a:lnTo>
                <a:lnTo>
                  <a:pt x="605756" y="344996"/>
                </a:lnTo>
                <a:lnTo>
                  <a:pt x="605756" y="582050"/>
                </a:lnTo>
                <a:lnTo>
                  <a:pt x="618727" y="582050"/>
                </a:lnTo>
                <a:lnTo>
                  <a:pt x="618727" y="344996"/>
                </a:lnTo>
                <a:lnTo>
                  <a:pt x="1211362" y="344996"/>
                </a:lnTo>
                <a:lnTo>
                  <a:pt x="1211362" y="807923"/>
                </a:lnTo>
                <a:lnTo>
                  <a:pt x="1224482" y="807923"/>
                </a:lnTo>
                <a:lnTo>
                  <a:pt x="1224482" y="0"/>
                </a:lnTo>
                <a:close/>
              </a:path>
            </a:pathLst>
          </a:custGeom>
          <a:solidFill>
            <a:schemeClr val="accent1"/>
          </a:solidFill>
          <a:ln w="1489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051" name="Oval 2050">
            <a:extLst>
              <a:ext uri="{FF2B5EF4-FFF2-40B4-BE49-F238E27FC236}">
                <a16:creationId xmlns:a16="http://schemas.microsoft.com/office/drawing/2014/main" id="{2EBB7ABA-1B3F-4ECE-BCBE-A788F290AC86}"/>
              </a:ext>
            </a:extLst>
          </p:cNvPr>
          <p:cNvSpPr/>
          <p:nvPr/>
        </p:nvSpPr>
        <p:spPr>
          <a:xfrm>
            <a:off x="5364480" y="3601588"/>
            <a:ext cx="836256" cy="836256"/>
          </a:xfrm>
          <a:prstGeom prst="ellipse">
            <a:avLst/>
          </a:prstGeom>
          <a:solidFill>
            <a:schemeClr val="tx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6" name="Group 115">
            <a:extLst>
              <a:ext uri="{FF2B5EF4-FFF2-40B4-BE49-F238E27FC236}">
                <a16:creationId xmlns:a16="http://schemas.microsoft.com/office/drawing/2014/main" id="{7C9A9A2F-2550-4F7A-A493-C405B057B0E3}"/>
              </a:ext>
            </a:extLst>
          </p:cNvPr>
          <p:cNvGrpSpPr/>
          <p:nvPr/>
        </p:nvGrpSpPr>
        <p:grpSpPr>
          <a:xfrm>
            <a:off x="5238838" y="3997482"/>
            <a:ext cx="453576" cy="393866"/>
            <a:chOff x="2560638" y="2862263"/>
            <a:chExt cx="1314450" cy="1141412"/>
          </a:xfrm>
          <a:solidFill>
            <a:schemeClr val="accent2"/>
          </a:solidFill>
        </p:grpSpPr>
        <p:sp>
          <p:nvSpPr>
            <p:cNvPr id="117" name="Oval 189">
              <a:extLst>
                <a:ext uri="{FF2B5EF4-FFF2-40B4-BE49-F238E27FC236}">
                  <a16:creationId xmlns:a16="http://schemas.microsoft.com/office/drawing/2014/main" id="{2EC122AF-E364-4650-93F5-A00A04F09836}"/>
                </a:ext>
              </a:extLst>
            </p:cNvPr>
            <p:cNvSpPr>
              <a:spLocks noChangeArrowheads="1"/>
            </p:cNvSpPr>
            <p:nvPr/>
          </p:nvSpPr>
          <p:spPr bwMode="auto">
            <a:xfrm>
              <a:off x="2560638" y="3646488"/>
              <a:ext cx="7302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Oval 190">
              <a:extLst>
                <a:ext uri="{FF2B5EF4-FFF2-40B4-BE49-F238E27FC236}">
                  <a16:creationId xmlns:a16="http://schemas.microsoft.com/office/drawing/2014/main" id="{FF325FB4-02DF-4BBE-A63C-5378E5983EAE}"/>
                </a:ext>
              </a:extLst>
            </p:cNvPr>
            <p:cNvSpPr>
              <a:spLocks noChangeArrowheads="1"/>
            </p:cNvSpPr>
            <p:nvPr/>
          </p:nvSpPr>
          <p:spPr bwMode="auto">
            <a:xfrm>
              <a:off x="2781301" y="3646488"/>
              <a:ext cx="74613"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Oval 191">
              <a:extLst>
                <a:ext uri="{FF2B5EF4-FFF2-40B4-BE49-F238E27FC236}">
                  <a16:creationId xmlns:a16="http://schemas.microsoft.com/office/drawing/2014/main" id="{C9F2EEEF-5E1F-45F3-87F8-B2111006F874}"/>
                </a:ext>
              </a:extLst>
            </p:cNvPr>
            <p:cNvSpPr>
              <a:spLocks noChangeArrowheads="1"/>
            </p:cNvSpPr>
            <p:nvPr/>
          </p:nvSpPr>
          <p:spPr bwMode="auto">
            <a:xfrm>
              <a:off x="3265488" y="3646488"/>
              <a:ext cx="74613"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Oval 192">
              <a:extLst>
                <a:ext uri="{FF2B5EF4-FFF2-40B4-BE49-F238E27FC236}">
                  <a16:creationId xmlns:a16="http://schemas.microsoft.com/office/drawing/2014/main" id="{25CB2C6F-AD77-44BB-9387-D17F269B52DA}"/>
                </a:ext>
              </a:extLst>
            </p:cNvPr>
            <p:cNvSpPr>
              <a:spLocks noChangeArrowheads="1"/>
            </p:cNvSpPr>
            <p:nvPr/>
          </p:nvSpPr>
          <p:spPr bwMode="auto">
            <a:xfrm>
              <a:off x="3265488" y="339883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Oval 193">
              <a:extLst>
                <a:ext uri="{FF2B5EF4-FFF2-40B4-BE49-F238E27FC236}">
                  <a16:creationId xmlns:a16="http://schemas.microsoft.com/office/drawing/2014/main" id="{E7A2684B-62FA-4FBA-96CF-FD5937E2B5A0}"/>
                </a:ext>
              </a:extLst>
            </p:cNvPr>
            <p:cNvSpPr>
              <a:spLocks noChangeArrowheads="1"/>
            </p:cNvSpPr>
            <p:nvPr/>
          </p:nvSpPr>
          <p:spPr bwMode="auto">
            <a:xfrm>
              <a:off x="3505201" y="3138488"/>
              <a:ext cx="74613"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Oval 194">
              <a:extLst>
                <a:ext uri="{FF2B5EF4-FFF2-40B4-BE49-F238E27FC236}">
                  <a16:creationId xmlns:a16="http://schemas.microsoft.com/office/drawing/2014/main" id="{12A36EC4-50F1-4718-B419-0D4C3E86D329}"/>
                </a:ext>
              </a:extLst>
            </p:cNvPr>
            <p:cNvSpPr>
              <a:spLocks noChangeArrowheads="1"/>
            </p:cNvSpPr>
            <p:nvPr/>
          </p:nvSpPr>
          <p:spPr bwMode="auto">
            <a:xfrm>
              <a:off x="3505201" y="289083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Oval 195">
              <a:extLst>
                <a:ext uri="{FF2B5EF4-FFF2-40B4-BE49-F238E27FC236}">
                  <a16:creationId xmlns:a16="http://schemas.microsoft.com/office/drawing/2014/main" id="{638422FE-10F7-4B2B-9C80-EF14A2E7EA61}"/>
                </a:ext>
              </a:extLst>
            </p:cNvPr>
            <p:cNvSpPr>
              <a:spLocks noChangeArrowheads="1"/>
            </p:cNvSpPr>
            <p:nvPr/>
          </p:nvSpPr>
          <p:spPr bwMode="auto">
            <a:xfrm>
              <a:off x="3771901" y="3144838"/>
              <a:ext cx="7302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Oval 196">
              <a:extLst>
                <a:ext uri="{FF2B5EF4-FFF2-40B4-BE49-F238E27FC236}">
                  <a16:creationId xmlns:a16="http://schemas.microsoft.com/office/drawing/2014/main" id="{2F3A08A8-836D-42AB-B793-93A42E136D29}"/>
                </a:ext>
              </a:extLst>
            </p:cNvPr>
            <p:cNvSpPr>
              <a:spLocks noChangeArrowheads="1"/>
            </p:cNvSpPr>
            <p:nvPr/>
          </p:nvSpPr>
          <p:spPr bwMode="auto">
            <a:xfrm>
              <a:off x="2560638" y="3900488"/>
              <a:ext cx="73025"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Oval 197">
              <a:extLst>
                <a:ext uri="{FF2B5EF4-FFF2-40B4-BE49-F238E27FC236}">
                  <a16:creationId xmlns:a16="http://schemas.microsoft.com/office/drawing/2014/main" id="{1BB212AA-049D-4658-A48B-45F8F7EFACB4}"/>
                </a:ext>
              </a:extLst>
            </p:cNvPr>
            <p:cNvSpPr>
              <a:spLocks noChangeArrowheads="1"/>
            </p:cNvSpPr>
            <p:nvPr/>
          </p:nvSpPr>
          <p:spPr bwMode="auto">
            <a:xfrm>
              <a:off x="3265488" y="390048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Oval 198">
              <a:extLst>
                <a:ext uri="{FF2B5EF4-FFF2-40B4-BE49-F238E27FC236}">
                  <a16:creationId xmlns:a16="http://schemas.microsoft.com/office/drawing/2014/main" id="{B70DAC6E-814C-431F-8ED4-D2E64A39D913}"/>
                </a:ext>
              </a:extLst>
            </p:cNvPr>
            <p:cNvSpPr>
              <a:spLocks noChangeArrowheads="1"/>
            </p:cNvSpPr>
            <p:nvPr/>
          </p:nvSpPr>
          <p:spPr bwMode="auto">
            <a:xfrm>
              <a:off x="3505201" y="390048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199">
              <a:extLst>
                <a:ext uri="{FF2B5EF4-FFF2-40B4-BE49-F238E27FC236}">
                  <a16:creationId xmlns:a16="http://schemas.microsoft.com/office/drawing/2014/main" id="{5670F4D2-F204-4135-8680-6E80841F303E}"/>
                </a:ext>
              </a:extLst>
            </p:cNvPr>
            <p:cNvSpPr>
              <a:spLocks noEditPoints="1"/>
            </p:cNvSpPr>
            <p:nvPr/>
          </p:nvSpPr>
          <p:spPr bwMode="auto">
            <a:xfrm>
              <a:off x="3741738" y="3870325"/>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200">
              <a:extLst>
                <a:ext uri="{FF2B5EF4-FFF2-40B4-BE49-F238E27FC236}">
                  <a16:creationId xmlns:a16="http://schemas.microsoft.com/office/drawing/2014/main" id="{CAAB47A7-A8EE-437A-8222-58482D3D5EF5}"/>
                </a:ext>
              </a:extLst>
            </p:cNvPr>
            <p:cNvSpPr>
              <a:spLocks noEditPoints="1"/>
            </p:cNvSpPr>
            <p:nvPr/>
          </p:nvSpPr>
          <p:spPr bwMode="auto">
            <a:xfrm>
              <a:off x="3476626" y="3619500"/>
              <a:ext cx="131763"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201">
              <a:extLst>
                <a:ext uri="{FF2B5EF4-FFF2-40B4-BE49-F238E27FC236}">
                  <a16:creationId xmlns:a16="http://schemas.microsoft.com/office/drawing/2014/main" id="{CF48DE6B-2177-4FC8-B744-E9F015E8E8FB}"/>
                </a:ext>
              </a:extLst>
            </p:cNvPr>
            <p:cNvSpPr>
              <a:spLocks noEditPoints="1"/>
            </p:cNvSpPr>
            <p:nvPr/>
          </p:nvSpPr>
          <p:spPr bwMode="auto">
            <a:xfrm>
              <a:off x="3476626" y="3368675"/>
              <a:ext cx="131763" cy="134938"/>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202">
              <a:extLst>
                <a:ext uri="{FF2B5EF4-FFF2-40B4-BE49-F238E27FC236}">
                  <a16:creationId xmlns:a16="http://schemas.microsoft.com/office/drawing/2014/main" id="{B30D4DBE-FCF9-4286-9716-B79CDB54A587}"/>
                </a:ext>
              </a:extLst>
            </p:cNvPr>
            <p:cNvSpPr>
              <a:spLocks noEditPoints="1"/>
            </p:cNvSpPr>
            <p:nvPr/>
          </p:nvSpPr>
          <p:spPr bwMode="auto">
            <a:xfrm>
              <a:off x="3741738"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203">
              <a:extLst>
                <a:ext uri="{FF2B5EF4-FFF2-40B4-BE49-F238E27FC236}">
                  <a16:creationId xmlns:a16="http://schemas.microsoft.com/office/drawing/2014/main" id="{7655C72D-B422-4A71-880B-7EACDBB0A5F9}"/>
                </a:ext>
              </a:extLst>
            </p:cNvPr>
            <p:cNvSpPr>
              <a:spLocks noEditPoints="1"/>
            </p:cNvSpPr>
            <p:nvPr/>
          </p:nvSpPr>
          <p:spPr bwMode="auto">
            <a:xfrm>
              <a:off x="2992438"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204">
              <a:extLst>
                <a:ext uri="{FF2B5EF4-FFF2-40B4-BE49-F238E27FC236}">
                  <a16:creationId xmlns:a16="http://schemas.microsoft.com/office/drawing/2014/main" id="{A4242982-0F61-4265-907E-1F9F8B729CE6}"/>
                </a:ext>
              </a:extLst>
            </p:cNvPr>
            <p:cNvSpPr>
              <a:spLocks noEditPoints="1"/>
            </p:cNvSpPr>
            <p:nvPr/>
          </p:nvSpPr>
          <p:spPr bwMode="auto">
            <a:xfrm>
              <a:off x="3235326" y="3119438"/>
              <a:ext cx="133350" cy="130175"/>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205">
              <a:extLst>
                <a:ext uri="{FF2B5EF4-FFF2-40B4-BE49-F238E27FC236}">
                  <a16:creationId xmlns:a16="http://schemas.microsoft.com/office/drawing/2014/main" id="{1C8EF27B-B2FA-426A-B768-87E9FCD5BC46}"/>
                </a:ext>
              </a:extLst>
            </p:cNvPr>
            <p:cNvSpPr>
              <a:spLocks noEditPoints="1"/>
            </p:cNvSpPr>
            <p:nvPr/>
          </p:nvSpPr>
          <p:spPr bwMode="auto">
            <a:xfrm>
              <a:off x="3235326" y="2862263"/>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206">
              <a:extLst>
                <a:ext uri="{FF2B5EF4-FFF2-40B4-BE49-F238E27FC236}">
                  <a16:creationId xmlns:a16="http://schemas.microsoft.com/office/drawing/2014/main" id="{663F840B-7685-408F-A21C-D6C435C04F30}"/>
                </a:ext>
              </a:extLst>
            </p:cNvPr>
            <p:cNvSpPr>
              <a:spLocks noEditPoints="1"/>
            </p:cNvSpPr>
            <p:nvPr/>
          </p:nvSpPr>
          <p:spPr bwMode="auto">
            <a:xfrm>
              <a:off x="3741738" y="2862263"/>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207">
              <a:extLst>
                <a:ext uri="{FF2B5EF4-FFF2-40B4-BE49-F238E27FC236}">
                  <a16:creationId xmlns:a16="http://schemas.microsoft.com/office/drawing/2014/main" id="{573E255D-3571-4844-8F16-D5291081F8FB}"/>
                </a:ext>
              </a:extLst>
            </p:cNvPr>
            <p:cNvSpPr>
              <a:spLocks noEditPoints="1"/>
            </p:cNvSpPr>
            <p:nvPr/>
          </p:nvSpPr>
          <p:spPr bwMode="auto">
            <a:xfrm>
              <a:off x="2992438" y="3870325"/>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7" name="Group 136">
            <a:extLst>
              <a:ext uri="{FF2B5EF4-FFF2-40B4-BE49-F238E27FC236}">
                <a16:creationId xmlns:a16="http://schemas.microsoft.com/office/drawing/2014/main" id="{D705D6A5-1853-47AD-B20A-E297E51E387B}"/>
              </a:ext>
            </a:extLst>
          </p:cNvPr>
          <p:cNvGrpSpPr/>
          <p:nvPr/>
        </p:nvGrpSpPr>
        <p:grpSpPr>
          <a:xfrm>
            <a:off x="5065580" y="3283336"/>
            <a:ext cx="736548" cy="636504"/>
            <a:chOff x="16515921" y="4129462"/>
            <a:chExt cx="1972915" cy="1704936"/>
          </a:xfrm>
        </p:grpSpPr>
        <p:sp>
          <p:nvSpPr>
            <p:cNvPr id="138" name="Rectangle: Rounded Corners 137">
              <a:extLst>
                <a:ext uri="{FF2B5EF4-FFF2-40B4-BE49-F238E27FC236}">
                  <a16:creationId xmlns:a16="http://schemas.microsoft.com/office/drawing/2014/main" id="{676A0185-3D70-4022-99A3-FB2396E05248}"/>
                </a:ext>
              </a:extLst>
            </p:cNvPr>
            <p:cNvSpPr/>
            <p:nvPr/>
          </p:nvSpPr>
          <p:spPr>
            <a:xfrm rot="2622936">
              <a:off x="16515921" y="4930624"/>
              <a:ext cx="1972915" cy="127146"/>
            </a:xfrm>
            <a:prstGeom prst="roundRect">
              <a:avLst>
                <a:gd name="adj" fmla="val 50000"/>
              </a:avLst>
            </a:prstGeom>
            <a:solidFill>
              <a:srgbClr val="00BCEB"/>
            </a:solidFill>
            <a:ln w="24984" cap="flat">
              <a:noFill/>
              <a:prstDash val="solid"/>
              <a:miter/>
            </a:ln>
          </p:spPr>
          <p:txBody>
            <a:bodyPr rtlCol="0" anchor="ctr"/>
            <a:lstStyle/>
            <a:p>
              <a:endParaRPr lang="en-US" dirty="0"/>
            </a:p>
          </p:txBody>
        </p:sp>
        <p:sp>
          <p:nvSpPr>
            <p:cNvPr id="139" name="Freeform: Shape 138">
              <a:extLst>
                <a:ext uri="{FF2B5EF4-FFF2-40B4-BE49-F238E27FC236}">
                  <a16:creationId xmlns:a16="http://schemas.microsoft.com/office/drawing/2014/main" id="{9A87348B-93EC-496D-9EA4-EDCC2FE7F41F}"/>
                </a:ext>
              </a:extLst>
            </p:cNvPr>
            <p:cNvSpPr/>
            <p:nvPr/>
          </p:nvSpPr>
          <p:spPr>
            <a:xfrm>
              <a:off x="17966732" y="5428672"/>
              <a:ext cx="405726" cy="405726"/>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chemeClr val="accent1">
                <a:lumMod val="75000"/>
              </a:schemeClr>
            </a:solidFill>
            <a:ln w="24984" cap="flat">
              <a:noFill/>
              <a:prstDash val="solid"/>
              <a:miter/>
            </a:ln>
          </p:spPr>
          <p:txBody>
            <a:bodyPr rtlCol="0" anchor="ctr"/>
            <a:lstStyle/>
            <a:p>
              <a:endParaRPr lang="en-US" dirty="0"/>
            </a:p>
          </p:txBody>
        </p:sp>
        <p:sp>
          <p:nvSpPr>
            <p:cNvPr id="140" name="Freeform: Shape 139">
              <a:extLst>
                <a:ext uri="{FF2B5EF4-FFF2-40B4-BE49-F238E27FC236}">
                  <a16:creationId xmlns:a16="http://schemas.microsoft.com/office/drawing/2014/main" id="{10992A04-2047-4349-A9F2-9342E5E563C2}"/>
                </a:ext>
              </a:extLst>
            </p:cNvPr>
            <p:cNvSpPr/>
            <p:nvPr/>
          </p:nvSpPr>
          <p:spPr>
            <a:xfrm>
              <a:off x="16622601" y="4129462"/>
              <a:ext cx="405726" cy="405726"/>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chemeClr val="accent1">
                <a:lumMod val="75000"/>
              </a:schemeClr>
            </a:solidFill>
            <a:ln w="24984" cap="flat">
              <a:noFill/>
              <a:prstDash val="solid"/>
              <a:miter/>
            </a:ln>
          </p:spPr>
          <p:txBody>
            <a:bodyPr rtlCol="0" anchor="ctr"/>
            <a:lstStyle/>
            <a:p>
              <a:endParaRPr lang="en-US" dirty="0"/>
            </a:p>
          </p:txBody>
        </p:sp>
      </p:grpSp>
      <p:grpSp>
        <p:nvGrpSpPr>
          <p:cNvPr id="141" name="Group 140">
            <a:extLst>
              <a:ext uri="{FF2B5EF4-FFF2-40B4-BE49-F238E27FC236}">
                <a16:creationId xmlns:a16="http://schemas.microsoft.com/office/drawing/2014/main" id="{E0315DEE-F442-409F-9B34-8D1E8B2D7BAA}"/>
              </a:ext>
            </a:extLst>
          </p:cNvPr>
          <p:cNvGrpSpPr/>
          <p:nvPr/>
        </p:nvGrpSpPr>
        <p:grpSpPr>
          <a:xfrm rot="5900347">
            <a:off x="5160892" y="2869225"/>
            <a:ext cx="441797" cy="381788"/>
            <a:chOff x="16515921" y="4129462"/>
            <a:chExt cx="1972915" cy="1704936"/>
          </a:xfrm>
        </p:grpSpPr>
        <p:sp>
          <p:nvSpPr>
            <p:cNvPr id="142" name="Rectangle: Rounded Corners 141">
              <a:extLst>
                <a:ext uri="{FF2B5EF4-FFF2-40B4-BE49-F238E27FC236}">
                  <a16:creationId xmlns:a16="http://schemas.microsoft.com/office/drawing/2014/main" id="{B2B587D2-9035-473D-B37D-8AFD8245DB99}"/>
                </a:ext>
              </a:extLst>
            </p:cNvPr>
            <p:cNvSpPr/>
            <p:nvPr/>
          </p:nvSpPr>
          <p:spPr>
            <a:xfrm rot="2622936">
              <a:off x="16515921" y="4930624"/>
              <a:ext cx="1972915" cy="127146"/>
            </a:xfrm>
            <a:prstGeom prst="roundRect">
              <a:avLst>
                <a:gd name="adj" fmla="val 50000"/>
              </a:avLst>
            </a:prstGeom>
            <a:solidFill>
              <a:srgbClr val="00BCEB"/>
            </a:solidFill>
            <a:ln w="24984" cap="flat">
              <a:noFill/>
              <a:prstDash val="solid"/>
              <a:miter/>
            </a:ln>
          </p:spPr>
          <p:txBody>
            <a:bodyPr rtlCol="0" anchor="ctr"/>
            <a:lstStyle/>
            <a:p>
              <a:endParaRPr lang="en-US" dirty="0"/>
            </a:p>
          </p:txBody>
        </p:sp>
        <p:sp>
          <p:nvSpPr>
            <p:cNvPr id="143" name="Freeform: Shape 142">
              <a:extLst>
                <a:ext uri="{FF2B5EF4-FFF2-40B4-BE49-F238E27FC236}">
                  <a16:creationId xmlns:a16="http://schemas.microsoft.com/office/drawing/2014/main" id="{81FF7FE4-EECD-46E4-905D-54EC87DB5A23}"/>
                </a:ext>
              </a:extLst>
            </p:cNvPr>
            <p:cNvSpPr/>
            <p:nvPr/>
          </p:nvSpPr>
          <p:spPr>
            <a:xfrm>
              <a:off x="17966732" y="5428672"/>
              <a:ext cx="405726" cy="405726"/>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chemeClr val="accent1">
                <a:lumMod val="75000"/>
              </a:schemeClr>
            </a:solidFill>
            <a:ln w="24984" cap="flat">
              <a:noFill/>
              <a:prstDash val="solid"/>
              <a:miter/>
            </a:ln>
          </p:spPr>
          <p:txBody>
            <a:bodyPr rtlCol="0" anchor="ctr"/>
            <a:lstStyle/>
            <a:p>
              <a:endParaRPr lang="en-US" dirty="0"/>
            </a:p>
          </p:txBody>
        </p:sp>
        <p:sp>
          <p:nvSpPr>
            <p:cNvPr id="144" name="Freeform: Shape 143">
              <a:extLst>
                <a:ext uri="{FF2B5EF4-FFF2-40B4-BE49-F238E27FC236}">
                  <a16:creationId xmlns:a16="http://schemas.microsoft.com/office/drawing/2014/main" id="{B51DB5F5-401E-42B1-A0AA-5137DD193C32}"/>
                </a:ext>
              </a:extLst>
            </p:cNvPr>
            <p:cNvSpPr/>
            <p:nvPr/>
          </p:nvSpPr>
          <p:spPr>
            <a:xfrm>
              <a:off x="16622601" y="4129462"/>
              <a:ext cx="405726" cy="405726"/>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chemeClr val="accent1">
                <a:lumMod val="75000"/>
              </a:schemeClr>
            </a:solidFill>
            <a:ln w="24984" cap="flat">
              <a:noFill/>
              <a:prstDash val="solid"/>
              <a:miter/>
            </a:ln>
          </p:spPr>
          <p:txBody>
            <a:bodyPr rtlCol="0" anchor="ctr"/>
            <a:lstStyle/>
            <a:p>
              <a:endParaRPr lang="en-US" dirty="0"/>
            </a:p>
          </p:txBody>
        </p:sp>
      </p:grpSp>
      <p:sp>
        <p:nvSpPr>
          <p:cNvPr id="146" name="Freeform 204">
            <a:extLst>
              <a:ext uri="{FF2B5EF4-FFF2-40B4-BE49-F238E27FC236}">
                <a16:creationId xmlns:a16="http://schemas.microsoft.com/office/drawing/2014/main" id="{AF3A04D3-C201-4FAA-B72A-C2E548E04004}"/>
              </a:ext>
            </a:extLst>
          </p:cNvPr>
          <p:cNvSpPr>
            <a:spLocks noEditPoints="1"/>
          </p:cNvSpPr>
          <p:nvPr/>
        </p:nvSpPr>
        <p:spPr bwMode="auto">
          <a:xfrm>
            <a:off x="8458620" y="3088819"/>
            <a:ext cx="766790" cy="906977"/>
          </a:xfrm>
          <a:custGeom>
            <a:avLst/>
            <a:gdLst>
              <a:gd name="T0" fmla="*/ 21 w 266"/>
              <a:gd name="T1" fmla="*/ 311 h 311"/>
              <a:gd name="T2" fmla="*/ 11 w 266"/>
              <a:gd name="T3" fmla="*/ 308 h 311"/>
              <a:gd name="T4" fmla="*/ 0 w 266"/>
              <a:gd name="T5" fmla="*/ 289 h 311"/>
              <a:gd name="T6" fmla="*/ 0 w 266"/>
              <a:gd name="T7" fmla="*/ 23 h 311"/>
              <a:gd name="T8" fmla="*/ 11 w 266"/>
              <a:gd name="T9" fmla="*/ 4 h 311"/>
              <a:gd name="T10" fmla="*/ 32 w 266"/>
              <a:gd name="T11" fmla="*/ 4 h 311"/>
              <a:gd name="T12" fmla="*/ 256 w 266"/>
              <a:gd name="T13" fmla="*/ 138 h 311"/>
              <a:gd name="T14" fmla="*/ 266 w 266"/>
              <a:gd name="T15" fmla="*/ 156 h 311"/>
              <a:gd name="T16" fmla="*/ 256 w 266"/>
              <a:gd name="T17" fmla="*/ 174 h 311"/>
              <a:gd name="T18" fmla="*/ 32 w 266"/>
              <a:gd name="T19" fmla="*/ 308 h 311"/>
              <a:gd name="T20" fmla="*/ 21 w 266"/>
              <a:gd name="T21" fmla="*/ 311 h 311"/>
              <a:gd name="T22" fmla="*/ 21 w 266"/>
              <a:gd name="T23" fmla="*/ 13 h 311"/>
              <a:gd name="T24" fmla="*/ 17 w 266"/>
              <a:gd name="T25" fmla="*/ 14 h 311"/>
              <a:gd name="T26" fmla="*/ 12 w 266"/>
              <a:gd name="T27" fmla="*/ 23 h 311"/>
              <a:gd name="T28" fmla="*/ 12 w 266"/>
              <a:gd name="T29" fmla="*/ 289 h 311"/>
              <a:gd name="T30" fmla="*/ 17 w 266"/>
              <a:gd name="T31" fmla="*/ 298 h 311"/>
              <a:gd name="T32" fmla="*/ 26 w 266"/>
              <a:gd name="T33" fmla="*/ 297 h 311"/>
              <a:gd name="T34" fmla="*/ 250 w 266"/>
              <a:gd name="T35" fmla="*/ 164 h 311"/>
              <a:gd name="T36" fmla="*/ 254 w 266"/>
              <a:gd name="T37" fmla="*/ 156 h 311"/>
              <a:gd name="T38" fmla="*/ 250 w 266"/>
              <a:gd name="T39" fmla="*/ 148 h 311"/>
              <a:gd name="T40" fmla="*/ 250 w 266"/>
              <a:gd name="T41" fmla="*/ 148 h 311"/>
              <a:gd name="T42" fmla="*/ 26 w 266"/>
              <a:gd name="T43" fmla="*/ 15 h 311"/>
              <a:gd name="T44" fmla="*/ 21 w 266"/>
              <a:gd name="T45" fmla="*/ 13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311">
                <a:moveTo>
                  <a:pt x="21" y="311"/>
                </a:moveTo>
                <a:cubicBezTo>
                  <a:pt x="18" y="311"/>
                  <a:pt x="14" y="310"/>
                  <a:pt x="11" y="308"/>
                </a:cubicBezTo>
                <a:cubicBezTo>
                  <a:pt x="4" y="304"/>
                  <a:pt x="0" y="297"/>
                  <a:pt x="0" y="289"/>
                </a:cubicBezTo>
                <a:cubicBezTo>
                  <a:pt x="0" y="23"/>
                  <a:pt x="0" y="23"/>
                  <a:pt x="0" y="23"/>
                </a:cubicBezTo>
                <a:cubicBezTo>
                  <a:pt x="0" y="15"/>
                  <a:pt x="4" y="8"/>
                  <a:pt x="11" y="4"/>
                </a:cubicBezTo>
                <a:cubicBezTo>
                  <a:pt x="17" y="0"/>
                  <a:pt x="25" y="0"/>
                  <a:pt x="32" y="4"/>
                </a:cubicBezTo>
                <a:cubicBezTo>
                  <a:pt x="256" y="138"/>
                  <a:pt x="256" y="138"/>
                  <a:pt x="256" y="138"/>
                </a:cubicBezTo>
                <a:cubicBezTo>
                  <a:pt x="262" y="142"/>
                  <a:pt x="266" y="148"/>
                  <a:pt x="266" y="156"/>
                </a:cubicBezTo>
                <a:cubicBezTo>
                  <a:pt x="266" y="164"/>
                  <a:pt x="262" y="170"/>
                  <a:pt x="256" y="174"/>
                </a:cubicBezTo>
                <a:cubicBezTo>
                  <a:pt x="32" y="308"/>
                  <a:pt x="32" y="308"/>
                  <a:pt x="32" y="308"/>
                </a:cubicBezTo>
                <a:cubicBezTo>
                  <a:pt x="29" y="310"/>
                  <a:pt x="25" y="311"/>
                  <a:pt x="21" y="311"/>
                </a:cubicBezTo>
                <a:close/>
                <a:moveTo>
                  <a:pt x="21" y="13"/>
                </a:moveTo>
                <a:cubicBezTo>
                  <a:pt x="20" y="13"/>
                  <a:pt x="18" y="14"/>
                  <a:pt x="17" y="14"/>
                </a:cubicBezTo>
                <a:cubicBezTo>
                  <a:pt x="14" y="16"/>
                  <a:pt x="12" y="19"/>
                  <a:pt x="12" y="23"/>
                </a:cubicBezTo>
                <a:cubicBezTo>
                  <a:pt x="12" y="289"/>
                  <a:pt x="12" y="289"/>
                  <a:pt x="12" y="289"/>
                </a:cubicBezTo>
                <a:cubicBezTo>
                  <a:pt x="12" y="293"/>
                  <a:pt x="14" y="296"/>
                  <a:pt x="17" y="298"/>
                </a:cubicBezTo>
                <a:cubicBezTo>
                  <a:pt x="20" y="299"/>
                  <a:pt x="23" y="299"/>
                  <a:pt x="26" y="297"/>
                </a:cubicBezTo>
                <a:cubicBezTo>
                  <a:pt x="250" y="164"/>
                  <a:pt x="250" y="164"/>
                  <a:pt x="250" y="164"/>
                </a:cubicBezTo>
                <a:cubicBezTo>
                  <a:pt x="252" y="162"/>
                  <a:pt x="254" y="159"/>
                  <a:pt x="254" y="156"/>
                </a:cubicBezTo>
                <a:cubicBezTo>
                  <a:pt x="254" y="153"/>
                  <a:pt x="252" y="150"/>
                  <a:pt x="250" y="148"/>
                </a:cubicBezTo>
                <a:cubicBezTo>
                  <a:pt x="250" y="148"/>
                  <a:pt x="250" y="148"/>
                  <a:pt x="250" y="148"/>
                </a:cubicBezTo>
                <a:cubicBezTo>
                  <a:pt x="26" y="15"/>
                  <a:pt x="26" y="15"/>
                  <a:pt x="26" y="15"/>
                </a:cubicBezTo>
                <a:cubicBezTo>
                  <a:pt x="25" y="14"/>
                  <a:pt x="23" y="13"/>
                  <a:pt x="21"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47" name="Group 146">
            <a:extLst>
              <a:ext uri="{FF2B5EF4-FFF2-40B4-BE49-F238E27FC236}">
                <a16:creationId xmlns:a16="http://schemas.microsoft.com/office/drawing/2014/main" id="{51A8BCA5-DF97-49DF-9A5D-79B205545031}"/>
              </a:ext>
            </a:extLst>
          </p:cNvPr>
          <p:cNvGrpSpPr/>
          <p:nvPr/>
        </p:nvGrpSpPr>
        <p:grpSpPr>
          <a:xfrm>
            <a:off x="8491810" y="3768370"/>
            <a:ext cx="932972" cy="353224"/>
            <a:chOff x="3440113" y="5662613"/>
            <a:chExt cx="769938" cy="292100"/>
          </a:xfrm>
        </p:grpSpPr>
        <p:sp>
          <p:nvSpPr>
            <p:cNvPr id="148" name="Freeform 84">
              <a:extLst>
                <a:ext uri="{FF2B5EF4-FFF2-40B4-BE49-F238E27FC236}">
                  <a16:creationId xmlns:a16="http://schemas.microsoft.com/office/drawing/2014/main" id="{F040307B-C7E7-4AA9-8AAE-296426123E19}"/>
                </a:ext>
              </a:extLst>
            </p:cNvPr>
            <p:cNvSpPr>
              <a:spLocks/>
            </p:cNvSpPr>
            <p:nvPr/>
          </p:nvSpPr>
          <p:spPr bwMode="auto">
            <a:xfrm>
              <a:off x="3440113" y="566261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4 h 46"/>
                <a:gd name="T46" fmla="*/ 355 w 358"/>
                <a:gd name="T47" fmla="*/ 41 h 46"/>
                <a:gd name="T48" fmla="*/ 342 w 358"/>
                <a:gd name="T49" fmla="*/ 36 h 46"/>
                <a:gd name="T50" fmla="*/ 327 w 358"/>
                <a:gd name="T51" fmla="*/ 14 h 46"/>
                <a:gd name="T52" fmla="*/ 305 w 358"/>
                <a:gd name="T53" fmla="*/ 1 h 46"/>
                <a:gd name="T54" fmla="*/ 288 w 358"/>
                <a:gd name="T55" fmla="*/ 8 h 46"/>
                <a:gd name="T56" fmla="*/ 273 w 358"/>
                <a:gd name="T57" fmla="*/ 30 h 46"/>
                <a:gd name="T58" fmla="*/ 254 w 358"/>
                <a:gd name="T59" fmla="*/ 41 h 46"/>
                <a:gd name="T60" fmla="*/ 241 w 358"/>
                <a:gd name="T61" fmla="*/ 36 h 46"/>
                <a:gd name="T62" fmla="*/ 226 w 358"/>
                <a:gd name="T63" fmla="*/ 14 h 46"/>
                <a:gd name="T64" fmla="*/ 204 w 358"/>
                <a:gd name="T65" fmla="*/ 1 h 46"/>
                <a:gd name="T66" fmla="*/ 187 w 358"/>
                <a:gd name="T67" fmla="*/ 8 h 46"/>
                <a:gd name="T68" fmla="*/ 172 w 358"/>
                <a:gd name="T69" fmla="*/ 30 h 46"/>
                <a:gd name="T70" fmla="*/ 154 w 358"/>
                <a:gd name="T71" fmla="*/ 41 h 46"/>
                <a:gd name="T72" fmla="*/ 140 w 358"/>
                <a:gd name="T73" fmla="*/ 36 h 46"/>
                <a:gd name="T74" fmla="*/ 126 w 358"/>
                <a:gd name="T75" fmla="*/ 14 h 46"/>
                <a:gd name="T76" fmla="*/ 103 w 358"/>
                <a:gd name="T77" fmla="*/ 1 h 46"/>
                <a:gd name="T78" fmla="*/ 87 w 358"/>
                <a:gd name="T79" fmla="*/ 8 h 46"/>
                <a:gd name="T80" fmla="*/ 72 w 358"/>
                <a:gd name="T81" fmla="*/ 30 h 46"/>
                <a:gd name="T82" fmla="*/ 53 w 358"/>
                <a:gd name="T83" fmla="*/ 41 h 46"/>
                <a:gd name="T84" fmla="*/ 40 w 358"/>
                <a:gd name="T85" fmla="*/ 36 h 46"/>
                <a:gd name="T86" fmla="*/ 25 w 358"/>
                <a:gd name="T87" fmla="*/ 14 h 46"/>
                <a:gd name="T88" fmla="*/ 3 w 358"/>
                <a:gd name="T89" fmla="*/ 1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5"/>
                    <a:pt x="31" y="32"/>
                  </a:cubicBezTo>
                  <a:cubicBezTo>
                    <a:pt x="36" y="40"/>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5"/>
                    <a:pt x="131" y="32"/>
                  </a:cubicBezTo>
                  <a:cubicBezTo>
                    <a:pt x="137" y="40"/>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5"/>
                    <a:pt x="232" y="32"/>
                  </a:cubicBezTo>
                  <a:cubicBezTo>
                    <a:pt x="237" y="40"/>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5"/>
                    <a:pt x="333" y="32"/>
                  </a:cubicBezTo>
                  <a:cubicBezTo>
                    <a:pt x="338" y="40"/>
                    <a:pt x="345" y="46"/>
                    <a:pt x="355" y="46"/>
                  </a:cubicBezTo>
                  <a:cubicBezTo>
                    <a:pt x="356" y="46"/>
                    <a:pt x="358" y="45"/>
                    <a:pt x="358" y="44"/>
                  </a:cubicBezTo>
                  <a:cubicBezTo>
                    <a:pt x="358" y="43"/>
                    <a:pt x="356" y="41"/>
                    <a:pt x="355" y="41"/>
                  </a:cubicBezTo>
                  <a:cubicBezTo>
                    <a:pt x="350" y="41"/>
                    <a:pt x="346" y="39"/>
                    <a:pt x="342" y="36"/>
                  </a:cubicBezTo>
                  <a:cubicBezTo>
                    <a:pt x="336" y="30"/>
                    <a:pt x="332" y="22"/>
                    <a:pt x="327" y="14"/>
                  </a:cubicBezTo>
                  <a:cubicBezTo>
                    <a:pt x="322" y="7"/>
                    <a:pt x="315" y="0"/>
                    <a:pt x="305" y="1"/>
                  </a:cubicBezTo>
                  <a:cubicBezTo>
                    <a:pt x="298" y="0"/>
                    <a:pt x="292" y="3"/>
                    <a:pt x="288" y="8"/>
                  </a:cubicBezTo>
                  <a:cubicBezTo>
                    <a:pt x="282" y="14"/>
                    <a:pt x="278" y="23"/>
                    <a:pt x="273" y="30"/>
                  </a:cubicBezTo>
                  <a:cubicBezTo>
                    <a:pt x="268" y="37"/>
                    <a:pt x="263" y="41"/>
                    <a:pt x="254" y="41"/>
                  </a:cubicBezTo>
                  <a:cubicBezTo>
                    <a:pt x="249" y="41"/>
                    <a:pt x="245" y="39"/>
                    <a:pt x="241" y="36"/>
                  </a:cubicBezTo>
                  <a:cubicBezTo>
                    <a:pt x="236" y="30"/>
                    <a:pt x="232" y="22"/>
                    <a:pt x="226" y="14"/>
                  </a:cubicBezTo>
                  <a:cubicBezTo>
                    <a:pt x="221" y="7"/>
                    <a:pt x="215" y="0"/>
                    <a:pt x="204" y="1"/>
                  </a:cubicBezTo>
                  <a:cubicBezTo>
                    <a:pt x="197" y="0"/>
                    <a:pt x="192" y="3"/>
                    <a:pt x="187" y="8"/>
                  </a:cubicBezTo>
                  <a:cubicBezTo>
                    <a:pt x="181" y="14"/>
                    <a:pt x="177" y="23"/>
                    <a:pt x="172" y="30"/>
                  </a:cubicBezTo>
                  <a:cubicBezTo>
                    <a:pt x="167" y="37"/>
                    <a:pt x="162" y="41"/>
                    <a:pt x="154" y="41"/>
                  </a:cubicBezTo>
                  <a:cubicBezTo>
                    <a:pt x="148" y="41"/>
                    <a:pt x="144" y="39"/>
                    <a:pt x="140" y="36"/>
                  </a:cubicBezTo>
                  <a:cubicBezTo>
                    <a:pt x="135" y="30"/>
                    <a:pt x="131" y="22"/>
                    <a:pt x="126" y="14"/>
                  </a:cubicBezTo>
                  <a:cubicBezTo>
                    <a:pt x="121" y="7"/>
                    <a:pt x="114" y="0"/>
                    <a:pt x="103" y="1"/>
                  </a:cubicBezTo>
                  <a:cubicBezTo>
                    <a:pt x="96" y="0"/>
                    <a:pt x="91" y="3"/>
                    <a:pt x="87" y="8"/>
                  </a:cubicBezTo>
                  <a:cubicBezTo>
                    <a:pt x="81" y="14"/>
                    <a:pt x="76" y="23"/>
                    <a:pt x="72" y="30"/>
                  </a:cubicBezTo>
                  <a:cubicBezTo>
                    <a:pt x="67" y="37"/>
                    <a:pt x="61" y="41"/>
                    <a:pt x="53" y="41"/>
                  </a:cubicBezTo>
                  <a:cubicBezTo>
                    <a:pt x="48" y="41"/>
                    <a:pt x="44" y="39"/>
                    <a:pt x="40" y="36"/>
                  </a:cubicBezTo>
                  <a:cubicBezTo>
                    <a:pt x="34" y="30"/>
                    <a:pt x="30" y="22"/>
                    <a:pt x="25" y="14"/>
                  </a:cubicBezTo>
                  <a:cubicBezTo>
                    <a:pt x="20" y="7"/>
                    <a:pt x="13" y="0"/>
                    <a:pt x="3" y="1"/>
                  </a:cubicBezTo>
                  <a:cubicBezTo>
                    <a:pt x="2" y="1"/>
                    <a:pt x="0" y="2"/>
                    <a:pt x="0" y="3"/>
                  </a:cubicBezTo>
                  <a:cubicBezTo>
                    <a:pt x="0" y="4"/>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85">
              <a:extLst>
                <a:ext uri="{FF2B5EF4-FFF2-40B4-BE49-F238E27FC236}">
                  <a16:creationId xmlns:a16="http://schemas.microsoft.com/office/drawing/2014/main" id="{C6F5F639-FB22-47AD-83DD-FC2FEDFCA37E}"/>
                </a:ext>
              </a:extLst>
            </p:cNvPr>
            <p:cNvSpPr>
              <a:spLocks/>
            </p:cNvSpPr>
            <p:nvPr/>
          </p:nvSpPr>
          <p:spPr bwMode="auto">
            <a:xfrm>
              <a:off x="3440113" y="575786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4"/>
                    <a:pt x="31" y="32"/>
                  </a:cubicBezTo>
                  <a:cubicBezTo>
                    <a:pt x="36" y="39"/>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4"/>
                    <a:pt x="131" y="32"/>
                  </a:cubicBezTo>
                  <a:cubicBezTo>
                    <a:pt x="137" y="39"/>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4"/>
                    <a:pt x="232" y="32"/>
                  </a:cubicBezTo>
                  <a:cubicBezTo>
                    <a:pt x="237" y="39"/>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4"/>
                    <a:pt x="333" y="32"/>
                  </a:cubicBezTo>
                  <a:cubicBezTo>
                    <a:pt x="338" y="39"/>
                    <a:pt x="345" y="46"/>
                    <a:pt x="355" y="46"/>
                  </a:cubicBezTo>
                  <a:cubicBezTo>
                    <a:pt x="356" y="46"/>
                    <a:pt x="358" y="45"/>
                    <a:pt x="358" y="43"/>
                  </a:cubicBezTo>
                  <a:cubicBezTo>
                    <a:pt x="358" y="42"/>
                    <a:pt x="356" y="41"/>
                    <a:pt x="355" y="41"/>
                  </a:cubicBezTo>
                  <a:cubicBezTo>
                    <a:pt x="350" y="41"/>
                    <a:pt x="346" y="39"/>
                    <a:pt x="342" y="35"/>
                  </a:cubicBezTo>
                  <a:cubicBezTo>
                    <a:pt x="336" y="30"/>
                    <a:pt x="332" y="22"/>
                    <a:pt x="327" y="14"/>
                  </a:cubicBezTo>
                  <a:cubicBezTo>
                    <a:pt x="322" y="7"/>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2"/>
                    <a:pt x="226" y="14"/>
                  </a:cubicBezTo>
                  <a:cubicBezTo>
                    <a:pt x="221" y="7"/>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2"/>
                    <a:pt x="126" y="14"/>
                  </a:cubicBezTo>
                  <a:cubicBezTo>
                    <a:pt x="121" y="7"/>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2"/>
                    <a:pt x="25" y="14"/>
                  </a:cubicBezTo>
                  <a:cubicBezTo>
                    <a:pt x="20" y="7"/>
                    <a:pt x="13" y="0"/>
                    <a:pt x="3" y="0"/>
                  </a:cubicBezTo>
                  <a:cubicBezTo>
                    <a:pt x="2" y="0"/>
                    <a:pt x="0" y="1"/>
                    <a:pt x="0" y="3"/>
                  </a:cubicBezTo>
                  <a:cubicBezTo>
                    <a:pt x="0" y="4"/>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86">
              <a:extLst>
                <a:ext uri="{FF2B5EF4-FFF2-40B4-BE49-F238E27FC236}">
                  <a16:creationId xmlns:a16="http://schemas.microsoft.com/office/drawing/2014/main" id="{AEBD1967-092F-4408-83DC-AD676F7A142B}"/>
                </a:ext>
              </a:extLst>
            </p:cNvPr>
            <p:cNvSpPr>
              <a:spLocks/>
            </p:cNvSpPr>
            <p:nvPr/>
          </p:nvSpPr>
          <p:spPr bwMode="auto">
            <a:xfrm>
              <a:off x="3440113" y="5853113"/>
              <a:ext cx="769938" cy="101600"/>
            </a:xfrm>
            <a:custGeom>
              <a:avLst/>
              <a:gdLst>
                <a:gd name="T0" fmla="*/ 3 w 358"/>
                <a:gd name="T1" fmla="*/ 5 h 46"/>
                <a:gd name="T2" fmla="*/ 16 w 358"/>
                <a:gd name="T3" fmla="*/ 10 h 46"/>
                <a:gd name="T4" fmla="*/ 31 w 358"/>
                <a:gd name="T5" fmla="*/ 32 h 46"/>
                <a:gd name="T6" fmla="*/ 53 w 358"/>
                <a:gd name="T7" fmla="*/ 45 h 46"/>
                <a:gd name="T8" fmla="*/ 70 w 358"/>
                <a:gd name="T9" fmla="*/ 38 h 46"/>
                <a:gd name="T10" fmla="*/ 85 w 358"/>
                <a:gd name="T11" fmla="*/ 16 h 46"/>
                <a:gd name="T12" fmla="*/ 103 w 358"/>
                <a:gd name="T13" fmla="*/ 5 h 46"/>
                <a:gd name="T14" fmla="*/ 117 w 358"/>
                <a:gd name="T15" fmla="*/ 10 h 46"/>
                <a:gd name="T16" fmla="*/ 131 w 358"/>
                <a:gd name="T17" fmla="*/ 32 h 46"/>
                <a:gd name="T18" fmla="*/ 154 w 358"/>
                <a:gd name="T19" fmla="*/ 45 h 46"/>
                <a:gd name="T20" fmla="*/ 170 w 358"/>
                <a:gd name="T21" fmla="*/ 38 h 46"/>
                <a:gd name="T22" fmla="*/ 186 w 358"/>
                <a:gd name="T23" fmla="*/ 16 h 46"/>
                <a:gd name="T24" fmla="*/ 204 w 358"/>
                <a:gd name="T25" fmla="*/ 5 h 46"/>
                <a:gd name="T26" fmla="*/ 217 w 358"/>
                <a:gd name="T27" fmla="*/ 10 h 46"/>
                <a:gd name="T28" fmla="*/ 232 w 358"/>
                <a:gd name="T29" fmla="*/ 32 h 46"/>
                <a:gd name="T30" fmla="*/ 254 w 358"/>
                <a:gd name="T31" fmla="*/ 45 h 46"/>
                <a:gd name="T32" fmla="*/ 271 w 358"/>
                <a:gd name="T33" fmla="*/ 38 h 46"/>
                <a:gd name="T34" fmla="*/ 286 w 358"/>
                <a:gd name="T35" fmla="*/ 16 h 46"/>
                <a:gd name="T36" fmla="*/ 305 w 358"/>
                <a:gd name="T37" fmla="*/ 5 h 46"/>
                <a:gd name="T38" fmla="*/ 318 w 358"/>
                <a:gd name="T39" fmla="*/ 10 h 46"/>
                <a:gd name="T40" fmla="*/ 333 w 358"/>
                <a:gd name="T41" fmla="*/ 32 h 46"/>
                <a:gd name="T42" fmla="*/ 355 w 358"/>
                <a:gd name="T43" fmla="*/ 45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2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0"/>
                  </a:cubicBezTo>
                  <a:cubicBezTo>
                    <a:pt x="22" y="16"/>
                    <a:pt x="26" y="24"/>
                    <a:pt x="31" y="32"/>
                  </a:cubicBezTo>
                  <a:cubicBezTo>
                    <a:pt x="36" y="39"/>
                    <a:pt x="43" y="46"/>
                    <a:pt x="53" y="45"/>
                  </a:cubicBezTo>
                  <a:cubicBezTo>
                    <a:pt x="60" y="46"/>
                    <a:pt x="66" y="43"/>
                    <a:pt x="70" y="38"/>
                  </a:cubicBezTo>
                  <a:cubicBezTo>
                    <a:pt x="76" y="32"/>
                    <a:pt x="80" y="23"/>
                    <a:pt x="85" y="16"/>
                  </a:cubicBezTo>
                  <a:cubicBezTo>
                    <a:pt x="90" y="9"/>
                    <a:pt x="95" y="5"/>
                    <a:pt x="103" y="5"/>
                  </a:cubicBezTo>
                  <a:cubicBezTo>
                    <a:pt x="109" y="5"/>
                    <a:pt x="113" y="7"/>
                    <a:pt x="117" y="10"/>
                  </a:cubicBezTo>
                  <a:cubicBezTo>
                    <a:pt x="122" y="16"/>
                    <a:pt x="126" y="24"/>
                    <a:pt x="131" y="32"/>
                  </a:cubicBezTo>
                  <a:cubicBezTo>
                    <a:pt x="137" y="39"/>
                    <a:pt x="143" y="46"/>
                    <a:pt x="154" y="45"/>
                  </a:cubicBezTo>
                  <a:cubicBezTo>
                    <a:pt x="161" y="46"/>
                    <a:pt x="166" y="43"/>
                    <a:pt x="170" y="38"/>
                  </a:cubicBezTo>
                  <a:cubicBezTo>
                    <a:pt x="177" y="32"/>
                    <a:pt x="181" y="23"/>
                    <a:pt x="186" y="16"/>
                  </a:cubicBezTo>
                  <a:cubicBezTo>
                    <a:pt x="191" y="9"/>
                    <a:pt x="196" y="5"/>
                    <a:pt x="204" y="5"/>
                  </a:cubicBezTo>
                  <a:cubicBezTo>
                    <a:pt x="210" y="5"/>
                    <a:pt x="214" y="7"/>
                    <a:pt x="217" y="10"/>
                  </a:cubicBezTo>
                  <a:cubicBezTo>
                    <a:pt x="223" y="16"/>
                    <a:pt x="227" y="24"/>
                    <a:pt x="232" y="32"/>
                  </a:cubicBezTo>
                  <a:cubicBezTo>
                    <a:pt x="237" y="39"/>
                    <a:pt x="244" y="46"/>
                    <a:pt x="254" y="45"/>
                  </a:cubicBezTo>
                  <a:cubicBezTo>
                    <a:pt x="261" y="46"/>
                    <a:pt x="267" y="43"/>
                    <a:pt x="271" y="38"/>
                  </a:cubicBezTo>
                  <a:cubicBezTo>
                    <a:pt x="277" y="32"/>
                    <a:pt x="281" y="23"/>
                    <a:pt x="286" y="16"/>
                  </a:cubicBezTo>
                  <a:cubicBezTo>
                    <a:pt x="291" y="9"/>
                    <a:pt x="296" y="5"/>
                    <a:pt x="305" y="5"/>
                  </a:cubicBezTo>
                  <a:cubicBezTo>
                    <a:pt x="310" y="5"/>
                    <a:pt x="314" y="7"/>
                    <a:pt x="318" y="10"/>
                  </a:cubicBezTo>
                  <a:cubicBezTo>
                    <a:pt x="324" y="16"/>
                    <a:pt x="328" y="24"/>
                    <a:pt x="333" y="32"/>
                  </a:cubicBezTo>
                  <a:cubicBezTo>
                    <a:pt x="338" y="39"/>
                    <a:pt x="345" y="46"/>
                    <a:pt x="355" y="45"/>
                  </a:cubicBezTo>
                  <a:cubicBezTo>
                    <a:pt x="356" y="45"/>
                    <a:pt x="358" y="44"/>
                    <a:pt x="358" y="43"/>
                  </a:cubicBezTo>
                  <a:cubicBezTo>
                    <a:pt x="358" y="42"/>
                    <a:pt x="356" y="41"/>
                    <a:pt x="355" y="41"/>
                  </a:cubicBezTo>
                  <a:cubicBezTo>
                    <a:pt x="350" y="41"/>
                    <a:pt x="346" y="39"/>
                    <a:pt x="342" y="35"/>
                  </a:cubicBezTo>
                  <a:cubicBezTo>
                    <a:pt x="336" y="30"/>
                    <a:pt x="332" y="21"/>
                    <a:pt x="327" y="14"/>
                  </a:cubicBezTo>
                  <a:cubicBezTo>
                    <a:pt x="322" y="6"/>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1"/>
                    <a:pt x="226" y="14"/>
                  </a:cubicBezTo>
                  <a:cubicBezTo>
                    <a:pt x="221" y="6"/>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1"/>
                    <a:pt x="126" y="14"/>
                  </a:cubicBezTo>
                  <a:cubicBezTo>
                    <a:pt x="121" y="6"/>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1"/>
                    <a:pt x="25" y="14"/>
                  </a:cubicBezTo>
                  <a:cubicBezTo>
                    <a:pt x="20" y="6"/>
                    <a:pt x="13" y="0"/>
                    <a:pt x="3" y="0"/>
                  </a:cubicBezTo>
                  <a:cubicBezTo>
                    <a:pt x="2" y="0"/>
                    <a:pt x="0" y="1"/>
                    <a:pt x="0" y="2"/>
                  </a:cubicBezTo>
                  <a:cubicBezTo>
                    <a:pt x="0" y="3"/>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1" name="Oval 80">
            <a:extLst>
              <a:ext uri="{FF2B5EF4-FFF2-40B4-BE49-F238E27FC236}">
                <a16:creationId xmlns:a16="http://schemas.microsoft.com/office/drawing/2014/main" id="{2966BD5B-C9E7-4CC0-B589-D0096F77D654}"/>
              </a:ext>
            </a:extLst>
          </p:cNvPr>
          <p:cNvSpPr/>
          <p:nvPr/>
        </p:nvSpPr>
        <p:spPr>
          <a:xfrm>
            <a:off x="10412694" y="1517905"/>
            <a:ext cx="1570916" cy="1570914"/>
          </a:xfrm>
          <a:prstGeom prst="ellipse">
            <a:avLst/>
          </a:prstGeom>
          <a:solidFill>
            <a:schemeClr val="bg2"/>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Oval 82">
            <a:extLst>
              <a:ext uri="{FF2B5EF4-FFF2-40B4-BE49-F238E27FC236}">
                <a16:creationId xmlns:a16="http://schemas.microsoft.com/office/drawing/2014/main" id="{0B9FE716-F5A8-48A2-A85D-FAF53DC0465A}"/>
              </a:ext>
            </a:extLst>
          </p:cNvPr>
          <p:cNvSpPr/>
          <p:nvPr/>
        </p:nvSpPr>
        <p:spPr>
          <a:xfrm>
            <a:off x="10525470" y="1630680"/>
            <a:ext cx="1345364" cy="1345364"/>
          </a:xfrm>
          <a:prstGeom prst="ellipse">
            <a:avLst/>
          </a:prstGeom>
          <a:solidFill>
            <a:schemeClr val="accent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2" name="Group 91">
            <a:extLst>
              <a:ext uri="{FF2B5EF4-FFF2-40B4-BE49-F238E27FC236}">
                <a16:creationId xmlns:a16="http://schemas.microsoft.com/office/drawing/2014/main" id="{CB140FC6-AF4A-4586-B058-C447968B48AD}"/>
              </a:ext>
            </a:extLst>
          </p:cNvPr>
          <p:cNvGrpSpPr/>
          <p:nvPr/>
        </p:nvGrpSpPr>
        <p:grpSpPr>
          <a:xfrm>
            <a:off x="10741797" y="1780368"/>
            <a:ext cx="912710" cy="1045988"/>
            <a:chOff x="4736130" y="-2038349"/>
            <a:chExt cx="1070499" cy="1226818"/>
          </a:xfrm>
          <a:solidFill>
            <a:schemeClr val="bg2"/>
          </a:solidFill>
        </p:grpSpPr>
        <p:sp>
          <p:nvSpPr>
            <p:cNvPr id="94" name="Freeform: Shape 93">
              <a:extLst>
                <a:ext uri="{FF2B5EF4-FFF2-40B4-BE49-F238E27FC236}">
                  <a16:creationId xmlns:a16="http://schemas.microsoft.com/office/drawing/2014/main" id="{FBE1B4F6-72BD-46E5-A491-3E65A3BB1BDE}"/>
                </a:ext>
              </a:extLst>
            </p:cNvPr>
            <p:cNvSpPr/>
            <p:nvPr/>
          </p:nvSpPr>
          <p:spPr>
            <a:xfrm>
              <a:off x="4964427" y="-2000249"/>
              <a:ext cx="609601" cy="1188718"/>
            </a:xfrm>
            <a:custGeom>
              <a:avLst/>
              <a:gdLst>
                <a:gd name="connsiteX0" fmla="*/ 304801 w 609601"/>
                <a:gd name="connsiteY0" fmla="*/ 1188718 h 1188718"/>
                <a:gd name="connsiteX1" fmla="*/ 0 w 609601"/>
                <a:gd name="connsiteY1" fmla="*/ 594359 h 1188718"/>
                <a:gd name="connsiteX2" fmla="*/ 304801 w 609601"/>
                <a:gd name="connsiteY2" fmla="*/ 0 h 1188718"/>
                <a:gd name="connsiteX3" fmla="*/ 609601 w 609601"/>
                <a:gd name="connsiteY3" fmla="*/ 594359 h 1188718"/>
                <a:gd name="connsiteX4" fmla="*/ 304801 w 609601"/>
                <a:gd name="connsiteY4" fmla="*/ 1188718 h 1188718"/>
                <a:gd name="connsiteX5" fmla="*/ 304801 w 609601"/>
                <a:gd name="connsiteY5" fmla="*/ 41910 h 1188718"/>
                <a:gd name="connsiteX6" fmla="*/ 38100 w 609601"/>
                <a:gd name="connsiteY6" fmla="*/ 598169 h 1188718"/>
                <a:gd name="connsiteX7" fmla="*/ 304801 w 609601"/>
                <a:gd name="connsiteY7" fmla="*/ 1154428 h 1188718"/>
                <a:gd name="connsiteX8" fmla="*/ 571501 w 609601"/>
                <a:gd name="connsiteY8" fmla="*/ 598169 h 1188718"/>
                <a:gd name="connsiteX9" fmla="*/ 304801 w 609601"/>
                <a:gd name="connsiteY9" fmla="*/ 41910 h 118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1" h="1188718">
                  <a:moveTo>
                    <a:pt x="304801" y="1188718"/>
                  </a:moveTo>
                  <a:cubicBezTo>
                    <a:pt x="133350" y="1188718"/>
                    <a:pt x="0" y="929639"/>
                    <a:pt x="0" y="594359"/>
                  </a:cubicBezTo>
                  <a:cubicBezTo>
                    <a:pt x="0" y="259080"/>
                    <a:pt x="133350" y="0"/>
                    <a:pt x="304801" y="0"/>
                  </a:cubicBezTo>
                  <a:cubicBezTo>
                    <a:pt x="476251" y="0"/>
                    <a:pt x="609601" y="259080"/>
                    <a:pt x="609601" y="594359"/>
                  </a:cubicBezTo>
                  <a:cubicBezTo>
                    <a:pt x="609601" y="929639"/>
                    <a:pt x="476251" y="1188718"/>
                    <a:pt x="304801" y="1188718"/>
                  </a:cubicBezTo>
                  <a:close/>
                  <a:moveTo>
                    <a:pt x="304801" y="41910"/>
                  </a:moveTo>
                  <a:cubicBezTo>
                    <a:pt x="160020" y="41910"/>
                    <a:pt x="38100" y="297180"/>
                    <a:pt x="38100" y="598169"/>
                  </a:cubicBezTo>
                  <a:cubicBezTo>
                    <a:pt x="38100" y="899159"/>
                    <a:pt x="160020" y="1154428"/>
                    <a:pt x="304801" y="1154428"/>
                  </a:cubicBezTo>
                  <a:cubicBezTo>
                    <a:pt x="449581" y="1154428"/>
                    <a:pt x="571501" y="899159"/>
                    <a:pt x="571501" y="598169"/>
                  </a:cubicBezTo>
                  <a:cubicBezTo>
                    <a:pt x="571501" y="297180"/>
                    <a:pt x="449581" y="41910"/>
                    <a:pt x="304801" y="41910"/>
                  </a:cubicBezTo>
                  <a:close/>
                </a:path>
              </a:pathLst>
            </a:custGeom>
            <a:grpFill/>
            <a:ln w="38100" cap="flat">
              <a:noFill/>
              <a:prstDash val="solid"/>
              <a:miter/>
            </a:ln>
          </p:spPr>
          <p:txBody>
            <a:bodyPr rtlCol="0" anchor="ctr"/>
            <a:lstStyle/>
            <a:p>
              <a:endParaRPr lang="en-IN" dirty="0"/>
            </a:p>
          </p:txBody>
        </p:sp>
        <p:sp>
          <p:nvSpPr>
            <p:cNvPr id="96" name="Freeform: Shape 95">
              <a:extLst>
                <a:ext uri="{FF2B5EF4-FFF2-40B4-BE49-F238E27FC236}">
                  <a16:creationId xmlns:a16="http://schemas.microsoft.com/office/drawing/2014/main" id="{D6A26EE6-D70F-4C15-BB22-BFCF565B10FC}"/>
                </a:ext>
              </a:extLst>
            </p:cNvPr>
            <p:cNvSpPr/>
            <p:nvPr/>
          </p:nvSpPr>
          <p:spPr>
            <a:xfrm>
              <a:off x="4736130" y="-1803088"/>
              <a:ext cx="1070499" cy="797247"/>
            </a:xfrm>
            <a:custGeom>
              <a:avLst/>
              <a:gdLst>
                <a:gd name="connsiteX0" fmla="*/ 251157 w 1070499"/>
                <a:gd name="connsiteY0" fmla="*/ 797248 h 797247"/>
                <a:gd name="connsiteX1" fmla="*/ 22557 w 1070499"/>
                <a:gd name="connsiteY1" fmla="*/ 694378 h 797247"/>
                <a:gd name="connsiteX2" fmla="*/ 384507 w 1070499"/>
                <a:gd name="connsiteY2" fmla="*/ 134309 h 797247"/>
                <a:gd name="connsiteX3" fmla="*/ 384507 w 1070499"/>
                <a:gd name="connsiteY3" fmla="*/ 134309 h 797247"/>
                <a:gd name="connsiteX4" fmla="*/ 784558 w 1070499"/>
                <a:gd name="connsiteY4" fmla="*/ 959 h 797247"/>
                <a:gd name="connsiteX5" fmla="*/ 1047449 w 1070499"/>
                <a:gd name="connsiteY5" fmla="*/ 103829 h 797247"/>
                <a:gd name="connsiteX6" fmla="*/ 1001729 w 1070499"/>
                <a:gd name="connsiteY6" fmla="*/ 381959 h 797247"/>
                <a:gd name="connsiteX7" fmla="*/ 685498 w 1070499"/>
                <a:gd name="connsiteY7" fmla="*/ 663898 h 797247"/>
                <a:gd name="connsiteX8" fmla="*/ 285447 w 1070499"/>
                <a:gd name="connsiteY8" fmla="*/ 797248 h 797247"/>
                <a:gd name="connsiteX9" fmla="*/ 251157 w 1070499"/>
                <a:gd name="connsiteY9" fmla="*/ 797248 h 797247"/>
                <a:gd name="connsiteX10" fmla="*/ 399747 w 1070499"/>
                <a:gd name="connsiteY10" fmla="*/ 168599 h 797247"/>
                <a:gd name="connsiteX11" fmla="*/ 53037 w 1070499"/>
                <a:gd name="connsiteY11" fmla="*/ 675328 h 797247"/>
                <a:gd name="connsiteX12" fmla="*/ 281637 w 1070499"/>
                <a:gd name="connsiteY12" fmla="*/ 755338 h 797247"/>
                <a:gd name="connsiteX13" fmla="*/ 666448 w 1070499"/>
                <a:gd name="connsiteY13" fmla="*/ 625798 h 797247"/>
                <a:gd name="connsiteX14" fmla="*/ 971249 w 1070499"/>
                <a:gd name="connsiteY14" fmla="*/ 355289 h 797247"/>
                <a:gd name="connsiteX15" fmla="*/ 1016969 w 1070499"/>
                <a:gd name="connsiteY15" fmla="*/ 115259 h 797247"/>
                <a:gd name="connsiteX16" fmla="*/ 788368 w 1070499"/>
                <a:gd name="connsiteY16" fmla="*/ 35249 h 797247"/>
                <a:gd name="connsiteX17" fmla="*/ 399747 w 1070499"/>
                <a:gd name="connsiteY17" fmla="*/ 168599 h 797247"/>
                <a:gd name="connsiteX18" fmla="*/ 399747 w 1070499"/>
                <a:gd name="connsiteY18" fmla="*/ 168599 h 79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0499" h="797247">
                  <a:moveTo>
                    <a:pt x="251157" y="797248"/>
                  </a:moveTo>
                  <a:cubicBezTo>
                    <a:pt x="140667" y="797248"/>
                    <a:pt x="60657" y="762958"/>
                    <a:pt x="22557" y="694378"/>
                  </a:cubicBezTo>
                  <a:cubicBezTo>
                    <a:pt x="-61264" y="545788"/>
                    <a:pt x="94947" y="301949"/>
                    <a:pt x="384507" y="134309"/>
                  </a:cubicBezTo>
                  <a:lnTo>
                    <a:pt x="384507" y="134309"/>
                  </a:lnTo>
                  <a:cubicBezTo>
                    <a:pt x="521668" y="54299"/>
                    <a:pt x="662638" y="8579"/>
                    <a:pt x="784558" y="959"/>
                  </a:cubicBezTo>
                  <a:cubicBezTo>
                    <a:pt x="910288" y="-6661"/>
                    <a:pt x="1005539" y="31439"/>
                    <a:pt x="1047449" y="103829"/>
                  </a:cubicBezTo>
                  <a:cubicBezTo>
                    <a:pt x="1089359" y="176219"/>
                    <a:pt x="1074119" y="275279"/>
                    <a:pt x="1001729" y="381959"/>
                  </a:cubicBezTo>
                  <a:cubicBezTo>
                    <a:pt x="933149" y="484828"/>
                    <a:pt x="822658" y="583888"/>
                    <a:pt x="685498" y="663898"/>
                  </a:cubicBezTo>
                  <a:cubicBezTo>
                    <a:pt x="548338" y="743908"/>
                    <a:pt x="407367" y="789628"/>
                    <a:pt x="285447" y="797248"/>
                  </a:cubicBezTo>
                  <a:cubicBezTo>
                    <a:pt x="274017" y="797248"/>
                    <a:pt x="262587" y="797248"/>
                    <a:pt x="251157" y="797248"/>
                  </a:cubicBezTo>
                  <a:close/>
                  <a:moveTo>
                    <a:pt x="399747" y="168599"/>
                  </a:moveTo>
                  <a:cubicBezTo>
                    <a:pt x="140667" y="320999"/>
                    <a:pt x="-19354" y="553408"/>
                    <a:pt x="53037" y="675328"/>
                  </a:cubicBezTo>
                  <a:cubicBezTo>
                    <a:pt x="87327" y="736288"/>
                    <a:pt x="167337" y="762958"/>
                    <a:pt x="281637" y="755338"/>
                  </a:cubicBezTo>
                  <a:cubicBezTo>
                    <a:pt x="399747" y="747718"/>
                    <a:pt x="536908" y="701998"/>
                    <a:pt x="666448" y="625798"/>
                  </a:cubicBezTo>
                  <a:cubicBezTo>
                    <a:pt x="795988" y="549598"/>
                    <a:pt x="906478" y="454349"/>
                    <a:pt x="971249" y="355289"/>
                  </a:cubicBezTo>
                  <a:cubicBezTo>
                    <a:pt x="1032209" y="260039"/>
                    <a:pt x="1051259" y="176219"/>
                    <a:pt x="1016969" y="115259"/>
                  </a:cubicBezTo>
                  <a:cubicBezTo>
                    <a:pt x="982679" y="54299"/>
                    <a:pt x="902668" y="27629"/>
                    <a:pt x="788368" y="35249"/>
                  </a:cubicBezTo>
                  <a:cubicBezTo>
                    <a:pt x="666448" y="46679"/>
                    <a:pt x="529288" y="92399"/>
                    <a:pt x="399747" y="168599"/>
                  </a:cubicBezTo>
                  <a:lnTo>
                    <a:pt x="399747" y="168599"/>
                  </a:lnTo>
                  <a:close/>
                </a:path>
              </a:pathLst>
            </a:custGeom>
            <a:grpFill/>
            <a:ln w="38100" cap="flat">
              <a:noFill/>
              <a:prstDash val="solid"/>
              <a:miter/>
            </a:ln>
          </p:spPr>
          <p:txBody>
            <a:bodyPr rtlCol="0" anchor="ctr"/>
            <a:lstStyle/>
            <a:p>
              <a:endParaRPr lang="en-IN" dirty="0"/>
            </a:p>
          </p:txBody>
        </p:sp>
        <p:sp>
          <p:nvSpPr>
            <p:cNvPr id="98" name="Freeform: Shape 97">
              <a:extLst>
                <a:ext uri="{FF2B5EF4-FFF2-40B4-BE49-F238E27FC236}">
                  <a16:creationId xmlns:a16="http://schemas.microsoft.com/office/drawing/2014/main" id="{4ADAD8D5-B190-4194-BE2F-019D1537FFA7}"/>
                </a:ext>
              </a:extLst>
            </p:cNvPr>
            <p:cNvSpPr/>
            <p:nvPr/>
          </p:nvSpPr>
          <p:spPr>
            <a:xfrm>
              <a:off x="4736130" y="-1803088"/>
              <a:ext cx="1070499" cy="797247"/>
            </a:xfrm>
            <a:custGeom>
              <a:avLst/>
              <a:gdLst>
                <a:gd name="connsiteX0" fmla="*/ 818848 w 1070499"/>
                <a:gd name="connsiteY0" fmla="*/ 797248 h 797247"/>
                <a:gd name="connsiteX1" fmla="*/ 784558 w 1070499"/>
                <a:gd name="connsiteY1" fmla="*/ 797248 h 797247"/>
                <a:gd name="connsiteX2" fmla="*/ 384507 w 1070499"/>
                <a:gd name="connsiteY2" fmla="*/ 663898 h 797247"/>
                <a:gd name="connsiteX3" fmla="*/ 22557 w 1070499"/>
                <a:gd name="connsiteY3" fmla="*/ 103829 h 797247"/>
                <a:gd name="connsiteX4" fmla="*/ 285447 w 1070499"/>
                <a:gd name="connsiteY4" fmla="*/ 959 h 797247"/>
                <a:gd name="connsiteX5" fmla="*/ 685498 w 1070499"/>
                <a:gd name="connsiteY5" fmla="*/ 134309 h 797247"/>
                <a:gd name="connsiteX6" fmla="*/ 1001729 w 1070499"/>
                <a:gd name="connsiteY6" fmla="*/ 416249 h 797247"/>
                <a:gd name="connsiteX7" fmla="*/ 1047449 w 1070499"/>
                <a:gd name="connsiteY7" fmla="*/ 694378 h 797247"/>
                <a:gd name="connsiteX8" fmla="*/ 818848 w 1070499"/>
                <a:gd name="connsiteY8" fmla="*/ 797248 h 797247"/>
                <a:gd name="connsiteX9" fmla="*/ 251157 w 1070499"/>
                <a:gd name="connsiteY9" fmla="*/ 39059 h 797247"/>
                <a:gd name="connsiteX10" fmla="*/ 53037 w 1070499"/>
                <a:gd name="connsiteY10" fmla="*/ 122879 h 797247"/>
                <a:gd name="connsiteX11" fmla="*/ 399747 w 1070499"/>
                <a:gd name="connsiteY11" fmla="*/ 629608 h 797247"/>
                <a:gd name="connsiteX12" fmla="*/ 784558 w 1070499"/>
                <a:gd name="connsiteY12" fmla="*/ 759148 h 797247"/>
                <a:gd name="connsiteX13" fmla="*/ 1013159 w 1070499"/>
                <a:gd name="connsiteY13" fmla="*/ 679138 h 797247"/>
                <a:gd name="connsiteX14" fmla="*/ 967438 w 1070499"/>
                <a:gd name="connsiteY14" fmla="*/ 439109 h 797247"/>
                <a:gd name="connsiteX15" fmla="*/ 662638 w 1070499"/>
                <a:gd name="connsiteY15" fmla="*/ 168599 h 797247"/>
                <a:gd name="connsiteX16" fmla="*/ 277827 w 1070499"/>
                <a:gd name="connsiteY16" fmla="*/ 39059 h 797247"/>
                <a:gd name="connsiteX17" fmla="*/ 251157 w 1070499"/>
                <a:gd name="connsiteY17" fmla="*/ 39059 h 79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0499" h="797247">
                  <a:moveTo>
                    <a:pt x="818848" y="797248"/>
                  </a:moveTo>
                  <a:cubicBezTo>
                    <a:pt x="807418" y="797248"/>
                    <a:pt x="795988" y="797248"/>
                    <a:pt x="784558" y="797248"/>
                  </a:cubicBezTo>
                  <a:cubicBezTo>
                    <a:pt x="662638" y="789628"/>
                    <a:pt x="517858" y="743908"/>
                    <a:pt x="384507" y="663898"/>
                  </a:cubicBezTo>
                  <a:cubicBezTo>
                    <a:pt x="94947" y="496258"/>
                    <a:pt x="-61264" y="252419"/>
                    <a:pt x="22557" y="103829"/>
                  </a:cubicBezTo>
                  <a:cubicBezTo>
                    <a:pt x="60657" y="31439"/>
                    <a:pt x="155907" y="-6661"/>
                    <a:pt x="285447" y="959"/>
                  </a:cubicBezTo>
                  <a:cubicBezTo>
                    <a:pt x="407367" y="8579"/>
                    <a:pt x="552148" y="54299"/>
                    <a:pt x="685498" y="134309"/>
                  </a:cubicBezTo>
                  <a:cubicBezTo>
                    <a:pt x="822658" y="214319"/>
                    <a:pt x="933149" y="313379"/>
                    <a:pt x="1001729" y="416249"/>
                  </a:cubicBezTo>
                  <a:cubicBezTo>
                    <a:pt x="1074119" y="522928"/>
                    <a:pt x="1089359" y="621988"/>
                    <a:pt x="1047449" y="694378"/>
                  </a:cubicBezTo>
                  <a:cubicBezTo>
                    <a:pt x="1009349" y="762958"/>
                    <a:pt x="929338" y="797248"/>
                    <a:pt x="818848" y="797248"/>
                  </a:cubicBezTo>
                  <a:close/>
                  <a:moveTo>
                    <a:pt x="251157" y="39059"/>
                  </a:moveTo>
                  <a:cubicBezTo>
                    <a:pt x="155907" y="39059"/>
                    <a:pt x="87327" y="69539"/>
                    <a:pt x="53037" y="122879"/>
                  </a:cubicBezTo>
                  <a:cubicBezTo>
                    <a:pt x="-19354" y="248609"/>
                    <a:pt x="140667" y="481018"/>
                    <a:pt x="399747" y="629608"/>
                  </a:cubicBezTo>
                  <a:cubicBezTo>
                    <a:pt x="529288" y="705808"/>
                    <a:pt x="666448" y="751528"/>
                    <a:pt x="784558" y="759148"/>
                  </a:cubicBezTo>
                  <a:cubicBezTo>
                    <a:pt x="898858" y="766768"/>
                    <a:pt x="978869" y="736288"/>
                    <a:pt x="1013159" y="679138"/>
                  </a:cubicBezTo>
                  <a:cubicBezTo>
                    <a:pt x="1047449" y="618178"/>
                    <a:pt x="1032209" y="534358"/>
                    <a:pt x="967438" y="439109"/>
                  </a:cubicBezTo>
                  <a:cubicBezTo>
                    <a:pt x="902668" y="340049"/>
                    <a:pt x="795988" y="244799"/>
                    <a:pt x="662638" y="168599"/>
                  </a:cubicBezTo>
                  <a:cubicBezTo>
                    <a:pt x="529288" y="92399"/>
                    <a:pt x="395937" y="46679"/>
                    <a:pt x="277827" y="39059"/>
                  </a:cubicBezTo>
                  <a:cubicBezTo>
                    <a:pt x="270207" y="39059"/>
                    <a:pt x="258777" y="39059"/>
                    <a:pt x="251157" y="39059"/>
                  </a:cubicBezTo>
                  <a:close/>
                </a:path>
              </a:pathLst>
            </a:custGeom>
            <a:grpFill/>
            <a:ln w="38100" cap="flat">
              <a:noFill/>
              <a:prstDash val="solid"/>
              <a:miter/>
            </a:ln>
          </p:spPr>
          <p:txBody>
            <a:bodyPr rtlCol="0" anchor="ctr"/>
            <a:lstStyle/>
            <a:p>
              <a:endParaRPr lang="en-IN" dirty="0"/>
            </a:p>
          </p:txBody>
        </p:sp>
        <p:sp>
          <p:nvSpPr>
            <p:cNvPr id="99" name="Freeform: Shape 98">
              <a:extLst>
                <a:ext uri="{FF2B5EF4-FFF2-40B4-BE49-F238E27FC236}">
                  <a16:creationId xmlns:a16="http://schemas.microsoft.com/office/drawing/2014/main" id="{C6CDD360-CB8D-4201-8130-56ED737A9CD2}"/>
                </a:ext>
              </a:extLst>
            </p:cNvPr>
            <p:cNvSpPr/>
            <p:nvPr/>
          </p:nvSpPr>
          <p:spPr>
            <a:xfrm>
              <a:off x="4777737" y="-1463039"/>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7" y="0"/>
                    <a:pt x="121920" y="27293"/>
                    <a:pt x="121920" y="60960"/>
                  </a:cubicBezTo>
                  <a:close/>
                </a:path>
              </a:pathLst>
            </a:custGeom>
            <a:grpFill/>
            <a:ln w="38100" cap="flat">
              <a:noFill/>
              <a:prstDash val="solid"/>
              <a:miter/>
            </a:ln>
          </p:spPr>
          <p:txBody>
            <a:bodyPr rtlCol="0" anchor="ctr"/>
            <a:lstStyle/>
            <a:p>
              <a:endParaRPr lang="en-IN" dirty="0"/>
            </a:p>
          </p:txBody>
        </p:sp>
        <p:sp>
          <p:nvSpPr>
            <p:cNvPr id="100" name="Freeform: Shape 99">
              <a:extLst>
                <a:ext uri="{FF2B5EF4-FFF2-40B4-BE49-F238E27FC236}">
                  <a16:creationId xmlns:a16="http://schemas.microsoft.com/office/drawing/2014/main" id="{985BAC81-2AB7-47C2-B990-E21350052E02}"/>
                </a:ext>
              </a:extLst>
            </p:cNvPr>
            <p:cNvSpPr/>
            <p:nvPr/>
          </p:nvSpPr>
          <p:spPr>
            <a:xfrm>
              <a:off x="5208268" y="-1146810"/>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8" y="0"/>
                    <a:pt x="121920" y="27293"/>
                    <a:pt x="121920" y="60960"/>
                  </a:cubicBezTo>
                  <a:close/>
                </a:path>
              </a:pathLst>
            </a:custGeom>
            <a:grpFill/>
            <a:ln w="38100" cap="flat">
              <a:noFill/>
              <a:prstDash val="solid"/>
              <a:miter/>
            </a:ln>
          </p:spPr>
          <p:txBody>
            <a:bodyPr rtlCol="0" anchor="ctr"/>
            <a:lstStyle/>
            <a:p>
              <a:endParaRPr lang="en-IN" dirty="0"/>
            </a:p>
          </p:txBody>
        </p:sp>
        <p:sp>
          <p:nvSpPr>
            <p:cNvPr id="101" name="Freeform: Shape 100">
              <a:extLst>
                <a:ext uri="{FF2B5EF4-FFF2-40B4-BE49-F238E27FC236}">
                  <a16:creationId xmlns:a16="http://schemas.microsoft.com/office/drawing/2014/main" id="{4D295E4F-70EB-45F7-9F6B-96E1D90BC665}"/>
                </a:ext>
              </a:extLst>
            </p:cNvPr>
            <p:cNvSpPr/>
            <p:nvPr/>
          </p:nvSpPr>
          <p:spPr>
            <a:xfrm>
              <a:off x="5208268" y="-2038349"/>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8" y="0"/>
                    <a:pt x="121920" y="27293"/>
                    <a:pt x="121920" y="60960"/>
                  </a:cubicBezTo>
                  <a:close/>
                </a:path>
              </a:pathLst>
            </a:custGeom>
            <a:grpFill/>
            <a:ln w="38100" cap="flat">
              <a:noFill/>
              <a:prstDash val="solid"/>
              <a:miter/>
            </a:ln>
          </p:spPr>
          <p:txBody>
            <a:bodyPr rtlCol="0" anchor="ctr"/>
            <a:lstStyle/>
            <a:p>
              <a:endParaRPr lang="en-IN" dirty="0"/>
            </a:p>
          </p:txBody>
        </p:sp>
      </p:grpSp>
    </p:spTree>
    <p:extLst>
      <p:ext uri="{BB962C8B-B14F-4D97-AF65-F5344CB8AC3E}">
        <p14:creationId xmlns:p14="http://schemas.microsoft.com/office/powerpoint/2010/main" val="34172622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1">
            <a:extLst>
              <a:ext uri="{FF2B5EF4-FFF2-40B4-BE49-F238E27FC236}">
                <a16:creationId xmlns:a16="http://schemas.microsoft.com/office/drawing/2014/main" id="{959C202F-09CA-4265-B055-DE0C73DD1025}"/>
              </a:ext>
            </a:extLst>
          </p:cNvPr>
          <p:cNvSpPr txBox="1">
            <a:spLocks/>
          </p:cNvSpPr>
          <p:nvPr/>
        </p:nvSpPr>
        <p:spPr>
          <a:xfrm>
            <a:off x="533400" y="257819"/>
            <a:ext cx="11125200" cy="897490"/>
          </a:xfrm>
          <a:prstGeom prst="rect">
            <a:avLst/>
          </a:prstGeom>
        </p:spPr>
        <p:txBody>
          <a:bodyPr vert="horz" lIns="91440" tIns="45720" rIns="91440" bIns="45720" rtlCol="0" anchor="ctr">
            <a:noAutofit/>
          </a:bodyPr>
          <a:lstStyle>
            <a:lvl1pPr algn="l" defTabSz="912261" rtl="0" eaLnBrk="1" fontAlgn="base" hangingPunct="1">
              <a:lnSpc>
                <a:spcPct val="80000"/>
              </a:lnSpc>
              <a:spcBef>
                <a:spcPct val="0"/>
              </a:spcBef>
              <a:spcAft>
                <a:spcPct val="0"/>
              </a:spcAft>
              <a:defRPr lang="en-US" sz="3733" kern="1200" dirty="0">
                <a:solidFill>
                  <a:srgbClr val="676767"/>
                </a:solidFill>
                <a:latin typeface="+mj-lt"/>
                <a:ea typeface="ＭＳ Ｐゴシック" charset="0"/>
                <a:cs typeface="CiscoSansTT Light" panose="020B0503020201020303" pitchFamily="34"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defTabSz="912239"/>
            <a:endParaRPr lang="en-US" sz="3600" dirty="0">
              <a:solidFill>
                <a:srgbClr val="1E4471"/>
              </a:solidFill>
            </a:endParaRPr>
          </a:p>
        </p:txBody>
      </p:sp>
      <p:sp>
        <p:nvSpPr>
          <p:cNvPr id="3" name="Footer Placeholder 2">
            <a:extLst>
              <a:ext uri="{FF2B5EF4-FFF2-40B4-BE49-F238E27FC236}">
                <a16:creationId xmlns:a16="http://schemas.microsoft.com/office/drawing/2014/main" id="{5E6CC201-979E-464E-B60A-CD0FF09B0518}"/>
              </a:ext>
            </a:extLst>
          </p:cNvPr>
          <p:cNvSpPr>
            <a:spLocks noGrp="1"/>
          </p:cNvSpPr>
          <p:nvPr>
            <p:ph type="ftr" sz="quarter" idx="10"/>
          </p:nvPr>
        </p:nvSpPr>
        <p:spPr/>
        <p:txBody>
          <a:bodyPr/>
          <a:lstStyle/>
          <a:p>
            <a:r>
              <a:rPr lang="en-US" dirty="0"/>
              <a:t>© 2020 Cisco and/or its affiliates. All rights reserved. Cisco Confidential</a:t>
            </a:r>
          </a:p>
        </p:txBody>
      </p:sp>
      <p:sp>
        <p:nvSpPr>
          <p:cNvPr id="7" name="Title 6">
            <a:extLst>
              <a:ext uri="{FF2B5EF4-FFF2-40B4-BE49-F238E27FC236}">
                <a16:creationId xmlns:a16="http://schemas.microsoft.com/office/drawing/2014/main" id="{D233C7A7-D637-4D34-8F1F-40E30C9E9EB5}"/>
              </a:ext>
            </a:extLst>
          </p:cNvPr>
          <p:cNvSpPr>
            <a:spLocks noGrp="1"/>
          </p:cNvSpPr>
          <p:nvPr>
            <p:ph type="title"/>
          </p:nvPr>
        </p:nvSpPr>
        <p:spPr>
          <a:xfrm>
            <a:off x="533400" y="481807"/>
            <a:ext cx="11127317" cy="787908"/>
          </a:xfrm>
        </p:spPr>
        <p:txBody>
          <a:bodyPr/>
          <a:lstStyle/>
          <a:p>
            <a:r>
              <a:rPr lang="en-US" sz="3200" dirty="0"/>
              <a:t>Get more benefits than a traditional VPN to secure your remote workers</a:t>
            </a:r>
          </a:p>
        </p:txBody>
      </p:sp>
      <p:sp>
        <p:nvSpPr>
          <p:cNvPr id="134" name="Freeform: Shape 133">
            <a:extLst>
              <a:ext uri="{FF2B5EF4-FFF2-40B4-BE49-F238E27FC236}">
                <a16:creationId xmlns:a16="http://schemas.microsoft.com/office/drawing/2014/main" id="{5968C37D-1C46-4BA5-A049-DF7BDFFE0B52}"/>
              </a:ext>
            </a:extLst>
          </p:cNvPr>
          <p:cNvSpPr>
            <a:spLocks/>
          </p:cNvSpPr>
          <p:nvPr/>
        </p:nvSpPr>
        <p:spPr bwMode="auto">
          <a:xfrm>
            <a:off x="4205947" y="3224865"/>
            <a:ext cx="2427123" cy="2462464"/>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4">
              <a:alpha val="24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35" name="Chord 134">
            <a:extLst>
              <a:ext uri="{FF2B5EF4-FFF2-40B4-BE49-F238E27FC236}">
                <a16:creationId xmlns:a16="http://schemas.microsoft.com/office/drawing/2014/main" id="{D295BCFA-BCCC-4F64-A0A5-D6DC86C36A77}"/>
              </a:ext>
            </a:extLst>
          </p:cNvPr>
          <p:cNvSpPr/>
          <p:nvPr/>
        </p:nvSpPr>
        <p:spPr>
          <a:xfrm rot="6742612">
            <a:off x="4393974" y="3509755"/>
            <a:ext cx="3459186" cy="3459186"/>
          </a:xfrm>
          <a:prstGeom prst="chord">
            <a:avLst>
              <a:gd name="adj1" fmla="val 2369025"/>
              <a:gd name="adj2" fmla="val 1658121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6" name="Picture 135" descr="A person sitting in front of a computer&#10;&#10;Description automatically generated">
            <a:extLst>
              <a:ext uri="{FF2B5EF4-FFF2-40B4-BE49-F238E27FC236}">
                <a16:creationId xmlns:a16="http://schemas.microsoft.com/office/drawing/2014/main" id="{AB8D889F-8ABA-47B6-A543-2FAD8F1AAA38}"/>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4070733" y="3566617"/>
            <a:ext cx="3856968" cy="2473228"/>
          </a:xfrm>
          <a:prstGeom prst="rect">
            <a:avLst/>
          </a:prstGeom>
        </p:spPr>
      </p:pic>
      <p:sp>
        <p:nvSpPr>
          <p:cNvPr id="137" name="Arc 136">
            <a:extLst>
              <a:ext uri="{FF2B5EF4-FFF2-40B4-BE49-F238E27FC236}">
                <a16:creationId xmlns:a16="http://schemas.microsoft.com/office/drawing/2014/main" id="{F8DF4126-11BA-4A77-85C2-0956B0C7DBD8}"/>
              </a:ext>
            </a:extLst>
          </p:cNvPr>
          <p:cNvSpPr/>
          <p:nvPr/>
        </p:nvSpPr>
        <p:spPr>
          <a:xfrm>
            <a:off x="3286302" y="2207191"/>
            <a:ext cx="5619398" cy="5619396"/>
          </a:xfrm>
          <a:prstGeom prst="arc">
            <a:avLst>
              <a:gd name="adj1" fmla="val 9412057"/>
              <a:gd name="adj2" fmla="val 1354393"/>
            </a:avLst>
          </a:prstGeom>
          <a:noFill/>
          <a:ln>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8" name="Freeform 204">
            <a:extLst>
              <a:ext uri="{FF2B5EF4-FFF2-40B4-BE49-F238E27FC236}">
                <a16:creationId xmlns:a16="http://schemas.microsoft.com/office/drawing/2014/main" id="{32591CEA-5DA6-4DED-B41F-F0EC854C9DD5}"/>
              </a:ext>
            </a:extLst>
          </p:cNvPr>
          <p:cNvSpPr>
            <a:spLocks noEditPoints="1"/>
          </p:cNvSpPr>
          <p:nvPr/>
        </p:nvSpPr>
        <p:spPr bwMode="auto">
          <a:xfrm rot="1485494">
            <a:off x="7421143" y="4147080"/>
            <a:ext cx="454529" cy="537627"/>
          </a:xfrm>
          <a:custGeom>
            <a:avLst/>
            <a:gdLst>
              <a:gd name="T0" fmla="*/ 21 w 266"/>
              <a:gd name="T1" fmla="*/ 311 h 311"/>
              <a:gd name="T2" fmla="*/ 11 w 266"/>
              <a:gd name="T3" fmla="*/ 308 h 311"/>
              <a:gd name="T4" fmla="*/ 0 w 266"/>
              <a:gd name="T5" fmla="*/ 289 h 311"/>
              <a:gd name="T6" fmla="*/ 0 w 266"/>
              <a:gd name="T7" fmla="*/ 23 h 311"/>
              <a:gd name="T8" fmla="*/ 11 w 266"/>
              <a:gd name="T9" fmla="*/ 4 h 311"/>
              <a:gd name="T10" fmla="*/ 32 w 266"/>
              <a:gd name="T11" fmla="*/ 4 h 311"/>
              <a:gd name="T12" fmla="*/ 256 w 266"/>
              <a:gd name="T13" fmla="*/ 138 h 311"/>
              <a:gd name="T14" fmla="*/ 266 w 266"/>
              <a:gd name="T15" fmla="*/ 156 h 311"/>
              <a:gd name="T16" fmla="*/ 256 w 266"/>
              <a:gd name="T17" fmla="*/ 174 h 311"/>
              <a:gd name="T18" fmla="*/ 32 w 266"/>
              <a:gd name="T19" fmla="*/ 308 h 311"/>
              <a:gd name="T20" fmla="*/ 21 w 266"/>
              <a:gd name="T21" fmla="*/ 311 h 311"/>
              <a:gd name="T22" fmla="*/ 21 w 266"/>
              <a:gd name="T23" fmla="*/ 13 h 311"/>
              <a:gd name="T24" fmla="*/ 17 w 266"/>
              <a:gd name="T25" fmla="*/ 14 h 311"/>
              <a:gd name="T26" fmla="*/ 12 w 266"/>
              <a:gd name="T27" fmla="*/ 23 h 311"/>
              <a:gd name="T28" fmla="*/ 12 w 266"/>
              <a:gd name="T29" fmla="*/ 289 h 311"/>
              <a:gd name="T30" fmla="*/ 17 w 266"/>
              <a:gd name="T31" fmla="*/ 298 h 311"/>
              <a:gd name="T32" fmla="*/ 26 w 266"/>
              <a:gd name="T33" fmla="*/ 297 h 311"/>
              <a:gd name="T34" fmla="*/ 250 w 266"/>
              <a:gd name="T35" fmla="*/ 164 h 311"/>
              <a:gd name="T36" fmla="*/ 254 w 266"/>
              <a:gd name="T37" fmla="*/ 156 h 311"/>
              <a:gd name="T38" fmla="*/ 250 w 266"/>
              <a:gd name="T39" fmla="*/ 148 h 311"/>
              <a:gd name="T40" fmla="*/ 250 w 266"/>
              <a:gd name="T41" fmla="*/ 148 h 311"/>
              <a:gd name="T42" fmla="*/ 26 w 266"/>
              <a:gd name="T43" fmla="*/ 15 h 311"/>
              <a:gd name="T44" fmla="*/ 21 w 266"/>
              <a:gd name="T45" fmla="*/ 13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311">
                <a:moveTo>
                  <a:pt x="21" y="311"/>
                </a:moveTo>
                <a:cubicBezTo>
                  <a:pt x="18" y="311"/>
                  <a:pt x="14" y="310"/>
                  <a:pt x="11" y="308"/>
                </a:cubicBezTo>
                <a:cubicBezTo>
                  <a:pt x="4" y="304"/>
                  <a:pt x="0" y="297"/>
                  <a:pt x="0" y="289"/>
                </a:cubicBezTo>
                <a:cubicBezTo>
                  <a:pt x="0" y="23"/>
                  <a:pt x="0" y="23"/>
                  <a:pt x="0" y="23"/>
                </a:cubicBezTo>
                <a:cubicBezTo>
                  <a:pt x="0" y="15"/>
                  <a:pt x="4" y="8"/>
                  <a:pt x="11" y="4"/>
                </a:cubicBezTo>
                <a:cubicBezTo>
                  <a:pt x="17" y="0"/>
                  <a:pt x="25" y="0"/>
                  <a:pt x="32" y="4"/>
                </a:cubicBezTo>
                <a:cubicBezTo>
                  <a:pt x="256" y="138"/>
                  <a:pt x="256" y="138"/>
                  <a:pt x="256" y="138"/>
                </a:cubicBezTo>
                <a:cubicBezTo>
                  <a:pt x="262" y="142"/>
                  <a:pt x="266" y="148"/>
                  <a:pt x="266" y="156"/>
                </a:cubicBezTo>
                <a:cubicBezTo>
                  <a:pt x="266" y="164"/>
                  <a:pt x="262" y="170"/>
                  <a:pt x="256" y="174"/>
                </a:cubicBezTo>
                <a:cubicBezTo>
                  <a:pt x="32" y="308"/>
                  <a:pt x="32" y="308"/>
                  <a:pt x="32" y="308"/>
                </a:cubicBezTo>
                <a:cubicBezTo>
                  <a:pt x="29" y="310"/>
                  <a:pt x="25" y="311"/>
                  <a:pt x="21" y="311"/>
                </a:cubicBezTo>
                <a:close/>
                <a:moveTo>
                  <a:pt x="21" y="13"/>
                </a:moveTo>
                <a:cubicBezTo>
                  <a:pt x="20" y="13"/>
                  <a:pt x="18" y="14"/>
                  <a:pt x="17" y="14"/>
                </a:cubicBezTo>
                <a:cubicBezTo>
                  <a:pt x="14" y="16"/>
                  <a:pt x="12" y="19"/>
                  <a:pt x="12" y="23"/>
                </a:cubicBezTo>
                <a:cubicBezTo>
                  <a:pt x="12" y="289"/>
                  <a:pt x="12" y="289"/>
                  <a:pt x="12" y="289"/>
                </a:cubicBezTo>
                <a:cubicBezTo>
                  <a:pt x="12" y="293"/>
                  <a:pt x="14" y="296"/>
                  <a:pt x="17" y="298"/>
                </a:cubicBezTo>
                <a:cubicBezTo>
                  <a:pt x="20" y="299"/>
                  <a:pt x="23" y="299"/>
                  <a:pt x="26" y="297"/>
                </a:cubicBezTo>
                <a:cubicBezTo>
                  <a:pt x="250" y="164"/>
                  <a:pt x="250" y="164"/>
                  <a:pt x="250" y="164"/>
                </a:cubicBezTo>
                <a:cubicBezTo>
                  <a:pt x="252" y="162"/>
                  <a:pt x="254" y="159"/>
                  <a:pt x="254" y="156"/>
                </a:cubicBezTo>
                <a:cubicBezTo>
                  <a:pt x="254" y="153"/>
                  <a:pt x="252" y="150"/>
                  <a:pt x="250" y="148"/>
                </a:cubicBezTo>
                <a:cubicBezTo>
                  <a:pt x="250" y="148"/>
                  <a:pt x="250" y="148"/>
                  <a:pt x="250" y="148"/>
                </a:cubicBezTo>
                <a:cubicBezTo>
                  <a:pt x="26" y="15"/>
                  <a:pt x="26" y="15"/>
                  <a:pt x="26" y="15"/>
                </a:cubicBezTo>
                <a:cubicBezTo>
                  <a:pt x="25" y="14"/>
                  <a:pt x="23" y="13"/>
                  <a:pt x="21" y="1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139" name="Group 138">
            <a:extLst>
              <a:ext uri="{FF2B5EF4-FFF2-40B4-BE49-F238E27FC236}">
                <a16:creationId xmlns:a16="http://schemas.microsoft.com/office/drawing/2014/main" id="{9E32BD6C-F310-41E7-B6C6-23C0A6F25CE2}"/>
              </a:ext>
            </a:extLst>
          </p:cNvPr>
          <p:cNvGrpSpPr/>
          <p:nvPr/>
        </p:nvGrpSpPr>
        <p:grpSpPr>
          <a:xfrm>
            <a:off x="4968353" y="4053781"/>
            <a:ext cx="806028" cy="330327"/>
            <a:chOff x="5391086" y="2896030"/>
            <a:chExt cx="744709" cy="305197"/>
          </a:xfrm>
        </p:grpSpPr>
        <p:sp>
          <p:nvSpPr>
            <p:cNvPr id="140" name="Oval 139">
              <a:extLst>
                <a:ext uri="{FF2B5EF4-FFF2-40B4-BE49-F238E27FC236}">
                  <a16:creationId xmlns:a16="http://schemas.microsoft.com/office/drawing/2014/main" id="{67C7A2A7-D1E6-4A98-937C-EBCB13E7BC18}"/>
                </a:ext>
              </a:extLst>
            </p:cNvPr>
            <p:cNvSpPr/>
            <p:nvPr/>
          </p:nvSpPr>
          <p:spPr>
            <a:xfrm>
              <a:off x="5391086" y="2896030"/>
              <a:ext cx="301900" cy="305197"/>
            </a:xfrm>
            <a:prstGeom prst="ellipse">
              <a:avLst/>
            </a:prstGeom>
            <a:solidFill>
              <a:schemeClr val="tx2"/>
            </a:solidFill>
            <a:ln w="25400" cap="flat" cmpd="sng" algn="ctr">
              <a:noFill/>
              <a:prstDash val="solid"/>
            </a:ln>
            <a:effectLst/>
          </p:spPr>
          <p:txBody>
            <a:bodyPr rtlCol="0" anchor="ctr">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141" name="Oval 140">
              <a:extLst>
                <a:ext uri="{FF2B5EF4-FFF2-40B4-BE49-F238E27FC236}">
                  <a16:creationId xmlns:a16="http://schemas.microsoft.com/office/drawing/2014/main" id="{5331A9FA-D2DF-4D02-A5C1-14CB84A009C8}"/>
                </a:ext>
              </a:extLst>
            </p:cNvPr>
            <p:cNvSpPr/>
            <p:nvPr/>
          </p:nvSpPr>
          <p:spPr>
            <a:xfrm>
              <a:off x="6066636" y="3013671"/>
              <a:ext cx="69159" cy="69914"/>
            </a:xfrm>
            <a:prstGeom prst="ellipse">
              <a:avLst/>
            </a:prstGeom>
            <a:solidFill>
              <a:schemeClr val="tx2"/>
            </a:solidFill>
            <a:ln w="25400" cap="flat" cmpd="sng" algn="ctr">
              <a:noFill/>
              <a:prstDash val="solid"/>
            </a:ln>
            <a:effectLst/>
          </p:spPr>
          <p:txBody>
            <a:bodyPr rtlCol="0" anchor="ctr">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142" name="Oval 141">
              <a:extLst>
                <a:ext uri="{FF2B5EF4-FFF2-40B4-BE49-F238E27FC236}">
                  <a16:creationId xmlns:a16="http://schemas.microsoft.com/office/drawing/2014/main" id="{9A5A9BF2-AB7E-4A8B-935A-A90DED8694AD}"/>
                </a:ext>
              </a:extLst>
            </p:cNvPr>
            <p:cNvSpPr/>
            <p:nvPr/>
          </p:nvSpPr>
          <p:spPr>
            <a:xfrm>
              <a:off x="5815036" y="2983156"/>
              <a:ext cx="129541" cy="130955"/>
            </a:xfrm>
            <a:prstGeom prst="ellipse">
              <a:avLst/>
            </a:prstGeom>
            <a:solidFill>
              <a:schemeClr val="tx2"/>
            </a:solidFill>
            <a:ln w="25400" cap="flat" cmpd="sng" algn="ctr">
              <a:noFill/>
              <a:prstDash val="solid"/>
            </a:ln>
            <a:effectLst/>
          </p:spPr>
          <p:txBody>
            <a:bodyPr rtlCol="0" anchor="ctr">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grpSp>
      <p:sp>
        <p:nvSpPr>
          <p:cNvPr id="143" name="Oval 142">
            <a:extLst>
              <a:ext uri="{FF2B5EF4-FFF2-40B4-BE49-F238E27FC236}">
                <a16:creationId xmlns:a16="http://schemas.microsoft.com/office/drawing/2014/main" id="{F909A6BB-E47F-4033-A337-DECCD587DBEF}"/>
              </a:ext>
            </a:extLst>
          </p:cNvPr>
          <p:cNvSpPr/>
          <p:nvPr/>
        </p:nvSpPr>
        <p:spPr>
          <a:xfrm>
            <a:off x="4641332" y="1995861"/>
            <a:ext cx="707136" cy="707136"/>
          </a:xfrm>
          <a:prstGeom prst="ellipse">
            <a:avLst/>
          </a:prstGeom>
          <a:solidFill>
            <a:schemeClr val="bg2"/>
          </a:solid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400" dirty="0"/>
          </a:p>
        </p:txBody>
      </p:sp>
      <p:sp>
        <p:nvSpPr>
          <p:cNvPr id="147" name="Oval 146">
            <a:extLst>
              <a:ext uri="{FF2B5EF4-FFF2-40B4-BE49-F238E27FC236}">
                <a16:creationId xmlns:a16="http://schemas.microsoft.com/office/drawing/2014/main" id="{2327DB60-CC49-45AF-A667-332C012BCDFD}"/>
              </a:ext>
            </a:extLst>
          </p:cNvPr>
          <p:cNvSpPr/>
          <p:nvPr/>
        </p:nvSpPr>
        <p:spPr>
          <a:xfrm>
            <a:off x="3474256" y="2985765"/>
            <a:ext cx="707136" cy="707136"/>
          </a:xfrm>
          <a:prstGeom prst="ellipse">
            <a:avLst/>
          </a:prstGeom>
          <a:solidFill>
            <a:schemeClr val="bg2"/>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400" dirty="0"/>
          </a:p>
        </p:txBody>
      </p:sp>
      <p:sp>
        <p:nvSpPr>
          <p:cNvPr id="148" name="Oval 147">
            <a:extLst>
              <a:ext uri="{FF2B5EF4-FFF2-40B4-BE49-F238E27FC236}">
                <a16:creationId xmlns:a16="http://schemas.microsoft.com/office/drawing/2014/main" id="{DDDB8408-2537-4B03-9979-ECB950E90190}"/>
              </a:ext>
            </a:extLst>
          </p:cNvPr>
          <p:cNvSpPr/>
          <p:nvPr/>
        </p:nvSpPr>
        <p:spPr>
          <a:xfrm>
            <a:off x="2978236" y="4482732"/>
            <a:ext cx="707136" cy="707136"/>
          </a:xfrm>
          <a:prstGeom prst="ellipse">
            <a:avLst/>
          </a:prstGeom>
          <a:solidFill>
            <a:schemeClr val="bg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400" dirty="0"/>
          </a:p>
        </p:txBody>
      </p:sp>
      <p:sp>
        <p:nvSpPr>
          <p:cNvPr id="149" name="Oval 148">
            <a:extLst>
              <a:ext uri="{FF2B5EF4-FFF2-40B4-BE49-F238E27FC236}">
                <a16:creationId xmlns:a16="http://schemas.microsoft.com/office/drawing/2014/main" id="{5019AED4-3EF6-4FF3-AF67-9479775D0D07}"/>
              </a:ext>
            </a:extLst>
          </p:cNvPr>
          <p:cNvSpPr/>
          <p:nvPr/>
        </p:nvSpPr>
        <p:spPr>
          <a:xfrm>
            <a:off x="8535939" y="4482732"/>
            <a:ext cx="707136" cy="707136"/>
          </a:xfrm>
          <a:prstGeom prst="ellipse">
            <a:avLst/>
          </a:prstGeom>
          <a:solidFill>
            <a:schemeClr val="bg2"/>
          </a:solidFill>
          <a:ln w="12700">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400" dirty="0"/>
          </a:p>
        </p:txBody>
      </p:sp>
      <p:sp>
        <p:nvSpPr>
          <p:cNvPr id="151" name="Oval 150">
            <a:extLst>
              <a:ext uri="{FF2B5EF4-FFF2-40B4-BE49-F238E27FC236}">
                <a16:creationId xmlns:a16="http://schemas.microsoft.com/office/drawing/2014/main" id="{83CCECC1-2A61-4557-8B40-FE7E9DC8B6EE}"/>
              </a:ext>
            </a:extLst>
          </p:cNvPr>
          <p:cNvSpPr/>
          <p:nvPr/>
        </p:nvSpPr>
        <p:spPr>
          <a:xfrm>
            <a:off x="8045330" y="2985765"/>
            <a:ext cx="707136" cy="707136"/>
          </a:xfrm>
          <a:prstGeom prst="ellipse">
            <a:avLst/>
          </a:prstGeom>
          <a:solidFill>
            <a:schemeClr val="bg2"/>
          </a:solidFill>
          <a:ln w="12700">
            <a:solidFill>
              <a:schemeClr val="accent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400" dirty="0"/>
          </a:p>
        </p:txBody>
      </p:sp>
      <p:sp>
        <p:nvSpPr>
          <p:cNvPr id="152" name="Oval 151">
            <a:extLst>
              <a:ext uri="{FF2B5EF4-FFF2-40B4-BE49-F238E27FC236}">
                <a16:creationId xmlns:a16="http://schemas.microsoft.com/office/drawing/2014/main" id="{49056D8E-CFAE-40E8-9D23-F2599851E707}"/>
              </a:ext>
            </a:extLst>
          </p:cNvPr>
          <p:cNvSpPr/>
          <p:nvPr/>
        </p:nvSpPr>
        <p:spPr>
          <a:xfrm>
            <a:off x="6604312" y="1995861"/>
            <a:ext cx="707136" cy="707136"/>
          </a:xfrm>
          <a:prstGeom prst="ellipse">
            <a:avLst/>
          </a:prstGeom>
          <a:solidFill>
            <a:schemeClr val="bg2"/>
          </a:solidFill>
          <a:ln w="127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400" dirty="0"/>
          </a:p>
        </p:txBody>
      </p:sp>
      <p:sp>
        <p:nvSpPr>
          <p:cNvPr id="153" name="Rectangle 152">
            <a:extLst>
              <a:ext uri="{FF2B5EF4-FFF2-40B4-BE49-F238E27FC236}">
                <a16:creationId xmlns:a16="http://schemas.microsoft.com/office/drawing/2014/main" id="{A4EBB0AF-A9EE-4988-8D18-D811A1E27B8B}"/>
              </a:ext>
            </a:extLst>
          </p:cNvPr>
          <p:cNvSpPr/>
          <p:nvPr/>
        </p:nvSpPr>
        <p:spPr>
          <a:xfrm>
            <a:off x="1789841" y="1991639"/>
            <a:ext cx="2618800" cy="71558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lvl="1" indent="-298382" algn="r">
              <a:spcAft>
                <a:spcPts val="267"/>
              </a:spcAft>
            </a:pPr>
            <a:r>
              <a:rPr lang="en-US" sz="1600" b="1" dirty="0">
                <a:solidFill>
                  <a:schemeClr val="accent2"/>
                </a:solidFill>
              </a:rPr>
              <a:t>Always-on protection</a:t>
            </a:r>
          </a:p>
          <a:p>
            <a:pPr marL="0" lvl="1" indent="-298382" algn="r"/>
            <a:r>
              <a:rPr lang="en-US" sz="1400" dirty="0">
                <a:solidFill>
                  <a:schemeClr val="tx1"/>
                </a:solidFill>
              </a:rPr>
              <a:t>Constant protection,</a:t>
            </a:r>
            <a:br>
              <a:rPr lang="en-US" sz="1400" dirty="0">
                <a:solidFill>
                  <a:schemeClr val="tx1"/>
                </a:solidFill>
              </a:rPr>
            </a:br>
            <a:r>
              <a:rPr lang="en-US" sz="1400" dirty="0">
                <a:solidFill>
                  <a:schemeClr val="tx1"/>
                </a:solidFill>
              </a:rPr>
              <a:t>including data encryption</a:t>
            </a:r>
          </a:p>
        </p:txBody>
      </p:sp>
      <p:sp>
        <p:nvSpPr>
          <p:cNvPr id="154" name="Rectangle 153">
            <a:extLst>
              <a:ext uri="{FF2B5EF4-FFF2-40B4-BE49-F238E27FC236}">
                <a16:creationId xmlns:a16="http://schemas.microsoft.com/office/drawing/2014/main" id="{11B4EE81-6C57-429C-A436-C4D61FB11D8A}"/>
              </a:ext>
            </a:extLst>
          </p:cNvPr>
          <p:cNvSpPr/>
          <p:nvPr/>
        </p:nvSpPr>
        <p:spPr>
          <a:xfrm>
            <a:off x="555885" y="2981543"/>
            <a:ext cx="2618800" cy="71558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lvl="1" indent="-298382" algn="r"/>
            <a:r>
              <a:rPr lang="en-US" sz="1600" b="1" dirty="0">
                <a:solidFill>
                  <a:schemeClr val="accent1"/>
                </a:solidFill>
              </a:rPr>
              <a:t>Proactive threat defense</a:t>
            </a:r>
          </a:p>
          <a:p>
            <a:pPr marL="0" lvl="1" indent="-298382" algn="r">
              <a:spcBef>
                <a:spcPts val="267"/>
              </a:spcBef>
            </a:pPr>
            <a:r>
              <a:rPr lang="en-US" sz="1400" dirty="0">
                <a:solidFill>
                  <a:schemeClr val="tx1"/>
                </a:solidFill>
              </a:rPr>
              <a:t>Integrates with advanced malware protection</a:t>
            </a:r>
          </a:p>
        </p:txBody>
      </p:sp>
      <p:sp>
        <p:nvSpPr>
          <p:cNvPr id="155" name="Rectangle 154">
            <a:extLst>
              <a:ext uri="{FF2B5EF4-FFF2-40B4-BE49-F238E27FC236}">
                <a16:creationId xmlns:a16="http://schemas.microsoft.com/office/drawing/2014/main" id="{ED9FFFD1-5B75-4B78-AFEA-6D8361788BAD}"/>
              </a:ext>
            </a:extLst>
          </p:cNvPr>
          <p:cNvSpPr/>
          <p:nvPr/>
        </p:nvSpPr>
        <p:spPr>
          <a:xfrm>
            <a:off x="586144" y="4247678"/>
            <a:ext cx="2135791" cy="117724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lvl="1" indent="-298382" algn="r"/>
            <a:r>
              <a:rPr lang="en-US" sz="1600" b="1" dirty="0">
                <a:solidFill>
                  <a:schemeClr val="tx2"/>
                </a:solidFill>
              </a:rPr>
              <a:t>Web protection for remote workers</a:t>
            </a:r>
          </a:p>
          <a:p>
            <a:pPr marL="0" lvl="1" indent="-298382" algn="r">
              <a:spcBef>
                <a:spcPts val="267"/>
              </a:spcBef>
            </a:pPr>
            <a:r>
              <a:rPr lang="en-US" sz="1400" dirty="0">
                <a:solidFill>
                  <a:schemeClr val="tx1"/>
                </a:solidFill>
              </a:rPr>
              <a:t>Includes built-in web security and malware threat protection</a:t>
            </a:r>
          </a:p>
        </p:txBody>
      </p:sp>
      <p:sp>
        <p:nvSpPr>
          <p:cNvPr id="156" name="Rectangle 155">
            <a:extLst>
              <a:ext uri="{FF2B5EF4-FFF2-40B4-BE49-F238E27FC236}">
                <a16:creationId xmlns:a16="http://schemas.microsoft.com/office/drawing/2014/main" id="{5C781E96-2748-4C15-AFF2-96089593EDD3}"/>
              </a:ext>
            </a:extLst>
          </p:cNvPr>
          <p:cNvSpPr/>
          <p:nvPr/>
        </p:nvSpPr>
        <p:spPr>
          <a:xfrm>
            <a:off x="0" y="6045178"/>
            <a:ext cx="12192000" cy="911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57" name="Rectangle 156">
            <a:extLst>
              <a:ext uri="{FF2B5EF4-FFF2-40B4-BE49-F238E27FC236}">
                <a16:creationId xmlns:a16="http://schemas.microsoft.com/office/drawing/2014/main" id="{7B013D16-0DA9-4C45-BFAB-B66AAF1C8DF6}"/>
              </a:ext>
            </a:extLst>
          </p:cNvPr>
          <p:cNvSpPr/>
          <p:nvPr/>
        </p:nvSpPr>
        <p:spPr>
          <a:xfrm>
            <a:off x="7774504" y="1991639"/>
            <a:ext cx="2618800" cy="71558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lvl="1" indent="-298382"/>
            <a:r>
              <a:rPr lang="en-US" sz="1600" b="1" dirty="0">
                <a:solidFill>
                  <a:schemeClr val="accent4"/>
                </a:solidFill>
              </a:rPr>
              <a:t>Greater security visibility</a:t>
            </a:r>
          </a:p>
          <a:p>
            <a:pPr marL="0" lvl="1" indent="-298382">
              <a:spcBef>
                <a:spcPts val="267"/>
              </a:spcBef>
            </a:pPr>
            <a:r>
              <a:rPr lang="en-US" sz="1400" dirty="0">
                <a:solidFill>
                  <a:schemeClr val="tx1"/>
                </a:solidFill>
              </a:rPr>
              <a:t>Integrates with other solutions and 3</a:t>
            </a:r>
            <a:r>
              <a:rPr lang="en-US" sz="1400" baseline="30000" dirty="0">
                <a:solidFill>
                  <a:schemeClr val="tx1"/>
                </a:solidFill>
              </a:rPr>
              <a:t>rd</a:t>
            </a:r>
            <a:r>
              <a:rPr lang="en-US" sz="1400" dirty="0">
                <a:solidFill>
                  <a:schemeClr val="tx1"/>
                </a:solidFill>
              </a:rPr>
              <a:t> party tools</a:t>
            </a:r>
          </a:p>
        </p:txBody>
      </p:sp>
      <p:sp>
        <p:nvSpPr>
          <p:cNvPr id="158" name="Rectangle 157">
            <a:extLst>
              <a:ext uri="{FF2B5EF4-FFF2-40B4-BE49-F238E27FC236}">
                <a16:creationId xmlns:a16="http://schemas.microsoft.com/office/drawing/2014/main" id="{EAEC6317-3A91-47E6-BE96-4E4F35DF4665}"/>
              </a:ext>
            </a:extLst>
          </p:cNvPr>
          <p:cNvSpPr/>
          <p:nvPr/>
        </p:nvSpPr>
        <p:spPr>
          <a:xfrm>
            <a:off x="9532975" y="4370788"/>
            <a:ext cx="2458498" cy="93102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lvl="1" indent="-298382"/>
            <a:r>
              <a:rPr lang="en-US" sz="1600" b="1" dirty="0">
                <a:solidFill>
                  <a:schemeClr val="tx2">
                    <a:lumMod val="75000"/>
                  </a:schemeClr>
                </a:solidFill>
              </a:rPr>
              <a:t>Multiple access options</a:t>
            </a:r>
          </a:p>
          <a:p>
            <a:pPr marL="0" lvl="1" indent="-298382">
              <a:spcBef>
                <a:spcPts val="267"/>
              </a:spcBef>
            </a:pPr>
            <a:r>
              <a:rPr lang="en-US" sz="1400" dirty="0">
                <a:solidFill>
                  <a:schemeClr val="tx1"/>
                </a:solidFill>
              </a:rPr>
              <a:t>Access control via MFA options across different environments</a:t>
            </a:r>
          </a:p>
        </p:txBody>
      </p:sp>
      <p:sp>
        <p:nvSpPr>
          <p:cNvPr id="159" name="Rectangle 158">
            <a:extLst>
              <a:ext uri="{FF2B5EF4-FFF2-40B4-BE49-F238E27FC236}">
                <a16:creationId xmlns:a16="http://schemas.microsoft.com/office/drawing/2014/main" id="{47EFCFDD-A6C8-4884-96B0-EE6910943AE7}"/>
              </a:ext>
            </a:extLst>
          </p:cNvPr>
          <p:cNvSpPr/>
          <p:nvPr/>
        </p:nvSpPr>
        <p:spPr>
          <a:xfrm>
            <a:off x="9022303" y="2873821"/>
            <a:ext cx="2458498" cy="93102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lvl="1" indent="-298382"/>
            <a:r>
              <a:rPr lang="en-US" sz="1600" b="1" dirty="0">
                <a:solidFill>
                  <a:schemeClr val="accent2">
                    <a:lumMod val="50000"/>
                  </a:schemeClr>
                </a:solidFill>
              </a:rPr>
              <a:t>Integrated compliance</a:t>
            </a:r>
          </a:p>
          <a:p>
            <a:pPr marL="0" lvl="1" indent="-298382">
              <a:spcBef>
                <a:spcPts val="267"/>
              </a:spcBef>
            </a:pPr>
            <a:r>
              <a:rPr lang="en-US" sz="1400" dirty="0">
                <a:solidFill>
                  <a:schemeClr val="tx1"/>
                </a:solidFill>
              </a:rPr>
              <a:t>Integrates with Cisco ISE to deliver world-class compliance</a:t>
            </a:r>
            <a:endParaRPr lang="en-GB" sz="1400" dirty="0">
              <a:solidFill>
                <a:schemeClr val="tx1"/>
              </a:solidFill>
            </a:endParaRPr>
          </a:p>
        </p:txBody>
      </p:sp>
      <p:grpSp>
        <p:nvGrpSpPr>
          <p:cNvPr id="160" name="Graphic 5">
            <a:extLst>
              <a:ext uri="{FF2B5EF4-FFF2-40B4-BE49-F238E27FC236}">
                <a16:creationId xmlns:a16="http://schemas.microsoft.com/office/drawing/2014/main" id="{7D346729-2E76-4BC8-AB75-2841B211DEDF}"/>
              </a:ext>
            </a:extLst>
          </p:cNvPr>
          <p:cNvGrpSpPr/>
          <p:nvPr/>
        </p:nvGrpSpPr>
        <p:grpSpPr>
          <a:xfrm>
            <a:off x="3017956" y="4518884"/>
            <a:ext cx="626944" cy="634832"/>
            <a:chOff x="5686425" y="3014662"/>
            <a:chExt cx="817530" cy="827817"/>
          </a:xfrm>
          <a:solidFill>
            <a:srgbClr val="000000"/>
          </a:solidFill>
        </p:grpSpPr>
        <p:grpSp>
          <p:nvGrpSpPr>
            <p:cNvPr id="161" name="Graphic 5">
              <a:extLst>
                <a:ext uri="{FF2B5EF4-FFF2-40B4-BE49-F238E27FC236}">
                  <a16:creationId xmlns:a16="http://schemas.microsoft.com/office/drawing/2014/main" id="{2C94A0A7-0EF5-4F09-B0F3-AE9CED173854}"/>
                </a:ext>
              </a:extLst>
            </p:cNvPr>
            <p:cNvGrpSpPr/>
            <p:nvPr/>
          </p:nvGrpSpPr>
          <p:grpSpPr>
            <a:xfrm>
              <a:off x="5687937" y="3016428"/>
              <a:ext cx="815922" cy="824806"/>
              <a:chOff x="5687937" y="3016428"/>
              <a:chExt cx="815922" cy="824806"/>
            </a:xfrm>
            <a:solidFill>
              <a:srgbClr val="000000"/>
            </a:solidFill>
          </p:grpSpPr>
          <p:sp>
            <p:nvSpPr>
              <p:cNvPr id="164" name="Freeform: Shape 163">
                <a:extLst>
                  <a:ext uri="{FF2B5EF4-FFF2-40B4-BE49-F238E27FC236}">
                    <a16:creationId xmlns:a16="http://schemas.microsoft.com/office/drawing/2014/main" id="{58EF238C-C5FD-45CF-9EB7-E2543BAE6468}"/>
                  </a:ext>
                </a:extLst>
              </p:cNvPr>
              <p:cNvSpPr/>
              <p:nvPr/>
            </p:nvSpPr>
            <p:spPr>
              <a:xfrm>
                <a:off x="5833306" y="3226104"/>
                <a:ext cx="670554" cy="615130"/>
              </a:xfrm>
              <a:custGeom>
                <a:avLst/>
                <a:gdLst>
                  <a:gd name="connsiteX0" fmla="*/ 659124 w 670554"/>
                  <a:gd name="connsiteY0" fmla="*/ 105455 h 615130"/>
                  <a:gd name="connsiteX1" fmla="*/ 668935 w 670554"/>
                  <a:gd name="connsiteY1" fmla="*/ 161271 h 615130"/>
                  <a:gd name="connsiteX2" fmla="*/ 670554 w 670554"/>
                  <a:gd name="connsiteY2" fmla="*/ 167558 h 615130"/>
                  <a:gd name="connsiteX3" fmla="*/ 670554 w 670554"/>
                  <a:gd name="connsiteY3" fmla="*/ 240805 h 615130"/>
                  <a:gd name="connsiteX4" fmla="*/ 666173 w 670554"/>
                  <a:gd name="connsiteY4" fmla="*/ 267475 h 615130"/>
                  <a:gd name="connsiteX5" fmla="*/ 642075 w 670554"/>
                  <a:gd name="connsiteY5" fmla="*/ 355676 h 615130"/>
                  <a:gd name="connsiteX6" fmla="*/ 557969 w 670554"/>
                  <a:gd name="connsiteY6" fmla="*/ 487693 h 615130"/>
                  <a:gd name="connsiteX7" fmla="*/ 331274 w 670554"/>
                  <a:gd name="connsiteY7" fmla="*/ 609232 h 615130"/>
                  <a:gd name="connsiteX8" fmla="*/ 222879 w 670554"/>
                  <a:gd name="connsiteY8" fmla="*/ 612661 h 615130"/>
                  <a:gd name="connsiteX9" fmla="*/ 213926 w 670554"/>
                  <a:gd name="connsiteY9" fmla="*/ 606279 h 615130"/>
                  <a:gd name="connsiteX10" fmla="*/ 108865 w 670554"/>
                  <a:gd name="connsiteY10" fmla="*/ 500933 h 615130"/>
                  <a:gd name="connsiteX11" fmla="*/ 5995 w 670554"/>
                  <a:gd name="connsiteY11" fmla="*/ 396824 h 615130"/>
                  <a:gd name="connsiteX12" fmla="*/ 471 w 670554"/>
                  <a:gd name="connsiteY12" fmla="*/ 387299 h 615130"/>
                  <a:gd name="connsiteX13" fmla="*/ 10758 w 670554"/>
                  <a:gd name="connsiteY13" fmla="*/ 385109 h 615130"/>
                  <a:gd name="connsiteX14" fmla="*/ 150108 w 670554"/>
                  <a:gd name="connsiteY14" fmla="*/ 385109 h 615130"/>
                  <a:gd name="connsiteX15" fmla="*/ 161443 w 670554"/>
                  <a:gd name="connsiteY15" fmla="*/ 387395 h 615130"/>
                  <a:gd name="connsiteX16" fmla="*/ 163348 w 670554"/>
                  <a:gd name="connsiteY16" fmla="*/ 398158 h 615130"/>
                  <a:gd name="connsiteX17" fmla="*/ 163348 w 670554"/>
                  <a:gd name="connsiteY17" fmla="*/ 461785 h 615130"/>
                  <a:gd name="connsiteX18" fmla="*/ 149442 w 670554"/>
                  <a:gd name="connsiteY18" fmla="*/ 475501 h 615130"/>
                  <a:gd name="connsiteX19" fmla="*/ 142298 w 670554"/>
                  <a:gd name="connsiteY19" fmla="*/ 475787 h 615130"/>
                  <a:gd name="connsiteX20" fmla="*/ 131820 w 670554"/>
                  <a:gd name="connsiteY20" fmla="*/ 487502 h 615130"/>
                  <a:gd name="connsiteX21" fmla="*/ 142393 w 670554"/>
                  <a:gd name="connsiteY21" fmla="*/ 498932 h 615130"/>
                  <a:gd name="connsiteX22" fmla="*/ 151156 w 670554"/>
                  <a:gd name="connsiteY22" fmla="*/ 499123 h 615130"/>
                  <a:gd name="connsiteX23" fmla="*/ 374898 w 670554"/>
                  <a:gd name="connsiteY23" fmla="*/ 499123 h 615130"/>
                  <a:gd name="connsiteX24" fmla="*/ 382899 w 670554"/>
                  <a:gd name="connsiteY24" fmla="*/ 498932 h 615130"/>
                  <a:gd name="connsiteX25" fmla="*/ 393853 w 670554"/>
                  <a:gd name="connsiteY25" fmla="*/ 487883 h 615130"/>
                  <a:gd name="connsiteX26" fmla="*/ 382995 w 670554"/>
                  <a:gd name="connsiteY26" fmla="*/ 475691 h 615130"/>
                  <a:gd name="connsiteX27" fmla="*/ 371088 w 670554"/>
                  <a:gd name="connsiteY27" fmla="*/ 475310 h 615130"/>
                  <a:gd name="connsiteX28" fmla="*/ 362516 w 670554"/>
                  <a:gd name="connsiteY28" fmla="*/ 466928 h 615130"/>
                  <a:gd name="connsiteX29" fmla="*/ 362516 w 670554"/>
                  <a:gd name="connsiteY29" fmla="*/ 392919 h 615130"/>
                  <a:gd name="connsiteX30" fmla="*/ 371184 w 670554"/>
                  <a:gd name="connsiteY30" fmla="*/ 384632 h 615130"/>
                  <a:gd name="connsiteX31" fmla="*/ 380709 w 670554"/>
                  <a:gd name="connsiteY31" fmla="*/ 384442 h 615130"/>
                  <a:gd name="connsiteX32" fmla="*/ 510534 w 670554"/>
                  <a:gd name="connsiteY32" fmla="*/ 384442 h 615130"/>
                  <a:gd name="connsiteX33" fmla="*/ 527870 w 670554"/>
                  <a:gd name="connsiteY33" fmla="*/ 382442 h 615130"/>
                  <a:gd name="connsiteX34" fmla="*/ 549873 w 670554"/>
                  <a:gd name="connsiteY34" fmla="*/ 355867 h 615130"/>
                  <a:gd name="connsiteX35" fmla="*/ 550254 w 670554"/>
                  <a:gd name="connsiteY35" fmla="*/ 342341 h 615130"/>
                  <a:gd name="connsiteX36" fmla="*/ 550254 w 670554"/>
                  <a:gd name="connsiteY36" fmla="*/ 17825 h 615130"/>
                  <a:gd name="connsiteX37" fmla="*/ 550730 w 670554"/>
                  <a:gd name="connsiteY37" fmla="*/ 3537 h 615130"/>
                  <a:gd name="connsiteX38" fmla="*/ 556350 w 670554"/>
                  <a:gd name="connsiteY38" fmla="*/ 965 h 615130"/>
                  <a:gd name="connsiteX39" fmla="*/ 562255 w 670554"/>
                  <a:gd name="connsiteY39" fmla="*/ 6299 h 615130"/>
                  <a:gd name="connsiteX40" fmla="*/ 652076 w 670554"/>
                  <a:gd name="connsiteY40" fmla="*/ 96025 h 615130"/>
                  <a:gd name="connsiteX41" fmla="*/ 659124 w 670554"/>
                  <a:gd name="connsiteY41" fmla="*/ 105455 h 615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70554" h="615130">
                    <a:moveTo>
                      <a:pt x="659124" y="105455"/>
                    </a:moveTo>
                    <a:cubicBezTo>
                      <a:pt x="664173" y="123743"/>
                      <a:pt x="666840" y="142412"/>
                      <a:pt x="668935" y="161271"/>
                    </a:cubicBezTo>
                    <a:cubicBezTo>
                      <a:pt x="669126" y="163367"/>
                      <a:pt x="667506" y="166129"/>
                      <a:pt x="670554" y="167558"/>
                    </a:cubicBezTo>
                    <a:cubicBezTo>
                      <a:pt x="670554" y="191942"/>
                      <a:pt x="670554" y="216326"/>
                      <a:pt x="670554" y="240805"/>
                    </a:cubicBezTo>
                    <a:cubicBezTo>
                      <a:pt x="667030" y="249377"/>
                      <a:pt x="667506" y="258617"/>
                      <a:pt x="666173" y="267475"/>
                    </a:cubicBezTo>
                    <a:cubicBezTo>
                      <a:pt x="661410" y="297764"/>
                      <a:pt x="652838" y="327006"/>
                      <a:pt x="642075" y="355676"/>
                    </a:cubicBezTo>
                    <a:cubicBezTo>
                      <a:pt x="623215" y="405587"/>
                      <a:pt x="593973" y="448640"/>
                      <a:pt x="557969" y="487693"/>
                    </a:cubicBezTo>
                    <a:cubicBezTo>
                      <a:pt x="496342" y="554368"/>
                      <a:pt x="419856" y="593230"/>
                      <a:pt x="331274" y="609232"/>
                    </a:cubicBezTo>
                    <a:cubicBezTo>
                      <a:pt x="295460" y="615709"/>
                      <a:pt x="259170" y="616852"/>
                      <a:pt x="222879" y="612661"/>
                    </a:cubicBezTo>
                    <a:cubicBezTo>
                      <a:pt x="219165" y="611518"/>
                      <a:pt x="216593" y="608946"/>
                      <a:pt x="213926" y="606279"/>
                    </a:cubicBezTo>
                    <a:cubicBezTo>
                      <a:pt x="178874" y="571227"/>
                      <a:pt x="143060" y="536842"/>
                      <a:pt x="108865" y="500933"/>
                    </a:cubicBezTo>
                    <a:cubicBezTo>
                      <a:pt x="75147" y="465595"/>
                      <a:pt x="39999" y="431781"/>
                      <a:pt x="5995" y="396824"/>
                    </a:cubicBezTo>
                    <a:cubicBezTo>
                      <a:pt x="3328" y="394157"/>
                      <a:pt x="-1530" y="391586"/>
                      <a:pt x="471" y="387299"/>
                    </a:cubicBezTo>
                    <a:cubicBezTo>
                      <a:pt x="2185" y="383680"/>
                      <a:pt x="7138" y="385109"/>
                      <a:pt x="10758" y="385109"/>
                    </a:cubicBezTo>
                    <a:cubicBezTo>
                      <a:pt x="57240" y="385013"/>
                      <a:pt x="103626" y="385013"/>
                      <a:pt x="150108" y="385109"/>
                    </a:cubicBezTo>
                    <a:cubicBezTo>
                      <a:pt x="154014" y="385109"/>
                      <a:pt x="158205" y="384251"/>
                      <a:pt x="161443" y="387395"/>
                    </a:cubicBezTo>
                    <a:cubicBezTo>
                      <a:pt x="163634" y="390728"/>
                      <a:pt x="163348" y="394538"/>
                      <a:pt x="163348" y="398158"/>
                    </a:cubicBezTo>
                    <a:cubicBezTo>
                      <a:pt x="163443" y="419399"/>
                      <a:pt x="163443" y="440544"/>
                      <a:pt x="163348" y="461785"/>
                    </a:cubicBezTo>
                    <a:cubicBezTo>
                      <a:pt x="163253" y="473882"/>
                      <a:pt x="161824" y="475215"/>
                      <a:pt x="149442" y="475501"/>
                    </a:cubicBezTo>
                    <a:cubicBezTo>
                      <a:pt x="147060" y="475596"/>
                      <a:pt x="144679" y="475501"/>
                      <a:pt x="142298" y="475787"/>
                    </a:cubicBezTo>
                    <a:cubicBezTo>
                      <a:pt x="135345" y="476739"/>
                      <a:pt x="131820" y="480644"/>
                      <a:pt x="131820" y="487502"/>
                    </a:cubicBezTo>
                    <a:cubicBezTo>
                      <a:pt x="131820" y="494360"/>
                      <a:pt x="135249" y="498075"/>
                      <a:pt x="142393" y="498932"/>
                    </a:cubicBezTo>
                    <a:cubicBezTo>
                      <a:pt x="145251" y="499313"/>
                      <a:pt x="148203" y="499123"/>
                      <a:pt x="151156" y="499123"/>
                    </a:cubicBezTo>
                    <a:cubicBezTo>
                      <a:pt x="225737" y="499123"/>
                      <a:pt x="300318" y="499123"/>
                      <a:pt x="374898" y="499123"/>
                    </a:cubicBezTo>
                    <a:cubicBezTo>
                      <a:pt x="377565" y="499123"/>
                      <a:pt x="380232" y="499218"/>
                      <a:pt x="382899" y="498932"/>
                    </a:cubicBezTo>
                    <a:cubicBezTo>
                      <a:pt x="390234" y="498266"/>
                      <a:pt x="393758" y="494646"/>
                      <a:pt x="393853" y="487883"/>
                    </a:cubicBezTo>
                    <a:cubicBezTo>
                      <a:pt x="393948" y="480740"/>
                      <a:pt x="390329" y="476549"/>
                      <a:pt x="382995" y="475691"/>
                    </a:cubicBezTo>
                    <a:cubicBezTo>
                      <a:pt x="378994" y="475215"/>
                      <a:pt x="374994" y="475501"/>
                      <a:pt x="371088" y="475310"/>
                    </a:cubicBezTo>
                    <a:cubicBezTo>
                      <a:pt x="365659" y="475025"/>
                      <a:pt x="362611" y="472358"/>
                      <a:pt x="362516" y="466928"/>
                    </a:cubicBezTo>
                    <a:cubicBezTo>
                      <a:pt x="362135" y="442259"/>
                      <a:pt x="362040" y="417589"/>
                      <a:pt x="362516" y="392919"/>
                    </a:cubicBezTo>
                    <a:cubicBezTo>
                      <a:pt x="362611" y="387395"/>
                      <a:pt x="365945" y="384918"/>
                      <a:pt x="371184" y="384632"/>
                    </a:cubicBezTo>
                    <a:cubicBezTo>
                      <a:pt x="374327" y="384442"/>
                      <a:pt x="377565" y="384442"/>
                      <a:pt x="380709" y="384442"/>
                    </a:cubicBezTo>
                    <a:cubicBezTo>
                      <a:pt x="423952" y="384442"/>
                      <a:pt x="467291" y="384442"/>
                      <a:pt x="510534" y="384442"/>
                    </a:cubicBezTo>
                    <a:cubicBezTo>
                      <a:pt x="516440" y="384442"/>
                      <a:pt x="522250" y="384251"/>
                      <a:pt x="527870" y="382442"/>
                    </a:cubicBezTo>
                    <a:cubicBezTo>
                      <a:pt x="540729" y="378155"/>
                      <a:pt x="548158" y="369392"/>
                      <a:pt x="549873" y="355867"/>
                    </a:cubicBezTo>
                    <a:cubicBezTo>
                      <a:pt x="550444" y="351390"/>
                      <a:pt x="550254" y="346818"/>
                      <a:pt x="550254" y="342341"/>
                    </a:cubicBezTo>
                    <a:cubicBezTo>
                      <a:pt x="550254" y="234137"/>
                      <a:pt x="550254" y="125933"/>
                      <a:pt x="550254" y="17825"/>
                    </a:cubicBezTo>
                    <a:cubicBezTo>
                      <a:pt x="550254" y="13062"/>
                      <a:pt x="549968" y="8300"/>
                      <a:pt x="550730" y="3537"/>
                    </a:cubicBezTo>
                    <a:cubicBezTo>
                      <a:pt x="551492" y="394"/>
                      <a:pt x="553111" y="-1130"/>
                      <a:pt x="556350" y="965"/>
                    </a:cubicBezTo>
                    <a:cubicBezTo>
                      <a:pt x="558540" y="2394"/>
                      <a:pt x="560350" y="4394"/>
                      <a:pt x="562255" y="6299"/>
                    </a:cubicBezTo>
                    <a:cubicBezTo>
                      <a:pt x="592164" y="36208"/>
                      <a:pt x="622072" y="66116"/>
                      <a:pt x="652076" y="96025"/>
                    </a:cubicBezTo>
                    <a:cubicBezTo>
                      <a:pt x="654743" y="98882"/>
                      <a:pt x="657505" y="101740"/>
                      <a:pt x="659124" y="105455"/>
                    </a:cubicBezTo>
                    <a:close/>
                  </a:path>
                </a:pathLst>
              </a:custGeom>
              <a:solidFill>
                <a:srgbClr val="0D274D"/>
              </a:solidFill>
              <a:ln w="9525" cap="flat">
                <a:noFill/>
                <a:prstDash val="solid"/>
                <a:miter/>
              </a:ln>
            </p:spPr>
            <p:txBody>
              <a:bodyPr rtlCol="0" anchor="ctr"/>
              <a:lstStyle/>
              <a:p>
                <a:endParaRPr lang="en-US" dirty="0"/>
              </a:p>
            </p:txBody>
          </p:sp>
          <p:sp>
            <p:nvSpPr>
              <p:cNvPr id="165" name="Freeform: Shape 164">
                <a:extLst>
                  <a:ext uri="{FF2B5EF4-FFF2-40B4-BE49-F238E27FC236}">
                    <a16:creationId xmlns:a16="http://schemas.microsoft.com/office/drawing/2014/main" id="{763635D0-63C8-45BB-8A9B-64C0CD39DC16}"/>
                  </a:ext>
                </a:extLst>
              </p:cNvPr>
              <p:cNvSpPr/>
              <p:nvPr/>
            </p:nvSpPr>
            <p:spPr>
              <a:xfrm>
                <a:off x="5687937" y="3016428"/>
                <a:ext cx="804492" cy="822146"/>
              </a:xfrm>
              <a:custGeom>
                <a:avLst/>
                <a:gdLst>
                  <a:gd name="connsiteX0" fmla="*/ 804493 w 804492"/>
                  <a:gd name="connsiteY0" fmla="*/ 315130 h 822146"/>
                  <a:gd name="connsiteX1" fmla="*/ 728769 w 804492"/>
                  <a:gd name="connsiteY1" fmla="*/ 240169 h 822146"/>
                  <a:gd name="connsiteX2" fmla="*/ 698098 w 804492"/>
                  <a:gd name="connsiteY2" fmla="*/ 210165 h 822146"/>
                  <a:gd name="connsiteX3" fmla="*/ 692193 w 804492"/>
                  <a:gd name="connsiteY3" fmla="*/ 203021 h 822146"/>
                  <a:gd name="connsiteX4" fmla="*/ 661332 w 804492"/>
                  <a:gd name="connsiteY4" fmla="*/ 184162 h 822146"/>
                  <a:gd name="connsiteX5" fmla="*/ 553795 w 804492"/>
                  <a:gd name="connsiteY5" fmla="*/ 184162 h 822146"/>
                  <a:gd name="connsiteX6" fmla="*/ 546556 w 804492"/>
                  <a:gd name="connsiteY6" fmla="*/ 192734 h 822146"/>
                  <a:gd name="connsiteX7" fmla="*/ 547318 w 804492"/>
                  <a:gd name="connsiteY7" fmla="*/ 197401 h 822146"/>
                  <a:gd name="connsiteX8" fmla="*/ 559224 w 804492"/>
                  <a:gd name="connsiteY8" fmla="*/ 207593 h 822146"/>
                  <a:gd name="connsiteX9" fmla="*/ 651616 w 804492"/>
                  <a:gd name="connsiteY9" fmla="*/ 207593 h 822146"/>
                  <a:gd name="connsiteX10" fmla="*/ 674953 w 804492"/>
                  <a:gd name="connsiteY10" fmla="*/ 230739 h 822146"/>
                  <a:gd name="connsiteX11" fmla="*/ 674953 w 804492"/>
                  <a:gd name="connsiteY11" fmla="*/ 547350 h 822146"/>
                  <a:gd name="connsiteX12" fmla="*/ 674953 w 804492"/>
                  <a:gd name="connsiteY12" fmla="*/ 552112 h 822146"/>
                  <a:gd name="connsiteX13" fmla="*/ 656474 w 804492"/>
                  <a:gd name="connsiteY13" fmla="*/ 570591 h 822146"/>
                  <a:gd name="connsiteX14" fmla="*/ 159555 w 804492"/>
                  <a:gd name="connsiteY14" fmla="*/ 570591 h 822146"/>
                  <a:gd name="connsiteX15" fmla="*/ 141076 w 804492"/>
                  <a:gd name="connsiteY15" fmla="*/ 552112 h 822146"/>
                  <a:gd name="connsiteX16" fmla="*/ 141076 w 804492"/>
                  <a:gd name="connsiteY16" fmla="*/ 225976 h 822146"/>
                  <a:gd name="connsiteX17" fmla="*/ 159555 w 804492"/>
                  <a:gd name="connsiteY17" fmla="*/ 207498 h 822146"/>
                  <a:gd name="connsiteX18" fmla="*/ 255091 w 804492"/>
                  <a:gd name="connsiteY18" fmla="*/ 207403 h 822146"/>
                  <a:gd name="connsiteX19" fmla="*/ 269664 w 804492"/>
                  <a:gd name="connsiteY19" fmla="*/ 187114 h 822146"/>
                  <a:gd name="connsiteX20" fmla="*/ 266330 w 804492"/>
                  <a:gd name="connsiteY20" fmla="*/ 184257 h 822146"/>
                  <a:gd name="connsiteX21" fmla="*/ 259948 w 804492"/>
                  <a:gd name="connsiteY21" fmla="*/ 183971 h 822146"/>
                  <a:gd name="connsiteX22" fmla="*/ 158031 w 804492"/>
                  <a:gd name="connsiteY22" fmla="*/ 183971 h 822146"/>
                  <a:gd name="connsiteX23" fmla="*/ 120693 w 804492"/>
                  <a:gd name="connsiteY23" fmla="*/ 221404 h 822146"/>
                  <a:gd name="connsiteX24" fmla="*/ 120693 w 804492"/>
                  <a:gd name="connsiteY24" fmla="*/ 557065 h 822146"/>
                  <a:gd name="connsiteX25" fmla="*/ 125646 w 804492"/>
                  <a:gd name="connsiteY25" fmla="*/ 579259 h 822146"/>
                  <a:gd name="connsiteX26" fmla="*/ 152030 w 804492"/>
                  <a:gd name="connsiteY26" fmla="*/ 592594 h 822146"/>
                  <a:gd name="connsiteX27" fmla="*/ 272331 w 804492"/>
                  <a:gd name="connsiteY27" fmla="*/ 592498 h 822146"/>
                  <a:gd name="connsiteX28" fmla="*/ 296239 w 804492"/>
                  <a:gd name="connsiteY28" fmla="*/ 592594 h 822146"/>
                  <a:gd name="connsiteX29" fmla="*/ 304716 w 804492"/>
                  <a:gd name="connsiteY29" fmla="*/ 596499 h 822146"/>
                  <a:gd name="connsiteX30" fmla="*/ 147172 w 804492"/>
                  <a:gd name="connsiteY30" fmla="*/ 596499 h 822146"/>
                  <a:gd name="connsiteX31" fmla="*/ 149268 w 804492"/>
                  <a:gd name="connsiteY31" fmla="*/ 601261 h 822146"/>
                  <a:gd name="connsiteX32" fmla="*/ 151459 w 804492"/>
                  <a:gd name="connsiteY32" fmla="*/ 603547 h 822146"/>
                  <a:gd name="connsiteX33" fmla="*/ 366247 w 804492"/>
                  <a:gd name="connsiteY33" fmla="*/ 819765 h 822146"/>
                  <a:gd name="connsiteX34" fmla="*/ 368248 w 804492"/>
                  <a:gd name="connsiteY34" fmla="*/ 822146 h 822146"/>
                  <a:gd name="connsiteX35" fmla="*/ 168508 w 804492"/>
                  <a:gd name="connsiteY35" fmla="*/ 746708 h 822146"/>
                  <a:gd name="connsiteX36" fmla="*/ 121931 w 804492"/>
                  <a:gd name="connsiteY36" fmla="*/ 707084 h 822146"/>
                  <a:gd name="connsiteX37" fmla="*/ 36492 w 804492"/>
                  <a:gd name="connsiteY37" fmla="*/ 583640 h 822146"/>
                  <a:gd name="connsiteX38" fmla="*/ 9060 w 804492"/>
                  <a:gd name="connsiteY38" fmla="*/ 325798 h 822146"/>
                  <a:gd name="connsiteX39" fmla="*/ 60685 w 804492"/>
                  <a:gd name="connsiteY39" fmla="*/ 195973 h 822146"/>
                  <a:gd name="connsiteX40" fmla="*/ 182891 w 804492"/>
                  <a:gd name="connsiteY40" fmla="*/ 68719 h 822146"/>
                  <a:gd name="connsiteX41" fmla="*/ 450544 w 804492"/>
                  <a:gd name="connsiteY41" fmla="*/ 2044 h 822146"/>
                  <a:gd name="connsiteX42" fmla="*/ 621232 w 804492"/>
                  <a:gd name="connsiteY42" fmla="*/ 60051 h 822146"/>
                  <a:gd name="connsiteX43" fmla="*/ 749438 w 804492"/>
                  <a:gd name="connsiteY43" fmla="*/ 185876 h 822146"/>
                  <a:gd name="connsiteX44" fmla="*/ 804493 w 804492"/>
                  <a:gd name="connsiteY44" fmla="*/ 315130 h 82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04492" h="822146">
                    <a:moveTo>
                      <a:pt x="804493" y="315130"/>
                    </a:moveTo>
                    <a:cubicBezTo>
                      <a:pt x="779251" y="290080"/>
                      <a:pt x="754010" y="265124"/>
                      <a:pt x="728769" y="240169"/>
                    </a:cubicBezTo>
                    <a:cubicBezTo>
                      <a:pt x="718577" y="230072"/>
                      <a:pt x="708290" y="220166"/>
                      <a:pt x="698098" y="210165"/>
                    </a:cubicBezTo>
                    <a:cubicBezTo>
                      <a:pt x="694669" y="209022"/>
                      <a:pt x="693717" y="205783"/>
                      <a:pt x="692193" y="203021"/>
                    </a:cubicBezTo>
                    <a:cubicBezTo>
                      <a:pt x="685621" y="190639"/>
                      <a:pt x="675334" y="184162"/>
                      <a:pt x="661332" y="184162"/>
                    </a:cubicBezTo>
                    <a:cubicBezTo>
                      <a:pt x="625518" y="183971"/>
                      <a:pt x="589704" y="184066"/>
                      <a:pt x="553795" y="184162"/>
                    </a:cubicBezTo>
                    <a:cubicBezTo>
                      <a:pt x="546365" y="184162"/>
                      <a:pt x="545603" y="185400"/>
                      <a:pt x="546556" y="192734"/>
                    </a:cubicBezTo>
                    <a:cubicBezTo>
                      <a:pt x="546746" y="194353"/>
                      <a:pt x="547032" y="195877"/>
                      <a:pt x="547318" y="197401"/>
                    </a:cubicBezTo>
                    <a:cubicBezTo>
                      <a:pt x="549032" y="206641"/>
                      <a:pt x="549794" y="207498"/>
                      <a:pt x="559224" y="207593"/>
                    </a:cubicBezTo>
                    <a:cubicBezTo>
                      <a:pt x="589990" y="207688"/>
                      <a:pt x="620851" y="207593"/>
                      <a:pt x="651616" y="207593"/>
                    </a:cubicBezTo>
                    <a:cubicBezTo>
                      <a:pt x="672762" y="207593"/>
                      <a:pt x="674953" y="209784"/>
                      <a:pt x="674953" y="230739"/>
                    </a:cubicBezTo>
                    <a:cubicBezTo>
                      <a:pt x="674953" y="336276"/>
                      <a:pt x="674953" y="441813"/>
                      <a:pt x="674953" y="547350"/>
                    </a:cubicBezTo>
                    <a:cubicBezTo>
                      <a:pt x="674953" y="548969"/>
                      <a:pt x="674953" y="550493"/>
                      <a:pt x="674953" y="552112"/>
                    </a:cubicBezTo>
                    <a:cubicBezTo>
                      <a:pt x="674762" y="566686"/>
                      <a:pt x="671047" y="570591"/>
                      <a:pt x="656474" y="570591"/>
                    </a:cubicBezTo>
                    <a:cubicBezTo>
                      <a:pt x="490834" y="570686"/>
                      <a:pt x="325195" y="570686"/>
                      <a:pt x="159555" y="570591"/>
                    </a:cubicBezTo>
                    <a:cubicBezTo>
                      <a:pt x="144982" y="570591"/>
                      <a:pt x="141076" y="566686"/>
                      <a:pt x="141076" y="552112"/>
                    </a:cubicBezTo>
                    <a:cubicBezTo>
                      <a:pt x="140981" y="443432"/>
                      <a:pt x="140981" y="334657"/>
                      <a:pt x="141076" y="225976"/>
                    </a:cubicBezTo>
                    <a:cubicBezTo>
                      <a:pt x="141076" y="211308"/>
                      <a:pt x="144886" y="207593"/>
                      <a:pt x="159555" y="207498"/>
                    </a:cubicBezTo>
                    <a:cubicBezTo>
                      <a:pt x="191368" y="207403"/>
                      <a:pt x="223277" y="207498"/>
                      <a:pt x="255091" y="207403"/>
                    </a:cubicBezTo>
                    <a:cubicBezTo>
                      <a:pt x="265663" y="207403"/>
                      <a:pt x="272902" y="197211"/>
                      <a:pt x="269664" y="187114"/>
                    </a:cubicBezTo>
                    <a:cubicBezTo>
                      <a:pt x="269092" y="185305"/>
                      <a:pt x="267949" y="184543"/>
                      <a:pt x="266330" y="184257"/>
                    </a:cubicBezTo>
                    <a:cubicBezTo>
                      <a:pt x="264235" y="183876"/>
                      <a:pt x="262139" y="183971"/>
                      <a:pt x="259948" y="183971"/>
                    </a:cubicBezTo>
                    <a:cubicBezTo>
                      <a:pt x="225944" y="183971"/>
                      <a:pt x="192035" y="183876"/>
                      <a:pt x="158031" y="183971"/>
                    </a:cubicBezTo>
                    <a:cubicBezTo>
                      <a:pt x="133552" y="184066"/>
                      <a:pt x="120693" y="196925"/>
                      <a:pt x="120693" y="221404"/>
                    </a:cubicBezTo>
                    <a:cubicBezTo>
                      <a:pt x="120598" y="333323"/>
                      <a:pt x="120693" y="445242"/>
                      <a:pt x="120693" y="557065"/>
                    </a:cubicBezTo>
                    <a:cubicBezTo>
                      <a:pt x="120693" y="564876"/>
                      <a:pt x="121264" y="572401"/>
                      <a:pt x="125646" y="579259"/>
                    </a:cubicBezTo>
                    <a:cubicBezTo>
                      <a:pt x="131837" y="588784"/>
                      <a:pt x="140695" y="592689"/>
                      <a:pt x="152030" y="592594"/>
                    </a:cubicBezTo>
                    <a:cubicBezTo>
                      <a:pt x="192130" y="592498"/>
                      <a:pt x="232231" y="592498"/>
                      <a:pt x="272331" y="592498"/>
                    </a:cubicBezTo>
                    <a:cubicBezTo>
                      <a:pt x="280332" y="592498"/>
                      <a:pt x="288238" y="592308"/>
                      <a:pt x="296239" y="592594"/>
                    </a:cubicBezTo>
                    <a:cubicBezTo>
                      <a:pt x="299477" y="592784"/>
                      <a:pt x="303382" y="591927"/>
                      <a:pt x="304716" y="596499"/>
                    </a:cubicBezTo>
                    <a:cubicBezTo>
                      <a:pt x="252138" y="596499"/>
                      <a:pt x="199560" y="596499"/>
                      <a:pt x="147172" y="596499"/>
                    </a:cubicBezTo>
                    <a:cubicBezTo>
                      <a:pt x="145839" y="599356"/>
                      <a:pt x="148315" y="599928"/>
                      <a:pt x="149268" y="601261"/>
                    </a:cubicBezTo>
                    <a:cubicBezTo>
                      <a:pt x="149839" y="602119"/>
                      <a:pt x="150792" y="602785"/>
                      <a:pt x="151459" y="603547"/>
                    </a:cubicBezTo>
                    <a:cubicBezTo>
                      <a:pt x="223087" y="675652"/>
                      <a:pt x="294715" y="747661"/>
                      <a:pt x="366247" y="819765"/>
                    </a:cubicBezTo>
                    <a:cubicBezTo>
                      <a:pt x="367009" y="820527"/>
                      <a:pt x="367581" y="821384"/>
                      <a:pt x="368248" y="822146"/>
                    </a:cubicBezTo>
                    <a:cubicBezTo>
                      <a:pt x="294810" y="815193"/>
                      <a:pt x="228325" y="789666"/>
                      <a:pt x="168508" y="746708"/>
                    </a:cubicBezTo>
                    <a:cubicBezTo>
                      <a:pt x="151935" y="734802"/>
                      <a:pt x="135933" y="721943"/>
                      <a:pt x="121931" y="707084"/>
                    </a:cubicBezTo>
                    <a:cubicBezTo>
                      <a:pt x="87260" y="670318"/>
                      <a:pt x="56875" y="630408"/>
                      <a:pt x="36492" y="583640"/>
                    </a:cubicBezTo>
                    <a:cubicBezTo>
                      <a:pt x="297" y="500582"/>
                      <a:pt x="-9228" y="414762"/>
                      <a:pt x="9060" y="325798"/>
                    </a:cubicBezTo>
                    <a:cubicBezTo>
                      <a:pt x="18585" y="279412"/>
                      <a:pt x="36682" y="236644"/>
                      <a:pt x="60685" y="195973"/>
                    </a:cubicBezTo>
                    <a:cubicBezTo>
                      <a:pt x="91451" y="143966"/>
                      <a:pt x="133456" y="103009"/>
                      <a:pt x="182891" y="68719"/>
                    </a:cubicBezTo>
                    <a:cubicBezTo>
                      <a:pt x="263758" y="12712"/>
                      <a:pt x="353770" y="-6815"/>
                      <a:pt x="450544" y="2044"/>
                    </a:cubicBezTo>
                    <a:cubicBezTo>
                      <a:pt x="511885" y="7663"/>
                      <a:pt x="569416" y="26618"/>
                      <a:pt x="621232" y="60051"/>
                    </a:cubicBezTo>
                    <a:cubicBezTo>
                      <a:pt x="672381" y="93103"/>
                      <a:pt x="716958" y="133774"/>
                      <a:pt x="749438" y="185876"/>
                    </a:cubicBezTo>
                    <a:cubicBezTo>
                      <a:pt x="774489" y="225976"/>
                      <a:pt x="794682" y="268458"/>
                      <a:pt x="804493" y="315130"/>
                    </a:cubicBezTo>
                    <a:close/>
                  </a:path>
                </a:pathLst>
              </a:custGeom>
              <a:solidFill>
                <a:srgbClr val="1E4471"/>
              </a:solidFill>
              <a:ln w="9525" cap="flat">
                <a:noFill/>
                <a:prstDash val="solid"/>
                <a:miter/>
              </a:ln>
            </p:spPr>
            <p:txBody>
              <a:bodyPr rtlCol="0" anchor="ctr"/>
              <a:lstStyle/>
              <a:p>
                <a:endParaRPr lang="en-US" dirty="0"/>
              </a:p>
            </p:txBody>
          </p:sp>
          <p:sp>
            <p:nvSpPr>
              <p:cNvPr id="166" name="Freeform: Shape 165">
                <a:extLst>
                  <a:ext uri="{FF2B5EF4-FFF2-40B4-BE49-F238E27FC236}">
                    <a16:creationId xmlns:a16="http://schemas.microsoft.com/office/drawing/2014/main" id="{FF2ECD3B-C6E8-4F37-92B8-C4770300F182}"/>
                  </a:ext>
                </a:extLst>
              </p:cNvPr>
              <p:cNvSpPr/>
              <p:nvPr/>
            </p:nvSpPr>
            <p:spPr>
              <a:xfrm>
                <a:off x="5805773" y="3197921"/>
                <a:ext cx="580262" cy="530162"/>
              </a:xfrm>
              <a:custGeom>
                <a:avLst/>
                <a:gdLst>
                  <a:gd name="connsiteX0" fmla="*/ 186785 w 580262"/>
                  <a:gd name="connsiteY0" fmla="*/ 415196 h 530162"/>
                  <a:gd name="connsiteX1" fmla="*/ 177546 w 580262"/>
                  <a:gd name="connsiteY1" fmla="*/ 414053 h 530162"/>
                  <a:gd name="connsiteX2" fmla="*/ 35814 w 580262"/>
                  <a:gd name="connsiteY2" fmla="*/ 414244 h 530162"/>
                  <a:gd name="connsiteX3" fmla="*/ 0 w 580262"/>
                  <a:gd name="connsiteY3" fmla="*/ 378620 h 530162"/>
                  <a:gd name="connsiteX4" fmla="*/ 0 w 580262"/>
                  <a:gd name="connsiteY4" fmla="*/ 36577 h 530162"/>
                  <a:gd name="connsiteX5" fmla="*/ 35909 w 580262"/>
                  <a:gd name="connsiteY5" fmla="*/ 1 h 530162"/>
                  <a:gd name="connsiteX6" fmla="*/ 149828 w 580262"/>
                  <a:gd name="connsiteY6" fmla="*/ 1 h 530162"/>
                  <a:gd name="connsiteX7" fmla="*/ 154972 w 580262"/>
                  <a:gd name="connsiteY7" fmla="*/ 6002 h 530162"/>
                  <a:gd name="connsiteX8" fmla="*/ 153734 w 580262"/>
                  <a:gd name="connsiteY8" fmla="*/ 13051 h 530162"/>
                  <a:gd name="connsiteX9" fmla="*/ 135160 w 580262"/>
                  <a:gd name="connsiteY9" fmla="*/ 28576 h 530162"/>
                  <a:gd name="connsiteX10" fmla="*/ 38005 w 580262"/>
                  <a:gd name="connsiteY10" fmla="*/ 28576 h 530162"/>
                  <a:gd name="connsiteX11" fmla="*/ 25908 w 580262"/>
                  <a:gd name="connsiteY11" fmla="*/ 40864 h 530162"/>
                  <a:gd name="connsiteX12" fmla="*/ 25908 w 580262"/>
                  <a:gd name="connsiteY12" fmla="*/ 374143 h 530162"/>
                  <a:gd name="connsiteX13" fmla="*/ 38576 w 580262"/>
                  <a:gd name="connsiteY13" fmla="*/ 386621 h 530162"/>
                  <a:gd name="connsiteX14" fmla="*/ 541877 w 580262"/>
                  <a:gd name="connsiteY14" fmla="*/ 386621 h 530162"/>
                  <a:gd name="connsiteX15" fmla="*/ 554450 w 580262"/>
                  <a:gd name="connsiteY15" fmla="*/ 373953 h 530162"/>
                  <a:gd name="connsiteX16" fmla="*/ 554450 w 580262"/>
                  <a:gd name="connsiteY16" fmla="*/ 41435 h 530162"/>
                  <a:gd name="connsiteX17" fmla="*/ 541401 w 580262"/>
                  <a:gd name="connsiteY17" fmla="*/ 28576 h 530162"/>
                  <a:gd name="connsiteX18" fmla="*/ 436245 w 580262"/>
                  <a:gd name="connsiteY18" fmla="*/ 28767 h 530162"/>
                  <a:gd name="connsiteX19" fmla="*/ 427768 w 580262"/>
                  <a:gd name="connsiteY19" fmla="*/ 21528 h 530162"/>
                  <a:gd name="connsiteX20" fmla="*/ 425387 w 580262"/>
                  <a:gd name="connsiteY20" fmla="*/ 6669 h 530162"/>
                  <a:gd name="connsiteX21" fmla="*/ 431483 w 580262"/>
                  <a:gd name="connsiteY21" fmla="*/ 1 h 530162"/>
                  <a:gd name="connsiteX22" fmla="*/ 536639 w 580262"/>
                  <a:gd name="connsiteY22" fmla="*/ 97 h 530162"/>
                  <a:gd name="connsiteX23" fmla="*/ 580168 w 580262"/>
                  <a:gd name="connsiteY23" fmla="*/ 28576 h 530162"/>
                  <a:gd name="connsiteX24" fmla="*/ 580263 w 580262"/>
                  <a:gd name="connsiteY24" fmla="*/ 378620 h 530162"/>
                  <a:gd name="connsiteX25" fmla="*/ 543782 w 580262"/>
                  <a:gd name="connsiteY25" fmla="*/ 414720 h 530162"/>
                  <a:gd name="connsiteX26" fmla="*/ 400431 w 580262"/>
                  <a:gd name="connsiteY26" fmla="*/ 414625 h 530162"/>
                  <a:gd name="connsiteX27" fmla="*/ 391859 w 580262"/>
                  <a:gd name="connsiteY27" fmla="*/ 422816 h 530162"/>
                  <a:gd name="connsiteX28" fmla="*/ 391954 w 580262"/>
                  <a:gd name="connsiteY28" fmla="*/ 494444 h 530162"/>
                  <a:gd name="connsiteX29" fmla="*/ 398621 w 580262"/>
                  <a:gd name="connsiteY29" fmla="*/ 501207 h 530162"/>
                  <a:gd name="connsiteX30" fmla="*/ 409004 w 580262"/>
                  <a:gd name="connsiteY30" fmla="*/ 501112 h 530162"/>
                  <a:gd name="connsiteX31" fmla="*/ 424244 w 580262"/>
                  <a:gd name="connsiteY31" fmla="*/ 515399 h 530162"/>
                  <a:gd name="connsiteX32" fmla="*/ 409004 w 580262"/>
                  <a:gd name="connsiteY32" fmla="*/ 530163 h 530162"/>
                  <a:gd name="connsiteX33" fmla="*/ 171736 w 580262"/>
                  <a:gd name="connsiteY33" fmla="*/ 530163 h 530162"/>
                  <a:gd name="connsiteX34" fmla="*/ 156210 w 580262"/>
                  <a:gd name="connsiteY34" fmla="*/ 515685 h 530162"/>
                  <a:gd name="connsiteX35" fmla="*/ 171926 w 580262"/>
                  <a:gd name="connsiteY35" fmla="*/ 501112 h 530162"/>
                  <a:gd name="connsiteX36" fmla="*/ 188024 w 580262"/>
                  <a:gd name="connsiteY36" fmla="*/ 484919 h 530162"/>
                  <a:gd name="connsiteX37" fmla="*/ 187928 w 580262"/>
                  <a:gd name="connsiteY37" fmla="*/ 422911 h 530162"/>
                  <a:gd name="connsiteX38" fmla="*/ 186785 w 580262"/>
                  <a:gd name="connsiteY38" fmla="*/ 415196 h 530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0262" h="530162">
                    <a:moveTo>
                      <a:pt x="186785" y="415196"/>
                    </a:moveTo>
                    <a:cubicBezTo>
                      <a:pt x="183928" y="413005"/>
                      <a:pt x="180594" y="414053"/>
                      <a:pt x="177546" y="414053"/>
                    </a:cubicBezTo>
                    <a:cubicBezTo>
                      <a:pt x="130302" y="413958"/>
                      <a:pt x="83058" y="413386"/>
                      <a:pt x="35814" y="414244"/>
                    </a:cubicBezTo>
                    <a:cubicBezTo>
                      <a:pt x="15145" y="414625"/>
                      <a:pt x="0" y="399575"/>
                      <a:pt x="0" y="378620"/>
                    </a:cubicBezTo>
                    <a:cubicBezTo>
                      <a:pt x="191" y="264606"/>
                      <a:pt x="191" y="150592"/>
                      <a:pt x="0" y="36577"/>
                    </a:cubicBezTo>
                    <a:cubicBezTo>
                      <a:pt x="0" y="19813"/>
                      <a:pt x="14192" y="-189"/>
                      <a:pt x="35909" y="1"/>
                    </a:cubicBezTo>
                    <a:cubicBezTo>
                      <a:pt x="73819" y="382"/>
                      <a:pt x="111824" y="192"/>
                      <a:pt x="149828" y="1"/>
                    </a:cubicBezTo>
                    <a:cubicBezTo>
                      <a:pt x="154496" y="1"/>
                      <a:pt x="156972" y="668"/>
                      <a:pt x="154972" y="6002"/>
                    </a:cubicBezTo>
                    <a:cubicBezTo>
                      <a:pt x="154210" y="8193"/>
                      <a:pt x="154210" y="10669"/>
                      <a:pt x="153734" y="13051"/>
                    </a:cubicBezTo>
                    <a:cubicBezTo>
                      <a:pt x="150686" y="28576"/>
                      <a:pt x="150686" y="28576"/>
                      <a:pt x="135160" y="28576"/>
                    </a:cubicBezTo>
                    <a:cubicBezTo>
                      <a:pt x="102775" y="28576"/>
                      <a:pt x="70390" y="28576"/>
                      <a:pt x="38005" y="28576"/>
                    </a:cubicBezTo>
                    <a:cubicBezTo>
                      <a:pt x="28194" y="28576"/>
                      <a:pt x="25908" y="30862"/>
                      <a:pt x="25908" y="40864"/>
                    </a:cubicBezTo>
                    <a:cubicBezTo>
                      <a:pt x="25908" y="151925"/>
                      <a:pt x="25908" y="263082"/>
                      <a:pt x="25908" y="374143"/>
                    </a:cubicBezTo>
                    <a:cubicBezTo>
                      <a:pt x="25908" y="384430"/>
                      <a:pt x="28194" y="386621"/>
                      <a:pt x="38576" y="386621"/>
                    </a:cubicBezTo>
                    <a:cubicBezTo>
                      <a:pt x="206311" y="386621"/>
                      <a:pt x="374142" y="386621"/>
                      <a:pt x="541877" y="386621"/>
                    </a:cubicBezTo>
                    <a:cubicBezTo>
                      <a:pt x="552260" y="386621"/>
                      <a:pt x="554450" y="384430"/>
                      <a:pt x="554450" y="373953"/>
                    </a:cubicBezTo>
                    <a:cubicBezTo>
                      <a:pt x="554450" y="263082"/>
                      <a:pt x="554450" y="152306"/>
                      <a:pt x="554450" y="41435"/>
                    </a:cubicBezTo>
                    <a:cubicBezTo>
                      <a:pt x="554450" y="30481"/>
                      <a:pt x="552450" y="28576"/>
                      <a:pt x="541401" y="28576"/>
                    </a:cubicBezTo>
                    <a:cubicBezTo>
                      <a:pt x="506349" y="28576"/>
                      <a:pt x="471297" y="28386"/>
                      <a:pt x="436245" y="28767"/>
                    </a:cubicBezTo>
                    <a:cubicBezTo>
                      <a:pt x="430530" y="28862"/>
                      <a:pt x="428149" y="27148"/>
                      <a:pt x="427768" y="21528"/>
                    </a:cubicBezTo>
                    <a:cubicBezTo>
                      <a:pt x="427387" y="16575"/>
                      <a:pt x="426815" y="11431"/>
                      <a:pt x="425387" y="6669"/>
                    </a:cubicBezTo>
                    <a:cubicBezTo>
                      <a:pt x="423482" y="287"/>
                      <a:pt x="426339" y="1"/>
                      <a:pt x="431483" y="1"/>
                    </a:cubicBezTo>
                    <a:cubicBezTo>
                      <a:pt x="466535" y="192"/>
                      <a:pt x="501587" y="97"/>
                      <a:pt x="536639" y="97"/>
                    </a:cubicBezTo>
                    <a:cubicBezTo>
                      <a:pt x="562642" y="97"/>
                      <a:pt x="570262" y="5050"/>
                      <a:pt x="580168" y="28576"/>
                    </a:cubicBezTo>
                    <a:cubicBezTo>
                      <a:pt x="580168" y="145258"/>
                      <a:pt x="580263" y="261939"/>
                      <a:pt x="580263" y="378620"/>
                    </a:cubicBezTo>
                    <a:cubicBezTo>
                      <a:pt x="580263" y="400813"/>
                      <a:pt x="566166" y="414720"/>
                      <a:pt x="543782" y="414720"/>
                    </a:cubicBezTo>
                    <a:cubicBezTo>
                      <a:pt x="495967" y="414720"/>
                      <a:pt x="448247" y="414815"/>
                      <a:pt x="400431" y="414625"/>
                    </a:cubicBezTo>
                    <a:cubicBezTo>
                      <a:pt x="394049" y="414625"/>
                      <a:pt x="391763" y="415958"/>
                      <a:pt x="391859" y="422816"/>
                    </a:cubicBezTo>
                    <a:cubicBezTo>
                      <a:pt x="392240" y="446629"/>
                      <a:pt x="392144" y="470536"/>
                      <a:pt x="391954" y="494444"/>
                    </a:cubicBezTo>
                    <a:cubicBezTo>
                      <a:pt x="391859" y="499588"/>
                      <a:pt x="393287" y="501778"/>
                      <a:pt x="398621" y="501207"/>
                    </a:cubicBezTo>
                    <a:cubicBezTo>
                      <a:pt x="402050" y="500826"/>
                      <a:pt x="405479" y="501112"/>
                      <a:pt x="409004" y="501112"/>
                    </a:cubicBezTo>
                    <a:cubicBezTo>
                      <a:pt x="419100" y="501302"/>
                      <a:pt x="424244" y="506160"/>
                      <a:pt x="424244" y="515399"/>
                    </a:cubicBezTo>
                    <a:cubicBezTo>
                      <a:pt x="424244" y="525686"/>
                      <a:pt x="419767" y="530163"/>
                      <a:pt x="409004" y="530163"/>
                    </a:cubicBezTo>
                    <a:cubicBezTo>
                      <a:pt x="329946" y="530163"/>
                      <a:pt x="250793" y="530163"/>
                      <a:pt x="171736" y="530163"/>
                    </a:cubicBezTo>
                    <a:cubicBezTo>
                      <a:pt x="160877" y="530163"/>
                      <a:pt x="156305" y="525781"/>
                      <a:pt x="156210" y="515685"/>
                    </a:cubicBezTo>
                    <a:cubicBezTo>
                      <a:pt x="156115" y="506160"/>
                      <a:pt x="161354" y="501302"/>
                      <a:pt x="171926" y="501112"/>
                    </a:cubicBezTo>
                    <a:cubicBezTo>
                      <a:pt x="188024" y="500826"/>
                      <a:pt x="188024" y="500826"/>
                      <a:pt x="188024" y="484919"/>
                    </a:cubicBezTo>
                    <a:cubicBezTo>
                      <a:pt x="188024" y="464250"/>
                      <a:pt x="188024" y="443581"/>
                      <a:pt x="187928" y="422911"/>
                    </a:cubicBezTo>
                    <a:cubicBezTo>
                      <a:pt x="187928" y="420149"/>
                      <a:pt x="188976" y="417387"/>
                      <a:pt x="186785" y="415196"/>
                    </a:cubicBezTo>
                    <a:close/>
                  </a:path>
                </a:pathLst>
              </a:custGeom>
              <a:solidFill>
                <a:srgbClr val="00BBEA"/>
              </a:solidFill>
              <a:ln w="9525" cap="flat">
                <a:noFill/>
                <a:prstDash val="solid"/>
                <a:miter/>
              </a:ln>
            </p:spPr>
            <p:txBody>
              <a:bodyPr rtlCol="0" anchor="ctr"/>
              <a:lstStyle/>
              <a:p>
                <a:endParaRPr lang="en-US" dirty="0"/>
              </a:p>
            </p:txBody>
          </p:sp>
          <p:sp>
            <p:nvSpPr>
              <p:cNvPr id="170" name="Freeform: Shape 169">
                <a:extLst>
                  <a:ext uri="{FF2B5EF4-FFF2-40B4-BE49-F238E27FC236}">
                    <a16:creationId xmlns:a16="http://schemas.microsoft.com/office/drawing/2014/main" id="{1C996B4E-A2CA-4978-ADC7-D2CBFFE095E9}"/>
                  </a:ext>
                </a:extLst>
              </p:cNvPr>
              <p:cNvSpPr/>
              <p:nvPr/>
            </p:nvSpPr>
            <p:spPr>
              <a:xfrm>
                <a:off x="6035131" y="3395131"/>
                <a:ext cx="138973" cy="160550"/>
              </a:xfrm>
              <a:custGeom>
                <a:avLst/>
                <a:gdLst>
                  <a:gd name="connsiteX0" fmla="*/ 69537 w 138973"/>
                  <a:gd name="connsiteY0" fmla="*/ 160550 h 160550"/>
                  <a:gd name="connsiteX1" fmla="*/ 13053 w 138973"/>
                  <a:gd name="connsiteY1" fmla="*/ 160550 h 160550"/>
                  <a:gd name="connsiteX2" fmla="*/ 99 w 138973"/>
                  <a:gd name="connsiteY2" fmla="*/ 147977 h 160550"/>
                  <a:gd name="connsiteX3" fmla="*/ 4 w 138973"/>
                  <a:gd name="connsiteY3" fmla="*/ 78064 h 160550"/>
                  <a:gd name="connsiteX4" fmla="*/ 6672 w 138973"/>
                  <a:gd name="connsiteY4" fmla="*/ 71396 h 160550"/>
                  <a:gd name="connsiteX5" fmla="*/ 19435 w 138973"/>
                  <a:gd name="connsiteY5" fmla="*/ 58537 h 160550"/>
                  <a:gd name="connsiteX6" fmla="*/ 39152 w 138973"/>
                  <a:gd name="connsiteY6" fmla="*/ 10722 h 160550"/>
                  <a:gd name="connsiteX7" fmla="*/ 90777 w 138973"/>
                  <a:gd name="connsiteY7" fmla="*/ 5293 h 160550"/>
                  <a:gd name="connsiteX8" fmla="*/ 119162 w 138973"/>
                  <a:gd name="connsiteY8" fmla="*/ 48917 h 160550"/>
                  <a:gd name="connsiteX9" fmla="*/ 119162 w 138973"/>
                  <a:gd name="connsiteY9" fmla="*/ 54442 h 160550"/>
                  <a:gd name="connsiteX10" fmla="*/ 120210 w 138973"/>
                  <a:gd name="connsiteY10" fmla="*/ 69967 h 160550"/>
                  <a:gd name="connsiteX11" fmla="*/ 134497 w 138973"/>
                  <a:gd name="connsiteY11" fmla="*/ 71396 h 160550"/>
                  <a:gd name="connsiteX12" fmla="*/ 138974 w 138973"/>
                  <a:gd name="connsiteY12" fmla="*/ 76159 h 160550"/>
                  <a:gd name="connsiteX13" fmla="*/ 138879 w 138973"/>
                  <a:gd name="connsiteY13" fmla="*/ 150073 h 160550"/>
                  <a:gd name="connsiteX14" fmla="*/ 126877 w 138973"/>
                  <a:gd name="connsiteY14" fmla="*/ 160550 h 160550"/>
                  <a:gd name="connsiteX15" fmla="*/ 69537 w 138973"/>
                  <a:gd name="connsiteY15" fmla="*/ 160550 h 16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973" h="160550">
                    <a:moveTo>
                      <a:pt x="69537" y="160550"/>
                    </a:moveTo>
                    <a:cubicBezTo>
                      <a:pt x="50677" y="160550"/>
                      <a:pt x="31913" y="160550"/>
                      <a:pt x="13053" y="160550"/>
                    </a:cubicBezTo>
                    <a:cubicBezTo>
                      <a:pt x="3147" y="160550"/>
                      <a:pt x="99" y="157597"/>
                      <a:pt x="99" y="147977"/>
                    </a:cubicBezTo>
                    <a:cubicBezTo>
                      <a:pt x="99" y="124641"/>
                      <a:pt x="195" y="101305"/>
                      <a:pt x="4" y="78064"/>
                    </a:cubicBezTo>
                    <a:cubicBezTo>
                      <a:pt x="-91" y="72825"/>
                      <a:pt x="1433" y="71301"/>
                      <a:pt x="6672" y="71396"/>
                    </a:cubicBezTo>
                    <a:cubicBezTo>
                      <a:pt x="19435" y="71491"/>
                      <a:pt x="19816" y="71206"/>
                      <a:pt x="19435" y="58537"/>
                    </a:cubicBezTo>
                    <a:cubicBezTo>
                      <a:pt x="18768" y="39487"/>
                      <a:pt x="23340" y="22628"/>
                      <a:pt x="39152" y="10722"/>
                    </a:cubicBezTo>
                    <a:cubicBezTo>
                      <a:pt x="55154" y="-1280"/>
                      <a:pt x="72775" y="-3375"/>
                      <a:pt x="90777" y="5293"/>
                    </a:cubicBezTo>
                    <a:cubicBezTo>
                      <a:pt x="108780" y="13960"/>
                      <a:pt x="118019" y="29010"/>
                      <a:pt x="119162" y="48917"/>
                    </a:cubicBezTo>
                    <a:cubicBezTo>
                      <a:pt x="119257" y="50727"/>
                      <a:pt x="119162" y="52632"/>
                      <a:pt x="119162" y="54442"/>
                    </a:cubicBezTo>
                    <a:cubicBezTo>
                      <a:pt x="119352" y="59680"/>
                      <a:pt x="117828" y="66062"/>
                      <a:pt x="120210" y="69967"/>
                    </a:cubicBezTo>
                    <a:cubicBezTo>
                      <a:pt x="122781" y="73968"/>
                      <a:pt x="129544" y="71206"/>
                      <a:pt x="134497" y="71396"/>
                    </a:cubicBezTo>
                    <a:cubicBezTo>
                      <a:pt x="138021" y="71587"/>
                      <a:pt x="138974" y="72825"/>
                      <a:pt x="138974" y="76159"/>
                    </a:cubicBezTo>
                    <a:cubicBezTo>
                      <a:pt x="138879" y="100828"/>
                      <a:pt x="139069" y="125403"/>
                      <a:pt x="138879" y="150073"/>
                    </a:cubicBezTo>
                    <a:cubicBezTo>
                      <a:pt x="138783" y="157216"/>
                      <a:pt x="134783" y="160550"/>
                      <a:pt x="126877" y="160550"/>
                    </a:cubicBezTo>
                    <a:cubicBezTo>
                      <a:pt x="107732" y="160550"/>
                      <a:pt x="88682" y="160550"/>
                      <a:pt x="69537" y="160550"/>
                    </a:cubicBezTo>
                    <a:close/>
                  </a:path>
                </a:pathLst>
              </a:custGeom>
              <a:solidFill>
                <a:srgbClr val="FAAA2C"/>
              </a:solidFill>
              <a:ln w="9525" cap="flat">
                <a:noFill/>
                <a:prstDash val="solid"/>
                <a:miter/>
              </a:ln>
            </p:spPr>
            <p:txBody>
              <a:bodyPr rtlCol="0" anchor="ctr"/>
              <a:lstStyle/>
              <a:p>
                <a:endParaRPr lang="en-US" dirty="0"/>
              </a:p>
            </p:txBody>
          </p:sp>
          <p:sp>
            <p:nvSpPr>
              <p:cNvPr id="171" name="Freeform: Shape 170">
                <a:extLst>
                  <a:ext uri="{FF2B5EF4-FFF2-40B4-BE49-F238E27FC236}">
                    <a16:creationId xmlns:a16="http://schemas.microsoft.com/office/drawing/2014/main" id="{6FA911EB-59DD-4B22-A5FA-DA88F961441D}"/>
                  </a:ext>
                </a:extLst>
              </p:cNvPr>
              <p:cNvSpPr/>
              <p:nvPr/>
            </p:nvSpPr>
            <p:spPr>
              <a:xfrm>
                <a:off x="5855493" y="3351966"/>
                <a:ext cx="160853" cy="127992"/>
              </a:xfrm>
              <a:custGeom>
                <a:avLst/>
                <a:gdLst>
                  <a:gd name="connsiteX0" fmla="*/ 24194 w 160853"/>
                  <a:gd name="connsiteY0" fmla="*/ 126563 h 127992"/>
                  <a:gd name="connsiteX1" fmla="*/ 24289 w 160853"/>
                  <a:gd name="connsiteY1" fmla="*/ 105418 h 127992"/>
                  <a:gd name="connsiteX2" fmla="*/ 18193 w 160853"/>
                  <a:gd name="connsiteY2" fmla="*/ 98750 h 127992"/>
                  <a:gd name="connsiteX3" fmla="*/ 0 w 160853"/>
                  <a:gd name="connsiteY3" fmla="*/ 79986 h 127992"/>
                  <a:gd name="connsiteX4" fmla="*/ 0 w 160853"/>
                  <a:gd name="connsiteY4" fmla="*/ 15597 h 127992"/>
                  <a:gd name="connsiteX5" fmla="*/ 15240 w 160853"/>
                  <a:gd name="connsiteY5" fmla="*/ 71 h 127992"/>
                  <a:gd name="connsiteX6" fmla="*/ 144971 w 160853"/>
                  <a:gd name="connsiteY6" fmla="*/ 71 h 127992"/>
                  <a:gd name="connsiteX7" fmla="*/ 160782 w 160853"/>
                  <a:gd name="connsiteY7" fmla="*/ 15978 h 127992"/>
                  <a:gd name="connsiteX8" fmla="*/ 160782 w 160853"/>
                  <a:gd name="connsiteY8" fmla="*/ 82748 h 127992"/>
                  <a:gd name="connsiteX9" fmla="*/ 144399 w 160853"/>
                  <a:gd name="connsiteY9" fmla="*/ 98846 h 127992"/>
                  <a:gd name="connsiteX10" fmla="*/ 68008 w 160853"/>
                  <a:gd name="connsiteY10" fmla="*/ 98465 h 127992"/>
                  <a:gd name="connsiteX11" fmla="*/ 43053 w 160853"/>
                  <a:gd name="connsiteY11" fmla="*/ 110561 h 127992"/>
                  <a:gd name="connsiteX12" fmla="*/ 27051 w 160853"/>
                  <a:gd name="connsiteY12" fmla="*/ 127992 h 127992"/>
                  <a:gd name="connsiteX13" fmla="*/ 24194 w 160853"/>
                  <a:gd name="connsiteY13" fmla="*/ 126563 h 12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853" h="127992">
                    <a:moveTo>
                      <a:pt x="24194" y="126563"/>
                    </a:moveTo>
                    <a:cubicBezTo>
                      <a:pt x="24194" y="119515"/>
                      <a:pt x="24003" y="112466"/>
                      <a:pt x="24289" y="105418"/>
                    </a:cubicBezTo>
                    <a:cubicBezTo>
                      <a:pt x="24479" y="100846"/>
                      <a:pt x="23336" y="98941"/>
                      <a:pt x="18193" y="98750"/>
                    </a:cubicBezTo>
                    <a:cubicBezTo>
                      <a:pt x="2381" y="98465"/>
                      <a:pt x="0" y="95702"/>
                      <a:pt x="0" y="79986"/>
                    </a:cubicBezTo>
                    <a:cubicBezTo>
                      <a:pt x="0" y="58555"/>
                      <a:pt x="0" y="37028"/>
                      <a:pt x="0" y="15597"/>
                    </a:cubicBezTo>
                    <a:cubicBezTo>
                      <a:pt x="0" y="4358"/>
                      <a:pt x="4191" y="71"/>
                      <a:pt x="15240" y="71"/>
                    </a:cubicBezTo>
                    <a:cubicBezTo>
                      <a:pt x="58483" y="-24"/>
                      <a:pt x="101727" y="-24"/>
                      <a:pt x="144971" y="71"/>
                    </a:cubicBezTo>
                    <a:cubicBezTo>
                      <a:pt x="156496" y="71"/>
                      <a:pt x="160687" y="4358"/>
                      <a:pt x="160782" y="15978"/>
                    </a:cubicBezTo>
                    <a:cubicBezTo>
                      <a:pt x="160877" y="38267"/>
                      <a:pt x="160877" y="60460"/>
                      <a:pt x="160782" y="82748"/>
                    </a:cubicBezTo>
                    <a:cubicBezTo>
                      <a:pt x="160782" y="94750"/>
                      <a:pt x="156496" y="98846"/>
                      <a:pt x="144399" y="98846"/>
                    </a:cubicBezTo>
                    <a:cubicBezTo>
                      <a:pt x="118967" y="98846"/>
                      <a:pt x="93440" y="99608"/>
                      <a:pt x="68008" y="98465"/>
                    </a:cubicBezTo>
                    <a:cubicBezTo>
                      <a:pt x="56579" y="97988"/>
                      <a:pt x="49720" y="102846"/>
                      <a:pt x="43053" y="110561"/>
                    </a:cubicBezTo>
                    <a:cubicBezTo>
                      <a:pt x="37909" y="116467"/>
                      <a:pt x="32385" y="122182"/>
                      <a:pt x="27051" y="127992"/>
                    </a:cubicBezTo>
                    <a:cubicBezTo>
                      <a:pt x="26098" y="127516"/>
                      <a:pt x="25146" y="127040"/>
                      <a:pt x="24194" y="126563"/>
                    </a:cubicBezTo>
                    <a:close/>
                  </a:path>
                </a:pathLst>
              </a:custGeom>
              <a:solidFill>
                <a:srgbClr val="74BE4B"/>
              </a:solidFill>
              <a:ln w="9525" cap="flat">
                <a:noFill/>
                <a:prstDash val="solid"/>
                <a:miter/>
              </a:ln>
            </p:spPr>
            <p:txBody>
              <a:bodyPr rtlCol="0" anchor="ctr"/>
              <a:lstStyle/>
              <a:p>
                <a:endParaRPr lang="en-US" dirty="0"/>
              </a:p>
            </p:txBody>
          </p:sp>
          <p:sp>
            <p:nvSpPr>
              <p:cNvPr id="172" name="Freeform: Shape 171">
                <a:extLst>
                  <a:ext uri="{FF2B5EF4-FFF2-40B4-BE49-F238E27FC236}">
                    <a16:creationId xmlns:a16="http://schemas.microsoft.com/office/drawing/2014/main" id="{775ACAC3-7A49-4AEE-95D1-CB97F7475AB6}"/>
                  </a:ext>
                </a:extLst>
              </p:cNvPr>
              <p:cNvSpPr/>
              <p:nvPr/>
            </p:nvSpPr>
            <p:spPr>
              <a:xfrm>
                <a:off x="6191345" y="3324796"/>
                <a:ext cx="135826" cy="142017"/>
              </a:xfrm>
              <a:custGeom>
                <a:avLst/>
                <a:gdLst>
                  <a:gd name="connsiteX0" fmla="*/ 54388 w 135826"/>
                  <a:gd name="connsiteY0" fmla="*/ 142018 h 142017"/>
                  <a:gd name="connsiteX1" fmla="*/ 52959 w 135826"/>
                  <a:gd name="connsiteY1" fmla="*/ 122872 h 142017"/>
                  <a:gd name="connsiteX2" fmla="*/ 44863 w 135826"/>
                  <a:gd name="connsiteY2" fmla="*/ 114871 h 142017"/>
                  <a:gd name="connsiteX3" fmla="*/ 24003 w 135826"/>
                  <a:gd name="connsiteY3" fmla="*/ 94012 h 142017"/>
                  <a:gd name="connsiteX4" fmla="*/ 16097 w 135826"/>
                  <a:gd name="connsiteY4" fmla="*/ 85820 h 142017"/>
                  <a:gd name="connsiteX5" fmla="*/ 0 w 135826"/>
                  <a:gd name="connsiteY5" fmla="*/ 84772 h 142017"/>
                  <a:gd name="connsiteX6" fmla="*/ 8763 w 135826"/>
                  <a:gd name="connsiteY6" fmla="*/ 82296 h 142017"/>
                  <a:gd name="connsiteX7" fmla="*/ 17526 w 135826"/>
                  <a:gd name="connsiteY7" fmla="*/ 73152 h 142017"/>
                  <a:gd name="connsiteX8" fmla="*/ 22574 w 135826"/>
                  <a:gd name="connsiteY8" fmla="*/ 55816 h 142017"/>
                  <a:gd name="connsiteX9" fmla="*/ 24384 w 135826"/>
                  <a:gd name="connsiteY9" fmla="*/ 47816 h 142017"/>
                  <a:gd name="connsiteX10" fmla="*/ 45149 w 135826"/>
                  <a:gd name="connsiteY10" fmla="*/ 26956 h 142017"/>
                  <a:gd name="connsiteX11" fmla="*/ 52959 w 135826"/>
                  <a:gd name="connsiteY11" fmla="*/ 18288 h 142017"/>
                  <a:gd name="connsiteX12" fmla="*/ 54197 w 135826"/>
                  <a:gd name="connsiteY12" fmla="*/ 0 h 142017"/>
                  <a:gd name="connsiteX13" fmla="*/ 56579 w 135826"/>
                  <a:gd name="connsiteY13" fmla="*/ 14288 h 142017"/>
                  <a:gd name="connsiteX14" fmla="*/ 63246 w 135826"/>
                  <a:gd name="connsiteY14" fmla="*/ 20479 h 142017"/>
                  <a:gd name="connsiteX15" fmla="*/ 82868 w 135826"/>
                  <a:gd name="connsiteY15" fmla="*/ 24098 h 142017"/>
                  <a:gd name="connsiteX16" fmla="*/ 90773 w 135826"/>
                  <a:gd name="connsiteY16" fmla="*/ 27146 h 142017"/>
                  <a:gd name="connsiteX17" fmla="*/ 111633 w 135826"/>
                  <a:gd name="connsiteY17" fmla="*/ 48006 h 142017"/>
                  <a:gd name="connsiteX18" fmla="*/ 114872 w 135826"/>
                  <a:gd name="connsiteY18" fmla="*/ 56102 h 142017"/>
                  <a:gd name="connsiteX19" fmla="*/ 118205 w 135826"/>
                  <a:gd name="connsiteY19" fmla="*/ 74866 h 142017"/>
                  <a:gd name="connsiteX20" fmla="*/ 124873 w 135826"/>
                  <a:gd name="connsiteY20" fmla="*/ 82391 h 142017"/>
                  <a:gd name="connsiteX21" fmla="*/ 135826 w 135826"/>
                  <a:gd name="connsiteY21" fmla="*/ 84868 h 142017"/>
                  <a:gd name="connsiteX22" fmla="*/ 120491 w 135826"/>
                  <a:gd name="connsiteY22" fmla="*/ 85820 h 142017"/>
                  <a:gd name="connsiteX23" fmla="*/ 111347 w 135826"/>
                  <a:gd name="connsiteY23" fmla="*/ 92773 h 142017"/>
                  <a:gd name="connsiteX24" fmla="*/ 91059 w 135826"/>
                  <a:gd name="connsiteY24" fmla="*/ 114586 h 142017"/>
                  <a:gd name="connsiteX25" fmla="*/ 82963 w 135826"/>
                  <a:gd name="connsiteY25" fmla="*/ 116395 h 142017"/>
                  <a:gd name="connsiteX26" fmla="*/ 57055 w 135826"/>
                  <a:gd name="connsiteY26" fmla="*/ 119539 h 142017"/>
                  <a:gd name="connsiteX27" fmla="*/ 54388 w 135826"/>
                  <a:gd name="connsiteY27" fmla="*/ 142018 h 142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5826" h="142017">
                    <a:moveTo>
                      <a:pt x="54388" y="142018"/>
                    </a:moveTo>
                    <a:cubicBezTo>
                      <a:pt x="51245" y="135826"/>
                      <a:pt x="52959" y="129254"/>
                      <a:pt x="52959" y="122872"/>
                    </a:cubicBezTo>
                    <a:cubicBezTo>
                      <a:pt x="52959" y="116872"/>
                      <a:pt x="51149" y="113919"/>
                      <a:pt x="44863" y="114871"/>
                    </a:cubicBezTo>
                    <a:cubicBezTo>
                      <a:pt x="35433" y="110490"/>
                      <a:pt x="28575" y="103346"/>
                      <a:pt x="24003" y="94012"/>
                    </a:cubicBezTo>
                    <a:cubicBezTo>
                      <a:pt x="24956" y="87820"/>
                      <a:pt x="22098" y="85725"/>
                      <a:pt x="16097" y="85820"/>
                    </a:cubicBezTo>
                    <a:cubicBezTo>
                      <a:pt x="10763" y="85916"/>
                      <a:pt x="5239" y="87058"/>
                      <a:pt x="0" y="84772"/>
                    </a:cubicBezTo>
                    <a:cubicBezTo>
                      <a:pt x="2286" y="81915"/>
                      <a:pt x="5620" y="82487"/>
                      <a:pt x="8763" y="82296"/>
                    </a:cubicBezTo>
                    <a:cubicBezTo>
                      <a:pt x="17907" y="81820"/>
                      <a:pt x="17621" y="81915"/>
                      <a:pt x="17526" y="73152"/>
                    </a:cubicBezTo>
                    <a:cubicBezTo>
                      <a:pt x="17431" y="66961"/>
                      <a:pt x="16955" y="60484"/>
                      <a:pt x="22574" y="55816"/>
                    </a:cubicBezTo>
                    <a:cubicBezTo>
                      <a:pt x="23146" y="53149"/>
                      <a:pt x="23813" y="50482"/>
                      <a:pt x="24384" y="47816"/>
                    </a:cubicBezTo>
                    <a:cubicBezTo>
                      <a:pt x="28480" y="38005"/>
                      <a:pt x="35814" y="31432"/>
                      <a:pt x="45149" y="26956"/>
                    </a:cubicBezTo>
                    <a:cubicBezTo>
                      <a:pt x="51149" y="27146"/>
                      <a:pt x="53054" y="24193"/>
                      <a:pt x="52959" y="18288"/>
                    </a:cubicBezTo>
                    <a:cubicBezTo>
                      <a:pt x="52864" y="12192"/>
                      <a:pt x="51245" y="5905"/>
                      <a:pt x="54197" y="0"/>
                    </a:cubicBezTo>
                    <a:cubicBezTo>
                      <a:pt x="58103" y="4191"/>
                      <a:pt x="56483" y="9430"/>
                      <a:pt x="56579" y="14288"/>
                    </a:cubicBezTo>
                    <a:cubicBezTo>
                      <a:pt x="56674" y="19050"/>
                      <a:pt x="58484" y="20765"/>
                      <a:pt x="63246" y="20479"/>
                    </a:cubicBezTo>
                    <a:cubicBezTo>
                      <a:pt x="70009" y="20098"/>
                      <a:pt x="76962" y="19336"/>
                      <a:pt x="82868" y="24098"/>
                    </a:cubicBezTo>
                    <a:cubicBezTo>
                      <a:pt x="85154" y="26098"/>
                      <a:pt x="87821" y="26956"/>
                      <a:pt x="90773" y="27146"/>
                    </a:cubicBezTo>
                    <a:cubicBezTo>
                      <a:pt x="100870" y="30861"/>
                      <a:pt x="108014" y="37624"/>
                      <a:pt x="111633" y="48006"/>
                    </a:cubicBezTo>
                    <a:cubicBezTo>
                      <a:pt x="111919" y="51054"/>
                      <a:pt x="112681" y="53816"/>
                      <a:pt x="114872" y="56102"/>
                    </a:cubicBezTo>
                    <a:cubicBezTo>
                      <a:pt x="118872" y="61817"/>
                      <a:pt x="119063" y="68390"/>
                      <a:pt x="118205" y="74866"/>
                    </a:cubicBezTo>
                    <a:cubicBezTo>
                      <a:pt x="117443" y="80486"/>
                      <a:pt x="119444" y="82391"/>
                      <a:pt x="124873" y="82391"/>
                    </a:cubicBezTo>
                    <a:cubicBezTo>
                      <a:pt x="128683" y="82391"/>
                      <a:pt x="132778" y="81439"/>
                      <a:pt x="135826" y="84868"/>
                    </a:cubicBezTo>
                    <a:cubicBezTo>
                      <a:pt x="130874" y="87058"/>
                      <a:pt x="125540" y="86011"/>
                      <a:pt x="120491" y="85820"/>
                    </a:cubicBezTo>
                    <a:cubicBezTo>
                      <a:pt x="115062" y="85630"/>
                      <a:pt x="112109" y="87440"/>
                      <a:pt x="111347" y="92773"/>
                    </a:cubicBezTo>
                    <a:cubicBezTo>
                      <a:pt x="108680" y="103822"/>
                      <a:pt x="100394" y="109728"/>
                      <a:pt x="91059" y="114586"/>
                    </a:cubicBezTo>
                    <a:cubicBezTo>
                      <a:pt x="88106" y="114109"/>
                      <a:pt x="85535" y="115443"/>
                      <a:pt x="82963" y="116395"/>
                    </a:cubicBezTo>
                    <a:cubicBezTo>
                      <a:pt x="75057" y="123349"/>
                      <a:pt x="66008" y="121253"/>
                      <a:pt x="57055" y="119539"/>
                    </a:cubicBezTo>
                    <a:cubicBezTo>
                      <a:pt x="55150" y="127159"/>
                      <a:pt x="59055" y="135160"/>
                      <a:pt x="54388" y="142018"/>
                    </a:cubicBezTo>
                    <a:close/>
                  </a:path>
                </a:pathLst>
              </a:custGeom>
              <a:solidFill>
                <a:srgbClr val="A5A7AA"/>
              </a:solidFill>
              <a:ln w="9525" cap="flat">
                <a:noFill/>
                <a:prstDash val="solid"/>
                <a:miter/>
              </a:ln>
            </p:spPr>
            <p:txBody>
              <a:bodyPr rtlCol="0" anchor="ctr"/>
              <a:lstStyle/>
              <a:p>
                <a:endParaRPr lang="en-US" dirty="0"/>
              </a:p>
            </p:txBody>
          </p:sp>
          <p:sp>
            <p:nvSpPr>
              <p:cNvPr id="173" name="Freeform: Shape 172">
                <a:extLst>
                  <a:ext uri="{FF2B5EF4-FFF2-40B4-BE49-F238E27FC236}">
                    <a16:creationId xmlns:a16="http://schemas.microsoft.com/office/drawing/2014/main" id="{2A162A6D-F7A0-4109-A3B9-DEBFFC84CB2D}"/>
                  </a:ext>
                </a:extLst>
              </p:cNvPr>
              <p:cNvSpPr/>
              <p:nvPr/>
            </p:nvSpPr>
            <p:spPr>
              <a:xfrm>
                <a:off x="6282213" y="3333341"/>
                <a:ext cx="37722" cy="39555"/>
              </a:xfrm>
              <a:custGeom>
                <a:avLst/>
                <a:gdLst>
                  <a:gd name="connsiteX0" fmla="*/ 20860 w 37722"/>
                  <a:gd name="connsiteY0" fmla="*/ 39556 h 39555"/>
                  <a:gd name="connsiteX1" fmla="*/ 0 w 37722"/>
                  <a:gd name="connsiteY1" fmla="*/ 18696 h 39555"/>
                  <a:gd name="connsiteX2" fmla="*/ 12668 w 37722"/>
                  <a:gd name="connsiteY2" fmla="*/ 5647 h 39555"/>
                  <a:gd name="connsiteX3" fmla="*/ 29337 w 37722"/>
                  <a:gd name="connsiteY3" fmla="*/ 2980 h 39555"/>
                  <a:gd name="connsiteX4" fmla="*/ 34290 w 37722"/>
                  <a:gd name="connsiteY4" fmla="*/ 26125 h 39555"/>
                  <a:gd name="connsiteX5" fmla="*/ 20860 w 37722"/>
                  <a:gd name="connsiteY5" fmla="*/ 39556 h 3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22" h="39555">
                    <a:moveTo>
                      <a:pt x="20860" y="39556"/>
                    </a:moveTo>
                    <a:cubicBezTo>
                      <a:pt x="15145" y="31459"/>
                      <a:pt x="8001" y="24601"/>
                      <a:pt x="0" y="18696"/>
                    </a:cubicBezTo>
                    <a:cubicBezTo>
                      <a:pt x="4191" y="14314"/>
                      <a:pt x="8382" y="10028"/>
                      <a:pt x="12668" y="5647"/>
                    </a:cubicBezTo>
                    <a:cubicBezTo>
                      <a:pt x="19145" y="-926"/>
                      <a:pt x="24193" y="-1688"/>
                      <a:pt x="29337" y="2980"/>
                    </a:cubicBezTo>
                    <a:cubicBezTo>
                      <a:pt x="38291" y="11076"/>
                      <a:pt x="40291" y="19172"/>
                      <a:pt x="34290" y="26125"/>
                    </a:cubicBezTo>
                    <a:cubicBezTo>
                      <a:pt x="30194" y="30983"/>
                      <a:pt x="25336" y="35174"/>
                      <a:pt x="20860" y="39556"/>
                    </a:cubicBezTo>
                    <a:close/>
                  </a:path>
                </a:pathLst>
              </a:custGeom>
              <a:solidFill>
                <a:srgbClr val="D0D3D3"/>
              </a:solidFill>
              <a:ln w="9525" cap="flat">
                <a:noFill/>
                <a:prstDash val="solid"/>
                <a:miter/>
              </a:ln>
            </p:spPr>
            <p:txBody>
              <a:bodyPr rtlCol="0" anchor="ctr"/>
              <a:lstStyle/>
              <a:p>
                <a:endParaRPr lang="en-US" dirty="0"/>
              </a:p>
            </p:txBody>
          </p:sp>
          <p:sp>
            <p:nvSpPr>
              <p:cNvPr id="174" name="Freeform: Shape 173">
                <a:extLst>
                  <a:ext uri="{FF2B5EF4-FFF2-40B4-BE49-F238E27FC236}">
                    <a16:creationId xmlns:a16="http://schemas.microsoft.com/office/drawing/2014/main" id="{03DD6C04-99C5-4126-8D88-4650ECC0FAB1}"/>
                  </a:ext>
                </a:extLst>
              </p:cNvPr>
              <p:cNvSpPr/>
              <p:nvPr/>
            </p:nvSpPr>
            <p:spPr>
              <a:xfrm>
                <a:off x="6245485" y="3441381"/>
                <a:ext cx="29015" cy="34574"/>
              </a:xfrm>
              <a:custGeom>
                <a:avLst/>
                <a:gdLst>
                  <a:gd name="connsiteX0" fmla="*/ 248 w 29015"/>
                  <a:gd name="connsiteY0" fmla="*/ 25432 h 34574"/>
                  <a:gd name="connsiteX1" fmla="*/ 153 w 29015"/>
                  <a:gd name="connsiteY1" fmla="*/ 8858 h 34574"/>
                  <a:gd name="connsiteX2" fmla="*/ 8249 w 29015"/>
                  <a:gd name="connsiteY2" fmla="*/ 1715 h 34574"/>
                  <a:gd name="connsiteX3" fmla="*/ 29013 w 29015"/>
                  <a:gd name="connsiteY3" fmla="*/ 0 h 34574"/>
                  <a:gd name="connsiteX4" fmla="*/ 29013 w 29015"/>
                  <a:gd name="connsiteY4" fmla="*/ 19050 h 34574"/>
                  <a:gd name="connsiteX5" fmla="*/ 18536 w 29015"/>
                  <a:gd name="connsiteY5" fmla="*/ 33909 h 34574"/>
                  <a:gd name="connsiteX6" fmla="*/ 248 w 29015"/>
                  <a:gd name="connsiteY6" fmla="*/ 25432 h 34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5" h="34574">
                    <a:moveTo>
                      <a:pt x="248" y="25432"/>
                    </a:moveTo>
                    <a:cubicBezTo>
                      <a:pt x="248" y="19907"/>
                      <a:pt x="819" y="14288"/>
                      <a:pt x="153" y="8858"/>
                    </a:cubicBezTo>
                    <a:cubicBezTo>
                      <a:pt x="-705" y="1905"/>
                      <a:pt x="2058" y="-286"/>
                      <a:pt x="8249" y="1715"/>
                    </a:cubicBezTo>
                    <a:cubicBezTo>
                      <a:pt x="15488" y="4001"/>
                      <a:pt x="22155" y="1238"/>
                      <a:pt x="29013" y="0"/>
                    </a:cubicBezTo>
                    <a:cubicBezTo>
                      <a:pt x="29013" y="6382"/>
                      <a:pt x="28918" y="12668"/>
                      <a:pt x="29013" y="19050"/>
                    </a:cubicBezTo>
                    <a:cubicBezTo>
                      <a:pt x="29109" y="26480"/>
                      <a:pt x="25965" y="31814"/>
                      <a:pt x="18536" y="33909"/>
                    </a:cubicBezTo>
                    <a:cubicBezTo>
                      <a:pt x="10440" y="36005"/>
                      <a:pt x="4344" y="33147"/>
                      <a:pt x="248" y="25432"/>
                    </a:cubicBezTo>
                    <a:close/>
                  </a:path>
                </a:pathLst>
              </a:custGeom>
              <a:solidFill>
                <a:srgbClr val="D0D3D3"/>
              </a:solidFill>
              <a:ln w="9525" cap="flat">
                <a:noFill/>
                <a:prstDash val="solid"/>
                <a:miter/>
              </a:ln>
            </p:spPr>
            <p:txBody>
              <a:bodyPr rtlCol="0" anchor="ctr"/>
              <a:lstStyle/>
              <a:p>
                <a:endParaRPr lang="en-US" dirty="0"/>
              </a:p>
            </p:txBody>
          </p:sp>
          <p:sp>
            <p:nvSpPr>
              <p:cNvPr id="175" name="Freeform: Shape 174">
                <a:extLst>
                  <a:ext uri="{FF2B5EF4-FFF2-40B4-BE49-F238E27FC236}">
                    <a16:creationId xmlns:a16="http://schemas.microsoft.com/office/drawing/2014/main" id="{1B009B69-BC48-48C8-877C-7396C67D2214}"/>
                  </a:ext>
                </a:extLst>
              </p:cNvPr>
              <p:cNvSpPr/>
              <p:nvPr/>
            </p:nvSpPr>
            <p:spPr>
              <a:xfrm>
                <a:off x="6199067" y="3333643"/>
                <a:ext cx="37426" cy="39158"/>
              </a:xfrm>
              <a:custGeom>
                <a:avLst/>
                <a:gdLst>
                  <a:gd name="connsiteX0" fmla="*/ 37426 w 37426"/>
                  <a:gd name="connsiteY0" fmla="*/ 18299 h 39158"/>
                  <a:gd name="connsiteX1" fmla="*/ 16662 w 37426"/>
                  <a:gd name="connsiteY1" fmla="*/ 39158 h 39158"/>
                  <a:gd name="connsiteX2" fmla="*/ 3803 w 37426"/>
                  <a:gd name="connsiteY2" fmla="*/ 26300 h 39158"/>
                  <a:gd name="connsiteX3" fmla="*/ 1326 w 37426"/>
                  <a:gd name="connsiteY3" fmla="*/ 11631 h 39158"/>
                  <a:gd name="connsiteX4" fmla="*/ 14185 w 37426"/>
                  <a:gd name="connsiteY4" fmla="*/ 106 h 39158"/>
                  <a:gd name="connsiteX5" fmla="*/ 22662 w 37426"/>
                  <a:gd name="connsiteY5" fmla="*/ 3059 h 39158"/>
                  <a:gd name="connsiteX6" fmla="*/ 37426 w 37426"/>
                  <a:gd name="connsiteY6" fmla="*/ 18299 h 3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26" h="39158">
                    <a:moveTo>
                      <a:pt x="37426" y="18299"/>
                    </a:moveTo>
                    <a:cubicBezTo>
                      <a:pt x="30092" y="24871"/>
                      <a:pt x="22758" y="31443"/>
                      <a:pt x="16662" y="39158"/>
                    </a:cubicBezTo>
                    <a:cubicBezTo>
                      <a:pt x="12375" y="34872"/>
                      <a:pt x="7994" y="30586"/>
                      <a:pt x="3803" y="26300"/>
                    </a:cubicBezTo>
                    <a:cubicBezTo>
                      <a:pt x="-388" y="22013"/>
                      <a:pt x="-960" y="16584"/>
                      <a:pt x="1326" y="11631"/>
                    </a:cubicBezTo>
                    <a:cubicBezTo>
                      <a:pt x="3803" y="6202"/>
                      <a:pt x="7518" y="963"/>
                      <a:pt x="14185" y="106"/>
                    </a:cubicBezTo>
                    <a:cubicBezTo>
                      <a:pt x="17233" y="-275"/>
                      <a:pt x="20281" y="296"/>
                      <a:pt x="22662" y="3059"/>
                    </a:cubicBezTo>
                    <a:cubicBezTo>
                      <a:pt x="27330" y="8202"/>
                      <a:pt x="32473" y="13155"/>
                      <a:pt x="37426" y="18299"/>
                    </a:cubicBezTo>
                    <a:close/>
                  </a:path>
                </a:pathLst>
              </a:custGeom>
              <a:solidFill>
                <a:srgbClr val="D0D3D3"/>
              </a:solidFill>
              <a:ln w="9525" cap="flat">
                <a:noFill/>
                <a:prstDash val="solid"/>
                <a:miter/>
              </a:ln>
            </p:spPr>
            <p:txBody>
              <a:bodyPr rtlCol="0" anchor="ctr"/>
              <a:lstStyle/>
              <a:p>
                <a:endParaRPr lang="en-US" dirty="0"/>
              </a:p>
            </p:txBody>
          </p:sp>
          <p:sp>
            <p:nvSpPr>
              <p:cNvPr id="176" name="Freeform: Shape 175">
                <a:extLst>
                  <a:ext uri="{FF2B5EF4-FFF2-40B4-BE49-F238E27FC236}">
                    <a16:creationId xmlns:a16="http://schemas.microsoft.com/office/drawing/2014/main" id="{AFBAFB7A-695C-443C-B7EF-4E6224C7FAEB}"/>
                  </a:ext>
                </a:extLst>
              </p:cNvPr>
              <p:cNvSpPr/>
              <p:nvPr/>
            </p:nvSpPr>
            <p:spPr>
              <a:xfrm>
                <a:off x="6245542" y="3315209"/>
                <a:ext cx="28887" cy="33780"/>
              </a:xfrm>
              <a:custGeom>
                <a:avLst/>
                <a:gdLst>
                  <a:gd name="connsiteX0" fmla="*/ 28766 w 28887"/>
                  <a:gd name="connsiteY0" fmla="*/ 33780 h 33780"/>
                  <a:gd name="connsiteX1" fmla="*/ 3715 w 28887"/>
                  <a:gd name="connsiteY1" fmla="*/ 33304 h 33780"/>
                  <a:gd name="connsiteX2" fmla="*/ 191 w 28887"/>
                  <a:gd name="connsiteY2" fmla="*/ 28732 h 33780"/>
                  <a:gd name="connsiteX3" fmla="*/ 0 w 28887"/>
                  <a:gd name="connsiteY3" fmla="*/ 9682 h 33780"/>
                  <a:gd name="connsiteX4" fmla="*/ 17717 w 28887"/>
                  <a:gd name="connsiteY4" fmla="*/ 443 h 33780"/>
                  <a:gd name="connsiteX5" fmla="*/ 28861 w 28887"/>
                  <a:gd name="connsiteY5" fmla="*/ 15588 h 33780"/>
                  <a:gd name="connsiteX6" fmla="*/ 28766 w 28887"/>
                  <a:gd name="connsiteY6" fmla="*/ 33780 h 3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87" h="33780">
                    <a:moveTo>
                      <a:pt x="28766" y="33780"/>
                    </a:moveTo>
                    <a:cubicBezTo>
                      <a:pt x="20383" y="33114"/>
                      <a:pt x="12192" y="30828"/>
                      <a:pt x="3715" y="33304"/>
                    </a:cubicBezTo>
                    <a:cubicBezTo>
                      <a:pt x="95" y="34352"/>
                      <a:pt x="286" y="31113"/>
                      <a:pt x="191" y="28732"/>
                    </a:cubicBezTo>
                    <a:cubicBezTo>
                      <a:pt x="95" y="22350"/>
                      <a:pt x="95" y="16064"/>
                      <a:pt x="0" y="9682"/>
                    </a:cubicBezTo>
                    <a:cubicBezTo>
                      <a:pt x="3905" y="1586"/>
                      <a:pt x="9334" y="-1176"/>
                      <a:pt x="17717" y="443"/>
                    </a:cubicBezTo>
                    <a:cubicBezTo>
                      <a:pt x="24670" y="1776"/>
                      <a:pt x="28670" y="7206"/>
                      <a:pt x="28861" y="15588"/>
                    </a:cubicBezTo>
                    <a:cubicBezTo>
                      <a:pt x="28956" y="21684"/>
                      <a:pt x="28766" y="27684"/>
                      <a:pt x="28766" y="33780"/>
                    </a:cubicBezTo>
                    <a:close/>
                  </a:path>
                </a:pathLst>
              </a:custGeom>
              <a:solidFill>
                <a:srgbClr val="D0D3D3"/>
              </a:solidFill>
              <a:ln w="9525" cap="flat">
                <a:noFill/>
                <a:prstDash val="solid"/>
                <a:miter/>
              </a:ln>
            </p:spPr>
            <p:txBody>
              <a:bodyPr rtlCol="0" anchor="ctr"/>
              <a:lstStyle/>
              <a:p>
                <a:endParaRPr lang="en-US" dirty="0"/>
              </a:p>
            </p:txBody>
          </p:sp>
          <p:sp>
            <p:nvSpPr>
              <p:cNvPr id="177" name="Freeform: Shape 176">
                <a:extLst>
                  <a:ext uri="{FF2B5EF4-FFF2-40B4-BE49-F238E27FC236}">
                    <a16:creationId xmlns:a16="http://schemas.microsoft.com/office/drawing/2014/main" id="{643851F4-32F2-4646-9CA3-E4C597C79FDA}"/>
                  </a:ext>
                </a:extLst>
              </p:cNvPr>
              <p:cNvSpPr/>
              <p:nvPr/>
            </p:nvSpPr>
            <p:spPr>
              <a:xfrm>
                <a:off x="6199179" y="3418902"/>
                <a:ext cx="37028" cy="37035"/>
              </a:xfrm>
              <a:custGeom>
                <a:avLst/>
                <a:gdLst>
                  <a:gd name="connsiteX0" fmla="*/ 16169 w 37028"/>
                  <a:gd name="connsiteY0" fmla="*/ 0 h 37035"/>
                  <a:gd name="connsiteX1" fmla="*/ 37029 w 37028"/>
                  <a:gd name="connsiteY1" fmla="*/ 20860 h 37035"/>
                  <a:gd name="connsiteX2" fmla="*/ 25408 w 37028"/>
                  <a:gd name="connsiteY2" fmla="*/ 32671 h 37035"/>
                  <a:gd name="connsiteX3" fmla="*/ 4358 w 37028"/>
                  <a:gd name="connsiteY3" fmla="*/ 32099 h 37035"/>
                  <a:gd name="connsiteX4" fmla="*/ 4358 w 37028"/>
                  <a:gd name="connsiteY4" fmla="*/ 11621 h 37035"/>
                  <a:gd name="connsiteX5" fmla="*/ 16169 w 37028"/>
                  <a:gd name="connsiteY5" fmla="*/ 0 h 37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028" h="37035">
                    <a:moveTo>
                      <a:pt x="16169" y="0"/>
                    </a:moveTo>
                    <a:cubicBezTo>
                      <a:pt x="23122" y="6953"/>
                      <a:pt x="30076" y="13907"/>
                      <a:pt x="37029" y="20860"/>
                    </a:cubicBezTo>
                    <a:cubicBezTo>
                      <a:pt x="33219" y="24860"/>
                      <a:pt x="29504" y="28956"/>
                      <a:pt x="25408" y="32671"/>
                    </a:cubicBezTo>
                    <a:cubicBezTo>
                      <a:pt x="18836" y="38767"/>
                      <a:pt x="10359" y="38386"/>
                      <a:pt x="4358" y="32099"/>
                    </a:cubicBezTo>
                    <a:cubicBezTo>
                      <a:pt x="-1357" y="26099"/>
                      <a:pt x="-1548" y="17812"/>
                      <a:pt x="4358" y="11621"/>
                    </a:cubicBezTo>
                    <a:cubicBezTo>
                      <a:pt x="8073" y="7525"/>
                      <a:pt x="12168" y="3810"/>
                      <a:pt x="16169" y="0"/>
                    </a:cubicBezTo>
                    <a:close/>
                  </a:path>
                </a:pathLst>
              </a:custGeom>
              <a:solidFill>
                <a:srgbClr val="D0D3D3"/>
              </a:solidFill>
              <a:ln w="9525" cap="flat">
                <a:noFill/>
                <a:prstDash val="solid"/>
                <a:miter/>
              </a:ln>
            </p:spPr>
            <p:txBody>
              <a:bodyPr rtlCol="0" anchor="ctr"/>
              <a:lstStyle/>
              <a:p>
                <a:endParaRPr lang="en-US" dirty="0"/>
              </a:p>
            </p:txBody>
          </p:sp>
          <p:sp>
            <p:nvSpPr>
              <p:cNvPr id="178" name="Freeform: Shape 177">
                <a:extLst>
                  <a:ext uri="{FF2B5EF4-FFF2-40B4-BE49-F238E27FC236}">
                    <a16:creationId xmlns:a16="http://schemas.microsoft.com/office/drawing/2014/main" id="{A827BD51-68E0-4962-80F8-AD28FC671D93}"/>
                  </a:ext>
                </a:extLst>
              </p:cNvPr>
              <p:cNvSpPr/>
              <p:nvPr/>
            </p:nvSpPr>
            <p:spPr>
              <a:xfrm>
                <a:off x="6282499" y="3417664"/>
                <a:ext cx="37375" cy="38253"/>
              </a:xfrm>
              <a:custGeom>
                <a:avLst/>
                <a:gdLst>
                  <a:gd name="connsiteX0" fmla="*/ 0 w 37375"/>
                  <a:gd name="connsiteY0" fmla="*/ 21812 h 38253"/>
                  <a:gd name="connsiteX1" fmla="*/ 20288 w 37375"/>
                  <a:gd name="connsiteY1" fmla="*/ 0 h 38253"/>
                  <a:gd name="connsiteX2" fmla="*/ 33052 w 37375"/>
                  <a:gd name="connsiteY2" fmla="*/ 12954 h 38253"/>
                  <a:gd name="connsiteX3" fmla="*/ 32766 w 37375"/>
                  <a:gd name="connsiteY3" fmla="*/ 33433 h 38253"/>
                  <a:gd name="connsiteX4" fmla="*/ 12287 w 37375"/>
                  <a:gd name="connsiteY4" fmla="*/ 34195 h 38253"/>
                  <a:gd name="connsiteX5" fmla="*/ 0 w 37375"/>
                  <a:gd name="connsiteY5" fmla="*/ 21812 h 38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75" h="38253">
                    <a:moveTo>
                      <a:pt x="0" y="21812"/>
                    </a:moveTo>
                    <a:cubicBezTo>
                      <a:pt x="6953" y="14764"/>
                      <a:pt x="15621" y="9239"/>
                      <a:pt x="20288" y="0"/>
                    </a:cubicBezTo>
                    <a:cubicBezTo>
                      <a:pt x="24575" y="4286"/>
                      <a:pt x="28956" y="8572"/>
                      <a:pt x="33052" y="12954"/>
                    </a:cubicBezTo>
                    <a:cubicBezTo>
                      <a:pt x="38957" y="19336"/>
                      <a:pt x="38767" y="27337"/>
                      <a:pt x="32766" y="33433"/>
                    </a:cubicBezTo>
                    <a:cubicBezTo>
                      <a:pt x="26670" y="39529"/>
                      <a:pt x="18574" y="39910"/>
                      <a:pt x="12287" y="34195"/>
                    </a:cubicBezTo>
                    <a:cubicBezTo>
                      <a:pt x="8096" y="30194"/>
                      <a:pt x="4096" y="25908"/>
                      <a:pt x="0" y="21812"/>
                    </a:cubicBezTo>
                    <a:close/>
                  </a:path>
                </a:pathLst>
              </a:custGeom>
              <a:solidFill>
                <a:srgbClr val="D0D3D3"/>
              </a:solidFill>
              <a:ln w="9525" cap="flat">
                <a:noFill/>
                <a:prstDash val="solid"/>
                <a:miter/>
              </a:ln>
            </p:spPr>
            <p:txBody>
              <a:bodyPr rtlCol="0" anchor="ctr"/>
              <a:lstStyle/>
              <a:p>
                <a:endParaRPr lang="en-US" dirty="0"/>
              </a:p>
            </p:txBody>
          </p:sp>
          <p:sp>
            <p:nvSpPr>
              <p:cNvPr id="184" name="Freeform: Shape 183">
                <a:extLst>
                  <a:ext uri="{FF2B5EF4-FFF2-40B4-BE49-F238E27FC236}">
                    <a16:creationId xmlns:a16="http://schemas.microsoft.com/office/drawing/2014/main" id="{2E53716A-C04D-4323-999E-3F829DE48B89}"/>
                  </a:ext>
                </a:extLst>
              </p:cNvPr>
              <p:cNvSpPr/>
              <p:nvPr/>
            </p:nvSpPr>
            <p:spPr>
              <a:xfrm>
                <a:off x="6306166" y="3380802"/>
                <a:ext cx="32107" cy="28956"/>
              </a:xfrm>
              <a:custGeom>
                <a:avLst/>
                <a:gdLst>
                  <a:gd name="connsiteX0" fmla="*/ 21100 w 32107"/>
                  <a:gd name="connsiteY0" fmla="*/ 28956 h 28956"/>
                  <a:gd name="connsiteX1" fmla="*/ 5194 w 32107"/>
                  <a:gd name="connsiteY1" fmla="*/ 28575 h 28956"/>
                  <a:gd name="connsiteX2" fmla="*/ 240 w 32107"/>
                  <a:gd name="connsiteY2" fmla="*/ 24384 h 28956"/>
                  <a:gd name="connsiteX3" fmla="*/ 50 w 32107"/>
                  <a:gd name="connsiteY3" fmla="*/ 95 h 28956"/>
                  <a:gd name="connsiteX4" fmla="*/ 16528 w 32107"/>
                  <a:gd name="connsiteY4" fmla="*/ 0 h 28956"/>
                  <a:gd name="connsiteX5" fmla="*/ 31768 w 32107"/>
                  <a:gd name="connsiteY5" fmla="*/ 11621 h 28956"/>
                  <a:gd name="connsiteX6" fmla="*/ 21100 w 32107"/>
                  <a:gd name="connsiteY6" fmla="*/ 28956 h 2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07" h="28956">
                    <a:moveTo>
                      <a:pt x="21100" y="28956"/>
                    </a:moveTo>
                    <a:cubicBezTo>
                      <a:pt x="15766" y="28861"/>
                      <a:pt x="10528" y="28670"/>
                      <a:pt x="5194" y="28575"/>
                    </a:cubicBezTo>
                    <a:cubicBezTo>
                      <a:pt x="2241" y="28575"/>
                      <a:pt x="-902" y="28099"/>
                      <a:pt x="240" y="24384"/>
                    </a:cubicBezTo>
                    <a:cubicBezTo>
                      <a:pt x="2908" y="16193"/>
                      <a:pt x="240" y="8192"/>
                      <a:pt x="50" y="95"/>
                    </a:cubicBezTo>
                    <a:cubicBezTo>
                      <a:pt x="5575" y="95"/>
                      <a:pt x="11099" y="0"/>
                      <a:pt x="16528" y="0"/>
                    </a:cubicBezTo>
                    <a:cubicBezTo>
                      <a:pt x="25196" y="95"/>
                      <a:pt x="30435" y="4191"/>
                      <a:pt x="31768" y="11621"/>
                    </a:cubicBezTo>
                    <a:cubicBezTo>
                      <a:pt x="33292" y="20098"/>
                      <a:pt x="29673" y="26003"/>
                      <a:pt x="21100" y="28956"/>
                    </a:cubicBezTo>
                    <a:close/>
                  </a:path>
                </a:pathLst>
              </a:custGeom>
              <a:solidFill>
                <a:srgbClr val="CFD2D3"/>
              </a:solidFill>
              <a:ln w="9525" cap="flat">
                <a:noFill/>
                <a:prstDash val="solid"/>
                <a:miter/>
              </a:ln>
            </p:spPr>
            <p:txBody>
              <a:bodyPr rtlCol="0" anchor="ctr"/>
              <a:lstStyle/>
              <a:p>
                <a:endParaRPr lang="en-US" dirty="0"/>
              </a:p>
            </p:txBody>
          </p:sp>
          <p:sp>
            <p:nvSpPr>
              <p:cNvPr id="185" name="Freeform: Shape 184">
                <a:extLst>
                  <a:ext uri="{FF2B5EF4-FFF2-40B4-BE49-F238E27FC236}">
                    <a16:creationId xmlns:a16="http://schemas.microsoft.com/office/drawing/2014/main" id="{A8570D79-3E59-4AFD-A71F-4C852E325384}"/>
                  </a:ext>
                </a:extLst>
              </p:cNvPr>
              <p:cNvSpPr/>
              <p:nvPr/>
            </p:nvSpPr>
            <p:spPr>
              <a:xfrm>
                <a:off x="6180539" y="3380802"/>
                <a:ext cx="33285" cy="28956"/>
              </a:xfrm>
              <a:custGeom>
                <a:avLst/>
                <a:gdLst>
                  <a:gd name="connsiteX0" fmla="*/ 33285 w 33285"/>
                  <a:gd name="connsiteY0" fmla="*/ 0 h 28956"/>
                  <a:gd name="connsiteX1" fmla="*/ 31380 w 33285"/>
                  <a:gd name="connsiteY1" fmla="*/ 22289 h 28956"/>
                  <a:gd name="connsiteX2" fmla="*/ 25760 w 33285"/>
                  <a:gd name="connsiteY2" fmla="*/ 28670 h 28956"/>
                  <a:gd name="connsiteX3" fmla="*/ 10806 w 33285"/>
                  <a:gd name="connsiteY3" fmla="*/ 28956 h 28956"/>
                  <a:gd name="connsiteX4" fmla="*/ 233 w 33285"/>
                  <a:gd name="connsiteY4" fmla="*/ 12192 h 28956"/>
                  <a:gd name="connsiteX5" fmla="*/ 15188 w 33285"/>
                  <a:gd name="connsiteY5" fmla="*/ 95 h 28956"/>
                  <a:gd name="connsiteX6" fmla="*/ 33285 w 33285"/>
                  <a:gd name="connsiteY6" fmla="*/ 0 h 2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5" h="28956">
                    <a:moveTo>
                      <a:pt x="33285" y="0"/>
                    </a:moveTo>
                    <a:cubicBezTo>
                      <a:pt x="31190" y="7239"/>
                      <a:pt x="28904" y="14478"/>
                      <a:pt x="31380" y="22289"/>
                    </a:cubicBezTo>
                    <a:cubicBezTo>
                      <a:pt x="32904" y="27051"/>
                      <a:pt x="30713" y="28956"/>
                      <a:pt x="25760" y="28670"/>
                    </a:cubicBezTo>
                    <a:cubicBezTo>
                      <a:pt x="20807" y="28480"/>
                      <a:pt x="15759" y="28861"/>
                      <a:pt x="10806" y="28956"/>
                    </a:cubicBezTo>
                    <a:cubicBezTo>
                      <a:pt x="2710" y="25908"/>
                      <a:pt x="-1005" y="20003"/>
                      <a:pt x="233" y="12192"/>
                    </a:cubicBezTo>
                    <a:cubicBezTo>
                      <a:pt x="1472" y="4667"/>
                      <a:pt x="6901" y="286"/>
                      <a:pt x="15188" y="95"/>
                    </a:cubicBezTo>
                    <a:cubicBezTo>
                      <a:pt x="21284" y="0"/>
                      <a:pt x="27284" y="0"/>
                      <a:pt x="33285" y="0"/>
                    </a:cubicBezTo>
                    <a:close/>
                  </a:path>
                </a:pathLst>
              </a:custGeom>
              <a:solidFill>
                <a:srgbClr val="D0D3D3"/>
              </a:solidFill>
              <a:ln w="9525" cap="flat">
                <a:noFill/>
                <a:prstDash val="solid"/>
                <a:miter/>
              </a:ln>
            </p:spPr>
            <p:txBody>
              <a:bodyPr rtlCol="0" anchor="ctr"/>
              <a:lstStyle/>
              <a:p>
                <a:endParaRPr lang="en-US" dirty="0"/>
              </a:p>
            </p:txBody>
          </p:sp>
          <p:sp>
            <p:nvSpPr>
              <p:cNvPr id="186" name="Freeform: Shape 185">
                <a:extLst>
                  <a:ext uri="{FF2B5EF4-FFF2-40B4-BE49-F238E27FC236}">
                    <a16:creationId xmlns:a16="http://schemas.microsoft.com/office/drawing/2014/main" id="{3C91EEA6-02FA-41C0-BFFE-6F16BCCA67B6}"/>
                  </a:ext>
                </a:extLst>
              </p:cNvPr>
              <p:cNvSpPr/>
              <p:nvPr/>
            </p:nvSpPr>
            <p:spPr>
              <a:xfrm>
                <a:off x="6048089" y="3200970"/>
                <a:ext cx="77247" cy="44196"/>
              </a:xfrm>
              <a:custGeom>
                <a:avLst/>
                <a:gdLst>
                  <a:gd name="connsiteX0" fmla="*/ 77248 w 77247"/>
                  <a:gd name="connsiteY0" fmla="*/ 8382 h 44196"/>
                  <a:gd name="connsiteX1" fmla="*/ 3524 w 77247"/>
                  <a:gd name="connsiteY1" fmla="*/ 44196 h 44196"/>
                  <a:gd name="connsiteX2" fmla="*/ 0 w 77247"/>
                  <a:gd name="connsiteY2" fmla="*/ 36767 h 44196"/>
                  <a:gd name="connsiteX3" fmla="*/ 73723 w 77247"/>
                  <a:gd name="connsiteY3" fmla="*/ 0 h 44196"/>
                  <a:gd name="connsiteX4" fmla="*/ 77248 w 77247"/>
                  <a:gd name="connsiteY4" fmla="*/ 8382 h 44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247" h="44196">
                    <a:moveTo>
                      <a:pt x="77248" y="8382"/>
                    </a:moveTo>
                    <a:cubicBezTo>
                      <a:pt x="52673" y="20288"/>
                      <a:pt x="28099" y="32195"/>
                      <a:pt x="3524" y="44196"/>
                    </a:cubicBezTo>
                    <a:cubicBezTo>
                      <a:pt x="1715" y="42005"/>
                      <a:pt x="571" y="39529"/>
                      <a:pt x="0" y="36767"/>
                    </a:cubicBezTo>
                    <a:cubicBezTo>
                      <a:pt x="24670" y="24670"/>
                      <a:pt x="50006" y="13907"/>
                      <a:pt x="73723" y="0"/>
                    </a:cubicBezTo>
                    <a:cubicBezTo>
                      <a:pt x="75914" y="2286"/>
                      <a:pt x="76676" y="5334"/>
                      <a:pt x="77248" y="8382"/>
                    </a:cubicBezTo>
                    <a:close/>
                  </a:path>
                </a:pathLst>
              </a:custGeom>
              <a:solidFill>
                <a:srgbClr val="204571"/>
              </a:solidFill>
              <a:ln w="9525" cap="flat">
                <a:noFill/>
                <a:prstDash val="solid"/>
                <a:miter/>
              </a:ln>
            </p:spPr>
            <p:txBody>
              <a:bodyPr rtlCol="0" anchor="ctr"/>
              <a:lstStyle/>
              <a:p>
                <a:endParaRPr lang="en-US" dirty="0"/>
              </a:p>
            </p:txBody>
          </p:sp>
          <p:sp>
            <p:nvSpPr>
              <p:cNvPr id="187" name="Freeform: Shape 186">
                <a:extLst>
                  <a:ext uri="{FF2B5EF4-FFF2-40B4-BE49-F238E27FC236}">
                    <a16:creationId xmlns:a16="http://schemas.microsoft.com/office/drawing/2014/main" id="{94D23DFB-F6F6-4224-9FCF-54E932EF559A}"/>
                  </a:ext>
                </a:extLst>
              </p:cNvPr>
              <p:cNvSpPr/>
              <p:nvPr/>
            </p:nvSpPr>
            <p:spPr>
              <a:xfrm>
                <a:off x="6075040" y="3415663"/>
                <a:ext cx="59073" cy="50964"/>
              </a:xfrm>
              <a:custGeom>
                <a:avLst/>
                <a:gdLst>
                  <a:gd name="connsiteX0" fmla="*/ 29627 w 59073"/>
                  <a:gd name="connsiteY0" fmla="*/ 50864 h 50964"/>
                  <a:gd name="connsiteX1" fmla="*/ 5053 w 59073"/>
                  <a:gd name="connsiteY1" fmla="*/ 50959 h 50964"/>
                  <a:gd name="connsiteX2" fmla="*/ 5 w 59073"/>
                  <a:gd name="connsiteY2" fmla="*/ 45911 h 50964"/>
                  <a:gd name="connsiteX3" fmla="*/ 195 w 59073"/>
                  <a:gd name="connsiteY3" fmla="*/ 27718 h 50964"/>
                  <a:gd name="connsiteX4" fmla="*/ 29342 w 59073"/>
                  <a:gd name="connsiteY4" fmla="*/ 1 h 50964"/>
                  <a:gd name="connsiteX5" fmla="*/ 58869 w 59073"/>
                  <a:gd name="connsiteY5" fmla="*/ 27433 h 50964"/>
                  <a:gd name="connsiteX6" fmla="*/ 59060 w 59073"/>
                  <a:gd name="connsiteY6" fmla="*/ 45625 h 50964"/>
                  <a:gd name="connsiteX7" fmla="*/ 53440 w 59073"/>
                  <a:gd name="connsiteY7" fmla="*/ 50959 h 50964"/>
                  <a:gd name="connsiteX8" fmla="*/ 29627 w 59073"/>
                  <a:gd name="connsiteY8" fmla="*/ 50864 h 50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73" h="50964">
                    <a:moveTo>
                      <a:pt x="29627" y="50864"/>
                    </a:moveTo>
                    <a:cubicBezTo>
                      <a:pt x="21436" y="50864"/>
                      <a:pt x="13244" y="50769"/>
                      <a:pt x="5053" y="50959"/>
                    </a:cubicBezTo>
                    <a:cubicBezTo>
                      <a:pt x="1243" y="51055"/>
                      <a:pt x="-91" y="49626"/>
                      <a:pt x="5" y="45911"/>
                    </a:cubicBezTo>
                    <a:cubicBezTo>
                      <a:pt x="195" y="39815"/>
                      <a:pt x="-186" y="33719"/>
                      <a:pt x="195" y="27718"/>
                    </a:cubicBezTo>
                    <a:cubicBezTo>
                      <a:pt x="1052" y="12097"/>
                      <a:pt x="13911" y="96"/>
                      <a:pt x="29342" y="1"/>
                    </a:cubicBezTo>
                    <a:cubicBezTo>
                      <a:pt x="44772" y="-95"/>
                      <a:pt x="57917" y="12002"/>
                      <a:pt x="58869" y="27433"/>
                    </a:cubicBezTo>
                    <a:cubicBezTo>
                      <a:pt x="59250" y="33529"/>
                      <a:pt x="58679" y="39625"/>
                      <a:pt x="59060" y="45625"/>
                    </a:cubicBezTo>
                    <a:cubicBezTo>
                      <a:pt x="59250" y="49912"/>
                      <a:pt x="57440" y="51055"/>
                      <a:pt x="53440" y="50959"/>
                    </a:cubicBezTo>
                    <a:cubicBezTo>
                      <a:pt x="45439" y="50769"/>
                      <a:pt x="37533" y="50864"/>
                      <a:pt x="29627" y="50864"/>
                    </a:cubicBezTo>
                    <a:close/>
                  </a:path>
                </a:pathLst>
              </a:custGeom>
              <a:solidFill>
                <a:srgbClr val="1E4470"/>
              </a:solidFill>
              <a:ln w="9525" cap="flat">
                <a:noFill/>
                <a:prstDash val="solid"/>
                <a:miter/>
              </a:ln>
            </p:spPr>
            <p:txBody>
              <a:bodyPr rtlCol="0" anchor="ctr"/>
              <a:lstStyle/>
              <a:p>
                <a:endParaRPr lang="en-US" dirty="0"/>
              </a:p>
            </p:txBody>
          </p:sp>
          <p:sp>
            <p:nvSpPr>
              <p:cNvPr id="188" name="Freeform: Shape 187">
                <a:extLst>
                  <a:ext uri="{FF2B5EF4-FFF2-40B4-BE49-F238E27FC236}">
                    <a16:creationId xmlns:a16="http://schemas.microsoft.com/office/drawing/2014/main" id="{78A02EF2-C64B-44D1-9243-7139648FBD11}"/>
                  </a:ext>
                </a:extLst>
              </p:cNvPr>
              <p:cNvSpPr/>
              <p:nvPr/>
            </p:nvSpPr>
            <p:spPr>
              <a:xfrm>
                <a:off x="6089545" y="3483979"/>
                <a:ext cx="29762" cy="51958"/>
              </a:xfrm>
              <a:custGeom>
                <a:avLst/>
                <a:gdLst>
                  <a:gd name="connsiteX0" fmla="*/ 168 w 29762"/>
                  <a:gd name="connsiteY0" fmla="*/ 51224 h 51958"/>
                  <a:gd name="connsiteX1" fmla="*/ 7121 w 29762"/>
                  <a:gd name="connsiteY1" fmla="*/ 33602 h 51958"/>
                  <a:gd name="connsiteX2" fmla="*/ 5311 w 29762"/>
                  <a:gd name="connsiteY2" fmla="*/ 25506 h 51958"/>
                  <a:gd name="connsiteX3" fmla="*/ 4835 w 29762"/>
                  <a:gd name="connsiteY3" fmla="*/ 3884 h 51958"/>
                  <a:gd name="connsiteX4" fmla="*/ 25599 w 29762"/>
                  <a:gd name="connsiteY4" fmla="*/ 4265 h 51958"/>
                  <a:gd name="connsiteX5" fmla="*/ 24552 w 29762"/>
                  <a:gd name="connsiteY5" fmla="*/ 25411 h 51958"/>
                  <a:gd name="connsiteX6" fmla="*/ 22932 w 29762"/>
                  <a:gd name="connsiteY6" fmla="*/ 33983 h 51958"/>
                  <a:gd name="connsiteX7" fmla="*/ 28171 w 29762"/>
                  <a:gd name="connsiteY7" fmla="*/ 49795 h 51958"/>
                  <a:gd name="connsiteX8" fmla="*/ 11026 w 29762"/>
                  <a:gd name="connsiteY8" fmla="*/ 51224 h 51958"/>
                  <a:gd name="connsiteX9" fmla="*/ 168 w 29762"/>
                  <a:gd name="connsiteY9" fmla="*/ 51224 h 51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2" h="51958">
                    <a:moveTo>
                      <a:pt x="168" y="51224"/>
                    </a:moveTo>
                    <a:cubicBezTo>
                      <a:pt x="2644" y="44747"/>
                      <a:pt x="4644" y="39032"/>
                      <a:pt x="7121" y="33602"/>
                    </a:cubicBezTo>
                    <a:cubicBezTo>
                      <a:pt x="8645" y="30173"/>
                      <a:pt x="8169" y="28173"/>
                      <a:pt x="5311" y="25506"/>
                    </a:cubicBezTo>
                    <a:cubicBezTo>
                      <a:pt x="-1737" y="18743"/>
                      <a:pt x="-1642" y="9980"/>
                      <a:pt x="4835" y="3884"/>
                    </a:cubicBezTo>
                    <a:cubicBezTo>
                      <a:pt x="10550" y="-1450"/>
                      <a:pt x="20170" y="-1259"/>
                      <a:pt x="25599" y="4265"/>
                    </a:cubicBezTo>
                    <a:cubicBezTo>
                      <a:pt x="31314" y="10171"/>
                      <a:pt x="31314" y="19886"/>
                      <a:pt x="24552" y="25411"/>
                    </a:cubicBezTo>
                    <a:cubicBezTo>
                      <a:pt x="20837" y="28459"/>
                      <a:pt x="21599" y="30650"/>
                      <a:pt x="22932" y="33983"/>
                    </a:cubicBezTo>
                    <a:cubicBezTo>
                      <a:pt x="25028" y="39317"/>
                      <a:pt x="30552" y="46366"/>
                      <a:pt x="28171" y="49795"/>
                    </a:cubicBezTo>
                    <a:cubicBezTo>
                      <a:pt x="25218" y="53891"/>
                      <a:pt x="16932" y="50843"/>
                      <a:pt x="11026" y="51224"/>
                    </a:cubicBezTo>
                    <a:cubicBezTo>
                      <a:pt x="7692" y="51414"/>
                      <a:pt x="4359" y="51224"/>
                      <a:pt x="168" y="51224"/>
                    </a:cubicBezTo>
                    <a:close/>
                  </a:path>
                </a:pathLst>
              </a:custGeom>
              <a:solidFill>
                <a:srgbClr val="1E4470"/>
              </a:solidFill>
              <a:ln w="9525" cap="flat">
                <a:noFill/>
                <a:prstDash val="solid"/>
                <a:miter/>
              </a:ln>
            </p:spPr>
            <p:txBody>
              <a:bodyPr rtlCol="0" anchor="ctr"/>
              <a:lstStyle/>
              <a:p>
                <a:endParaRPr lang="en-US" dirty="0"/>
              </a:p>
            </p:txBody>
          </p:sp>
          <p:sp>
            <p:nvSpPr>
              <p:cNvPr id="194" name="Freeform: Shape 193">
                <a:extLst>
                  <a:ext uri="{FF2B5EF4-FFF2-40B4-BE49-F238E27FC236}">
                    <a16:creationId xmlns:a16="http://schemas.microsoft.com/office/drawing/2014/main" id="{89857407-FED6-4104-B5E4-3A1DA37F3339}"/>
                  </a:ext>
                </a:extLst>
              </p:cNvPr>
              <p:cNvSpPr/>
              <p:nvPr/>
            </p:nvSpPr>
            <p:spPr>
              <a:xfrm>
                <a:off x="5875394" y="3380612"/>
                <a:ext cx="122974" cy="12858"/>
              </a:xfrm>
              <a:custGeom>
                <a:avLst/>
                <a:gdLst>
                  <a:gd name="connsiteX0" fmla="*/ 61157 w 122974"/>
                  <a:gd name="connsiteY0" fmla="*/ 95 h 12858"/>
                  <a:gd name="connsiteX1" fmla="*/ 113735 w 122974"/>
                  <a:gd name="connsiteY1" fmla="*/ 95 h 12858"/>
                  <a:gd name="connsiteX2" fmla="*/ 122974 w 122974"/>
                  <a:gd name="connsiteY2" fmla="*/ 6191 h 12858"/>
                  <a:gd name="connsiteX3" fmla="*/ 113925 w 122974"/>
                  <a:gd name="connsiteY3" fmla="*/ 12859 h 12858"/>
                  <a:gd name="connsiteX4" fmla="*/ 8769 w 122974"/>
                  <a:gd name="connsiteY4" fmla="*/ 12859 h 12858"/>
                  <a:gd name="connsiteX5" fmla="*/ 6 w 122974"/>
                  <a:gd name="connsiteY5" fmla="*/ 6001 h 12858"/>
                  <a:gd name="connsiteX6" fmla="*/ 8579 w 122974"/>
                  <a:gd name="connsiteY6" fmla="*/ 0 h 12858"/>
                  <a:gd name="connsiteX7" fmla="*/ 61157 w 122974"/>
                  <a:gd name="connsiteY7" fmla="*/ 95 h 1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974" h="12858">
                    <a:moveTo>
                      <a:pt x="61157" y="95"/>
                    </a:moveTo>
                    <a:cubicBezTo>
                      <a:pt x="78683" y="95"/>
                      <a:pt x="96209" y="191"/>
                      <a:pt x="113735" y="95"/>
                    </a:cubicBezTo>
                    <a:cubicBezTo>
                      <a:pt x="118307" y="95"/>
                      <a:pt x="122974" y="572"/>
                      <a:pt x="122974" y="6191"/>
                    </a:cubicBezTo>
                    <a:cubicBezTo>
                      <a:pt x="122974" y="11430"/>
                      <a:pt x="118688" y="12859"/>
                      <a:pt x="113925" y="12859"/>
                    </a:cubicBezTo>
                    <a:cubicBezTo>
                      <a:pt x="78873" y="12859"/>
                      <a:pt x="43821" y="12859"/>
                      <a:pt x="8769" y="12859"/>
                    </a:cubicBezTo>
                    <a:cubicBezTo>
                      <a:pt x="4007" y="12859"/>
                      <a:pt x="-184" y="11525"/>
                      <a:pt x="6" y="6001"/>
                    </a:cubicBezTo>
                    <a:cubicBezTo>
                      <a:pt x="197" y="953"/>
                      <a:pt x="4102" y="0"/>
                      <a:pt x="8579" y="0"/>
                    </a:cubicBezTo>
                    <a:cubicBezTo>
                      <a:pt x="26105" y="191"/>
                      <a:pt x="43631" y="95"/>
                      <a:pt x="61157" y="95"/>
                    </a:cubicBezTo>
                    <a:close/>
                  </a:path>
                </a:pathLst>
              </a:custGeom>
              <a:solidFill>
                <a:srgbClr val="1E4570"/>
              </a:solidFill>
              <a:ln w="9525" cap="flat">
                <a:noFill/>
                <a:prstDash val="solid"/>
                <a:miter/>
              </a:ln>
            </p:spPr>
            <p:txBody>
              <a:bodyPr rtlCol="0" anchor="ctr"/>
              <a:lstStyle/>
              <a:p>
                <a:endParaRPr lang="en-US" dirty="0"/>
              </a:p>
            </p:txBody>
          </p:sp>
          <p:sp>
            <p:nvSpPr>
              <p:cNvPr id="195" name="Freeform: Shape 194">
                <a:extLst>
                  <a:ext uri="{FF2B5EF4-FFF2-40B4-BE49-F238E27FC236}">
                    <a16:creationId xmlns:a16="http://schemas.microsoft.com/office/drawing/2014/main" id="{7022E0FA-22F3-4E64-9112-8F00E8650B15}"/>
                  </a:ext>
                </a:extLst>
              </p:cNvPr>
              <p:cNvSpPr/>
              <p:nvPr/>
            </p:nvSpPr>
            <p:spPr>
              <a:xfrm>
                <a:off x="5875303" y="3411092"/>
                <a:ext cx="88209" cy="12858"/>
              </a:xfrm>
              <a:custGeom>
                <a:avLst/>
                <a:gdLst>
                  <a:gd name="connsiteX0" fmla="*/ 44579 w 88209"/>
                  <a:gd name="connsiteY0" fmla="*/ 0 h 12858"/>
                  <a:gd name="connsiteX1" fmla="*/ 79536 w 88209"/>
                  <a:gd name="connsiteY1" fmla="*/ 0 h 12858"/>
                  <a:gd name="connsiteX2" fmla="*/ 88203 w 88209"/>
                  <a:gd name="connsiteY2" fmla="*/ 6668 h 12858"/>
                  <a:gd name="connsiteX3" fmla="*/ 79726 w 88209"/>
                  <a:gd name="connsiteY3" fmla="*/ 12859 h 12858"/>
                  <a:gd name="connsiteX4" fmla="*/ 8289 w 88209"/>
                  <a:gd name="connsiteY4" fmla="*/ 12859 h 12858"/>
                  <a:gd name="connsiteX5" fmla="*/ 2 w 88209"/>
                  <a:gd name="connsiteY5" fmla="*/ 6477 h 12858"/>
                  <a:gd name="connsiteX6" fmla="*/ 8003 w 88209"/>
                  <a:gd name="connsiteY6" fmla="*/ 0 h 12858"/>
                  <a:gd name="connsiteX7" fmla="*/ 44579 w 88209"/>
                  <a:gd name="connsiteY7" fmla="*/ 0 h 1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209" h="12858">
                    <a:moveTo>
                      <a:pt x="44579" y="0"/>
                    </a:moveTo>
                    <a:cubicBezTo>
                      <a:pt x="56199" y="0"/>
                      <a:pt x="67820" y="95"/>
                      <a:pt x="79536" y="0"/>
                    </a:cubicBezTo>
                    <a:cubicBezTo>
                      <a:pt x="84298" y="0"/>
                      <a:pt x="88394" y="1048"/>
                      <a:pt x="88203" y="6668"/>
                    </a:cubicBezTo>
                    <a:cubicBezTo>
                      <a:pt x="88013" y="11716"/>
                      <a:pt x="84108" y="12859"/>
                      <a:pt x="79726" y="12859"/>
                    </a:cubicBezTo>
                    <a:cubicBezTo>
                      <a:pt x="55914" y="12859"/>
                      <a:pt x="32101" y="12764"/>
                      <a:pt x="8289" y="12859"/>
                    </a:cubicBezTo>
                    <a:cubicBezTo>
                      <a:pt x="3621" y="12859"/>
                      <a:pt x="97" y="11335"/>
                      <a:pt x="2" y="6477"/>
                    </a:cubicBezTo>
                    <a:cubicBezTo>
                      <a:pt x="-93" y="1524"/>
                      <a:pt x="3336" y="0"/>
                      <a:pt x="8003" y="0"/>
                    </a:cubicBezTo>
                    <a:cubicBezTo>
                      <a:pt x="20290" y="95"/>
                      <a:pt x="32387" y="0"/>
                      <a:pt x="44579" y="0"/>
                    </a:cubicBezTo>
                    <a:close/>
                  </a:path>
                </a:pathLst>
              </a:custGeom>
              <a:solidFill>
                <a:srgbClr val="1E4471"/>
              </a:solidFill>
              <a:ln w="9525" cap="flat">
                <a:noFill/>
                <a:prstDash val="solid"/>
                <a:miter/>
              </a:ln>
            </p:spPr>
            <p:txBody>
              <a:bodyPr rtlCol="0" anchor="ctr"/>
              <a:lstStyle/>
              <a:p>
                <a:endParaRPr lang="en-US" dirty="0"/>
              </a:p>
            </p:txBody>
          </p:sp>
          <p:sp>
            <p:nvSpPr>
              <p:cNvPr id="196" name="Freeform: Shape 195">
                <a:extLst>
                  <a:ext uri="{FF2B5EF4-FFF2-40B4-BE49-F238E27FC236}">
                    <a16:creationId xmlns:a16="http://schemas.microsoft.com/office/drawing/2014/main" id="{4E813754-ED29-44A2-B687-42A851DC59CF}"/>
                  </a:ext>
                </a:extLst>
              </p:cNvPr>
              <p:cNvSpPr/>
              <p:nvPr/>
            </p:nvSpPr>
            <p:spPr>
              <a:xfrm>
                <a:off x="6234588" y="3371275"/>
                <a:ext cx="49434" cy="49247"/>
              </a:xfrm>
              <a:custGeom>
                <a:avLst/>
                <a:gdLst>
                  <a:gd name="connsiteX0" fmla="*/ 25432 w 49434"/>
                  <a:gd name="connsiteY0" fmla="*/ 2 h 49247"/>
                  <a:gd name="connsiteX1" fmla="*/ 49435 w 49434"/>
                  <a:gd name="connsiteY1" fmla="*/ 24291 h 49247"/>
                  <a:gd name="connsiteX2" fmla="*/ 24765 w 49434"/>
                  <a:gd name="connsiteY2" fmla="*/ 49247 h 49247"/>
                  <a:gd name="connsiteX3" fmla="*/ 0 w 49434"/>
                  <a:gd name="connsiteY3" fmla="*/ 24101 h 49247"/>
                  <a:gd name="connsiteX4" fmla="*/ 25432 w 49434"/>
                  <a:gd name="connsiteY4" fmla="*/ 2 h 49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34" h="49247">
                    <a:moveTo>
                      <a:pt x="25432" y="2"/>
                    </a:moveTo>
                    <a:cubicBezTo>
                      <a:pt x="38957" y="193"/>
                      <a:pt x="49435" y="10766"/>
                      <a:pt x="49435" y="24291"/>
                    </a:cubicBezTo>
                    <a:cubicBezTo>
                      <a:pt x="49435" y="37722"/>
                      <a:pt x="38005" y="49342"/>
                      <a:pt x="24765" y="49247"/>
                    </a:cubicBezTo>
                    <a:cubicBezTo>
                      <a:pt x="11716" y="49151"/>
                      <a:pt x="0" y="37150"/>
                      <a:pt x="0" y="24101"/>
                    </a:cubicBezTo>
                    <a:cubicBezTo>
                      <a:pt x="95" y="10575"/>
                      <a:pt x="11525" y="-188"/>
                      <a:pt x="25432" y="2"/>
                    </a:cubicBezTo>
                    <a:close/>
                  </a:path>
                </a:pathLst>
              </a:custGeom>
              <a:solidFill>
                <a:srgbClr val="1E4471"/>
              </a:solidFill>
              <a:ln w="9525" cap="flat">
                <a:noFill/>
                <a:prstDash val="solid"/>
                <a:miter/>
              </a:ln>
            </p:spPr>
            <p:txBody>
              <a:bodyPr rtlCol="0" anchor="ctr"/>
              <a:lstStyle/>
              <a:p>
                <a:endParaRPr lang="en-US" dirty="0"/>
              </a:p>
            </p:txBody>
          </p:sp>
        </p:grpSp>
        <p:sp>
          <p:nvSpPr>
            <p:cNvPr id="162" name="Freeform: Shape 161">
              <a:extLst>
                <a:ext uri="{FF2B5EF4-FFF2-40B4-BE49-F238E27FC236}">
                  <a16:creationId xmlns:a16="http://schemas.microsoft.com/office/drawing/2014/main" id="{802FF525-43F4-4AF3-A6CE-38C4FB40C208}"/>
                </a:ext>
              </a:extLst>
            </p:cNvPr>
            <p:cNvSpPr/>
            <p:nvPr/>
          </p:nvSpPr>
          <p:spPr>
            <a:xfrm>
              <a:off x="5686425" y="3014662"/>
              <a:ext cx="817530" cy="827817"/>
            </a:xfrm>
            <a:custGeom>
              <a:avLst/>
              <a:gdLst>
                <a:gd name="connsiteX0" fmla="*/ 0 w 817530"/>
                <a:gd name="connsiteY0" fmla="*/ 0 h 827817"/>
                <a:gd name="connsiteX1" fmla="*/ 817531 w 817530"/>
                <a:gd name="connsiteY1" fmla="*/ 0 h 827817"/>
                <a:gd name="connsiteX2" fmla="*/ 817531 w 817530"/>
                <a:gd name="connsiteY2" fmla="*/ 827818 h 827817"/>
                <a:gd name="connsiteX3" fmla="*/ 0 w 817530"/>
                <a:gd name="connsiteY3" fmla="*/ 827818 h 827817"/>
                <a:gd name="connsiteX4" fmla="*/ 0 w 817530"/>
                <a:gd name="connsiteY4" fmla="*/ 0 h 827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530" h="827817">
                  <a:moveTo>
                    <a:pt x="0" y="0"/>
                  </a:moveTo>
                  <a:lnTo>
                    <a:pt x="817531" y="0"/>
                  </a:lnTo>
                  <a:lnTo>
                    <a:pt x="817531" y="827818"/>
                  </a:lnTo>
                  <a:lnTo>
                    <a:pt x="0" y="827818"/>
                  </a:lnTo>
                  <a:lnTo>
                    <a:pt x="0" y="0"/>
                  </a:lnTo>
                  <a:close/>
                </a:path>
              </a:pathLst>
            </a:custGeom>
            <a:noFill/>
            <a:ln w="9525" cap="flat">
              <a:noFill/>
              <a:prstDash val="solid"/>
              <a:miter/>
            </a:ln>
          </p:spPr>
          <p:txBody>
            <a:bodyPr rtlCol="0" anchor="ctr"/>
            <a:lstStyle/>
            <a:p>
              <a:endParaRPr lang="en-US" dirty="0"/>
            </a:p>
          </p:txBody>
        </p:sp>
        <p:sp>
          <p:nvSpPr>
            <p:cNvPr id="163" name="Freeform: Shape 162">
              <a:extLst>
                <a:ext uri="{FF2B5EF4-FFF2-40B4-BE49-F238E27FC236}">
                  <a16:creationId xmlns:a16="http://schemas.microsoft.com/office/drawing/2014/main" id="{7031616B-454C-4EEB-85D8-35F8FB6C5B7F}"/>
                </a:ext>
              </a:extLst>
            </p:cNvPr>
            <p:cNvSpPr/>
            <p:nvPr/>
          </p:nvSpPr>
          <p:spPr>
            <a:xfrm>
              <a:off x="5911215" y="3197922"/>
              <a:ext cx="383762" cy="28479"/>
            </a:xfrm>
            <a:custGeom>
              <a:avLst/>
              <a:gdLst>
                <a:gd name="connsiteX0" fmla="*/ 15811 w 383762"/>
                <a:gd name="connsiteY0" fmla="*/ 0 h 28479"/>
                <a:gd name="connsiteX1" fmla="*/ 383762 w 383762"/>
                <a:gd name="connsiteY1" fmla="*/ 0 h 28479"/>
                <a:gd name="connsiteX2" fmla="*/ 383762 w 383762"/>
                <a:gd name="connsiteY2" fmla="*/ 28480 h 28479"/>
                <a:gd name="connsiteX3" fmla="*/ 0 w 383762"/>
                <a:gd name="connsiteY3" fmla="*/ 28480 h 28479"/>
              </a:gdLst>
              <a:ahLst/>
              <a:cxnLst>
                <a:cxn ang="0">
                  <a:pos x="connsiteX0" y="connsiteY0"/>
                </a:cxn>
                <a:cxn ang="0">
                  <a:pos x="connsiteX1" y="connsiteY1"/>
                </a:cxn>
                <a:cxn ang="0">
                  <a:pos x="connsiteX2" y="connsiteY2"/>
                </a:cxn>
                <a:cxn ang="0">
                  <a:pos x="connsiteX3" y="connsiteY3"/>
                </a:cxn>
              </a:cxnLst>
              <a:rect l="l" t="t" r="r" b="b"/>
              <a:pathLst>
                <a:path w="383762" h="28479">
                  <a:moveTo>
                    <a:pt x="15811" y="0"/>
                  </a:moveTo>
                  <a:lnTo>
                    <a:pt x="383762" y="0"/>
                  </a:lnTo>
                  <a:lnTo>
                    <a:pt x="383762" y="28480"/>
                  </a:lnTo>
                  <a:lnTo>
                    <a:pt x="0" y="28480"/>
                  </a:lnTo>
                  <a:close/>
                </a:path>
              </a:pathLst>
            </a:custGeom>
            <a:solidFill>
              <a:srgbClr val="00BBEA"/>
            </a:solidFill>
            <a:ln w="9525" cap="flat">
              <a:noFill/>
              <a:prstDash val="solid"/>
              <a:miter/>
            </a:ln>
          </p:spPr>
          <p:txBody>
            <a:bodyPr rtlCol="0" anchor="ctr"/>
            <a:lstStyle/>
            <a:p>
              <a:endParaRPr lang="en-US" dirty="0"/>
            </a:p>
          </p:txBody>
        </p:sp>
      </p:grpSp>
      <p:pic>
        <p:nvPicPr>
          <p:cNvPr id="197" name="Picture 196">
            <a:extLst>
              <a:ext uri="{FF2B5EF4-FFF2-40B4-BE49-F238E27FC236}">
                <a16:creationId xmlns:a16="http://schemas.microsoft.com/office/drawing/2014/main" id="{098EF907-C2FF-4F01-80CC-6F4A2261E3A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16571" y="3030847"/>
            <a:ext cx="622507" cy="622507"/>
          </a:xfrm>
          <a:prstGeom prst="rect">
            <a:avLst/>
          </a:prstGeom>
        </p:spPr>
      </p:pic>
      <p:pic>
        <p:nvPicPr>
          <p:cNvPr id="198" name="Picture 197">
            <a:extLst>
              <a:ext uri="{FF2B5EF4-FFF2-40B4-BE49-F238E27FC236}">
                <a16:creationId xmlns:a16="http://schemas.microsoft.com/office/drawing/2014/main" id="{7BDEFA78-BDD9-4071-9679-06D4E356AF8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643545" y="2035094"/>
            <a:ext cx="628670" cy="628670"/>
          </a:xfrm>
          <a:prstGeom prst="rect">
            <a:avLst/>
          </a:prstGeom>
        </p:spPr>
      </p:pic>
      <p:pic>
        <p:nvPicPr>
          <p:cNvPr id="199" name="Picture 198">
            <a:extLst>
              <a:ext uri="{FF2B5EF4-FFF2-40B4-BE49-F238E27FC236}">
                <a16:creationId xmlns:a16="http://schemas.microsoft.com/office/drawing/2014/main" id="{F5335229-66B8-4554-9EC1-47A74FA58C9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678660" y="2033190"/>
            <a:ext cx="632480" cy="632478"/>
          </a:xfrm>
          <a:prstGeom prst="rect">
            <a:avLst/>
          </a:prstGeom>
        </p:spPr>
      </p:pic>
      <p:pic>
        <p:nvPicPr>
          <p:cNvPr id="200" name="Picture 199">
            <a:extLst>
              <a:ext uri="{FF2B5EF4-FFF2-40B4-BE49-F238E27FC236}">
                <a16:creationId xmlns:a16="http://schemas.microsoft.com/office/drawing/2014/main" id="{C9BC7DB5-E8F0-4901-82A2-CE288D2AE4F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0800000" flipH="1" flipV="1">
            <a:off x="8086630" y="3027065"/>
            <a:ext cx="624536" cy="624536"/>
          </a:xfrm>
          <a:prstGeom prst="rect">
            <a:avLst/>
          </a:prstGeom>
        </p:spPr>
      </p:pic>
      <p:pic>
        <p:nvPicPr>
          <p:cNvPr id="201" name="Picture 200">
            <a:extLst>
              <a:ext uri="{FF2B5EF4-FFF2-40B4-BE49-F238E27FC236}">
                <a16:creationId xmlns:a16="http://schemas.microsoft.com/office/drawing/2014/main" id="{E88F7B05-31D4-417D-AC1A-D21B7A1CF4B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581967" y="4528159"/>
            <a:ext cx="615080" cy="616282"/>
          </a:xfrm>
          <a:prstGeom prst="rect">
            <a:avLst/>
          </a:prstGeom>
        </p:spPr>
      </p:pic>
      <p:sp>
        <p:nvSpPr>
          <p:cNvPr id="150" name="Freeform 208">
            <a:extLst>
              <a:ext uri="{FF2B5EF4-FFF2-40B4-BE49-F238E27FC236}">
                <a16:creationId xmlns:a16="http://schemas.microsoft.com/office/drawing/2014/main" id="{EA7B7D73-1C0B-47C9-BF7B-C0F9C4B53C8D}"/>
              </a:ext>
            </a:extLst>
          </p:cNvPr>
          <p:cNvSpPr/>
          <p:nvPr/>
        </p:nvSpPr>
        <p:spPr>
          <a:xfrm>
            <a:off x="6727061" y="2137389"/>
            <a:ext cx="471876" cy="395160"/>
          </a:xfrm>
          <a:custGeom>
            <a:avLst/>
            <a:gdLst>
              <a:gd name="connsiteX0" fmla="*/ 197173 w 445065"/>
              <a:gd name="connsiteY0" fmla="*/ 228121 h 372707"/>
              <a:gd name="connsiteX1" fmla="*/ 214892 w 445065"/>
              <a:gd name="connsiteY1" fmla="*/ 249420 h 372707"/>
              <a:gd name="connsiteX2" fmla="*/ 199206 w 445065"/>
              <a:gd name="connsiteY2" fmla="*/ 357198 h 372707"/>
              <a:gd name="connsiteX3" fmla="*/ 221566 w 445065"/>
              <a:gd name="connsiteY3" fmla="*/ 370386 h 372707"/>
              <a:gd name="connsiteX4" fmla="*/ 245958 w 445065"/>
              <a:gd name="connsiteY4" fmla="*/ 357198 h 372707"/>
              <a:gd name="connsiteX5" fmla="*/ 229353 w 445065"/>
              <a:gd name="connsiteY5" fmla="*/ 250525 h 372707"/>
              <a:gd name="connsiteX6" fmla="*/ 247992 w 445065"/>
              <a:gd name="connsiteY6" fmla="*/ 228121 h 372707"/>
              <a:gd name="connsiteX7" fmla="*/ 357031 w 445065"/>
              <a:gd name="connsiteY7" fmla="*/ 50453 h 372707"/>
              <a:gd name="connsiteX8" fmla="*/ 388603 w 445065"/>
              <a:gd name="connsiteY8" fmla="*/ 62199 h 372707"/>
              <a:gd name="connsiteX9" fmla="*/ 388278 w 445065"/>
              <a:gd name="connsiteY9" fmla="*/ 141544 h 372707"/>
              <a:gd name="connsiteX10" fmla="*/ 380252 w 445065"/>
              <a:gd name="connsiteY10" fmla="*/ 160124 h 372707"/>
              <a:gd name="connsiteX11" fmla="*/ 394214 w 445065"/>
              <a:gd name="connsiteY11" fmla="*/ 175471 h 372707"/>
              <a:gd name="connsiteX12" fmla="*/ 440225 w 445065"/>
              <a:gd name="connsiteY12" fmla="*/ 219595 h 372707"/>
              <a:gd name="connsiteX13" fmla="*/ 444907 w 445065"/>
              <a:gd name="connsiteY13" fmla="*/ 250037 h 372707"/>
              <a:gd name="connsiteX14" fmla="*/ 434250 w 445065"/>
              <a:gd name="connsiteY14" fmla="*/ 263109 h 372707"/>
              <a:gd name="connsiteX15" fmla="*/ 371972 w 445065"/>
              <a:gd name="connsiteY15" fmla="*/ 287739 h 372707"/>
              <a:gd name="connsiteX16" fmla="*/ 279838 w 445065"/>
              <a:gd name="connsiteY16" fmla="*/ 209621 h 372707"/>
              <a:gd name="connsiteX17" fmla="*/ 319848 w 445065"/>
              <a:gd name="connsiteY17" fmla="*/ 175471 h 372707"/>
              <a:gd name="connsiteX18" fmla="*/ 333809 w 445065"/>
              <a:gd name="connsiteY18" fmla="*/ 160124 h 372707"/>
              <a:gd name="connsiteX19" fmla="*/ 325783 w 445065"/>
              <a:gd name="connsiteY19" fmla="*/ 141544 h 372707"/>
              <a:gd name="connsiteX20" fmla="*/ 325457 w 445065"/>
              <a:gd name="connsiteY20" fmla="*/ 62199 h 372707"/>
              <a:gd name="connsiteX21" fmla="*/ 357031 w 445065"/>
              <a:gd name="connsiteY21" fmla="*/ 50453 h 372707"/>
              <a:gd name="connsiteX22" fmla="*/ 88035 w 445065"/>
              <a:gd name="connsiteY22" fmla="*/ 50453 h 372707"/>
              <a:gd name="connsiteX23" fmla="*/ 119608 w 445065"/>
              <a:gd name="connsiteY23" fmla="*/ 62199 h 372707"/>
              <a:gd name="connsiteX24" fmla="*/ 119283 w 445065"/>
              <a:gd name="connsiteY24" fmla="*/ 141544 h 372707"/>
              <a:gd name="connsiteX25" fmla="*/ 111257 w 445065"/>
              <a:gd name="connsiteY25" fmla="*/ 160124 h 372707"/>
              <a:gd name="connsiteX26" fmla="*/ 125218 w 445065"/>
              <a:gd name="connsiteY26" fmla="*/ 175471 h 372707"/>
              <a:gd name="connsiteX27" fmla="*/ 165228 w 445065"/>
              <a:gd name="connsiteY27" fmla="*/ 209621 h 372707"/>
              <a:gd name="connsiteX28" fmla="*/ 73094 w 445065"/>
              <a:gd name="connsiteY28" fmla="*/ 287739 h 372707"/>
              <a:gd name="connsiteX29" fmla="*/ 10816 w 445065"/>
              <a:gd name="connsiteY29" fmla="*/ 263109 h 372707"/>
              <a:gd name="connsiteX30" fmla="*/ 158 w 445065"/>
              <a:gd name="connsiteY30" fmla="*/ 250037 h 372707"/>
              <a:gd name="connsiteX31" fmla="*/ 4841 w 445065"/>
              <a:gd name="connsiteY31" fmla="*/ 219595 h 372707"/>
              <a:gd name="connsiteX32" fmla="*/ 50852 w 445065"/>
              <a:gd name="connsiteY32" fmla="*/ 175471 h 372707"/>
              <a:gd name="connsiteX33" fmla="*/ 64813 w 445065"/>
              <a:gd name="connsiteY33" fmla="*/ 160124 h 372707"/>
              <a:gd name="connsiteX34" fmla="*/ 56787 w 445065"/>
              <a:gd name="connsiteY34" fmla="*/ 141544 h 372707"/>
              <a:gd name="connsiteX35" fmla="*/ 56462 w 445065"/>
              <a:gd name="connsiteY35" fmla="*/ 62199 h 372707"/>
              <a:gd name="connsiteX36" fmla="*/ 88035 w 445065"/>
              <a:gd name="connsiteY36" fmla="*/ 50453 h 372707"/>
              <a:gd name="connsiteX37" fmla="*/ 222582 w 445065"/>
              <a:gd name="connsiteY37" fmla="*/ 49 h 372707"/>
              <a:gd name="connsiteX38" fmla="*/ 277489 w 445065"/>
              <a:gd name="connsiteY38" fmla="*/ 20476 h 372707"/>
              <a:gd name="connsiteX39" fmla="*/ 276923 w 445065"/>
              <a:gd name="connsiteY39" fmla="*/ 158460 h 372707"/>
              <a:gd name="connsiteX40" fmla="*/ 262966 w 445065"/>
              <a:gd name="connsiteY40" fmla="*/ 190772 h 372707"/>
              <a:gd name="connsiteX41" fmla="*/ 287245 w 445065"/>
              <a:gd name="connsiteY41" fmla="*/ 217460 h 372707"/>
              <a:gd name="connsiteX42" fmla="*/ 367261 w 445065"/>
              <a:gd name="connsiteY42" fmla="*/ 294194 h 372707"/>
              <a:gd name="connsiteX43" fmla="*/ 368035 w 445065"/>
              <a:gd name="connsiteY43" fmla="*/ 299227 h 372707"/>
              <a:gd name="connsiteX44" fmla="*/ 326120 w 445065"/>
              <a:gd name="connsiteY44" fmla="*/ 307690 h 372707"/>
              <a:gd name="connsiteX45" fmla="*/ 282522 w 445065"/>
              <a:gd name="connsiteY45" fmla="*/ 337085 h 372707"/>
              <a:gd name="connsiteX46" fmla="*/ 258724 w 445065"/>
              <a:gd name="connsiteY46" fmla="*/ 372382 h 372707"/>
              <a:gd name="connsiteX47" fmla="*/ 222582 w 445065"/>
              <a:gd name="connsiteY47" fmla="*/ 372707 h 372707"/>
              <a:gd name="connsiteX48" fmla="*/ 88294 w 445065"/>
              <a:gd name="connsiteY48" fmla="*/ 369866 h 372707"/>
              <a:gd name="connsiteX49" fmla="*/ 69760 w 445065"/>
              <a:gd name="connsiteY49" fmla="*/ 347133 h 372707"/>
              <a:gd name="connsiteX50" fmla="*/ 77903 w 445065"/>
              <a:gd name="connsiteY50" fmla="*/ 294194 h 372707"/>
              <a:gd name="connsiteX51" fmla="*/ 157919 w 445065"/>
              <a:gd name="connsiteY51" fmla="*/ 217460 h 372707"/>
              <a:gd name="connsiteX52" fmla="*/ 182198 w 445065"/>
              <a:gd name="connsiteY52" fmla="*/ 190772 h 372707"/>
              <a:gd name="connsiteX53" fmla="*/ 168241 w 445065"/>
              <a:gd name="connsiteY53" fmla="*/ 158460 h 372707"/>
              <a:gd name="connsiteX54" fmla="*/ 167675 w 445065"/>
              <a:gd name="connsiteY54" fmla="*/ 20476 h 372707"/>
              <a:gd name="connsiteX55" fmla="*/ 222582 w 445065"/>
              <a:gd name="connsiteY55" fmla="*/ 49 h 37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45065" h="372707">
                <a:moveTo>
                  <a:pt x="197173" y="228121"/>
                </a:moveTo>
                <a:lnTo>
                  <a:pt x="214892" y="249420"/>
                </a:lnTo>
                <a:lnTo>
                  <a:pt x="199206" y="357198"/>
                </a:lnTo>
                <a:lnTo>
                  <a:pt x="221566" y="370386"/>
                </a:lnTo>
                <a:lnTo>
                  <a:pt x="245958" y="357198"/>
                </a:lnTo>
                <a:lnTo>
                  <a:pt x="229353" y="250525"/>
                </a:lnTo>
                <a:lnTo>
                  <a:pt x="247992" y="228121"/>
                </a:lnTo>
                <a:close/>
                <a:moveTo>
                  <a:pt x="357031" y="50453"/>
                </a:moveTo>
                <a:cubicBezTo>
                  <a:pt x="369195" y="50075"/>
                  <a:pt x="381713" y="53500"/>
                  <a:pt x="388603" y="62199"/>
                </a:cubicBezTo>
                <a:cubicBezTo>
                  <a:pt x="402606" y="79877"/>
                  <a:pt x="404693" y="116725"/>
                  <a:pt x="388278" y="141544"/>
                </a:cubicBezTo>
                <a:cubicBezTo>
                  <a:pt x="384573" y="147862"/>
                  <a:pt x="380337" y="151527"/>
                  <a:pt x="380252" y="160124"/>
                </a:cubicBezTo>
                <a:cubicBezTo>
                  <a:pt x="381027" y="167833"/>
                  <a:pt x="386726" y="174002"/>
                  <a:pt x="394214" y="175471"/>
                </a:cubicBezTo>
                <a:cubicBezTo>
                  <a:pt x="422966" y="187490"/>
                  <a:pt x="434888" y="201960"/>
                  <a:pt x="440225" y="219595"/>
                </a:cubicBezTo>
                <a:cubicBezTo>
                  <a:pt x="443871" y="228140"/>
                  <a:pt x="445625" y="238251"/>
                  <a:pt x="444907" y="250037"/>
                </a:cubicBezTo>
                <a:cubicBezTo>
                  <a:pt x="443985" y="254979"/>
                  <a:pt x="443062" y="256121"/>
                  <a:pt x="434250" y="263109"/>
                </a:cubicBezTo>
                <a:cubicBezTo>
                  <a:pt x="413716" y="278217"/>
                  <a:pt x="392508" y="285831"/>
                  <a:pt x="371972" y="287739"/>
                </a:cubicBezTo>
                <a:cubicBezTo>
                  <a:pt x="356449" y="246395"/>
                  <a:pt x="325078" y="221191"/>
                  <a:pt x="279838" y="209621"/>
                </a:cubicBezTo>
                <a:cubicBezTo>
                  <a:pt x="286174" y="196030"/>
                  <a:pt x="296396" y="185274"/>
                  <a:pt x="319848" y="175471"/>
                </a:cubicBezTo>
                <a:cubicBezTo>
                  <a:pt x="327335" y="174002"/>
                  <a:pt x="333034" y="167833"/>
                  <a:pt x="333809" y="160124"/>
                </a:cubicBezTo>
                <a:cubicBezTo>
                  <a:pt x="333724" y="151527"/>
                  <a:pt x="329488" y="147862"/>
                  <a:pt x="325783" y="141544"/>
                </a:cubicBezTo>
                <a:cubicBezTo>
                  <a:pt x="309368" y="116725"/>
                  <a:pt x="311455" y="79877"/>
                  <a:pt x="325457" y="62199"/>
                </a:cubicBezTo>
                <a:cubicBezTo>
                  <a:pt x="332348" y="53500"/>
                  <a:pt x="344866" y="50075"/>
                  <a:pt x="357031" y="50453"/>
                </a:cubicBezTo>
                <a:close/>
                <a:moveTo>
                  <a:pt x="88035" y="50453"/>
                </a:moveTo>
                <a:cubicBezTo>
                  <a:pt x="100200" y="50075"/>
                  <a:pt x="112717" y="53500"/>
                  <a:pt x="119608" y="62199"/>
                </a:cubicBezTo>
                <a:cubicBezTo>
                  <a:pt x="133610" y="79877"/>
                  <a:pt x="135698" y="116725"/>
                  <a:pt x="119283" y="141544"/>
                </a:cubicBezTo>
                <a:cubicBezTo>
                  <a:pt x="115577" y="147862"/>
                  <a:pt x="111341" y="151527"/>
                  <a:pt x="111257" y="160124"/>
                </a:cubicBezTo>
                <a:cubicBezTo>
                  <a:pt x="112032" y="167833"/>
                  <a:pt x="117730" y="174002"/>
                  <a:pt x="125218" y="175471"/>
                </a:cubicBezTo>
                <a:cubicBezTo>
                  <a:pt x="148669" y="185274"/>
                  <a:pt x="158892" y="196030"/>
                  <a:pt x="165228" y="209621"/>
                </a:cubicBezTo>
                <a:cubicBezTo>
                  <a:pt x="119987" y="221191"/>
                  <a:pt x="88617" y="246395"/>
                  <a:pt x="73094" y="287739"/>
                </a:cubicBezTo>
                <a:cubicBezTo>
                  <a:pt x="52557" y="285831"/>
                  <a:pt x="31349" y="278217"/>
                  <a:pt x="10816" y="263109"/>
                </a:cubicBezTo>
                <a:cubicBezTo>
                  <a:pt x="2003" y="256121"/>
                  <a:pt x="1081" y="254979"/>
                  <a:pt x="158" y="250037"/>
                </a:cubicBezTo>
                <a:cubicBezTo>
                  <a:pt x="-560" y="238251"/>
                  <a:pt x="1195" y="228140"/>
                  <a:pt x="4841" y="219595"/>
                </a:cubicBezTo>
                <a:cubicBezTo>
                  <a:pt x="10178" y="201960"/>
                  <a:pt x="22100" y="187490"/>
                  <a:pt x="50852" y="175471"/>
                </a:cubicBezTo>
                <a:cubicBezTo>
                  <a:pt x="58340" y="174002"/>
                  <a:pt x="64038" y="167833"/>
                  <a:pt x="64813" y="160124"/>
                </a:cubicBezTo>
                <a:cubicBezTo>
                  <a:pt x="64729" y="151527"/>
                  <a:pt x="60493" y="147862"/>
                  <a:pt x="56787" y="141544"/>
                </a:cubicBezTo>
                <a:cubicBezTo>
                  <a:pt x="40372" y="116725"/>
                  <a:pt x="42459" y="79877"/>
                  <a:pt x="56462" y="62199"/>
                </a:cubicBezTo>
                <a:cubicBezTo>
                  <a:pt x="63353" y="53500"/>
                  <a:pt x="75870" y="50075"/>
                  <a:pt x="88035" y="50453"/>
                </a:cubicBezTo>
                <a:close/>
                <a:moveTo>
                  <a:pt x="222582" y="49"/>
                </a:moveTo>
                <a:cubicBezTo>
                  <a:pt x="243737" y="-608"/>
                  <a:pt x="265505" y="5347"/>
                  <a:pt x="277489" y="20476"/>
                </a:cubicBezTo>
                <a:cubicBezTo>
                  <a:pt x="301840" y="51218"/>
                  <a:pt x="305470" y="115298"/>
                  <a:pt x="276923" y="158460"/>
                </a:cubicBezTo>
                <a:cubicBezTo>
                  <a:pt x="270479" y="169447"/>
                  <a:pt x="263112" y="175821"/>
                  <a:pt x="262966" y="190772"/>
                </a:cubicBezTo>
                <a:cubicBezTo>
                  <a:pt x="264313" y="204178"/>
                  <a:pt x="274224" y="214905"/>
                  <a:pt x="287245" y="217460"/>
                </a:cubicBezTo>
                <a:cubicBezTo>
                  <a:pt x="337246" y="238361"/>
                  <a:pt x="357979" y="263526"/>
                  <a:pt x="367261" y="294194"/>
                </a:cubicBezTo>
                <a:lnTo>
                  <a:pt x="368035" y="299227"/>
                </a:lnTo>
                <a:lnTo>
                  <a:pt x="326120" y="307690"/>
                </a:lnTo>
                <a:cubicBezTo>
                  <a:pt x="309710" y="314631"/>
                  <a:pt x="294932" y="324674"/>
                  <a:pt x="282522" y="337085"/>
                </a:cubicBezTo>
                <a:lnTo>
                  <a:pt x="258724" y="372382"/>
                </a:lnTo>
                <a:lnTo>
                  <a:pt x="222582" y="372707"/>
                </a:lnTo>
                <a:cubicBezTo>
                  <a:pt x="167401" y="372707"/>
                  <a:pt x="112220" y="371760"/>
                  <a:pt x="88294" y="369866"/>
                </a:cubicBezTo>
                <a:cubicBezTo>
                  <a:pt x="72969" y="357715"/>
                  <a:pt x="71365" y="355727"/>
                  <a:pt x="69760" y="347133"/>
                </a:cubicBezTo>
                <a:cubicBezTo>
                  <a:pt x="68513" y="326637"/>
                  <a:pt x="71563" y="309055"/>
                  <a:pt x="77903" y="294194"/>
                </a:cubicBezTo>
                <a:cubicBezTo>
                  <a:pt x="87185" y="263526"/>
                  <a:pt x="107918" y="238361"/>
                  <a:pt x="157919" y="217460"/>
                </a:cubicBezTo>
                <a:cubicBezTo>
                  <a:pt x="170941" y="214905"/>
                  <a:pt x="180851" y="204178"/>
                  <a:pt x="182198" y="190772"/>
                </a:cubicBezTo>
                <a:cubicBezTo>
                  <a:pt x="182052" y="175821"/>
                  <a:pt x="174685" y="169447"/>
                  <a:pt x="168241" y="158460"/>
                </a:cubicBezTo>
                <a:cubicBezTo>
                  <a:pt x="139694" y="115298"/>
                  <a:pt x="143324" y="51218"/>
                  <a:pt x="167675" y="20476"/>
                </a:cubicBezTo>
                <a:cubicBezTo>
                  <a:pt x="179659" y="5347"/>
                  <a:pt x="201427" y="-608"/>
                  <a:pt x="222582" y="49"/>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121920" rIns="121920" bIns="121920" numCol="1" spcCol="0" rtlCol="0" fromWordArt="0" anchor="b" anchorCtr="0" forceAA="0" compatLnSpc="1">
            <a:prstTxWarp prst="textNoShape">
              <a:avLst/>
            </a:prstTxWarp>
            <a:noAutofit/>
          </a:bodyPr>
          <a:lstStyle/>
          <a:p>
            <a:pPr algn="r"/>
            <a:endParaRPr lang="en-US" sz="1600" dirty="0"/>
          </a:p>
        </p:txBody>
      </p:sp>
    </p:spTree>
    <p:extLst>
      <p:ext uri="{BB962C8B-B14F-4D97-AF65-F5344CB8AC3E}">
        <p14:creationId xmlns:p14="http://schemas.microsoft.com/office/powerpoint/2010/main" val="23859185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4" name="Freeform: Shape 493">
            <a:extLst>
              <a:ext uri="{FF2B5EF4-FFF2-40B4-BE49-F238E27FC236}">
                <a16:creationId xmlns:a16="http://schemas.microsoft.com/office/drawing/2014/main" id="{6C59B631-04EA-4CD8-81B0-E61971CE26C0}"/>
              </a:ext>
            </a:extLst>
          </p:cNvPr>
          <p:cNvSpPr>
            <a:spLocks/>
          </p:cNvSpPr>
          <p:nvPr/>
        </p:nvSpPr>
        <p:spPr bwMode="auto">
          <a:xfrm>
            <a:off x="5711146" y="2766050"/>
            <a:ext cx="3725222" cy="3779444"/>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chemeClr val="bg2">
              <a:alpha val="2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26" name="Group 25">
            <a:extLst>
              <a:ext uri="{FF2B5EF4-FFF2-40B4-BE49-F238E27FC236}">
                <a16:creationId xmlns:a16="http://schemas.microsoft.com/office/drawing/2014/main" id="{172F1213-5B85-49E2-A774-DDB916EB4A1A}"/>
              </a:ext>
            </a:extLst>
          </p:cNvPr>
          <p:cNvGrpSpPr/>
          <p:nvPr/>
        </p:nvGrpSpPr>
        <p:grpSpPr>
          <a:xfrm>
            <a:off x="5981252" y="529133"/>
            <a:ext cx="5799736" cy="5799734"/>
            <a:chOff x="6970542" y="497928"/>
            <a:chExt cx="7873326" cy="7873325"/>
          </a:xfrm>
        </p:grpSpPr>
        <p:grpSp>
          <p:nvGrpSpPr>
            <p:cNvPr id="25" name="Group 24">
              <a:extLst>
                <a:ext uri="{FF2B5EF4-FFF2-40B4-BE49-F238E27FC236}">
                  <a16:creationId xmlns:a16="http://schemas.microsoft.com/office/drawing/2014/main" id="{8D03F53D-0A42-4EB1-A33D-0802EE508D9E}"/>
                </a:ext>
              </a:extLst>
            </p:cNvPr>
            <p:cNvGrpSpPr/>
            <p:nvPr/>
          </p:nvGrpSpPr>
          <p:grpSpPr>
            <a:xfrm>
              <a:off x="6970542" y="497928"/>
              <a:ext cx="7873326" cy="7873325"/>
              <a:chOff x="6193587" y="1153533"/>
              <a:chExt cx="8147076" cy="8147074"/>
            </a:xfrm>
          </p:grpSpPr>
          <p:sp>
            <p:nvSpPr>
              <p:cNvPr id="490" name="Oval 489">
                <a:extLst>
                  <a:ext uri="{FF2B5EF4-FFF2-40B4-BE49-F238E27FC236}">
                    <a16:creationId xmlns:a16="http://schemas.microsoft.com/office/drawing/2014/main" id="{D34CB746-D42E-4F15-B95F-9BE240AD2DA2}"/>
                  </a:ext>
                </a:extLst>
              </p:cNvPr>
              <p:cNvSpPr/>
              <p:nvPr/>
            </p:nvSpPr>
            <p:spPr>
              <a:xfrm>
                <a:off x="6193587" y="1153533"/>
                <a:ext cx="8147076" cy="8147074"/>
              </a:xfrm>
              <a:prstGeom prst="ellipse">
                <a:avLst/>
              </a:prstGeom>
              <a:noFill/>
              <a:ln>
                <a:solidFill>
                  <a:schemeClr val="bg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9" name="Oval 488">
                <a:extLst>
                  <a:ext uri="{FF2B5EF4-FFF2-40B4-BE49-F238E27FC236}">
                    <a16:creationId xmlns:a16="http://schemas.microsoft.com/office/drawing/2014/main" id="{BF503C11-C325-426A-9BD5-2E3BEC89514D}"/>
                  </a:ext>
                </a:extLst>
              </p:cNvPr>
              <p:cNvSpPr/>
              <p:nvPr/>
            </p:nvSpPr>
            <p:spPr>
              <a:xfrm>
                <a:off x="6472717" y="1432663"/>
                <a:ext cx="7588816" cy="7588814"/>
              </a:xfrm>
              <a:prstGeom prst="ellipse">
                <a:avLst/>
              </a:prstGeom>
              <a:noFill/>
              <a:ln>
                <a:solidFill>
                  <a:schemeClr val="tx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5" name="Oval 124">
              <a:extLst>
                <a:ext uri="{FF2B5EF4-FFF2-40B4-BE49-F238E27FC236}">
                  <a16:creationId xmlns:a16="http://schemas.microsoft.com/office/drawing/2014/main" id="{40AAD1A6-0E05-4AF7-BBAB-BC2D20B82F08}"/>
                </a:ext>
              </a:extLst>
            </p:cNvPr>
            <p:cNvSpPr/>
            <p:nvPr/>
          </p:nvSpPr>
          <p:spPr>
            <a:xfrm>
              <a:off x="7509037" y="1036423"/>
              <a:ext cx="6796336" cy="6796335"/>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C5C87E4A-3F95-4B90-AC19-6C19D9D53A8D}"/>
                </a:ext>
              </a:extLst>
            </p:cNvPr>
            <p:cNvSpPr/>
            <p:nvPr/>
          </p:nvSpPr>
          <p:spPr>
            <a:xfrm>
              <a:off x="7740735" y="1268120"/>
              <a:ext cx="6332941" cy="633294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a:extLst>
              <a:ext uri="{FF2B5EF4-FFF2-40B4-BE49-F238E27FC236}">
                <a16:creationId xmlns:a16="http://schemas.microsoft.com/office/drawing/2014/main" id="{A8EEF25D-20AD-4B82-A691-B2E9CEFE7628}"/>
              </a:ext>
            </a:extLst>
          </p:cNvPr>
          <p:cNvSpPr>
            <a:spLocks noGrp="1"/>
          </p:cNvSpPr>
          <p:nvPr>
            <p:ph type="ctrTitle"/>
          </p:nvPr>
        </p:nvSpPr>
        <p:spPr>
          <a:xfrm>
            <a:off x="555233" y="2921516"/>
            <a:ext cx="5026261" cy="1014968"/>
          </a:xfrm>
        </p:spPr>
        <p:txBody>
          <a:bodyPr anchor="ctr"/>
          <a:lstStyle/>
          <a:p>
            <a:r>
              <a:rPr lang="en-US" sz="5400" dirty="0">
                <a:latin typeface="CiscoSansTT" panose="020B0503020201020303" pitchFamily="34" charset="0"/>
              </a:rPr>
              <a:t>Cisco Umbrella and Cisco AMP for Endpoints</a:t>
            </a:r>
          </a:p>
        </p:txBody>
      </p:sp>
      <p:sp>
        <p:nvSpPr>
          <p:cNvPr id="123" name="Freeform: Shape 122">
            <a:extLst>
              <a:ext uri="{FF2B5EF4-FFF2-40B4-BE49-F238E27FC236}">
                <a16:creationId xmlns:a16="http://schemas.microsoft.com/office/drawing/2014/main" id="{4A00BE17-9657-4C30-9E91-EEBCA11F9D84}"/>
              </a:ext>
            </a:extLst>
          </p:cNvPr>
          <p:cNvSpPr>
            <a:spLocks noChangeAspect="1"/>
          </p:cNvSpPr>
          <p:nvPr/>
        </p:nvSpPr>
        <p:spPr>
          <a:xfrm rot="17628662">
            <a:off x="7676574" y="1874318"/>
            <a:ext cx="2283345" cy="443213"/>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gradFill flip="none" rotWithShape="1">
            <a:gsLst>
              <a:gs pos="0">
                <a:schemeClr val="accent1">
                  <a:lumMod val="20000"/>
                  <a:lumOff val="80000"/>
                  <a:alpha val="0"/>
                </a:schemeClr>
              </a:gs>
              <a:gs pos="100000">
                <a:schemeClr val="accent1">
                  <a:lumMod val="20000"/>
                  <a:lumOff val="80000"/>
                </a:schemeClr>
              </a:gs>
            </a:gsLst>
            <a:lin ang="0" scaled="1"/>
            <a:tileRect/>
          </a:gra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69" name="Freeform: Shape 68">
            <a:extLst>
              <a:ext uri="{FF2B5EF4-FFF2-40B4-BE49-F238E27FC236}">
                <a16:creationId xmlns:a16="http://schemas.microsoft.com/office/drawing/2014/main" id="{8EB12D0B-4299-4A41-B44D-B1AA5A12878A}"/>
              </a:ext>
            </a:extLst>
          </p:cNvPr>
          <p:cNvSpPr>
            <a:spLocks/>
          </p:cNvSpPr>
          <p:nvPr/>
        </p:nvSpPr>
        <p:spPr bwMode="auto">
          <a:xfrm>
            <a:off x="7971320" y="2181362"/>
            <a:ext cx="2804162" cy="2844979"/>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rgbClr val="6CBD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97" name="Freeform: Shape 496">
            <a:extLst>
              <a:ext uri="{FF2B5EF4-FFF2-40B4-BE49-F238E27FC236}">
                <a16:creationId xmlns:a16="http://schemas.microsoft.com/office/drawing/2014/main" id="{664D79E4-5791-4B8C-9F1E-6E77EAD7F201}"/>
              </a:ext>
            </a:extLst>
          </p:cNvPr>
          <p:cNvSpPr>
            <a:spLocks noChangeAspect="1"/>
          </p:cNvSpPr>
          <p:nvPr/>
        </p:nvSpPr>
        <p:spPr>
          <a:xfrm rot="17628662">
            <a:off x="8170825" y="2098281"/>
            <a:ext cx="2283345" cy="443213"/>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gradFill flip="none" rotWithShape="1">
            <a:gsLst>
              <a:gs pos="0">
                <a:schemeClr val="accent1">
                  <a:lumMod val="20000"/>
                  <a:lumOff val="80000"/>
                  <a:alpha val="0"/>
                </a:schemeClr>
              </a:gs>
              <a:gs pos="100000">
                <a:schemeClr val="accent1">
                  <a:lumMod val="20000"/>
                  <a:lumOff val="80000"/>
                </a:schemeClr>
              </a:gs>
            </a:gsLst>
            <a:lin ang="0" scaled="1"/>
            <a:tileRect/>
          </a:gra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grpSp>
        <p:nvGrpSpPr>
          <p:cNvPr id="4" name="Group 3">
            <a:extLst>
              <a:ext uri="{FF2B5EF4-FFF2-40B4-BE49-F238E27FC236}">
                <a16:creationId xmlns:a16="http://schemas.microsoft.com/office/drawing/2014/main" id="{8B3B0D83-9B02-47F3-9F94-E2BD9D4848F7}"/>
              </a:ext>
            </a:extLst>
          </p:cNvPr>
          <p:cNvGrpSpPr/>
          <p:nvPr/>
        </p:nvGrpSpPr>
        <p:grpSpPr>
          <a:xfrm>
            <a:off x="7377197" y="2222181"/>
            <a:ext cx="2804162" cy="2804160"/>
            <a:chOff x="7377197" y="2222181"/>
            <a:chExt cx="2804162" cy="2804160"/>
          </a:xfrm>
        </p:grpSpPr>
        <p:sp>
          <p:nvSpPr>
            <p:cNvPr id="57" name="Oval 56">
              <a:extLst>
                <a:ext uri="{FF2B5EF4-FFF2-40B4-BE49-F238E27FC236}">
                  <a16:creationId xmlns:a16="http://schemas.microsoft.com/office/drawing/2014/main" id="{D772C70D-D08D-4F91-BD01-C32A7EBF1364}"/>
                </a:ext>
              </a:extLst>
            </p:cNvPr>
            <p:cNvSpPr/>
            <p:nvPr/>
          </p:nvSpPr>
          <p:spPr>
            <a:xfrm>
              <a:off x="7377197" y="2222181"/>
              <a:ext cx="2804162" cy="2804160"/>
            </a:xfrm>
            <a:prstGeom prst="ellipse">
              <a:avLst/>
            </a:prstGeom>
            <a:solidFill>
              <a:schemeClr val="bg2"/>
            </a:solidFill>
            <a:ln w="28575" cap="rnd">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0" name="Picture 59">
              <a:extLst>
                <a:ext uri="{FF2B5EF4-FFF2-40B4-BE49-F238E27FC236}">
                  <a16:creationId xmlns:a16="http://schemas.microsoft.com/office/drawing/2014/main" id="{123048F3-F1C0-4226-8F69-29D825609091}"/>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7438494" y="2226206"/>
              <a:ext cx="2742865" cy="2800135"/>
            </a:xfrm>
            <a:custGeom>
              <a:avLst/>
              <a:gdLst>
                <a:gd name="connsiteX0" fmla="*/ 1340784 w 2742865"/>
                <a:gd name="connsiteY0" fmla="*/ 0 h 2800135"/>
                <a:gd name="connsiteX1" fmla="*/ 2742865 w 2742865"/>
                <a:gd name="connsiteY1" fmla="*/ 1402080 h 2800135"/>
                <a:gd name="connsiteX2" fmla="*/ 1484139 w 2742865"/>
                <a:gd name="connsiteY2" fmla="*/ 2796921 h 2800135"/>
                <a:gd name="connsiteX3" fmla="*/ 1420492 w 2742865"/>
                <a:gd name="connsiteY3" fmla="*/ 2800135 h 2800135"/>
                <a:gd name="connsiteX4" fmla="*/ 1261077 w 2742865"/>
                <a:gd name="connsiteY4" fmla="*/ 2800135 h 2800135"/>
                <a:gd name="connsiteX5" fmla="*/ 1197429 w 2742865"/>
                <a:gd name="connsiteY5" fmla="*/ 2796921 h 2800135"/>
                <a:gd name="connsiteX6" fmla="*/ 1738 w 2742865"/>
                <a:gd name="connsiteY6" fmla="*/ 1819016 h 2800135"/>
                <a:gd name="connsiteX7" fmla="*/ 0 w 2742865"/>
                <a:gd name="connsiteY7" fmla="*/ 1812257 h 2800135"/>
                <a:gd name="connsiteX8" fmla="*/ 0 w 2742865"/>
                <a:gd name="connsiteY8" fmla="*/ 991903 h 2800135"/>
                <a:gd name="connsiteX9" fmla="*/ 1738 w 2742865"/>
                <a:gd name="connsiteY9" fmla="*/ 985144 h 2800135"/>
                <a:gd name="connsiteX10" fmla="*/ 1340784 w 2742865"/>
                <a:gd name="connsiteY10" fmla="*/ 0 h 280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42865" h="2800135">
                  <a:moveTo>
                    <a:pt x="1340784" y="0"/>
                  </a:moveTo>
                  <a:cubicBezTo>
                    <a:pt x="2115132" y="0"/>
                    <a:pt x="2742865" y="627733"/>
                    <a:pt x="2742865" y="1402080"/>
                  </a:cubicBezTo>
                  <a:cubicBezTo>
                    <a:pt x="2742865" y="2128031"/>
                    <a:pt x="2191147" y="2725121"/>
                    <a:pt x="1484139" y="2796921"/>
                  </a:cubicBezTo>
                  <a:lnTo>
                    <a:pt x="1420492" y="2800135"/>
                  </a:lnTo>
                  <a:lnTo>
                    <a:pt x="1261077" y="2800135"/>
                  </a:lnTo>
                  <a:lnTo>
                    <a:pt x="1197429" y="2796921"/>
                  </a:lnTo>
                  <a:cubicBezTo>
                    <a:pt x="631823" y="2739481"/>
                    <a:pt x="165602" y="2345855"/>
                    <a:pt x="1738" y="1819016"/>
                  </a:cubicBezTo>
                  <a:lnTo>
                    <a:pt x="0" y="1812257"/>
                  </a:lnTo>
                  <a:lnTo>
                    <a:pt x="0" y="991903"/>
                  </a:lnTo>
                  <a:lnTo>
                    <a:pt x="1738" y="985144"/>
                  </a:lnTo>
                  <a:cubicBezTo>
                    <a:pt x="179257" y="414402"/>
                    <a:pt x="711626" y="0"/>
                    <a:pt x="1340784" y="0"/>
                  </a:cubicBezTo>
                  <a:close/>
                </a:path>
              </a:pathLst>
            </a:custGeom>
          </p:spPr>
        </p:pic>
        <p:sp>
          <p:nvSpPr>
            <p:cNvPr id="62" name="Oval 61">
              <a:extLst>
                <a:ext uri="{FF2B5EF4-FFF2-40B4-BE49-F238E27FC236}">
                  <a16:creationId xmlns:a16="http://schemas.microsoft.com/office/drawing/2014/main" id="{E9CE89A9-AFB1-4B2B-BC35-13419B785AE9}"/>
                </a:ext>
              </a:extLst>
            </p:cNvPr>
            <p:cNvSpPr/>
            <p:nvPr/>
          </p:nvSpPr>
          <p:spPr>
            <a:xfrm>
              <a:off x="7377197" y="2222181"/>
              <a:ext cx="2804162" cy="2804160"/>
            </a:xfrm>
            <a:prstGeom prst="ellipse">
              <a:avLst/>
            </a:prstGeom>
            <a:noFill/>
            <a:ln w="28575" cap="rnd">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 name="Group 10">
            <a:extLst>
              <a:ext uri="{FF2B5EF4-FFF2-40B4-BE49-F238E27FC236}">
                <a16:creationId xmlns:a16="http://schemas.microsoft.com/office/drawing/2014/main" id="{364796FA-C252-4CCF-A666-BC229794CA7E}"/>
              </a:ext>
            </a:extLst>
          </p:cNvPr>
          <p:cNvGrpSpPr/>
          <p:nvPr/>
        </p:nvGrpSpPr>
        <p:grpSpPr>
          <a:xfrm flipH="1">
            <a:off x="6766355" y="1694259"/>
            <a:ext cx="2372433" cy="1670148"/>
            <a:chOff x="6544085" y="609146"/>
            <a:chExt cx="2372433" cy="1670148"/>
          </a:xfrm>
        </p:grpSpPr>
        <p:sp>
          <p:nvSpPr>
            <p:cNvPr id="10" name="Oval 9">
              <a:extLst>
                <a:ext uri="{FF2B5EF4-FFF2-40B4-BE49-F238E27FC236}">
                  <a16:creationId xmlns:a16="http://schemas.microsoft.com/office/drawing/2014/main" id="{AAFE6A8E-D272-4049-9B33-91ED9A5AAAC7}"/>
                </a:ext>
              </a:extLst>
            </p:cNvPr>
            <p:cNvSpPr/>
            <p:nvPr/>
          </p:nvSpPr>
          <p:spPr>
            <a:xfrm>
              <a:off x="6544085" y="613071"/>
              <a:ext cx="1666223" cy="1666223"/>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A6C1CFA6-B23F-4197-AC63-BD6D95BC4440}"/>
                </a:ext>
              </a:extLst>
            </p:cNvPr>
            <p:cNvGrpSpPr/>
            <p:nvPr/>
          </p:nvGrpSpPr>
          <p:grpSpPr>
            <a:xfrm>
              <a:off x="6544085" y="609146"/>
              <a:ext cx="2372433" cy="1447582"/>
              <a:chOff x="6372686" y="499946"/>
              <a:chExt cx="2592831" cy="1582062"/>
            </a:xfrm>
          </p:grpSpPr>
          <p:pic>
            <p:nvPicPr>
              <p:cNvPr id="80" name="Picture 79">
                <a:extLst>
                  <a:ext uri="{FF2B5EF4-FFF2-40B4-BE49-F238E27FC236}">
                    <a16:creationId xmlns:a16="http://schemas.microsoft.com/office/drawing/2014/main" id="{8A0DADF0-553F-4233-822F-1DE0430184E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72686" y="499946"/>
                <a:ext cx="1900738" cy="1582062"/>
              </a:xfrm>
              <a:custGeom>
                <a:avLst/>
                <a:gdLst>
                  <a:gd name="connsiteX0" fmla="*/ 708730 w 1900738"/>
                  <a:gd name="connsiteY0" fmla="*/ 0 h 1582062"/>
                  <a:gd name="connsiteX1" fmla="*/ 1192009 w 1900738"/>
                  <a:gd name="connsiteY1" fmla="*/ 0 h 1582062"/>
                  <a:gd name="connsiteX2" fmla="*/ 1232980 w 1900738"/>
                  <a:gd name="connsiteY2" fmla="*/ 10535 h 1582062"/>
                  <a:gd name="connsiteX3" fmla="*/ 1900738 w 1900738"/>
                  <a:gd name="connsiteY3" fmla="*/ 918177 h 1582062"/>
                  <a:gd name="connsiteX4" fmla="*/ 1738430 w 1900738"/>
                  <a:gd name="connsiteY4" fmla="*/ 1449537 h 1582062"/>
                  <a:gd name="connsiteX5" fmla="*/ 1629087 w 1900738"/>
                  <a:gd name="connsiteY5" fmla="*/ 1582062 h 1582062"/>
                  <a:gd name="connsiteX6" fmla="*/ 271652 w 1900738"/>
                  <a:gd name="connsiteY6" fmla="*/ 1582062 h 1582062"/>
                  <a:gd name="connsiteX7" fmla="*/ 162308 w 1900738"/>
                  <a:gd name="connsiteY7" fmla="*/ 1449537 h 1582062"/>
                  <a:gd name="connsiteX8" fmla="*/ 0 w 1900738"/>
                  <a:gd name="connsiteY8" fmla="*/ 918177 h 1582062"/>
                  <a:gd name="connsiteX9" fmla="*/ 667758 w 1900738"/>
                  <a:gd name="connsiteY9" fmla="*/ 10535 h 1582062"/>
                  <a:gd name="connsiteX10" fmla="*/ 708730 w 1900738"/>
                  <a:gd name="connsiteY10" fmla="*/ 0 h 1582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00738" h="1582062">
                    <a:moveTo>
                      <a:pt x="708730" y="0"/>
                    </a:moveTo>
                    <a:lnTo>
                      <a:pt x="1192009" y="0"/>
                    </a:lnTo>
                    <a:lnTo>
                      <a:pt x="1232980" y="10535"/>
                    </a:lnTo>
                    <a:cubicBezTo>
                      <a:pt x="1619845" y="130862"/>
                      <a:pt x="1900738" y="491717"/>
                      <a:pt x="1900738" y="918177"/>
                    </a:cubicBezTo>
                    <a:cubicBezTo>
                      <a:pt x="1900738" y="1115005"/>
                      <a:pt x="1840903" y="1297857"/>
                      <a:pt x="1738430" y="1449537"/>
                    </a:cubicBezTo>
                    <a:lnTo>
                      <a:pt x="1629087" y="1582062"/>
                    </a:lnTo>
                    <a:lnTo>
                      <a:pt x="271652" y="1582062"/>
                    </a:lnTo>
                    <a:lnTo>
                      <a:pt x="162308" y="1449537"/>
                    </a:lnTo>
                    <a:cubicBezTo>
                      <a:pt x="59835" y="1297857"/>
                      <a:pt x="0" y="1115005"/>
                      <a:pt x="0" y="918177"/>
                    </a:cubicBezTo>
                    <a:cubicBezTo>
                      <a:pt x="0" y="491717"/>
                      <a:pt x="280893" y="130862"/>
                      <a:pt x="667758" y="10535"/>
                    </a:cubicBezTo>
                    <a:lnTo>
                      <a:pt x="708730" y="0"/>
                    </a:lnTo>
                    <a:close/>
                  </a:path>
                </a:pathLst>
              </a:custGeom>
            </p:spPr>
          </p:pic>
          <p:pic>
            <p:nvPicPr>
              <p:cNvPr id="70" name="Picture 69">
                <a:extLst>
                  <a:ext uri="{FF2B5EF4-FFF2-40B4-BE49-F238E27FC236}">
                    <a16:creationId xmlns:a16="http://schemas.microsoft.com/office/drawing/2014/main" id="{36D263C5-5A3F-43C9-BC7F-5F315AC2666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564696" y="499946"/>
                <a:ext cx="1400821" cy="1582062"/>
              </a:xfrm>
              <a:custGeom>
                <a:avLst/>
                <a:gdLst>
                  <a:gd name="connsiteX0" fmla="*/ 0 w 1400821"/>
                  <a:gd name="connsiteY0" fmla="*/ 0 h 1582062"/>
                  <a:gd name="connsiteX1" fmla="*/ 1400821 w 1400821"/>
                  <a:gd name="connsiteY1" fmla="*/ 0 h 1582062"/>
                  <a:gd name="connsiteX2" fmla="*/ 1400821 w 1400821"/>
                  <a:gd name="connsiteY2" fmla="*/ 1582062 h 1582062"/>
                  <a:gd name="connsiteX3" fmla="*/ 437078 w 1400821"/>
                  <a:gd name="connsiteY3" fmla="*/ 1582062 h 1582062"/>
                  <a:gd name="connsiteX4" fmla="*/ 546421 w 1400821"/>
                  <a:gd name="connsiteY4" fmla="*/ 1449537 h 1582062"/>
                  <a:gd name="connsiteX5" fmla="*/ 708729 w 1400821"/>
                  <a:gd name="connsiteY5" fmla="*/ 918177 h 1582062"/>
                  <a:gd name="connsiteX6" fmla="*/ 40971 w 1400821"/>
                  <a:gd name="connsiteY6" fmla="*/ 10535 h 1582062"/>
                  <a:gd name="connsiteX7" fmla="*/ 0 w 1400821"/>
                  <a:gd name="connsiteY7" fmla="*/ 0 h 1582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0821" h="1582062">
                    <a:moveTo>
                      <a:pt x="0" y="0"/>
                    </a:moveTo>
                    <a:lnTo>
                      <a:pt x="1400821" y="0"/>
                    </a:lnTo>
                    <a:lnTo>
                      <a:pt x="1400821" y="1582062"/>
                    </a:lnTo>
                    <a:lnTo>
                      <a:pt x="437078" y="1582062"/>
                    </a:lnTo>
                    <a:lnTo>
                      <a:pt x="546421" y="1449537"/>
                    </a:lnTo>
                    <a:cubicBezTo>
                      <a:pt x="648894" y="1297857"/>
                      <a:pt x="708729" y="1115005"/>
                      <a:pt x="708729" y="918177"/>
                    </a:cubicBezTo>
                    <a:cubicBezTo>
                      <a:pt x="708729" y="491717"/>
                      <a:pt x="427836" y="130862"/>
                      <a:pt x="40971" y="10535"/>
                    </a:cubicBezTo>
                    <a:lnTo>
                      <a:pt x="0" y="0"/>
                    </a:lnTo>
                    <a:close/>
                  </a:path>
                </a:pathLst>
              </a:custGeom>
            </p:spPr>
          </p:pic>
        </p:grpSp>
      </p:grpSp>
      <p:grpSp>
        <p:nvGrpSpPr>
          <p:cNvPr id="85" name="Group 84">
            <a:extLst>
              <a:ext uri="{FF2B5EF4-FFF2-40B4-BE49-F238E27FC236}">
                <a16:creationId xmlns:a16="http://schemas.microsoft.com/office/drawing/2014/main" id="{73132F3C-BFE4-49B0-8247-10327F695A3B}"/>
              </a:ext>
            </a:extLst>
          </p:cNvPr>
          <p:cNvGrpSpPr/>
          <p:nvPr/>
        </p:nvGrpSpPr>
        <p:grpSpPr>
          <a:xfrm rot="2730412">
            <a:off x="8109882" y="2929737"/>
            <a:ext cx="973464" cy="841240"/>
            <a:chOff x="16515921" y="4129462"/>
            <a:chExt cx="1972915" cy="1704936"/>
          </a:xfrm>
        </p:grpSpPr>
        <p:sp>
          <p:nvSpPr>
            <p:cNvPr id="86" name="Rectangle: Rounded Corners 85">
              <a:extLst>
                <a:ext uri="{FF2B5EF4-FFF2-40B4-BE49-F238E27FC236}">
                  <a16:creationId xmlns:a16="http://schemas.microsoft.com/office/drawing/2014/main" id="{3216B81B-ED60-44D3-B7EA-4A93B70D3D98}"/>
                </a:ext>
              </a:extLst>
            </p:cNvPr>
            <p:cNvSpPr/>
            <p:nvPr/>
          </p:nvSpPr>
          <p:spPr>
            <a:xfrm rot="2622936">
              <a:off x="16515921" y="4930624"/>
              <a:ext cx="1972915" cy="127146"/>
            </a:xfrm>
            <a:prstGeom prst="roundRect">
              <a:avLst>
                <a:gd name="adj" fmla="val 50000"/>
              </a:avLst>
            </a:prstGeom>
            <a:solidFill>
              <a:srgbClr val="74BF4B">
                <a:lumMod val="75000"/>
              </a:srgbClr>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7" name="Freeform: Shape 86">
              <a:extLst>
                <a:ext uri="{FF2B5EF4-FFF2-40B4-BE49-F238E27FC236}">
                  <a16:creationId xmlns:a16="http://schemas.microsoft.com/office/drawing/2014/main" id="{8592A09F-4A24-44C1-A6A2-688D617B5839}"/>
                </a:ext>
              </a:extLst>
            </p:cNvPr>
            <p:cNvSpPr/>
            <p:nvPr/>
          </p:nvSpPr>
          <p:spPr>
            <a:xfrm>
              <a:off x="17966732" y="5428672"/>
              <a:ext cx="405726" cy="405726"/>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rgbClr val="74BF4B"/>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8" name="Freeform: Shape 87">
              <a:extLst>
                <a:ext uri="{FF2B5EF4-FFF2-40B4-BE49-F238E27FC236}">
                  <a16:creationId xmlns:a16="http://schemas.microsoft.com/office/drawing/2014/main" id="{6730F1B1-05F0-4A58-9E87-BB18EA4378CC}"/>
                </a:ext>
              </a:extLst>
            </p:cNvPr>
            <p:cNvSpPr/>
            <p:nvPr/>
          </p:nvSpPr>
          <p:spPr>
            <a:xfrm>
              <a:off x="16622601" y="4129462"/>
              <a:ext cx="405726" cy="405726"/>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rgbClr val="74BF4B"/>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04" name="Group 103">
            <a:extLst>
              <a:ext uri="{FF2B5EF4-FFF2-40B4-BE49-F238E27FC236}">
                <a16:creationId xmlns:a16="http://schemas.microsoft.com/office/drawing/2014/main" id="{E706F57F-D54C-4BFE-B36D-A45C401B7220}"/>
              </a:ext>
            </a:extLst>
          </p:cNvPr>
          <p:cNvGrpSpPr/>
          <p:nvPr/>
        </p:nvGrpSpPr>
        <p:grpSpPr>
          <a:xfrm>
            <a:off x="8078632" y="4204350"/>
            <a:ext cx="1140407" cy="271535"/>
            <a:chOff x="1478850" y="3545751"/>
            <a:chExt cx="1703989" cy="405726"/>
          </a:xfrm>
        </p:grpSpPr>
        <p:grpSp>
          <p:nvGrpSpPr>
            <p:cNvPr id="105" name="Group 104">
              <a:extLst>
                <a:ext uri="{FF2B5EF4-FFF2-40B4-BE49-F238E27FC236}">
                  <a16:creationId xmlns:a16="http://schemas.microsoft.com/office/drawing/2014/main" id="{2EE4D7E2-C00F-48E5-BE1E-1C796665D438}"/>
                </a:ext>
              </a:extLst>
            </p:cNvPr>
            <p:cNvGrpSpPr/>
            <p:nvPr/>
          </p:nvGrpSpPr>
          <p:grpSpPr>
            <a:xfrm>
              <a:off x="1681713" y="3617175"/>
              <a:ext cx="1501126" cy="262878"/>
              <a:chOff x="13710299" y="3176277"/>
              <a:chExt cx="1501126" cy="262878"/>
            </a:xfrm>
          </p:grpSpPr>
          <p:sp>
            <p:nvSpPr>
              <p:cNvPr id="107" name="Freeform: Shape 106">
                <a:extLst>
                  <a:ext uri="{FF2B5EF4-FFF2-40B4-BE49-F238E27FC236}">
                    <a16:creationId xmlns:a16="http://schemas.microsoft.com/office/drawing/2014/main" id="{084E71E5-9266-4E64-9F89-CFF8CAE01BAE}"/>
                  </a:ext>
                </a:extLst>
              </p:cNvPr>
              <p:cNvSpPr/>
              <p:nvPr/>
            </p:nvSpPr>
            <p:spPr>
              <a:xfrm>
                <a:off x="14948548" y="3248661"/>
                <a:ext cx="186677" cy="128016"/>
              </a:xfrm>
              <a:custGeom>
                <a:avLst/>
                <a:gdLst>
                  <a:gd name="connsiteX0" fmla="*/ 15650 w 186677"/>
                  <a:gd name="connsiteY0" fmla="*/ 0 h 128016"/>
                  <a:gd name="connsiteX1" fmla="*/ 122669 w 186677"/>
                  <a:gd name="connsiteY1" fmla="*/ 0 h 128016"/>
                  <a:gd name="connsiteX2" fmla="*/ 186677 w 186677"/>
                  <a:gd name="connsiteY2" fmla="*/ 64008 h 128016"/>
                  <a:gd name="connsiteX3" fmla="*/ 122669 w 186677"/>
                  <a:gd name="connsiteY3" fmla="*/ 128016 h 128016"/>
                  <a:gd name="connsiteX4" fmla="*/ 22329 w 186677"/>
                  <a:gd name="connsiteY4" fmla="*/ 128016 h 128016"/>
                  <a:gd name="connsiteX5" fmla="*/ 10329 w 186677"/>
                  <a:gd name="connsiteY5" fmla="*/ 110217 h 128016"/>
                  <a:gd name="connsiteX6" fmla="*/ 0 w 186677"/>
                  <a:gd name="connsiteY6" fmla="*/ 59055 h 128016"/>
                  <a:gd name="connsiteX7" fmla="*/ 10329 w 186677"/>
                  <a:gd name="connsiteY7" fmla="*/ 7893 h 128016"/>
                  <a:gd name="connsiteX8" fmla="*/ 15650 w 186677"/>
                  <a:gd name="connsiteY8" fmla="*/ 0 h 12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677" h="128016">
                    <a:moveTo>
                      <a:pt x="15650" y="0"/>
                    </a:moveTo>
                    <a:lnTo>
                      <a:pt x="122669" y="0"/>
                    </a:lnTo>
                    <a:cubicBezTo>
                      <a:pt x="158020" y="0"/>
                      <a:pt x="186677" y="28657"/>
                      <a:pt x="186677" y="64008"/>
                    </a:cubicBezTo>
                    <a:cubicBezTo>
                      <a:pt x="186677" y="99359"/>
                      <a:pt x="158020" y="128016"/>
                      <a:pt x="122669" y="128016"/>
                    </a:cubicBezTo>
                    <a:lnTo>
                      <a:pt x="22329" y="128016"/>
                    </a:lnTo>
                    <a:lnTo>
                      <a:pt x="10329" y="110217"/>
                    </a:lnTo>
                    <a:cubicBezTo>
                      <a:pt x="3678" y="94492"/>
                      <a:pt x="0" y="77203"/>
                      <a:pt x="0" y="59055"/>
                    </a:cubicBezTo>
                    <a:cubicBezTo>
                      <a:pt x="0" y="40907"/>
                      <a:pt x="3678" y="23618"/>
                      <a:pt x="10329" y="7893"/>
                    </a:cubicBezTo>
                    <a:lnTo>
                      <a:pt x="15650" y="0"/>
                    </a:lnTo>
                    <a:close/>
                  </a:path>
                </a:pathLst>
              </a:custGeom>
              <a:solidFill>
                <a:srgbClr val="00BCEB">
                  <a:lumMod val="75000"/>
                </a:srgbClr>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8" name="Freeform: Shape 107">
                <a:extLst>
                  <a:ext uri="{FF2B5EF4-FFF2-40B4-BE49-F238E27FC236}">
                    <a16:creationId xmlns:a16="http://schemas.microsoft.com/office/drawing/2014/main" id="{1749812D-FD0C-4C7F-AD69-E02143B862B4}"/>
                  </a:ext>
                </a:extLst>
              </p:cNvPr>
              <p:cNvSpPr/>
              <p:nvPr/>
            </p:nvSpPr>
            <p:spPr>
              <a:xfrm>
                <a:off x="14964197" y="3176277"/>
                <a:ext cx="247228" cy="262878"/>
              </a:xfrm>
              <a:custGeom>
                <a:avLst/>
                <a:gdLst>
                  <a:gd name="connsiteX0" fmla="*/ 115789 w 247228"/>
                  <a:gd name="connsiteY0" fmla="*/ 0 h 262878"/>
                  <a:gd name="connsiteX1" fmla="*/ 247228 w 247228"/>
                  <a:gd name="connsiteY1" fmla="*/ 131439 h 262878"/>
                  <a:gd name="connsiteX2" fmla="*/ 115789 w 247228"/>
                  <a:gd name="connsiteY2" fmla="*/ 262878 h 262878"/>
                  <a:gd name="connsiteX3" fmla="*/ 22847 w 247228"/>
                  <a:gd name="connsiteY3" fmla="*/ 224381 h 262878"/>
                  <a:gd name="connsiteX4" fmla="*/ 6679 w 247228"/>
                  <a:gd name="connsiteY4" fmla="*/ 200400 h 262878"/>
                  <a:gd name="connsiteX5" fmla="*/ 107019 w 247228"/>
                  <a:gd name="connsiteY5" fmla="*/ 200400 h 262878"/>
                  <a:gd name="connsiteX6" fmla="*/ 171027 w 247228"/>
                  <a:gd name="connsiteY6" fmla="*/ 136392 h 262878"/>
                  <a:gd name="connsiteX7" fmla="*/ 107019 w 247228"/>
                  <a:gd name="connsiteY7" fmla="*/ 72384 h 262878"/>
                  <a:gd name="connsiteX8" fmla="*/ 0 w 247228"/>
                  <a:gd name="connsiteY8" fmla="*/ 72384 h 262878"/>
                  <a:gd name="connsiteX9" fmla="*/ 22847 w 247228"/>
                  <a:gd name="connsiteY9" fmla="*/ 38497 h 262878"/>
                  <a:gd name="connsiteX10" fmla="*/ 115789 w 247228"/>
                  <a:gd name="connsiteY10" fmla="*/ 0 h 26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228" h="262878">
                    <a:moveTo>
                      <a:pt x="115789" y="0"/>
                    </a:moveTo>
                    <a:cubicBezTo>
                      <a:pt x="188381" y="0"/>
                      <a:pt x="247228" y="58847"/>
                      <a:pt x="247228" y="131439"/>
                    </a:cubicBezTo>
                    <a:cubicBezTo>
                      <a:pt x="247228" y="204031"/>
                      <a:pt x="188381" y="262878"/>
                      <a:pt x="115789" y="262878"/>
                    </a:cubicBezTo>
                    <a:cubicBezTo>
                      <a:pt x="79493" y="262878"/>
                      <a:pt x="46633" y="248166"/>
                      <a:pt x="22847" y="224381"/>
                    </a:cubicBezTo>
                    <a:lnTo>
                      <a:pt x="6679" y="200400"/>
                    </a:lnTo>
                    <a:lnTo>
                      <a:pt x="107019" y="200400"/>
                    </a:lnTo>
                    <a:cubicBezTo>
                      <a:pt x="142370" y="200400"/>
                      <a:pt x="171027" y="171743"/>
                      <a:pt x="171027" y="136392"/>
                    </a:cubicBezTo>
                    <a:cubicBezTo>
                      <a:pt x="171027" y="101041"/>
                      <a:pt x="142370" y="72384"/>
                      <a:pt x="107019" y="72384"/>
                    </a:cubicBezTo>
                    <a:lnTo>
                      <a:pt x="0" y="72384"/>
                    </a:lnTo>
                    <a:lnTo>
                      <a:pt x="22847" y="38497"/>
                    </a:lnTo>
                    <a:cubicBezTo>
                      <a:pt x="46633" y="14712"/>
                      <a:pt x="79493" y="0"/>
                      <a:pt x="115789" y="0"/>
                    </a:cubicBezTo>
                    <a:close/>
                  </a:path>
                </a:pathLst>
              </a:custGeom>
              <a:solidFill>
                <a:srgbClr val="00BCEB">
                  <a:lumMod val="75000"/>
                  <a:alpha val="80000"/>
                </a:srgbClr>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9" name="Freeform: Shape 108">
                <a:extLst>
                  <a:ext uri="{FF2B5EF4-FFF2-40B4-BE49-F238E27FC236}">
                    <a16:creationId xmlns:a16="http://schemas.microsoft.com/office/drawing/2014/main" id="{9D963A7D-97DB-4A9E-A495-86F6C62A5451}"/>
                  </a:ext>
                </a:extLst>
              </p:cNvPr>
              <p:cNvSpPr/>
              <p:nvPr/>
            </p:nvSpPr>
            <p:spPr>
              <a:xfrm>
                <a:off x="13710299" y="3248661"/>
                <a:ext cx="1260577" cy="128016"/>
              </a:xfrm>
              <a:custGeom>
                <a:avLst/>
                <a:gdLst>
                  <a:gd name="connsiteX0" fmla="*/ 64008 w 1260577"/>
                  <a:gd name="connsiteY0" fmla="*/ 0 h 128016"/>
                  <a:gd name="connsiteX1" fmla="*/ 1253898 w 1260577"/>
                  <a:gd name="connsiteY1" fmla="*/ 0 h 128016"/>
                  <a:gd name="connsiteX2" fmla="*/ 1248577 w 1260577"/>
                  <a:gd name="connsiteY2" fmla="*/ 7893 h 128016"/>
                  <a:gd name="connsiteX3" fmla="*/ 1238248 w 1260577"/>
                  <a:gd name="connsiteY3" fmla="*/ 59055 h 128016"/>
                  <a:gd name="connsiteX4" fmla="*/ 1248577 w 1260577"/>
                  <a:gd name="connsiteY4" fmla="*/ 110217 h 128016"/>
                  <a:gd name="connsiteX5" fmla="*/ 1260577 w 1260577"/>
                  <a:gd name="connsiteY5" fmla="*/ 128016 h 128016"/>
                  <a:gd name="connsiteX6" fmla="*/ 64008 w 1260577"/>
                  <a:gd name="connsiteY6" fmla="*/ 128016 h 128016"/>
                  <a:gd name="connsiteX7" fmla="*/ 0 w 1260577"/>
                  <a:gd name="connsiteY7" fmla="*/ 64008 h 128016"/>
                  <a:gd name="connsiteX8" fmla="*/ 64008 w 1260577"/>
                  <a:gd name="connsiteY8" fmla="*/ 0 h 12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0577" h="128016">
                    <a:moveTo>
                      <a:pt x="64008" y="0"/>
                    </a:moveTo>
                    <a:lnTo>
                      <a:pt x="1253898" y="0"/>
                    </a:lnTo>
                    <a:lnTo>
                      <a:pt x="1248577" y="7893"/>
                    </a:lnTo>
                    <a:cubicBezTo>
                      <a:pt x="1241926" y="23618"/>
                      <a:pt x="1238248" y="40907"/>
                      <a:pt x="1238248" y="59055"/>
                    </a:cubicBezTo>
                    <a:cubicBezTo>
                      <a:pt x="1238248" y="77203"/>
                      <a:pt x="1241926" y="94492"/>
                      <a:pt x="1248577" y="110217"/>
                    </a:cubicBezTo>
                    <a:lnTo>
                      <a:pt x="1260577" y="128016"/>
                    </a:lnTo>
                    <a:lnTo>
                      <a:pt x="64008" y="128016"/>
                    </a:lnTo>
                    <a:cubicBezTo>
                      <a:pt x="28657" y="128016"/>
                      <a:pt x="0" y="99359"/>
                      <a:pt x="0" y="64008"/>
                    </a:cubicBezTo>
                    <a:cubicBezTo>
                      <a:pt x="0" y="28657"/>
                      <a:pt x="28657" y="0"/>
                      <a:pt x="64008" y="0"/>
                    </a:cubicBezTo>
                    <a:close/>
                  </a:path>
                </a:pathLst>
              </a:custGeom>
              <a:solidFill>
                <a:srgbClr val="00BCEB"/>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sp>
          <p:nvSpPr>
            <p:cNvPr id="106" name="Freeform: Shape 105">
              <a:extLst>
                <a:ext uri="{FF2B5EF4-FFF2-40B4-BE49-F238E27FC236}">
                  <a16:creationId xmlns:a16="http://schemas.microsoft.com/office/drawing/2014/main" id="{703C357C-0A90-4AC5-9365-8D58474EC09F}"/>
                </a:ext>
              </a:extLst>
            </p:cNvPr>
            <p:cNvSpPr/>
            <p:nvPr/>
          </p:nvSpPr>
          <p:spPr>
            <a:xfrm>
              <a:off x="1478850" y="3545751"/>
              <a:ext cx="405726" cy="405726"/>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rgbClr val="00BCEB">
                <a:lumMod val="75000"/>
              </a:srgbClr>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71" name="Group 70">
            <a:extLst>
              <a:ext uri="{FF2B5EF4-FFF2-40B4-BE49-F238E27FC236}">
                <a16:creationId xmlns:a16="http://schemas.microsoft.com/office/drawing/2014/main" id="{4DE1DD59-FC54-4312-BB29-355BF961DD43}"/>
              </a:ext>
            </a:extLst>
          </p:cNvPr>
          <p:cNvGrpSpPr/>
          <p:nvPr/>
        </p:nvGrpSpPr>
        <p:grpSpPr>
          <a:xfrm>
            <a:off x="7032816" y="3427853"/>
            <a:ext cx="1312931" cy="497077"/>
            <a:chOff x="4559301" y="5662613"/>
            <a:chExt cx="769938" cy="292100"/>
          </a:xfrm>
          <a:solidFill>
            <a:schemeClr val="accent1"/>
          </a:solidFill>
        </p:grpSpPr>
        <p:sp>
          <p:nvSpPr>
            <p:cNvPr id="72" name="Freeform 87">
              <a:extLst>
                <a:ext uri="{FF2B5EF4-FFF2-40B4-BE49-F238E27FC236}">
                  <a16:creationId xmlns:a16="http://schemas.microsoft.com/office/drawing/2014/main" id="{34DF5959-28BF-4988-A5B4-E12198D4577D}"/>
                </a:ext>
              </a:extLst>
            </p:cNvPr>
            <p:cNvSpPr>
              <a:spLocks/>
            </p:cNvSpPr>
            <p:nvPr/>
          </p:nvSpPr>
          <p:spPr bwMode="auto">
            <a:xfrm>
              <a:off x="4559301" y="566261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4 h 46"/>
                <a:gd name="T46" fmla="*/ 355 w 358"/>
                <a:gd name="T47" fmla="*/ 41 h 46"/>
                <a:gd name="T48" fmla="*/ 342 w 358"/>
                <a:gd name="T49" fmla="*/ 36 h 46"/>
                <a:gd name="T50" fmla="*/ 327 w 358"/>
                <a:gd name="T51" fmla="*/ 14 h 46"/>
                <a:gd name="T52" fmla="*/ 305 w 358"/>
                <a:gd name="T53" fmla="*/ 1 h 46"/>
                <a:gd name="T54" fmla="*/ 288 w 358"/>
                <a:gd name="T55" fmla="*/ 8 h 46"/>
                <a:gd name="T56" fmla="*/ 273 w 358"/>
                <a:gd name="T57" fmla="*/ 30 h 46"/>
                <a:gd name="T58" fmla="*/ 254 w 358"/>
                <a:gd name="T59" fmla="*/ 41 h 46"/>
                <a:gd name="T60" fmla="*/ 241 w 358"/>
                <a:gd name="T61" fmla="*/ 36 h 46"/>
                <a:gd name="T62" fmla="*/ 226 w 358"/>
                <a:gd name="T63" fmla="*/ 14 h 46"/>
                <a:gd name="T64" fmla="*/ 204 w 358"/>
                <a:gd name="T65" fmla="*/ 1 h 46"/>
                <a:gd name="T66" fmla="*/ 187 w 358"/>
                <a:gd name="T67" fmla="*/ 8 h 46"/>
                <a:gd name="T68" fmla="*/ 172 w 358"/>
                <a:gd name="T69" fmla="*/ 30 h 46"/>
                <a:gd name="T70" fmla="*/ 154 w 358"/>
                <a:gd name="T71" fmla="*/ 41 h 46"/>
                <a:gd name="T72" fmla="*/ 140 w 358"/>
                <a:gd name="T73" fmla="*/ 36 h 46"/>
                <a:gd name="T74" fmla="*/ 126 w 358"/>
                <a:gd name="T75" fmla="*/ 14 h 46"/>
                <a:gd name="T76" fmla="*/ 103 w 358"/>
                <a:gd name="T77" fmla="*/ 1 h 46"/>
                <a:gd name="T78" fmla="*/ 87 w 358"/>
                <a:gd name="T79" fmla="*/ 8 h 46"/>
                <a:gd name="T80" fmla="*/ 72 w 358"/>
                <a:gd name="T81" fmla="*/ 30 h 46"/>
                <a:gd name="T82" fmla="*/ 53 w 358"/>
                <a:gd name="T83" fmla="*/ 41 h 46"/>
                <a:gd name="T84" fmla="*/ 40 w 358"/>
                <a:gd name="T85" fmla="*/ 36 h 46"/>
                <a:gd name="T86" fmla="*/ 25 w 358"/>
                <a:gd name="T87" fmla="*/ 14 h 46"/>
                <a:gd name="T88" fmla="*/ 3 w 358"/>
                <a:gd name="T89" fmla="*/ 1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5"/>
                    <a:pt x="31" y="32"/>
                  </a:cubicBezTo>
                  <a:cubicBezTo>
                    <a:pt x="36" y="40"/>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5"/>
                    <a:pt x="131" y="32"/>
                  </a:cubicBezTo>
                  <a:cubicBezTo>
                    <a:pt x="137" y="40"/>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5"/>
                    <a:pt x="232" y="32"/>
                  </a:cubicBezTo>
                  <a:cubicBezTo>
                    <a:pt x="237" y="40"/>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5"/>
                    <a:pt x="333" y="32"/>
                  </a:cubicBezTo>
                  <a:cubicBezTo>
                    <a:pt x="338" y="40"/>
                    <a:pt x="345" y="46"/>
                    <a:pt x="355" y="46"/>
                  </a:cubicBezTo>
                  <a:cubicBezTo>
                    <a:pt x="356" y="46"/>
                    <a:pt x="358" y="45"/>
                    <a:pt x="358" y="44"/>
                  </a:cubicBezTo>
                  <a:cubicBezTo>
                    <a:pt x="358" y="43"/>
                    <a:pt x="356" y="41"/>
                    <a:pt x="355" y="41"/>
                  </a:cubicBezTo>
                  <a:cubicBezTo>
                    <a:pt x="350" y="41"/>
                    <a:pt x="346" y="39"/>
                    <a:pt x="342" y="36"/>
                  </a:cubicBezTo>
                  <a:cubicBezTo>
                    <a:pt x="336" y="30"/>
                    <a:pt x="332" y="22"/>
                    <a:pt x="327" y="14"/>
                  </a:cubicBezTo>
                  <a:cubicBezTo>
                    <a:pt x="322" y="7"/>
                    <a:pt x="315" y="0"/>
                    <a:pt x="305" y="1"/>
                  </a:cubicBezTo>
                  <a:cubicBezTo>
                    <a:pt x="298" y="0"/>
                    <a:pt x="292" y="3"/>
                    <a:pt x="288" y="8"/>
                  </a:cubicBezTo>
                  <a:cubicBezTo>
                    <a:pt x="282" y="14"/>
                    <a:pt x="278" y="23"/>
                    <a:pt x="273" y="30"/>
                  </a:cubicBezTo>
                  <a:cubicBezTo>
                    <a:pt x="268" y="37"/>
                    <a:pt x="263" y="41"/>
                    <a:pt x="254" y="41"/>
                  </a:cubicBezTo>
                  <a:cubicBezTo>
                    <a:pt x="249" y="41"/>
                    <a:pt x="245" y="39"/>
                    <a:pt x="241" y="36"/>
                  </a:cubicBezTo>
                  <a:cubicBezTo>
                    <a:pt x="236" y="30"/>
                    <a:pt x="232" y="22"/>
                    <a:pt x="226" y="14"/>
                  </a:cubicBezTo>
                  <a:cubicBezTo>
                    <a:pt x="221" y="7"/>
                    <a:pt x="215" y="0"/>
                    <a:pt x="204" y="1"/>
                  </a:cubicBezTo>
                  <a:cubicBezTo>
                    <a:pt x="197" y="0"/>
                    <a:pt x="192" y="3"/>
                    <a:pt x="187" y="8"/>
                  </a:cubicBezTo>
                  <a:cubicBezTo>
                    <a:pt x="181" y="14"/>
                    <a:pt x="177" y="23"/>
                    <a:pt x="172" y="30"/>
                  </a:cubicBezTo>
                  <a:cubicBezTo>
                    <a:pt x="167" y="37"/>
                    <a:pt x="162" y="41"/>
                    <a:pt x="154" y="41"/>
                  </a:cubicBezTo>
                  <a:cubicBezTo>
                    <a:pt x="148" y="41"/>
                    <a:pt x="144" y="39"/>
                    <a:pt x="140" y="36"/>
                  </a:cubicBezTo>
                  <a:cubicBezTo>
                    <a:pt x="135" y="30"/>
                    <a:pt x="131" y="22"/>
                    <a:pt x="126" y="14"/>
                  </a:cubicBezTo>
                  <a:cubicBezTo>
                    <a:pt x="121" y="7"/>
                    <a:pt x="114" y="0"/>
                    <a:pt x="103" y="1"/>
                  </a:cubicBezTo>
                  <a:cubicBezTo>
                    <a:pt x="96" y="0"/>
                    <a:pt x="91" y="3"/>
                    <a:pt x="87" y="8"/>
                  </a:cubicBezTo>
                  <a:cubicBezTo>
                    <a:pt x="81" y="14"/>
                    <a:pt x="76" y="23"/>
                    <a:pt x="72" y="30"/>
                  </a:cubicBezTo>
                  <a:cubicBezTo>
                    <a:pt x="67" y="37"/>
                    <a:pt x="61" y="41"/>
                    <a:pt x="53" y="41"/>
                  </a:cubicBezTo>
                  <a:cubicBezTo>
                    <a:pt x="48" y="41"/>
                    <a:pt x="44" y="39"/>
                    <a:pt x="40" y="36"/>
                  </a:cubicBezTo>
                  <a:cubicBezTo>
                    <a:pt x="34" y="30"/>
                    <a:pt x="30" y="22"/>
                    <a:pt x="25" y="14"/>
                  </a:cubicBezTo>
                  <a:cubicBezTo>
                    <a:pt x="20" y="7"/>
                    <a:pt x="13" y="0"/>
                    <a:pt x="3" y="1"/>
                  </a:cubicBezTo>
                  <a:cubicBezTo>
                    <a:pt x="2" y="1"/>
                    <a:pt x="0" y="2"/>
                    <a:pt x="0" y="3"/>
                  </a:cubicBezTo>
                  <a:cubicBezTo>
                    <a:pt x="0" y="4"/>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88">
              <a:extLst>
                <a:ext uri="{FF2B5EF4-FFF2-40B4-BE49-F238E27FC236}">
                  <a16:creationId xmlns:a16="http://schemas.microsoft.com/office/drawing/2014/main" id="{7C1BBB13-EB6E-4ECA-8DD5-F3D0D9DC6921}"/>
                </a:ext>
              </a:extLst>
            </p:cNvPr>
            <p:cNvSpPr>
              <a:spLocks/>
            </p:cNvSpPr>
            <p:nvPr/>
          </p:nvSpPr>
          <p:spPr bwMode="auto">
            <a:xfrm>
              <a:off x="4559301" y="575786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4"/>
                    <a:pt x="31" y="32"/>
                  </a:cubicBezTo>
                  <a:cubicBezTo>
                    <a:pt x="36" y="39"/>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4"/>
                    <a:pt x="131" y="32"/>
                  </a:cubicBezTo>
                  <a:cubicBezTo>
                    <a:pt x="137" y="39"/>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4"/>
                    <a:pt x="232" y="32"/>
                  </a:cubicBezTo>
                  <a:cubicBezTo>
                    <a:pt x="237" y="39"/>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4"/>
                    <a:pt x="333" y="32"/>
                  </a:cubicBezTo>
                  <a:cubicBezTo>
                    <a:pt x="338" y="39"/>
                    <a:pt x="345" y="46"/>
                    <a:pt x="355" y="46"/>
                  </a:cubicBezTo>
                  <a:cubicBezTo>
                    <a:pt x="356" y="46"/>
                    <a:pt x="358" y="45"/>
                    <a:pt x="358" y="43"/>
                  </a:cubicBezTo>
                  <a:cubicBezTo>
                    <a:pt x="358" y="42"/>
                    <a:pt x="356" y="41"/>
                    <a:pt x="355" y="41"/>
                  </a:cubicBezTo>
                  <a:cubicBezTo>
                    <a:pt x="350" y="41"/>
                    <a:pt x="346" y="39"/>
                    <a:pt x="342" y="35"/>
                  </a:cubicBezTo>
                  <a:cubicBezTo>
                    <a:pt x="336" y="30"/>
                    <a:pt x="332" y="22"/>
                    <a:pt x="327" y="14"/>
                  </a:cubicBezTo>
                  <a:cubicBezTo>
                    <a:pt x="322" y="7"/>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2"/>
                    <a:pt x="226" y="14"/>
                  </a:cubicBezTo>
                  <a:cubicBezTo>
                    <a:pt x="221" y="7"/>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2"/>
                    <a:pt x="126" y="14"/>
                  </a:cubicBezTo>
                  <a:cubicBezTo>
                    <a:pt x="121" y="7"/>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2"/>
                    <a:pt x="25" y="14"/>
                  </a:cubicBezTo>
                  <a:cubicBezTo>
                    <a:pt x="20" y="7"/>
                    <a:pt x="13" y="0"/>
                    <a:pt x="3" y="0"/>
                  </a:cubicBezTo>
                  <a:cubicBezTo>
                    <a:pt x="2" y="0"/>
                    <a:pt x="0" y="1"/>
                    <a:pt x="0" y="3"/>
                  </a:cubicBezTo>
                  <a:cubicBezTo>
                    <a:pt x="0" y="4"/>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89">
              <a:extLst>
                <a:ext uri="{FF2B5EF4-FFF2-40B4-BE49-F238E27FC236}">
                  <a16:creationId xmlns:a16="http://schemas.microsoft.com/office/drawing/2014/main" id="{EC6C7487-2EAD-4734-99D3-88F103C19DB9}"/>
                </a:ext>
              </a:extLst>
            </p:cNvPr>
            <p:cNvSpPr>
              <a:spLocks/>
            </p:cNvSpPr>
            <p:nvPr/>
          </p:nvSpPr>
          <p:spPr bwMode="auto">
            <a:xfrm>
              <a:off x="4559301" y="5853113"/>
              <a:ext cx="769938" cy="101600"/>
            </a:xfrm>
            <a:custGeom>
              <a:avLst/>
              <a:gdLst>
                <a:gd name="T0" fmla="*/ 3 w 358"/>
                <a:gd name="T1" fmla="*/ 5 h 46"/>
                <a:gd name="T2" fmla="*/ 16 w 358"/>
                <a:gd name="T3" fmla="*/ 10 h 46"/>
                <a:gd name="T4" fmla="*/ 31 w 358"/>
                <a:gd name="T5" fmla="*/ 32 h 46"/>
                <a:gd name="T6" fmla="*/ 53 w 358"/>
                <a:gd name="T7" fmla="*/ 45 h 46"/>
                <a:gd name="T8" fmla="*/ 70 w 358"/>
                <a:gd name="T9" fmla="*/ 38 h 46"/>
                <a:gd name="T10" fmla="*/ 85 w 358"/>
                <a:gd name="T11" fmla="*/ 16 h 46"/>
                <a:gd name="T12" fmla="*/ 103 w 358"/>
                <a:gd name="T13" fmla="*/ 5 h 46"/>
                <a:gd name="T14" fmla="*/ 117 w 358"/>
                <a:gd name="T15" fmla="*/ 10 h 46"/>
                <a:gd name="T16" fmla="*/ 131 w 358"/>
                <a:gd name="T17" fmla="*/ 32 h 46"/>
                <a:gd name="T18" fmla="*/ 154 w 358"/>
                <a:gd name="T19" fmla="*/ 45 h 46"/>
                <a:gd name="T20" fmla="*/ 170 w 358"/>
                <a:gd name="T21" fmla="*/ 38 h 46"/>
                <a:gd name="T22" fmla="*/ 186 w 358"/>
                <a:gd name="T23" fmla="*/ 16 h 46"/>
                <a:gd name="T24" fmla="*/ 204 w 358"/>
                <a:gd name="T25" fmla="*/ 5 h 46"/>
                <a:gd name="T26" fmla="*/ 217 w 358"/>
                <a:gd name="T27" fmla="*/ 10 h 46"/>
                <a:gd name="T28" fmla="*/ 232 w 358"/>
                <a:gd name="T29" fmla="*/ 32 h 46"/>
                <a:gd name="T30" fmla="*/ 254 w 358"/>
                <a:gd name="T31" fmla="*/ 45 h 46"/>
                <a:gd name="T32" fmla="*/ 271 w 358"/>
                <a:gd name="T33" fmla="*/ 38 h 46"/>
                <a:gd name="T34" fmla="*/ 286 w 358"/>
                <a:gd name="T35" fmla="*/ 16 h 46"/>
                <a:gd name="T36" fmla="*/ 305 w 358"/>
                <a:gd name="T37" fmla="*/ 5 h 46"/>
                <a:gd name="T38" fmla="*/ 318 w 358"/>
                <a:gd name="T39" fmla="*/ 10 h 46"/>
                <a:gd name="T40" fmla="*/ 333 w 358"/>
                <a:gd name="T41" fmla="*/ 32 h 46"/>
                <a:gd name="T42" fmla="*/ 355 w 358"/>
                <a:gd name="T43" fmla="*/ 45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2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0"/>
                  </a:cubicBezTo>
                  <a:cubicBezTo>
                    <a:pt x="22" y="16"/>
                    <a:pt x="26" y="24"/>
                    <a:pt x="31" y="32"/>
                  </a:cubicBezTo>
                  <a:cubicBezTo>
                    <a:pt x="36" y="39"/>
                    <a:pt x="43" y="46"/>
                    <a:pt x="53" y="45"/>
                  </a:cubicBezTo>
                  <a:cubicBezTo>
                    <a:pt x="60" y="46"/>
                    <a:pt x="66" y="43"/>
                    <a:pt x="70" y="38"/>
                  </a:cubicBezTo>
                  <a:cubicBezTo>
                    <a:pt x="76" y="32"/>
                    <a:pt x="80" y="23"/>
                    <a:pt x="85" y="16"/>
                  </a:cubicBezTo>
                  <a:cubicBezTo>
                    <a:pt x="90" y="9"/>
                    <a:pt x="95" y="5"/>
                    <a:pt x="103" y="5"/>
                  </a:cubicBezTo>
                  <a:cubicBezTo>
                    <a:pt x="109" y="5"/>
                    <a:pt x="113" y="7"/>
                    <a:pt x="117" y="10"/>
                  </a:cubicBezTo>
                  <a:cubicBezTo>
                    <a:pt x="122" y="16"/>
                    <a:pt x="126" y="24"/>
                    <a:pt x="131" y="32"/>
                  </a:cubicBezTo>
                  <a:cubicBezTo>
                    <a:pt x="137" y="39"/>
                    <a:pt x="143" y="46"/>
                    <a:pt x="154" y="45"/>
                  </a:cubicBezTo>
                  <a:cubicBezTo>
                    <a:pt x="161" y="46"/>
                    <a:pt x="166" y="43"/>
                    <a:pt x="170" y="38"/>
                  </a:cubicBezTo>
                  <a:cubicBezTo>
                    <a:pt x="177" y="32"/>
                    <a:pt x="181" y="23"/>
                    <a:pt x="186" y="16"/>
                  </a:cubicBezTo>
                  <a:cubicBezTo>
                    <a:pt x="191" y="9"/>
                    <a:pt x="196" y="5"/>
                    <a:pt x="204" y="5"/>
                  </a:cubicBezTo>
                  <a:cubicBezTo>
                    <a:pt x="210" y="5"/>
                    <a:pt x="214" y="7"/>
                    <a:pt x="217" y="10"/>
                  </a:cubicBezTo>
                  <a:cubicBezTo>
                    <a:pt x="223" y="16"/>
                    <a:pt x="227" y="24"/>
                    <a:pt x="232" y="32"/>
                  </a:cubicBezTo>
                  <a:cubicBezTo>
                    <a:pt x="237" y="39"/>
                    <a:pt x="244" y="46"/>
                    <a:pt x="254" y="45"/>
                  </a:cubicBezTo>
                  <a:cubicBezTo>
                    <a:pt x="261" y="46"/>
                    <a:pt x="267" y="43"/>
                    <a:pt x="271" y="38"/>
                  </a:cubicBezTo>
                  <a:cubicBezTo>
                    <a:pt x="277" y="32"/>
                    <a:pt x="281" y="23"/>
                    <a:pt x="286" y="16"/>
                  </a:cubicBezTo>
                  <a:cubicBezTo>
                    <a:pt x="291" y="9"/>
                    <a:pt x="296" y="5"/>
                    <a:pt x="305" y="5"/>
                  </a:cubicBezTo>
                  <a:cubicBezTo>
                    <a:pt x="310" y="5"/>
                    <a:pt x="314" y="7"/>
                    <a:pt x="318" y="10"/>
                  </a:cubicBezTo>
                  <a:cubicBezTo>
                    <a:pt x="324" y="16"/>
                    <a:pt x="328" y="24"/>
                    <a:pt x="333" y="32"/>
                  </a:cubicBezTo>
                  <a:cubicBezTo>
                    <a:pt x="338" y="39"/>
                    <a:pt x="345" y="46"/>
                    <a:pt x="355" y="45"/>
                  </a:cubicBezTo>
                  <a:cubicBezTo>
                    <a:pt x="356" y="45"/>
                    <a:pt x="358" y="44"/>
                    <a:pt x="358" y="43"/>
                  </a:cubicBezTo>
                  <a:cubicBezTo>
                    <a:pt x="358" y="42"/>
                    <a:pt x="356" y="41"/>
                    <a:pt x="355" y="41"/>
                  </a:cubicBezTo>
                  <a:cubicBezTo>
                    <a:pt x="350" y="41"/>
                    <a:pt x="346" y="39"/>
                    <a:pt x="342" y="35"/>
                  </a:cubicBezTo>
                  <a:cubicBezTo>
                    <a:pt x="336" y="30"/>
                    <a:pt x="332" y="21"/>
                    <a:pt x="327" y="14"/>
                  </a:cubicBezTo>
                  <a:cubicBezTo>
                    <a:pt x="322" y="6"/>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1"/>
                    <a:pt x="226" y="14"/>
                  </a:cubicBezTo>
                  <a:cubicBezTo>
                    <a:pt x="221" y="6"/>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1"/>
                    <a:pt x="126" y="14"/>
                  </a:cubicBezTo>
                  <a:cubicBezTo>
                    <a:pt x="121" y="6"/>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1"/>
                    <a:pt x="25" y="14"/>
                  </a:cubicBezTo>
                  <a:cubicBezTo>
                    <a:pt x="20" y="6"/>
                    <a:pt x="13" y="0"/>
                    <a:pt x="3" y="0"/>
                  </a:cubicBezTo>
                  <a:cubicBezTo>
                    <a:pt x="2" y="0"/>
                    <a:pt x="0" y="1"/>
                    <a:pt x="0" y="2"/>
                  </a:cubicBezTo>
                  <a:cubicBezTo>
                    <a:pt x="0" y="3"/>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0" name="Group 109">
            <a:extLst>
              <a:ext uri="{FF2B5EF4-FFF2-40B4-BE49-F238E27FC236}">
                <a16:creationId xmlns:a16="http://schemas.microsoft.com/office/drawing/2014/main" id="{E6FD3FE9-9754-4BBC-B2E1-3DFA689D018C}"/>
              </a:ext>
            </a:extLst>
          </p:cNvPr>
          <p:cNvGrpSpPr/>
          <p:nvPr/>
        </p:nvGrpSpPr>
        <p:grpSpPr>
          <a:xfrm>
            <a:off x="6607445" y="2580220"/>
            <a:ext cx="1374949" cy="294233"/>
            <a:chOff x="2736154" y="1943610"/>
            <a:chExt cx="1022270" cy="218761"/>
          </a:xfrm>
        </p:grpSpPr>
        <p:sp>
          <p:nvSpPr>
            <p:cNvPr id="111" name="Freeform: Shape 110">
              <a:extLst>
                <a:ext uri="{FF2B5EF4-FFF2-40B4-BE49-F238E27FC236}">
                  <a16:creationId xmlns:a16="http://schemas.microsoft.com/office/drawing/2014/main" id="{E2C60DA5-5C1A-4569-B691-C2C1A4F68206}"/>
                </a:ext>
              </a:extLst>
            </p:cNvPr>
            <p:cNvSpPr/>
            <p:nvPr/>
          </p:nvSpPr>
          <p:spPr>
            <a:xfrm>
              <a:off x="3114587" y="1943610"/>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tx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3" name="Freeform: Shape 112">
              <a:extLst>
                <a:ext uri="{FF2B5EF4-FFF2-40B4-BE49-F238E27FC236}">
                  <a16:creationId xmlns:a16="http://schemas.microsoft.com/office/drawing/2014/main" id="{34246D2F-6A86-4BBD-84A7-35F72EC598B0}"/>
                </a:ext>
              </a:extLst>
            </p:cNvPr>
            <p:cNvSpPr/>
            <p:nvPr/>
          </p:nvSpPr>
          <p:spPr>
            <a:xfrm>
              <a:off x="2988395" y="2011857"/>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tx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4" name="Freeform: Shape 113">
              <a:extLst>
                <a:ext uri="{FF2B5EF4-FFF2-40B4-BE49-F238E27FC236}">
                  <a16:creationId xmlns:a16="http://schemas.microsoft.com/office/drawing/2014/main" id="{53F116A6-B128-46DF-9D36-298AA33848E6}"/>
                </a:ext>
              </a:extLst>
            </p:cNvPr>
            <p:cNvSpPr/>
            <p:nvPr/>
          </p:nvSpPr>
          <p:spPr>
            <a:xfrm>
              <a:off x="2862346" y="2079960"/>
              <a:ext cx="643837" cy="14307"/>
            </a:xfrm>
            <a:custGeom>
              <a:avLst/>
              <a:gdLst>
                <a:gd name="connsiteX0" fmla="*/ 8048 w 643836"/>
                <a:gd name="connsiteY0" fmla="*/ 8048 h 14307"/>
                <a:gd name="connsiteX1" fmla="*/ 646019 w 643836"/>
                <a:gd name="connsiteY1" fmla="*/ 8048 h 14307"/>
              </a:gdLst>
              <a:ahLst/>
              <a:cxnLst>
                <a:cxn ang="0">
                  <a:pos x="connsiteX0" y="connsiteY0"/>
                </a:cxn>
                <a:cxn ang="0">
                  <a:pos x="connsiteX1" y="connsiteY1"/>
                </a:cxn>
              </a:cxnLst>
              <a:rect l="l" t="t" r="r" b="b"/>
              <a:pathLst>
                <a:path w="643836" h="14307">
                  <a:moveTo>
                    <a:pt x="8048" y="8048"/>
                  </a:moveTo>
                  <a:lnTo>
                    <a:pt x="646019" y="8048"/>
                  </a:lnTo>
                </a:path>
              </a:pathLst>
            </a:custGeom>
            <a:ln w="7144" cap="flat">
              <a:solidFill>
                <a:schemeClr val="tx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5" name="Freeform: Shape 114">
              <a:extLst>
                <a:ext uri="{FF2B5EF4-FFF2-40B4-BE49-F238E27FC236}">
                  <a16:creationId xmlns:a16="http://schemas.microsoft.com/office/drawing/2014/main" id="{6E0803C0-8B48-486F-82F8-B8BC3A30A3BE}"/>
                </a:ext>
              </a:extLst>
            </p:cNvPr>
            <p:cNvSpPr/>
            <p:nvPr/>
          </p:nvSpPr>
          <p:spPr>
            <a:xfrm>
              <a:off x="2736154" y="2148064"/>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tx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Tree>
    <p:extLst>
      <p:ext uri="{BB962C8B-B14F-4D97-AF65-F5344CB8AC3E}">
        <p14:creationId xmlns:p14="http://schemas.microsoft.com/office/powerpoint/2010/main" val="28452386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Oval 177">
            <a:extLst>
              <a:ext uri="{FF2B5EF4-FFF2-40B4-BE49-F238E27FC236}">
                <a16:creationId xmlns:a16="http://schemas.microsoft.com/office/drawing/2014/main" id="{EABC55FB-5DAD-46CB-9122-27CE22C99C55}"/>
              </a:ext>
            </a:extLst>
          </p:cNvPr>
          <p:cNvSpPr/>
          <p:nvPr/>
        </p:nvSpPr>
        <p:spPr>
          <a:xfrm>
            <a:off x="8043799" y="3227100"/>
            <a:ext cx="1284588" cy="1284588"/>
          </a:xfrm>
          <a:prstGeom prst="ellipse">
            <a:avLst/>
          </a:prstGeom>
          <a:pattFill prst="wdUpDiag">
            <a:fgClr>
              <a:schemeClr val="accent1">
                <a:lumMod val="20000"/>
                <a:lumOff val="80000"/>
              </a:schemeClr>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pic>
        <p:nvPicPr>
          <p:cNvPr id="88" name="Picture 87" descr="A picture containing black, white, bird&#10;&#10;Description automatically generated">
            <a:extLst>
              <a:ext uri="{FF2B5EF4-FFF2-40B4-BE49-F238E27FC236}">
                <a16:creationId xmlns:a16="http://schemas.microsoft.com/office/drawing/2014/main" id="{F33B3CE3-BCB4-4C63-9B33-FA684415642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249426" y="3106291"/>
            <a:ext cx="929489" cy="1426528"/>
          </a:xfrm>
          <a:prstGeom prst="ellipse">
            <a:avLst/>
          </a:prstGeom>
          <a:solidFill>
            <a:schemeClr val="bg2"/>
          </a:solidFill>
        </p:spPr>
      </p:pic>
      <p:sp>
        <p:nvSpPr>
          <p:cNvPr id="143" name="Freeform: Shape 142">
            <a:extLst>
              <a:ext uri="{FF2B5EF4-FFF2-40B4-BE49-F238E27FC236}">
                <a16:creationId xmlns:a16="http://schemas.microsoft.com/office/drawing/2014/main" id="{9B8BEF08-EB95-4842-A8F8-AA51B33900F6}"/>
              </a:ext>
            </a:extLst>
          </p:cNvPr>
          <p:cNvSpPr>
            <a:spLocks/>
          </p:cNvSpPr>
          <p:nvPr/>
        </p:nvSpPr>
        <p:spPr bwMode="auto">
          <a:xfrm>
            <a:off x="4529351" y="2915451"/>
            <a:ext cx="1528513" cy="1550772"/>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tx1">
              <a:lumMod val="10000"/>
              <a:lumOff val="9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129" name="Group 128">
            <a:extLst>
              <a:ext uri="{FF2B5EF4-FFF2-40B4-BE49-F238E27FC236}">
                <a16:creationId xmlns:a16="http://schemas.microsoft.com/office/drawing/2014/main" id="{4A1EB05D-0ABF-4C80-8FC3-2D086CFAD12F}"/>
              </a:ext>
            </a:extLst>
          </p:cNvPr>
          <p:cNvGrpSpPr/>
          <p:nvPr/>
        </p:nvGrpSpPr>
        <p:grpSpPr>
          <a:xfrm>
            <a:off x="5211124" y="3092769"/>
            <a:ext cx="635159" cy="642526"/>
            <a:chOff x="4408488" y="4175125"/>
            <a:chExt cx="684213" cy="692151"/>
          </a:xfrm>
        </p:grpSpPr>
        <p:sp>
          <p:nvSpPr>
            <p:cNvPr id="130" name="Freeform 95">
              <a:extLst>
                <a:ext uri="{FF2B5EF4-FFF2-40B4-BE49-F238E27FC236}">
                  <a16:creationId xmlns:a16="http://schemas.microsoft.com/office/drawing/2014/main" id="{69987C19-A2A4-44A9-B0D5-A9ADD3C2A67D}"/>
                </a:ext>
              </a:extLst>
            </p:cNvPr>
            <p:cNvSpPr>
              <a:spLocks/>
            </p:cNvSpPr>
            <p:nvPr/>
          </p:nvSpPr>
          <p:spPr bwMode="auto">
            <a:xfrm>
              <a:off x="4741863" y="4175125"/>
              <a:ext cx="17463" cy="239713"/>
            </a:xfrm>
            <a:custGeom>
              <a:avLst/>
              <a:gdLst>
                <a:gd name="T0" fmla="*/ 4 w 8"/>
                <a:gd name="T1" fmla="*/ 110 h 110"/>
                <a:gd name="T2" fmla="*/ 0 w 8"/>
                <a:gd name="T3" fmla="*/ 106 h 110"/>
                <a:gd name="T4" fmla="*/ 0 w 8"/>
                <a:gd name="T5" fmla="*/ 4 h 110"/>
                <a:gd name="T6" fmla="*/ 4 w 8"/>
                <a:gd name="T7" fmla="*/ 0 h 110"/>
                <a:gd name="T8" fmla="*/ 8 w 8"/>
                <a:gd name="T9" fmla="*/ 4 h 110"/>
                <a:gd name="T10" fmla="*/ 8 w 8"/>
                <a:gd name="T11" fmla="*/ 106 h 110"/>
                <a:gd name="T12" fmla="*/ 4 w 8"/>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8" h="110">
                  <a:moveTo>
                    <a:pt x="4" y="110"/>
                  </a:moveTo>
                  <a:cubicBezTo>
                    <a:pt x="2" y="110"/>
                    <a:pt x="0" y="108"/>
                    <a:pt x="0" y="106"/>
                  </a:cubicBezTo>
                  <a:cubicBezTo>
                    <a:pt x="0" y="4"/>
                    <a:pt x="0" y="4"/>
                    <a:pt x="0" y="4"/>
                  </a:cubicBezTo>
                  <a:cubicBezTo>
                    <a:pt x="0" y="2"/>
                    <a:pt x="2" y="0"/>
                    <a:pt x="4" y="0"/>
                  </a:cubicBezTo>
                  <a:cubicBezTo>
                    <a:pt x="6" y="0"/>
                    <a:pt x="8" y="2"/>
                    <a:pt x="8" y="4"/>
                  </a:cubicBezTo>
                  <a:cubicBezTo>
                    <a:pt x="8" y="106"/>
                    <a:pt x="8" y="106"/>
                    <a:pt x="8" y="106"/>
                  </a:cubicBezTo>
                  <a:cubicBezTo>
                    <a:pt x="8" y="108"/>
                    <a:pt x="6" y="110"/>
                    <a:pt x="4" y="110"/>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96">
              <a:extLst>
                <a:ext uri="{FF2B5EF4-FFF2-40B4-BE49-F238E27FC236}">
                  <a16:creationId xmlns:a16="http://schemas.microsoft.com/office/drawing/2014/main" id="{CD626121-AC11-4080-BEC8-42FCD1B70C28}"/>
                </a:ext>
              </a:extLst>
            </p:cNvPr>
            <p:cNvSpPr>
              <a:spLocks/>
            </p:cNvSpPr>
            <p:nvPr/>
          </p:nvSpPr>
          <p:spPr bwMode="auto">
            <a:xfrm>
              <a:off x="4741863" y="4627563"/>
              <a:ext cx="17463" cy="239713"/>
            </a:xfrm>
            <a:custGeom>
              <a:avLst/>
              <a:gdLst>
                <a:gd name="T0" fmla="*/ 4 w 8"/>
                <a:gd name="T1" fmla="*/ 110 h 110"/>
                <a:gd name="T2" fmla="*/ 0 w 8"/>
                <a:gd name="T3" fmla="*/ 106 h 110"/>
                <a:gd name="T4" fmla="*/ 0 w 8"/>
                <a:gd name="T5" fmla="*/ 4 h 110"/>
                <a:gd name="T6" fmla="*/ 4 w 8"/>
                <a:gd name="T7" fmla="*/ 0 h 110"/>
                <a:gd name="T8" fmla="*/ 8 w 8"/>
                <a:gd name="T9" fmla="*/ 4 h 110"/>
                <a:gd name="T10" fmla="*/ 8 w 8"/>
                <a:gd name="T11" fmla="*/ 106 h 110"/>
                <a:gd name="T12" fmla="*/ 4 w 8"/>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8" h="110">
                  <a:moveTo>
                    <a:pt x="4" y="110"/>
                  </a:moveTo>
                  <a:cubicBezTo>
                    <a:pt x="2" y="110"/>
                    <a:pt x="0" y="108"/>
                    <a:pt x="0" y="106"/>
                  </a:cubicBezTo>
                  <a:cubicBezTo>
                    <a:pt x="0" y="4"/>
                    <a:pt x="0" y="4"/>
                    <a:pt x="0" y="4"/>
                  </a:cubicBezTo>
                  <a:cubicBezTo>
                    <a:pt x="0" y="2"/>
                    <a:pt x="2" y="0"/>
                    <a:pt x="4" y="0"/>
                  </a:cubicBezTo>
                  <a:cubicBezTo>
                    <a:pt x="6" y="0"/>
                    <a:pt x="8" y="2"/>
                    <a:pt x="8" y="4"/>
                  </a:cubicBezTo>
                  <a:cubicBezTo>
                    <a:pt x="8" y="106"/>
                    <a:pt x="8" y="106"/>
                    <a:pt x="8" y="106"/>
                  </a:cubicBezTo>
                  <a:cubicBezTo>
                    <a:pt x="8" y="108"/>
                    <a:pt x="6" y="110"/>
                    <a:pt x="4" y="110"/>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97">
              <a:extLst>
                <a:ext uri="{FF2B5EF4-FFF2-40B4-BE49-F238E27FC236}">
                  <a16:creationId xmlns:a16="http://schemas.microsoft.com/office/drawing/2014/main" id="{D333316D-4DB1-408E-BD48-25959BAC097F}"/>
                </a:ext>
              </a:extLst>
            </p:cNvPr>
            <p:cNvSpPr>
              <a:spLocks/>
            </p:cNvSpPr>
            <p:nvPr/>
          </p:nvSpPr>
          <p:spPr bwMode="auto">
            <a:xfrm>
              <a:off x="4573588" y="4217988"/>
              <a:ext cx="128588" cy="211138"/>
            </a:xfrm>
            <a:custGeom>
              <a:avLst/>
              <a:gdLst>
                <a:gd name="T0" fmla="*/ 55 w 60"/>
                <a:gd name="T1" fmla="*/ 97 h 97"/>
                <a:gd name="T2" fmla="*/ 52 w 60"/>
                <a:gd name="T3" fmla="*/ 95 h 97"/>
                <a:gd name="T4" fmla="*/ 1 w 60"/>
                <a:gd name="T5" fmla="*/ 7 h 97"/>
                <a:gd name="T6" fmla="*/ 2 w 60"/>
                <a:gd name="T7" fmla="*/ 1 h 97"/>
                <a:gd name="T8" fmla="*/ 8 w 60"/>
                <a:gd name="T9" fmla="*/ 3 h 97"/>
                <a:gd name="T10" fmla="*/ 59 w 60"/>
                <a:gd name="T11" fmla="*/ 91 h 97"/>
                <a:gd name="T12" fmla="*/ 57 w 60"/>
                <a:gd name="T13" fmla="*/ 96 h 97"/>
                <a:gd name="T14" fmla="*/ 55 w 60"/>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7">
                  <a:moveTo>
                    <a:pt x="55" y="97"/>
                  </a:moveTo>
                  <a:cubicBezTo>
                    <a:pt x="54" y="97"/>
                    <a:pt x="53" y="96"/>
                    <a:pt x="52" y="95"/>
                  </a:cubicBezTo>
                  <a:cubicBezTo>
                    <a:pt x="1" y="7"/>
                    <a:pt x="1" y="7"/>
                    <a:pt x="1" y="7"/>
                  </a:cubicBezTo>
                  <a:cubicBezTo>
                    <a:pt x="0" y="5"/>
                    <a:pt x="0" y="2"/>
                    <a:pt x="2" y="1"/>
                  </a:cubicBezTo>
                  <a:cubicBezTo>
                    <a:pt x="4" y="0"/>
                    <a:pt x="7" y="1"/>
                    <a:pt x="8" y="3"/>
                  </a:cubicBezTo>
                  <a:cubicBezTo>
                    <a:pt x="59" y="91"/>
                    <a:pt x="59" y="91"/>
                    <a:pt x="59" y="91"/>
                  </a:cubicBezTo>
                  <a:cubicBezTo>
                    <a:pt x="60" y="93"/>
                    <a:pt x="59" y="95"/>
                    <a:pt x="57" y="96"/>
                  </a:cubicBezTo>
                  <a:cubicBezTo>
                    <a:pt x="57" y="97"/>
                    <a:pt x="56" y="97"/>
                    <a:pt x="55" y="97"/>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98">
              <a:extLst>
                <a:ext uri="{FF2B5EF4-FFF2-40B4-BE49-F238E27FC236}">
                  <a16:creationId xmlns:a16="http://schemas.microsoft.com/office/drawing/2014/main" id="{90D6D4EA-D6E8-4B7D-A565-850D3025E0FE}"/>
                </a:ext>
              </a:extLst>
            </p:cNvPr>
            <p:cNvSpPr>
              <a:spLocks/>
            </p:cNvSpPr>
            <p:nvPr/>
          </p:nvSpPr>
          <p:spPr bwMode="auto">
            <a:xfrm>
              <a:off x="4797426" y="4610100"/>
              <a:ext cx="128588" cy="211138"/>
            </a:xfrm>
            <a:custGeom>
              <a:avLst/>
              <a:gdLst>
                <a:gd name="T0" fmla="*/ 56 w 60"/>
                <a:gd name="T1" fmla="*/ 97 h 97"/>
                <a:gd name="T2" fmla="*/ 52 w 60"/>
                <a:gd name="T3" fmla="*/ 95 h 97"/>
                <a:gd name="T4" fmla="*/ 1 w 60"/>
                <a:gd name="T5" fmla="*/ 7 h 97"/>
                <a:gd name="T6" fmla="*/ 3 w 60"/>
                <a:gd name="T7" fmla="*/ 2 h 97"/>
                <a:gd name="T8" fmla="*/ 8 w 60"/>
                <a:gd name="T9" fmla="*/ 3 h 97"/>
                <a:gd name="T10" fmla="*/ 59 w 60"/>
                <a:gd name="T11" fmla="*/ 91 h 97"/>
                <a:gd name="T12" fmla="*/ 58 w 60"/>
                <a:gd name="T13" fmla="*/ 97 h 97"/>
                <a:gd name="T14" fmla="*/ 56 w 60"/>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7">
                  <a:moveTo>
                    <a:pt x="56" y="97"/>
                  </a:moveTo>
                  <a:cubicBezTo>
                    <a:pt x="54" y="97"/>
                    <a:pt x="53" y="97"/>
                    <a:pt x="52" y="95"/>
                  </a:cubicBezTo>
                  <a:cubicBezTo>
                    <a:pt x="1" y="7"/>
                    <a:pt x="1" y="7"/>
                    <a:pt x="1" y="7"/>
                  </a:cubicBezTo>
                  <a:cubicBezTo>
                    <a:pt x="0" y="5"/>
                    <a:pt x="1" y="3"/>
                    <a:pt x="3" y="2"/>
                  </a:cubicBezTo>
                  <a:cubicBezTo>
                    <a:pt x="4" y="0"/>
                    <a:pt x="7" y="1"/>
                    <a:pt x="8" y="3"/>
                  </a:cubicBezTo>
                  <a:cubicBezTo>
                    <a:pt x="59" y="91"/>
                    <a:pt x="59" y="91"/>
                    <a:pt x="59" y="91"/>
                  </a:cubicBezTo>
                  <a:cubicBezTo>
                    <a:pt x="60" y="93"/>
                    <a:pt x="60" y="96"/>
                    <a:pt x="58" y="97"/>
                  </a:cubicBezTo>
                  <a:cubicBezTo>
                    <a:pt x="57" y="97"/>
                    <a:pt x="56" y="97"/>
                    <a:pt x="56" y="97"/>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99">
              <a:extLst>
                <a:ext uri="{FF2B5EF4-FFF2-40B4-BE49-F238E27FC236}">
                  <a16:creationId xmlns:a16="http://schemas.microsoft.com/office/drawing/2014/main" id="{5A75D925-7378-4562-A42B-035DFD6C839A}"/>
                </a:ext>
              </a:extLst>
            </p:cNvPr>
            <p:cNvSpPr>
              <a:spLocks/>
            </p:cNvSpPr>
            <p:nvPr/>
          </p:nvSpPr>
          <p:spPr bwMode="auto">
            <a:xfrm>
              <a:off x="4451351" y="4343400"/>
              <a:ext cx="211138" cy="127000"/>
            </a:xfrm>
            <a:custGeom>
              <a:avLst/>
              <a:gdLst>
                <a:gd name="T0" fmla="*/ 93 w 98"/>
                <a:gd name="T1" fmla="*/ 59 h 59"/>
                <a:gd name="T2" fmla="*/ 91 w 98"/>
                <a:gd name="T3" fmla="*/ 59 h 59"/>
                <a:gd name="T4" fmla="*/ 3 w 98"/>
                <a:gd name="T5" fmla="*/ 8 h 59"/>
                <a:gd name="T6" fmla="*/ 1 w 98"/>
                <a:gd name="T7" fmla="*/ 2 h 59"/>
                <a:gd name="T8" fmla="*/ 7 w 98"/>
                <a:gd name="T9" fmla="*/ 1 h 59"/>
                <a:gd name="T10" fmla="*/ 95 w 98"/>
                <a:gd name="T11" fmla="*/ 52 h 59"/>
                <a:gd name="T12" fmla="*/ 96 w 98"/>
                <a:gd name="T13" fmla="*/ 57 h 59"/>
                <a:gd name="T14" fmla="*/ 93 w 98"/>
                <a:gd name="T15" fmla="*/ 5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59">
                  <a:moveTo>
                    <a:pt x="93" y="59"/>
                  </a:moveTo>
                  <a:cubicBezTo>
                    <a:pt x="92" y="59"/>
                    <a:pt x="92" y="59"/>
                    <a:pt x="91" y="59"/>
                  </a:cubicBezTo>
                  <a:cubicBezTo>
                    <a:pt x="3" y="8"/>
                    <a:pt x="3" y="8"/>
                    <a:pt x="3" y="8"/>
                  </a:cubicBezTo>
                  <a:cubicBezTo>
                    <a:pt x="1" y="7"/>
                    <a:pt x="0" y="4"/>
                    <a:pt x="1" y="2"/>
                  </a:cubicBezTo>
                  <a:cubicBezTo>
                    <a:pt x="2" y="0"/>
                    <a:pt x="5" y="0"/>
                    <a:pt x="7" y="1"/>
                  </a:cubicBezTo>
                  <a:cubicBezTo>
                    <a:pt x="95" y="52"/>
                    <a:pt x="95" y="52"/>
                    <a:pt x="95" y="52"/>
                  </a:cubicBezTo>
                  <a:cubicBezTo>
                    <a:pt x="97" y="53"/>
                    <a:pt x="98" y="56"/>
                    <a:pt x="96" y="57"/>
                  </a:cubicBezTo>
                  <a:cubicBezTo>
                    <a:pt x="96" y="59"/>
                    <a:pt x="94" y="59"/>
                    <a:pt x="93" y="59"/>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100">
              <a:extLst>
                <a:ext uri="{FF2B5EF4-FFF2-40B4-BE49-F238E27FC236}">
                  <a16:creationId xmlns:a16="http://schemas.microsoft.com/office/drawing/2014/main" id="{C1090D99-935C-409A-997F-06057EF1B010}"/>
                </a:ext>
              </a:extLst>
            </p:cNvPr>
            <p:cNvSpPr>
              <a:spLocks/>
            </p:cNvSpPr>
            <p:nvPr/>
          </p:nvSpPr>
          <p:spPr bwMode="auto">
            <a:xfrm>
              <a:off x="4838701" y="4568825"/>
              <a:ext cx="211138" cy="130175"/>
            </a:xfrm>
            <a:custGeom>
              <a:avLst/>
              <a:gdLst>
                <a:gd name="T0" fmla="*/ 93 w 98"/>
                <a:gd name="T1" fmla="*/ 60 h 60"/>
                <a:gd name="T2" fmla="*/ 91 w 98"/>
                <a:gd name="T3" fmla="*/ 59 h 60"/>
                <a:gd name="T4" fmla="*/ 3 w 98"/>
                <a:gd name="T5" fmla="*/ 8 h 60"/>
                <a:gd name="T6" fmla="*/ 2 w 98"/>
                <a:gd name="T7" fmla="*/ 3 h 60"/>
                <a:gd name="T8" fmla="*/ 7 w 98"/>
                <a:gd name="T9" fmla="*/ 1 h 60"/>
                <a:gd name="T10" fmla="*/ 95 w 98"/>
                <a:gd name="T11" fmla="*/ 52 h 60"/>
                <a:gd name="T12" fmla="*/ 97 w 98"/>
                <a:gd name="T13" fmla="*/ 58 h 60"/>
                <a:gd name="T14" fmla="*/ 93 w 98"/>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60">
                  <a:moveTo>
                    <a:pt x="93" y="60"/>
                  </a:moveTo>
                  <a:cubicBezTo>
                    <a:pt x="93" y="60"/>
                    <a:pt x="92" y="59"/>
                    <a:pt x="91" y="59"/>
                  </a:cubicBezTo>
                  <a:cubicBezTo>
                    <a:pt x="3" y="8"/>
                    <a:pt x="3" y="8"/>
                    <a:pt x="3" y="8"/>
                  </a:cubicBezTo>
                  <a:cubicBezTo>
                    <a:pt x="1" y="7"/>
                    <a:pt x="0" y="4"/>
                    <a:pt x="2" y="3"/>
                  </a:cubicBezTo>
                  <a:cubicBezTo>
                    <a:pt x="3" y="1"/>
                    <a:pt x="5" y="0"/>
                    <a:pt x="7" y="1"/>
                  </a:cubicBezTo>
                  <a:cubicBezTo>
                    <a:pt x="95" y="52"/>
                    <a:pt x="95" y="52"/>
                    <a:pt x="95" y="52"/>
                  </a:cubicBezTo>
                  <a:cubicBezTo>
                    <a:pt x="97" y="53"/>
                    <a:pt x="98" y="56"/>
                    <a:pt x="97" y="58"/>
                  </a:cubicBezTo>
                  <a:cubicBezTo>
                    <a:pt x="96" y="59"/>
                    <a:pt x="95" y="60"/>
                    <a:pt x="93" y="60"/>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101">
              <a:extLst>
                <a:ext uri="{FF2B5EF4-FFF2-40B4-BE49-F238E27FC236}">
                  <a16:creationId xmlns:a16="http://schemas.microsoft.com/office/drawing/2014/main" id="{633EEB0B-2DF5-4244-A96F-D2E048CC8FD7}"/>
                </a:ext>
              </a:extLst>
            </p:cNvPr>
            <p:cNvSpPr>
              <a:spLocks/>
            </p:cNvSpPr>
            <p:nvPr/>
          </p:nvSpPr>
          <p:spPr bwMode="auto">
            <a:xfrm>
              <a:off x="4408488" y="4513263"/>
              <a:ext cx="236538" cy="17463"/>
            </a:xfrm>
            <a:custGeom>
              <a:avLst/>
              <a:gdLst>
                <a:gd name="T0" fmla="*/ 106 w 110"/>
                <a:gd name="T1" fmla="*/ 8 h 8"/>
                <a:gd name="T2" fmla="*/ 4 w 110"/>
                <a:gd name="T3" fmla="*/ 8 h 8"/>
                <a:gd name="T4" fmla="*/ 0 w 110"/>
                <a:gd name="T5" fmla="*/ 4 h 8"/>
                <a:gd name="T6" fmla="*/ 4 w 110"/>
                <a:gd name="T7" fmla="*/ 0 h 8"/>
                <a:gd name="T8" fmla="*/ 106 w 110"/>
                <a:gd name="T9" fmla="*/ 0 h 8"/>
                <a:gd name="T10" fmla="*/ 110 w 110"/>
                <a:gd name="T11" fmla="*/ 4 h 8"/>
                <a:gd name="T12" fmla="*/ 106 w 1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10" h="8">
                  <a:moveTo>
                    <a:pt x="106" y="8"/>
                  </a:moveTo>
                  <a:cubicBezTo>
                    <a:pt x="4" y="8"/>
                    <a:pt x="4" y="8"/>
                    <a:pt x="4" y="8"/>
                  </a:cubicBezTo>
                  <a:cubicBezTo>
                    <a:pt x="2" y="8"/>
                    <a:pt x="0" y="6"/>
                    <a:pt x="0" y="4"/>
                  </a:cubicBezTo>
                  <a:cubicBezTo>
                    <a:pt x="0" y="2"/>
                    <a:pt x="2" y="0"/>
                    <a:pt x="4" y="0"/>
                  </a:cubicBezTo>
                  <a:cubicBezTo>
                    <a:pt x="106" y="0"/>
                    <a:pt x="106" y="0"/>
                    <a:pt x="106" y="0"/>
                  </a:cubicBezTo>
                  <a:cubicBezTo>
                    <a:pt x="108" y="0"/>
                    <a:pt x="110" y="2"/>
                    <a:pt x="110" y="4"/>
                  </a:cubicBezTo>
                  <a:cubicBezTo>
                    <a:pt x="110" y="6"/>
                    <a:pt x="108" y="8"/>
                    <a:pt x="106" y="8"/>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102">
              <a:extLst>
                <a:ext uri="{FF2B5EF4-FFF2-40B4-BE49-F238E27FC236}">
                  <a16:creationId xmlns:a16="http://schemas.microsoft.com/office/drawing/2014/main" id="{E824D312-4131-495B-831F-F33F99693165}"/>
                </a:ext>
              </a:extLst>
            </p:cNvPr>
            <p:cNvSpPr>
              <a:spLocks/>
            </p:cNvSpPr>
            <p:nvPr/>
          </p:nvSpPr>
          <p:spPr bwMode="auto">
            <a:xfrm>
              <a:off x="4856163" y="4513263"/>
              <a:ext cx="236538" cy="17463"/>
            </a:xfrm>
            <a:custGeom>
              <a:avLst/>
              <a:gdLst>
                <a:gd name="T0" fmla="*/ 106 w 110"/>
                <a:gd name="T1" fmla="*/ 8 h 8"/>
                <a:gd name="T2" fmla="*/ 4 w 110"/>
                <a:gd name="T3" fmla="*/ 8 h 8"/>
                <a:gd name="T4" fmla="*/ 0 w 110"/>
                <a:gd name="T5" fmla="*/ 4 h 8"/>
                <a:gd name="T6" fmla="*/ 4 w 110"/>
                <a:gd name="T7" fmla="*/ 0 h 8"/>
                <a:gd name="T8" fmla="*/ 106 w 110"/>
                <a:gd name="T9" fmla="*/ 0 h 8"/>
                <a:gd name="T10" fmla="*/ 110 w 110"/>
                <a:gd name="T11" fmla="*/ 4 h 8"/>
                <a:gd name="T12" fmla="*/ 106 w 1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10" h="8">
                  <a:moveTo>
                    <a:pt x="106" y="8"/>
                  </a:moveTo>
                  <a:cubicBezTo>
                    <a:pt x="4" y="8"/>
                    <a:pt x="4" y="8"/>
                    <a:pt x="4" y="8"/>
                  </a:cubicBezTo>
                  <a:cubicBezTo>
                    <a:pt x="2" y="8"/>
                    <a:pt x="0" y="6"/>
                    <a:pt x="0" y="4"/>
                  </a:cubicBezTo>
                  <a:cubicBezTo>
                    <a:pt x="0" y="2"/>
                    <a:pt x="2" y="0"/>
                    <a:pt x="4" y="0"/>
                  </a:cubicBezTo>
                  <a:cubicBezTo>
                    <a:pt x="106" y="0"/>
                    <a:pt x="106" y="0"/>
                    <a:pt x="106" y="0"/>
                  </a:cubicBezTo>
                  <a:cubicBezTo>
                    <a:pt x="108" y="0"/>
                    <a:pt x="110" y="2"/>
                    <a:pt x="110" y="4"/>
                  </a:cubicBezTo>
                  <a:cubicBezTo>
                    <a:pt x="110" y="6"/>
                    <a:pt x="108" y="8"/>
                    <a:pt x="106" y="8"/>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103">
              <a:extLst>
                <a:ext uri="{FF2B5EF4-FFF2-40B4-BE49-F238E27FC236}">
                  <a16:creationId xmlns:a16="http://schemas.microsoft.com/office/drawing/2014/main" id="{2B013176-0096-4E00-B908-AFD5763BDE9A}"/>
                </a:ext>
              </a:extLst>
            </p:cNvPr>
            <p:cNvSpPr>
              <a:spLocks/>
            </p:cNvSpPr>
            <p:nvPr/>
          </p:nvSpPr>
          <p:spPr bwMode="auto">
            <a:xfrm>
              <a:off x="4451351" y="4568825"/>
              <a:ext cx="211138" cy="130175"/>
            </a:xfrm>
            <a:custGeom>
              <a:avLst/>
              <a:gdLst>
                <a:gd name="T0" fmla="*/ 5 w 98"/>
                <a:gd name="T1" fmla="*/ 60 h 60"/>
                <a:gd name="T2" fmla="*/ 1 w 98"/>
                <a:gd name="T3" fmla="*/ 58 h 60"/>
                <a:gd name="T4" fmla="*/ 3 w 98"/>
                <a:gd name="T5" fmla="*/ 52 h 60"/>
                <a:gd name="T6" fmla="*/ 91 w 98"/>
                <a:gd name="T7" fmla="*/ 1 h 60"/>
                <a:gd name="T8" fmla="*/ 96 w 98"/>
                <a:gd name="T9" fmla="*/ 3 h 60"/>
                <a:gd name="T10" fmla="*/ 95 w 98"/>
                <a:gd name="T11" fmla="*/ 8 h 60"/>
                <a:gd name="T12" fmla="*/ 7 w 98"/>
                <a:gd name="T13" fmla="*/ 59 h 60"/>
                <a:gd name="T14" fmla="*/ 5 w 98"/>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60">
                  <a:moveTo>
                    <a:pt x="5" y="60"/>
                  </a:moveTo>
                  <a:cubicBezTo>
                    <a:pt x="3" y="60"/>
                    <a:pt x="2" y="59"/>
                    <a:pt x="1" y="58"/>
                  </a:cubicBezTo>
                  <a:cubicBezTo>
                    <a:pt x="0" y="56"/>
                    <a:pt x="1" y="53"/>
                    <a:pt x="3" y="52"/>
                  </a:cubicBezTo>
                  <a:cubicBezTo>
                    <a:pt x="91" y="1"/>
                    <a:pt x="91" y="1"/>
                    <a:pt x="91" y="1"/>
                  </a:cubicBezTo>
                  <a:cubicBezTo>
                    <a:pt x="93" y="0"/>
                    <a:pt x="95" y="1"/>
                    <a:pt x="96" y="3"/>
                  </a:cubicBezTo>
                  <a:cubicBezTo>
                    <a:pt x="98" y="4"/>
                    <a:pt x="97" y="7"/>
                    <a:pt x="95" y="8"/>
                  </a:cubicBezTo>
                  <a:cubicBezTo>
                    <a:pt x="7" y="59"/>
                    <a:pt x="7" y="59"/>
                    <a:pt x="7" y="59"/>
                  </a:cubicBezTo>
                  <a:cubicBezTo>
                    <a:pt x="6" y="59"/>
                    <a:pt x="5" y="60"/>
                    <a:pt x="5" y="60"/>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104">
              <a:extLst>
                <a:ext uri="{FF2B5EF4-FFF2-40B4-BE49-F238E27FC236}">
                  <a16:creationId xmlns:a16="http://schemas.microsoft.com/office/drawing/2014/main" id="{BC2F23BD-4054-401D-8B6E-16C02F087DAF}"/>
                </a:ext>
              </a:extLst>
            </p:cNvPr>
            <p:cNvSpPr>
              <a:spLocks/>
            </p:cNvSpPr>
            <p:nvPr/>
          </p:nvSpPr>
          <p:spPr bwMode="auto">
            <a:xfrm>
              <a:off x="4838701" y="4343400"/>
              <a:ext cx="211138" cy="127000"/>
            </a:xfrm>
            <a:custGeom>
              <a:avLst/>
              <a:gdLst>
                <a:gd name="T0" fmla="*/ 5 w 98"/>
                <a:gd name="T1" fmla="*/ 59 h 59"/>
                <a:gd name="T2" fmla="*/ 2 w 98"/>
                <a:gd name="T3" fmla="*/ 57 h 59"/>
                <a:gd name="T4" fmla="*/ 3 w 98"/>
                <a:gd name="T5" fmla="*/ 52 h 59"/>
                <a:gd name="T6" fmla="*/ 91 w 98"/>
                <a:gd name="T7" fmla="*/ 1 h 59"/>
                <a:gd name="T8" fmla="*/ 97 w 98"/>
                <a:gd name="T9" fmla="*/ 2 h 59"/>
                <a:gd name="T10" fmla="*/ 95 w 98"/>
                <a:gd name="T11" fmla="*/ 8 h 59"/>
                <a:gd name="T12" fmla="*/ 7 w 98"/>
                <a:gd name="T13" fmla="*/ 59 h 59"/>
                <a:gd name="T14" fmla="*/ 5 w 98"/>
                <a:gd name="T15" fmla="*/ 5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59">
                  <a:moveTo>
                    <a:pt x="5" y="59"/>
                  </a:moveTo>
                  <a:cubicBezTo>
                    <a:pt x="4" y="59"/>
                    <a:pt x="2" y="59"/>
                    <a:pt x="2" y="57"/>
                  </a:cubicBezTo>
                  <a:cubicBezTo>
                    <a:pt x="0" y="56"/>
                    <a:pt x="1" y="53"/>
                    <a:pt x="3" y="52"/>
                  </a:cubicBezTo>
                  <a:cubicBezTo>
                    <a:pt x="91" y="1"/>
                    <a:pt x="91" y="1"/>
                    <a:pt x="91" y="1"/>
                  </a:cubicBezTo>
                  <a:cubicBezTo>
                    <a:pt x="93" y="0"/>
                    <a:pt x="96" y="0"/>
                    <a:pt x="97" y="2"/>
                  </a:cubicBezTo>
                  <a:cubicBezTo>
                    <a:pt x="98" y="4"/>
                    <a:pt x="97" y="7"/>
                    <a:pt x="95" y="8"/>
                  </a:cubicBezTo>
                  <a:cubicBezTo>
                    <a:pt x="7" y="59"/>
                    <a:pt x="7" y="59"/>
                    <a:pt x="7" y="59"/>
                  </a:cubicBezTo>
                  <a:cubicBezTo>
                    <a:pt x="6" y="59"/>
                    <a:pt x="6" y="59"/>
                    <a:pt x="5" y="59"/>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105">
              <a:extLst>
                <a:ext uri="{FF2B5EF4-FFF2-40B4-BE49-F238E27FC236}">
                  <a16:creationId xmlns:a16="http://schemas.microsoft.com/office/drawing/2014/main" id="{7E90C686-1D09-4654-84F5-ACD084FB7506}"/>
                </a:ext>
              </a:extLst>
            </p:cNvPr>
            <p:cNvSpPr>
              <a:spLocks/>
            </p:cNvSpPr>
            <p:nvPr/>
          </p:nvSpPr>
          <p:spPr bwMode="auto">
            <a:xfrm>
              <a:off x="4573588" y="4610100"/>
              <a:ext cx="128588" cy="211138"/>
            </a:xfrm>
            <a:custGeom>
              <a:avLst/>
              <a:gdLst>
                <a:gd name="T0" fmla="*/ 4 w 60"/>
                <a:gd name="T1" fmla="*/ 97 h 97"/>
                <a:gd name="T2" fmla="*/ 2 w 60"/>
                <a:gd name="T3" fmla="*/ 97 h 97"/>
                <a:gd name="T4" fmla="*/ 1 w 60"/>
                <a:gd name="T5" fmla="*/ 91 h 97"/>
                <a:gd name="T6" fmla="*/ 52 w 60"/>
                <a:gd name="T7" fmla="*/ 3 h 97"/>
                <a:gd name="T8" fmla="*/ 57 w 60"/>
                <a:gd name="T9" fmla="*/ 2 h 97"/>
                <a:gd name="T10" fmla="*/ 59 w 60"/>
                <a:gd name="T11" fmla="*/ 7 h 97"/>
                <a:gd name="T12" fmla="*/ 8 w 60"/>
                <a:gd name="T13" fmla="*/ 95 h 97"/>
                <a:gd name="T14" fmla="*/ 4 w 60"/>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7">
                  <a:moveTo>
                    <a:pt x="4" y="97"/>
                  </a:moveTo>
                  <a:cubicBezTo>
                    <a:pt x="4" y="97"/>
                    <a:pt x="3" y="97"/>
                    <a:pt x="2" y="97"/>
                  </a:cubicBezTo>
                  <a:cubicBezTo>
                    <a:pt x="0" y="96"/>
                    <a:pt x="0" y="93"/>
                    <a:pt x="1" y="91"/>
                  </a:cubicBezTo>
                  <a:cubicBezTo>
                    <a:pt x="52" y="3"/>
                    <a:pt x="52" y="3"/>
                    <a:pt x="52" y="3"/>
                  </a:cubicBezTo>
                  <a:cubicBezTo>
                    <a:pt x="53" y="1"/>
                    <a:pt x="56" y="0"/>
                    <a:pt x="57" y="2"/>
                  </a:cubicBezTo>
                  <a:cubicBezTo>
                    <a:pt x="59" y="3"/>
                    <a:pt x="60" y="5"/>
                    <a:pt x="59" y="7"/>
                  </a:cubicBezTo>
                  <a:cubicBezTo>
                    <a:pt x="8" y="95"/>
                    <a:pt x="8" y="95"/>
                    <a:pt x="8" y="95"/>
                  </a:cubicBezTo>
                  <a:cubicBezTo>
                    <a:pt x="7" y="97"/>
                    <a:pt x="6" y="97"/>
                    <a:pt x="4" y="97"/>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106">
              <a:extLst>
                <a:ext uri="{FF2B5EF4-FFF2-40B4-BE49-F238E27FC236}">
                  <a16:creationId xmlns:a16="http://schemas.microsoft.com/office/drawing/2014/main" id="{CCC1C462-AC48-486F-A354-08469E60B702}"/>
                </a:ext>
              </a:extLst>
            </p:cNvPr>
            <p:cNvSpPr>
              <a:spLocks/>
            </p:cNvSpPr>
            <p:nvPr/>
          </p:nvSpPr>
          <p:spPr bwMode="auto">
            <a:xfrm>
              <a:off x="4797426" y="4217988"/>
              <a:ext cx="128588" cy="211138"/>
            </a:xfrm>
            <a:custGeom>
              <a:avLst/>
              <a:gdLst>
                <a:gd name="T0" fmla="*/ 5 w 60"/>
                <a:gd name="T1" fmla="*/ 97 h 97"/>
                <a:gd name="T2" fmla="*/ 3 w 60"/>
                <a:gd name="T3" fmla="*/ 96 h 97"/>
                <a:gd name="T4" fmla="*/ 1 w 60"/>
                <a:gd name="T5" fmla="*/ 91 h 97"/>
                <a:gd name="T6" fmla="*/ 52 w 60"/>
                <a:gd name="T7" fmla="*/ 3 h 97"/>
                <a:gd name="T8" fmla="*/ 58 w 60"/>
                <a:gd name="T9" fmla="*/ 1 h 97"/>
                <a:gd name="T10" fmla="*/ 59 w 60"/>
                <a:gd name="T11" fmla="*/ 7 h 97"/>
                <a:gd name="T12" fmla="*/ 8 w 60"/>
                <a:gd name="T13" fmla="*/ 95 h 97"/>
                <a:gd name="T14" fmla="*/ 5 w 60"/>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7">
                  <a:moveTo>
                    <a:pt x="5" y="97"/>
                  </a:moveTo>
                  <a:cubicBezTo>
                    <a:pt x="4" y="97"/>
                    <a:pt x="3" y="97"/>
                    <a:pt x="3" y="96"/>
                  </a:cubicBezTo>
                  <a:cubicBezTo>
                    <a:pt x="1" y="95"/>
                    <a:pt x="0" y="93"/>
                    <a:pt x="1" y="91"/>
                  </a:cubicBezTo>
                  <a:cubicBezTo>
                    <a:pt x="52" y="3"/>
                    <a:pt x="52" y="3"/>
                    <a:pt x="52" y="3"/>
                  </a:cubicBezTo>
                  <a:cubicBezTo>
                    <a:pt x="53" y="1"/>
                    <a:pt x="56" y="0"/>
                    <a:pt x="58" y="1"/>
                  </a:cubicBezTo>
                  <a:cubicBezTo>
                    <a:pt x="60" y="2"/>
                    <a:pt x="60" y="5"/>
                    <a:pt x="59" y="7"/>
                  </a:cubicBezTo>
                  <a:cubicBezTo>
                    <a:pt x="8" y="95"/>
                    <a:pt x="8" y="95"/>
                    <a:pt x="8" y="95"/>
                  </a:cubicBezTo>
                  <a:cubicBezTo>
                    <a:pt x="7" y="96"/>
                    <a:pt x="6" y="97"/>
                    <a:pt x="5" y="97"/>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6" name="Oval 75">
            <a:extLst>
              <a:ext uri="{FF2B5EF4-FFF2-40B4-BE49-F238E27FC236}">
                <a16:creationId xmlns:a16="http://schemas.microsoft.com/office/drawing/2014/main" id="{C90DB8EB-456E-4DC7-87C0-1090AF62AA25}"/>
              </a:ext>
            </a:extLst>
          </p:cNvPr>
          <p:cNvSpPr/>
          <p:nvPr/>
        </p:nvSpPr>
        <p:spPr>
          <a:xfrm>
            <a:off x="1784568" y="2848117"/>
            <a:ext cx="1067869" cy="1067869"/>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Freeform 99">
            <a:extLst>
              <a:ext uri="{FF2B5EF4-FFF2-40B4-BE49-F238E27FC236}">
                <a16:creationId xmlns:a16="http://schemas.microsoft.com/office/drawing/2014/main" id="{537B12B5-9180-41CF-85FB-0DA26B1258A1}"/>
              </a:ext>
            </a:extLst>
          </p:cNvPr>
          <p:cNvSpPr>
            <a:spLocks/>
          </p:cNvSpPr>
          <p:nvPr/>
        </p:nvSpPr>
        <p:spPr bwMode="auto">
          <a:xfrm flipH="1">
            <a:off x="1568913" y="3004711"/>
            <a:ext cx="587942" cy="598149"/>
          </a:xfrm>
          <a:custGeom>
            <a:avLst/>
            <a:gdLst>
              <a:gd name="T0" fmla="*/ 9 w 212"/>
              <a:gd name="T1" fmla="*/ 0 h 212"/>
              <a:gd name="T2" fmla="*/ 0 w 212"/>
              <a:gd name="T3" fmla="*/ 9 h 212"/>
              <a:gd name="T4" fmla="*/ 0 w 212"/>
              <a:gd name="T5" fmla="*/ 203 h 212"/>
              <a:gd name="T6" fmla="*/ 9 w 212"/>
              <a:gd name="T7" fmla="*/ 212 h 212"/>
              <a:gd name="T8" fmla="*/ 203 w 212"/>
              <a:gd name="T9" fmla="*/ 212 h 212"/>
              <a:gd name="T10" fmla="*/ 212 w 212"/>
              <a:gd name="T11" fmla="*/ 203 h 212"/>
              <a:gd name="T12" fmla="*/ 9 w 212"/>
              <a:gd name="T13" fmla="*/ 0 h 212"/>
            </a:gdLst>
            <a:ahLst/>
            <a:cxnLst>
              <a:cxn ang="0">
                <a:pos x="T0" y="T1"/>
              </a:cxn>
              <a:cxn ang="0">
                <a:pos x="T2" y="T3"/>
              </a:cxn>
              <a:cxn ang="0">
                <a:pos x="T4" y="T5"/>
              </a:cxn>
              <a:cxn ang="0">
                <a:pos x="T6" y="T7"/>
              </a:cxn>
              <a:cxn ang="0">
                <a:pos x="T8" y="T9"/>
              </a:cxn>
              <a:cxn ang="0">
                <a:pos x="T10" y="T11"/>
              </a:cxn>
              <a:cxn ang="0">
                <a:pos x="T12" y="T13"/>
              </a:cxn>
            </a:cxnLst>
            <a:rect l="0" t="0" r="r" b="b"/>
            <a:pathLst>
              <a:path w="212" h="212">
                <a:moveTo>
                  <a:pt x="9" y="0"/>
                </a:moveTo>
                <a:cubicBezTo>
                  <a:pt x="4" y="0"/>
                  <a:pt x="0" y="4"/>
                  <a:pt x="0" y="9"/>
                </a:cubicBezTo>
                <a:cubicBezTo>
                  <a:pt x="0" y="203"/>
                  <a:pt x="0" y="203"/>
                  <a:pt x="0" y="203"/>
                </a:cubicBezTo>
                <a:cubicBezTo>
                  <a:pt x="0" y="208"/>
                  <a:pt x="4" y="212"/>
                  <a:pt x="9" y="212"/>
                </a:cubicBezTo>
                <a:cubicBezTo>
                  <a:pt x="203" y="212"/>
                  <a:pt x="203" y="212"/>
                  <a:pt x="203" y="212"/>
                </a:cubicBezTo>
                <a:cubicBezTo>
                  <a:pt x="208" y="212"/>
                  <a:pt x="212" y="208"/>
                  <a:pt x="212" y="203"/>
                </a:cubicBezTo>
                <a:cubicBezTo>
                  <a:pt x="207" y="93"/>
                  <a:pt x="119" y="5"/>
                  <a:pt x="9" y="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87" name="Picture 86" descr="A close up of a persons face&#10;&#10;Description automatically generated">
            <a:extLst>
              <a:ext uri="{FF2B5EF4-FFF2-40B4-BE49-F238E27FC236}">
                <a16:creationId xmlns:a16="http://schemas.microsoft.com/office/drawing/2014/main" id="{10DC21EF-4808-490D-9C4F-0486EC9D42D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62610" y="3335096"/>
            <a:ext cx="1877781" cy="1056252"/>
          </a:xfrm>
          <a:prstGeom prst="rect">
            <a:avLst/>
          </a:prstGeom>
        </p:spPr>
      </p:pic>
      <p:pic>
        <p:nvPicPr>
          <p:cNvPr id="85" name="Picture 84" descr="A group of people posing for a photo&#10;&#10;Description automatically generated">
            <a:extLst>
              <a:ext uri="{FF2B5EF4-FFF2-40B4-BE49-F238E27FC236}">
                <a16:creationId xmlns:a16="http://schemas.microsoft.com/office/drawing/2014/main" id="{AA8C03B8-E95C-4A3A-A745-A5DBCD1607C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791263" y="2890365"/>
            <a:ext cx="1186202" cy="1652169"/>
          </a:xfrm>
          <a:custGeom>
            <a:avLst/>
            <a:gdLst>
              <a:gd name="connsiteX0" fmla="*/ 0 w 1186202"/>
              <a:gd name="connsiteY0" fmla="*/ 0 h 1652169"/>
              <a:gd name="connsiteX1" fmla="*/ 1020952 w 1186202"/>
              <a:gd name="connsiteY1" fmla="*/ 0 h 1652169"/>
              <a:gd name="connsiteX2" fmla="*/ 1120618 w 1186202"/>
              <a:gd name="connsiteY2" fmla="*/ 120798 h 1652169"/>
              <a:gd name="connsiteX3" fmla="*/ 1169817 w 1186202"/>
              <a:gd name="connsiteY3" fmla="*/ 201781 h 1652169"/>
              <a:gd name="connsiteX4" fmla="*/ 1186202 w 1186202"/>
              <a:gd name="connsiteY4" fmla="*/ 235795 h 1652169"/>
              <a:gd name="connsiteX5" fmla="*/ 1186202 w 1186202"/>
              <a:gd name="connsiteY5" fmla="*/ 309982 h 1652169"/>
              <a:gd name="connsiteX6" fmla="*/ 1066799 w 1186202"/>
              <a:gd name="connsiteY6" fmla="*/ 243996 h 1652169"/>
              <a:gd name="connsiteX7" fmla="*/ 1041399 w 1186202"/>
              <a:gd name="connsiteY7" fmla="*/ 251616 h 1652169"/>
              <a:gd name="connsiteX8" fmla="*/ 876299 w 1186202"/>
              <a:gd name="connsiteY8" fmla="*/ 343056 h 1652169"/>
              <a:gd name="connsiteX9" fmla="*/ 822959 w 1186202"/>
              <a:gd name="connsiteY9" fmla="*/ 391316 h 1652169"/>
              <a:gd name="connsiteX10" fmla="*/ 800099 w 1186202"/>
              <a:gd name="connsiteY10" fmla="*/ 452276 h 1652169"/>
              <a:gd name="connsiteX11" fmla="*/ 756919 w 1186202"/>
              <a:gd name="connsiteY11" fmla="*/ 503076 h 1652169"/>
              <a:gd name="connsiteX12" fmla="*/ 741679 w 1186202"/>
              <a:gd name="connsiteY12" fmla="*/ 614836 h 1652169"/>
              <a:gd name="connsiteX13" fmla="*/ 838199 w 1186202"/>
              <a:gd name="connsiteY13" fmla="*/ 675796 h 1652169"/>
              <a:gd name="connsiteX14" fmla="*/ 1109979 w 1186202"/>
              <a:gd name="connsiteY14" fmla="*/ 795176 h 1652169"/>
              <a:gd name="connsiteX15" fmla="*/ 1163319 w 1186202"/>
              <a:gd name="connsiteY15" fmla="*/ 901856 h 1652169"/>
              <a:gd name="connsiteX16" fmla="*/ 1186202 w 1186202"/>
              <a:gd name="connsiteY16" fmla="*/ 985312 h 1652169"/>
              <a:gd name="connsiteX17" fmla="*/ 1186202 w 1186202"/>
              <a:gd name="connsiteY17" fmla="*/ 1104126 h 1652169"/>
              <a:gd name="connsiteX18" fmla="*/ 1169817 w 1186202"/>
              <a:gd name="connsiteY18" fmla="*/ 1138139 h 1652169"/>
              <a:gd name="connsiteX19" fmla="*/ 306155 w 1186202"/>
              <a:gd name="connsiteY19" fmla="*/ 1652169 h 1652169"/>
              <a:gd name="connsiteX20" fmla="*/ 108206 w 1186202"/>
              <a:gd name="connsiteY20" fmla="*/ 1632214 h 1652169"/>
              <a:gd name="connsiteX21" fmla="*/ 34198 w 1186202"/>
              <a:gd name="connsiteY21" fmla="*/ 1613185 h 1652169"/>
              <a:gd name="connsiteX22" fmla="*/ 20319 w 1186202"/>
              <a:gd name="connsiteY22" fmla="*/ 1577496 h 1652169"/>
              <a:gd name="connsiteX23" fmla="*/ 0 w 1186202"/>
              <a:gd name="connsiteY23" fmla="*/ 1502316 h 1652169"/>
              <a:gd name="connsiteX24" fmla="*/ 0 w 1186202"/>
              <a:gd name="connsiteY24" fmla="*/ 1466368 h 1652169"/>
              <a:gd name="connsiteX25" fmla="*/ 35559 w 1186202"/>
              <a:gd name="connsiteY25" fmla="*/ 1346356 h 1652169"/>
              <a:gd name="connsiteX26" fmla="*/ 106679 w 1186202"/>
              <a:gd name="connsiteY26" fmla="*/ 812956 h 1652169"/>
              <a:gd name="connsiteX27" fmla="*/ 91439 w 1186202"/>
              <a:gd name="connsiteY27" fmla="*/ 757076 h 1652169"/>
              <a:gd name="connsiteX28" fmla="*/ 83819 w 1186202"/>
              <a:gd name="connsiteY28" fmla="*/ 665636 h 1652169"/>
              <a:gd name="connsiteX29" fmla="*/ 0 w 1186202"/>
              <a:gd name="connsiteY29" fmla="*/ 669745 h 1652169"/>
              <a:gd name="connsiteX30" fmla="*/ 0 w 1186202"/>
              <a:gd name="connsiteY30" fmla="*/ 0 h 165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86202" h="1652169">
                <a:moveTo>
                  <a:pt x="0" y="0"/>
                </a:moveTo>
                <a:lnTo>
                  <a:pt x="1020952" y="0"/>
                </a:lnTo>
                <a:lnTo>
                  <a:pt x="1120618" y="120798"/>
                </a:lnTo>
                <a:cubicBezTo>
                  <a:pt x="1138269" y="146925"/>
                  <a:pt x="1154696" y="173947"/>
                  <a:pt x="1169817" y="201781"/>
                </a:cubicBezTo>
                <a:lnTo>
                  <a:pt x="1186202" y="235795"/>
                </a:lnTo>
                <a:lnTo>
                  <a:pt x="1186202" y="309982"/>
                </a:lnTo>
                <a:lnTo>
                  <a:pt x="1066799" y="243996"/>
                </a:lnTo>
                <a:lnTo>
                  <a:pt x="1041399" y="251616"/>
                </a:lnTo>
                <a:lnTo>
                  <a:pt x="876299" y="343056"/>
                </a:lnTo>
                <a:lnTo>
                  <a:pt x="822959" y="391316"/>
                </a:lnTo>
                <a:lnTo>
                  <a:pt x="800099" y="452276"/>
                </a:lnTo>
                <a:lnTo>
                  <a:pt x="756919" y="503076"/>
                </a:lnTo>
                <a:lnTo>
                  <a:pt x="741679" y="614836"/>
                </a:lnTo>
                <a:lnTo>
                  <a:pt x="838199" y="675796"/>
                </a:lnTo>
                <a:lnTo>
                  <a:pt x="1109979" y="795176"/>
                </a:lnTo>
                <a:lnTo>
                  <a:pt x="1163319" y="901856"/>
                </a:lnTo>
                <a:lnTo>
                  <a:pt x="1186202" y="985312"/>
                </a:lnTo>
                <a:lnTo>
                  <a:pt x="1186202" y="1104126"/>
                </a:lnTo>
                <a:lnTo>
                  <a:pt x="1169817" y="1138139"/>
                </a:lnTo>
                <a:cubicBezTo>
                  <a:pt x="1003490" y="1444319"/>
                  <a:pt x="679096" y="1652169"/>
                  <a:pt x="306155" y="1652169"/>
                </a:cubicBezTo>
                <a:cubicBezTo>
                  <a:pt x="238348" y="1652169"/>
                  <a:pt x="172145" y="1645298"/>
                  <a:pt x="108206" y="1632214"/>
                </a:cubicBezTo>
                <a:lnTo>
                  <a:pt x="34198" y="1613185"/>
                </a:lnTo>
                <a:lnTo>
                  <a:pt x="20319" y="1577496"/>
                </a:lnTo>
                <a:lnTo>
                  <a:pt x="0" y="1502316"/>
                </a:lnTo>
                <a:lnTo>
                  <a:pt x="0" y="1466368"/>
                </a:lnTo>
                <a:lnTo>
                  <a:pt x="35559" y="1346356"/>
                </a:lnTo>
                <a:lnTo>
                  <a:pt x="106679" y="812956"/>
                </a:lnTo>
                <a:cubicBezTo>
                  <a:pt x="93979" y="773967"/>
                  <a:pt x="95158" y="794271"/>
                  <a:pt x="91439" y="757076"/>
                </a:cubicBezTo>
                <a:lnTo>
                  <a:pt x="83819" y="665636"/>
                </a:lnTo>
                <a:lnTo>
                  <a:pt x="0" y="669745"/>
                </a:lnTo>
                <a:lnTo>
                  <a:pt x="0" y="0"/>
                </a:lnTo>
                <a:close/>
              </a:path>
            </a:pathLst>
          </a:custGeom>
        </p:spPr>
      </p:pic>
      <p:sp>
        <p:nvSpPr>
          <p:cNvPr id="4" name="Footer Placeholder 3">
            <a:extLst>
              <a:ext uri="{FF2B5EF4-FFF2-40B4-BE49-F238E27FC236}">
                <a16:creationId xmlns:a16="http://schemas.microsoft.com/office/drawing/2014/main" id="{83903C55-38F6-4858-B3BF-0CE3678F0D53}"/>
              </a:ext>
            </a:extLst>
          </p:cNvPr>
          <p:cNvSpPr>
            <a:spLocks noGrp="1"/>
          </p:cNvSpPr>
          <p:nvPr>
            <p:ph type="ftr" sz="quarter" idx="10"/>
          </p:nvPr>
        </p:nvSpPr>
        <p:spPr/>
        <p:txBody>
          <a:bodyPr/>
          <a:lstStyle/>
          <a:p>
            <a:r>
              <a:rPr lang="en-US" dirty="0"/>
              <a:t>© 2020 Cisco and/or its affiliates. All rights reserved. Cisco Confidential</a:t>
            </a:r>
          </a:p>
        </p:txBody>
      </p:sp>
      <p:sp>
        <p:nvSpPr>
          <p:cNvPr id="2" name="Title 1">
            <a:extLst>
              <a:ext uri="{FF2B5EF4-FFF2-40B4-BE49-F238E27FC236}">
                <a16:creationId xmlns:a16="http://schemas.microsoft.com/office/drawing/2014/main" id="{FA0BE187-2788-4615-8701-F892CE34BE42}"/>
              </a:ext>
            </a:extLst>
          </p:cNvPr>
          <p:cNvSpPr>
            <a:spLocks noGrp="1"/>
          </p:cNvSpPr>
          <p:nvPr>
            <p:ph type="title"/>
          </p:nvPr>
        </p:nvSpPr>
        <p:spPr>
          <a:xfrm>
            <a:off x="533400" y="481807"/>
            <a:ext cx="11127317" cy="787908"/>
          </a:xfrm>
        </p:spPr>
        <p:txBody>
          <a:bodyPr/>
          <a:lstStyle/>
          <a:p>
            <a:r>
              <a:rPr lang="en-US" sz="3200" dirty="0"/>
              <a:t>Employ the first line of defense against threats on the internet wherever users go</a:t>
            </a:r>
          </a:p>
        </p:txBody>
      </p:sp>
      <p:sp>
        <p:nvSpPr>
          <p:cNvPr id="16" name="Rectangle 15">
            <a:extLst>
              <a:ext uri="{FF2B5EF4-FFF2-40B4-BE49-F238E27FC236}">
                <a16:creationId xmlns:a16="http://schemas.microsoft.com/office/drawing/2014/main" id="{0876AF38-DB54-4DD3-8FE1-BFF9BCB0EB13}"/>
              </a:ext>
            </a:extLst>
          </p:cNvPr>
          <p:cNvSpPr/>
          <p:nvPr/>
        </p:nvSpPr>
        <p:spPr>
          <a:xfrm>
            <a:off x="533400" y="4679234"/>
            <a:ext cx="3111673" cy="830997"/>
          </a:xfrm>
          <a:prstGeom prst="rect">
            <a:avLst/>
          </a:prstGeom>
        </p:spPr>
        <p:txBody>
          <a:bodyPr wrap="square">
            <a:spAutoFit/>
          </a:bodyPr>
          <a:lstStyle/>
          <a:p>
            <a:pPr algn="ctr"/>
            <a:r>
              <a:rPr lang="en-US" sz="1600" dirty="0">
                <a:solidFill>
                  <a:schemeClr val="bg1"/>
                </a:solidFill>
              </a:rPr>
              <a:t>Protect remote</a:t>
            </a:r>
            <a:br>
              <a:rPr lang="en-US" sz="1600" dirty="0">
                <a:solidFill>
                  <a:schemeClr val="bg1"/>
                </a:solidFill>
              </a:rPr>
            </a:br>
            <a:r>
              <a:rPr lang="en-US" sz="1600" dirty="0">
                <a:solidFill>
                  <a:schemeClr val="bg1"/>
                </a:solidFill>
              </a:rPr>
              <a:t>workers against malware</a:t>
            </a:r>
            <a:br>
              <a:rPr lang="en-US" sz="1600" dirty="0">
                <a:solidFill>
                  <a:schemeClr val="bg1"/>
                </a:solidFill>
              </a:rPr>
            </a:br>
            <a:r>
              <a:rPr lang="en-US" sz="1600" dirty="0">
                <a:solidFill>
                  <a:schemeClr val="bg1"/>
                </a:solidFill>
              </a:rPr>
              <a:t>that uses DNS</a:t>
            </a:r>
          </a:p>
        </p:txBody>
      </p:sp>
      <p:sp>
        <p:nvSpPr>
          <p:cNvPr id="17" name="Rectangle 16">
            <a:extLst>
              <a:ext uri="{FF2B5EF4-FFF2-40B4-BE49-F238E27FC236}">
                <a16:creationId xmlns:a16="http://schemas.microsoft.com/office/drawing/2014/main" id="{F54A9ABA-6364-49BD-A073-E47F95BA10A1}"/>
              </a:ext>
            </a:extLst>
          </p:cNvPr>
          <p:cNvSpPr/>
          <p:nvPr/>
        </p:nvSpPr>
        <p:spPr>
          <a:xfrm>
            <a:off x="3909790" y="4679234"/>
            <a:ext cx="3111673" cy="830997"/>
          </a:xfrm>
          <a:prstGeom prst="rect">
            <a:avLst/>
          </a:prstGeom>
        </p:spPr>
        <p:txBody>
          <a:bodyPr wrap="square">
            <a:spAutoFit/>
          </a:bodyPr>
          <a:lstStyle/>
          <a:p>
            <a:pPr algn="ctr"/>
            <a:r>
              <a:rPr lang="en-US" sz="1600" dirty="0">
                <a:solidFill>
                  <a:schemeClr val="bg1"/>
                </a:solidFill>
              </a:rPr>
              <a:t>Detect compromised endpoints through persistent DNS monitoring</a:t>
            </a:r>
          </a:p>
        </p:txBody>
      </p:sp>
      <p:sp>
        <p:nvSpPr>
          <p:cNvPr id="18" name="Rectangle 17">
            <a:extLst>
              <a:ext uri="{FF2B5EF4-FFF2-40B4-BE49-F238E27FC236}">
                <a16:creationId xmlns:a16="http://schemas.microsoft.com/office/drawing/2014/main" id="{FE2343DE-5261-407C-887C-FCE1E7591250}"/>
              </a:ext>
            </a:extLst>
          </p:cNvPr>
          <p:cNvSpPr/>
          <p:nvPr/>
        </p:nvSpPr>
        <p:spPr>
          <a:xfrm>
            <a:off x="7286179" y="4679234"/>
            <a:ext cx="3111673" cy="584775"/>
          </a:xfrm>
          <a:prstGeom prst="rect">
            <a:avLst/>
          </a:prstGeom>
        </p:spPr>
        <p:txBody>
          <a:bodyPr wrap="square">
            <a:spAutoFit/>
          </a:bodyPr>
          <a:lstStyle/>
          <a:p>
            <a:pPr algn="ctr"/>
            <a:r>
              <a:rPr lang="en-US" sz="1600" dirty="0">
                <a:solidFill>
                  <a:schemeClr val="bg1"/>
                </a:solidFill>
              </a:rPr>
              <a:t>Block threats before they compromise you</a:t>
            </a:r>
          </a:p>
        </p:txBody>
      </p:sp>
      <p:sp>
        <p:nvSpPr>
          <p:cNvPr id="19" name="Oval 18">
            <a:extLst>
              <a:ext uri="{FF2B5EF4-FFF2-40B4-BE49-F238E27FC236}">
                <a16:creationId xmlns:a16="http://schemas.microsoft.com/office/drawing/2014/main" id="{BDAB3D9B-01CE-4D35-B8F7-F789B0C0E50C}"/>
              </a:ext>
            </a:extLst>
          </p:cNvPr>
          <p:cNvSpPr/>
          <p:nvPr/>
        </p:nvSpPr>
        <p:spPr>
          <a:xfrm>
            <a:off x="1107027" y="2578115"/>
            <a:ext cx="1964418" cy="1964418"/>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7E4DB4DC-E11A-43B4-9B41-71957A3107B0}"/>
              </a:ext>
            </a:extLst>
          </p:cNvPr>
          <p:cNvSpPr/>
          <p:nvPr/>
        </p:nvSpPr>
        <p:spPr>
          <a:xfrm>
            <a:off x="4483417" y="2578115"/>
            <a:ext cx="1964418" cy="1964418"/>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281EA902-1584-4487-9F7A-F852BFC6BDD8}"/>
              </a:ext>
            </a:extLst>
          </p:cNvPr>
          <p:cNvSpPr/>
          <p:nvPr/>
        </p:nvSpPr>
        <p:spPr>
          <a:xfrm>
            <a:off x="7859806" y="2578115"/>
            <a:ext cx="1964418" cy="1964418"/>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DC35754F-D84F-4455-9BAE-CAEE03EAA492}"/>
              </a:ext>
            </a:extLst>
          </p:cNvPr>
          <p:cNvSpPr/>
          <p:nvPr/>
        </p:nvSpPr>
        <p:spPr>
          <a:xfrm>
            <a:off x="0" y="2435069"/>
            <a:ext cx="10788661" cy="27987"/>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 Placeholder 3">
            <a:extLst>
              <a:ext uri="{FF2B5EF4-FFF2-40B4-BE49-F238E27FC236}">
                <a16:creationId xmlns:a16="http://schemas.microsoft.com/office/drawing/2014/main" id="{C235DBD2-F2AF-4A3B-8FDB-30888D59B82C}"/>
              </a:ext>
            </a:extLst>
          </p:cNvPr>
          <p:cNvSpPr txBox="1">
            <a:spLocks/>
          </p:cNvSpPr>
          <p:nvPr/>
        </p:nvSpPr>
        <p:spPr>
          <a:xfrm>
            <a:off x="533399" y="1456307"/>
            <a:ext cx="8660653" cy="347231"/>
          </a:xfrm>
          <a:prstGeom prst="rect">
            <a:avLst/>
          </a:prstGeom>
          <a:noFill/>
        </p:spPr>
        <p:txBody>
          <a:bodyPr wrap="square" lIns="0" tIns="0" rIns="0" bIns="0" rtlCol="0">
            <a:noAutofit/>
          </a:bodyPr>
          <a:lstStyle>
            <a:lvl1pPr marL="0" indent="0" algn="l" defTabSz="912239" rtl="0" eaLnBrk="1" fontAlgn="base" hangingPunct="1">
              <a:lnSpc>
                <a:spcPct val="95000"/>
              </a:lnSpc>
              <a:spcBef>
                <a:spcPts val="1433"/>
              </a:spcBef>
              <a:spcAft>
                <a:spcPct val="0"/>
              </a:spcAft>
              <a:buClr>
                <a:schemeClr val="tx2"/>
              </a:buClr>
              <a:buSzPct val="90000"/>
              <a:buFont typeface="Arial" charset="0"/>
              <a:buNone/>
              <a:defRPr lang="en-US" sz="1400" kern="1200" smtClean="0">
                <a:solidFill>
                  <a:schemeClr val="accent1"/>
                </a:solidFill>
                <a:latin typeface="+mn-lt"/>
                <a:ea typeface="+mn-ea"/>
                <a:cs typeface="+mn-cs"/>
              </a:defRPr>
            </a:lvl1pPr>
            <a:lvl2pPr marL="169349" indent="0" algn="l" defTabSz="912239" rtl="0" eaLnBrk="1" fontAlgn="base" hangingPunct="1">
              <a:lnSpc>
                <a:spcPct val="95000"/>
              </a:lnSpc>
              <a:spcBef>
                <a:spcPts val="800"/>
              </a:spcBef>
              <a:spcAft>
                <a:spcPct val="0"/>
              </a:spcAft>
              <a:buClr>
                <a:schemeClr val="tx2"/>
              </a:buClr>
              <a:buFont typeface="Arial" charset="0"/>
              <a:buNone/>
              <a:defRPr lang="en-US" sz="1800" kern="1200" smtClean="0">
                <a:solidFill>
                  <a:schemeClr val="tx1"/>
                </a:solidFill>
                <a:latin typeface="+mn-lt"/>
                <a:ea typeface="+mn-ea"/>
                <a:cs typeface="+mn-cs"/>
              </a:defRPr>
            </a:lvl2pPr>
            <a:lvl3pPr marL="575704" indent="-226473" algn="l" defTabSz="912239" rtl="0" eaLnBrk="1" fontAlgn="base" hangingPunct="1">
              <a:lnSpc>
                <a:spcPct val="95000"/>
              </a:lnSpc>
              <a:spcBef>
                <a:spcPts val="833"/>
              </a:spcBef>
              <a:spcAft>
                <a:spcPct val="0"/>
              </a:spcAft>
              <a:buFont typeface="Arial" charset="0"/>
              <a:buChar char="•"/>
              <a:defRPr lang="en-US" sz="1800" kern="1200" smtClean="0">
                <a:solidFill>
                  <a:schemeClr val="tx1"/>
                </a:solidFill>
                <a:latin typeface="+mn-lt"/>
                <a:ea typeface="+mn-ea"/>
                <a:cs typeface="+mn-cs"/>
              </a:defRPr>
            </a:lvl3pPr>
            <a:lvl4pPr marL="670950" indent="-226473" algn="l" defTabSz="912239" rtl="0" eaLnBrk="1" fontAlgn="base" hangingPunct="1">
              <a:lnSpc>
                <a:spcPct val="95000"/>
              </a:lnSpc>
              <a:spcBef>
                <a:spcPts val="833"/>
              </a:spcBef>
              <a:spcAft>
                <a:spcPct val="0"/>
              </a:spcAft>
              <a:buFont typeface="Arial" charset="0"/>
              <a:buChar char="•"/>
              <a:defRPr lang="en-US" sz="1800" kern="1200" smtClean="0">
                <a:solidFill>
                  <a:schemeClr val="tx1"/>
                </a:solidFill>
                <a:latin typeface="+mn-lt"/>
                <a:ea typeface="+mn-ea"/>
                <a:cs typeface="+mn-cs"/>
              </a:defRPr>
            </a:lvl4pPr>
            <a:lvl5pPr marL="766196" indent="-226473" algn="l" defTabSz="912239" rtl="0" eaLnBrk="1" fontAlgn="base" hangingPunct="1">
              <a:lnSpc>
                <a:spcPct val="95000"/>
              </a:lnSpc>
              <a:spcBef>
                <a:spcPts val="833"/>
              </a:spcBef>
              <a:spcAft>
                <a:spcPct val="0"/>
              </a:spcAft>
              <a:buFont typeface="Arial" charset="0"/>
              <a:buChar char="•"/>
              <a:defRPr lang="en-US" sz="1800" kern="1200">
                <a:solidFill>
                  <a:schemeClr val="tx1"/>
                </a:solidFill>
                <a:latin typeface="+mn-lt"/>
                <a:ea typeface="+mn-ea"/>
                <a:cs typeface="+mn-cs"/>
              </a:defRPr>
            </a:lvl5pPr>
            <a:lvl6pPr marL="1151750" indent="-228582" algn="l" defTabSz="914324"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30" indent="-228552" algn="l" defTabSz="914324"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133" indent="0" algn="l" defTabSz="914324" rtl="0" eaLnBrk="1" latinLnBrk="0" hangingPunct="1">
              <a:spcBef>
                <a:spcPct val="20000"/>
              </a:spcBef>
              <a:buFont typeface="Arial" pitchFamily="34" charset="0"/>
              <a:buNone/>
              <a:defRPr sz="2000" kern="1200">
                <a:solidFill>
                  <a:schemeClr val="tx1"/>
                </a:solidFill>
                <a:latin typeface="+mn-lt"/>
                <a:ea typeface="+mn-ea"/>
                <a:cs typeface="+mn-cs"/>
              </a:defRPr>
            </a:lvl8pPr>
            <a:lvl9pPr marL="3885878" indent="-228582" algn="l" defTabSz="91432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ctr"/>
            <a:r>
              <a:rPr lang="en-US" sz="2400" dirty="0"/>
              <a:t>Flexible, fast and effective cloud-based security</a:t>
            </a:r>
          </a:p>
        </p:txBody>
      </p:sp>
      <p:sp>
        <p:nvSpPr>
          <p:cNvPr id="24" name="Rectangle 10">
            <a:extLst>
              <a:ext uri="{FF2B5EF4-FFF2-40B4-BE49-F238E27FC236}">
                <a16:creationId xmlns:a16="http://schemas.microsoft.com/office/drawing/2014/main" id="{1367A627-CBC3-44A0-B54E-0022AD7C59A5}"/>
              </a:ext>
            </a:extLst>
          </p:cNvPr>
          <p:cNvSpPr/>
          <p:nvPr/>
        </p:nvSpPr>
        <p:spPr>
          <a:xfrm>
            <a:off x="11204294" y="2303362"/>
            <a:ext cx="0" cy="3840480"/>
          </a:xfrm>
          <a:custGeom>
            <a:avLst/>
            <a:gdLst>
              <a:gd name="connsiteX0" fmla="*/ 0 w 11658600"/>
              <a:gd name="connsiteY0" fmla="*/ 0 h 5139159"/>
              <a:gd name="connsiteX1" fmla="*/ 11658600 w 11658600"/>
              <a:gd name="connsiteY1" fmla="*/ 0 h 5139159"/>
              <a:gd name="connsiteX2" fmla="*/ 11658600 w 11658600"/>
              <a:gd name="connsiteY2" fmla="*/ 5139159 h 5139159"/>
              <a:gd name="connsiteX3" fmla="*/ 0 w 11658600"/>
              <a:gd name="connsiteY3" fmla="*/ 5139159 h 5139159"/>
              <a:gd name="connsiteX4" fmla="*/ 0 w 11658600"/>
              <a:gd name="connsiteY4" fmla="*/ 0 h 5139159"/>
              <a:gd name="connsiteX0" fmla="*/ 0 w 11658600"/>
              <a:gd name="connsiteY0" fmla="*/ 0 h 5139159"/>
              <a:gd name="connsiteX1" fmla="*/ 11658600 w 11658600"/>
              <a:gd name="connsiteY1" fmla="*/ 0 h 5139159"/>
              <a:gd name="connsiteX2" fmla="*/ 11658600 w 11658600"/>
              <a:gd name="connsiteY2" fmla="*/ 5139159 h 5139159"/>
              <a:gd name="connsiteX3" fmla="*/ 0 w 11658600"/>
              <a:gd name="connsiteY3" fmla="*/ 5139159 h 5139159"/>
              <a:gd name="connsiteX4" fmla="*/ 91440 w 11658600"/>
              <a:gd name="connsiteY4" fmla="*/ 91440 h 5139159"/>
              <a:gd name="connsiteX0" fmla="*/ 0 w 11658600"/>
              <a:gd name="connsiteY0" fmla="*/ 0 h 5139159"/>
              <a:gd name="connsiteX1" fmla="*/ 11658600 w 11658600"/>
              <a:gd name="connsiteY1" fmla="*/ 0 h 5139159"/>
              <a:gd name="connsiteX2" fmla="*/ 11658600 w 11658600"/>
              <a:gd name="connsiteY2" fmla="*/ 5139159 h 5139159"/>
              <a:gd name="connsiteX3" fmla="*/ 0 w 11658600"/>
              <a:gd name="connsiteY3" fmla="*/ 5139159 h 5139159"/>
              <a:gd name="connsiteX0" fmla="*/ 0 w 11658600"/>
              <a:gd name="connsiteY0" fmla="*/ 0 h 5139159"/>
              <a:gd name="connsiteX1" fmla="*/ 11658600 w 11658600"/>
              <a:gd name="connsiteY1" fmla="*/ 0 h 5139159"/>
              <a:gd name="connsiteX2" fmla="*/ 11658600 w 11658600"/>
              <a:gd name="connsiteY2" fmla="*/ 5139159 h 5139159"/>
              <a:gd name="connsiteX0" fmla="*/ 0 w 0"/>
              <a:gd name="connsiteY0" fmla="*/ 0 h 5139159"/>
              <a:gd name="connsiteX1" fmla="*/ 0 w 0"/>
              <a:gd name="connsiteY1" fmla="*/ 5139159 h 5139159"/>
            </a:gdLst>
            <a:ahLst/>
            <a:cxnLst>
              <a:cxn ang="0">
                <a:pos x="connsiteX0" y="connsiteY0"/>
              </a:cxn>
              <a:cxn ang="0">
                <a:pos x="connsiteX1" y="connsiteY1"/>
              </a:cxn>
            </a:cxnLst>
            <a:rect l="l" t="t" r="r" b="b"/>
            <a:pathLst>
              <a:path h="5139159">
                <a:moveTo>
                  <a:pt x="0" y="0"/>
                </a:moveTo>
                <a:lnTo>
                  <a:pt x="0" y="5139159"/>
                </a:lnTo>
              </a:path>
            </a:pathLst>
          </a:custGeom>
          <a:noFill/>
          <a:ln w="63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BA84DD61-A363-4D3E-B4A3-F1CA2109B441}"/>
              </a:ext>
            </a:extLst>
          </p:cNvPr>
          <p:cNvSpPr/>
          <p:nvPr/>
        </p:nvSpPr>
        <p:spPr>
          <a:xfrm>
            <a:off x="10412694" y="1517905"/>
            <a:ext cx="1570916" cy="1570914"/>
          </a:xfrm>
          <a:prstGeom prst="ellipse">
            <a:avLst/>
          </a:prstGeom>
          <a:solidFill>
            <a:schemeClr val="bg2"/>
          </a:solidFill>
          <a:ln w="63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6" name="Group 25">
            <a:extLst>
              <a:ext uri="{FF2B5EF4-FFF2-40B4-BE49-F238E27FC236}">
                <a16:creationId xmlns:a16="http://schemas.microsoft.com/office/drawing/2014/main" id="{692672DE-0CD4-44DB-887F-A87D4FDF5866}"/>
              </a:ext>
            </a:extLst>
          </p:cNvPr>
          <p:cNvGrpSpPr/>
          <p:nvPr/>
        </p:nvGrpSpPr>
        <p:grpSpPr>
          <a:xfrm>
            <a:off x="1834734" y="2194560"/>
            <a:ext cx="509004" cy="509004"/>
            <a:chOff x="987706" y="2608489"/>
            <a:chExt cx="1038422" cy="1038422"/>
          </a:xfrm>
        </p:grpSpPr>
        <p:sp>
          <p:nvSpPr>
            <p:cNvPr id="27" name="Oval 26">
              <a:extLst>
                <a:ext uri="{FF2B5EF4-FFF2-40B4-BE49-F238E27FC236}">
                  <a16:creationId xmlns:a16="http://schemas.microsoft.com/office/drawing/2014/main" id="{5DCEA5DC-05F5-42E4-8578-19A77570D046}"/>
                </a:ext>
              </a:extLst>
            </p:cNvPr>
            <p:cNvSpPr/>
            <p:nvPr/>
          </p:nvSpPr>
          <p:spPr>
            <a:xfrm>
              <a:off x="987706" y="2608489"/>
              <a:ext cx="1038422" cy="1038422"/>
            </a:xfrm>
            <a:prstGeom prst="ellipse">
              <a:avLst/>
            </a:prstGeom>
            <a:pattFill prst="wdUpDiag">
              <a:fgClr>
                <a:schemeClr val="accent1">
                  <a:lumMod val="40000"/>
                  <a:lumOff val="60000"/>
                </a:schemeClr>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28" name="Oval 27">
              <a:extLst>
                <a:ext uri="{FF2B5EF4-FFF2-40B4-BE49-F238E27FC236}">
                  <a16:creationId xmlns:a16="http://schemas.microsoft.com/office/drawing/2014/main" id="{4036DB42-B9B6-4621-A175-9EFE2E013ECE}"/>
                </a:ext>
              </a:extLst>
            </p:cNvPr>
            <p:cNvSpPr/>
            <p:nvPr/>
          </p:nvSpPr>
          <p:spPr>
            <a:xfrm>
              <a:off x="1097280" y="2718063"/>
              <a:ext cx="928848" cy="928848"/>
            </a:xfrm>
            <a:prstGeom prst="ellipse">
              <a:avLst/>
            </a:prstGeom>
            <a:solidFill>
              <a:schemeClr val="accent1">
                <a:lumMod val="75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solidFill>
                  <a:schemeClr val="bg2"/>
                </a:solidFill>
              </a:endParaRPr>
            </a:p>
          </p:txBody>
        </p:sp>
      </p:grpSp>
      <p:cxnSp>
        <p:nvCxnSpPr>
          <p:cNvPr id="35" name="Straight Connector 34">
            <a:extLst>
              <a:ext uri="{FF2B5EF4-FFF2-40B4-BE49-F238E27FC236}">
                <a16:creationId xmlns:a16="http://schemas.microsoft.com/office/drawing/2014/main" id="{340874F0-5652-4805-BD1E-ABF19A52586D}"/>
              </a:ext>
            </a:extLst>
          </p:cNvPr>
          <p:cNvCxnSpPr>
            <a:cxnSpLocks/>
          </p:cNvCxnSpPr>
          <p:nvPr/>
        </p:nvCxnSpPr>
        <p:spPr>
          <a:xfrm>
            <a:off x="0" y="6086004"/>
            <a:ext cx="10607886" cy="0"/>
          </a:xfrm>
          <a:prstGeom prst="line">
            <a:avLst/>
          </a:prstGeom>
          <a:ln w="127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292867B-3A84-4E04-918A-C3502237E9A1}"/>
              </a:ext>
            </a:extLst>
          </p:cNvPr>
          <p:cNvGrpSpPr/>
          <p:nvPr/>
        </p:nvGrpSpPr>
        <p:grpSpPr>
          <a:xfrm>
            <a:off x="5211124" y="2194560"/>
            <a:ext cx="509004" cy="509004"/>
            <a:chOff x="987706" y="2608489"/>
            <a:chExt cx="1038422" cy="1038422"/>
          </a:xfrm>
        </p:grpSpPr>
        <p:sp>
          <p:nvSpPr>
            <p:cNvPr id="46" name="Oval 45">
              <a:extLst>
                <a:ext uri="{FF2B5EF4-FFF2-40B4-BE49-F238E27FC236}">
                  <a16:creationId xmlns:a16="http://schemas.microsoft.com/office/drawing/2014/main" id="{191D4DCA-7204-4EA4-84FD-413F2392AF5C}"/>
                </a:ext>
              </a:extLst>
            </p:cNvPr>
            <p:cNvSpPr/>
            <p:nvPr/>
          </p:nvSpPr>
          <p:spPr>
            <a:xfrm>
              <a:off x="987706" y="2608489"/>
              <a:ext cx="1038422" cy="1038422"/>
            </a:xfrm>
            <a:prstGeom prst="ellipse">
              <a:avLst/>
            </a:prstGeom>
            <a:pattFill prst="wdUpDiag">
              <a:fgClr>
                <a:schemeClr val="accent1">
                  <a:lumMod val="40000"/>
                  <a:lumOff val="60000"/>
                </a:schemeClr>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47" name="Oval 46">
              <a:extLst>
                <a:ext uri="{FF2B5EF4-FFF2-40B4-BE49-F238E27FC236}">
                  <a16:creationId xmlns:a16="http://schemas.microsoft.com/office/drawing/2014/main" id="{964097F9-2F64-443C-A6EF-2E185DFA5B5A}"/>
                </a:ext>
              </a:extLst>
            </p:cNvPr>
            <p:cNvSpPr/>
            <p:nvPr/>
          </p:nvSpPr>
          <p:spPr>
            <a:xfrm>
              <a:off x="1097280" y="2718063"/>
              <a:ext cx="928848" cy="928848"/>
            </a:xfrm>
            <a:prstGeom prst="ellipse">
              <a:avLst/>
            </a:prstGeom>
            <a:solidFill>
              <a:schemeClr val="accent1">
                <a:lumMod val="75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solidFill>
                  <a:schemeClr val="bg2"/>
                </a:solidFill>
              </a:endParaRPr>
            </a:p>
          </p:txBody>
        </p:sp>
      </p:grpSp>
      <p:grpSp>
        <p:nvGrpSpPr>
          <p:cNvPr id="48" name="Group 47">
            <a:extLst>
              <a:ext uri="{FF2B5EF4-FFF2-40B4-BE49-F238E27FC236}">
                <a16:creationId xmlns:a16="http://schemas.microsoft.com/office/drawing/2014/main" id="{AEADCE96-D472-4D10-9414-CBE50C134BDD}"/>
              </a:ext>
            </a:extLst>
          </p:cNvPr>
          <p:cNvGrpSpPr/>
          <p:nvPr/>
        </p:nvGrpSpPr>
        <p:grpSpPr>
          <a:xfrm>
            <a:off x="8587513" y="2194560"/>
            <a:ext cx="509004" cy="509004"/>
            <a:chOff x="987706" y="2608489"/>
            <a:chExt cx="1038422" cy="1038422"/>
          </a:xfrm>
        </p:grpSpPr>
        <p:sp>
          <p:nvSpPr>
            <p:cNvPr id="49" name="Oval 48">
              <a:extLst>
                <a:ext uri="{FF2B5EF4-FFF2-40B4-BE49-F238E27FC236}">
                  <a16:creationId xmlns:a16="http://schemas.microsoft.com/office/drawing/2014/main" id="{361C9A13-0D9C-40F6-9E95-FB6EFB2F7647}"/>
                </a:ext>
              </a:extLst>
            </p:cNvPr>
            <p:cNvSpPr/>
            <p:nvPr/>
          </p:nvSpPr>
          <p:spPr>
            <a:xfrm>
              <a:off x="987706" y="2608489"/>
              <a:ext cx="1038422" cy="1038422"/>
            </a:xfrm>
            <a:prstGeom prst="ellipse">
              <a:avLst/>
            </a:prstGeom>
            <a:pattFill prst="wdUpDiag">
              <a:fgClr>
                <a:schemeClr val="accent1">
                  <a:lumMod val="40000"/>
                  <a:lumOff val="60000"/>
                </a:schemeClr>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50" name="Oval 49">
              <a:extLst>
                <a:ext uri="{FF2B5EF4-FFF2-40B4-BE49-F238E27FC236}">
                  <a16:creationId xmlns:a16="http://schemas.microsoft.com/office/drawing/2014/main" id="{CB9C09A7-0EB3-492A-B485-89327FA82DC3}"/>
                </a:ext>
              </a:extLst>
            </p:cNvPr>
            <p:cNvSpPr/>
            <p:nvPr/>
          </p:nvSpPr>
          <p:spPr>
            <a:xfrm>
              <a:off x="1097280" y="2718063"/>
              <a:ext cx="928848" cy="928848"/>
            </a:xfrm>
            <a:prstGeom prst="ellipse">
              <a:avLst/>
            </a:prstGeom>
            <a:solidFill>
              <a:schemeClr val="accent1">
                <a:lumMod val="75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solidFill>
                  <a:schemeClr val="bg2"/>
                </a:solidFill>
              </a:endParaRPr>
            </a:p>
          </p:txBody>
        </p:sp>
      </p:grpSp>
      <p:grpSp>
        <p:nvGrpSpPr>
          <p:cNvPr id="65" name="Group 64">
            <a:extLst>
              <a:ext uri="{FF2B5EF4-FFF2-40B4-BE49-F238E27FC236}">
                <a16:creationId xmlns:a16="http://schemas.microsoft.com/office/drawing/2014/main" id="{2E79F595-6731-497A-9D6B-DEF5EC7651CD}"/>
              </a:ext>
            </a:extLst>
          </p:cNvPr>
          <p:cNvGrpSpPr/>
          <p:nvPr/>
        </p:nvGrpSpPr>
        <p:grpSpPr>
          <a:xfrm>
            <a:off x="10607886" y="5385397"/>
            <a:ext cx="697419" cy="799258"/>
            <a:chOff x="14183664" y="221508"/>
            <a:chExt cx="1531860" cy="1755547"/>
          </a:xfrm>
        </p:grpSpPr>
        <p:sp>
          <p:nvSpPr>
            <p:cNvPr id="66" name="Oval 65">
              <a:extLst>
                <a:ext uri="{FF2B5EF4-FFF2-40B4-BE49-F238E27FC236}">
                  <a16:creationId xmlns:a16="http://schemas.microsoft.com/office/drawing/2014/main" id="{1973B476-0AEE-4829-B781-8B55BCECF298}"/>
                </a:ext>
              </a:extLst>
            </p:cNvPr>
            <p:cNvSpPr/>
            <p:nvPr/>
          </p:nvSpPr>
          <p:spPr>
            <a:xfrm>
              <a:off x="14183664" y="1637009"/>
              <a:ext cx="246724" cy="246724"/>
            </a:xfrm>
            <a:prstGeom prst="ellipse">
              <a:avLst/>
            </a:prstGeom>
            <a:solidFill>
              <a:srgbClr val="00BCEB">
                <a:lumMod val="50000"/>
              </a:srgbClr>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7" name="Freeform: Shape 66">
              <a:extLst>
                <a:ext uri="{FF2B5EF4-FFF2-40B4-BE49-F238E27FC236}">
                  <a16:creationId xmlns:a16="http://schemas.microsoft.com/office/drawing/2014/main" id="{BDE145F2-ACB8-4F68-98D1-D9971CBA136C}"/>
                </a:ext>
              </a:extLst>
            </p:cNvPr>
            <p:cNvSpPr/>
            <p:nvPr/>
          </p:nvSpPr>
          <p:spPr>
            <a:xfrm>
              <a:off x="15282156" y="221508"/>
              <a:ext cx="433368" cy="433368"/>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rgbClr val="00BCEB">
                <a:lumMod val="50000"/>
              </a:srgbClr>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8" name="Rectangle: Rounded Corners 67">
              <a:extLst>
                <a:ext uri="{FF2B5EF4-FFF2-40B4-BE49-F238E27FC236}">
                  <a16:creationId xmlns:a16="http://schemas.microsoft.com/office/drawing/2014/main" id="{89567A64-6FCF-4F41-8008-C71F1A09F729}"/>
                </a:ext>
              </a:extLst>
            </p:cNvPr>
            <p:cNvSpPr/>
            <p:nvPr/>
          </p:nvSpPr>
          <p:spPr>
            <a:xfrm>
              <a:off x="15434070" y="403220"/>
              <a:ext cx="129540" cy="1463040"/>
            </a:xfrm>
            <a:prstGeom prst="roundRect">
              <a:avLst>
                <a:gd name="adj" fmla="val 50000"/>
              </a:avLst>
            </a:prstGeom>
            <a:solidFill>
              <a:srgbClr val="00BCEB">
                <a:lumMod val="75000"/>
              </a:srgbClr>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9" name="Freeform: Shape 68">
              <a:extLst>
                <a:ext uri="{FF2B5EF4-FFF2-40B4-BE49-F238E27FC236}">
                  <a16:creationId xmlns:a16="http://schemas.microsoft.com/office/drawing/2014/main" id="{DDE49729-5E08-49B9-AF5E-078FE663DAD0}"/>
                </a:ext>
              </a:extLst>
            </p:cNvPr>
            <p:cNvSpPr/>
            <p:nvPr/>
          </p:nvSpPr>
          <p:spPr>
            <a:xfrm>
              <a:off x="15282156" y="1543687"/>
              <a:ext cx="433368" cy="433368"/>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rgbClr val="00BCEB">
                <a:lumMod val="50000"/>
              </a:srgbClr>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0" name="Rectangle: Rounded Corners 69">
              <a:extLst>
                <a:ext uri="{FF2B5EF4-FFF2-40B4-BE49-F238E27FC236}">
                  <a16:creationId xmlns:a16="http://schemas.microsoft.com/office/drawing/2014/main" id="{A28C81FA-9C10-4A4E-85E1-C055249A5FD1}"/>
                </a:ext>
              </a:extLst>
            </p:cNvPr>
            <p:cNvSpPr/>
            <p:nvPr/>
          </p:nvSpPr>
          <p:spPr>
            <a:xfrm>
              <a:off x="14296386" y="1696363"/>
              <a:ext cx="1184910" cy="128016"/>
            </a:xfrm>
            <a:prstGeom prst="roundRect">
              <a:avLst>
                <a:gd name="adj" fmla="val 50000"/>
              </a:avLst>
            </a:prstGeom>
            <a:solidFill>
              <a:srgbClr val="00BCEB"/>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71" name="Oval 70">
              <a:extLst>
                <a:ext uri="{FF2B5EF4-FFF2-40B4-BE49-F238E27FC236}">
                  <a16:creationId xmlns:a16="http://schemas.microsoft.com/office/drawing/2014/main" id="{2E31B91D-D5C1-46FA-9B0E-E1B741D48D30}"/>
                </a:ext>
              </a:extLst>
            </p:cNvPr>
            <p:cNvSpPr/>
            <p:nvPr/>
          </p:nvSpPr>
          <p:spPr>
            <a:xfrm>
              <a:off x="15375478" y="1637009"/>
              <a:ext cx="246724" cy="246724"/>
            </a:xfrm>
            <a:prstGeom prst="ellipse">
              <a:avLst/>
            </a:prstGeom>
            <a:solidFill>
              <a:srgbClr val="00BCEB">
                <a:lumMod val="75000"/>
              </a:srgbClr>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grpSp>
        <p:nvGrpSpPr>
          <p:cNvPr id="96" name="Group 95">
            <a:extLst>
              <a:ext uri="{FF2B5EF4-FFF2-40B4-BE49-F238E27FC236}">
                <a16:creationId xmlns:a16="http://schemas.microsoft.com/office/drawing/2014/main" id="{926FA459-B37A-45DD-99F8-93E6E647F4E7}"/>
              </a:ext>
            </a:extLst>
          </p:cNvPr>
          <p:cNvGrpSpPr/>
          <p:nvPr/>
        </p:nvGrpSpPr>
        <p:grpSpPr>
          <a:xfrm>
            <a:off x="2207617" y="3558197"/>
            <a:ext cx="504118" cy="577731"/>
            <a:chOff x="14183664" y="221508"/>
            <a:chExt cx="1531860" cy="1755547"/>
          </a:xfrm>
        </p:grpSpPr>
        <p:sp>
          <p:nvSpPr>
            <p:cNvPr id="97" name="Oval 96">
              <a:extLst>
                <a:ext uri="{FF2B5EF4-FFF2-40B4-BE49-F238E27FC236}">
                  <a16:creationId xmlns:a16="http://schemas.microsoft.com/office/drawing/2014/main" id="{72E96B54-996C-468E-9BE2-CBB254090882}"/>
                </a:ext>
              </a:extLst>
            </p:cNvPr>
            <p:cNvSpPr/>
            <p:nvPr/>
          </p:nvSpPr>
          <p:spPr>
            <a:xfrm>
              <a:off x="14183664" y="1637009"/>
              <a:ext cx="246724" cy="246724"/>
            </a:xfrm>
            <a:prstGeom prst="ellipse">
              <a:avLst/>
            </a:prstGeom>
            <a:solidFill>
              <a:srgbClr val="74BF4B"/>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98" name="Freeform: Shape 97">
              <a:extLst>
                <a:ext uri="{FF2B5EF4-FFF2-40B4-BE49-F238E27FC236}">
                  <a16:creationId xmlns:a16="http://schemas.microsoft.com/office/drawing/2014/main" id="{2A297BED-6BB6-4580-8D9D-5A99F8DFDC5D}"/>
                </a:ext>
              </a:extLst>
            </p:cNvPr>
            <p:cNvSpPr/>
            <p:nvPr/>
          </p:nvSpPr>
          <p:spPr>
            <a:xfrm>
              <a:off x="15282156" y="221508"/>
              <a:ext cx="433368" cy="433368"/>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rgbClr val="74BF4B">
                <a:lumMod val="75000"/>
              </a:srgbClr>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9" name="Rectangle: Rounded Corners 98">
              <a:extLst>
                <a:ext uri="{FF2B5EF4-FFF2-40B4-BE49-F238E27FC236}">
                  <a16:creationId xmlns:a16="http://schemas.microsoft.com/office/drawing/2014/main" id="{2B17D973-5035-425B-8E85-64B594B2D9DF}"/>
                </a:ext>
              </a:extLst>
            </p:cNvPr>
            <p:cNvSpPr/>
            <p:nvPr/>
          </p:nvSpPr>
          <p:spPr>
            <a:xfrm>
              <a:off x="15434070" y="403220"/>
              <a:ext cx="129540" cy="1463040"/>
            </a:xfrm>
            <a:prstGeom prst="roundRect">
              <a:avLst>
                <a:gd name="adj" fmla="val 50000"/>
              </a:avLst>
            </a:prstGeom>
            <a:solidFill>
              <a:srgbClr val="74BF4B"/>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0" name="Freeform: Shape 99">
              <a:extLst>
                <a:ext uri="{FF2B5EF4-FFF2-40B4-BE49-F238E27FC236}">
                  <a16:creationId xmlns:a16="http://schemas.microsoft.com/office/drawing/2014/main" id="{E6EF5B67-AEED-4086-85F8-51B2A5EBCC2D}"/>
                </a:ext>
              </a:extLst>
            </p:cNvPr>
            <p:cNvSpPr/>
            <p:nvPr/>
          </p:nvSpPr>
          <p:spPr>
            <a:xfrm>
              <a:off x="15282156" y="1543687"/>
              <a:ext cx="433368" cy="433368"/>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rgbClr val="74BF4B"/>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1" name="Rectangle: Rounded Corners 100">
              <a:extLst>
                <a:ext uri="{FF2B5EF4-FFF2-40B4-BE49-F238E27FC236}">
                  <a16:creationId xmlns:a16="http://schemas.microsoft.com/office/drawing/2014/main" id="{1BE20A72-1AC9-41A1-BE79-975B088406F7}"/>
                </a:ext>
              </a:extLst>
            </p:cNvPr>
            <p:cNvSpPr/>
            <p:nvPr/>
          </p:nvSpPr>
          <p:spPr>
            <a:xfrm>
              <a:off x="14296386" y="1696363"/>
              <a:ext cx="1184910" cy="128016"/>
            </a:xfrm>
            <a:prstGeom prst="roundRect">
              <a:avLst>
                <a:gd name="adj" fmla="val 50000"/>
              </a:avLst>
            </a:prstGeom>
            <a:solidFill>
              <a:srgbClr val="74BF4B">
                <a:lumMod val="75000"/>
              </a:srgbClr>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2" name="Oval 101">
              <a:extLst>
                <a:ext uri="{FF2B5EF4-FFF2-40B4-BE49-F238E27FC236}">
                  <a16:creationId xmlns:a16="http://schemas.microsoft.com/office/drawing/2014/main" id="{D2FB9D54-8759-4CEF-9BCC-51824E1E0B61}"/>
                </a:ext>
              </a:extLst>
            </p:cNvPr>
            <p:cNvSpPr/>
            <p:nvPr/>
          </p:nvSpPr>
          <p:spPr>
            <a:xfrm>
              <a:off x="15375478" y="1637009"/>
              <a:ext cx="246724" cy="246724"/>
            </a:xfrm>
            <a:prstGeom prst="ellipse">
              <a:avLst/>
            </a:prstGeom>
            <a:solidFill>
              <a:srgbClr val="74BF4B"/>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grpSp>
        <p:nvGrpSpPr>
          <p:cNvPr id="110" name="Group 109">
            <a:extLst>
              <a:ext uri="{FF2B5EF4-FFF2-40B4-BE49-F238E27FC236}">
                <a16:creationId xmlns:a16="http://schemas.microsoft.com/office/drawing/2014/main" id="{C7A30D3C-DDE7-49BE-AF1D-B0EAB2BD3E44}"/>
              </a:ext>
            </a:extLst>
          </p:cNvPr>
          <p:cNvGrpSpPr/>
          <p:nvPr/>
        </p:nvGrpSpPr>
        <p:grpSpPr>
          <a:xfrm>
            <a:off x="1431080" y="3744998"/>
            <a:ext cx="1155088" cy="240883"/>
            <a:chOff x="3146881" y="5202402"/>
            <a:chExt cx="1974842" cy="411836"/>
          </a:xfrm>
        </p:grpSpPr>
        <p:grpSp>
          <p:nvGrpSpPr>
            <p:cNvPr id="111" name="Group 110">
              <a:extLst>
                <a:ext uri="{FF2B5EF4-FFF2-40B4-BE49-F238E27FC236}">
                  <a16:creationId xmlns:a16="http://schemas.microsoft.com/office/drawing/2014/main" id="{D3088B41-1D50-4FF6-A3E1-C670A0C37129}"/>
                </a:ext>
              </a:extLst>
            </p:cNvPr>
            <p:cNvGrpSpPr/>
            <p:nvPr/>
          </p:nvGrpSpPr>
          <p:grpSpPr>
            <a:xfrm>
              <a:off x="4281793" y="5202402"/>
              <a:ext cx="839930" cy="237721"/>
              <a:chOff x="1310189" y="4421449"/>
              <a:chExt cx="839930" cy="237721"/>
            </a:xfrm>
          </p:grpSpPr>
          <p:sp>
            <p:nvSpPr>
              <p:cNvPr id="115" name="Freeform: Shape 114">
                <a:extLst>
                  <a:ext uri="{FF2B5EF4-FFF2-40B4-BE49-F238E27FC236}">
                    <a16:creationId xmlns:a16="http://schemas.microsoft.com/office/drawing/2014/main" id="{C7EF0C69-BE06-4538-B93A-675F4A2A036D}"/>
                  </a:ext>
                </a:extLst>
              </p:cNvPr>
              <p:cNvSpPr/>
              <p:nvPr/>
            </p:nvSpPr>
            <p:spPr>
              <a:xfrm flipH="1">
                <a:off x="1484969" y="4613450"/>
                <a:ext cx="665150" cy="45720"/>
              </a:xfrm>
              <a:custGeom>
                <a:avLst/>
                <a:gdLst>
                  <a:gd name="connsiteX0" fmla="*/ 22860 w 665150"/>
                  <a:gd name="connsiteY0" fmla="*/ 0 h 45720"/>
                  <a:gd name="connsiteX1" fmla="*/ 0 w 665150"/>
                  <a:gd name="connsiteY1" fmla="*/ 22860 h 45720"/>
                  <a:gd name="connsiteX2" fmla="*/ 22860 w 665150"/>
                  <a:gd name="connsiteY2" fmla="*/ 45720 h 45720"/>
                  <a:gd name="connsiteX3" fmla="*/ 45720 w 665150"/>
                  <a:gd name="connsiteY3" fmla="*/ 22860 h 45720"/>
                  <a:gd name="connsiteX4" fmla="*/ 22860 w 665150"/>
                  <a:gd name="connsiteY4" fmla="*/ 0 h 45720"/>
                  <a:gd name="connsiteX5" fmla="*/ 100287 w 665150"/>
                  <a:gd name="connsiteY5" fmla="*/ 0 h 45720"/>
                  <a:gd name="connsiteX6" fmla="*/ 77427 w 665150"/>
                  <a:gd name="connsiteY6" fmla="*/ 22860 h 45720"/>
                  <a:gd name="connsiteX7" fmla="*/ 100287 w 665150"/>
                  <a:gd name="connsiteY7" fmla="*/ 45720 h 45720"/>
                  <a:gd name="connsiteX8" fmla="*/ 123147 w 665150"/>
                  <a:gd name="connsiteY8" fmla="*/ 22860 h 45720"/>
                  <a:gd name="connsiteX9" fmla="*/ 100287 w 665150"/>
                  <a:gd name="connsiteY9" fmla="*/ 0 h 45720"/>
                  <a:gd name="connsiteX10" fmla="*/ 177716 w 665150"/>
                  <a:gd name="connsiteY10" fmla="*/ 0 h 45720"/>
                  <a:gd name="connsiteX11" fmla="*/ 154856 w 665150"/>
                  <a:gd name="connsiteY11" fmla="*/ 22860 h 45720"/>
                  <a:gd name="connsiteX12" fmla="*/ 177716 w 665150"/>
                  <a:gd name="connsiteY12" fmla="*/ 45720 h 45720"/>
                  <a:gd name="connsiteX13" fmla="*/ 200576 w 665150"/>
                  <a:gd name="connsiteY13" fmla="*/ 22860 h 45720"/>
                  <a:gd name="connsiteX14" fmla="*/ 177716 w 665150"/>
                  <a:gd name="connsiteY14" fmla="*/ 0 h 45720"/>
                  <a:gd name="connsiteX15" fmla="*/ 255145 w 665150"/>
                  <a:gd name="connsiteY15" fmla="*/ 0 h 45720"/>
                  <a:gd name="connsiteX16" fmla="*/ 232285 w 665150"/>
                  <a:gd name="connsiteY16" fmla="*/ 22860 h 45720"/>
                  <a:gd name="connsiteX17" fmla="*/ 255145 w 665150"/>
                  <a:gd name="connsiteY17" fmla="*/ 45720 h 45720"/>
                  <a:gd name="connsiteX18" fmla="*/ 278005 w 665150"/>
                  <a:gd name="connsiteY18" fmla="*/ 22860 h 45720"/>
                  <a:gd name="connsiteX19" fmla="*/ 255145 w 665150"/>
                  <a:gd name="connsiteY19" fmla="*/ 0 h 45720"/>
                  <a:gd name="connsiteX20" fmla="*/ 332574 w 665150"/>
                  <a:gd name="connsiteY20" fmla="*/ 0 h 45720"/>
                  <a:gd name="connsiteX21" fmla="*/ 309714 w 665150"/>
                  <a:gd name="connsiteY21" fmla="*/ 22860 h 45720"/>
                  <a:gd name="connsiteX22" fmla="*/ 332574 w 665150"/>
                  <a:gd name="connsiteY22" fmla="*/ 45720 h 45720"/>
                  <a:gd name="connsiteX23" fmla="*/ 355434 w 665150"/>
                  <a:gd name="connsiteY23" fmla="*/ 22860 h 45720"/>
                  <a:gd name="connsiteX24" fmla="*/ 332574 w 665150"/>
                  <a:gd name="connsiteY24" fmla="*/ 0 h 45720"/>
                  <a:gd name="connsiteX25" fmla="*/ 410003 w 665150"/>
                  <a:gd name="connsiteY25" fmla="*/ 0 h 45720"/>
                  <a:gd name="connsiteX26" fmla="*/ 387143 w 665150"/>
                  <a:gd name="connsiteY26" fmla="*/ 22860 h 45720"/>
                  <a:gd name="connsiteX27" fmla="*/ 410003 w 665150"/>
                  <a:gd name="connsiteY27" fmla="*/ 45720 h 45720"/>
                  <a:gd name="connsiteX28" fmla="*/ 432863 w 665150"/>
                  <a:gd name="connsiteY28" fmla="*/ 22860 h 45720"/>
                  <a:gd name="connsiteX29" fmla="*/ 410003 w 665150"/>
                  <a:gd name="connsiteY29" fmla="*/ 0 h 45720"/>
                  <a:gd name="connsiteX30" fmla="*/ 487432 w 665150"/>
                  <a:gd name="connsiteY30" fmla="*/ 0 h 45720"/>
                  <a:gd name="connsiteX31" fmla="*/ 464572 w 665150"/>
                  <a:gd name="connsiteY31" fmla="*/ 22860 h 45720"/>
                  <a:gd name="connsiteX32" fmla="*/ 487432 w 665150"/>
                  <a:gd name="connsiteY32" fmla="*/ 45720 h 45720"/>
                  <a:gd name="connsiteX33" fmla="*/ 510292 w 665150"/>
                  <a:gd name="connsiteY33" fmla="*/ 22860 h 45720"/>
                  <a:gd name="connsiteX34" fmla="*/ 487432 w 665150"/>
                  <a:gd name="connsiteY34" fmla="*/ 0 h 45720"/>
                  <a:gd name="connsiteX35" fmla="*/ 564861 w 665150"/>
                  <a:gd name="connsiteY35" fmla="*/ 0 h 45720"/>
                  <a:gd name="connsiteX36" fmla="*/ 542001 w 665150"/>
                  <a:gd name="connsiteY36" fmla="*/ 22860 h 45720"/>
                  <a:gd name="connsiteX37" fmla="*/ 564861 w 665150"/>
                  <a:gd name="connsiteY37" fmla="*/ 45720 h 45720"/>
                  <a:gd name="connsiteX38" fmla="*/ 587721 w 665150"/>
                  <a:gd name="connsiteY38" fmla="*/ 22860 h 45720"/>
                  <a:gd name="connsiteX39" fmla="*/ 564861 w 665150"/>
                  <a:gd name="connsiteY39" fmla="*/ 0 h 45720"/>
                  <a:gd name="connsiteX40" fmla="*/ 642290 w 665150"/>
                  <a:gd name="connsiteY40" fmla="*/ 0 h 45720"/>
                  <a:gd name="connsiteX41" fmla="*/ 619430 w 665150"/>
                  <a:gd name="connsiteY41" fmla="*/ 22860 h 45720"/>
                  <a:gd name="connsiteX42" fmla="*/ 642290 w 665150"/>
                  <a:gd name="connsiteY42" fmla="*/ 45720 h 45720"/>
                  <a:gd name="connsiteX43" fmla="*/ 665150 w 665150"/>
                  <a:gd name="connsiteY43" fmla="*/ 22860 h 45720"/>
                  <a:gd name="connsiteX44" fmla="*/ 642290 w 665150"/>
                  <a:gd name="connsiteY44" fmla="*/ 0 h 4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65150" h="45720">
                    <a:moveTo>
                      <a:pt x="22860" y="0"/>
                    </a:moveTo>
                    <a:cubicBezTo>
                      <a:pt x="10235" y="0"/>
                      <a:pt x="0" y="10235"/>
                      <a:pt x="0" y="22860"/>
                    </a:cubicBezTo>
                    <a:cubicBezTo>
                      <a:pt x="0" y="35485"/>
                      <a:pt x="10235" y="45720"/>
                      <a:pt x="22860" y="45720"/>
                    </a:cubicBezTo>
                    <a:cubicBezTo>
                      <a:pt x="35485" y="45720"/>
                      <a:pt x="45720" y="35485"/>
                      <a:pt x="45720" y="22860"/>
                    </a:cubicBezTo>
                    <a:cubicBezTo>
                      <a:pt x="45720" y="10235"/>
                      <a:pt x="35485" y="0"/>
                      <a:pt x="22860" y="0"/>
                    </a:cubicBezTo>
                    <a:close/>
                    <a:moveTo>
                      <a:pt x="100287" y="0"/>
                    </a:moveTo>
                    <a:cubicBezTo>
                      <a:pt x="87662" y="0"/>
                      <a:pt x="77427" y="10235"/>
                      <a:pt x="77427" y="22860"/>
                    </a:cubicBezTo>
                    <a:cubicBezTo>
                      <a:pt x="77427" y="35485"/>
                      <a:pt x="87662" y="45720"/>
                      <a:pt x="100287" y="45720"/>
                    </a:cubicBezTo>
                    <a:cubicBezTo>
                      <a:pt x="112912" y="45720"/>
                      <a:pt x="123147" y="35485"/>
                      <a:pt x="123147" y="22860"/>
                    </a:cubicBezTo>
                    <a:cubicBezTo>
                      <a:pt x="123147" y="10235"/>
                      <a:pt x="112912" y="0"/>
                      <a:pt x="100287" y="0"/>
                    </a:cubicBezTo>
                    <a:close/>
                    <a:moveTo>
                      <a:pt x="177716" y="0"/>
                    </a:moveTo>
                    <a:cubicBezTo>
                      <a:pt x="165091" y="0"/>
                      <a:pt x="154856" y="10235"/>
                      <a:pt x="154856" y="22860"/>
                    </a:cubicBezTo>
                    <a:cubicBezTo>
                      <a:pt x="154856" y="35485"/>
                      <a:pt x="165091" y="45720"/>
                      <a:pt x="177716" y="45720"/>
                    </a:cubicBezTo>
                    <a:cubicBezTo>
                      <a:pt x="190341" y="45720"/>
                      <a:pt x="200576" y="35485"/>
                      <a:pt x="200576" y="22860"/>
                    </a:cubicBezTo>
                    <a:cubicBezTo>
                      <a:pt x="200576" y="10235"/>
                      <a:pt x="190341" y="0"/>
                      <a:pt x="177716" y="0"/>
                    </a:cubicBezTo>
                    <a:close/>
                    <a:moveTo>
                      <a:pt x="255145" y="0"/>
                    </a:moveTo>
                    <a:cubicBezTo>
                      <a:pt x="242520" y="0"/>
                      <a:pt x="232285" y="10235"/>
                      <a:pt x="232285" y="22860"/>
                    </a:cubicBezTo>
                    <a:cubicBezTo>
                      <a:pt x="232285" y="35485"/>
                      <a:pt x="242520" y="45720"/>
                      <a:pt x="255145" y="45720"/>
                    </a:cubicBezTo>
                    <a:cubicBezTo>
                      <a:pt x="267770" y="45720"/>
                      <a:pt x="278005" y="35485"/>
                      <a:pt x="278005" y="22860"/>
                    </a:cubicBezTo>
                    <a:cubicBezTo>
                      <a:pt x="278005" y="10235"/>
                      <a:pt x="267770" y="0"/>
                      <a:pt x="255145" y="0"/>
                    </a:cubicBezTo>
                    <a:close/>
                    <a:moveTo>
                      <a:pt x="332574" y="0"/>
                    </a:moveTo>
                    <a:cubicBezTo>
                      <a:pt x="319949" y="0"/>
                      <a:pt x="309714" y="10235"/>
                      <a:pt x="309714" y="22860"/>
                    </a:cubicBezTo>
                    <a:cubicBezTo>
                      <a:pt x="309714" y="35485"/>
                      <a:pt x="319949" y="45720"/>
                      <a:pt x="332574" y="45720"/>
                    </a:cubicBezTo>
                    <a:cubicBezTo>
                      <a:pt x="345199" y="45720"/>
                      <a:pt x="355434" y="35485"/>
                      <a:pt x="355434" y="22860"/>
                    </a:cubicBezTo>
                    <a:cubicBezTo>
                      <a:pt x="355434" y="10235"/>
                      <a:pt x="345199" y="0"/>
                      <a:pt x="332574" y="0"/>
                    </a:cubicBezTo>
                    <a:close/>
                    <a:moveTo>
                      <a:pt x="410003" y="0"/>
                    </a:moveTo>
                    <a:cubicBezTo>
                      <a:pt x="397378" y="0"/>
                      <a:pt x="387143" y="10235"/>
                      <a:pt x="387143" y="22860"/>
                    </a:cubicBezTo>
                    <a:cubicBezTo>
                      <a:pt x="387143" y="35485"/>
                      <a:pt x="397378" y="45720"/>
                      <a:pt x="410003" y="45720"/>
                    </a:cubicBezTo>
                    <a:cubicBezTo>
                      <a:pt x="422628" y="45720"/>
                      <a:pt x="432863" y="35485"/>
                      <a:pt x="432863" y="22860"/>
                    </a:cubicBezTo>
                    <a:cubicBezTo>
                      <a:pt x="432863" y="10235"/>
                      <a:pt x="422628" y="0"/>
                      <a:pt x="410003" y="0"/>
                    </a:cubicBezTo>
                    <a:close/>
                    <a:moveTo>
                      <a:pt x="487432" y="0"/>
                    </a:moveTo>
                    <a:cubicBezTo>
                      <a:pt x="474807" y="0"/>
                      <a:pt x="464572" y="10235"/>
                      <a:pt x="464572" y="22860"/>
                    </a:cubicBezTo>
                    <a:cubicBezTo>
                      <a:pt x="464572" y="35485"/>
                      <a:pt x="474807" y="45720"/>
                      <a:pt x="487432" y="45720"/>
                    </a:cubicBezTo>
                    <a:cubicBezTo>
                      <a:pt x="500057" y="45720"/>
                      <a:pt x="510292" y="35485"/>
                      <a:pt x="510292" y="22860"/>
                    </a:cubicBezTo>
                    <a:cubicBezTo>
                      <a:pt x="510292" y="10235"/>
                      <a:pt x="500057" y="0"/>
                      <a:pt x="487432" y="0"/>
                    </a:cubicBezTo>
                    <a:close/>
                    <a:moveTo>
                      <a:pt x="564861" y="0"/>
                    </a:moveTo>
                    <a:cubicBezTo>
                      <a:pt x="552236" y="0"/>
                      <a:pt x="542001" y="10235"/>
                      <a:pt x="542001" y="22860"/>
                    </a:cubicBezTo>
                    <a:cubicBezTo>
                      <a:pt x="542001" y="35485"/>
                      <a:pt x="552236" y="45720"/>
                      <a:pt x="564861" y="45720"/>
                    </a:cubicBezTo>
                    <a:cubicBezTo>
                      <a:pt x="577486" y="45720"/>
                      <a:pt x="587721" y="35485"/>
                      <a:pt x="587721" y="22860"/>
                    </a:cubicBezTo>
                    <a:cubicBezTo>
                      <a:pt x="587721" y="10235"/>
                      <a:pt x="577486" y="0"/>
                      <a:pt x="564861" y="0"/>
                    </a:cubicBezTo>
                    <a:close/>
                    <a:moveTo>
                      <a:pt x="642290" y="0"/>
                    </a:moveTo>
                    <a:cubicBezTo>
                      <a:pt x="629665" y="0"/>
                      <a:pt x="619430" y="10235"/>
                      <a:pt x="619430" y="22860"/>
                    </a:cubicBezTo>
                    <a:cubicBezTo>
                      <a:pt x="619430" y="35485"/>
                      <a:pt x="629665" y="45720"/>
                      <a:pt x="642290" y="45720"/>
                    </a:cubicBezTo>
                    <a:cubicBezTo>
                      <a:pt x="654915" y="45720"/>
                      <a:pt x="665150" y="35485"/>
                      <a:pt x="665150" y="22860"/>
                    </a:cubicBezTo>
                    <a:cubicBezTo>
                      <a:pt x="665150" y="10235"/>
                      <a:pt x="654915" y="0"/>
                      <a:pt x="642290" y="0"/>
                    </a:cubicBezTo>
                    <a:close/>
                  </a:path>
                </a:pathLst>
              </a:custGeom>
              <a:gradFill flip="none" rotWithShape="1">
                <a:gsLst>
                  <a:gs pos="0">
                    <a:srgbClr val="1E4471"/>
                  </a:gs>
                  <a:gs pos="100000">
                    <a:srgbClr val="0D274D"/>
                  </a:gs>
                </a:gsLst>
                <a:lin ang="0" scaled="1"/>
                <a:tileRect/>
              </a:gra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116" name="Freeform: Shape 115">
                <a:extLst>
                  <a:ext uri="{FF2B5EF4-FFF2-40B4-BE49-F238E27FC236}">
                    <a16:creationId xmlns:a16="http://schemas.microsoft.com/office/drawing/2014/main" id="{60EC2B96-FA47-4261-85DC-820B52538E32}"/>
                  </a:ext>
                </a:extLst>
              </p:cNvPr>
              <p:cNvSpPr/>
              <p:nvPr/>
            </p:nvSpPr>
            <p:spPr>
              <a:xfrm>
                <a:off x="1310189" y="4421449"/>
                <a:ext cx="804845" cy="55322"/>
              </a:xfrm>
              <a:custGeom>
                <a:avLst/>
                <a:gdLst>
                  <a:gd name="connsiteX0" fmla="*/ 22860 w 665150"/>
                  <a:gd name="connsiteY0" fmla="*/ 0 h 45720"/>
                  <a:gd name="connsiteX1" fmla="*/ 0 w 665150"/>
                  <a:gd name="connsiteY1" fmla="*/ 22860 h 45720"/>
                  <a:gd name="connsiteX2" fmla="*/ 22860 w 665150"/>
                  <a:gd name="connsiteY2" fmla="*/ 45720 h 45720"/>
                  <a:gd name="connsiteX3" fmla="*/ 45720 w 665150"/>
                  <a:gd name="connsiteY3" fmla="*/ 22860 h 45720"/>
                  <a:gd name="connsiteX4" fmla="*/ 22860 w 665150"/>
                  <a:gd name="connsiteY4" fmla="*/ 0 h 45720"/>
                  <a:gd name="connsiteX5" fmla="*/ 100287 w 665150"/>
                  <a:gd name="connsiteY5" fmla="*/ 0 h 45720"/>
                  <a:gd name="connsiteX6" fmla="*/ 77427 w 665150"/>
                  <a:gd name="connsiteY6" fmla="*/ 22860 h 45720"/>
                  <a:gd name="connsiteX7" fmla="*/ 100287 w 665150"/>
                  <a:gd name="connsiteY7" fmla="*/ 45720 h 45720"/>
                  <a:gd name="connsiteX8" fmla="*/ 123147 w 665150"/>
                  <a:gd name="connsiteY8" fmla="*/ 22860 h 45720"/>
                  <a:gd name="connsiteX9" fmla="*/ 100287 w 665150"/>
                  <a:gd name="connsiteY9" fmla="*/ 0 h 45720"/>
                  <a:gd name="connsiteX10" fmla="*/ 177716 w 665150"/>
                  <a:gd name="connsiteY10" fmla="*/ 0 h 45720"/>
                  <a:gd name="connsiteX11" fmla="*/ 154856 w 665150"/>
                  <a:gd name="connsiteY11" fmla="*/ 22860 h 45720"/>
                  <a:gd name="connsiteX12" fmla="*/ 177716 w 665150"/>
                  <a:gd name="connsiteY12" fmla="*/ 45720 h 45720"/>
                  <a:gd name="connsiteX13" fmla="*/ 200576 w 665150"/>
                  <a:gd name="connsiteY13" fmla="*/ 22860 h 45720"/>
                  <a:gd name="connsiteX14" fmla="*/ 177716 w 665150"/>
                  <a:gd name="connsiteY14" fmla="*/ 0 h 45720"/>
                  <a:gd name="connsiteX15" fmla="*/ 255145 w 665150"/>
                  <a:gd name="connsiteY15" fmla="*/ 0 h 45720"/>
                  <a:gd name="connsiteX16" fmla="*/ 232285 w 665150"/>
                  <a:gd name="connsiteY16" fmla="*/ 22860 h 45720"/>
                  <a:gd name="connsiteX17" fmla="*/ 255145 w 665150"/>
                  <a:gd name="connsiteY17" fmla="*/ 45720 h 45720"/>
                  <a:gd name="connsiteX18" fmla="*/ 278005 w 665150"/>
                  <a:gd name="connsiteY18" fmla="*/ 22860 h 45720"/>
                  <a:gd name="connsiteX19" fmla="*/ 255145 w 665150"/>
                  <a:gd name="connsiteY19" fmla="*/ 0 h 45720"/>
                  <a:gd name="connsiteX20" fmla="*/ 332574 w 665150"/>
                  <a:gd name="connsiteY20" fmla="*/ 0 h 45720"/>
                  <a:gd name="connsiteX21" fmla="*/ 309714 w 665150"/>
                  <a:gd name="connsiteY21" fmla="*/ 22860 h 45720"/>
                  <a:gd name="connsiteX22" fmla="*/ 332574 w 665150"/>
                  <a:gd name="connsiteY22" fmla="*/ 45720 h 45720"/>
                  <a:gd name="connsiteX23" fmla="*/ 355434 w 665150"/>
                  <a:gd name="connsiteY23" fmla="*/ 22860 h 45720"/>
                  <a:gd name="connsiteX24" fmla="*/ 332574 w 665150"/>
                  <a:gd name="connsiteY24" fmla="*/ 0 h 45720"/>
                  <a:gd name="connsiteX25" fmla="*/ 410003 w 665150"/>
                  <a:gd name="connsiteY25" fmla="*/ 0 h 45720"/>
                  <a:gd name="connsiteX26" fmla="*/ 387143 w 665150"/>
                  <a:gd name="connsiteY26" fmla="*/ 22860 h 45720"/>
                  <a:gd name="connsiteX27" fmla="*/ 410003 w 665150"/>
                  <a:gd name="connsiteY27" fmla="*/ 45720 h 45720"/>
                  <a:gd name="connsiteX28" fmla="*/ 432863 w 665150"/>
                  <a:gd name="connsiteY28" fmla="*/ 22860 h 45720"/>
                  <a:gd name="connsiteX29" fmla="*/ 410003 w 665150"/>
                  <a:gd name="connsiteY29" fmla="*/ 0 h 45720"/>
                  <a:gd name="connsiteX30" fmla="*/ 487432 w 665150"/>
                  <a:gd name="connsiteY30" fmla="*/ 0 h 45720"/>
                  <a:gd name="connsiteX31" fmla="*/ 464572 w 665150"/>
                  <a:gd name="connsiteY31" fmla="*/ 22860 h 45720"/>
                  <a:gd name="connsiteX32" fmla="*/ 487432 w 665150"/>
                  <a:gd name="connsiteY32" fmla="*/ 45720 h 45720"/>
                  <a:gd name="connsiteX33" fmla="*/ 510292 w 665150"/>
                  <a:gd name="connsiteY33" fmla="*/ 22860 h 45720"/>
                  <a:gd name="connsiteX34" fmla="*/ 487432 w 665150"/>
                  <a:gd name="connsiteY34" fmla="*/ 0 h 45720"/>
                  <a:gd name="connsiteX35" fmla="*/ 564861 w 665150"/>
                  <a:gd name="connsiteY35" fmla="*/ 0 h 45720"/>
                  <a:gd name="connsiteX36" fmla="*/ 542001 w 665150"/>
                  <a:gd name="connsiteY36" fmla="*/ 22860 h 45720"/>
                  <a:gd name="connsiteX37" fmla="*/ 564861 w 665150"/>
                  <a:gd name="connsiteY37" fmla="*/ 45720 h 45720"/>
                  <a:gd name="connsiteX38" fmla="*/ 587721 w 665150"/>
                  <a:gd name="connsiteY38" fmla="*/ 22860 h 45720"/>
                  <a:gd name="connsiteX39" fmla="*/ 564861 w 665150"/>
                  <a:gd name="connsiteY39" fmla="*/ 0 h 45720"/>
                  <a:gd name="connsiteX40" fmla="*/ 642290 w 665150"/>
                  <a:gd name="connsiteY40" fmla="*/ 0 h 45720"/>
                  <a:gd name="connsiteX41" fmla="*/ 619430 w 665150"/>
                  <a:gd name="connsiteY41" fmla="*/ 22860 h 45720"/>
                  <a:gd name="connsiteX42" fmla="*/ 642290 w 665150"/>
                  <a:gd name="connsiteY42" fmla="*/ 45720 h 45720"/>
                  <a:gd name="connsiteX43" fmla="*/ 665150 w 665150"/>
                  <a:gd name="connsiteY43" fmla="*/ 22860 h 45720"/>
                  <a:gd name="connsiteX44" fmla="*/ 642290 w 665150"/>
                  <a:gd name="connsiteY44" fmla="*/ 0 h 4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65150" h="45720">
                    <a:moveTo>
                      <a:pt x="22860" y="0"/>
                    </a:moveTo>
                    <a:cubicBezTo>
                      <a:pt x="10235" y="0"/>
                      <a:pt x="0" y="10235"/>
                      <a:pt x="0" y="22860"/>
                    </a:cubicBezTo>
                    <a:cubicBezTo>
                      <a:pt x="0" y="35485"/>
                      <a:pt x="10235" y="45720"/>
                      <a:pt x="22860" y="45720"/>
                    </a:cubicBezTo>
                    <a:cubicBezTo>
                      <a:pt x="35485" y="45720"/>
                      <a:pt x="45720" y="35485"/>
                      <a:pt x="45720" y="22860"/>
                    </a:cubicBezTo>
                    <a:cubicBezTo>
                      <a:pt x="45720" y="10235"/>
                      <a:pt x="35485" y="0"/>
                      <a:pt x="22860" y="0"/>
                    </a:cubicBezTo>
                    <a:close/>
                    <a:moveTo>
                      <a:pt x="100287" y="0"/>
                    </a:moveTo>
                    <a:cubicBezTo>
                      <a:pt x="87662" y="0"/>
                      <a:pt x="77427" y="10235"/>
                      <a:pt x="77427" y="22860"/>
                    </a:cubicBezTo>
                    <a:cubicBezTo>
                      <a:pt x="77427" y="35485"/>
                      <a:pt x="87662" y="45720"/>
                      <a:pt x="100287" y="45720"/>
                    </a:cubicBezTo>
                    <a:cubicBezTo>
                      <a:pt x="112912" y="45720"/>
                      <a:pt x="123147" y="35485"/>
                      <a:pt x="123147" y="22860"/>
                    </a:cubicBezTo>
                    <a:cubicBezTo>
                      <a:pt x="123147" y="10235"/>
                      <a:pt x="112912" y="0"/>
                      <a:pt x="100287" y="0"/>
                    </a:cubicBezTo>
                    <a:close/>
                    <a:moveTo>
                      <a:pt x="177716" y="0"/>
                    </a:moveTo>
                    <a:cubicBezTo>
                      <a:pt x="165091" y="0"/>
                      <a:pt x="154856" y="10235"/>
                      <a:pt x="154856" y="22860"/>
                    </a:cubicBezTo>
                    <a:cubicBezTo>
                      <a:pt x="154856" y="35485"/>
                      <a:pt x="165091" y="45720"/>
                      <a:pt x="177716" y="45720"/>
                    </a:cubicBezTo>
                    <a:cubicBezTo>
                      <a:pt x="190341" y="45720"/>
                      <a:pt x="200576" y="35485"/>
                      <a:pt x="200576" y="22860"/>
                    </a:cubicBezTo>
                    <a:cubicBezTo>
                      <a:pt x="200576" y="10235"/>
                      <a:pt x="190341" y="0"/>
                      <a:pt x="177716" y="0"/>
                    </a:cubicBezTo>
                    <a:close/>
                    <a:moveTo>
                      <a:pt x="255145" y="0"/>
                    </a:moveTo>
                    <a:cubicBezTo>
                      <a:pt x="242520" y="0"/>
                      <a:pt x="232285" y="10235"/>
                      <a:pt x="232285" y="22860"/>
                    </a:cubicBezTo>
                    <a:cubicBezTo>
                      <a:pt x="232285" y="35485"/>
                      <a:pt x="242520" y="45720"/>
                      <a:pt x="255145" y="45720"/>
                    </a:cubicBezTo>
                    <a:cubicBezTo>
                      <a:pt x="267770" y="45720"/>
                      <a:pt x="278005" y="35485"/>
                      <a:pt x="278005" y="22860"/>
                    </a:cubicBezTo>
                    <a:cubicBezTo>
                      <a:pt x="278005" y="10235"/>
                      <a:pt x="267770" y="0"/>
                      <a:pt x="255145" y="0"/>
                    </a:cubicBezTo>
                    <a:close/>
                    <a:moveTo>
                      <a:pt x="332574" y="0"/>
                    </a:moveTo>
                    <a:cubicBezTo>
                      <a:pt x="319949" y="0"/>
                      <a:pt x="309714" y="10235"/>
                      <a:pt x="309714" y="22860"/>
                    </a:cubicBezTo>
                    <a:cubicBezTo>
                      <a:pt x="309714" y="35485"/>
                      <a:pt x="319949" y="45720"/>
                      <a:pt x="332574" y="45720"/>
                    </a:cubicBezTo>
                    <a:cubicBezTo>
                      <a:pt x="345199" y="45720"/>
                      <a:pt x="355434" y="35485"/>
                      <a:pt x="355434" y="22860"/>
                    </a:cubicBezTo>
                    <a:cubicBezTo>
                      <a:pt x="355434" y="10235"/>
                      <a:pt x="345199" y="0"/>
                      <a:pt x="332574" y="0"/>
                    </a:cubicBezTo>
                    <a:close/>
                    <a:moveTo>
                      <a:pt x="410003" y="0"/>
                    </a:moveTo>
                    <a:cubicBezTo>
                      <a:pt x="397378" y="0"/>
                      <a:pt x="387143" y="10235"/>
                      <a:pt x="387143" y="22860"/>
                    </a:cubicBezTo>
                    <a:cubicBezTo>
                      <a:pt x="387143" y="35485"/>
                      <a:pt x="397378" y="45720"/>
                      <a:pt x="410003" y="45720"/>
                    </a:cubicBezTo>
                    <a:cubicBezTo>
                      <a:pt x="422628" y="45720"/>
                      <a:pt x="432863" y="35485"/>
                      <a:pt x="432863" y="22860"/>
                    </a:cubicBezTo>
                    <a:cubicBezTo>
                      <a:pt x="432863" y="10235"/>
                      <a:pt x="422628" y="0"/>
                      <a:pt x="410003" y="0"/>
                    </a:cubicBezTo>
                    <a:close/>
                    <a:moveTo>
                      <a:pt x="487432" y="0"/>
                    </a:moveTo>
                    <a:cubicBezTo>
                      <a:pt x="474807" y="0"/>
                      <a:pt x="464572" y="10235"/>
                      <a:pt x="464572" y="22860"/>
                    </a:cubicBezTo>
                    <a:cubicBezTo>
                      <a:pt x="464572" y="35485"/>
                      <a:pt x="474807" y="45720"/>
                      <a:pt x="487432" y="45720"/>
                    </a:cubicBezTo>
                    <a:cubicBezTo>
                      <a:pt x="500057" y="45720"/>
                      <a:pt x="510292" y="35485"/>
                      <a:pt x="510292" y="22860"/>
                    </a:cubicBezTo>
                    <a:cubicBezTo>
                      <a:pt x="510292" y="10235"/>
                      <a:pt x="500057" y="0"/>
                      <a:pt x="487432" y="0"/>
                    </a:cubicBezTo>
                    <a:close/>
                    <a:moveTo>
                      <a:pt x="564861" y="0"/>
                    </a:moveTo>
                    <a:cubicBezTo>
                      <a:pt x="552236" y="0"/>
                      <a:pt x="542001" y="10235"/>
                      <a:pt x="542001" y="22860"/>
                    </a:cubicBezTo>
                    <a:cubicBezTo>
                      <a:pt x="542001" y="35485"/>
                      <a:pt x="552236" y="45720"/>
                      <a:pt x="564861" y="45720"/>
                    </a:cubicBezTo>
                    <a:cubicBezTo>
                      <a:pt x="577486" y="45720"/>
                      <a:pt x="587721" y="35485"/>
                      <a:pt x="587721" y="22860"/>
                    </a:cubicBezTo>
                    <a:cubicBezTo>
                      <a:pt x="587721" y="10235"/>
                      <a:pt x="577486" y="0"/>
                      <a:pt x="564861" y="0"/>
                    </a:cubicBezTo>
                    <a:close/>
                    <a:moveTo>
                      <a:pt x="642290" y="0"/>
                    </a:moveTo>
                    <a:cubicBezTo>
                      <a:pt x="629665" y="0"/>
                      <a:pt x="619430" y="10235"/>
                      <a:pt x="619430" y="22860"/>
                    </a:cubicBezTo>
                    <a:cubicBezTo>
                      <a:pt x="619430" y="35485"/>
                      <a:pt x="629665" y="45720"/>
                      <a:pt x="642290" y="45720"/>
                    </a:cubicBezTo>
                    <a:cubicBezTo>
                      <a:pt x="654915" y="45720"/>
                      <a:pt x="665150" y="35485"/>
                      <a:pt x="665150" y="22860"/>
                    </a:cubicBezTo>
                    <a:cubicBezTo>
                      <a:pt x="665150" y="10235"/>
                      <a:pt x="654915" y="0"/>
                      <a:pt x="642290" y="0"/>
                    </a:cubicBezTo>
                    <a:close/>
                  </a:path>
                </a:pathLst>
              </a:custGeom>
              <a:gradFill flip="none" rotWithShape="1">
                <a:gsLst>
                  <a:gs pos="0">
                    <a:srgbClr val="1E4471"/>
                  </a:gs>
                  <a:gs pos="100000">
                    <a:srgbClr val="0D274D"/>
                  </a:gs>
                </a:gsLst>
                <a:lin ang="0" scaled="1"/>
                <a:tileRect/>
              </a:gra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grpSp>
        <p:sp>
          <p:nvSpPr>
            <p:cNvPr id="114" name="Freeform: Shape 113">
              <a:extLst>
                <a:ext uri="{FF2B5EF4-FFF2-40B4-BE49-F238E27FC236}">
                  <a16:creationId xmlns:a16="http://schemas.microsoft.com/office/drawing/2014/main" id="{CDBFDFD3-3B70-4BFD-8503-D5B58C02B8BC}"/>
                </a:ext>
              </a:extLst>
            </p:cNvPr>
            <p:cNvSpPr/>
            <p:nvPr/>
          </p:nvSpPr>
          <p:spPr>
            <a:xfrm flipH="1">
              <a:off x="3146881" y="5550215"/>
              <a:ext cx="831961" cy="64023"/>
            </a:xfrm>
            <a:custGeom>
              <a:avLst/>
              <a:gdLst>
                <a:gd name="connsiteX0" fmla="*/ 22860 w 665150"/>
                <a:gd name="connsiteY0" fmla="*/ 0 h 45720"/>
                <a:gd name="connsiteX1" fmla="*/ 0 w 665150"/>
                <a:gd name="connsiteY1" fmla="*/ 22860 h 45720"/>
                <a:gd name="connsiteX2" fmla="*/ 22860 w 665150"/>
                <a:gd name="connsiteY2" fmla="*/ 45720 h 45720"/>
                <a:gd name="connsiteX3" fmla="*/ 45720 w 665150"/>
                <a:gd name="connsiteY3" fmla="*/ 22860 h 45720"/>
                <a:gd name="connsiteX4" fmla="*/ 22860 w 665150"/>
                <a:gd name="connsiteY4" fmla="*/ 0 h 45720"/>
                <a:gd name="connsiteX5" fmla="*/ 100287 w 665150"/>
                <a:gd name="connsiteY5" fmla="*/ 0 h 45720"/>
                <a:gd name="connsiteX6" fmla="*/ 77427 w 665150"/>
                <a:gd name="connsiteY6" fmla="*/ 22860 h 45720"/>
                <a:gd name="connsiteX7" fmla="*/ 100287 w 665150"/>
                <a:gd name="connsiteY7" fmla="*/ 45720 h 45720"/>
                <a:gd name="connsiteX8" fmla="*/ 123147 w 665150"/>
                <a:gd name="connsiteY8" fmla="*/ 22860 h 45720"/>
                <a:gd name="connsiteX9" fmla="*/ 100287 w 665150"/>
                <a:gd name="connsiteY9" fmla="*/ 0 h 45720"/>
                <a:gd name="connsiteX10" fmla="*/ 177716 w 665150"/>
                <a:gd name="connsiteY10" fmla="*/ 0 h 45720"/>
                <a:gd name="connsiteX11" fmla="*/ 154856 w 665150"/>
                <a:gd name="connsiteY11" fmla="*/ 22860 h 45720"/>
                <a:gd name="connsiteX12" fmla="*/ 177716 w 665150"/>
                <a:gd name="connsiteY12" fmla="*/ 45720 h 45720"/>
                <a:gd name="connsiteX13" fmla="*/ 200576 w 665150"/>
                <a:gd name="connsiteY13" fmla="*/ 22860 h 45720"/>
                <a:gd name="connsiteX14" fmla="*/ 177716 w 665150"/>
                <a:gd name="connsiteY14" fmla="*/ 0 h 45720"/>
                <a:gd name="connsiteX15" fmla="*/ 255145 w 665150"/>
                <a:gd name="connsiteY15" fmla="*/ 0 h 45720"/>
                <a:gd name="connsiteX16" fmla="*/ 232285 w 665150"/>
                <a:gd name="connsiteY16" fmla="*/ 22860 h 45720"/>
                <a:gd name="connsiteX17" fmla="*/ 255145 w 665150"/>
                <a:gd name="connsiteY17" fmla="*/ 45720 h 45720"/>
                <a:gd name="connsiteX18" fmla="*/ 278005 w 665150"/>
                <a:gd name="connsiteY18" fmla="*/ 22860 h 45720"/>
                <a:gd name="connsiteX19" fmla="*/ 255145 w 665150"/>
                <a:gd name="connsiteY19" fmla="*/ 0 h 45720"/>
                <a:gd name="connsiteX20" fmla="*/ 332574 w 665150"/>
                <a:gd name="connsiteY20" fmla="*/ 0 h 45720"/>
                <a:gd name="connsiteX21" fmla="*/ 309714 w 665150"/>
                <a:gd name="connsiteY21" fmla="*/ 22860 h 45720"/>
                <a:gd name="connsiteX22" fmla="*/ 332574 w 665150"/>
                <a:gd name="connsiteY22" fmla="*/ 45720 h 45720"/>
                <a:gd name="connsiteX23" fmla="*/ 355434 w 665150"/>
                <a:gd name="connsiteY23" fmla="*/ 22860 h 45720"/>
                <a:gd name="connsiteX24" fmla="*/ 332574 w 665150"/>
                <a:gd name="connsiteY24" fmla="*/ 0 h 45720"/>
                <a:gd name="connsiteX25" fmla="*/ 410003 w 665150"/>
                <a:gd name="connsiteY25" fmla="*/ 0 h 45720"/>
                <a:gd name="connsiteX26" fmla="*/ 387143 w 665150"/>
                <a:gd name="connsiteY26" fmla="*/ 22860 h 45720"/>
                <a:gd name="connsiteX27" fmla="*/ 410003 w 665150"/>
                <a:gd name="connsiteY27" fmla="*/ 45720 h 45720"/>
                <a:gd name="connsiteX28" fmla="*/ 432863 w 665150"/>
                <a:gd name="connsiteY28" fmla="*/ 22860 h 45720"/>
                <a:gd name="connsiteX29" fmla="*/ 410003 w 665150"/>
                <a:gd name="connsiteY29" fmla="*/ 0 h 45720"/>
                <a:gd name="connsiteX30" fmla="*/ 487432 w 665150"/>
                <a:gd name="connsiteY30" fmla="*/ 0 h 45720"/>
                <a:gd name="connsiteX31" fmla="*/ 464572 w 665150"/>
                <a:gd name="connsiteY31" fmla="*/ 22860 h 45720"/>
                <a:gd name="connsiteX32" fmla="*/ 487432 w 665150"/>
                <a:gd name="connsiteY32" fmla="*/ 45720 h 45720"/>
                <a:gd name="connsiteX33" fmla="*/ 510292 w 665150"/>
                <a:gd name="connsiteY33" fmla="*/ 22860 h 45720"/>
                <a:gd name="connsiteX34" fmla="*/ 487432 w 665150"/>
                <a:gd name="connsiteY34" fmla="*/ 0 h 45720"/>
                <a:gd name="connsiteX35" fmla="*/ 564861 w 665150"/>
                <a:gd name="connsiteY35" fmla="*/ 0 h 45720"/>
                <a:gd name="connsiteX36" fmla="*/ 542001 w 665150"/>
                <a:gd name="connsiteY36" fmla="*/ 22860 h 45720"/>
                <a:gd name="connsiteX37" fmla="*/ 564861 w 665150"/>
                <a:gd name="connsiteY37" fmla="*/ 45720 h 45720"/>
                <a:gd name="connsiteX38" fmla="*/ 587721 w 665150"/>
                <a:gd name="connsiteY38" fmla="*/ 22860 h 45720"/>
                <a:gd name="connsiteX39" fmla="*/ 564861 w 665150"/>
                <a:gd name="connsiteY39" fmla="*/ 0 h 45720"/>
                <a:gd name="connsiteX40" fmla="*/ 642290 w 665150"/>
                <a:gd name="connsiteY40" fmla="*/ 0 h 45720"/>
                <a:gd name="connsiteX41" fmla="*/ 619430 w 665150"/>
                <a:gd name="connsiteY41" fmla="*/ 22860 h 45720"/>
                <a:gd name="connsiteX42" fmla="*/ 642290 w 665150"/>
                <a:gd name="connsiteY42" fmla="*/ 45720 h 45720"/>
                <a:gd name="connsiteX43" fmla="*/ 665150 w 665150"/>
                <a:gd name="connsiteY43" fmla="*/ 22860 h 45720"/>
                <a:gd name="connsiteX44" fmla="*/ 642290 w 665150"/>
                <a:gd name="connsiteY44" fmla="*/ 0 h 4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65150" h="45720">
                  <a:moveTo>
                    <a:pt x="22860" y="0"/>
                  </a:moveTo>
                  <a:cubicBezTo>
                    <a:pt x="10235" y="0"/>
                    <a:pt x="0" y="10235"/>
                    <a:pt x="0" y="22860"/>
                  </a:cubicBezTo>
                  <a:cubicBezTo>
                    <a:pt x="0" y="35485"/>
                    <a:pt x="10235" y="45720"/>
                    <a:pt x="22860" y="45720"/>
                  </a:cubicBezTo>
                  <a:cubicBezTo>
                    <a:pt x="35485" y="45720"/>
                    <a:pt x="45720" y="35485"/>
                    <a:pt x="45720" y="22860"/>
                  </a:cubicBezTo>
                  <a:cubicBezTo>
                    <a:pt x="45720" y="10235"/>
                    <a:pt x="35485" y="0"/>
                    <a:pt x="22860" y="0"/>
                  </a:cubicBezTo>
                  <a:close/>
                  <a:moveTo>
                    <a:pt x="100287" y="0"/>
                  </a:moveTo>
                  <a:cubicBezTo>
                    <a:pt x="87662" y="0"/>
                    <a:pt x="77427" y="10235"/>
                    <a:pt x="77427" y="22860"/>
                  </a:cubicBezTo>
                  <a:cubicBezTo>
                    <a:pt x="77427" y="35485"/>
                    <a:pt x="87662" y="45720"/>
                    <a:pt x="100287" y="45720"/>
                  </a:cubicBezTo>
                  <a:cubicBezTo>
                    <a:pt x="112912" y="45720"/>
                    <a:pt x="123147" y="35485"/>
                    <a:pt x="123147" y="22860"/>
                  </a:cubicBezTo>
                  <a:cubicBezTo>
                    <a:pt x="123147" y="10235"/>
                    <a:pt x="112912" y="0"/>
                    <a:pt x="100287" y="0"/>
                  </a:cubicBezTo>
                  <a:close/>
                  <a:moveTo>
                    <a:pt x="177716" y="0"/>
                  </a:moveTo>
                  <a:cubicBezTo>
                    <a:pt x="165091" y="0"/>
                    <a:pt x="154856" y="10235"/>
                    <a:pt x="154856" y="22860"/>
                  </a:cubicBezTo>
                  <a:cubicBezTo>
                    <a:pt x="154856" y="35485"/>
                    <a:pt x="165091" y="45720"/>
                    <a:pt x="177716" y="45720"/>
                  </a:cubicBezTo>
                  <a:cubicBezTo>
                    <a:pt x="190341" y="45720"/>
                    <a:pt x="200576" y="35485"/>
                    <a:pt x="200576" y="22860"/>
                  </a:cubicBezTo>
                  <a:cubicBezTo>
                    <a:pt x="200576" y="10235"/>
                    <a:pt x="190341" y="0"/>
                    <a:pt x="177716" y="0"/>
                  </a:cubicBezTo>
                  <a:close/>
                  <a:moveTo>
                    <a:pt x="255145" y="0"/>
                  </a:moveTo>
                  <a:cubicBezTo>
                    <a:pt x="242520" y="0"/>
                    <a:pt x="232285" y="10235"/>
                    <a:pt x="232285" y="22860"/>
                  </a:cubicBezTo>
                  <a:cubicBezTo>
                    <a:pt x="232285" y="35485"/>
                    <a:pt x="242520" y="45720"/>
                    <a:pt x="255145" y="45720"/>
                  </a:cubicBezTo>
                  <a:cubicBezTo>
                    <a:pt x="267770" y="45720"/>
                    <a:pt x="278005" y="35485"/>
                    <a:pt x="278005" y="22860"/>
                  </a:cubicBezTo>
                  <a:cubicBezTo>
                    <a:pt x="278005" y="10235"/>
                    <a:pt x="267770" y="0"/>
                    <a:pt x="255145" y="0"/>
                  </a:cubicBezTo>
                  <a:close/>
                  <a:moveTo>
                    <a:pt x="332574" y="0"/>
                  </a:moveTo>
                  <a:cubicBezTo>
                    <a:pt x="319949" y="0"/>
                    <a:pt x="309714" y="10235"/>
                    <a:pt x="309714" y="22860"/>
                  </a:cubicBezTo>
                  <a:cubicBezTo>
                    <a:pt x="309714" y="35485"/>
                    <a:pt x="319949" y="45720"/>
                    <a:pt x="332574" y="45720"/>
                  </a:cubicBezTo>
                  <a:cubicBezTo>
                    <a:pt x="345199" y="45720"/>
                    <a:pt x="355434" y="35485"/>
                    <a:pt x="355434" y="22860"/>
                  </a:cubicBezTo>
                  <a:cubicBezTo>
                    <a:pt x="355434" y="10235"/>
                    <a:pt x="345199" y="0"/>
                    <a:pt x="332574" y="0"/>
                  </a:cubicBezTo>
                  <a:close/>
                  <a:moveTo>
                    <a:pt x="410003" y="0"/>
                  </a:moveTo>
                  <a:cubicBezTo>
                    <a:pt x="397378" y="0"/>
                    <a:pt x="387143" y="10235"/>
                    <a:pt x="387143" y="22860"/>
                  </a:cubicBezTo>
                  <a:cubicBezTo>
                    <a:pt x="387143" y="35485"/>
                    <a:pt x="397378" y="45720"/>
                    <a:pt x="410003" y="45720"/>
                  </a:cubicBezTo>
                  <a:cubicBezTo>
                    <a:pt x="422628" y="45720"/>
                    <a:pt x="432863" y="35485"/>
                    <a:pt x="432863" y="22860"/>
                  </a:cubicBezTo>
                  <a:cubicBezTo>
                    <a:pt x="432863" y="10235"/>
                    <a:pt x="422628" y="0"/>
                    <a:pt x="410003" y="0"/>
                  </a:cubicBezTo>
                  <a:close/>
                  <a:moveTo>
                    <a:pt x="487432" y="0"/>
                  </a:moveTo>
                  <a:cubicBezTo>
                    <a:pt x="474807" y="0"/>
                    <a:pt x="464572" y="10235"/>
                    <a:pt x="464572" y="22860"/>
                  </a:cubicBezTo>
                  <a:cubicBezTo>
                    <a:pt x="464572" y="35485"/>
                    <a:pt x="474807" y="45720"/>
                    <a:pt x="487432" y="45720"/>
                  </a:cubicBezTo>
                  <a:cubicBezTo>
                    <a:pt x="500057" y="45720"/>
                    <a:pt x="510292" y="35485"/>
                    <a:pt x="510292" y="22860"/>
                  </a:cubicBezTo>
                  <a:cubicBezTo>
                    <a:pt x="510292" y="10235"/>
                    <a:pt x="500057" y="0"/>
                    <a:pt x="487432" y="0"/>
                  </a:cubicBezTo>
                  <a:close/>
                  <a:moveTo>
                    <a:pt x="564861" y="0"/>
                  </a:moveTo>
                  <a:cubicBezTo>
                    <a:pt x="552236" y="0"/>
                    <a:pt x="542001" y="10235"/>
                    <a:pt x="542001" y="22860"/>
                  </a:cubicBezTo>
                  <a:cubicBezTo>
                    <a:pt x="542001" y="35485"/>
                    <a:pt x="552236" y="45720"/>
                    <a:pt x="564861" y="45720"/>
                  </a:cubicBezTo>
                  <a:cubicBezTo>
                    <a:pt x="577486" y="45720"/>
                    <a:pt x="587721" y="35485"/>
                    <a:pt x="587721" y="22860"/>
                  </a:cubicBezTo>
                  <a:cubicBezTo>
                    <a:pt x="587721" y="10235"/>
                    <a:pt x="577486" y="0"/>
                    <a:pt x="564861" y="0"/>
                  </a:cubicBezTo>
                  <a:close/>
                  <a:moveTo>
                    <a:pt x="642290" y="0"/>
                  </a:moveTo>
                  <a:cubicBezTo>
                    <a:pt x="629665" y="0"/>
                    <a:pt x="619430" y="10235"/>
                    <a:pt x="619430" y="22860"/>
                  </a:cubicBezTo>
                  <a:cubicBezTo>
                    <a:pt x="619430" y="35485"/>
                    <a:pt x="629665" y="45720"/>
                    <a:pt x="642290" y="45720"/>
                  </a:cubicBezTo>
                  <a:cubicBezTo>
                    <a:pt x="654915" y="45720"/>
                    <a:pt x="665150" y="35485"/>
                    <a:pt x="665150" y="22860"/>
                  </a:cubicBezTo>
                  <a:cubicBezTo>
                    <a:pt x="665150" y="10235"/>
                    <a:pt x="654915" y="0"/>
                    <a:pt x="642290" y="0"/>
                  </a:cubicBezTo>
                  <a:close/>
                </a:path>
              </a:pathLst>
            </a:custGeom>
            <a:gradFill flip="none" rotWithShape="1">
              <a:gsLst>
                <a:gs pos="0">
                  <a:srgbClr val="FFFFFF"/>
                </a:gs>
                <a:gs pos="100000">
                  <a:srgbClr val="0D274D"/>
                </a:gs>
              </a:gsLst>
              <a:lin ang="0" scaled="1"/>
              <a:tileRect/>
            </a:gra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grpSp>
      <p:grpSp>
        <p:nvGrpSpPr>
          <p:cNvPr id="117" name="Group 116">
            <a:extLst>
              <a:ext uri="{FF2B5EF4-FFF2-40B4-BE49-F238E27FC236}">
                <a16:creationId xmlns:a16="http://schemas.microsoft.com/office/drawing/2014/main" id="{012AF0A0-158E-4326-A996-1EF9EBCA3B51}"/>
              </a:ext>
            </a:extLst>
          </p:cNvPr>
          <p:cNvGrpSpPr>
            <a:grpSpLocks noChangeAspect="1"/>
          </p:cNvGrpSpPr>
          <p:nvPr/>
        </p:nvGrpSpPr>
        <p:grpSpPr>
          <a:xfrm>
            <a:off x="1723075" y="3097754"/>
            <a:ext cx="393451" cy="462570"/>
            <a:chOff x="4722813" y="4440238"/>
            <a:chExt cx="587375" cy="690563"/>
          </a:xfrm>
        </p:grpSpPr>
        <p:sp>
          <p:nvSpPr>
            <p:cNvPr id="118" name="Freeform 71">
              <a:extLst>
                <a:ext uri="{FF2B5EF4-FFF2-40B4-BE49-F238E27FC236}">
                  <a16:creationId xmlns:a16="http://schemas.microsoft.com/office/drawing/2014/main" id="{C00F5259-7388-4BBE-9CDB-341A2C581556}"/>
                </a:ext>
              </a:extLst>
            </p:cNvPr>
            <p:cNvSpPr>
              <a:spLocks noEditPoints="1"/>
            </p:cNvSpPr>
            <p:nvPr/>
          </p:nvSpPr>
          <p:spPr bwMode="auto">
            <a:xfrm>
              <a:off x="4722813" y="4440238"/>
              <a:ext cx="587375" cy="690563"/>
            </a:xfrm>
            <a:custGeom>
              <a:avLst/>
              <a:gdLst>
                <a:gd name="T0" fmla="*/ 186 w 273"/>
                <a:gd name="T1" fmla="*/ 277 h 317"/>
                <a:gd name="T2" fmla="*/ 170 w 273"/>
                <a:gd name="T3" fmla="*/ 302 h 317"/>
                <a:gd name="T4" fmla="*/ 239 w 273"/>
                <a:gd name="T5" fmla="*/ 164 h 317"/>
                <a:gd name="T6" fmla="*/ 41 w 273"/>
                <a:gd name="T7" fmla="*/ 141 h 317"/>
                <a:gd name="T8" fmla="*/ 6 w 273"/>
                <a:gd name="T9" fmla="*/ 180 h 317"/>
                <a:gd name="T10" fmla="*/ 12 w 273"/>
                <a:gd name="T11" fmla="*/ 193 h 317"/>
                <a:gd name="T12" fmla="*/ 52 w 273"/>
                <a:gd name="T13" fmla="*/ 151 h 317"/>
                <a:gd name="T14" fmla="*/ 163 w 273"/>
                <a:gd name="T15" fmla="*/ 93 h 317"/>
                <a:gd name="T16" fmla="*/ 273 w 273"/>
                <a:gd name="T17" fmla="*/ 179 h 317"/>
                <a:gd name="T18" fmla="*/ 45 w 273"/>
                <a:gd name="T19" fmla="*/ 79 h 317"/>
                <a:gd name="T20" fmla="*/ 6 w 273"/>
                <a:gd name="T21" fmla="*/ 152 h 317"/>
                <a:gd name="T22" fmla="*/ 104 w 273"/>
                <a:gd name="T23" fmla="*/ 62 h 317"/>
                <a:gd name="T24" fmla="*/ 246 w 273"/>
                <a:gd name="T25" fmla="*/ 233 h 317"/>
                <a:gd name="T26" fmla="*/ 273 w 273"/>
                <a:gd name="T27" fmla="*/ 179 h 317"/>
                <a:gd name="T28" fmla="*/ 74 w 273"/>
                <a:gd name="T29" fmla="*/ 146 h 317"/>
                <a:gd name="T30" fmla="*/ 32 w 273"/>
                <a:gd name="T31" fmla="*/ 204 h 317"/>
                <a:gd name="T32" fmla="*/ 14 w 273"/>
                <a:gd name="T33" fmla="*/ 225 h 317"/>
                <a:gd name="T34" fmla="*/ 79 w 273"/>
                <a:gd name="T35" fmla="*/ 171 h 317"/>
                <a:gd name="T36" fmla="*/ 152 w 273"/>
                <a:gd name="T37" fmla="*/ 123 h 317"/>
                <a:gd name="T38" fmla="*/ 186 w 273"/>
                <a:gd name="T39" fmla="*/ 211 h 317"/>
                <a:gd name="T40" fmla="*/ 119 w 273"/>
                <a:gd name="T41" fmla="*/ 300 h 317"/>
                <a:gd name="T42" fmla="*/ 174 w 273"/>
                <a:gd name="T43" fmla="*/ 264 h 317"/>
                <a:gd name="T44" fmla="*/ 193 w 273"/>
                <a:gd name="T45" fmla="*/ 133 h 317"/>
                <a:gd name="T46" fmla="*/ 76 w 273"/>
                <a:gd name="T47" fmla="*/ 294 h 317"/>
                <a:gd name="T48" fmla="*/ 123 w 273"/>
                <a:gd name="T49" fmla="*/ 274 h 317"/>
                <a:gd name="T50" fmla="*/ 176 w 273"/>
                <a:gd name="T51" fmla="*/ 180 h 317"/>
                <a:gd name="T52" fmla="*/ 94 w 273"/>
                <a:gd name="T53" fmla="*/ 179 h 317"/>
                <a:gd name="T54" fmla="*/ 27 w 273"/>
                <a:gd name="T55" fmla="*/ 240 h 317"/>
                <a:gd name="T56" fmla="*/ 82 w 273"/>
                <a:gd name="T57" fmla="*/ 226 h 317"/>
                <a:gd name="T58" fmla="*/ 140 w 273"/>
                <a:gd name="T59" fmla="*/ 154 h 317"/>
                <a:gd name="T60" fmla="*/ 157 w 273"/>
                <a:gd name="T61" fmla="*/ 198 h 317"/>
                <a:gd name="T62" fmla="*/ 99 w 273"/>
                <a:gd name="T63" fmla="*/ 275 h 317"/>
                <a:gd name="T64" fmla="*/ 76 w 273"/>
                <a:gd name="T65" fmla="*/ 294 h 317"/>
                <a:gd name="T66" fmla="*/ 53 w 273"/>
                <a:gd name="T67" fmla="*/ 281 h 317"/>
                <a:gd name="T68" fmla="*/ 78 w 273"/>
                <a:gd name="T69" fmla="*/ 267 h 317"/>
                <a:gd name="T70" fmla="*/ 127 w 273"/>
                <a:gd name="T71" fmla="*/ 218 h 317"/>
                <a:gd name="T72" fmla="*/ 128 w 273"/>
                <a:gd name="T73" fmla="*/ 180 h 317"/>
                <a:gd name="T74" fmla="*/ 96 w 273"/>
                <a:gd name="T75" fmla="*/ 237 h 317"/>
                <a:gd name="T76" fmla="*/ 49 w 273"/>
                <a:gd name="T77" fmla="*/ 267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3" h="317">
                  <a:moveTo>
                    <a:pt x="226" y="174"/>
                  </a:moveTo>
                  <a:cubicBezTo>
                    <a:pt x="225" y="212"/>
                    <a:pt x="207" y="247"/>
                    <a:pt x="186" y="277"/>
                  </a:cubicBezTo>
                  <a:cubicBezTo>
                    <a:pt x="181" y="283"/>
                    <a:pt x="176" y="289"/>
                    <a:pt x="172" y="295"/>
                  </a:cubicBezTo>
                  <a:cubicBezTo>
                    <a:pt x="170" y="297"/>
                    <a:pt x="169" y="299"/>
                    <a:pt x="170" y="302"/>
                  </a:cubicBezTo>
                  <a:cubicBezTo>
                    <a:pt x="172" y="307"/>
                    <a:pt x="179" y="308"/>
                    <a:pt x="182" y="304"/>
                  </a:cubicBezTo>
                  <a:cubicBezTo>
                    <a:pt x="213" y="267"/>
                    <a:pt x="243" y="215"/>
                    <a:pt x="239" y="164"/>
                  </a:cubicBezTo>
                  <a:cubicBezTo>
                    <a:pt x="236" y="115"/>
                    <a:pt x="191" y="79"/>
                    <a:pt x="144" y="75"/>
                  </a:cubicBezTo>
                  <a:cubicBezTo>
                    <a:pt x="100" y="73"/>
                    <a:pt x="56" y="99"/>
                    <a:pt x="41" y="141"/>
                  </a:cubicBezTo>
                  <a:cubicBezTo>
                    <a:pt x="35" y="159"/>
                    <a:pt x="36" y="167"/>
                    <a:pt x="16" y="176"/>
                  </a:cubicBezTo>
                  <a:cubicBezTo>
                    <a:pt x="13" y="177"/>
                    <a:pt x="10" y="179"/>
                    <a:pt x="6" y="180"/>
                  </a:cubicBezTo>
                  <a:cubicBezTo>
                    <a:pt x="3" y="181"/>
                    <a:pt x="2" y="183"/>
                    <a:pt x="1" y="185"/>
                  </a:cubicBezTo>
                  <a:cubicBezTo>
                    <a:pt x="0" y="191"/>
                    <a:pt x="7" y="195"/>
                    <a:pt x="12" y="193"/>
                  </a:cubicBezTo>
                  <a:cubicBezTo>
                    <a:pt x="24" y="188"/>
                    <a:pt x="36" y="183"/>
                    <a:pt x="44" y="172"/>
                  </a:cubicBezTo>
                  <a:cubicBezTo>
                    <a:pt x="49" y="166"/>
                    <a:pt x="50" y="158"/>
                    <a:pt x="52" y="151"/>
                  </a:cubicBezTo>
                  <a:cubicBezTo>
                    <a:pt x="56" y="139"/>
                    <a:pt x="62" y="128"/>
                    <a:pt x="70" y="119"/>
                  </a:cubicBezTo>
                  <a:cubicBezTo>
                    <a:pt x="92" y="94"/>
                    <a:pt x="130" y="82"/>
                    <a:pt x="163" y="93"/>
                  </a:cubicBezTo>
                  <a:cubicBezTo>
                    <a:pt x="200" y="104"/>
                    <a:pt x="226" y="135"/>
                    <a:pt x="226" y="174"/>
                  </a:cubicBezTo>
                  <a:close/>
                  <a:moveTo>
                    <a:pt x="273" y="179"/>
                  </a:moveTo>
                  <a:cubicBezTo>
                    <a:pt x="273" y="179"/>
                    <a:pt x="273" y="179"/>
                    <a:pt x="273" y="179"/>
                  </a:cubicBezTo>
                  <a:cubicBezTo>
                    <a:pt x="272" y="61"/>
                    <a:pt x="133" y="0"/>
                    <a:pt x="45" y="79"/>
                  </a:cubicBezTo>
                  <a:cubicBezTo>
                    <a:pt x="29" y="94"/>
                    <a:pt x="17" y="113"/>
                    <a:pt x="10" y="134"/>
                  </a:cubicBezTo>
                  <a:cubicBezTo>
                    <a:pt x="8" y="139"/>
                    <a:pt x="4" y="148"/>
                    <a:pt x="6" y="152"/>
                  </a:cubicBezTo>
                  <a:cubicBezTo>
                    <a:pt x="8" y="157"/>
                    <a:pt x="17" y="157"/>
                    <a:pt x="19" y="151"/>
                  </a:cubicBezTo>
                  <a:cubicBezTo>
                    <a:pt x="28" y="109"/>
                    <a:pt x="62" y="73"/>
                    <a:pt x="104" y="62"/>
                  </a:cubicBezTo>
                  <a:cubicBezTo>
                    <a:pt x="170" y="43"/>
                    <a:pt x="239" y="84"/>
                    <a:pt x="256" y="150"/>
                  </a:cubicBezTo>
                  <a:cubicBezTo>
                    <a:pt x="262" y="177"/>
                    <a:pt x="259" y="207"/>
                    <a:pt x="246" y="233"/>
                  </a:cubicBezTo>
                  <a:cubicBezTo>
                    <a:pt x="243" y="241"/>
                    <a:pt x="255" y="247"/>
                    <a:pt x="259" y="239"/>
                  </a:cubicBezTo>
                  <a:cubicBezTo>
                    <a:pt x="268" y="220"/>
                    <a:pt x="273" y="200"/>
                    <a:pt x="273" y="179"/>
                  </a:cubicBezTo>
                  <a:close/>
                  <a:moveTo>
                    <a:pt x="138" y="108"/>
                  </a:moveTo>
                  <a:cubicBezTo>
                    <a:pt x="111" y="107"/>
                    <a:pt x="86" y="124"/>
                    <a:pt x="74" y="146"/>
                  </a:cubicBezTo>
                  <a:cubicBezTo>
                    <a:pt x="69" y="158"/>
                    <a:pt x="65" y="170"/>
                    <a:pt x="58" y="182"/>
                  </a:cubicBezTo>
                  <a:cubicBezTo>
                    <a:pt x="53" y="193"/>
                    <a:pt x="43" y="200"/>
                    <a:pt x="32" y="204"/>
                  </a:cubicBezTo>
                  <a:cubicBezTo>
                    <a:pt x="25" y="208"/>
                    <a:pt x="17" y="210"/>
                    <a:pt x="9" y="213"/>
                  </a:cubicBezTo>
                  <a:cubicBezTo>
                    <a:pt x="3" y="217"/>
                    <a:pt x="8" y="227"/>
                    <a:pt x="14" y="225"/>
                  </a:cubicBezTo>
                  <a:cubicBezTo>
                    <a:pt x="21" y="223"/>
                    <a:pt x="28" y="221"/>
                    <a:pt x="34" y="219"/>
                  </a:cubicBezTo>
                  <a:cubicBezTo>
                    <a:pt x="61" y="207"/>
                    <a:pt x="68" y="197"/>
                    <a:pt x="79" y="171"/>
                  </a:cubicBezTo>
                  <a:cubicBezTo>
                    <a:pt x="83" y="159"/>
                    <a:pt x="87" y="148"/>
                    <a:pt x="96" y="139"/>
                  </a:cubicBezTo>
                  <a:cubicBezTo>
                    <a:pt x="110" y="125"/>
                    <a:pt x="132" y="118"/>
                    <a:pt x="152" y="123"/>
                  </a:cubicBezTo>
                  <a:cubicBezTo>
                    <a:pt x="167" y="128"/>
                    <a:pt x="183" y="137"/>
                    <a:pt x="190" y="153"/>
                  </a:cubicBezTo>
                  <a:cubicBezTo>
                    <a:pt x="199" y="171"/>
                    <a:pt x="193" y="192"/>
                    <a:pt x="186" y="211"/>
                  </a:cubicBezTo>
                  <a:cubicBezTo>
                    <a:pt x="179" y="231"/>
                    <a:pt x="169" y="250"/>
                    <a:pt x="155" y="266"/>
                  </a:cubicBezTo>
                  <a:cubicBezTo>
                    <a:pt x="144" y="279"/>
                    <a:pt x="131" y="290"/>
                    <a:pt x="119" y="300"/>
                  </a:cubicBezTo>
                  <a:cubicBezTo>
                    <a:pt x="111" y="306"/>
                    <a:pt x="120" y="317"/>
                    <a:pt x="127" y="311"/>
                  </a:cubicBezTo>
                  <a:cubicBezTo>
                    <a:pt x="144" y="297"/>
                    <a:pt x="161" y="282"/>
                    <a:pt x="174" y="264"/>
                  </a:cubicBezTo>
                  <a:cubicBezTo>
                    <a:pt x="190" y="241"/>
                    <a:pt x="202" y="215"/>
                    <a:pt x="207" y="187"/>
                  </a:cubicBezTo>
                  <a:cubicBezTo>
                    <a:pt x="211" y="168"/>
                    <a:pt x="207" y="147"/>
                    <a:pt x="193" y="133"/>
                  </a:cubicBezTo>
                  <a:cubicBezTo>
                    <a:pt x="179" y="118"/>
                    <a:pt x="158" y="108"/>
                    <a:pt x="138" y="108"/>
                  </a:cubicBezTo>
                  <a:close/>
                  <a:moveTo>
                    <a:pt x="76" y="294"/>
                  </a:moveTo>
                  <a:cubicBezTo>
                    <a:pt x="76" y="298"/>
                    <a:pt x="81" y="302"/>
                    <a:pt x="85" y="300"/>
                  </a:cubicBezTo>
                  <a:cubicBezTo>
                    <a:pt x="99" y="293"/>
                    <a:pt x="111" y="283"/>
                    <a:pt x="123" y="274"/>
                  </a:cubicBezTo>
                  <a:cubicBezTo>
                    <a:pt x="141" y="259"/>
                    <a:pt x="154" y="239"/>
                    <a:pt x="163" y="218"/>
                  </a:cubicBezTo>
                  <a:cubicBezTo>
                    <a:pt x="168" y="205"/>
                    <a:pt x="174" y="193"/>
                    <a:pt x="176" y="180"/>
                  </a:cubicBezTo>
                  <a:cubicBezTo>
                    <a:pt x="180" y="155"/>
                    <a:pt x="152" y="136"/>
                    <a:pt x="129" y="141"/>
                  </a:cubicBezTo>
                  <a:cubicBezTo>
                    <a:pt x="109" y="145"/>
                    <a:pt x="102" y="162"/>
                    <a:pt x="94" y="179"/>
                  </a:cubicBezTo>
                  <a:cubicBezTo>
                    <a:pt x="88" y="192"/>
                    <a:pt x="82" y="205"/>
                    <a:pt x="73" y="216"/>
                  </a:cubicBezTo>
                  <a:cubicBezTo>
                    <a:pt x="61" y="228"/>
                    <a:pt x="43" y="235"/>
                    <a:pt x="27" y="240"/>
                  </a:cubicBezTo>
                  <a:cubicBezTo>
                    <a:pt x="18" y="243"/>
                    <a:pt x="21" y="256"/>
                    <a:pt x="30" y="254"/>
                  </a:cubicBezTo>
                  <a:cubicBezTo>
                    <a:pt x="49" y="248"/>
                    <a:pt x="68" y="240"/>
                    <a:pt x="82" y="226"/>
                  </a:cubicBezTo>
                  <a:cubicBezTo>
                    <a:pt x="96" y="210"/>
                    <a:pt x="104" y="190"/>
                    <a:pt x="113" y="172"/>
                  </a:cubicBezTo>
                  <a:cubicBezTo>
                    <a:pt x="117" y="161"/>
                    <a:pt x="128" y="152"/>
                    <a:pt x="140" y="154"/>
                  </a:cubicBezTo>
                  <a:cubicBezTo>
                    <a:pt x="150" y="155"/>
                    <a:pt x="161" y="162"/>
                    <a:pt x="162" y="173"/>
                  </a:cubicBezTo>
                  <a:cubicBezTo>
                    <a:pt x="163" y="182"/>
                    <a:pt x="159" y="190"/>
                    <a:pt x="157" y="198"/>
                  </a:cubicBezTo>
                  <a:cubicBezTo>
                    <a:pt x="150" y="217"/>
                    <a:pt x="140" y="235"/>
                    <a:pt x="127" y="250"/>
                  </a:cubicBezTo>
                  <a:cubicBezTo>
                    <a:pt x="118" y="259"/>
                    <a:pt x="109" y="267"/>
                    <a:pt x="99" y="275"/>
                  </a:cubicBezTo>
                  <a:cubicBezTo>
                    <a:pt x="92" y="279"/>
                    <a:pt x="86" y="284"/>
                    <a:pt x="79" y="288"/>
                  </a:cubicBezTo>
                  <a:cubicBezTo>
                    <a:pt x="77" y="289"/>
                    <a:pt x="76" y="291"/>
                    <a:pt x="76" y="294"/>
                  </a:cubicBezTo>
                  <a:close/>
                  <a:moveTo>
                    <a:pt x="43" y="274"/>
                  </a:moveTo>
                  <a:cubicBezTo>
                    <a:pt x="44" y="279"/>
                    <a:pt x="49" y="283"/>
                    <a:pt x="53" y="281"/>
                  </a:cubicBezTo>
                  <a:cubicBezTo>
                    <a:pt x="56" y="279"/>
                    <a:pt x="58" y="278"/>
                    <a:pt x="61" y="277"/>
                  </a:cubicBezTo>
                  <a:cubicBezTo>
                    <a:pt x="67" y="274"/>
                    <a:pt x="73" y="271"/>
                    <a:pt x="78" y="267"/>
                  </a:cubicBezTo>
                  <a:cubicBezTo>
                    <a:pt x="87" y="262"/>
                    <a:pt x="95" y="256"/>
                    <a:pt x="103" y="249"/>
                  </a:cubicBezTo>
                  <a:cubicBezTo>
                    <a:pt x="112" y="241"/>
                    <a:pt x="120" y="230"/>
                    <a:pt x="127" y="218"/>
                  </a:cubicBezTo>
                  <a:cubicBezTo>
                    <a:pt x="133" y="207"/>
                    <a:pt x="140" y="194"/>
                    <a:pt x="142" y="181"/>
                  </a:cubicBezTo>
                  <a:cubicBezTo>
                    <a:pt x="142" y="173"/>
                    <a:pt x="130" y="172"/>
                    <a:pt x="128" y="180"/>
                  </a:cubicBezTo>
                  <a:cubicBezTo>
                    <a:pt x="128" y="183"/>
                    <a:pt x="127" y="185"/>
                    <a:pt x="126" y="188"/>
                  </a:cubicBezTo>
                  <a:cubicBezTo>
                    <a:pt x="119" y="206"/>
                    <a:pt x="109" y="223"/>
                    <a:pt x="96" y="237"/>
                  </a:cubicBezTo>
                  <a:cubicBezTo>
                    <a:pt x="88" y="244"/>
                    <a:pt x="80" y="250"/>
                    <a:pt x="72" y="255"/>
                  </a:cubicBezTo>
                  <a:cubicBezTo>
                    <a:pt x="64" y="260"/>
                    <a:pt x="57" y="264"/>
                    <a:pt x="49" y="267"/>
                  </a:cubicBezTo>
                  <a:cubicBezTo>
                    <a:pt x="45" y="269"/>
                    <a:pt x="43" y="271"/>
                    <a:pt x="43" y="274"/>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72">
              <a:extLst>
                <a:ext uri="{FF2B5EF4-FFF2-40B4-BE49-F238E27FC236}">
                  <a16:creationId xmlns:a16="http://schemas.microsoft.com/office/drawing/2014/main" id="{1CF54257-AFD5-45AE-B01B-68F6EE54D0EC}"/>
                </a:ext>
              </a:extLst>
            </p:cNvPr>
            <p:cNvSpPr>
              <a:spLocks/>
            </p:cNvSpPr>
            <p:nvPr/>
          </p:nvSpPr>
          <p:spPr bwMode="auto">
            <a:xfrm>
              <a:off x="4722813" y="4598988"/>
              <a:ext cx="522288" cy="511175"/>
            </a:xfrm>
            <a:custGeom>
              <a:avLst/>
              <a:gdLst>
                <a:gd name="T0" fmla="*/ 226 w 243"/>
                <a:gd name="T1" fmla="*/ 101 h 235"/>
                <a:gd name="T2" fmla="*/ 163 w 243"/>
                <a:gd name="T3" fmla="*/ 20 h 235"/>
                <a:gd name="T4" fmla="*/ 70 w 243"/>
                <a:gd name="T5" fmla="*/ 46 h 235"/>
                <a:gd name="T6" fmla="*/ 52 w 243"/>
                <a:gd name="T7" fmla="*/ 78 h 235"/>
                <a:gd name="T8" fmla="*/ 44 w 243"/>
                <a:gd name="T9" fmla="*/ 99 h 235"/>
                <a:gd name="T10" fmla="*/ 12 w 243"/>
                <a:gd name="T11" fmla="*/ 120 h 235"/>
                <a:gd name="T12" fmla="*/ 1 w 243"/>
                <a:gd name="T13" fmla="*/ 112 h 235"/>
                <a:gd name="T14" fmla="*/ 6 w 243"/>
                <a:gd name="T15" fmla="*/ 107 h 235"/>
                <a:gd name="T16" fmla="*/ 16 w 243"/>
                <a:gd name="T17" fmla="*/ 103 h 235"/>
                <a:gd name="T18" fmla="*/ 41 w 243"/>
                <a:gd name="T19" fmla="*/ 68 h 235"/>
                <a:gd name="T20" fmla="*/ 144 w 243"/>
                <a:gd name="T21" fmla="*/ 2 h 235"/>
                <a:gd name="T22" fmla="*/ 239 w 243"/>
                <a:gd name="T23" fmla="*/ 91 h 235"/>
                <a:gd name="T24" fmla="*/ 182 w 243"/>
                <a:gd name="T25" fmla="*/ 231 h 235"/>
                <a:gd name="T26" fmla="*/ 170 w 243"/>
                <a:gd name="T27" fmla="*/ 229 h 235"/>
                <a:gd name="T28" fmla="*/ 172 w 243"/>
                <a:gd name="T29" fmla="*/ 222 h 235"/>
                <a:gd name="T30" fmla="*/ 186 w 243"/>
                <a:gd name="T31" fmla="*/ 204 h 235"/>
                <a:gd name="T32" fmla="*/ 226 w 243"/>
                <a:gd name="T33" fmla="*/ 10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235">
                  <a:moveTo>
                    <a:pt x="226" y="101"/>
                  </a:moveTo>
                  <a:cubicBezTo>
                    <a:pt x="226" y="62"/>
                    <a:pt x="200" y="31"/>
                    <a:pt x="163" y="20"/>
                  </a:cubicBezTo>
                  <a:cubicBezTo>
                    <a:pt x="130" y="9"/>
                    <a:pt x="92" y="21"/>
                    <a:pt x="70" y="46"/>
                  </a:cubicBezTo>
                  <a:cubicBezTo>
                    <a:pt x="62" y="55"/>
                    <a:pt x="56" y="66"/>
                    <a:pt x="52" y="78"/>
                  </a:cubicBezTo>
                  <a:cubicBezTo>
                    <a:pt x="50" y="85"/>
                    <a:pt x="49" y="93"/>
                    <a:pt x="44" y="99"/>
                  </a:cubicBezTo>
                  <a:cubicBezTo>
                    <a:pt x="36" y="110"/>
                    <a:pt x="24" y="115"/>
                    <a:pt x="12" y="120"/>
                  </a:cubicBezTo>
                  <a:cubicBezTo>
                    <a:pt x="7" y="122"/>
                    <a:pt x="0" y="118"/>
                    <a:pt x="1" y="112"/>
                  </a:cubicBezTo>
                  <a:cubicBezTo>
                    <a:pt x="2" y="110"/>
                    <a:pt x="3" y="108"/>
                    <a:pt x="6" y="107"/>
                  </a:cubicBezTo>
                  <a:cubicBezTo>
                    <a:pt x="10" y="106"/>
                    <a:pt x="13" y="104"/>
                    <a:pt x="16" y="103"/>
                  </a:cubicBezTo>
                  <a:cubicBezTo>
                    <a:pt x="36" y="94"/>
                    <a:pt x="35" y="86"/>
                    <a:pt x="41" y="68"/>
                  </a:cubicBezTo>
                  <a:cubicBezTo>
                    <a:pt x="56" y="26"/>
                    <a:pt x="100" y="0"/>
                    <a:pt x="144" y="2"/>
                  </a:cubicBezTo>
                  <a:cubicBezTo>
                    <a:pt x="191" y="6"/>
                    <a:pt x="236" y="42"/>
                    <a:pt x="239" y="91"/>
                  </a:cubicBezTo>
                  <a:cubicBezTo>
                    <a:pt x="243" y="142"/>
                    <a:pt x="213" y="194"/>
                    <a:pt x="182" y="231"/>
                  </a:cubicBezTo>
                  <a:cubicBezTo>
                    <a:pt x="179" y="235"/>
                    <a:pt x="172" y="234"/>
                    <a:pt x="170" y="229"/>
                  </a:cubicBezTo>
                  <a:cubicBezTo>
                    <a:pt x="169" y="226"/>
                    <a:pt x="170" y="224"/>
                    <a:pt x="172" y="222"/>
                  </a:cubicBezTo>
                  <a:cubicBezTo>
                    <a:pt x="176" y="216"/>
                    <a:pt x="181" y="210"/>
                    <a:pt x="186" y="204"/>
                  </a:cubicBezTo>
                  <a:cubicBezTo>
                    <a:pt x="207" y="174"/>
                    <a:pt x="225" y="139"/>
                    <a:pt x="226" y="101"/>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73">
              <a:extLst>
                <a:ext uri="{FF2B5EF4-FFF2-40B4-BE49-F238E27FC236}">
                  <a16:creationId xmlns:a16="http://schemas.microsoft.com/office/drawing/2014/main" id="{F1EA774C-E3F2-49D8-A259-F283B337658E}"/>
                </a:ext>
              </a:extLst>
            </p:cNvPr>
            <p:cNvSpPr>
              <a:spLocks/>
            </p:cNvSpPr>
            <p:nvPr/>
          </p:nvSpPr>
          <p:spPr bwMode="auto">
            <a:xfrm>
              <a:off x="4729163" y="4440238"/>
              <a:ext cx="581025" cy="538163"/>
            </a:xfrm>
            <a:custGeom>
              <a:avLst/>
              <a:gdLst>
                <a:gd name="T0" fmla="*/ 270 w 270"/>
                <a:gd name="T1" fmla="*/ 179 h 247"/>
                <a:gd name="T2" fmla="*/ 256 w 270"/>
                <a:gd name="T3" fmla="*/ 239 h 247"/>
                <a:gd name="T4" fmla="*/ 243 w 270"/>
                <a:gd name="T5" fmla="*/ 233 h 247"/>
                <a:gd name="T6" fmla="*/ 253 w 270"/>
                <a:gd name="T7" fmla="*/ 150 h 247"/>
                <a:gd name="T8" fmla="*/ 101 w 270"/>
                <a:gd name="T9" fmla="*/ 62 h 247"/>
                <a:gd name="T10" fmla="*/ 16 w 270"/>
                <a:gd name="T11" fmla="*/ 151 h 247"/>
                <a:gd name="T12" fmla="*/ 3 w 270"/>
                <a:gd name="T13" fmla="*/ 152 h 247"/>
                <a:gd name="T14" fmla="*/ 7 w 270"/>
                <a:gd name="T15" fmla="*/ 134 h 247"/>
                <a:gd name="T16" fmla="*/ 42 w 270"/>
                <a:gd name="T17" fmla="*/ 79 h 247"/>
                <a:gd name="T18" fmla="*/ 270 w 270"/>
                <a:gd name="T19" fmla="*/ 179 h 247"/>
                <a:gd name="T20" fmla="*/ 270 w 270"/>
                <a:gd name="T21" fmla="*/ 17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0" h="247">
                  <a:moveTo>
                    <a:pt x="270" y="179"/>
                  </a:moveTo>
                  <a:cubicBezTo>
                    <a:pt x="270" y="200"/>
                    <a:pt x="265" y="220"/>
                    <a:pt x="256" y="239"/>
                  </a:cubicBezTo>
                  <a:cubicBezTo>
                    <a:pt x="252" y="247"/>
                    <a:pt x="240" y="241"/>
                    <a:pt x="243" y="233"/>
                  </a:cubicBezTo>
                  <a:cubicBezTo>
                    <a:pt x="256" y="207"/>
                    <a:pt x="259" y="177"/>
                    <a:pt x="253" y="150"/>
                  </a:cubicBezTo>
                  <a:cubicBezTo>
                    <a:pt x="236" y="84"/>
                    <a:pt x="167" y="43"/>
                    <a:pt x="101" y="62"/>
                  </a:cubicBezTo>
                  <a:cubicBezTo>
                    <a:pt x="59" y="73"/>
                    <a:pt x="25" y="109"/>
                    <a:pt x="16" y="151"/>
                  </a:cubicBezTo>
                  <a:cubicBezTo>
                    <a:pt x="14" y="156"/>
                    <a:pt x="5" y="157"/>
                    <a:pt x="3" y="152"/>
                  </a:cubicBezTo>
                  <a:cubicBezTo>
                    <a:pt x="0" y="148"/>
                    <a:pt x="5" y="138"/>
                    <a:pt x="7" y="134"/>
                  </a:cubicBezTo>
                  <a:cubicBezTo>
                    <a:pt x="14" y="113"/>
                    <a:pt x="26" y="94"/>
                    <a:pt x="42" y="79"/>
                  </a:cubicBezTo>
                  <a:cubicBezTo>
                    <a:pt x="131" y="0"/>
                    <a:pt x="269" y="61"/>
                    <a:pt x="270" y="179"/>
                  </a:cubicBezTo>
                  <a:cubicBezTo>
                    <a:pt x="270" y="179"/>
                    <a:pt x="270" y="179"/>
                    <a:pt x="270" y="179"/>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74">
              <a:extLst>
                <a:ext uri="{FF2B5EF4-FFF2-40B4-BE49-F238E27FC236}">
                  <a16:creationId xmlns:a16="http://schemas.microsoft.com/office/drawing/2014/main" id="{DFCA9B3E-794C-4696-94C9-721599084C0B}"/>
                </a:ext>
              </a:extLst>
            </p:cNvPr>
            <p:cNvSpPr>
              <a:spLocks/>
            </p:cNvSpPr>
            <p:nvPr/>
          </p:nvSpPr>
          <p:spPr bwMode="auto">
            <a:xfrm>
              <a:off x="4729163" y="4673601"/>
              <a:ext cx="447675" cy="454025"/>
            </a:xfrm>
            <a:custGeom>
              <a:avLst/>
              <a:gdLst>
                <a:gd name="T0" fmla="*/ 135 w 208"/>
                <a:gd name="T1" fmla="*/ 1 h 209"/>
                <a:gd name="T2" fmla="*/ 190 w 208"/>
                <a:gd name="T3" fmla="*/ 26 h 209"/>
                <a:gd name="T4" fmla="*/ 204 w 208"/>
                <a:gd name="T5" fmla="*/ 80 h 209"/>
                <a:gd name="T6" fmla="*/ 171 w 208"/>
                <a:gd name="T7" fmla="*/ 157 h 209"/>
                <a:gd name="T8" fmla="*/ 124 w 208"/>
                <a:gd name="T9" fmla="*/ 204 h 209"/>
                <a:gd name="T10" fmla="*/ 116 w 208"/>
                <a:gd name="T11" fmla="*/ 193 h 209"/>
                <a:gd name="T12" fmla="*/ 152 w 208"/>
                <a:gd name="T13" fmla="*/ 159 h 209"/>
                <a:gd name="T14" fmla="*/ 183 w 208"/>
                <a:gd name="T15" fmla="*/ 104 h 209"/>
                <a:gd name="T16" fmla="*/ 187 w 208"/>
                <a:gd name="T17" fmla="*/ 46 h 209"/>
                <a:gd name="T18" fmla="*/ 149 w 208"/>
                <a:gd name="T19" fmla="*/ 16 h 209"/>
                <a:gd name="T20" fmla="*/ 93 w 208"/>
                <a:gd name="T21" fmla="*/ 32 h 209"/>
                <a:gd name="T22" fmla="*/ 76 w 208"/>
                <a:gd name="T23" fmla="*/ 64 h 209"/>
                <a:gd name="T24" fmla="*/ 31 w 208"/>
                <a:gd name="T25" fmla="*/ 112 h 209"/>
                <a:gd name="T26" fmla="*/ 11 w 208"/>
                <a:gd name="T27" fmla="*/ 118 h 209"/>
                <a:gd name="T28" fmla="*/ 6 w 208"/>
                <a:gd name="T29" fmla="*/ 106 h 209"/>
                <a:gd name="T30" fmla="*/ 29 w 208"/>
                <a:gd name="T31" fmla="*/ 97 h 209"/>
                <a:gd name="T32" fmla="*/ 62 w 208"/>
                <a:gd name="T33" fmla="*/ 60 h 209"/>
                <a:gd name="T34" fmla="*/ 76 w 208"/>
                <a:gd name="T35" fmla="*/ 31 h 209"/>
                <a:gd name="T36" fmla="*/ 135 w 208"/>
                <a:gd name="T37" fmla="*/ 1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 h="209">
                  <a:moveTo>
                    <a:pt x="135" y="1"/>
                  </a:moveTo>
                  <a:cubicBezTo>
                    <a:pt x="156" y="1"/>
                    <a:pt x="176" y="11"/>
                    <a:pt x="190" y="26"/>
                  </a:cubicBezTo>
                  <a:cubicBezTo>
                    <a:pt x="204" y="40"/>
                    <a:pt x="208" y="61"/>
                    <a:pt x="204" y="80"/>
                  </a:cubicBezTo>
                  <a:cubicBezTo>
                    <a:pt x="199" y="108"/>
                    <a:pt x="187" y="134"/>
                    <a:pt x="171" y="157"/>
                  </a:cubicBezTo>
                  <a:cubicBezTo>
                    <a:pt x="158" y="175"/>
                    <a:pt x="141" y="190"/>
                    <a:pt x="124" y="204"/>
                  </a:cubicBezTo>
                  <a:cubicBezTo>
                    <a:pt x="117" y="209"/>
                    <a:pt x="108" y="199"/>
                    <a:pt x="116" y="193"/>
                  </a:cubicBezTo>
                  <a:cubicBezTo>
                    <a:pt x="128" y="183"/>
                    <a:pt x="141" y="172"/>
                    <a:pt x="152" y="159"/>
                  </a:cubicBezTo>
                  <a:cubicBezTo>
                    <a:pt x="166" y="143"/>
                    <a:pt x="176" y="124"/>
                    <a:pt x="183" y="104"/>
                  </a:cubicBezTo>
                  <a:cubicBezTo>
                    <a:pt x="190" y="85"/>
                    <a:pt x="196" y="64"/>
                    <a:pt x="187" y="46"/>
                  </a:cubicBezTo>
                  <a:cubicBezTo>
                    <a:pt x="180" y="30"/>
                    <a:pt x="164" y="21"/>
                    <a:pt x="149" y="16"/>
                  </a:cubicBezTo>
                  <a:cubicBezTo>
                    <a:pt x="129" y="11"/>
                    <a:pt x="107" y="18"/>
                    <a:pt x="93" y="32"/>
                  </a:cubicBezTo>
                  <a:cubicBezTo>
                    <a:pt x="84" y="41"/>
                    <a:pt x="80" y="52"/>
                    <a:pt x="76" y="64"/>
                  </a:cubicBezTo>
                  <a:cubicBezTo>
                    <a:pt x="65" y="90"/>
                    <a:pt x="58" y="100"/>
                    <a:pt x="31" y="112"/>
                  </a:cubicBezTo>
                  <a:cubicBezTo>
                    <a:pt x="25" y="114"/>
                    <a:pt x="18" y="116"/>
                    <a:pt x="11" y="118"/>
                  </a:cubicBezTo>
                  <a:cubicBezTo>
                    <a:pt x="5" y="120"/>
                    <a:pt x="0" y="110"/>
                    <a:pt x="6" y="106"/>
                  </a:cubicBezTo>
                  <a:cubicBezTo>
                    <a:pt x="14" y="103"/>
                    <a:pt x="22" y="101"/>
                    <a:pt x="29" y="97"/>
                  </a:cubicBezTo>
                  <a:cubicBezTo>
                    <a:pt x="49" y="89"/>
                    <a:pt x="54" y="79"/>
                    <a:pt x="62" y="60"/>
                  </a:cubicBezTo>
                  <a:cubicBezTo>
                    <a:pt x="67" y="50"/>
                    <a:pt x="69" y="39"/>
                    <a:pt x="76" y="31"/>
                  </a:cubicBezTo>
                  <a:cubicBezTo>
                    <a:pt x="90" y="13"/>
                    <a:pt x="112" y="0"/>
                    <a:pt x="135" y="1"/>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75">
              <a:extLst>
                <a:ext uri="{FF2B5EF4-FFF2-40B4-BE49-F238E27FC236}">
                  <a16:creationId xmlns:a16="http://schemas.microsoft.com/office/drawing/2014/main" id="{A8F45420-2D88-4460-9EF7-8BAB35C79757}"/>
                </a:ext>
              </a:extLst>
            </p:cNvPr>
            <p:cNvSpPr>
              <a:spLocks/>
            </p:cNvSpPr>
            <p:nvPr/>
          </p:nvSpPr>
          <p:spPr bwMode="auto">
            <a:xfrm>
              <a:off x="4760913" y="4737101"/>
              <a:ext cx="349250" cy="360363"/>
            </a:xfrm>
            <a:custGeom>
              <a:avLst/>
              <a:gdLst>
                <a:gd name="T0" fmla="*/ 58 w 162"/>
                <a:gd name="T1" fmla="*/ 158 h 166"/>
                <a:gd name="T2" fmla="*/ 61 w 162"/>
                <a:gd name="T3" fmla="*/ 152 h 166"/>
                <a:gd name="T4" fmla="*/ 81 w 162"/>
                <a:gd name="T5" fmla="*/ 139 h 166"/>
                <a:gd name="T6" fmla="*/ 109 w 162"/>
                <a:gd name="T7" fmla="*/ 114 h 166"/>
                <a:gd name="T8" fmla="*/ 139 w 162"/>
                <a:gd name="T9" fmla="*/ 62 h 166"/>
                <a:gd name="T10" fmla="*/ 144 w 162"/>
                <a:gd name="T11" fmla="*/ 37 h 166"/>
                <a:gd name="T12" fmla="*/ 122 w 162"/>
                <a:gd name="T13" fmla="*/ 18 h 166"/>
                <a:gd name="T14" fmla="*/ 95 w 162"/>
                <a:gd name="T15" fmla="*/ 36 h 166"/>
                <a:gd name="T16" fmla="*/ 64 w 162"/>
                <a:gd name="T17" fmla="*/ 90 h 166"/>
                <a:gd name="T18" fmla="*/ 12 w 162"/>
                <a:gd name="T19" fmla="*/ 118 h 166"/>
                <a:gd name="T20" fmla="*/ 9 w 162"/>
                <a:gd name="T21" fmla="*/ 104 h 166"/>
                <a:gd name="T22" fmla="*/ 55 w 162"/>
                <a:gd name="T23" fmla="*/ 80 h 166"/>
                <a:gd name="T24" fmla="*/ 76 w 162"/>
                <a:gd name="T25" fmla="*/ 43 h 166"/>
                <a:gd name="T26" fmla="*/ 111 w 162"/>
                <a:gd name="T27" fmla="*/ 5 h 166"/>
                <a:gd name="T28" fmla="*/ 158 w 162"/>
                <a:gd name="T29" fmla="*/ 44 h 166"/>
                <a:gd name="T30" fmla="*/ 145 w 162"/>
                <a:gd name="T31" fmla="*/ 82 h 166"/>
                <a:gd name="T32" fmla="*/ 105 w 162"/>
                <a:gd name="T33" fmla="*/ 138 h 166"/>
                <a:gd name="T34" fmla="*/ 67 w 162"/>
                <a:gd name="T35" fmla="*/ 164 h 166"/>
                <a:gd name="T36" fmla="*/ 58 w 162"/>
                <a:gd name="T37" fmla="*/ 15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2" h="166">
                  <a:moveTo>
                    <a:pt x="58" y="158"/>
                  </a:moveTo>
                  <a:cubicBezTo>
                    <a:pt x="58" y="155"/>
                    <a:pt x="59" y="153"/>
                    <a:pt x="61" y="152"/>
                  </a:cubicBezTo>
                  <a:cubicBezTo>
                    <a:pt x="68" y="148"/>
                    <a:pt x="74" y="143"/>
                    <a:pt x="81" y="139"/>
                  </a:cubicBezTo>
                  <a:cubicBezTo>
                    <a:pt x="91" y="131"/>
                    <a:pt x="100" y="123"/>
                    <a:pt x="109" y="114"/>
                  </a:cubicBezTo>
                  <a:cubicBezTo>
                    <a:pt x="122" y="99"/>
                    <a:pt x="132" y="81"/>
                    <a:pt x="139" y="62"/>
                  </a:cubicBezTo>
                  <a:cubicBezTo>
                    <a:pt x="141" y="54"/>
                    <a:pt x="145" y="46"/>
                    <a:pt x="144" y="37"/>
                  </a:cubicBezTo>
                  <a:cubicBezTo>
                    <a:pt x="143" y="26"/>
                    <a:pt x="132" y="19"/>
                    <a:pt x="122" y="18"/>
                  </a:cubicBezTo>
                  <a:cubicBezTo>
                    <a:pt x="110" y="16"/>
                    <a:pt x="99" y="25"/>
                    <a:pt x="95" y="36"/>
                  </a:cubicBezTo>
                  <a:cubicBezTo>
                    <a:pt x="86" y="54"/>
                    <a:pt x="78" y="74"/>
                    <a:pt x="64" y="90"/>
                  </a:cubicBezTo>
                  <a:cubicBezTo>
                    <a:pt x="50" y="104"/>
                    <a:pt x="31" y="112"/>
                    <a:pt x="12" y="118"/>
                  </a:cubicBezTo>
                  <a:cubicBezTo>
                    <a:pt x="3" y="120"/>
                    <a:pt x="0" y="107"/>
                    <a:pt x="9" y="104"/>
                  </a:cubicBezTo>
                  <a:cubicBezTo>
                    <a:pt x="25" y="99"/>
                    <a:pt x="43" y="92"/>
                    <a:pt x="55" y="80"/>
                  </a:cubicBezTo>
                  <a:cubicBezTo>
                    <a:pt x="64" y="69"/>
                    <a:pt x="70" y="56"/>
                    <a:pt x="76" y="43"/>
                  </a:cubicBezTo>
                  <a:cubicBezTo>
                    <a:pt x="84" y="26"/>
                    <a:pt x="91" y="9"/>
                    <a:pt x="111" y="5"/>
                  </a:cubicBezTo>
                  <a:cubicBezTo>
                    <a:pt x="134" y="0"/>
                    <a:pt x="162" y="19"/>
                    <a:pt x="158" y="44"/>
                  </a:cubicBezTo>
                  <a:cubicBezTo>
                    <a:pt x="156" y="57"/>
                    <a:pt x="150" y="69"/>
                    <a:pt x="145" y="82"/>
                  </a:cubicBezTo>
                  <a:cubicBezTo>
                    <a:pt x="136" y="103"/>
                    <a:pt x="123" y="123"/>
                    <a:pt x="105" y="138"/>
                  </a:cubicBezTo>
                  <a:cubicBezTo>
                    <a:pt x="93" y="147"/>
                    <a:pt x="81" y="157"/>
                    <a:pt x="67" y="164"/>
                  </a:cubicBezTo>
                  <a:cubicBezTo>
                    <a:pt x="63" y="166"/>
                    <a:pt x="58" y="162"/>
                    <a:pt x="58" y="158"/>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76">
              <a:extLst>
                <a:ext uri="{FF2B5EF4-FFF2-40B4-BE49-F238E27FC236}">
                  <a16:creationId xmlns:a16="http://schemas.microsoft.com/office/drawing/2014/main" id="{7D33CFC3-ABFE-445E-AA51-8A40770F4F8A}"/>
                </a:ext>
              </a:extLst>
            </p:cNvPr>
            <p:cNvSpPr>
              <a:spLocks/>
            </p:cNvSpPr>
            <p:nvPr/>
          </p:nvSpPr>
          <p:spPr bwMode="auto">
            <a:xfrm>
              <a:off x="4814888" y="4814888"/>
              <a:ext cx="212725" cy="241300"/>
            </a:xfrm>
            <a:custGeom>
              <a:avLst/>
              <a:gdLst>
                <a:gd name="T0" fmla="*/ 0 w 99"/>
                <a:gd name="T1" fmla="*/ 102 h 111"/>
                <a:gd name="T2" fmla="*/ 6 w 99"/>
                <a:gd name="T3" fmla="*/ 95 h 111"/>
                <a:gd name="T4" fmla="*/ 29 w 99"/>
                <a:gd name="T5" fmla="*/ 83 h 111"/>
                <a:gd name="T6" fmla="*/ 53 w 99"/>
                <a:gd name="T7" fmla="*/ 65 h 111"/>
                <a:gd name="T8" fmla="*/ 83 w 99"/>
                <a:gd name="T9" fmla="*/ 16 h 111"/>
                <a:gd name="T10" fmla="*/ 85 w 99"/>
                <a:gd name="T11" fmla="*/ 8 h 111"/>
                <a:gd name="T12" fmla="*/ 99 w 99"/>
                <a:gd name="T13" fmla="*/ 9 h 111"/>
                <a:gd name="T14" fmla="*/ 84 w 99"/>
                <a:gd name="T15" fmla="*/ 46 h 111"/>
                <a:gd name="T16" fmla="*/ 60 w 99"/>
                <a:gd name="T17" fmla="*/ 77 h 111"/>
                <a:gd name="T18" fmla="*/ 35 w 99"/>
                <a:gd name="T19" fmla="*/ 95 h 111"/>
                <a:gd name="T20" fmla="*/ 18 w 99"/>
                <a:gd name="T21" fmla="*/ 105 h 111"/>
                <a:gd name="T22" fmla="*/ 10 w 99"/>
                <a:gd name="T23" fmla="*/ 109 h 111"/>
                <a:gd name="T24" fmla="*/ 0 w 99"/>
                <a:gd name="T25" fmla="*/ 10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11">
                  <a:moveTo>
                    <a:pt x="0" y="102"/>
                  </a:moveTo>
                  <a:cubicBezTo>
                    <a:pt x="0" y="99"/>
                    <a:pt x="2" y="97"/>
                    <a:pt x="6" y="95"/>
                  </a:cubicBezTo>
                  <a:cubicBezTo>
                    <a:pt x="14" y="92"/>
                    <a:pt x="21" y="88"/>
                    <a:pt x="29" y="83"/>
                  </a:cubicBezTo>
                  <a:cubicBezTo>
                    <a:pt x="37" y="78"/>
                    <a:pt x="45" y="72"/>
                    <a:pt x="53" y="65"/>
                  </a:cubicBezTo>
                  <a:cubicBezTo>
                    <a:pt x="66" y="51"/>
                    <a:pt x="76" y="34"/>
                    <a:pt x="83" y="16"/>
                  </a:cubicBezTo>
                  <a:cubicBezTo>
                    <a:pt x="84" y="13"/>
                    <a:pt x="85" y="11"/>
                    <a:pt x="85" y="8"/>
                  </a:cubicBezTo>
                  <a:cubicBezTo>
                    <a:pt x="87" y="0"/>
                    <a:pt x="99" y="1"/>
                    <a:pt x="99" y="9"/>
                  </a:cubicBezTo>
                  <a:cubicBezTo>
                    <a:pt x="97" y="22"/>
                    <a:pt x="90" y="35"/>
                    <a:pt x="84" y="46"/>
                  </a:cubicBezTo>
                  <a:cubicBezTo>
                    <a:pt x="77" y="58"/>
                    <a:pt x="69" y="69"/>
                    <a:pt x="60" y="77"/>
                  </a:cubicBezTo>
                  <a:cubicBezTo>
                    <a:pt x="52" y="84"/>
                    <a:pt x="44" y="90"/>
                    <a:pt x="35" y="95"/>
                  </a:cubicBezTo>
                  <a:cubicBezTo>
                    <a:pt x="30" y="99"/>
                    <a:pt x="24" y="102"/>
                    <a:pt x="18" y="105"/>
                  </a:cubicBezTo>
                  <a:cubicBezTo>
                    <a:pt x="15" y="106"/>
                    <a:pt x="13" y="107"/>
                    <a:pt x="10" y="109"/>
                  </a:cubicBezTo>
                  <a:cubicBezTo>
                    <a:pt x="6" y="111"/>
                    <a:pt x="1" y="107"/>
                    <a:pt x="0" y="102"/>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2" name="Freeform: Shape 141">
            <a:extLst>
              <a:ext uri="{FF2B5EF4-FFF2-40B4-BE49-F238E27FC236}">
                <a16:creationId xmlns:a16="http://schemas.microsoft.com/office/drawing/2014/main" id="{A87F0A7A-F966-4E64-92DB-0CE875C7914F}"/>
              </a:ext>
            </a:extLst>
          </p:cNvPr>
          <p:cNvSpPr>
            <a:spLocks/>
          </p:cNvSpPr>
          <p:nvPr/>
        </p:nvSpPr>
        <p:spPr bwMode="auto">
          <a:xfrm>
            <a:off x="5580047" y="3699094"/>
            <a:ext cx="656491" cy="260997"/>
          </a:xfrm>
          <a:custGeom>
            <a:avLst/>
            <a:gdLst>
              <a:gd name="connsiteX0" fmla="*/ 3785 w 1223963"/>
              <a:gd name="connsiteY0" fmla="*/ 254000 h 288926"/>
              <a:gd name="connsiteX1" fmla="*/ 45427 w 1223963"/>
              <a:gd name="connsiteY1" fmla="*/ 281164 h 288926"/>
              <a:gd name="connsiteX2" fmla="*/ 45427 w 1223963"/>
              <a:gd name="connsiteY2" fmla="*/ 285045 h 288926"/>
              <a:gd name="connsiteX3" fmla="*/ 45427 w 1223963"/>
              <a:gd name="connsiteY3" fmla="*/ 288925 h 288926"/>
              <a:gd name="connsiteX4" fmla="*/ 41642 w 1223963"/>
              <a:gd name="connsiteY4" fmla="*/ 288925 h 288926"/>
              <a:gd name="connsiteX5" fmla="*/ 0 w 1223963"/>
              <a:gd name="connsiteY5" fmla="*/ 261761 h 288926"/>
              <a:gd name="connsiteX6" fmla="*/ 0 w 1223963"/>
              <a:gd name="connsiteY6" fmla="*/ 257881 h 288926"/>
              <a:gd name="connsiteX7" fmla="*/ 3785 w 1223963"/>
              <a:gd name="connsiteY7" fmla="*/ 254000 h 288926"/>
              <a:gd name="connsiteX8" fmla="*/ 3742 w 1223963"/>
              <a:gd name="connsiteY8" fmla="*/ 215900 h 288926"/>
              <a:gd name="connsiteX9" fmla="*/ 104775 w 1223963"/>
              <a:gd name="connsiteY9" fmla="*/ 281238 h 288926"/>
              <a:gd name="connsiteX10" fmla="*/ 104775 w 1223963"/>
              <a:gd name="connsiteY10" fmla="*/ 285082 h 288926"/>
              <a:gd name="connsiteX11" fmla="*/ 101033 w 1223963"/>
              <a:gd name="connsiteY11" fmla="*/ 288925 h 288926"/>
              <a:gd name="connsiteX12" fmla="*/ 0 w 1223963"/>
              <a:gd name="connsiteY12" fmla="*/ 223587 h 288926"/>
              <a:gd name="connsiteX13" fmla="*/ 0 w 1223963"/>
              <a:gd name="connsiteY13" fmla="*/ 219744 h 288926"/>
              <a:gd name="connsiteX14" fmla="*/ 3742 w 1223963"/>
              <a:gd name="connsiteY14" fmla="*/ 215900 h 288926"/>
              <a:gd name="connsiteX15" fmla="*/ 3788 w 1223963"/>
              <a:gd name="connsiteY15" fmla="*/ 176213 h 288926"/>
              <a:gd name="connsiteX16" fmla="*/ 166688 w 1223963"/>
              <a:gd name="connsiteY16" fmla="*/ 281153 h 288926"/>
              <a:gd name="connsiteX17" fmla="*/ 166688 w 1223963"/>
              <a:gd name="connsiteY17" fmla="*/ 285039 h 288926"/>
              <a:gd name="connsiteX18" fmla="*/ 162900 w 1223963"/>
              <a:gd name="connsiteY18" fmla="*/ 288926 h 288926"/>
              <a:gd name="connsiteX19" fmla="*/ 0 w 1223963"/>
              <a:gd name="connsiteY19" fmla="*/ 183986 h 288926"/>
              <a:gd name="connsiteX20" fmla="*/ 0 w 1223963"/>
              <a:gd name="connsiteY20" fmla="*/ 180100 h 288926"/>
              <a:gd name="connsiteX21" fmla="*/ 3788 w 1223963"/>
              <a:gd name="connsiteY21" fmla="*/ 176213 h 288926"/>
              <a:gd name="connsiteX22" fmla="*/ 0 w 1223963"/>
              <a:gd name="connsiteY22" fmla="*/ 136525 h 288926"/>
              <a:gd name="connsiteX23" fmla="*/ 3783 w 1223963"/>
              <a:gd name="connsiteY23" fmla="*/ 136525 h 288926"/>
              <a:gd name="connsiteX24" fmla="*/ 227013 w 1223963"/>
              <a:gd name="connsiteY24" fmla="*/ 281110 h 288926"/>
              <a:gd name="connsiteX25" fmla="*/ 227013 w 1223963"/>
              <a:gd name="connsiteY25" fmla="*/ 285017 h 288926"/>
              <a:gd name="connsiteX26" fmla="*/ 223229 w 1223963"/>
              <a:gd name="connsiteY26" fmla="*/ 288925 h 288926"/>
              <a:gd name="connsiteX27" fmla="*/ 0 w 1223963"/>
              <a:gd name="connsiteY27" fmla="*/ 144341 h 288926"/>
              <a:gd name="connsiteX28" fmla="*/ 0 w 1223963"/>
              <a:gd name="connsiteY28" fmla="*/ 136525 h 288926"/>
              <a:gd name="connsiteX29" fmla="*/ 0 w 1223963"/>
              <a:gd name="connsiteY29" fmla="*/ 96838 h 288926"/>
              <a:gd name="connsiteX30" fmla="*/ 3781 w 1223963"/>
              <a:gd name="connsiteY30" fmla="*/ 96838 h 288926"/>
              <a:gd name="connsiteX31" fmla="*/ 287338 w 1223963"/>
              <a:gd name="connsiteY31" fmla="*/ 281086 h 288926"/>
              <a:gd name="connsiteX32" fmla="*/ 287338 w 1223963"/>
              <a:gd name="connsiteY32" fmla="*/ 285006 h 288926"/>
              <a:gd name="connsiteX33" fmla="*/ 283557 w 1223963"/>
              <a:gd name="connsiteY33" fmla="*/ 288926 h 288926"/>
              <a:gd name="connsiteX34" fmla="*/ 0 w 1223963"/>
              <a:gd name="connsiteY34" fmla="*/ 100758 h 288926"/>
              <a:gd name="connsiteX35" fmla="*/ 0 w 1223963"/>
              <a:gd name="connsiteY35" fmla="*/ 96838 h 288926"/>
              <a:gd name="connsiteX36" fmla="*/ 0 w 1223963"/>
              <a:gd name="connsiteY36" fmla="*/ 58738 h 288926"/>
              <a:gd name="connsiteX37" fmla="*/ 3779 w 1223963"/>
              <a:gd name="connsiteY37" fmla="*/ 58738 h 288926"/>
              <a:gd name="connsiteX38" fmla="*/ 347663 w 1223963"/>
              <a:gd name="connsiteY38" fmla="*/ 281123 h 288926"/>
              <a:gd name="connsiteX39" fmla="*/ 347663 w 1223963"/>
              <a:gd name="connsiteY39" fmla="*/ 285025 h 288926"/>
              <a:gd name="connsiteX40" fmla="*/ 343884 w 1223963"/>
              <a:gd name="connsiteY40" fmla="*/ 288926 h 288926"/>
              <a:gd name="connsiteX41" fmla="*/ 0 w 1223963"/>
              <a:gd name="connsiteY41" fmla="*/ 62640 h 288926"/>
              <a:gd name="connsiteX42" fmla="*/ 0 w 1223963"/>
              <a:gd name="connsiteY42" fmla="*/ 58738 h 288926"/>
              <a:gd name="connsiteX43" fmla="*/ 0 w 1223963"/>
              <a:gd name="connsiteY43" fmla="*/ 19050 h 288926"/>
              <a:gd name="connsiteX44" fmla="*/ 3778 w 1223963"/>
              <a:gd name="connsiteY44" fmla="*/ 19050 h 288926"/>
              <a:gd name="connsiteX45" fmla="*/ 407988 w 1223963"/>
              <a:gd name="connsiteY45" fmla="*/ 281103 h 288926"/>
              <a:gd name="connsiteX46" fmla="*/ 407988 w 1223963"/>
              <a:gd name="connsiteY46" fmla="*/ 285014 h 288926"/>
              <a:gd name="connsiteX47" fmla="*/ 404210 w 1223963"/>
              <a:gd name="connsiteY47" fmla="*/ 288925 h 288926"/>
              <a:gd name="connsiteX48" fmla="*/ 3778 w 1223963"/>
              <a:gd name="connsiteY48" fmla="*/ 26873 h 288926"/>
              <a:gd name="connsiteX49" fmla="*/ 0 w 1223963"/>
              <a:gd name="connsiteY49" fmla="*/ 22961 h 288926"/>
              <a:gd name="connsiteX50" fmla="*/ 0 w 1223963"/>
              <a:gd name="connsiteY50" fmla="*/ 19050 h 288926"/>
              <a:gd name="connsiteX51" fmla="*/ 1178536 w 1223963"/>
              <a:gd name="connsiteY51" fmla="*/ 0 h 288926"/>
              <a:gd name="connsiteX52" fmla="*/ 1182321 w 1223963"/>
              <a:gd name="connsiteY52" fmla="*/ 0 h 288926"/>
              <a:gd name="connsiteX53" fmla="*/ 1223963 w 1223963"/>
              <a:gd name="connsiteY53" fmla="*/ 27164 h 288926"/>
              <a:gd name="connsiteX54" fmla="*/ 1223963 w 1223963"/>
              <a:gd name="connsiteY54" fmla="*/ 31045 h 288926"/>
              <a:gd name="connsiteX55" fmla="*/ 1220178 w 1223963"/>
              <a:gd name="connsiteY55" fmla="*/ 34925 h 288926"/>
              <a:gd name="connsiteX56" fmla="*/ 1178536 w 1223963"/>
              <a:gd name="connsiteY56" fmla="*/ 7761 h 288926"/>
              <a:gd name="connsiteX57" fmla="*/ 1178536 w 1223963"/>
              <a:gd name="connsiteY57" fmla="*/ 3881 h 288926"/>
              <a:gd name="connsiteX58" fmla="*/ 1178536 w 1223963"/>
              <a:gd name="connsiteY58" fmla="*/ 0 h 288926"/>
              <a:gd name="connsiteX59" fmla="*/ 1122929 w 1223963"/>
              <a:gd name="connsiteY59" fmla="*/ 0 h 288926"/>
              <a:gd name="connsiteX60" fmla="*/ 1223962 w 1223963"/>
              <a:gd name="connsiteY60" fmla="*/ 66759 h 288926"/>
              <a:gd name="connsiteX61" fmla="*/ 1223962 w 1223963"/>
              <a:gd name="connsiteY61" fmla="*/ 70686 h 288926"/>
              <a:gd name="connsiteX62" fmla="*/ 1220220 w 1223963"/>
              <a:gd name="connsiteY62" fmla="*/ 74613 h 288926"/>
              <a:gd name="connsiteX63" fmla="*/ 1119187 w 1223963"/>
              <a:gd name="connsiteY63" fmla="*/ 7854 h 288926"/>
              <a:gd name="connsiteX64" fmla="*/ 1119187 w 1223963"/>
              <a:gd name="connsiteY64" fmla="*/ 3927 h 288926"/>
              <a:gd name="connsiteX65" fmla="*/ 1122929 w 1223963"/>
              <a:gd name="connsiteY65" fmla="*/ 0 h 288926"/>
              <a:gd name="connsiteX66" fmla="*/ 1062614 w 1223963"/>
              <a:gd name="connsiteY66" fmla="*/ 0 h 288926"/>
              <a:gd name="connsiteX67" fmla="*/ 1223962 w 1223963"/>
              <a:gd name="connsiteY67" fmla="*/ 104940 h 288926"/>
              <a:gd name="connsiteX68" fmla="*/ 1223962 w 1223963"/>
              <a:gd name="connsiteY68" fmla="*/ 108826 h 288926"/>
              <a:gd name="connsiteX69" fmla="*/ 1220210 w 1223963"/>
              <a:gd name="connsiteY69" fmla="*/ 112713 h 288926"/>
              <a:gd name="connsiteX70" fmla="*/ 1058862 w 1223963"/>
              <a:gd name="connsiteY70" fmla="*/ 7773 h 288926"/>
              <a:gd name="connsiteX71" fmla="*/ 1058862 w 1223963"/>
              <a:gd name="connsiteY71" fmla="*/ 3887 h 288926"/>
              <a:gd name="connsiteX72" fmla="*/ 1062614 w 1223963"/>
              <a:gd name="connsiteY72" fmla="*/ 0 h 288926"/>
              <a:gd name="connsiteX73" fmla="*/ 1000734 w 1223963"/>
              <a:gd name="connsiteY73" fmla="*/ 0 h 288926"/>
              <a:gd name="connsiteX74" fmla="*/ 1223963 w 1223963"/>
              <a:gd name="connsiteY74" fmla="*/ 144585 h 288926"/>
              <a:gd name="connsiteX75" fmla="*/ 1223963 w 1223963"/>
              <a:gd name="connsiteY75" fmla="*/ 152400 h 288926"/>
              <a:gd name="connsiteX76" fmla="*/ 1220180 w 1223963"/>
              <a:gd name="connsiteY76" fmla="*/ 152400 h 288926"/>
              <a:gd name="connsiteX77" fmla="*/ 996950 w 1223963"/>
              <a:gd name="connsiteY77" fmla="*/ 7816 h 288926"/>
              <a:gd name="connsiteX78" fmla="*/ 996950 w 1223963"/>
              <a:gd name="connsiteY78" fmla="*/ 3908 h 288926"/>
              <a:gd name="connsiteX79" fmla="*/ 1000734 w 1223963"/>
              <a:gd name="connsiteY79" fmla="*/ 0 h 288926"/>
              <a:gd name="connsiteX80" fmla="*/ 940406 w 1223963"/>
              <a:gd name="connsiteY80" fmla="*/ 0 h 288926"/>
              <a:gd name="connsiteX81" fmla="*/ 1223963 w 1223963"/>
              <a:gd name="connsiteY81" fmla="*/ 188168 h 288926"/>
              <a:gd name="connsiteX82" fmla="*/ 1223963 w 1223963"/>
              <a:gd name="connsiteY82" fmla="*/ 192088 h 288926"/>
              <a:gd name="connsiteX83" fmla="*/ 1220182 w 1223963"/>
              <a:gd name="connsiteY83" fmla="*/ 192088 h 288926"/>
              <a:gd name="connsiteX84" fmla="*/ 936625 w 1223963"/>
              <a:gd name="connsiteY84" fmla="*/ 7840 h 288926"/>
              <a:gd name="connsiteX85" fmla="*/ 936625 w 1223963"/>
              <a:gd name="connsiteY85" fmla="*/ 3920 h 288926"/>
              <a:gd name="connsiteX86" fmla="*/ 940406 w 1223963"/>
              <a:gd name="connsiteY86" fmla="*/ 0 h 288926"/>
              <a:gd name="connsiteX87" fmla="*/ 880079 w 1223963"/>
              <a:gd name="connsiteY87" fmla="*/ 0 h 288926"/>
              <a:gd name="connsiteX88" fmla="*/ 1223963 w 1223963"/>
              <a:gd name="connsiteY88" fmla="*/ 226287 h 288926"/>
              <a:gd name="connsiteX89" fmla="*/ 1223963 w 1223963"/>
              <a:gd name="connsiteY89" fmla="*/ 230188 h 288926"/>
              <a:gd name="connsiteX90" fmla="*/ 1220184 w 1223963"/>
              <a:gd name="connsiteY90" fmla="*/ 230188 h 288926"/>
              <a:gd name="connsiteX91" fmla="*/ 876300 w 1223963"/>
              <a:gd name="connsiteY91" fmla="*/ 7803 h 288926"/>
              <a:gd name="connsiteX92" fmla="*/ 876300 w 1223963"/>
              <a:gd name="connsiteY92" fmla="*/ 3902 h 288926"/>
              <a:gd name="connsiteX93" fmla="*/ 880079 w 1223963"/>
              <a:gd name="connsiteY93" fmla="*/ 0 h 288926"/>
              <a:gd name="connsiteX94" fmla="*/ 819753 w 1223963"/>
              <a:gd name="connsiteY94" fmla="*/ 0 h 288926"/>
              <a:gd name="connsiteX95" fmla="*/ 1220185 w 1223963"/>
              <a:gd name="connsiteY95" fmla="*/ 262053 h 288926"/>
              <a:gd name="connsiteX96" fmla="*/ 1223963 w 1223963"/>
              <a:gd name="connsiteY96" fmla="*/ 265964 h 288926"/>
              <a:gd name="connsiteX97" fmla="*/ 1223963 w 1223963"/>
              <a:gd name="connsiteY97" fmla="*/ 269875 h 288926"/>
              <a:gd name="connsiteX98" fmla="*/ 1220185 w 1223963"/>
              <a:gd name="connsiteY98" fmla="*/ 269875 h 288926"/>
              <a:gd name="connsiteX99" fmla="*/ 815975 w 1223963"/>
              <a:gd name="connsiteY99" fmla="*/ 7823 h 288926"/>
              <a:gd name="connsiteX100" fmla="*/ 815975 w 1223963"/>
              <a:gd name="connsiteY100" fmla="*/ 3911 h 288926"/>
              <a:gd name="connsiteX101" fmla="*/ 819753 w 1223963"/>
              <a:gd name="connsiteY101" fmla="*/ 0 h 288926"/>
              <a:gd name="connsiteX102" fmla="*/ 759433 w 1223963"/>
              <a:gd name="connsiteY102" fmla="*/ 0 h 288926"/>
              <a:gd name="connsiteX103" fmla="*/ 1190625 w 1223963"/>
              <a:gd name="connsiteY103" fmla="*/ 281116 h 288926"/>
              <a:gd name="connsiteX104" fmla="*/ 1190625 w 1223963"/>
              <a:gd name="connsiteY104" fmla="*/ 285021 h 288926"/>
              <a:gd name="connsiteX105" fmla="*/ 1190625 w 1223963"/>
              <a:gd name="connsiteY105" fmla="*/ 288925 h 288926"/>
              <a:gd name="connsiteX106" fmla="*/ 1186843 w 1223963"/>
              <a:gd name="connsiteY106" fmla="*/ 288925 h 288926"/>
              <a:gd name="connsiteX107" fmla="*/ 755650 w 1223963"/>
              <a:gd name="connsiteY107" fmla="*/ 7809 h 288926"/>
              <a:gd name="connsiteX108" fmla="*/ 755650 w 1223963"/>
              <a:gd name="connsiteY108" fmla="*/ 3905 h 288926"/>
              <a:gd name="connsiteX109" fmla="*/ 759433 w 1223963"/>
              <a:gd name="connsiteY109" fmla="*/ 0 h 288926"/>
              <a:gd name="connsiteX110" fmla="*/ 699102 w 1223963"/>
              <a:gd name="connsiteY110" fmla="*/ 0 h 288926"/>
              <a:gd name="connsiteX111" fmla="*/ 1129698 w 1223963"/>
              <a:gd name="connsiteY111" fmla="*/ 281116 h 288926"/>
              <a:gd name="connsiteX112" fmla="*/ 1129698 w 1223963"/>
              <a:gd name="connsiteY112" fmla="*/ 285021 h 288926"/>
              <a:gd name="connsiteX113" fmla="*/ 1129698 w 1223963"/>
              <a:gd name="connsiteY113" fmla="*/ 288925 h 288926"/>
              <a:gd name="connsiteX114" fmla="*/ 1125921 w 1223963"/>
              <a:gd name="connsiteY114" fmla="*/ 288925 h 288926"/>
              <a:gd name="connsiteX115" fmla="*/ 695325 w 1223963"/>
              <a:gd name="connsiteY115" fmla="*/ 7809 h 288926"/>
              <a:gd name="connsiteX116" fmla="*/ 695325 w 1223963"/>
              <a:gd name="connsiteY116" fmla="*/ 3905 h 288926"/>
              <a:gd name="connsiteX117" fmla="*/ 699102 w 1223963"/>
              <a:gd name="connsiteY117" fmla="*/ 0 h 288926"/>
              <a:gd name="connsiteX118" fmla="*/ 638777 w 1223963"/>
              <a:gd name="connsiteY118" fmla="*/ 0 h 288926"/>
              <a:gd name="connsiteX119" fmla="*/ 1069373 w 1223963"/>
              <a:gd name="connsiteY119" fmla="*/ 281116 h 288926"/>
              <a:gd name="connsiteX120" fmla="*/ 1069373 w 1223963"/>
              <a:gd name="connsiteY120" fmla="*/ 285021 h 288926"/>
              <a:gd name="connsiteX121" fmla="*/ 1069373 w 1223963"/>
              <a:gd name="connsiteY121" fmla="*/ 288925 h 288926"/>
              <a:gd name="connsiteX122" fmla="*/ 1065596 w 1223963"/>
              <a:gd name="connsiteY122" fmla="*/ 288925 h 288926"/>
              <a:gd name="connsiteX123" fmla="*/ 635000 w 1223963"/>
              <a:gd name="connsiteY123" fmla="*/ 7809 h 288926"/>
              <a:gd name="connsiteX124" fmla="*/ 635000 w 1223963"/>
              <a:gd name="connsiteY124" fmla="*/ 3905 h 288926"/>
              <a:gd name="connsiteX125" fmla="*/ 638777 w 1223963"/>
              <a:gd name="connsiteY125" fmla="*/ 0 h 288926"/>
              <a:gd name="connsiteX126" fmla="*/ 578452 w 1223963"/>
              <a:gd name="connsiteY126" fmla="*/ 0 h 288926"/>
              <a:gd name="connsiteX127" fmla="*/ 1009048 w 1223963"/>
              <a:gd name="connsiteY127" fmla="*/ 281116 h 288926"/>
              <a:gd name="connsiteX128" fmla="*/ 1009048 w 1223963"/>
              <a:gd name="connsiteY128" fmla="*/ 285021 h 288926"/>
              <a:gd name="connsiteX129" fmla="*/ 1009048 w 1223963"/>
              <a:gd name="connsiteY129" fmla="*/ 288925 h 288926"/>
              <a:gd name="connsiteX130" fmla="*/ 1005271 w 1223963"/>
              <a:gd name="connsiteY130" fmla="*/ 288925 h 288926"/>
              <a:gd name="connsiteX131" fmla="*/ 578452 w 1223963"/>
              <a:gd name="connsiteY131" fmla="*/ 7809 h 288926"/>
              <a:gd name="connsiteX132" fmla="*/ 574675 w 1223963"/>
              <a:gd name="connsiteY132" fmla="*/ 3905 h 288926"/>
              <a:gd name="connsiteX133" fmla="*/ 578452 w 1223963"/>
              <a:gd name="connsiteY133" fmla="*/ 0 h 288926"/>
              <a:gd name="connsiteX134" fmla="*/ 518127 w 1223963"/>
              <a:gd name="connsiteY134" fmla="*/ 0 h 288926"/>
              <a:gd name="connsiteX135" fmla="*/ 521904 w 1223963"/>
              <a:gd name="connsiteY135" fmla="*/ 0 h 288926"/>
              <a:gd name="connsiteX136" fmla="*/ 948723 w 1223963"/>
              <a:gd name="connsiteY136" fmla="*/ 281116 h 288926"/>
              <a:gd name="connsiteX137" fmla="*/ 948723 w 1223963"/>
              <a:gd name="connsiteY137" fmla="*/ 285021 h 288926"/>
              <a:gd name="connsiteX138" fmla="*/ 948723 w 1223963"/>
              <a:gd name="connsiteY138" fmla="*/ 288925 h 288926"/>
              <a:gd name="connsiteX139" fmla="*/ 944946 w 1223963"/>
              <a:gd name="connsiteY139" fmla="*/ 288925 h 288926"/>
              <a:gd name="connsiteX140" fmla="*/ 518127 w 1223963"/>
              <a:gd name="connsiteY140" fmla="*/ 7809 h 288926"/>
              <a:gd name="connsiteX141" fmla="*/ 514350 w 1223963"/>
              <a:gd name="connsiteY141" fmla="*/ 3905 h 288926"/>
              <a:gd name="connsiteX142" fmla="*/ 518127 w 1223963"/>
              <a:gd name="connsiteY142" fmla="*/ 0 h 288926"/>
              <a:gd name="connsiteX143" fmla="*/ 457802 w 1223963"/>
              <a:gd name="connsiteY143" fmla="*/ 0 h 288926"/>
              <a:gd name="connsiteX144" fmla="*/ 461579 w 1223963"/>
              <a:gd name="connsiteY144" fmla="*/ 0 h 288926"/>
              <a:gd name="connsiteX145" fmla="*/ 888398 w 1223963"/>
              <a:gd name="connsiteY145" fmla="*/ 281116 h 288926"/>
              <a:gd name="connsiteX146" fmla="*/ 892175 w 1223963"/>
              <a:gd name="connsiteY146" fmla="*/ 285021 h 288926"/>
              <a:gd name="connsiteX147" fmla="*/ 888398 w 1223963"/>
              <a:gd name="connsiteY147" fmla="*/ 288925 h 288926"/>
              <a:gd name="connsiteX148" fmla="*/ 884621 w 1223963"/>
              <a:gd name="connsiteY148" fmla="*/ 288925 h 288926"/>
              <a:gd name="connsiteX149" fmla="*/ 457802 w 1223963"/>
              <a:gd name="connsiteY149" fmla="*/ 7809 h 288926"/>
              <a:gd name="connsiteX150" fmla="*/ 454025 w 1223963"/>
              <a:gd name="connsiteY150" fmla="*/ 3905 h 288926"/>
              <a:gd name="connsiteX151" fmla="*/ 457802 w 1223963"/>
              <a:gd name="connsiteY151" fmla="*/ 0 h 288926"/>
              <a:gd name="connsiteX152" fmla="*/ 395903 w 1223963"/>
              <a:gd name="connsiteY152" fmla="*/ 0 h 288926"/>
              <a:gd name="connsiteX153" fmla="*/ 399694 w 1223963"/>
              <a:gd name="connsiteY153" fmla="*/ 0 h 288926"/>
              <a:gd name="connsiteX154" fmla="*/ 828059 w 1223963"/>
              <a:gd name="connsiteY154" fmla="*/ 281116 h 288926"/>
              <a:gd name="connsiteX155" fmla="*/ 831850 w 1223963"/>
              <a:gd name="connsiteY155" fmla="*/ 285021 h 288926"/>
              <a:gd name="connsiteX156" fmla="*/ 828059 w 1223963"/>
              <a:gd name="connsiteY156" fmla="*/ 288925 h 288926"/>
              <a:gd name="connsiteX157" fmla="*/ 824268 w 1223963"/>
              <a:gd name="connsiteY157" fmla="*/ 288925 h 288926"/>
              <a:gd name="connsiteX158" fmla="*/ 395903 w 1223963"/>
              <a:gd name="connsiteY158" fmla="*/ 7809 h 288926"/>
              <a:gd name="connsiteX159" fmla="*/ 392112 w 1223963"/>
              <a:gd name="connsiteY159" fmla="*/ 3905 h 288926"/>
              <a:gd name="connsiteX160" fmla="*/ 395903 w 1223963"/>
              <a:gd name="connsiteY160" fmla="*/ 0 h 288926"/>
              <a:gd name="connsiteX161" fmla="*/ 335578 w 1223963"/>
              <a:gd name="connsiteY161" fmla="*/ 0 h 288926"/>
              <a:gd name="connsiteX162" fmla="*/ 339369 w 1223963"/>
              <a:gd name="connsiteY162" fmla="*/ 0 h 288926"/>
              <a:gd name="connsiteX163" fmla="*/ 767734 w 1223963"/>
              <a:gd name="connsiteY163" fmla="*/ 281116 h 288926"/>
              <a:gd name="connsiteX164" fmla="*/ 771525 w 1223963"/>
              <a:gd name="connsiteY164" fmla="*/ 285021 h 288926"/>
              <a:gd name="connsiteX165" fmla="*/ 767734 w 1223963"/>
              <a:gd name="connsiteY165" fmla="*/ 288925 h 288926"/>
              <a:gd name="connsiteX166" fmla="*/ 763943 w 1223963"/>
              <a:gd name="connsiteY166" fmla="*/ 288925 h 288926"/>
              <a:gd name="connsiteX167" fmla="*/ 335578 w 1223963"/>
              <a:gd name="connsiteY167" fmla="*/ 7809 h 288926"/>
              <a:gd name="connsiteX168" fmla="*/ 331787 w 1223963"/>
              <a:gd name="connsiteY168" fmla="*/ 3905 h 288926"/>
              <a:gd name="connsiteX169" fmla="*/ 335578 w 1223963"/>
              <a:gd name="connsiteY169" fmla="*/ 0 h 288926"/>
              <a:gd name="connsiteX170" fmla="*/ 275239 w 1223963"/>
              <a:gd name="connsiteY170" fmla="*/ 0 h 288926"/>
              <a:gd name="connsiteX171" fmla="*/ 279016 w 1223963"/>
              <a:gd name="connsiteY171" fmla="*/ 0 h 288926"/>
              <a:gd name="connsiteX172" fmla="*/ 705835 w 1223963"/>
              <a:gd name="connsiteY172" fmla="*/ 281116 h 288926"/>
              <a:gd name="connsiteX173" fmla="*/ 709612 w 1223963"/>
              <a:gd name="connsiteY173" fmla="*/ 285021 h 288926"/>
              <a:gd name="connsiteX174" fmla="*/ 705835 w 1223963"/>
              <a:gd name="connsiteY174" fmla="*/ 288925 h 288926"/>
              <a:gd name="connsiteX175" fmla="*/ 702058 w 1223963"/>
              <a:gd name="connsiteY175" fmla="*/ 288925 h 288926"/>
              <a:gd name="connsiteX176" fmla="*/ 275239 w 1223963"/>
              <a:gd name="connsiteY176" fmla="*/ 7809 h 288926"/>
              <a:gd name="connsiteX177" fmla="*/ 275239 w 1223963"/>
              <a:gd name="connsiteY177" fmla="*/ 3905 h 288926"/>
              <a:gd name="connsiteX178" fmla="*/ 275239 w 1223963"/>
              <a:gd name="connsiteY178" fmla="*/ 0 h 288926"/>
              <a:gd name="connsiteX179" fmla="*/ 214914 w 1223963"/>
              <a:gd name="connsiteY179" fmla="*/ 0 h 288926"/>
              <a:gd name="connsiteX180" fmla="*/ 218691 w 1223963"/>
              <a:gd name="connsiteY180" fmla="*/ 0 h 288926"/>
              <a:gd name="connsiteX181" fmla="*/ 645510 w 1223963"/>
              <a:gd name="connsiteY181" fmla="*/ 281116 h 288926"/>
              <a:gd name="connsiteX182" fmla="*/ 649287 w 1223963"/>
              <a:gd name="connsiteY182" fmla="*/ 285021 h 288926"/>
              <a:gd name="connsiteX183" fmla="*/ 645510 w 1223963"/>
              <a:gd name="connsiteY183" fmla="*/ 288925 h 288926"/>
              <a:gd name="connsiteX184" fmla="*/ 214914 w 1223963"/>
              <a:gd name="connsiteY184" fmla="*/ 7809 h 288926"/>
              <a:gd name="connsiteX185" fmla="*/ 214914 w 1223963"/>
              <a:gd name="connsiteY185" fmla="*/ 3905 h 288926"/>
              <a:gd name="connsiteX186" fmla="*/ 214914 w 1223963"/>
              <a:gd name="connsiteY186" fmla="*/ 0 h 288926"/>
              <a:gd name="connsiteX187" fmla="*/ 154589 w 1223963"/>
              <a:gd name="connsiteY187" fmla="*/ 0 h 288926"/>
              <a:gd name="connsiteX188" fmla="*/ 158366 w 1223963"/>
              <a:gd name="connsiteY188" fmla="*/ 0 h 288926"/>
              <a:gd name="connsiteX189" fmla="*/ 588962 w 1223963"/>
              <a:gd name="connsiteY189" fmla="*/ 281116 h 288926"/>
              <a:gd name="connsiteX190" fmla="*/ 588962 w 1223963"/>
              <a:gd name="connsiteY190" fmla="*/ 285021 h 288926"/>
              <a:gd name="connsiteX191" fmla="*/ 585185 w 1223963"/>
              <a:gd name="connsiteY191" fmla="*/ 288925 h 288926"/>
              <a:gd name="connsiteX192" fmla="*/ 154589 w 1223963"/>
              <a:gd name="connsiteY192" fmla="*/ 7809 h 288926"/>
              <a:gd name="connsiteX193" fmla="*/ 154589 w 1223963"/>
              <a:gd name="connsiteY193" fmla="*/ 3905 h 288926"/>
              <a:gd name="connsiteX194" fmla="*/ 154589 w 1223963"/>
              <a:gd name="connsiteY194" fmla="*/ 0 h 288926"/>
              <a:gd name="connsiteX195" fmla="*/ 94264 w 1223963"/>
              <a:gd name="connsiteY195" fmla="*/ 0 h 288926"/>
              <a:gd name="connsiteX196" fmla="*/ 98041 w 1223963"/>
              <a:gd name="connsiteY196" fmla="*/ 0 h 288926"/>
              <a:gd name="connsiteX197" fmla="*/ 528637 w 1223963"/>
              <a:gd name="connsiteY197" fmla="*/ 281116 h 288926"/>
              <a:gd name="connsiteX198" fmla="*/ 528637 w 1223963"/>
              <a:gd name="connsiteY198" fmla="*/ 285021 h 288926"/>
              <a:gd name="connsiteX199" fmla="*/ 524860 w 1223963"/>
              <a:gd name="connsiteY199" fmla="*/ 288925 h 288926"/>
              <a:gd name="connsiteX200" fmla="*/ 94264 w 1223963"/>
              <a:gd name="connsiteY200" fmla="*/ 7809 h 288926"/>
              <a:gd name="connsiteX201" fmla="*/ 94264 w 1223963"/>
              <a:gd name="connsiteY201" fmla="*/ 3905 h 288926"/>
              <a:gd name="connsiteX202" fmla="*/ 94264 w 1223963"/>
              <a:gd name="connsiteY202" fmla="*/ 0 h 288926"/>
              <a:gd name="connsiteX203" fmla="*/ 33337 w 1223963"/>
              <a:gd name="connsiteY203" fmla="*/ 0 h 288926"/>
              <a:gd name="connsiteX204" fmla="*/ 37119 w 1223963"/>
              <a:gd name="connsiteY204" fmla="*/ 0 h 288926"/>
              <a:gd name="connsiteX205" fmla="*/ 468312 w 1223963"/>
              <a:gd name="connsiteY205" fmla="*/ 281116 h 288926"/>
              <a:gd name="connsiteX206" fmla="*/ 468312 w 1223963"/>
              <a:gd name="connsiteY206" fmla="*/ 285021 h 288926"/>
              <a:gd name="connsiteX207" fmla="*/ 464529 w 1223963"/>
              <a:gd name="connsiteY207" fmla="*/ 288925 h 288926"/>
              <a:gd name="connsiteX208" fmla="*/ 33337 w 1223963"/>
              <a:gd name="connsiteY208" fmla="*/ 7809 h 288926"/>
              <a:gd name="connsiteX209" fmla="*/ 33337 w 1223963"/>
              <a:gd name="connsiteY209" fmla="*/ 3905 h 288926"/>
              <a:gd name="connsiteX210" fmla="*/ 33337 w 1223963"/>
              <a:gd name="connsiteY210" fmla="*/ 0 h 288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223963" h="288926">
                <a:moveTo>
                  <a:pt x="3785" y="254000"/>
                </a:moveTo>
                <a:cubicBezTo>
                  <a:pt x="3785" y="254000"/>
                  <a:pt x="3785" y="254000"/>
                  <a:pt x="45427" y="281164"/>
                </a:cubicBezTo>
                <a:cubicBezTo>
                  <a:pt x="45427" y="285045"/>
                  <a:pt x="49213" y="285045"/>
                  <a:pt x="45427" y="285045"/>
                </a:cubicBezTo>
                <a:cubicBezTo>
                  <a:pt x="45427" y="285045"/>
                  <a:pt x="45427" y="285045"/>
                  <a:pt x="45427" y="288925"/>
                </a:cubicBezTo>
                <a:cubicBezTo>
                  <a:pt x="45427" y="288925"/>
                  <a:pt x="45427" y="288925"/>
                  <a:pt x="41642" y="288925"/>
                </a:cubicBezTo>
                <a:cubicBezTo>
                  <a:pt x="41642" y="288925"/>
                  <a:pt x="41642" y="288925"/>
                  <a:pt x="0" y="261761"/>
                </a:cubicBezTo>
                <a:cubicBezTo>
                  <a:pt x="0" y="261761"/>
                  <a:pt x="0" y="257881"/>
                  <a:pt x="0" y="257881"/>
                </a:cubicBezTo>
                <a:cubicBezTo>
                  <a:pt x="0" y="254000"/>
                  <a:pt x="0" y="254000"/>
                  <a:pt x="3785" y="254000"/>
                </a:cubicBezTo>
                <a:close/>
                <a:moveTo>
                  <a:pt x="3742" y="215900"/>
                </a:moveTo>
                <a:cubicBezTo>
                  <a:pt x="3742" y="215900"/>
                  <a:pt x="3742" y="215900"/>
                  <a:pt x="104775" y="281238"/>
                </a:cubicBezTo>
                <a:cubicBezTo>
                  <a:pt x="104775" y="285082"/>
                  <a:pt x="104775" y="285082"/>
                  <a:pt x="104775" y="285082"/>
                </a:cubicBezTo>
                <a:cubicBezTo>
                  <a:pt x="104775" y="285082"/>
                  <a:pt x="104775" y="285082"/>
                  <a:pt x="101033" y="288925"/>
                </a:cubicBezTo>
                <a:cubicBezTo>
                  <a:pt x="101033" y="288925"/>
                  <a:pt x="101033" y="288925"/>
                  <a:pt x="0" y="223587"/>
                </a:cubicBezTo>
                <a:cubicBezTo>
                  <a:pt x="0" y="223587"/>
                  <a:pt x="0" y="219744"/>
                  <a:pt x="0" y="219744"/>
                </a:cubicBezTo>
                <a:cubicBezTo>
                  <a:pt x="0" y="215900"/>
                  <a:pt x="0" y="215900"/>
                  <a:pt x="3742" y="215900"/>
                </a:cubicBezTo>
                <a:close/>
                <a:moveTo>
                  <a:pt x="3788" y="176213"/>
                </a:moveTo>
                <a:cubicBezTo>
                  <a:pt x="3788" y="176213"/>
                  <a:pt x="3788" y="176213"/>
                  <a:pt x="166688" y="281153"/>
                </a:cubicBezTo>
                <a:cubicBezTo>
                  <a:pt x="166688" y="285039"/>
                  <a:pt x="166688" y="285039"/>
                  <a:pt x="166688" y="285039"/>
                </a:cubicBezTo>
                <a:cubicBezTo>
                  <a:pt x="166688" y="285039"/>
                  <a:pt x="166688" y="285039"/>
                  <a:pt x="162900" y="288926"/>
                </a:cubicBezTo>
                <a:cubicBezTo>
                  <a:pt x="162900" y="288926"/>
                  <a:pt x="162900" y="288926"/>
                  <a:pt x="0" y="183986"/>
                </a:cubicBezTo>
                <a:cubicBezTo>
                  <a:pt x="0" y="180100"/>
                  <a:pt x="0" y="180100"/>
                  <a:pt x="0" y="180100"/>
                </a:cubicBezTo>
                <a:cubicBezTo>
                  <a:pt x="0" y="176213"/>
                  <a:pt x="0" y="176213"/>
                  <a:pt x="3788" y="176213"/>
                </a:cubicBezTo>
                <a:close/>
                <a:moveTo>
                  <a:pt x="0" y="136525"/>
                </a:moveTo>
                <a:cubicBezTo>
                  <a:pt x="0" y="136525"/>
                  <a:pt x="0" y="136525"/>
                  <a:pt x="3783" y="136525"/>
                </a:cubicBezTo>
                <a:cubicBezTo>
                  <a:pt x="3783" y="136525"/>
                  <a:pt x="3783" y="136525"/>
                  <a:pt x="227013" y="281110"/>
                </a:cubicBezTo>
                <a:cubicBezTo>
                  <a:pt x="227013" y="285017"/>
                  <a:pt x="227013" y="285017"/>
                  <a:pt x="227013" y="285017"/>
                </a:cubicBezTo>
                <a:cubicBezTo>
                  <a:pt x="227013" y="285017"/>
                  <a:pt x="227013" y="285017"/>
                  <a:pt x="223229" y="288925"/>
                </a:cubicBezTo>
                <a:cubicBezTo>
                  <a:pt x="223229" y="288925"/>
                  <a:pt x="223229" y="288925"/>
                  <a:pt x="0" y="144341"/>
                </a:cubicBezTo>
                <a:cubicBezTo>
                  <a:pt x="0" y="140433"/>
                  <a:pt x="0" y="140433"/>
                  <a:pt x="0" y="136525"/>
                </a:cubicBezTo>
                <a:close/>
                <a:moveTo>
                  <a:pt x="0" y="96838"/>
                </a:moveTo>
                <a:cubicBezTo>
                  <a:pt x="0" y="96838"/>
                  <a:pt x="0" y="96838"/>
                  <a:pt x="3781" y="96838"/>
                </a:cubicBezTo>
                <a:cubicBezTo>
                  <a:pt x="3781" y="96838"/>
                  <a:pt x="3781" y="96838"/>
                  <a:pt x="287338" y="281086"/>
                </a:cubicBezTo>
                <a:cubicBezTo>
                  <a:pt x="287338" y="285006"/>
                  <a:pt x="287338" y="285006"/>
                  <a:pt x="287338" y="285006"/>
                </a:cubicBezTo>
                <a:cubicBezTo>
                  <a:pt x="287338" y="285006"/>
                  <a:pt x="287338" y="285006"/>
                  <a:pt x="283557" y="288926"/>
                </a:cubicBezTo>
                <a:cubicBezTo>
                  <a:pt x="283557" y="288926"/>
                  <a:pt x="283557" y="288926"/>
                  <a:pt x="0" y="100758"/>
                </a:cubicBezTo>
                <a:cubicBezTo>
                  <a:pt x="0" y="100758"/>
                  <a:pt x="0" y="100758"/>
                  <a:pt x="0" y="96838"/>
                </a:cubicBezTo>
                <a:close/>
                <a:moveTo>
                  <a:pt x="0" y="58738"/>
                </a:moveTo>
                <a:cubicBezTo>
                  <a:pt x="0" y="58738"/>
                  <a:pt x="0" y="58738"/>
                  <a:pt x="3779" y="58738"/>
                </a:cubicBezTo>
                <a:cubicBezTo>
                  <a:pt x="3779" y="58738"/>
                  <a:pt x="3779" y="58738"/>
                  <a:pt x="347663" y="281123"/>
                </a:cubicBezTo>
                <a:cubicBezTo>
                  <a:pt x="347663" y="285025"/>
                  <a:pt x="347663" y="285025"/>
                  <a:pt x="347663" y="285025"/>
                </a:cubicBezTo>
                <a:cubicBezTo>
                  <a:pt x="347663" y="285025"/>
                  <a:pt x="347663" y="285025"/>
                  <a:pt x="343884" y="288926"/>
                </a:cubicBezTo>
                <a:cubicBezTo>
                  <a:pt x="343884" y="288926"/>
                  <a:pt x="343884" y="288926"/>
                  <a:pt x="0" y="62640"/>
                </a:cubicBezTo>
                <a:cubicBezTo>
                  <a:pt x="0" y="62640"/>
                  <a:pt x="0" y="62640"/>
                  <a:pt x="0" y="58738"/>
                </a:cubicBezTo>
                <a:close/>
                <a:moveTo>
                  <a:pt x="0" y="19050"/>
                </a:moveTo>
                <a:cubicBezTo>
                  <a:pt x="0" y="19050"/>
                  <a:pt x="0" y="19050"/>
                  <a:pt x="3778" y="19050"/>
                </a:cubicBezTo>
                <a:cubicBezTo>
                  <a:pt x="3778" y="19050"/>
                  <a:pt x="3778" y="19050"/>
                  <a:pt x="407988" y="281103"/>
                </a:cubicBezTo>
                <a:cubicBezTo>
                  <a:pt x="407988" y="285014"/>
                  <a:pt x="407988" y="285014"/>
                  <a:pt x="407988" y="285014"/>
                </a:cubicBezTo>
                <a:cubicBezTo>
                  <a:pt x="407988" y="285014"/>
                  <a:pt x="407988" y="285014"/>
                  <a:pt x="404210" y="288925"/>
                </a:cubicBezTo>
                <a:cubicBezTo>
                  <a:pt x="404210" y="288925"/>
                  <a:pt x="404210" y="288925"/>
                  <a:pt x="3778" y="26873"/>
                </a:cubicBezTo>
                <a:cubicBezTo>
                  <a:pt x="0" y="26873"/>
                  <a:pt x="0" y="22961"/>
                  <a:pt x="0" y="22961"/>
                </a:cubicBezTo>
                <a:cubicBezTo>
                  <a:pt x="0" y="22961"/>
                  <a:pt x="0" y="22961"/>
                  <a:pt x="0" y="19050"/>
                </a:cubicBezTo>
                <a:close/>
                <a:moveTo>
                  <a:pt x="1178536" y="0"/>
                </a:moveTo>
                <a:cubicBezTo>
                  <a:pt x="1182321" y="0"/>
                  <a:pt x="1182321" y="0"/>
                  <a:pt x="1182321" y="0"/>
                </a:cubicBezTo>
                <a:cubicBezTo>
                  <a:pt x="1182321" y="0"/>
                  <a:pt x="1182321" y="0"/>
                  <a:pt x="1223963" y="27164"/>
                </a:cubicBezTo>
                <a:cubicBezTo>
                  <a:pt x="1223963" y="27164"/>
                  <a:pt x="1223963" y="31045"/>
                  <a:pt x="1223963" y="31045"/>
                </a:cubicBezTo>
                <a:cubicBezTo>
                  <a:pt x="1223963" y="31045"/>
                  <a:pt x="1223963" y="31045"/>
                  <a:pt x="1220178" y="34925"/>
                </a:cubicBezTo>
                <a:cubicBezTo>
                  <a:pt x="1220178" y="34925"/>
                  <a:pt x="1220178" y="34925"/>
                  <a:pt x="1178536" y="7761"/>
                </a:cubicBezTo>
                <a:cubicBezTo>
                  <a:pt x="1178536" y="3881"/>
                  <a:pt x="1174750" y="3881"/>
                  <a:pt x="1178536" y="3881"/>
                </a:cubicBezTo>
                <a:cubicBezTo>
                  <a:pt x="1178536" y="0"/>
                  <a:pt x="1178536" y="0"/>
                  <a:pt x="1178536" y="0"/>
                </a:cubicBezTo>
                <a:close/>
                <a:moveTo>
                  <a:pt x="1122929" y="0"/>
                </a:moveTo>
                <a:cubicBezTo>
                  <a:pt x="1122929" y="0"/>
                  <a:pt x="1122929" y="0"/>
                  <a:pt x="1223962" y="66759"/>
                </a:cubicBezTo>
                <a:cubicBezTo>
                  <a:pt x="1223962" y="66759"/>
                  <a:pt x="1223962" y="70686"/>
                  <a:pt x="1223962" y="70686"/>
                </a:cubicBezTo>
                <a:cubicBezTo>
                  <a:pt x="1223962" y="70686"/>
                  <a:pt x="1223962" y="70686"/>
                  <a:pt x="1220220" y="74613"/>
                </a:cubicBezTo>
                <a:cubicBezTo>
                  <a:pt x="1220220" y="74613"/>
                  <a:pt x="1220220" y="74613"/>
                  <a:pt x="1119187" y="7854"/>
                </a:cubicBezTo>
                <a:cubicBezTo>
                  <a:pt x="1119187" y="3927"/>
                  <a:pt x="1119187" y="3927"/>
                  <a:pt x="1119187" y="3927"/>
                </a:cubicBezTo>
                <a:cubicBezTo>
                  <a:pt x="1119187" y="0"/>
                  <a:pt x="1119187" y="0"/>
                  <a:pt x="1122929" y="0"/>
                </a:cubicBezTo>
                <a:close/>
                <a:moveTo>
                  <a:pt x="1062614" y="0"/>
                </a:moveTo>
                <a:cubicBezTo>
                  <a:pt x="1062614" y="0"/>
                  <a:pt x="1062614" y="0"/>
                  <a:pt x="1223962" y="104940"/>
                </a:cubicBezTo>
                <a:cubicBezTo>
                  <a:pt x="1223962" y="108826"/>
                  <a:pt x="1223962" y="108826"/>
                  <a:pt x="1223962" y="108826"/>
                </a:cubicBezTo>
                <a:cubicBezTo>
                  <a:pt x="1223962" y="108826"/>
                  <a:pt x="1223962" y="108826"/>
                  <a:pt x="1220210" y="112713"/>
                </a:cubicBezTo>
                <a:cubicBezTo>
                  <a:pt x="1220210" y="112713"/>
                  <a:pt x="1220210" y="112713"/>
                  <a:pt x="1058862" y="7773"/>
                </a:cubicBezTo>
                <a:cubicBezTo>
                  <a:pt x="1058862" y="3887"/>
                  <a:pt x="1058862" y="3887"/>
                  <a:pt x="1058862" y="3887"/>
                </a:cubicBezTo>
                <a:cubicBezTo>
                  <a:pt x="1058862" y="0"/>
                  <a:pt x="1058862" y="0"/>
                  <a:pt x="1062614" y="0"/>
                </a:cubicBezTo>
                <a:close/>
                <a:moveTo>
                  <a:pt x="1000734" y="0"/>
                </a:moveTo>
                <a:cubicBezTo>
                  <a:pt x="1000734" y="0"/>
                  <a:pt x="1000734" y="0"/>
                  <a:pt x="1223963" y="144585"/>
                </a:cubicBezTo>
                <a:cubicBezTo>
                  <a:pt x="1223963" y="148492"/>
                  <a:pt x="1223963" y="148492"/>
                  <a:pt x="1223963" y="152400"/>
                </a:cubicBezTo>
                <a:cubicBezTo>
                  <a:pt x="1223963" y="152400"/>
                  <a:pt x="1223963" y="152400"/>
                  <a:pt x="1220180" y="152400"/>
                </a:cubicBezTo>
                <a:cubicBezTo>
                  <a:pt x="1220180" y="152400"/>
                  <a:pt x="1220180" y="152400"/>
                  <a:pt x="996950" y="7816"/>
                </a:cubicBezTo>
                <a:cubicBezTo>
                  <a:pt x="996950" y="3908"/>
                  <a:pt x="996950" y="3908"/>
                  <a:pt x="996950" y="3908"/>
                </a:cubicBezTo>
                <a:cubicBezTo>
                  <a:pt x="996950" y="0"/>
                  <a:pt x="996950" y="0"/>
                  <a:pt x="1000734" y="0"/>
                </a:cubicBezTo>
                <a:close/>
                <a:moveTo>
                  <a:pt x="940406" y="0"/>
                </a:moveTo>
                <a:cubicBezTo>
                  <a:pt x="940406" y="0"/>
                  <a:pt x="940406" y="0"/>
                  <a:pt x="1223963" y="188168"/>
                </a:cubicBezTo>
                <a:cubicBezTo>
                  <a:pt x="1223963" y="188168"/>
                  <a:pt x="1223963" y="188168"/>
                  <a:pt x="1223963" y="192088"/>
                </a:cubicBezTo>
                <a:cubicBezTo>
                  <a:pt x="1223963" y="192088"/>
                  <a:pt x="1223963" y="192088"/>
                  <a:pt x="1220182" y="192088"/>
                </a:cubicBezTo>
                <a:cubicBezTo>
                  <a:pt x="1220182" y="192088"/>
                  <a:pt x="1220182" y="192088"/>
                  <a:pt x="936625" y="7840"/>
                </a:cubicBezTo>
                <a:cubicBezTo>
                  <a:pt x="936625" y="3920"/>
                  <a:pt x="936625" y="3920"/>
                  <a:pt x="936625" y="3920"/>
                </a:cubicBezTo>
                <a:cubicBezTo>
                  <a:pt x="936625" y="0"/>
                  <a:pt x="936625" y="0"/>
                  <a:pt x="940406" y="0"/>
                </a:cubicBezTo>
                <a:close/>
                <a:moveTo>
                  <a:pt x="880079" y="0"/>
                </a:moveTo>
                <a:cubicBezTo>
                  <a:pt x="880079" y="0"/>
                  <a:pt x="880079" y="0"/>
                  <a:pt x="1223963" y="226287"/>
                </a:cubicBezTo>
                <a:cubicBezTo>
                  <a:pt x="1223963" y="226287"/>
                  <a:pt x="1223963" y="226287"/>
                  <a:pt x="1223963" y="230188"/>
                </a:cubicBezTo>
                <a:cubicBezTo>
                  <a:pt x="1223963" y="230188"/>
                  <a:pt x="1223963" y="230188"/>
                  <a:pt x="1220184" y="230188"/>
                </a:cubicBezTo>
                <a:cubicBezTo>
                  <a:pt x="1220184" y="230188"/>
                  <a:pt x="1220184" y="230188"/>
                  <a:pt x="876300" y="7803"/>
                </a:cubicBezTo>
                <a:cubicBezTo>
                  <a:pt x="876300" y="3902"/>
                  <a:pt x="876300" y="3902"/>
                  <a:pt x="876300" y="3902"/>
                </a:cubicBezTo>
                <a:cubicBezTo>
                  <a:pt x="876300" y="0"/>
                  <a:pt x="876300" y="0"/>
                  <a:pt x="880079" y="0"/>
                </a:cubicBezTo>
                <a:close/>
                <a:moveTo>
                  <a:pt x="819753" y="0"/>
                </a:moveTo>
                <a:cubicBezTo>
                  <a:pt x="819753" y="0"/>
                  <a:pt x="819753" y="0"/>
                  <a:pt x="1220185" y="262053"/>
                </a:cubicBezTo>
                <a:cubicBezTo>
                  <a:pt x="1223963" y="262053"/>
                  <a:pt x="1223963" y="265964"/>
                  <a:pt x="1223963" y="265964"/>
                </a:cubicBezTo>
                <a:cubicBezTo>
                  <a:pt x="1223963" y="265964"/>
                  <a:pt x="1223963" y="265964"/>
                  <a:pt x="1223963" y="269875"/>
                </a:cubicBezTo>
                <a:cubicBezTo>
                  <a:pt x="1223963" y="269875"/>
                  <a:pt x="1223963" y="269875"/>
                  <a:pt x="1220185" y="269875"/>
                </a:cubicBezTo>
                <a:cubicBezTo>
                  <a:pt x="1220185" y="269875"/>
                  <a:pt x="1220185" y="269875"/>
                  <a:pt x="815975" y="7823"/>
                </a:cubicBezTo>
                <a:cubicBezTo>
                  <a:pt x="815975" y="3911"/>
                  <a:pt x="815975" y="3911"/>
                  <a:pt x="815975" y="3911"/>
                </a:cubicBezTo>
                <a:cubicBezTo>
                  <a:pt x="815975" y="0"/>
                  <a:pt x="815975" y="0"/>
                  <a:pt x="819753" y="0"/>
                </a:cubicBezTo>
                <a:close/>
                <a:moveTo>
                  <a:pt x="759433" y="0"/>
                </a:moveTo>
                <a:cubicBezTo>
                  <a:pt x="759433" y="0"/>
                  <a:pt x="759433" y="0"/>
                  <a:pt x="1190625" y="281116"/>
                </a:cubicBezTo>
                <a:cubicBezTo>
                  <a:pt x="1190625" y="285021"/>
                  <a:pt x="1190625" y="285021"/>
                  <a:pt x="1190625" y="285021"/>
                </a:cubicBezTo>
                <a:cubicBezTo>
                  <a:pt x="1190625" y="285021"/>
                  <a:pt x="1190625" y="285021"/>
                  <a:pt x="1190625" y="288925"/>
                </a:cubicBezTo>
                <a:cubicBezTo>
                  <a:pt x="1190625" y="288925"/>
                  <a:pt x="1190625" y="288925"/>
                  <a:pt x="1186843" y="288925"/>
                </a:cubicBezTo>
                <a:cubicBezTo>
                  <a:pt x="1186843" y="288925"/>
                  <a:pt x="1186843" y="288925"/>
                  <a:pt x="755650" y="7809"/>
                </a:cubicBezTo>
                <a:cubicBezTo>
                  <a:pt x="755650" y="3905"/>
                  <a:pt x="755650" y="3905"/>
                  <a:pt x="755650" y="3905"/>
                </a:cubicBezTo>
                <a:cubicBezTo>
                  <a:pt x="755650" y="0"/>
                  <a:pt x="759433" y="0"/>
                  <a:pt x="759433" y="0"/>
                </a:cubicBezTo>
                <a:close/>
                <a:moveTo>
                  <a:pt x="699102" y="0"/>
                </a:moveTo>
                <a:cubicBezTo>
                  <a:pt x="699102" y="0"/>
                  <a:pt x="699102" y="0"/>
                  <a:pt x="1129698" y="281116"/>
                </a:cubicBezTo>
                <a:cubicBezTo>
                  <a:pt x="1129698" y="285021"/>
                  <a:pt x="1133475" y="285021"/>
                  <a:pt x="1129698" y="285021"/>
                </a:cubicBezTo>
                <a:cubicBezTo>
                  <a:pt x="1129698" y="285021"/>
                  <a:pt x="1129698" y="285021"/>
                  <a:pt x="1129698" y="288925"/>
                </a:cubicBezTo>
                <a:cubicBezTo>
                  <a:pt x="1129698" y="288925"/>
                  <a:pt x="1129698" y="288925"/>
                  <a:pt x="1125921" y="288925"/>
                </a:cubicBezTo>
                <a:cubicBezTo>
                  <a:pt x="1125921" y="288925"/>
                  <a:pt x="1125921" y="288925"/>
                  <a:pt x="695325" y="7809"/>
                </a:cubicBezTo>
                <a:cubicBezTo>
                  <a:pt x="695325" y="3905"/>
                  <a:pt x="695325" y="3905"/>
                  <a:pt x="695325" y="3905"/>
                </a:cubicBezTo>
                <a:cubicBezTo>
                  <a:pt x="695325" y="0"/>
                  <a:pt x="699102" y="0"/>
                  <a:pt x="699102" y="0"/>
                </a:cubicBezTo>
                <a:close/>
                <a:moveTo>
                  <a:pt x="638777" y="0"/>
                </a:moveTo>
                <a:cubicBezTo>
                  <a:pt x="638777" y="0"/>
                  <a:pt x="638777" y="0"/>
                  <a:pt x="1069373" y="281116"/>
                </a:cubicBezTo>
                <a:cubicBezTo>
                  <a:pt x="1069373" y="285021"/>
                  <a:pt x="1073150" y="285021"/>
                  <a:pt x="1069373" y="285021"/>
                </a:cubicBezTo>
                <a:cubicBezTo>
                  <a:pt x="1069373" y="285021"/>
                  <a:pt x="1069373" y="285021"/>
                  <a:pt x="1069373" y="288925"/>
                </a:cubicBezTo>
                <a:cubicBezTo>
                  <a:pt x="1069373" y="288925"/>
                  <a:pt x="1069373" y="288925"/>
                  <a:pt x="1065596" y="288925"/>
                </a:cubicBezTo>
                <a:cubicBezTo>
                  <a:pt x="1065596" y="288925"/>
                  <a:pt x="1065596" y="288925"/>
                  <a:pt x="635000" y="7809"/>
                </a:cubicBezTo>
                <a:cubicBezTo>
                  <a:pt x="635000" y="3905"/>
                  <a:pt x="635000" y="3905"/>
                  <a:pt x="635000" y="3905"/>
                </a:cubicBezTo>
                <a:cubicBezTo>
                  <a:pt x="635000" y="0"/>
                  <a:pt x="638777" y="0"/>
                  <a:pt x="638777" y="0"/>
                </a:cubicBezTo>
                <a:close/>
                <a:moveTo>
                  <a:pt x="578452" y="0"/>
                </a:moveTo>
                <a:cubicBezTo>
                  <a:pt x="578452" y="0"/>
                  <a:pt x="578452" y="0"/>
                  <a:pt x="1009048" y="281116"/>
                </a:cubicBezTo>
                <a:cubicBezTo>
                  <a:pt x="1012825" y="285021"/>
                  <a:pt x="1012825" y="285021"/>
                  <a:pt x="1009048" y="285021"/>
                </a:cubicBezTo>
                <a:cubicBezTo>
                  <a:pt x="1009048" y="285021"/>
                  <a:pt x="1009048" y="285021"/>
                  <a:pt x="1009048" y="288925"/>
                </a:cubicBezTo>
                <a:cubicBezTo>
                  <a:pt x="1009048" y="288925"/>
                  <a:pt x="1009048" y="288925"/>
                  <a:pt x="1005271" y="288925"/>
                </a:cubicBezTo>
                <a:cubicBezTo>
                  <a:pt x="1005271" y="288925"/>
                  <a:pt x="1005271" y="288925"/>
                  <a:pt x="578452" y="7809"/>
                </a:cubicBezTo>
                <a:cubicBezTo>
                  <a:pt x="574675" y="3905"/>
                  <a:pt x="574675" y="3905"/>
                  <a:pt x="574675" y="3905"/>
                </a:cubicBezTo>
                <a:cubicBezTo>
                  <a:pt x="574675" y="0"/>
                  <a:pt x="578452" y="0"/>
                  <a:pt x="578452" y="0"/>
                </a:cubicBezTo>
                <a:close/>
                <a:moveTo>
                  <a:pt x="518127" y="0"/>
                </a:moveTo>
                <a:cubicBezTo>
                  <a:pt x="518127" y="0"/>
                  <a:pt x="518127" y="0"/>
                  <a:pt x="521904" y="0"/>
                </a:cubicBezTo>
                <a:cubicBezTo>
                  <a:pt x="521904" y="0"/>
                  <a:pt x="521904" y="0"/>
                  <a:pt x="948723" y="281116"/>
                </a:cubicBezTo>
                <a:cubicBezTo>
                  <a:pt x="952500" y="285021"/>
                  <a:pt x="952500" y="285021"/>
                  <a:pt x="948723" y="285021"/>
                </a:cubicBezTo>
                <a:cubicBezTo>
                  <a:pt x="948723" y="285021"/>
                  <a:pt x="948723" y="285021"/>
                  <a:pt x="948723" y="288925"/>
                </a:cubicBezTo>
                <a:cubicBezTo>
                  <a:pt x="948723" y="288925"/>
                  <a:pt x="948723" y="288925"/>
                  <a:pt x="944946" y="288925"/>
                </a:cubicBezTo>
                <a:cubicBezTo>
                  <a:pt x="944946" y="288925"/>
                  <a:pt x="944946" y="288925"/>
                  <a:pt x="518127" y="7809"/>
                </a:cubicBezTo>
                <a:cubicBezTo>
                  <a:pt x="514350" y="3905"/>
                  <a:pt x="514350" y="3905"/>
                  <a:pt x="514350" y="3905"/>
                </a:cubicBezTo>
                <a:cubicBezTo>
                  <a:pt x="514350" y="0"/>
                  <a:pt x="518127" y="0"/>
                  <a:pt x="518127" y="0"/>
                </a:cubicBezTo>
                <a:close/>
                <a:moveTo>
                  <a:pt x="457802" y="0"/>
                </a:moveTo>
                <a:cubicBezTo>
                  <a:pt x="457802" y="0"/>
                  <a:pt x="457802" y="0"/>
                  <a:pt x="461579" y="0"/>
                </a:cubicBezTo>
                <a:cubicBezTo>
                  <a:pt x="461579" y="0"/>
                  <a:pt x="461579" y="0"/>
                  <a:pt x="888398" y="281116"/>
                </a:cubicBezTo>
                <a:cubicBezTo>
                  <a:pt x="892175" y="285021"/>
                  <a:pt x="892175" y="285021"/>
                  <a:pt x="892175" y="285021"/>
                </a:cubicBezTo>
                <a:cubicBezTo>
                  <a:pt x="892175" y="285021"/>
                  <a:pt x="892175" y="285021"/>
                  <a:pt x="888398" y="288925"/>
                </a:cubicBezTo>
                <a:cubicBezTo>
                  <a:pt x="888398" y="288925"/>
                  <a:pt x="888398" y="288925"/>
                  <a:pt x="884621" y="288925"/>
                </a:cubicBezTo>
                <a:cubicBezTo>
                  <a:pt x="884621" y="288925"/>
                  <a:pt x="884621" y="288925"/>
                  <a:pt x="457802" y="7809"/>
                </a:cubicBezTo>
                <a:cubicBezTo>
                  <a:pt x="454025" y="3905"/>
                  <a:pt x="454025" y="3905"/>
                  <a:pt x="454025" y="3905"/>
                </a:cubicBezTo>
                <a:cubicBezTo>
                  <a:pt x="457802" y="0"/>
                  <a:pt x="457802" y="0"/>
                  <a:pt x="457802" y="0"/>
                </a:cubicBezTo>
                <a:close/>
                <a:moveTo>
                  <a:pt x="395903" y="0"/>
                </a:moveTo>
                <a:cubicBezTo>
                  <a:pt x="395903" y="0"/>
                  <a:pt x="395903" y="0"/>
                  <a:pt x="399694" y="0"/>
                </a:cubicBezTo>
                <a:cubicBezTo>
                  <a:pt x="399694" y="0"/>
                  <a:pt x="399694" y="0"/>
                  <a:pt x="828059" y="281116"/>
                </a:cubicBezTo>
                <a:cubicBezTo>
                  <a:pt x="831850" y="285021"/>
                  <a:pt x="831850" y="285021"/>
                  <a:pt x="831850" y="285021"/>
                </a:cubicBezTo>
                <a:cubicBezTo>
                  <a:pt x="831850" y="285021"/>
                  <a:pt x="831850" y="285021"/>
                  <a:pt x="828059" y="288925"/>
                </a:cubicBezTo>
                <a:cubicBezTo>
                  <a:pt x="828059" y="288925"/>
                  <a:pt x="828059" y="288925"/>
                  <a:pt x="824268" y="288925"/>
                </a:cubicBezTo>
                <a:cubicBezTo>
                  <a:pt x="824268" y="288925"/>
                  <a:pt x="824268" y="288925"/>
                  <a:pt x="395903" y="7809"/>
                </a:cubicBezTo>
                <a:cubicBezTo>
                  <a:pt x="392112" y="3905"/>
                  <a:pt x="392112" y="3905"/>
                  <a:pt x="392112" y="3905"/>
                </a:cubicBezTo>
                <a:cubicBezTo>
                  <a:pt x="395903" y="0"/>
                  <a:pt x="395903" y="0"/>
                  <a:pt x="395903" y="0"/>
                </a:cubicBezTo>
                <a:close/>
                <a:moveTo>
                  <a:pt x="335578" y="0"/>
                </a:moveTo>
                <a:cubicBezTo>
                  <a:pt x="335578" y="0"/>
                  <a:pt x="339369" y="0"/>
                  <a:pt x="339369" y="0"/>
                </a:cubicBezTo>
                <a:cubicBezTo>
                  <a:pt x="339369" y="0"/>
                  <a:pt x="339369" y="0"/>
                  <a:pt x="767734" y="281116"/>
                </a:cubicBezTo>
                <a:cubicBezTo>
                  <a:pt x="771525" y="285021"/>
                  <a:pt x="771525" y="285021"/>
                  <a:pt x="771525" y="285021"/>
                </a:cubicBezTo>
                <a:cubicBezTo>
                  <a:pt x="771525" y="285021"/>
                  <a:pt x="771525" y="285021"/>
                  <a:pt x="767734" y="288925"/>
                </a:cubicBezTo>
                <a:cubicBezTo>
                  <a:pt x="767734" y="288925"/>
                  <a:pt x="767734" y="288925"/>
                  <a:pt x="763943" y="288925"/>
                </a:cubicBezTo>
                <a:cubicBezTo>
                  <a:pt x="763943" y="288925"/>
                  <a:pt x="763943" y="288925"/>
                  <a:pt x="335578" y="7809"/>
                </a:cubicBezTo>
                <a:cubicBezTo>
                  <a:pt x="331787" y="3905"/>
                  <a:pt x="331787" y="3905"/>
                  <a:pt x="331787" y="3905"/>
                </a:cubicBezTo>
                <a:cubicBezTo>
                  <a:pt x="335578" y="0"/>
                  <a:pt x="335578" y="0"/>
                  <a:pt x="335578" y="0"/>
                </a:cubicBezTo>
                <a:close/>
                <a:moveTo>
                  <a:pt x="275239" y="0"/>
                </a:moveTo>
                <a:cubicBezTo>
                  <a:pt x="275239" y="0"/>
                  <a:pt x="279016" y="0"/>
                  <a:pt x="279016" y="0"/>
                </a:cubicBezTo>
                <a:cubicBezTo>
                  <a:pt x="279016" y="0"/>
                  <a:pt x="279016" y="0"/>
                  <a:pt x="705835" y="281116"/>
                </a:cubicBezTo>
                <a:cubicBezTo>
                  <a:pt x="709612" y="285021"/>
                  <a:pt x="709612" y="285021"/>
                  <a:pt x="709612" y="285021"/>
                </a:cubicBezTo>
                <a:cubicBezTo>
                  <a:pt x="709612" y="285021"/>
                  <a:pt x="709612" y="285021"/>
                  <a:pt x="705835" y="288925"/>
                </a:cubicBezTo>
                <a:cubicBezTo>
                  <a:pt x="705835" y="288925"/>
                  <a:pt x="705835" y="288925"/>
                  <a:pt x="702058" y="288925"/>
                </a:cubicBezTo>
                <a:cubicBezTo>
                  <a:pt x="702058" y="288925"/>
                  <a:pt x="702058" y="288925"/>
                  <a:pt x="275239" y="7809"/>
                </a:cubicBezTo>
                <a:cubicBezTo>
                  <a:pt x="271462" y="3905"/>
                  <a:pt x="271462" y="3905"/>
                  <a:pt x="275239" y="3905"/>
                </a:cubicBezTo>
                <a:cubicBezTo>
                  <a:pt x="275239" y="0"/>
                  <a:pt x="275239" y="0"/>
                  <a:pt x="275239" y="0"/>
                </a:cubicBezTo>
                <a:close/>
                <a:moveTo>
                  <a:pt x="214914" y="0"/>
                </a:moveTo>
                <a:cubicBezTo>
                  <a:pt x="214914" y="0"/>
                  <a:pt x="218691" y="0"/>
                  <a:pt x="218691" y="0"/>
                </a:cubicBezTo>
                <a:cubicBezTo>
                  <a:pt x="218691" y="0"/>
                  <a:pt x="218691" y="0"/>
                  <a:pt x="645510" y="281116"/>
                </a:cubicBezTo>
                <a:cubicBezTo>
                  <a:pt x="649287" y="285021"/>
                  <a:pt x="649287" y="285021"/>
                  <a:pt x="649287" y="285021"/>
                </a:cubicBezTo>
                <a:cubicBezTo>
                  <a:pt x="649287" y="285021"/>
                  <a:pt x="649287" y="285021"/>
                  <a:pt x="645510" y="288925"/>
                </a:cubicBezTo>
                <a:cubicBezTo>
                  <a:pt x="645510" y="288925"/>
                  <a:pt x="645510" y="288925"/>
                  <a:pt x="214914" y="7809"/>
                </a:cubicBezTo>
                <a:cubicBezTo>
                  <a:pt x="211137" y="3905"/>
                  <a:pt x="211137" y="3905"/>
                  <a:pt x="214914" y="3905"/>
                </a:cubicBezTo>
                <a:cubicBezTo>
                  <a:pt x="214914" y="0"/>
                  <a:pt x="214914" y="0"/>
                  <a:pt x="214914" y="0"/>
                </a:cubicBezTo>
                <a:close/>
                <a:moveTo>
                  <a:pt x="154589" y="0"/>
                </a:moveTo>
                <a:cubicBezTo>
                  <a:pt x="158366" y="0"/>
                  <a:pt x="158366" y="0"/>
                  <a:pt x="158366" y="0"/>
                </a:cubicBezTo>
                <a:cubicBezTo>
                  <a:pt x="158366" y="0"/>
                  <a:pt x="158366" y="0"/>
                  <a:pt x="588962" y="281116"/>
                </a:cubicBezTo>
                <a:cubicBezTo>
                  <a:pt x="588962" y="285021"/>
                  <a:pt x="588962" y="285021"/>
                  <a:pt x="588962" y="285021"/>
                </a:cubicBezTo>
                <a:cubicBezTo>
                  <a:pt x="588962" y="285021"/>
                  <a:pt x="588962" y="285021"/>
                  <a:pt x="585185" y="288925"/>
                </a:cubicBezTo>
                <a:cubicBezTo>
                  <a:pt x="585185" y="288925"/>
                  <a:pt x="585185" y="288925"/>
                  <a:pt x="154589" y="7809"/>
                </a:cubicBezTo>
                <a:cubicBezTo>
                  <a:pt x="154589" y="3905"/>
                  <a:pt x="150812" y="3905"/>
                  <a:pt x="154589" y="3905"/>
                </a:cubicBezTo>
                <a:cubicBezTo>
                  <a:pt x="154589" y="0"/>
                  <a:pt x="154589" y="0"/>
                  <a:pt x="154589" y="0"/>
                </a:cubicBezTo>
                <a:close/>
                <a:moveTo>
                  <a:pt x="94264" y="0"/>
                </a:moveTo>
                <a:cubicBezTo>
                  <a:pt x="98041" y="0"/>
                  <a:pt x="98041" y="0"/>
                  <a:pt x="98041" y="0"/>
                </a:cubicBezTo>
                <a:cubicBezTo>
                  <a:pt x="98041" y="0"/>
                  <a:pt x="98041" y="0"/>
                  <a:pt x="528637" y="281116"/>
                </a:cubicBezTo>
                <a:cubicBezTo>
                  <a:pt x="528637" y="285021"/>
                  <a:pt x="528637" y="285021"/>
                  <a:pt x="528637" y="285021"/>
                </a:cubicBezTo>
                <a:cubicBezTo>
                  <a:pt x="528637" y="285021"/>
                  <a:pt x="528637" y="285021"/>
                  <a:pt x="524860" y="288925"/>
                </a:cubicBezTo>
                <a:cubicBezTo>
                  <a:pt x="524860" y="288925"/>
                  <a:pt x="524860" y="288925"/>
                  <a:pt x="94264" y="7809"/>
                </a:cubicBezTo>
                <a:cubicBezTo>
                  <a:pt x="94264" y="3905"/>
                  <a:pt x="90487" y="3905"/>
                  <a:pt x="94264" y="3905"/>
                </a:cubicBezTo>
                <a:cubicBezTo>
                  <a:pt x="94264" y="0"/>
                  <a:pt x="94264" y="0"/>
                  <a:pt x="94264" y="0"/>
                </a:cubicBezTo>
                <a:close/>
                <a:moveTo>
                  <a:pt x="33337" y="0"/>
                </a:moveTo>
                <a:cubicBezTo>
                  <a:pt x="37119" y="0"/>
                  <a:pt x="37119" y="0"/>
                  <a:pt x="37119" y="0"/>
                </a:cubicBezTo>
                <a:cubicBezTo>
                  <a:pt x="37119" y="0"/>
                  <a:pt x="37119" y="0"/>
                  <a:pt x="468312" y="281116"/>
                </a:cubicBezTo>
                <a:cubicBezTo>
                  <a:pt x="468312" y="285021"/>
                  <a:pt x="468312" y="285021"/>
                  <a:pt x="468312" y="285021"/>
                </a:cubicBezTo>
                <a:cubicBezTo>
                  <a:pt x="468312" y="285021"/>
                  <a:pt x="468312" y="285021"/>
                  <a:pt x="464529" y="288925"/>
                </a:cubicBezTo>
                <a:cubicBezTo>
                  <a:pt x="464529" y="288925"/>
                  <a:pt x="464529" y="288925"/>
                  <a:pt x="33337" y="7809"/>
                </a:cubicBezTo>
                <a:cubicBezTo>
                  <a:pt x="33337" y="3905"/>
                  <a:pt x="33337" y="3905"/>
                  <a:pt x="33337" y="3905"/>
                </a:cubicBezTo>
                <a:cubicBezTo>
                  <a:pt x="33337" y="0"/>
                  <a:pt x="33337" y="0"/>
                  <a:pt x="3333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126" name="Group 125">
            <a:extLst>
              <a:ext uri="{FF2B5EF4-FFF2-40B4-BE49-F238E27FC236}">
                <a16:creationId xmlns:a16="http://schemas.microsoft.com/office/drawing/2014/main" id="{626729F3-9DA5-4875-8CFC-1E9773B4ED59}"/>
              </a:ext>
            </a:extLst>
          </p:cNvPr>
          <p:cNvGrpSpPr/>
          <p:nvPr/>
        </p:nvGrpSpPr>
        <p:grpSpPr>
          <a:xfrm>
            <a:off x="4765822" y="3366086"/>
            <a:ext cx="954299" cy="929818"/>
            <a:chOff x="6408689" y="3196450"/>
            <a:chExt cx="466775" cy="454801"/>
          </a:xfrm>
        </p:grpSpPr>
        <p:sp>
          <p:nvSpPr>
            <p:cNvPr id="127" name="Freeform 11">
              <a:extLst>
                <a:ext uri="{FF2B5EF4-FFF2-40B4-BE49-F238E27FC236}">
                  <a16:creationId xmlns:a16="http://schemas.microsoft.com/office/drawing/2014/main" id="{AF1BACC2-FFAB-412D-A12E-7EC73B864412}"/>
                </a:ext>
              </a:extLst>
            </p:cNvPr>
            <p:cNvSpPr>
              <a:spLocks noEditPoints="1"/>
            </p:cNvSpPr>
            <p:nvPr/>
          </p:nvSpPr>
          <p:spPr bwMode="auto">
            <a:xfrm>
              <a:off x="6437314" y="3203576"/>
              <a:ext cx="438150" cy="447675"/>
            </a:xfrm>
            <a:custGeom>
              <a:avLst/>
              <a:gdLst>
                <a:gd name="T0" fmla="*/ 102 w 204"/>
                <a:gd name="T1" fmla="*/ 204 h 204"/>
                <a:gd name="T2" fmla="*/ 0 w 204"/>
                <a:gd name="T3" fmla="*/ 102 h 204"/>
                <a:gd name="T4" fmla="*/ 102 w 204"/>
                <a:gd name="T5" fmla="*/ 0 h 204"/>
                <a:gd name="T6" fmla="*/ 204 w 204"/>
                <a:gd name="T7" fmla="*/ 102 h 204"/>
                <a:gd name="T8" fmla="*/ 102 w 204"/>
                <a:gd name="T9" fmla="*/ 204 h 204"/>
                <a:gd name="T10" fmla="*/ 102 w 204"/>
                <a:gd name="T11" fmla="*/ 12 h 204"/>
                <a:gd name="T12" fmla="*/ 12 w 204"/>
                <a:gd name="T13" fmla="*/ 102 h 204"/>
                <a:gd name="T14" fmla="*/ 102 w 204"/>
                <a:gd name="T15" fmla="*/ 192 h 204"/>
                <a:gd name="T16" fmla="*/ 192 w 204"/>
                <a:gd name="T17" fmla="*/ 102 h 204"/>
                <a:gd name="T18" fmla="*/ 102 w 204"/>
                <a:gd name="T19"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204">
                  <a:moveTo>
                    <a:pt x="102" y="204"/>
                  </a:moveTo>
                  <a:cubicBezTo>
                    <a:pt x="46" y="204"/>
                    <a:pt x="0" y="158"/>
                    <a:pt x="0" y="102"/>
                  </a:cubicBezTo>
                  <a:cubicBezTo>
                    <a:pt x="0" y="46"/>
                    <a:pt x="46" y="0"/>
                    <a:pt x="102" y="0"/>
                  </a:cubicBezTo>
                  <a:cubicBezTo>
                    <a:pt x="158" y="0"/>
                    <a:pt x="204" y="46"/>
                    <a:pt x="204" y="102"/>
                  </a:cubicBezTo>
                  <a:cubicBezTo>
                    <a:pt x="204" y="158"/>
                    <a:pt x="158" y="204"/>
                    <a:pt x="102" y="204"/>
                  </a:cubicBezTo>
                  <a:close/>
                  <a:moveTo>
                    <a:pt x="102" y="12"/>
                  </a:moveTo>
                  <a:cubicBezTo>
                    <a:pt x="52" y="12"/>
                    <a:pt x="12" y="52"/>
                    <a:pt x="12" y="102"/>
                  </a:cubicBezTo>
                  <a:cubicBezTo>
                    <a:pt x="12" y="152"/>
                    <a:pt x="52" y="192"/>
                    <a:pt x="102" y="192"/>
                  </a:cubicBezTo>
                  <a:cubicBezTo>
                    <a:pt x="152" y="192"/>
                    <a:pt x="192" y="152"/>
                    <a:pt x="192" y="102"/>
                  </a:cubicBezTo>
                  <a:cubicBezTo>
                    <a:pt x="192" y="52"/>
                    <a:pt x="152" y="12"/>
                    <a:pt x="102" y="1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Oval 127">
              <a:extLst>
                <a:ext uri="{FF2B5EF4-FFF2-40B4-BE49-F238E27FC236}">
                  <a16:creationId xmlns:a16="http://schemas.microsoft.com/office/drawing/2014/main" id="{D8D81EEF-A9C4-49E2-B22C-30579C63E243}"/>
                </a:ext>
              </a:extLst>
            </p:cNvPr>
            <p:cNvSpPr>
              <a:spLocks noChangeArrowheads="1"/>
            </p:cNvSpPr>
            <p:nvPr/>
          </p:nvSpPr>
          <p:spPr bwMode="auto">
            <a:xfrm>
              <a:off x="6408689" y="3196450"/>
              <a:ext cx="397181" cy="405878"/>
            </a:xfrm>
            <a:prstGeom prst="ellipse">
              <a:avLst/>
            </a:prstGeom>
            <a:solidFill>
              <a:srgbClr val="6ABF4B">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1" name="Isosceles Triangle 22">
            <a:extLst>
              <a:ext uri="{FF2B5EF4-FFF2-40B4-BE49-F238E27FC236}">
                <a16:creationId xmlns:a16="http://schemas.microsoft.com/office/drawing/2014/main" id="{6F654170-6DD6-4D9E-85A1-37183860F9BA}"/>
              </a:ext>
            </a:extLst>
          </p:cNvPr>
          <p:cNvSpPr/>
          <p:nvPr/>
        </p:nvSpPr>
        <p:spPr>
          <a:xfrm>
            <a:off x="8163137" y="3063198"/>
            <a:ext cx="1085024" cy="998338"/>
          </a:xfrm>
          <a:custGeom>
            <a:avLst/>
            <a:gdLst>
              <a:gd name="connsiteX0" fmla="*/ 0 w 857250"/>
              <a:gd name="connsiteY0" fmla="*/ 739009 h 739009"/>
              <a:gd name="connsiteX1" fmla="*/ 428625 w 857250"/>
              <a:gd name="connsiteY1" fmla="*/ 0 h 739009"/>
              <a:gd name="connsiteX2" fmla="*/ 857250 w 857250"/>
              <a:gd name="connsiteY2" fmla="*/ 739009 h 739009"/>
              <a:gd name="connsiteX3" fmla="*/ 0 w 857250"/>
              <a:gd name="connsiteY3" fmla="*/ 739009 h 739009"/>
              <a:gd name="connsiteX0" fmla="*/ 0 w 857250"/>
              <a:gd name="connsiteY0" fmla="*/ 739009 h 739009"/>
              <a:gd name="connsiteX1" fmla="*/ 428625 w 857250"/>
              <a:gd name="connsiteY1" fmla="*/ 0 h 739009"/>
              <a:gd name="connsiteX2" fmla="*/ 490538 w 857250"/>
              <a:gd name="connsiteY2" fmla="*/ 104775 h 739009"/>
              <a:gd name="connsiteX3" fmla="*/ 857250 w 857250"/>
              <a:gd name="connsiteY3" fmla="*/ 739009 h 739009"/>
              <a:gd name="connsiteX4" fmla="*/ 0 w 857250"/>
              <a:gd name="connsiteY4" fmla="*/ 739009 h 739009"/>
              <a:gd name="connsiteX0" fmla="*/ 0 w 857250"/>
              <a:gd name="connsiteY0" fmla="*/ 739009 h 739009"/>
              <a:gd name="connsiteX1" fmla="*/ 369094 w 857250"/>
              <a:gd name="connsiteY1" fmla="*/ 104775 h 739009"/>
              <a:gd name="connsiteX2" fmla="*/ 428625 w 857250"/>
              <a:gd name="connsiteY2" fmla="*/ 0 h 739009"/>
              <a:gd name="connsiteX3" fmla="*/ 490538 w 857250"/>
              <a:gd name="connsiteY3" fmla="*/ 104775 h 739009"/>
              <a:gd name="connsiteX4" fmla="*/ 857250 w 857250"/>
              <a:gd name="connsiteY4" fmla="*/ 739009 h 739009"/>
              <a:gd name="connsiteX5" fmla="*/ 0 w 857250"/>
              <a:gd name="connsiteY5" fmla="*/ 739009 h 739009"/>
              <a:gd name="connsiteX0" fmla="*/ 0 w 857250"/>
              <a:gd name="connsiteY0" fmla="*/ 739009 h 739009"/>
              <a:gd name="connsiteX1" fmla="*/ 61913 w 857250"/>
              <a:gd name="connsiteY1" fmla="*/ 633412 h 739009"/>
              <a:gd name="connsiteX2" fmla="*/ 369094 w 857250"/>
              <a:gd name="connsiteY2" fmla="*/ 104775 h 739009"/>
              <a:gd name="connsiteX3" fmla="*/ 428625 w 857250"/>
              <a:gd name="connsiteY3" fmla="*/ 0 h 739009"/>
              <a:gd name="connsiteX4" fmla="*/ 490538 w 857250"/>
              <a:gd name="connsiteY4" fmla="*/ 104775 h 739009"/>
              <a:gd name="connsiteX5" fmla="*/ 857250 w 857250"/>
              <a:gd name="connsiteY5" fmla="*/ 739009 h 739009"/>
              <a:gd name="connsiteX6" fmla="*/ 0 w 857250"/>
              <a:gd name="connsiteY6" fmla="*/ 739009 h 739009"/>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857250 w 857250"/>
              <a:gd name="connsiteY5" fmla="*/ 739009 h 740568"/>
              <a:gd name="connsiteX6" fmla="*/ 114300 w 857250"/>
              <a:gd name="connsiteY6" fmla="*/ 740568 h 740568"/>
              <a:gd name="connsiteX7" fmla="*/ 0 w 857250"/>
              <a:gd name="connsiteY7"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114300 w 857250"/>
              <a:gd name="connsiteY7" fmla="*/ 740568 h 740568"/>
              <a:gd name="connsiteX8" fmla="*/ 0 w 857250"/>
              <a:gd name="connsiteY8"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750094 w 857250"/>
              <a:gd name="connsiteY7" fmla="*/ 738186 h 740568"/>
              <a:gd name="connsiteX8" fmla="*/ 114300 w 857250"/>
              <a:gd name="connsiteY8" fmla="*/ 740568 h 740568"/>
              <a:gd name="connsiteX9" fmla="*/ 0 w 857250"/>
              <a:gd name="connsiteY9" fmla="*/ 739009 h 740568"/>
              <a:gd name="connsiteX0" fmla="*/ 0 w 797719"/>
              <a:gd name="connsiteY0" fmla="*/ 739009 h 740568"/>
              <a:gd name="connsiteX1" fmla="*/ 61913 w 797719"/>
              <a:gd name="connsiteY1" fmla="*/ 633412 h 740568"/>
              <a:gd name="connsiteX2" fmla="*/ 369094 w 797719"/>
              <a:gd name="connsiteY2" fmla="*/ 104775 h 740568"/>
              <a:gd name="connsiteX3" fmla="*/ 428625 w 797719"/>
              <a:gd name="connsiteY3" fmla="*/ 0 h 740568"/>
              <a:gd name="connsiteX4" fmla="*/ 490538 w 797719"/>
              <a:gd name="connsiteY4" fmla="*/ 104775 h 740568"/>
              <a:gd name="connsiteX5" fmla="*/ 797719 w 797719"/>
              <a:gd name="connsiteY5" fmla="*/ 638174 h 740568"/>
              <a:gd name="connsiteX6" fmla="*/ 750094 w 797719"/>
              <a:gd name="connsiteY6" fmla="*/ 738186 h 740568"/>
              <a:gd name="connsiteX7" fmla="*/ 114300 w 797719"/>
              <a:gd name="connsiteY7" fmla="*/ 740568 h 740568"/>
              <a:gd name="connsiteX8" fmla="*/ 0 w 797719"/>
              <a:gd name="connsiteY8" fmla="*/ 739009 h 740568"/>
              <a:gd name="connsiteX0" fmla="*/ 0 w 812104"/>
              <a:gd name="connsiteY0" fmla="*/ 739009 h 740568"/>
              <a:gd name="connsiteX1" fmla="*/ 61913 w 812104"/>
              <a:gd name="connsiteY1" fmla="*/ 633412 h 740568"/>
              <a:gd name="connsiteX2" fmla="*/ 369094 w 812104"/>
              <a:gd name="connsiteY2" fmla="*/ 104775 h 740568"/>
              <a:gd name="connsiteX3" fmla="*/ 428625 w 812104"/>
              <a:gd name="connsiteY3" fmla="*/ 0 h 740568"/>
              <a:gd name="connsiteX4" fmla="*/ 490538 w 812104"/>
              <a:gd name="connsiteY4" fmla="*/ 104775 h 740568"/>
              <a:gd name="connsiteX5" fmla="*/ 797719 w 812104"/>
              <a:gd name="connsiteY5" fmla="*/ 638174 h 740568"/>
              <a:gd name="connsiteX6" fmla="*/ 750094 w 812104"/>
              <a:gd name="connsiteY6" fmla="*/ 738186 h 740568"/>
              <a:gd name="connsiteX7" fmla="*/ 114300 w 812104"/>
              <a:gd name="connsiteY7" fmla="*/ 740568 h 740568"/>
              <a:gd name="connsiteX8" fmla="*/ 0 w 812104"/>
              <a:gd name="connsiteY8" fmla="*/ 739009 h 740568"/>
              <a:gd name="connsiteX0" fmla="*/ 0 w 818915"/>
              <a:gd name="connsiteY0" fmla="*/ 739009 h 740568"/>
              <a:gd name="connsiteX1" fmla="*/ 61913 w 818915"/>
              <a:gd name="connsiteY1" fmla="*/ 633412 h 740568"/>
              <a:gd name="connsiteX2" fmla="*/ 369094 w 818915"/>
              <a:gd name="connsiteY2" fmla="*/ 104775 h 740568"/>
              <a:gd name="connsiteX3" fmla="*/ 428625 w 818915"/>
              <a:gd name="connsiteY3" fmla="*/ 0 h 740568"/>
              <a:gd name="connsiteX4" fmla="*/ 490538 w 818915"/>
              <a:gd name="connsiteY4" fmla="*/ 104775 h 740568"/>
              <a:gd name="connsiteX5" fmla="*/ 797719 w 818915"/>
              <a:gd name="connsiteY5" fmla="*/ 638174 h 740568"/>
              <a:gd name="connsiteX6" fmla="*/ 750094 w 818915"/>
              <a:gd name="connsiteY6" fmla="*/ 738186 h 740568"/>
              <a:gd name="connsiteX7" fmla="*/ 114300 w 818915"/>
              <a:gd name="connsiteY7" fmla="*/ 740568 h 740568"/>
              <a:gd name="connsiteX8" fmla="*/ 0 w 818915"/>
              <a:gd name="connsiteY8" fmla="*/ 739009 h 740568"/>
              <a:gd name="connsiteX0" fmla="*/ 52387 w 757002"/>
              <a:gd name="connsiteY0" fmla="*/ 740568 h 740568"/>
              <a:gd name="connsiteX1" fmla="*/ 0 w 757002"/>
              <a:gd name="connsiteY1" fmla="*/ 633412 h 740568"/>
              <a:gd name="connsiteX2" fmla="*/ 307181 w 757002"/>
              <a:gd name="connsiteY2" fmla="*/ 104775 h 740568"/>
              <a:gd name="connsiteX3" fmla="*/ 366712 w 757002"/>
              <a:gd name="connsiteY3" fmla="*/ 0 h 740568"/>
              <a:gd name="connsiteX4" fmla="*/ 428625 w 757002"/>
              <a:gd name="connsiteY4" fmla="*/ 104775 h 740568"/>
              <a:gd name="connsiteX5" fmla="*/ 735806 w 757002"/>
              <a:gd name="connsiteY5" fmla="*/ 638174 h 740568"/>
              <a:gd name="connsiteX6" fmla="*/ 688181 w 757002"/>
              <a:gd name="connsiteY6" fmla="*/ 738186 h 740568"/>
              <a:gd name="connsiteX7" fmla="*/ 52387 w 757002"/>
              <a:gd name="connsiteY7" fmla="*/ 740568 h 740568"/>
              <a:gd name="connsiteX0" fmla="*/ 61912 w 766527"/>
              <a:gd name="connsiteY0" fmla="*/ 740568 h 740568"/>
              <a:gd name="connsiteX1" fmla="*/ 0 w 766527"/>
              <a:gd name="connsiteY1" fmla="*/ 645318 h 740568"/>
              <a:gd name="connsiteX2" fmla="*/ 316706 w 766527"/>
              <a:gd name="connsiteY2" fmla="*/ 104775 h 740568"/>
              <a:gd name="connsiteX3" fmla="*/ 376237 w 766527"/>
              <a:gd name="connsiteY3" fmla="*/ 0 h 740568"/>
              <a:gd name="connsiteX4" fmla="*/ 438150 w 766527"/>
              <a:gd name="connsiteY4" fmla="*/ 104775 h 740568"/>
              <a:gd name="connsiteX5" fmla="*/ 745331 w 766527"/>
              <a:gd name="connsiteY5" fmla="*/ 638174 h 740568"/>
              <a:gd name="connsiteX6" fmla="*/ 697706 w 766527"/>
              <a:gd name="connsiteY6" fmla="*/ 738186 h 740568"/>
              <a:gd name="connsiteX7" fmla="*/ 61912 w 766527"/>
              <a:gd name="connsiteY7" fmla="*/ 740568 h 740568"/>
              <a:gd name="connsiteX0" fmla="*/ 71526 w 776141"/>
              <a:gd name="connsiteY0" fmla="*/ 740568 h 740568"/>
              <a:gd name="connsiteX1" fmla="*/ 9614 w 776141"/>
              <a:gd name="connsiteY1" fmla="*/ 645318 h 740568"/>
              <a:gd name="connsiteX2" fmla="*/ 326320 w 776141"/>
              <a:gd name="connsiteY2" fmla="*/ 104775 h 740568"/>
              <a:gd name="connsiteX3" fmla="*/ 385851 w 776141"/>
              <a:gd name="connsiteY3" fmla="*/ 0 h 740568"/>
              <a:gd name="connsiteX4" fmla="*/ 447764 w 776141"/>
              <a:gd name="connsiteY4" fmla="*/ 104775 h 740568"/>
              <a:gd name="connsiteX5" fmla="*/ 754945 w 776141"/>
              <a:gd name="connsiteY5" fmla="*/ 638174 h 740568"/>
              <a:gd name="connsiteX6" fmla="*/ 707320 w 776141"/>
              <a:gd name="connsiteY6" fmla="*/ 738186 h 740568"/>
              <a:gd name="connsiteX7" fmla="*/ 71526 w 776141"/>
              <a:gd name="connsiteY7" fmla="*/ 740568 h 740568"/>
              <a:gd name="connsiteX0" fmla="*/ 78919 w 783534"/>
              <a:gd name="connsiteY0" fmla="*/ 740568 h 740614"/>
              <a:gd name="connsiteX1" fmla="*/ 17007 w 783534"/>
              <a:gd name="connsiteY1" fmla="*/ 645318 h 740614"/>
              <a:gd name="connsiteX2" fmla="*/ 333713 w 783534"/>
              <a:gd name="connsiteY2" fmla="*/ 104775 h 740614"/>
              <a:gd name="connsiteX3" fmla="*/ 393244 w 783534"/>
              <a:gd name="connsiteY3" fmla="*/ 0 h 740614"/>
              <a:gd name="connsiteX4" fmla="*/ 455157 w 783534"/>
              <a:gd name="connsiteY4" fmla="*/ 104775 h 740614"/>
              <a:gd name="connsiteX5" fmla="*/ 762338 w 783534"/>
              <a:gd name="connsiteY5" fmla="*/ 638174 h 740614"/>
              <a:gd name="connsiteX6" fmla="*/ 714713 w 783534"/>
              <a:gd name="connsiteY6" fmla="*/ 738186 h 740614"/>
              <a:gd name="connsiteX7" fmla="*/ 78919 w 783534"/>
              <a:gd name="connsiteY7" fmla="*/ 740568 h 740614"/>
              <a:gd name="connsiteX0" fmla="*/ 78919 w 783534"/>
              <a:gd name="connsiteY0" fmla="*/ 635793 h 635839"/>
              <a:gd name="connsiteX1" fmla="*/ 17007 w 783534"/>
              <a:gd name="connsiteY1" fmla="*/ 540543 h 635839"/>
              <a:gd name="connsiteX2" fmla="*/ 333713 w 783534"/>
              <a:gd name="connsiteY2" fmla="*/ 0 h 635839"/>
              <a:gd name="connsiteX3" fmla="*/ 455157 w 783534"/>
              <a:gd name="connsiteY3" fmla="*/ 0 h 635839"/>
              <a:gd name="connsiteX4" fmla="*/ 762338 w 783534"/>
              <a:gd name="connsiteY4" fmla="*/ 533399 h 635839"/>
              <a:gd name="connsiteX5" fmla="*/ 714713 w 783534"/>
              <a:gd name="connsiteY5" fmla="*/ 633411 h 635839"/>
              <a:gd name="connsiteX6" fmla="*/ 78919 w 783534"/>
              <a:gd name="connsiteY6" fmla="*/ 635793 h 635839"/>
              <a:gd name="connsiteX0" fmla="*/ 78919 w 783534"/>
              <a:gd name="connsiteY0" fmla="*/ 667542 h 667588"/>
              <a:gd name="connsiteX1" fmla="*/ 17007 w 783534"/>
              <a:gd name="connsiteY1" fmla="*/ 572292 h 667588"/>
              <a:gd name="connsiteX2" fmla="*/ 333713 w 783534"/>
              <a:gd name="connsiteY2" fmla="*/ 31749 h 667588"/>
              <a:gd name="connsiteX3" fmla="*/ 455157 w 783534"/>
              <a:gd name="connsiteY3" fmla="*/ 31749 h 667588"/>
              <a:gd name="connsiteX4" fmla="*/ 762338 w 783534"/>
              <a:gd name="connsiteY4" fmla="*/ 565148 h 667588"/>
              <a:gd name="connsiteX5" fmla="*/ 714713 w 783534"/>
              <a:gd name="connsiteY5" fmla="*/ 665160 h 667588"/>
              <a:gd name="connsiteX6" fmla="*/ 78919 w 783534"/>
              <a:gd name="connsiteY6" fmla="*/ 667542 h 667588"/>
              <a:gd name="connsiteX0" fmla="*/ 78919 w 783534"/>
              <a:gd name="connsiteY0" fmla="*/ 691171 h 691217"/>
              <a:gd name="connsiteX1" fmla="*/ 17007 w 783534"/>
              <a:gd name="connsiteY1" fmla="*/ 595921 h 691217"/>
              <a:gd name="connsiteX2" fmla="*/ 333713 w 783534"/>
              <a:gd name="connsiteY2" fmla="*/ 55378 h 691217"/>
              <a:gd name="connsiteX3" fmla="*/ 455157 w 783534"/>
              <a:gd name="connsiteY3" fmla="*/ 55378 h 691217"/>
              <a:gd name="connsiteX4" fmla="*/ 762338 w 783534"/>
              <a:gd name="connsiteY4" fmla="*/ 588777 h 691217"/>
              <a:gd name="connsiteX5" fmla="*/ 714713 w 783534"/>
              <a:gd name="connsiteY5" fmla="*/ 688789 h 691217"/>
              <a:gd name="connsiteX6" fmla="*/ 78919 w 783534"/>
              <a:gd name="connsiteY6" fmla="*/ 691171 h 691217"/>
              <a:gd name="connsiteX0" fmla="*/ 78919 w 783534"/>
              <a:gd name="connsiteY0" fmla="*/ 693838 h 693884"/>
              <a:gd name="connsiteX1" fmla="*/ 17007 w 783534"/>
              <a:gd name="connsiteY1" fmla="*/ 598588 h 693884"/>
              <a:gd name="connsiteX2" fmla="*/ 333713 w 783534"/>
              <a:gd name="connsiteY2" fmla="*/ 58045 h 693884"/>
              <a:gd name="connsiteX3" fmla="*/ 455157 w 783534"/>
              <a:gd name="connsiteY3" fmla="*/ 58045 h 693884"/>
              <a:gd name="connsiteX4" fmla="*/ 762338 w 783534"/>
              <a:gd name="connsiteY4" fmla="*/ 591444 h 693884"/>
              <a:gd name="connsiteX5" fmla="*/ 714713 w 783534"/>
              <a:gd name="connsiteY5" fmla="*/ 691456 h 693884"/>
              <a:gd name="connsiteX6" fmla="*/ 78919 w 783534"/>
              <a:gd name="connsiteY6" fmla="*/ 693838 h 69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534" h="693884">
                <a:moveTo>
                  <a:pt x="78919" y="693838"/>
                </a:moveTo>
                <a:cubicBezTo>
                  <a:pt x="3514" y="695425"/>
                  <a:pt x="-19506" y="656532"/>
                  <a:pt x="17007" y="598588"/>
                </a:cubicBezTo>
                <a:lnTo>
                  <a:pt x="333713" y="58045"/>
                </a:lnTo>
                <a:cubicBezTo>
                  <a:pt x="374195" y="-20535"/>
                  <a:pt x="417057" y="-18155"/>
                  <a:pt x="455157" y="58045"/>
                </a:cubicBezTo>
                <a:lnTo>
                  <a:pt x="762338" y="591444"/>
                </a:lnTo>
                <a:cubicBezTo>
                  <a:pt x="808375" y="648593"/>
                  <a:pt x="773450" y="691457"/>
                  <a:pt x="714713" y="691456"/>
                </a:cubicBezTo>
                <a:lnTo>
                  <a:pt x="78919" y="693838"/>
                </a:lnTo>
                <a:close/>
              </a:path>
            </a:pathLst>
          </a:custGeom>
          <a:solidFill>
            <a:srgbClr val="1D4572">
              <a:alpha val="80000"/>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a typeface="+mn-ea"/>
              <a:cs typeface="+mn-cs"/>
            </a:endParaRPr>
          </a:p>
        </p:txBody>
      </p:sp>
      <p:sp>
        <p:nvSpPr>
          <p:cNvPr id="183" name="Freeform: Shape 182">
            <a:extLst>
              <a:ext uri="{FF2B5EF4-FFF2-40B4-BE49-F238E27FC236}">
                <a16:creationId xmlns:a16="http://schemas.microsoft.com/office/drawing/2014/main" id="{4BC235E7-3389-4CD8-9D7A-6F1CAD268255}"/>
              </a:ext>
            </a:extLst>
          </p:cNvPr>
          <p:cNvSpPr>
            <a:spLocks noChangeAspect="1"/>
          </p:cNvSpPr>
          <p:nvPr/>
        </p:nvSpPr>
        <p:spPr>
          <a:xfrm rot="16200000">
            <a:off x="8223111" y="3285787"/>
            <a:ext cx="977478" cy="189736"/>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gradFill flip="none" rotWithShape="1">
            <a:gsLst>
              <a:gs pos="0">
                <a:srgbClr val="74BF4B">
                  <a:alpha val="0"/>
                </a:srgbClr>
              </a:gs>
              <a:gs pos="100000">
                <a:srgbClr val="74BF4B"/>
              </a:gs>
            </a:gsLst>
            <a:lin ang="0" scaled="1"/>
            <a:tileRect/>
          </a:gra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grpSp>
        <p:nvGrpSpPr>
          <p:cNvPr id="188" name="Group 187">
            <a:extLst>
              <a:ext uri="{FF2B5EF4-FFF2-40B4-BE49-F238E27FC236}">
                <a16:creationId xmlns:a16="http://schemas.microsoft.com/office/drawing/2014/main" id="{EB786E05-97F9-411F-9D42-7D74DB583879}"/>
              </a:ext>
            </a:extLst>
          </p:cNvPr>
          <p:cNvGrpSpPr/>
          <p:nvPr/>
        </p:nvGrpSpPr>
        <p:grpSpPr>
          <a:xfrm>
            <a:off x="8592666" y="3699094"/>
            <a:ext cx="250374" cy="233697"/>
            <a:chOff x="10405138" y="3499135"/>
            <a:chExt cx="1042336" cy="972909"/>
          </a:xfrm>
        </p:grpSpPr>
        <p:sp>
          <p:nvSpPr>
            <p:cNvPr id="189" name="Freeform: Shape 188">
              <a:extLst>
                <a:ext uri="{FF2B5EF4-FFF2-40B4-BE49-F238E27FC236}">
                  <a16:creationId xmlns:a16="http://schemas.microsoft.com/office/drawing/2014/main" id="{84183A89-1ED8-4F19-A120-9B869A1BCB35}"/>
                </a:ext>
              </a:extLst>
            </p:cNvPr>
            <p:cNvSpPr/>
            <p:nvPr/>
          </p:nvSpPr>
          <p:spPr>
            <a:xfrm>
              <a:off x="10488873" y="3507183"/>
              <a:ext cx="958601" cy="958601"/>
            </a:xfrm>
            <a:custGeom>
              <a:avLst/>
              <a:gdLst>
                <a:gd name="connsiteX0" fmla="*/ 954059 w 958601"/>
                <a:gd name="connsiteY0" fmla="*/ 481053 h 958601"/>
                <a:gd name="connsiteX1" fmla="*/ 481053 w 958601"/>
                <a:gd name="connsiteY1" fmla="*/ 954059 h 958601"/>
                <a:gd name="connsiteX2" fmla="*/ 8048 w 958601"/>
                <a:gd name="connsiteY2" fmla="*/ 481053 h 958601"/>
                <a:gd name="connsiteX3" fmla="*/ 481053 w 958601"/>
                <a:gd name="connsiteY3" fmla="*/ 8048 h 958601"/>
                <a:gd name="connsiteX4" fmla="*/ 954059 w 958601"/>
                <a:gd name="connsiteY4" fmla="*/ 481053 h 958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601" h="958601">
                  <a:moveTo>
                    <a:pt x="954059" y="481053"/>
                  </a:moveTo>
                  <a:cubicBezTo>
                    <a:pt x="954059" y="742287"/>
                    <a:pt x="742287" y="954059"/>
                    <a:pt x="481053" y="954059"/>
                  </a:cubicBezTo>
                  <a:cubicBezTo>
                    <a:pt x="219820" y="954059"/>
                    <a:pt x="8048" y="742287"/>
                    <a:pt x="8048" y="481053"/>
                  </a:cubicBezTo>
                  <a:cubicBezTo>
                    <a:pt x="8048" y="219820"/>
                    <a:pt x="219820" y="8048"/>
                    <a:pt x="481053" y="8048"/>
                  </a:cubicBezTo>
                  <a:cubicBezTo>
                    <a:pt x="742287" y="8048"/>
                    <a:pt x="954059" y="219820"/>
                    <a:pt x="954059" y="481053"/>
                  </a:cubicBezTo>
                  <a:close/>
                </a:path>
              </a:pathLst>
            </a:custGeom>
            <a:noFill/>
            <a:ln w="7144" cap="flat">
              <a:solidFill>
                <a:srgbClr val="0D274D"/>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0" name="Freeform: Shape 189">
              <a:extLst>
                <a:ext uri="{FF2B5EF4-FFF2-40B4-BE49-F238E27FC236}">
                  <a16:creationId xmlns:a16="http://schemas.microsoft.com/office/drawing/2014/main" id="{262965C1-A8D2-435A-8087-5129B23E09A8}"/>
                </a:ext>
              </a:extLst>
            </p:cNvPr>
            <p:cNvSpPr/>
            <p:nvPr/>
          </p:nvSpPr>
          <p:spPr>
            <a:xfrm>
              <a:off x="10405138" y="3499135"/>
              <a:ext cx="972909" cy="972909"/>
            </a:xfrm>
            <a:custGeom>
              <a:avLst/>
              <a:gdLst>
                <a:gd name="connsiteX0" fmla="*/ 962107 w 972908"/>
                <a:gd name="connsiteY0" fmla="*/ 489101 h 972908"/>
                <a:gd name="connsiteX1" fmla="*/ 489101 w 972908"/>
                <a:gd name="connsiteY1" fmla="*/ 962107 h 972908"/>
                <a:gd name="connsiteX2" fmla="*/ 16096 w 972908"/>
                <a:gd name="connsiteY2" fmla="*/ 489101 h 972908"/>
                <a:gd name="connsiteX3" fmla="*/ 489101 w 972908"/>
                <a:gd name="connsiteY3" fmla="*/ 16096 h 972908"/>
                <a:gd name="connsiteX4" fmla="*/ 962107 w 972908"/>
                <a:gd name="connsiteY4" fmla="*/ 489101 h 97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908" h="972908">
                  <a:moveTo>
                    <a:pt x="962107" y="489101"/>
                  </a:moveTo>
                  <a:cubicBezTo>
                    <a:pt x="962107" y="750335"/>
                    <a:pt x="750335" y="962107"/>
                    <a:pt x="489101" y="962107"/>
                  </a:cubicBezTo>
                  <a:cubicBezTo>
                    <a:pt x="227868" y="962107"/>
                    <a:pt x="16096" y="750335"/>
                    <a:pt x="16096" y="489101"/>
                  </a:cubicBezTo>
                  <a:cubicBezTo>
                    <a:pt x="16096" y="227868"/>
                    <a:pt x="227868" y="16096"/>
                    <a:pt x="489101" y="16096"/>
                  </a:cubicBezTo>
                  <a:cubicBezTo>
                    <a:pt x="750335" y="16096"/>
                    <a:pt x="962107" y="227868"/>
                    <a:pt x="962107" y="489101"/>
                  </a:cubicBezTo>
                  <a:close/>
                </a:path>
              </a:pathLst>
            </a:custGeom>
            <a:solidFill>
              <a:srgbClr val="74BF4B">
                <a:alpha val="80000"/>
              </a:srgbClr>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91" name="Freeform: Shape 190">
              <a:extLst>
                <a:ext uri="{FF2B5EF4-FFF2-40B4-BE49-F238E27FC236}">
                  <a16:creationId xmlns:a16="http://schemas.microsoft.com/office/drawing/2014/main" id="{C38D8481-BC87-43DE-8062-6AD7773D3352}"/>
                </a:ext>
              </a:extLst>
            </p:cNvPr>
            <p:cNvSpPr/>
            <p:nvPr/>
          </p:nvSpPr>
          <p:spPr>
            <a:xfrm>
              <a:off x="10479823" y="3550137"/>
              <a:ext cx="715374" cy="343380"/>
            </a:xfrm>
            <a:custGeom>
              <a:avLst/>
              <a:gdLst>
                <a:gd name="connsiteX0" fmla="*/ 667086 w 715374"/>
                <a:gd name="connsiteY0" fmla="*/ 141505 h 343379"/>
                <a:gd name="connsiteX1" fmla="*/ 118233 w 715374"/>
                <a:gd name="connsiteY1" fmla="*/ 184845 h 343379"/>
                <a:gd name="connsiteX2" fmla="*/ 48288 w 715374"/>
                <a:gd name="connsiteY2" fmla="*/ 305039 h 343379"/>
              </a:gdLst>
              <a:ahLst/>
              <a:cxnLst>
                <a:cxn ang="0">
                  <a:pos x="connsiteX0" y="connsiteY0"/>
                </a:cxn>
                <a:cxn ang="0">
                  <a:pos x="connsiteX1" y="connsiteY1"/>
                </a:cxn>
                <a:cxn ang="0">
                  <a:pos x="connsiteX2" y="connsiteY2"/>
                </a:cxn>
              </a:cxnLst>
              <a:rect l="l" t="t" r="r" b="b"/>
              <a:pathLst>
                <a:path w="715374" h="343379">
                  <a:moveTo>
                    <a:pt x="667086" y="141505"/>
                  </a:moveTo>
                  <a:cubicBezTo>
                    <a:pt x="503556" y="1911"/>
                    <a:pt x="257827" y="21315"/>
                    <a:pt x="118233" y="184845"/>
                  </a:cubicBezTo>
                  <a:cubicBezTo>
                    <a:pt x="87892" y="220388"/>
                    <a:pt x="64201" y="261101"/>
                    <a:pt x="48288" y="305039"/>
                  </a:cubicBezTo>
                </a:path>
              </a:pathLst>
            </a:custGeom>
            <a:noFill/>
            <a:ln w="6350" cap="rnd">
              <a:solidFill>
                <a:srgbClr val="FFFFFF"/>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92" name="Group 191">
            <a:extLst>
              <a:ext uri="{FF2B5EF4-FFF2-40B4-BE49-F238E27FC236}">
                <a16:creationId xmlns:a16="http://schemas.microsoft.com/office/drawing/2014/main" id="{FD49982A-6EDF-4A6B-80AB-CB9BAC41DCF1}"/>
              </a:ext>
            </a:extLst>
          </p:cNvPr>
          <p:cNvGrpSpPr/>
          <p:nvPr/>
        </p:nvGrpSpPr>
        <p:grpSpPr>
          <a:xfrm>
            <a:off x="8839090" y="3400181"/>
            <a:ext cx="756604" cy="585700"/>
            <a:chOff x="5466765" y="2641840"/>
            <a:chExt cx="1195840" cy="925720"/>
          </a:xfrm>
        </p:grpSpPr>
        <p:sp>
          <p:nvSpPr>
            <p:cNvPr id="193" name="Freeform: Shape 192">
              <a:extLst>
                <a:ext uri="{FF2B5EF4-FFF2-40B4-BE49-F238E27FC236}">
                  <a16:creationId xmlns:a16="http://schemas.microsoft.com/office/drawing/2014/main" id="{F20CDAFD-24A4-45DE-8C04-9843EEB10AC7}"/>
                </a:ext>
              </a:extLst>
            </p:cNvPr>
            <p:cNvSpPr/>
            <p:nvPr/>
          </p:nvSpPr>
          <p:spPr>
            <a:xfrm>
              <a:off x="5466765" y="2752034"/>
              <a:ext cx="915679" cy="815526"/>
            </a:xfrm>
            <a:custGeom>
              <a:avLst/>
              <a:gdLst>
                <a:gd name="connsiteX0" fmla="*/ 427744 w 915678"/>
                <a:gd name="connsiteY0" fmla="*/ 436995 h 815526"/>
                <a:gd name="connsiteX1" fmla="*/ 428460 w 915678"/>
                <a:gd name="connsiteY1" fmla="*/ 424405 h 815526"/>
                <a:gd name="connsiteX2" fmla="*/ 441050 w 915678"/>
                <a:gd name="connsiteY2" fmla="*/ 425120 h 815526"/>
                <a:gd name="connsiteX3" fmla="*/ 440335 w 915678"/>
                <a:gd name="connsiteY3" fmla="*/ 437711 h 815526"/>
                <a:gd name="connsiteX4" fmla="*/ 427744 w 915678"/>
                <a:gd name="connsiteY4" fmla="*/ 436995 h 815526"/>
                <a:gd name="connsiteX5" fmla="*/ 390688 w 915678"/>
                <a:gd name="connsiteY5" fmla="*/ 469759 h 815526"/>
                <a:gd name="connsiteX6" fmla="*/ 402423 w 915678"/>
                <a:gd name="connsiteY6" fmla="*/ 469762 h 815526"/>
                <a:gd name="connsiteX7" fmla="*/ 402427 w 915678"/>
                <a:gd name="connsiteY7" fmla="*/ 458027 h 815526"/>
                <a:gd name="connsiteX8" fmla="*/ 390691 w 915678"/>
                <a:gd name="connsiteY8" fmla="*/ 458024 h 815526"/>
                <a:gd name="connsiteX9" fmla="*/ 390688 w 915678"/>
                <a:gd name="connsiteY9" fmla="*/ 458027 h 815526"/>
                <a:gd name="connsiteX10" fmla="*/ 390688 w 915678"/>
                <a:gd name="connsiteY10" fmla="*/ 469759 h 815526"/>
                <a:gd name="connsiteX11" fmla="*/ 353774 w 915678"/>
                <a:gd name="connsiteY11" fmla="*/ 502523 h 815526"/>
                <a:gd name="connsiteX12" fmla="*/ 364648 w 915678"/>
                <a:gd name="connsiteY12" fmla="*/ 502523 h 815526"/>
                <a:gd name="connsiteX13" fmla="*/ 364648 w 915678"/>
                <a:gd name="connsiteY13" fmla="*/ 491650 h 815526"/>
                <a:gd name="connsiteX14" fmla="*/ 353774 w 915678"/>
                <a:gd name="connsiteY14" fmla="*/ 491650 h 815526"/>
                <a:gd name="connsiteX15" fmla="*/ 352896 w 915678"/>
                <a:gd name="connsiteY15" fmla="*/ 502337 h 815526"/>
                <a:gd name="connsiteX16" fmla="*/ 353059 w 915678"/>
                <a:gd name="connsiteY16" fmla="*/ 502523 h 815526"/>
                <a:gd name="connsiteX17" fmla="*/ 316146 w 915678"/>
                <a:gd name="connsiteY17" fmla="*/ 535145 h 815526"/>
                <a:gd name="connsiteX18" fmla="*/ 326059 w 915678"/>
                <a:gd name="connsiteY18" fmla="*/ 535246 h 815526"/>
                <a:gd name="connsiteX19" fmla="*/ 326161 w 915678"/>
                <a:gd name="connsiteY19" fmla="*/ 535145 h 815526"/>
                <a:gd name="connsiteX20" fmla="*/ 326161 w 915678"/>
                <a:gd name="connsiteY20" fmla="*/ 525129 h 815526"/>
                <a:gd name="connsiteX21" fmla="*/ 316217 w 915678"/>
                <a:gd name="connsiteY21" fmla="*/ 524485 h 815526"/>
                <a:gd name="connsiteX22" fmla="*/ 315573 w 915678"/>
                <a:gd name="connsiteY22" fmla="*/ 534429 h 815526"/>
                <a:gd name="connsiteX23" fmla="*/ 280377 w 915678"/>
                <a:gd name="connsiteY23" fmla="*/ 567479 h 815526"/>
                <a:gd name="connsiteX24" fmla="*/ 289534 w 915678"/>
                <a:gd name="connsiteY24" fmla="*/ 568052 h 815526"/>
                <a:gd name="connsiteX25" fmla="*/ 290106 w 915678"/>
                <a:gd name="connsiteY25" fmla="*/ 558895 h 815526"/>
                <a:gd name="connsiteX26" fmla="*/ 280949 w 915678"/>
                <a:gd name="connsiteY26" fmla="*/ 558323 h 815526"/>
                <a:gd name="connsiteX27" fmla="*/ 280377 w 915678"/>
                <a:gd name="connsiteY27" fmla="*/ 567479 h 815526"/>
                <a:gd name="connsiteX28" fmla="*/ 243464 w 915678"/>
                <a:gd name="connsiteY28" fmla="*/ 600244 h 815526"/>
                <a:gd name="connsiteX29" fmla="*/ 251759 w 915678"/>
                <a:gd name="connsiteY29" fmla="*/ 600241 h 815526"/>
                <a:gd name="connsiteX30" fmla="*/ 251758 w 915678"/>
                <a:gd name="connsiteY30" fmla="*/ 591945 h 815526"/>
                <a:gd name="connsiteX31" fmla="*/ 243464 w 915678"/>
                <a:gd name="connsiteY31" fmla="*/ 591945 h 815526"/>
                <a:gd name="connsiteX32" fmla="*/ 243461 w 915678"/>
                <a:gd name="connsiteY32" fmla="*/ 600241 h 815526"/>
                <a:gd name="connsiteX33" fmla="*/ 243464 w 915678"/>
                <a:gd name="connsiteY33" fmla="*/ 600244 h 815526"/>
                <a:gd name="connsiteX34" fmla="*/ 206551 w 915678"/>
                <a:gd name="connsiteY34" fmla="*/ 633008 h 815526"/>
                <a:gd name="connsiteX35" fmla="*/ 213833 w 915678"/>
                <a:gd name="connsiteY35" fmla="*/ 633165 h 815526"/>
                <a:gd name="connsiteX36" fmla="*/ 213990 w 915678"/>
                <a:gd name="connsiteY36" fmla="*/ 633008 h 815526"/>
                <a:gd name="connsiteX37" fmla="*/ 215134 w 915678"/>
                <a:gd name="connsiteY37" fmla="*/ 625609 h 815526"/>
                <a:gd name="connsiteX38" fmla="*/ 207735 w 915678"/>
                <a:gd name="connsiteY38" fmla="*/ 624466 h 815526"/>
                <a:gd name="connsiteX39" fmla="*/ 206980 w 915678"/>
                <a:gd name="connsiteY39" fmla="*/ 625139 h 815526"/>
                <a:gd name="connsiteX40" fmla="*/ 206980 w 915678"/>
                <a:gd name="connsiteY40" fmla="*/ 632578 h 815526"/>
                <a:gd name="connsiteX41" fmla="*/ 170209 w 915678"/>
                <a:gd name="connsiteY41" fmla="*/ 666201 h 815526"/>
                <a:gd name="connsiteX42" fmla="*/ 176885 w 915678"/>
                <a:gd name="connsiteY42" fmla="*/ 666295 h 815526"/>
                <a:gd name="connsiteX43" fmla="*/ 176981 w 915678"/>
                <a:gd name="connsiteY43" fmla="*/ 659620 h 815526"/>
                <a:gd name="connsiteX44" fmla="*/ 170304 w 915678"/>
                <a:gd name="connsiteY44" fmla="*/ 659525 h 815526"/>
                <a:gd name="connsiteX45" fmla="*/ 170209 w 915678"/>
                <a:gd name="connsiteY45" fmla="*/ 659620 h 815526"/>
                <a:gd name="connsiteX46" fmla="*/ 170209 w 915678"/>
                <a:gd name="connsiteY46" fmla="*/ 666201 h 815526"/>
                <a:gd name="connsiteX47" fmla="*/ 133296 w 915678"/>
                <a:gd name="connsiteY47" fmla="*/ 698965 h 815526"/>
                <a:gd name="connsiteX48" fmla="*/ 138962 w 915678"/>
                <a:gd name="connsiteY48" fmla="*/ 699022 h 815526"/>
                <a:gd name="connsiteX49" fmla="*/ 139019 w 915678"/>
                <a:gd name="connsiteY49" fmla="*/ 698965 h 815526"/>
                <a:gd name="connsiteX50" fmla="*/ 140228 w 915678"/>
                <a:gd name="connsiteY50" fmla="*/ 693224 h 815526"/>
                <a:gd name="connsiteX51" fmla="*/ 134485 w 915678"/>
                <a:gd name="connsiteY51" fmla="*/ 692015 h 815526"/>
                <a:gd name="connsiteX52" fmla="*/ 133582 w 915678"/>
                <a:gd name="connsiteY52" fmla="*/ 692813 h 815526"/>
                <a:gd name="connsiteX53" fmla="*/ 133582 w 915678"/>
                <a:gd name="connsiteY53" fmla="*/ 698536 h 815526"/>
                <a:gd name="connsiteX54" fmla="*/ 96669 w 915678"/>
                <a:gd name="connsiteY54" fmla="*/ 731300 h 815526"/>
                <a:gd name="connsiteX55" fmla="*/ 101525 w 915678"/>
                <a:gd name="connsiteY55" fmla="*/ 731291 h 815526"/>
                <a:gd name="connsiteX56" fmla="*/ 101516 w 915678"/>
                <a:gd name="connsiteY56" fmla="*/ 726436 h 815526"/>
                <a:gd name="connsiteX57" fmla="*/ 96669 w 915678"/>
                <a:gd name="connsiteY57" fmla="*/ 726436 h 815526"/>
                <a:gd name="connsiteX58" fmla="*/ 96660 w 915678"/>
                <a:gd name="connsiteY58" fmla="*/ 731291 h 815526"/>
                <a:gd name="connsiteX59" fmla="*/ 96669 w 915678"/>
                <a:gd name="connsiteY59" fmla="*/ 731300 h 815526"/>
                <a:gd name="connsiteX60" fmla="*/ 58611 w 915678"/>
                <a:gd name="connsiteY60" fmla="*/ 764493 h 815526"/>
                <a:gd name="connsiteX61" fmla="*/ 62760 w 915678"/>
                <a:gd name="connsiteY61" fmla="*/ 764493 h 815526"/>
                <a:gd name="connsiteX62" fmla="*/ 62760 w 915678"/>
                <a:gd name="connsiteY62" fmla="*/ 760344 h 815526"/>
                <a:gd name="connsiteX63" fmla="*/ 58919 w 915678"/>
                <a:gd name="connsiteY63" fmla="*/ 760178 h 815526"/>
                <a:gd name="connsiteX64" fmla="*/ 58754 w 915678"/>
                <a:gd name="connsiteY64" fmla="*/ 760344 h 815526"/>
                <a:gd name="connsiteX65" fmla="*/ 58754 w 915678"/>
                <a:gd name="connsiteY65" fmla="*/ 764350 h 815526"/>
                <a:gd name="connsiteX66" fmla="*/ 407428 w 915678"/>
                <a:gd name="connsiteY66" fmla="*/ 413388 h 815526"/>
                <a:gd name="connsiteX67" fmla="*/ 420018 w 915678"/>
                <a:gd name="connsiteY67" fmla="*/ 414246 h 815526"/>
                <a:gd name="connsiteX68" fmla="*/ 420064 w 915678"/>
                <a:gd name="connsiteY68" fmla="*/ 401701 h 815526"/>
                <a:gd name="connsiteX69" fmla="*/ 420018 w 915678"/>
                <a:gd name="connsiteY69" fmla="*/ 401656 h 815526"/>
                <a:gd name="connsiteX70" fmla="*/ 407511 w 915678"/>
                <a:gd name="connsiteY70" fmla="*/ 400694 h 815526"/>
                <a:gd name="connsiteX71" fmla="*/ 406548 w 915678"/>
                <a:gd name="connsiteY71" fmla="*/ 413202 h 815526"/>
                <a:gd name="connsiteX72" fmla="*/ 406712 w 915678"/>
                <a:gd name="connsiteY72" fmla="*/ 413388 h 815526"/>
                <a:gd name="connsiteX73" fmla="*/ 370514 w 915678"/>
                <a:gd name="connsiteY73" fmla="*/ 446152 h 815526"/>
                <a:gd name="connsiteX74" fmla="*/ 382249 w 915678"/>
                <a:gd name="connsiteY74" fmla="*/ 446155 h 815526"/>
                <a:gd name="connsiteX75" fmla="*/ 382254 w 915678"/>
                <a:gd name="connsiteY75" fmla="*/ 434420 h 815526"/>
                <a:gd name="connsiteX76" fmla="*/ 370517 w 915678"/>
                <a:gd name="connsiteY76" fmla="*/ 434417 h 815526"/>
                <a:gd name="connsiteX77" fmla="*/ 370514 w 915678"/>
                <a:gd name="connsiteY77" fmla="*/ 434420 h 815526"/>
                <a:gd name="connsiteX78" fmla="*/ 370514 w 915678"/>
                <a:gd name="connsiteY78" fmla="*/ 446152 h 815526"/>
                <a:gd name="connsiteX79" fmla="*/ 333458 w 915678"/>
                <a:gd name="connsiteY79" fmla="*/ 478916 h 815526"/>
                <a:gd name="connsiteX80" fmla="*/ 344332 w 915678"/>
                <a:gd name="connsiteY80" fmla="*/ 478916 h 815526"/>
                <a:gd name="connsiteX81" fmla="*/ 344332 w 915678"/>
                <a:gd name="connsiteY81" fmla="*/ 468042 h 815526"/>
                <a:gd name="connsiteX82" fmla="*/ 333511 w 915678"/>
                <a:gd name="connsiteY82" fmla="*/ 466532 h 815526"/>
                <a:gd name="connsiteX83" fmla="*/ 332000 w 915678"/>
                <a:gd name="connsiteY83" fmla="*/ 477354 h 815526"/>
                <a:gd name="connsiteX84" fmla="*/ 332742 w 915678"/>
                <a:gd name="connsiteY84" fmla="*/ 478201 h 815526"/>
                <a:gd name="connsiteX85" fmla="*/ 296545 w 915678"/>
                <a:gd name="connsiteY85" fmla="*/ 511680 h 815526"/>
                <a:gd name="connsiteX86" fmla="*/ 306458 w 915678"/>
                <a:gd name="connsiteY86" fmla="*/ 511782 h 815526"/>
                <a:gd name="connsiteX87" fmla="*/ 306560 w 915678"/>
                <a:gd name="connsiteY87" fmla="*/ 511680 h 815526"/>
                <a:gd name="connsiteX88" fmla="*/ 306661 w 915678"/>
                <a:gd name="connsiteY88" fmla="*/ 501563 h 815526"/>
                <a:gd name="connsiteX89" fmla="*/ 296545 w 915678"/>
                <a:gd name="connsiteY89" fmla="*/ 501463 h 815526"/>
                <a:gd name="connsiteX90" fmla="*/ 296443 w 915678"/>
                <a:gd name="connsiteY90" fmla="*/ 511579 h 815526"/>
                <a:gd name="connsiteX91" fmla="*/ 296545 w 915678"/>
                <a:gd name="connsiteY91" fmla="*/ 511680 h 815526"/>
                <a:gd name="connsiteX92" fmla="*/ 259631 w 915678"/>
                <a:gd name="connsiteY92" fmla="*/ 544444 h 815526"/>
                <a:gd name="connsiteX93" fmla="*/ 268788 w 915678"/>
                <a:gd name="connsiteY93" fmla="*/ 544444 h 815526"/>
                <a:gd name="connsiteX94" fmla="*/ 268788 w 915678"/>
                <a:gd name="connsiteY94" fmla="*/ 535288 h 815526"/>
                <a:gd name="connsiteX95" fmla="*/ 259631 w 915678"/>
                <a:gd name="connsiteY95" fmla="*/ 534715 h 815526"/>
                <a:gd name="connsiteX96" fmla="*/ 259059 w 915678"/>
                <a:gd name="connsiteY96" fmla="*/ 543872 h 815526"/>
                <a:gd name="connsiteX97" fmla="*/ 222003 w 915678"/>
                <a:gd name="connsiteY97" fmla="*/ 576636 h 815526"/>
                <a:gd name="connsiteX98" fmla="*/ 230298 w 915678"/>
                <a:gd name="connsiteY98" fmla="*/ 576633 h 815526"/>
                <a:gd name="connsiteX99" fmla="*/ 230297 w 915678"/>
                <a:gd name="connsiteY99" fmla="*/ 568338 h 815526"/>
                <a:gd name="connsiteX100" fmla="*/ 222003 w 915678"/>
                <a:gd name="connsiteY100" fmla="*/ 568338 h 815526"/>
                <a:gd name="connsiteX101" fmla="*/ 222000 w 915678"/>
                <a:gd name="connsiteY101" fmla="*/ 576633 h 815526"/>
                <a:gd name="connsiteX102" fmla="*/ 222003 w 915678"/>
                <a:gd name="connsiteY102" fmla="*/ 576636 h 815526"/>
                <a:gd name="connsiteX103" fmla="*/ 185662 w 915678"/>
                <a:gd name="connsiteY103" fmla="*/ 610402 h 815526"/>
                <a:gd name="connsiteX104" fmla="*/ 193147 w 915678"/>
                <a:gd name="connsiteY104" fmla="*/ 610449 h 815526"/>
                <a:gd name="connsiteX105" fmla="*/ 193194 w 915678"/>
                <a:gd name="connsiteY105" fmla="*/ 602962 h 815526"/>
                <a:gd name="connsiteX106" fmla="*/ 185707 w 915678"/>
                <a:gd name="connsiteY106" fmla="*/ 602915 h 815526"/>
                <a:gd name="connsiteX107" fmla="*/ 185662 w 915678"/>
                <a:gd name="connsiteY107" fmla="*/ 602962 h 815526"/>
                <a:gd name="connsiteX108" fmla="*/ 185662 w 915678"/>
                <a:gd name="connsiteY108" fmla="*/ 610402 h 815526"/>
                <a:gd name="connsiteX109" fmla="*/ 148748 w 915678"/>
                <a:gd name="connsiteY109" fmla="*/ 642737 h 815526"/>
                <a:gd name="connsiteX110" fmla="*/ 155330 w 915678"/>
                <a:gd name="connsiteY110" fmla="*/ 642737 h 815526"/>
                <a:gd name="connsiteX111" fmla="*/ 156128 w 915678"/>
                <a:gd name="connsiteY111" fmla="*/ 636108 h 815526"/>
                <a:gd name="connsiteX112" fmla="*/ 149498 w 915678"/>
                <a:gd name="connsiteY112" fmla="*/ 635310 h 815526"/>
                <a:gd name="connsiteX113" fmla="*/ 149034 w 915678"/>
                <a:gd name="connsiteY113" fmla="*/ 635726 h 815526"/>
                <a:gd name="connsiteX114" fmla="*/ 149034 w 915678"/>
                <a:gd name="connsiteY114" fmla="*/ 642308 h 815526"/>
                <a:gd name="connsiteX115" fmla="*/ 111978 w 915678"/>
                <a:gd name="connsiteY115" fmla="*/ 675072 h 815526"/>
                <a:gd name="connsiteX116" fmla="*/ 117844 w 915678"/>
                <a:gd name="connsiteY116" fmla="*/ 675072 h 815526"/>
                <a:gd name="connsiteX117" fmla="*/ 117844 w 915678"/>
                <a:gd name="connsiteY117" fmla="*/ 669349 h 815526"/>
                <a:gd name="connsiteX118" fmla="*/ 112178 w 915678"/>
                <a:gd name="connsiteY118" fmla="*/ 669291 h 815526"/>
                <a:gd name="connsiteX119" fmla="*/ 112121 w 915678"/>
                <a:gd name="connsiteY119" fmla="*/ 669349 h 815526"/>
                <a:gd name="connsiteX120" fmla="*/ 112064 w 915678"/>
                <a:gd name="connsiteY120" fmla="*/ 675014 h 815526"/>
                <a:gd name="connsiteX121" fmla="*/ 112121 w 915678"/>
                <a:gd name="connsiteY121" fmla="*/ 675072 h 815526"/>
                <a:gd name="connsiteX122" fmla="*/ 75208 w 915678"/>
                <a:gd name="connsiteY122" fmla="*/ 707836 h 815526"/>
                <a:gd name="connsiteX123" fmla="*/ 80064 w 915678"/>
                <a:gd name="connsiteY123" fmla="*/ 707844 h 815526"/>
                <a:gd name="connsiteX124" fmla="*/ 80072 w 915678"/>
                <a:gd name="connsiteY124" fmla="*/ 707836 h 815526"/>
                <a:gd name="connsiteX125" fmla="*/ 80064 w 915678"/>
                <a:gd name="connsiteY125" fmla="*/ 702980 h 815526"/>
                <a:gd name="connsiteX126" fmla="*/ 75208 w 915678"/>
                <a:gd name="connsiteY126" fmla="*/ 702988 h 815526"/>
                <a:gd name="connsiteX127" fmla="*/ 75208 w 915678"/>
                <a:gd name="connsiteY127" fmla="*/ 707836 h 815526"/>
                <a:gd name="connsiteX128" fmla="*/ 38295 w 915678"/>
                <a:gd name="connsiteY128" fmla="*/ 740600 h 815526"/>
                <a:gd name="connsiteX129" fmla="*/ 42136 w 915678"/>
                <a:gd name="connsiteY129" fmla="*/ 740765 h 815526"/>
                <a:gd name="connsiteX130" fmla="*/ 42301 w 915678"/>
                <a:gd name="connsiteY130" fmla="*/ 740600 h 815526"/>
                <a:gd name="connsiteX131" fmla="*/ 42301 w 915678"/>
                <a:gd name="connsiteY131" fmla="*/ 736594 h 815526"/>
                <a:gd name="connsiteX132" fmla="*/ 38151 w 915678"/>
                <a:gd name="connsiteY132" fmla="*/ 736594 h 815526"/>
                <a:gd name="connsiteX133" fmla="*/ 38151 w 915678"/>
                <a:gd name="connsiteY133" fmla="*/ 740743 h 815526"/>
                <a:gd name="connsiteX134" fmla="*/ 386539 w 915678"/>
                <a:gd name="connsiteY134" fmla="*/ 389924 h 815526"/>
                <a:gd name="connsiteX135" fmla="*/ 399059 w 915678"/>
                <a:gd name="connsiteY135" fmla="*/ 390702 h 815526"/>
                <a:gd name="connsiteX136" fmla="*/ 399837 w 915678"/>
                <a:gd name="connsiteY136" fmla="*/ 378181 h 815526"/>
                <a:gd name="connsiteX137" fmla="*/ 387397 w 915678"/>
                <a:gd name="connsiteY137" fmla="*/ 377333 h 815526"/>
                <a:gd name="connsiteX138" fmla="*/ 386539 w 915678"/>
                <a:gd name="connsiteY138" fmla="*/ 389924 h 815526"/>
                <a:gd name="connsiteX139" fmla="*/ 349625 w 915678"/>
                <a:gd name="connsiteY139" fmla="*/ 422688 h 815526"/>
                <a:gd name="connsiteX140" fmla="*/ 361340 w 915678"/>
                <a:gd name="connsiteY140" fmla="*/ 423383 h 815526"/>
                <a:gd name="connsiteX141" fmla="*/ 362036 w 915678"/>
                <a:gd name="connsiteY141" fmla="*/ 411668 h 815526"/>
                <a:gd name="connsiteX142" fmla="*/ 350341 w 915678"/>
                <a:gd name="connsiteY142" fmla="*/ 410956 h 815526"/>
                <a:gd name="connsiteX143" fmla="*/ 349608 w 915678"/>
                <a:gd name="connsiteY143" fmla="*/ 422668 h 815526"/>
                <a:gd name="connsiteX144" fmla="*/ 349625 w 915678"/>
                <a:gd name="connsiteY144" fmla="*/ 422688 h 815526"/>
                <a:gd name="connsiteX145" fmla="*/ 313284 w 915678"/>
                <a:gd name="connsiteY145" fmla="*/ 455452 h 815526"/>
                <a:gd name="connsiteX146" fmla="*/ 324211 w 915678"/>
                <a:gd name="connsiteY146" fmla="*/ 455505 h 815526"/>
                <a:gd name="connsiteX147" fmla="*/ 324262 w 915678"/>
                <a:gd name="connsiteY147" fmla="*/ 444578 h 815526"/>
                <a:gd name="connsiteX148" fmla="*/ 313337 w 915678"/>
                <a:gd name="connsiteY148" fmla="*/ 444525 h 815526"/>
                <a:gd name="connsiteX149" fmla="*/ 313284 w 915678"/>
                <a:gd name="connsiteY149" fmla="*/ 444578 h 815526"/>
                <a:gd name="connsiteX150" fmla="*/ 313284 w 915678"/>
                <a:gd name="connsiteY150" fmla="*/ 455452 h 815526"/>
                <a:gd name="connsiteX151" fmla="*/ 276228 w 915678"/>
                <a:gd name="connsiteY151" fmla="*/ 488216 h 815526"/>
                <a:gd name="connsiteX152" fmla="*/ 286243 w 915678"/>
                <a:gd name="connsiteY152" fmla="*/ 488216 h 815526"/>
                <a:gd name="connsiteX153" fmla="*/ 286142 w 915678"/>
                <a:gd name="connsiteY153" fmla="*/ 478302 h 815526"/>
                <a:gd name="connsiteX154" fmla="*/ 276228 w 915678"/>
                <a:gd name="connsiteY154" fmla="*/ 478402 h 815526"/>
                <a:gd name="connsiteX155" fmla="*/ 276228 w 915678"/>
                <a:gd name="connsiteY155" fmla="*/ 488216 h 815526"/>
                <a:gd name="connsiteX156" fmla="*/ 239315 w 915678"/>
                <a:gd name="connsiteY156" fmla="*/ 520980 h 815526"/>
                <a:gd name="connsiteX157" fmla="*/ 248622 w 915678"/>
                <a:gd name="connsiteY157" fmla="*/ 521130 h 815526"/>
                <a:gd name="connsiteX158" fmla="*/ 248770 w 915678"/>
                <a:gd name="connsiteY158" fmla="*/ 511823 h 815526"/>
                <a:gd name="connsiteX159" fmla="*/ 239465 w 915678"/>
                <a:gd name="connsiteY159" fmla="*/ 511673 h 815526"/>
                <a:gd name="connsiteX160" fmla="*/ 239315 w 915678"/>
                <a:gd name="connsiteY160" fmla="*/ 511823 h 815526"/>
                <a:gd name="connsiteX161" fmla="*/ 239263 w 915678"/>
                <a:gd name="connsiteY161" fmla="*/ 520929 h 815526"/>
                <a:gd name="connsiteX162" fmla="*/ 239315 w 915678"/>
                <a:gd name="connsiteY162" fmla="*/ 520980 h 815526"/>
                <a:gd name="connsiteX163" fmla="*/ 201829 w 915678"/>
                <a:gd name="connsiteY163" fmla="*/ 553172 h 815526"/>
                <a:gd name="connsiteX164" fmla="*/ 210123 w 915678"/>
                <a:gd name="connsiteY164" fmla="*/ 553025 h 815526"/>
                <a:gd name="connsiteX165" fmla="*/ 209977 w 915678"/>
                <a:gd name="connsiteY165" fmla="*/ 544731 h 815526"/>
                <a:gd name="connsiteX166" fmla="*/ 201829 w 915678"/>
                <a:gd name="connsiteY166" fmla="*/ 544731 h 815526"/>
                <a:gd name="connsiteX167" fmla="*/ 201829 w 915678"/>
                <a:gd name="connsiteY167" fmla="*/ 553172 h 815526"/>
                <a:gd name="connsiteX168" fmla="*/ 164773 w 915678"/>
                <a:gd name="connsiteY168" fmla="*/ 585793 h 815526"/>
                <a:gd name="connsiteX169" fmla="*/ 172260 w 915678"/>
                <a:gd name="connsiteY169" fmla="*/ 585760 h 815526"/>
                <a:gd name="connsiteX170" fmla="*/ 172785 w 915678"/>
                <a:gd name="connsiteY170" fmla="*/ 578925 h 815526"/>
                <a:gd name="connsiteX171" fmla="*/ 165392 w 915678"/>
                <a:gd name="connsiteY171" fmla="*/ 577748 h 815526"/>
                <a:gd name="connsiteX172" fmla="*/ 164215 w 915678"/>
                <a:gd name="connsiteY172" fmla="*/ 585141 h 815526"/>
                <a:gd name="connsiteX173" fmla="*/ 164773 w 915678"/>
                <a:gd name="connsiteY173" fmla="*/ 585793 h 815526"/>
                <a:gd name="connsiteX174" fmla="*/ 127287 w 915678"/>
                <a:gd name="connsiteY174" fmla="*/ 619129 h 815526"/>
                <a:gd name="connsiteX175" fmla="*/ 133936 w 915678"/>
                <a:gd name="connsiteY175" fmla="*/ 618520 h 815526"/>
                <a:gd name="connsiteX176" fmla="*/ 134298 w 915678"/>
                <a:gd name="connsiteY176" fmla="*/ 612977 h 815526"/>
                <a:gd name="connsiteX177" fmla="*/ 127716 w 915678"/>
                <a:gd name="connsiteY177" fmla="*/ 612977 h 815526"/>
                <a:gd name="connsiteX178" fmla="*/ 127609 w 915678"/>
                <a:gd name="connsiteY178" fmla="*/ 619451 h 815526"/>
                <a:gd name="connsiteX179" fmla="*/ 127716 w 915678"/>
                <a:gd name="connsiteY179" fmla="*/ 619559 h 815526"/>
                <a:gd name="connsiteX180" fmla="*/ 90946 w 915678"/>
                <a:gd name="connsiteY180" fmla="*/ 651894 h 815526"/>
                <a:gd name="connsiteX181" fmla="*/ 96612 w 915678"/>
                <a:gd name="connsiteY181" fmla="*/ 651951 h 815526"/>
                <a:gd name="connsiteX182" fmla="*/ 96669 w 915678"/>
                <a:gd name="connsiteY182" fmla="*/ 651894 h 815526"/>
                <a:gd name="connsiteX183" fmla="*/ 96726 w 915678"/>
                <a:gd name="connsiteY183" fmla="*/ 646228 h 815526"/>
                <a:gd name="connsiteX184" fmla="*/ 96669 w 915678"/>
                <a:gd name="connsiteY184" fmla="*/ 646171 h 815526"/>
                <a:gd name="connsiteX185" fmla="*/ 91003 w 915678"/>
                <a:gd name="connsiteY185" fmla="*/ 646113 h 815526"/>
                <a:gd name="connsiteX186" fmla="*/ 90946 w 915678"/>
                <a:gd name="connsiteY186" fmla="*/ 646171 h 815526"/>
                <a:gd name="connsiteX187" fmla="*/ 90889 w 915678"/>
                <a:gd name="connsiteY187" fmla="*/ 651836 h 815526"/>
                <a:gd name="connsiteX188" fmla="*/ 90946 w 915678"/>
                <a:gd name="connsiteY188" fmla="*/ 651894 h 815526"/>
                <a:gd name="connsiteX189" fmla="*/ 53890 w 915678"/>
                <a:gd name="connsiteY189" fmla="*/ 684658 h 815526"/>
                <a:gd name="connsiteX190" fmla="*/ 58746 w 915678"/>
                <a:gd name="connsiteY190" fmla="*/ 684649 h 815526"/>
                <a:gd name="connsiteX191" fmla="*/ 58737 w 915678"/>
                <a:gd name="connsiteY191" fmla="*/ 679793 h 815526"/>
                <a:gd name="connsiteX192" fmla="*/ 53890 w 915678"/>
                <a:gd name="connsiteY192" fmla="*/ 679793 h 815526"/>
                <a:gd name="connsiteX193" fmla="*/ 53881 w 915678"/>
                <a:gd name="connsiteY193" fmla="*/ 684649 h 815526"/>
                <a:gd name="connsiteX194" fmla="*/ 53890 w 915678"/>
                <a:gd name="connsiteY194" fmla="*/ 684658 h 815526"/>
                <a:gd name="connsiteX195" fmla="*/ 16976 w 915678"/>
                <a:gd name="connsiteY195" fmla="*/ 717422 h 815526"/>
                <a:gd name="connsiteX196" fmla="*/ 21023 w 915678"/>
                <a:gd name="connsiteY196" fmla="*/ 717462 h 815526"/>
                <a:gd name="connsiteX197" fmla="*/ 21064 w 915678"/>
                <a:gd name="connsiteY197" fmla="*/ 713416 h 815526"/>
                <a:gd name="connsiteX198" fmla="*/ 17016 w 915678"/>
                <a:gd name="connsiteY198" fmla="*/ 713376 h 815526"/>
                <a:gd name="connsiteX199" fmla="*/ 16976 w 915678"/>
                <a:gd name="connsiteY199" fmla="*/ 713416 h 815526"/>
                <a:gd name="connsiteX200" fmla="*/ 16812 w 915678"/>
                <a:gd name="connsiteY200" fmla="*/ 717257 h 815526"/>
                <a:gd name="connsiteX201" fmla="*/ 16976 w 915678"/>
                <a:gd name="connsiteY201" fmla="*/ 717422 h 815526"/>
                <a:gd name="connsiteX202" fmla="*/ 490840 w 915678"/>
                <a:gd name="connsiteY202" fmla="*/ 507531 h 815526"/>
                <a:gd name="connsiteX203" fmla="*/ 503385 w 915678"/>
                <a:gd name="connsiteY203" fmla="*/ 507577 h 815526"/>
                <a:gd name="connsiteX204" fmla="*/ 503431 w 915678"/>
                <a:gd name="connsiteY204" fmla="*/ 507531 h 815526"/>
                <a:gd name="connsiteX205" fmla="*/ 503385 w 915678"/>
                <a:gd name="connsiteY205" fmla="*/ 494986 h 815526"/>
                <a:gd name="connsiteX206" fmla="*/ 490840 w 915678"/>
                <a:gd name="connsiteY206" fmla="*/ 495032 h 815526"/>
                <a:gd name="connsiteX207" fmla="*/ 490840 w 915678"/>
                <a:gd name="connsiteY207" fmla="*/ 507531 h 815526"/>
                <a:gd name="connsiteX208" fmla="*/ 453927 w 915678"/>
                <a:gd name="connsiteY208" fmla="*/ 540295 h 815526"/>
                <a:gd name="connsiteX209" fmla="*/ 465523 w 915678"/>
                <a:gd name="connsiteY209" fmla="*/ 542095 h 815526"/>
                <a:gd name="connsiteX210" fmla="*/ 467323 w 915678"/>
                <a:gd name="connsiteY210" fmla="*/ 530499 h 815526"/>
                <a:gd name="connsiteX211" fmla="*/ 466231 w 915678"/>
                <a:gd name="connsiteY211" fmla="*/ 529278 h 815526"/>
                <a:gd name="connsiteX212" fmla="*/ 454635 w 915678"/>
                <a:gd name="connsiteY212" fmla="*/ 527479 h 815526"/>
                <a:gd name="connsiteX213" fmla="*/ 452835 w 915678"/>
                <a:gd name="connsiteY213" fmla="*/ 539075 h 815526"/>
                <a:gd name="connsiteX214" fmla="*/ 453927 w 915678"/>
                <a:gd name="connsiteY214" fmla="*/ 540295 h 815526"/>
                <a:gd name="connsiteX215" fmla="*/ 416870 w 915678"/>
                <a:gd name="connsiteY215" fmla="*/ 573059 h 815526"/>
                <a:gd name="connsiteX216" fmla="*/ 427744 w 915678"/>
                <a:gd name="connsiteY216" fmla="*/ 573059 h 815526"/>
                <a:gd name="connsiteX217" fmla="*/ 427744 w 915678"/>
                <a:gd name="connsiteY217" fmla="*/ 562186 h 815526"/>
                <a:gd name="connsiteX218" fmla="*/ 416870 w 915678"/>
                <a:gd name="connsiteY218" fmla="*/ 562186 h 815526"/>
                <a:gd name="connsiteX219" fmla="*/ 416870 w 915678"/>
                <a:gd name="connsiteY219" fmla="*/ 573059 h 815526"/>
                <a:gd name="connsiteX220" fmla="*/ 379957 w 915678"/>
                <a:gd name="connsiteY220" fmla="*/ 605823 h 815526"/>
                <a:gd name="connsiteX221" fmla="*/ 390074 w 915678"/>
                <a:gd name="connsiteY221" fmla="*/ 605925 h 815526"/>
                <a:gd name="connsiteX222" fmla="*/ 390174 w 915678"/>
                <a:gd name="connsiteY222" fmla="*/ 595808 h 815526"/>
                <a:gd name="connsiteX223" fmla="*/ 380059 w 915678"/>
                <a:gd name="connsiteY223" fmla="*/ 595707 h 815526"/>
                <a:gd name="connsiteX224" fmla="*/ 379957 w 915678"/>
                <a:gd name="connsiteY224" fmla="*/ 595808 h 815526"/>
                <a:gd name="connsiteX225" fmla="*/ 379957 w 915678"/>
                <a:gd name="connsiteY225" fmla="*/ 605823 h 815526"/>
                <a:gd name="connsiteX226" fmla="*/ 342901 w 915678"/>
                <a:gd name="connsiteY226" fmla="*/ 639017 h 815526"/>
                <a:gd name="connsiteX227" fmla="*/ 352058 w 915678"/>
                <a:gd name="connsiteY227" fmla="*/ 639017 h 815526"/>
                <a:gd name="connsiteX228" fmla="*/ 352630 w 915678"/>
                <a:gd name="connsiteY228" fmla="*/ 629860 h 815526"/>
                <a:gd name="connsiteX229" fmla="*/ 343473 w 915678"/>
                <a:gd name="connsiteY229" fmla="*/ 629288 h 815526"/>
                <a:gd name="connsiteX230" fmla="*/ 343473 w 915678"/>
                <a:gd name="connsiteY230" fmla="*/ 638444 h 815526"/>
                <a:gd name="connsiteX231" fmla="*/ 306560 w 915678"/>
                <a:gd name="connsiteY231" fmla="*/ 671209 h 815526"/>
                <a:gd name="connsiteX232" fmla="*/ 314930 w 915678"/>
                <a:gd name="connsiteY232" fmla="*/ 671709 h 815526"/>
                <a:gd name="connsiteX233" fmla="*/ 315430 w 915678"/>
                <a:gd name="connsiteY233" fmla="*/ 663339 h 815526"/>
                <a:gd name="connsiteX234" fmla="*/ 307340 w 915678"/>
                <a:gd name="connsiteY234" fmla="*/ 663132 h 815526"/>
                <a:gd name="connsiteX235" fmla="*/ 307132 w 915678"/>
                <a:gd name="connsiteY235" fmla="*/ 663339 h 815526"/>
                <a:gd name="connsiteX236" fmla="*/ 307129 w 915678"/>
                <a:gd name="connsiteY236" fmla="*/ 671635 h 815526"/>
                <a:gd name="connsiteX237" fmla="*/ 307132 w 915678"/>
                <a:gd name="connsiteY237" fmla="*/ 671638 h 815526"/>
                <a:gd name="connsiteX238" fmla="*/ 270219 w 915678"/>
                <a:gd name="connsiteY238" fmla="*/ 704402 h 815526"/>
                <a:gd name="connsiteX239" fmla="*/ 277659 w 915678"/>
                <a:gd name="connsiteY239" fmla="*/ 704402 h 815526"/>
                <a:gd name="connsiteX240" fmla="*/ 278159 w 915678"/>
                <a:gd name="connsiteY240" fmla="*/ 696891 h 815526"/>
                <a:gd name="connsiteX241" fmla="*/ 270648 w 915678"/>
                <a:gd name="connsiteY241" fmla="*/ 696390 h 815526"/>
                <a:gd name="connsiteX242" fmla="*/ 270648 w 915678"/>
                <a:gd name="connsiteY242" fmla="*/ 703973 h 815526"/>
                <a:gd name="connsiteX243" fmla="*/ 233592 w 915678"/>
                <a:gd name="connsiteY243" fmla="*/ 736594 h 815526"/>
                <a:gd name="connsiteX244" fmla="*/ 240269 w 915678"/>
                <a:gd name="connsiteY244" fmla="*/ 736641 h 815526"/>
                <a:gd name="connsiteX245" fmla="*/ 240316 w 915678"/>
                <a:gd name="connsiteY245" fmla="*/ 736594 h 815526"/>
                <a:gd name="connsiteX246" fmla="*/ 240269 w 915678"/>
                <a:gd name="connsiteY246" fmla="*/ 729917 h 815526"/>
                <a:gd name="connsiteX247" fmla="*/ 233592 w 915678"/>
                <a:gd name="connsiteY247" fmla="*/ 729964 h 815526"/>
                <a:gd name="connsiteX248" fmla="*/ 233592 w 915678"/>
                <a:gd name="connsiteY248" fmla="*/ 736594 h 815526"/>
                <a:gd name="connsiteX249" fmla="*/ 196678 w 915678"/>
                <a:gd name="connsiteY249" fmla="*/ 769358 h 815526"/>
                <a:gd name="connsiteX250" fmla="*/ 202344 w 915678"/>
                <a:gd name="connsiteY250" fmla="*/ 769301 h 815526"/>
                <a:gd name="connsiteX251" fmla="*/ 202285 w 915678"/>
                <a:gd name="connsiteY251" fmla="*/ 763635 h 815526"/>
                <a:gd name="connsiteX252" fmla="*/ 196678 w 915678"/>
                <a:gd name="connsiteY252" fmla="*/ 763635 h 815526"/>
                <a:gd name="connsiteX253" fmla="*/ 196678 w 915678"/>
                <a:gd name="connsiteY253" fmla="*/ 769358 h 815526"/>
                <a:gd name="connsiteX254" fmla="*/ 159765 w 915678"/>
                <a:gd name="connsiteY254" fmla="*/ 802122 h 815526"/>
                <a:gd name="connsiteX255" fmla="*/ 164621 w 915678"/>
                <a:gd name="connsiteY255" fmla="*/ 802113 h 815526"/>
                <a:gd name="connsiteX256" fmla="*/ 164612 w 915678"/>
                <a:gd name="connsiteY256" fmla="*/ 797258 h 815526"/>
                <a:gd name="connsiteX257" fmla="*/ 159765 w 915678"/>
                <a:gd name="connsiteY257" fmla="*/ 797258 h 815526"/>
                <a:gd name="connsiteX258" fmla="*/ 159756 w 915678"/>
                <a:gd name="connsiteY258" fmla="*/ 802113 h 815526"/>
                <a:gd name="connsiteX259" fmla="*/ 159765 w 915678"/>
                <a:gd name="connsiteY259" fmla="*/ 802122 h 815526"/>
                <a:gd name="connsiteX260" fmla="*/ 470667 w 915678"/>
                <a:gd name="connsiteY260" fmla="*/ 483924 h 815526"/>
                <a:gd name="connsiteX261" fmla="*/ 483174 w 915678"/>
                <a:gd name="connsiteY261" fmla="*/ 484885 h 815526"/>
                <a:gd name="connsiteX262" fmla="*/ 484137 w 915678"/>
                <a:gd name="connsiteY262" fmla="*/ 472378 h 815526"/>
                <a:gd name="connsiteX263" fmla="*/ 483973 w 915678"/>
                <a:gd name="connsiteY263" fmla="*/ 472192 h 815526"/>
                <a:gd name="connsiteX264" fmla="*/ 471442 w 915678"/>
                <a:gd name="connsiteY264" fmla="*/ 471579 h 815526"/>
                <a:gd name="connsiteX265" fmla="*/ 470667 w 915678"/>
                <a:gd name="connsiteY265" fmla="*/ 483924 h 815526"/>
                <a:gd name="connsiteX266" fmla="*/ 433753 w 915678"/>
                <a:gd name="connsiteY266" fmla="*/ 516688 h 815526"/>
                <a:gd name="connsiteX267" fmla="*/ 445458 w 915678"/>
                <a:gd name="connsiteY267" fmla="*/ 517535 h 815526"/>
                <a:gd name="connsiteX268" fmla="*/ 446305 w 915678"/>
                <a:gd name="connsiteY268" fmla="*/ 505830 h 815526"/>
                <a:gd name="connsiteX269" fmla="*/ 434600 w 915678"/>
                <a:gd name="connsiteY269" fmla="*/ 504983 h 815526"/>
                <a:gd name="connsiteX270" fmla="*/ 434469 w 915678"/>
                <a:gd name="connsiteY270" fmla="*/ 505099 h 815526"/>
                <a:gd name="connsiteX271" fmla="*/ 433680 w 915678"/>
                <a:gd name="connsiteY271" fmla="*/ 516605 h 815526"/>
                <a:gd name="connsiteX272" fmla="*/ 433753 w 915678"/>
                <a:gd name="connsiteY272" fmla="*/ 516688 h 815526"/>
                <a:gd name="connsiteX273" fmla="*/ 396840 w 915678"/>
                <a:gd name="connsiteY273" fmla="*/ 549452 h 815526"/>
                <a:gd name="connsiteX274" fmla="*/ 407359 w 915678"/>
                <a:gd name="connsiteY274" fmla="*/ 549664 h 815526"/>
                <a:gd name="connsiteX275" fmla="*/ 407571 w 915678"/>
                <a:gd name="connsiteY275" fmla="*/ 549452 h 815526"/>
                <a:gd name="connsiteX276" fmla="*/ 408449 w 915678"/>
                <a:gd name="connsiteY276" fmla="*/ 538764 h 815526"/>
                <a:gd name="connsiteX277" fmla="*/ 408286 w 915678"/>
                <a:gd name="connsiteY277" fmla="*/ 538578 h 815526"/>
                <a:gd name="connsiteX278" fmla="*/ 397412 w 915678"/>
                <a:gd name="connsiteY278" fmla="*/ 537863 h 815526"/>
                <a:gd name="connsiteX279" fmla="*/ 397412 w 915678"/>
                <a:gd name="connsiteY279" fmla="*/ 548737 h 815526"/>
                <a:gd name="connsiteX280" fmla="*/ 359068 w 915678"/>
                <a:gd name="connsiteY280" fmla="*/ 581787 h 815526"/>
                <a:gd name="connsiteX281" fmla="*/ 368982 w 915678"/>
                <a:gd name="connsiteY281" fmla="*/ 581685 h 815526"/>
                <a:gd name="connsiteX282" fmla="*/ 368882 w 915678"/>
                <a:gd name="connsiteY282" fmla="*/ 571772 h 815526"/>
                <a:gd name="connsiteX283" fmla="*/ 359068 w 915678"/>
                <a:gd name="connsiteY283" fmla="*/ 571772 h 815526"/>
                <a:gd name="connsiteX284" fmla="*/ 359068 w 915678"/>
                <a:gd name="connsiteY284" fmla="*/ 581787 h 815526"/>
                <a:gd name="connsiteX285" fmla="*/ 322155 w 915678"/>
                <a:gd name="connsiteY285" fmla="*/ 614551 h 815526"/>
                <a:gd name="connsiteX286" fmla="*/ 331260 w 915678"/>
                <a:gd name="connsiteY286" fmla="*/ 614602 h 815526"/>
                <a:gd name="connsiteX287" fmla="*/ 331312 w 915678"/>
                <a:gd name="connsiteY287" fmla="*/ 614551 h 815526"/>
                <a:gd name="connsiteX288" fmla="*/ 331884 w 915678"/>
                <a:gd name="connsiteY288" fmla="*/ 605394 h 815526"/>
                <a:gd name="connsiteX289" fmla="*/ 322727 w 915678"/>
                <a:gd name="connsiteY289" fmla="*/ 604822 h 815526"/>
                <a:gd name="connsiteX290" fmla="*/ 322676 w 915678"/>
                <a:gd name="connsiteY290" fmla="*/ 613927 h 815526"/>
                <a:gd name="connsiteX291" fmla="*/ 322727 w 915678"/>
                <a:gd name="connsiteY291" fmla="*/ 613979 h 815526"/>
                <a:gd name="connsiteX292" fmla="*/ 284669 w 915678"/>
                <a:gd name="connsiteY292" fmla="*/ 647744 h 815526"/>
                <a:gd name="connsiteX293" fmla="*/ 292965 w 915678"/>
                <a:gd name="connsiteY293" fmla="*/ 647741 h 815526"/>
                <a:gd name="connsiteX294" fmla="*/ 292963 w 915678"/>
                <a:gd name="connsiteY294" fmla="*/ 639446 h 815526"/>
                <a:gd name="connsiteX295" fmla="*/ 284669 w 915678"/>
                <a:gd name="connsiteY295" fmla="*/ 639446 h 815526"/>
                <a:gd name="connsiteX296" fmla="*/ 284666 w 915678"/>
                <a:gd name="connsiteY296" fmla="*/ 647741 h 815526"/>
                <a:gd name="connsiteX297" fmla="*/ 284669 w 915678"/>
                <a:gd name="connsiteY297" fmla="*/ 647744 h 815526"/>
                <a:gd name="connsiteX298" fmla="*/ 248185 w 915678"/>
                <a:gd name="connsiteY298" fmla="*/ 680509 h 815526"/>
                <a:gd name="connsiteX299" fmla="*/ 255667 w 915678"/>
                <a:gd name="connsiteY299" fmla="*/ 680224 h 815526"/>
                <a:gd name="connsiteX300" fmla="*/ 256054 w 915678"/>
                <a:gd name="connsiteY300" fmla="*/ 673498 h 815526"/>
                <a:gd name="connsiteX301" fmla="*/ 248656 w 915678"/>
                <a:gd name="connsiteY301" fmla="*/ 672355 h 815526"/>
                <a:gd name="connsiteX302" fmla="*/ 247513 w 915678"/>
                <a:gd name="connsiteY302" fmla="*/ 679753 h 815526"/>
                <a:gd name="connsiteX303" fmla="*/ 248185 w 915678"/>
                <a:gd name="connsiteY303" fmla="*/ 680509 h 815526"/>
                <a:gd name="connsiteX304" fmla="*/ 211272 w 915678"/>
                <a:gd name="connsiteY304" fmla="*/ 713273 h 815526"/>
                <a:gd name="connsiteX305" fmla="*/ 217746 w 915678"/>
                <a:gd name="connsiteY305" fmla="*/ 713380 h 815526"/>
                <a:gd name="connsiteX306" fmla="*/ 217853 w 915678"/>
                <a:gd name="connsiteY306" fmla="*/ 713273 h 815526"/>
                <a:gd name="connsiteX307" fmla="*/ 217853 w 915678"/>
                <a:gd name="connsiteY307" fmla="*/ 706691 h 815526"/>
                <a:gd name="connsiteX308" fmla="*/ 211339 w 915678"/>
                <a:gd name="connsiteY308" fmla="*/ 705223 h 815526"/>
                <a:gd name="connsiteX309" fmla="*/ 209871 w 915678"/>
                <a:gd name="connsiteY309" fmla="*/ 711736 h 815526"/>
                <a:gd name="connsiteX310" fmla="*/ 210843 w 915678"/>
                <a:gd name="connsiteY310" fmla="*/ 712843 h 815526"/>
                <a:gd name="connsiteX311" fmla="*/ 173786 w 915678"/>
                <a:gd name="connsiteY311" fmla="*/ 745607 h 815526"/>
                <a:gd name="connsiteX312" fmla="*/ 179652 w 915678"/>
                <a:gd name="connsiteY312" fmla="*/ 745607 h 815526"/>
                <a:gd name="connsiteX313" fmla="*/ 179652 w 915678"/>
                <a:gd name="connsiteY313" fmla="*/ 739885 h 815526"/>
                <a:gd name="connsiteX314" fmla="*/ 174196 w 915678"/>
                <a:gd name="connsiteY314" fmla="*/ 739618 h 815526"/>
                <a:gd name="connsiteX315" fmla="*/ 173929 w 915678"/>
                <a:gd name="connsiteY315" fmla="*/ 739885 h 815526"/>
                <a:gd name="connsiteX316" fmla="*/ 173872 w 915678"/>
                <a:gd name="connsiteY316" fmla="*/ 745550 h 815526"/>
                <a:gd name="connsiteX317" fmla="*/ 173929 w 915678"/>
                <a:gd name="connsiteY317" fmla="*/ 745607 h 815526"/>
                <a:gd name="connsiteX318" fmla="*/ 137302 w 915678"/>
                <a:gd name="connsiteY318" fmla="*/ 778801 h 815526"/>
                <a:gd name="connsiteX319" fmla="*/ 142158 w 915678"/>
                <a:gd name="connsiteY319" fmla="*/ 778792 h 815526"/>
                <a:gd name="connsiteX320" fmla="*/ 142150 w 915678"/>
                <a:gd name="connsiteY320" fmla="*/ 773936 h 815526"/>
                <a:gd name="connsiteX321" fmla="*/ 137302 w 915678"/>
                <a:gd name="connsiteY321" fmla="*/ 773936 h 815526"/>
                <a:gd name="connsiteX322" fmla="*/ 137294 w 915678"/>
                <a:gd name="connsiteY322" fmla="*/ 778792 h 815526"/>
                <a:gd name="connsiteX323" fmla="*/ 137302 w 915678"/>
                <a:gd name="connsiteY323" fmla="*/ 778801 h 815526"/>
                <a:gd name="connsiteX324" fmla="*/ 449205 w 915678"/>
                <a:gd name="connsiteY324" fmla="*/ 460459 h 815526"/>
                <a:gd name="connsiteX325" fmla="*/ 461547 w 915678"/>
                <a:gd name="connsiteY325" fmla="*/ 460565 h 815526"/>
                <a:gd name="connsiteX326" fmla="*/ 461653 w 915678"/>
                <a:gd name="connsiteY326" fmla="*/ 460459 h 815526"/>
                <a:gd name="connsiteX327" fmla="*/ 462511 w 915678"/>
                <a:gd name="connsiteY327" fmla="*/ 448012 h 815526"/>
                <a:gd name="connsiteX328" fmla="*/ 449921 w 915678"/>
                <a:gd name="connsiteY328" fmla="*/ 447153 h 815526"/>
                <a:gd name="connsiteX329" fmla="*/ 449875 w 915678"/>
                <a:gd name="connsiteY329" fmla="*/ 459698 h 815526"/>
                <a:gd name="connsiteX330" fmla="*/ 449921 w 915678"/>
                <a:gd name="connsiteY330" fmla="*/ 459744 h 815526"/>
                <a:gd name="connsiteX331" fmla="*/ 412864 w 915678"/>
                <a:gd name="connsiteY331" fmla="*/ 492508 h 815526"/>
                <a:gd name="connsiteX332" fmla="*/ 424512 w 915678"/>
                <a:gd name="connsiteY332" fmla="*/ 493940 h 815526"/>
                <a:gd name="connsiteX333" fmla="*/ 425944 w 915678"/>
                <a:gd name="connsiteY333" fmla="*/ 482293 h 815526"/>
                <a:gd name="connsiteX334" fmla="*/ 414297 w 915678"/>
                <a:gd name="connsiteY334" fmla="*/ 480860 h 815526"/>
                <a:gd name="connsiteX335" fmla="*/ 413437 w 915678"/>
                <a:gd name="connsiteY335" fmla="*/ 481635 h 815526"/>
                <a:gd name="connsiteX336" fmla="*/ 412704 w 915678"/>
                <a:gd name="connsiteY336" fmla="*/ 493347 h 815526"/>
                <a:gd name="connsiteX337" fmla="*/ 412721 w 915678"/>
                <a:gd name="connsiteY337" fmla="*/ 493367 h 815526"/>
                <a:gd name="connsiteX338" fmla="*/ 375236 w 915678"/>
                <a:gd name="connsiteY338" fmla="*/ 525988 h 815526"/>
                <a:gd name="connsiteX339" fmla="*/ 386109 w 915678"/>
                <a:gd name="connsiteY339" fmla="*/ 525988 h 815526"/>
                <a:gd name="connsiteX340" fmla="*/ 386109 w 915678"/>
                <a:gd name="connsiteY340" fmla="*/ 515114 h 815526"/>
                <a:gd name="connsiteX341" fmla="*/ 375386 w 915678"/>
                <a:gd name="connsiteY341" fmla="*/ 514964 h 815526"/>
                <a:gd name="connsiteX342" fmla="*/ 375236 w 915678"/>
                <a:gd name="connsiteY342" fmla="*/ 515114 h 815526"/>
                <a:gd name="connsiteX343" fmla="*/ 375236 w 915678"/>
                <a:gd name="connsiteY343" fmla="*/ 525988 h 815526"/>
                <a:gd name="connsiteX344" fmla="*/ 338179 w 915678"/>
                <a:gd name="connsiteY344" fmla="*/ 558752 h 815526"/>
                <a:gd name="connsiteX345" fmla="*/ 348195 w 915678"/>
                <a:gd name="connsiteY345" fmla="*/ 558752 h 815526"/>
                <a:gd name="connsiteX346" fmla="*/ 349027 w 915678"/>
                <a:gd name="connsiteY346" fmla="*/ 548873 h 815526"/>
                <a:gd name="connsiteX347" fmla="*/ 348910 w 915678"/>
                <a:gd name="connsiteY347" fmla="*/ 548737 h 815526"/>
                <a:gd name="connsiteX348" fmla="*/ 338895 w 915678"/>
                <a:gd name="connsiteY348" fmla="*/ 548737 h 815526"/>
                <a:gd name="connsiteX349" fmla="*/ 338793 w 915678"/>
                <a:gd name="connsiteY349" fmla="*/ 558650 h 815526"/>
                <a:gd name="connsiteX350" fmla="*/ 338895 w 915678"/>
                <a:gd name="connsiteY350" fmla="*/ 558752 h 815526"/>
                <a:gd name="connsiteX351" fmla="*/ 301981 w 915678"/>
                <a:gd name="connsiteY351" fmla="*/ 591516 h 815526"/>
                <a:gd name="connsiteX352" fmla="*/ 311138 w 915678"/>
                <a:gd name="connsiteY352" fmla="*/ 591516 h 815526"/>
                <a:gd name="connsiteX353" fmla="*/ 311710 w 915678"/>
                <a:gd name="connsiteY353" fmla="*/ 582359 h 815526"/>
                <a:gd name="connsiteX354" fmla="*/ 302554 w 915678"/>
                <a:gd name="connsiteY354" fmla="*/ 581787 h 815526"/>
                <a:gd name="connsiteX355" fmla="*/ 302554 w 915678"/>
                <a:gd name="connsiteY355" fmla="*/ 590944 h 815526"/>
                <a:gd name="connsiteX356" fmla="*/ 264353 w 915678"/>
                <a:gd name="connsiteY356" fmla="*/ 624709 h 815526"/>
                <a:gd name="connsiteX357" fmla="*/ 272648 w 915678"/>
                <a:gd name="connsiteY357" fmla="*/ 624706 h 815526"/>
                <a:gd name="connsiteX358" fmla="*/ 272647 w 915678"/>
                <a:gd name="connsiteY358" fmla="*/ 616411 h 815526"/>
                <a:gd name="connsiteX359" fmla="*/ 264353 w 915678"/>
                <a:gd name="connsiteY359" fmla="*/ 616411 h 815526"/>
                <a:gd name="connsiteX360" fmla="*/ 264350 w 915678"/>
                <a:gd name="connsiteY360" fmla="*/ 624706 h 815526"/>
                <a:gd name="connsiteX361" fmla="*/ 264353 w 915678"/>
                <a:gd name="connsiteY361" fmla="*/ 624709 h 815526"/>
                <a:gd name="connsiteX362" fmla="*/ 227439 w 915678"/>
                <a:gd name="connsiteY362" fmla="*/ 657044 h 815526"/>
                <a:gd name="connsiteX363" fmla="*/ 235022 w 915678"/>
                <a:gd name="connsiteY363" fmla="*/ 657044 h 815526"/>
                <a:gd name="connsiteX364" fmla="*/ 235022 w 915678"/>
                <a:gd name="connsiteY364" fmla="*/ 649604 h 815526"/>
                <a:gd name="connsiteX365" fmla="*/ 227511 w 915678"/>
                <a:gd name="connsiteY365" fmla="*/ 649104 h 815526"/>
                <a:gd name="connsiteX366" fmla="*/ 227010 w 915678"/>
                <a:gd name="connsiteY366" fmla="*/ 656615 h 815526"/>
                <a:gd name="connsiteX367" fmla="*/ 190097 w 915678"/>
                <a:gd name="connsiteY367" fmla="*/ 689379 h 815526"/>
                <a:gd name="connsiteX368" fmla="*/ 196678 w 915678"/>
                <a:gd name="connsiteY368" fmla="*/ 689379 h 815526"/>
                <a:gd name="connsiteX369" fmla="*/ 196786 w 915678"/>
                <a:gd name="connsiteY369" fmla="*/ 682905 h 815526"/>
                <a:gd name="connsiteX370" fmla="*/ 196678 w 915678"/>
                <a:gd name="connsiteY370" fmla="*/ 682798 h 815526"/>
                <a:gd name="connsiteX371" fmla="*/ 190097 w 915678"/>
                <a:gd name="connsiteY371" fmla="*/ 682798 h 815526"/>
                <a:gd name="connsiteX372" fmla="*/ 189990 w 915678"/>
                <a:gd name="connsiteY372" fmla="*/ 689272 h 815526"/>
                <a:gd name="connsiteX373" fmla="*/ 190097 w 915678"/>
                <a:gd name="connsiteY373" fmla="*/ 689379 h 815526"/>
                <a:gd name="connsiteX374" fmla="*/ 153184 w 915678"/>
                <a:gd name="connsiteY374" fmla="*/ 722143 h 815526"/>
                <a:gd name="connsiteX375" fmla="*/ 158907 w 915678"/>
                <a:gd name="connsiteY375" fmla="*/ 722143 h 815526"/>
                <a:gd name="connsiteX376" fmla="*/ 159173 w 915678"/>
                <a:gd name="connsiteY376" fmla="*/ 716686 h 815526"/>
                <a:gd name="connsiteX377" fmla="*/ 158907 w 915678"/>
                <a:gd name="connsiteY377" fmla="*/ 716420 h 815526"/>
                <a:gd name="connsiteX378" fmla="*/ 153241 w 915678"/>
                <a:gd name="connsiteY378" fmla="*/ 716363 h 815526"/>
                <a:gd name="connsiteX379" fmla="*/ 153184 w 915678"/>
                <a:gd name="connsiteY379" fmla="*/ 716420 h 815526"/>
                <a:gd name="connsiteX380" fmla="*/ 153184 w 915678"/>
                <a:gd name="connsiteY380" fmla="*/ 722286 h 815526"/>
                <a:gd name="connsiteX381" fmla="*/ 116127 w 915678"/>
                <a:gd name="connsiteY381" fmla="*/ 755050 h 815526"/>
                <a:gd name="connsiteX382" fmla="*/ 121185 w 915678"/>
                <a:gd name="connsiteY382" fmla="*/ 755101 h 815526"/>
                <a:gd name="connsiteX383" fmla="*/ 121236 w 915678"/>
                <a:gd name="connsiteY383" fmla="*/ 750043 h 815526"/>
                <a:gd name="connsiteX384" fmla="*/ 116177 w 915678"/>
                <a:gd name="connsiteY384" fmla="*/ 749993 h 815526"/>
                <a:gd name="connsiteX385" fmla="*/ 116127 w 915678"/>
                <a:gd name="connsiteY385" fmla="*/ 750043 h 815526"/>
                <a:gd name="connsiteX386" fmla="*/ 116127 w 915678"/>
                <a:gd name="connsiteY386" fmla="*/ 755050 h 815526"/>
                <a:gd name="connsiteX387" fmla="*/ 79214 w 915678"/>
                <a:gd name="connsiteY387" fmla="*/ 787672 h 815526"/>
                <a:gd name="connsiteX388" fmla="*/ 83055 w 915678"/>
                <a:gd name="connsiteY388" fmla="*/ 787838 h 815526"/>
                <a:gd name="connsiteX389" fmla="*/ 83220 w 915678"/>
                <a:gd name="connsiteY389" fmla="*/ 787672 h 815526"/>
                <a:gd name="connsiteX390" fmla="*/ 83385 w 915678"/>
                <a:gd name="connsiteY390" fmla="*/ 783830 h 815526"/>
                <a:gd name="connsiteX391" fmla="*/ 83220 w 915678"/>
                <a:gd name="connsiteY391" fmla="*/ 783665 h 815526"/>
                <a:gd name="connsiteX392" fmla="*/ 79214 w 915678"/>
                <a:gd name="connsiteY392" fmla="*/ 783665 h 815526"/>
                <a:gd name="connsiteX393" fmla="*/ 79049 w 915678"/>
                <a:gd name="connsiteY393" fmla="*/ 787506 h 815526"/>
                <a:gd name="connsiteX394" fmla="*/ 79214 w 915678"/>
                <a:gd name="connsiteY394" fmla="*/ 787672 h 815526"/>
                <a:gd name="connsiteX395" fmla="*/ 479823 w 915678"/>
                <a:gd name="connsiteY395" fmla="*/ 391354 h 815526"/>
                <a:gd name="connsiteX396" fmla="*/ 467233 w 915678"/>
                <a:gd name="connsiteY396" fmla="*/ 390496 h 815526"/>
                <a:gd name="connsiteX397" fmla="*/ 466374 w 915678"/>
                <a:gd name="connsiteY397" fmla="*/ 403086 h 815526"/>
                <a:gd name="connsiteX398" fmla="*/ 478965 w 915678"/>
                <a:gd name="connsiteY398" fmla="*/ 403945 h 815526"/>
                <a:gd name="connsiteX399" fmla="*/ 479823 w 915678"/>
                <a:gd name="connsiteY399" fmla="*/ 391354 h 815526"/>
                <a:gd name="connsiteX400" fmla="*/ 516737 w 915678"/>
                <a:gd name="connsiteY400" fmla="*/ 358590 h 815526"/>
                <a:gd name="connsiteX401" fmla="*/ 505032 w 915678"/>
                <a:gd name="connsiteY401" fmla="*/ 357743 h 815526"/>
                <a:gd name="connsiteX402" fmla="*/ 504185 w 915678"/>
                <a:gd name="connsiteY402" fmla="*/ 369448 h 815526"/>
                <a:gd name="connsiteX403" fmla="*/ 515890 w 915678"/>
                <a:gd name="connsiteY403" fmla="*/ 370295 h 815526"/>
                <a:gd name="connsiteX404" fmla="*/ 516021 w 915678"/>
                <a:gd name="connsiteY404" fmla="*/ 370179 h 815526"/>
                <a:gd name="connsiteX405" fmla="*/ 516810 w 915678"/>
                <a:gd name="connsiteY405" fmla="*/ 358673 h 815526"/>
                <a:gd name="connsiteX406" fmla="*/ 516737 w 915678"/>
                <a:gd name="connsiteY406" fmla="*/ 358590 h 815526"/>
                <a:gd name="connsiteX407" fmla="*/ 553650 w 915678"/>
                <a:gd name="connsiteY407" fmla="*/ 325826 h 815526"/>
                <a:gd name="connsiteX408" fmla="*/ 542848 w 915678"/>
                <a:gd name="connsiteY408" fmla="*/ 325182 h 815526"/>
                <a:gd name="connsiteX409" fmla="*/ 542204 w 915678"/>
                <a:gd name="connsiteY409" fmla="*/ 335984 h 815526"/>
                <a:gd name="connsiteX410" fmla="*/ 553078 w 915678"/>
                <a:gd name="connsiteY410" fmla="*/ 335984 h 815526"/>
                <a:gd name="connsiteX411" fmla="*/ 553078 w 915678"/>
                <a:gd name="connsiteY411" fmla="*/ 325111 h 815526"/>
                <a:gd name="connsiteX412" fmla="*/ 590134 w 915678"/>
                <a:gd name="connsiteY412" fmla="*/ 292347 h 815526"/>
                <a:gd name="connsiteX413" fmla="*/ 580426 w 915678"/>
                <a:gd name="connsiteY413" fmla="*/ 292039 h 815526"/>
                <a:gd name="connsiteX414" fmla="*/ 580119 w 915678"/>
                <a:gd name="connsiteY414" fmla="*/ 292347 h 815526"/>
                <a:gd name="connsiteX415" fmla="*/ 579286 w 915678"/>
                <a:gd name="connsiteY415" fmla="*/ 302226 h 815526"/>
                <a:gd name="connsiteX416" fmla="*/ 579403 w 915678"/>
                <a:gd name="connsiteY416" fmla="*/ 302362 h 815526"/>
                <a:gd name="connsiteX417" fmla="*/ 589419 w 915678"/>
                <a:gd name="connsiteY417" fmla="*/ 302362 h 815526"/>
                <a:gd name="connsiteX418" fmla="*/ 589520 w 915678"/>
                <a:gd name="connsiteY418" fmla="*/ 292448 h 815526"/>
                <a:gd name="connsiteX419" fmla="*/ 589419 w 915678"/>
                <a:gd name="connsiteY419" fmla="*/ 292347 h 815526"/>
                <a:gd name="connsiteX420" fmla="*/ 628049 w 915678"/>
                <a:gd name="connsiteY420" fmla="*/ 260584 h 815526"/>
                <a:gd name="connsiteX421" fmla="*/ 618944 w 915678"/>
                <a:gd name="connsiteY421" fmla="*/ 260532 h 815526"/>
                <a:gd name="connsiteX422" fmla="*/ 618892 w 915678"/>
                <a:gd name="connsiteY422" fmla="*/ 260584 h 815526"/>
                <a:gd name="connsiteX423" fmla="*/ 618320 w 915678"/>
                <a:gd name="connsiteY423" fmla="*/ 269741 h 815526"/>
                <a:gd name="connsiteX424" fmla="*/ 627477 w 915678"/>
                <a:gd name="connsiteY424" fmla="*/ 270313 h 815526"/>
                <a:gd name="connsiteX425" fmla="*/ 627528 w 915678"/>
                <a:gd name="connsiteY425" fmla="*/ 261208 h 815526"/>
                <a:gd name="connsiteX426" fmla="*/ 627477 w 915678"/>
                <a:gd name="connsiteY426" fmla="*/ 261156 h 815526"/>
                <a:gd name="connsiteX427" fmla="*/ 664390 w 915678"/>
                <a:gd name="connsiteY427" fmla="*/ 228392 h 815526"/>
                <a:gd name="connsiteX428" fmla="*/ 656094 w 915678"/>
                <a:gd name="connsiteY428" fmla="*/ 228395 h 815526"/>
                <a:gd name="connsiteX429" fmla="*/ 656096 w 915678"/>
                <a:gd name="connsiteY429" fmla="*/ 236690 h 815526"/>
                <a:gd name="connsiteX430" fmla="*/ 664390 w 915678"/>
                <a:gd name="connsiteY430" fmla="*/ 236690 h 815526"/>
                <a:gd name="connsiteX431" fmla="*/ 664393 w 915678"/>
                <a:gd name="connsiteY431" fmla="*/ 228395 h 815526"/>
                <a:gd name="connsiteX432" fmla="*/ 664390 w 915678"/>
                <a:gd name="connsiteY432" fmla="*/ 228392 h 815526"/>
                <a:gd name="connsiteX433" fmla="*/ 701303 w 915678"/>
                <a:gd name="connsiteY433" fmla="*/ 195485 h 815526"/>
                <a:gd name="connsiteX434" fmla="*/ 693792 w 915678"/>
                <a:gd name="connsiteY434" fmla="*/ 194984 h 815526"/>
                <a:gd name="connsiteX435" fmla="*/ 693291 w 915678"/>
                <a:gd name="connsiteY435" fmla="*/ 202496 h 815526"/>
                <a:gd name="connsiteX436" fmla="*/ 700802 w 915678"/>
                <a:gd name="connsiteY436" fmla="*/ 202996 h 815526"/>
                <a:gd name="connsiteX437" fmla="*/ 701303 w 915678"/>
                <a:gd name="connsiteY437" fmla="*/ 195485 h 815526"/>
                <a:gd name="connsiteX438" fmla="*/ 738216 w 915678"/>
                <a:gd name="connsiteY438" fmla="*/ 162721 h 815526"/>
                <a:gd name="connsiteX439" fmla="*/ 731635 w 915678"/>
                <a:gd name="connsiteY439" fmla="*/ 162721 h 815526"/>
                <a:gd name="connsiteX440" fmla="*/ 731541 w 915678"/>
                <a:gd name="connsiteY440" fmla="*/ 169397 h 815526"/>
                <a:gd name="connsiteX441" fmla="*/ 738216 w 915678"/>
                <a:gd name="connsiteY441" fmla="*/ 169493 h 815526"/>
                <a:gd name="connsiteX442" fmla="*/ 738311 w 915678"/>
                <a:gd name="connsiteY442" fmla="*/ 162815 h 815526"/>
                <a:gd name="connsiteX443" fmla="*/ 738216 w 915678"/>
                <a:gd name="connsiteY443" fmla="*/ 162721 h 815526"/>
                <a:gd name="connsiteX444" fmla="*/ 775130 w 915678"/>
                <a:gd name="connsiteY444" fmla="*/ 129957 h 815526"/>
                <a:gd name="connsiteX445" fmla="*/ 769464 w 915678"/>
                <a:gd name="connsiteY445" fmla="*/ 130014 h 815526"/>
                <a:gd name="connsiteX446" fmla="*/ 769523 w 915678"/>
                <a:gd name="connsiteY446" fmla="*/ 135680 h 815526"/>
                <a:gd name="connsiteX447" fmla="*/ 775130 w 915678"/>
                <a:gd name="connsiteY447" fmla="*/ 135680 h 815526"/>
                <a:gd name="connsiteX448" fmla="*/ 775396 w 915678"/>
                <a:gd name="connsiteY448" fmla="*/ 130223 h 815526"/>
                <a:gd name="connsiteX449" fmla="*/ 775130 w 915678"/>
                <a:gd name="connsiteY449" fmla="*/ 129957 h 815526"/>
                <a:gd name="connsiteX450" fmla="*/ 812186 w 915678"/>
                <a:gd name="connsiteY450" fmla="*/ 97192 h 815526"/>
                <a:gd name="connsiteX451" fmla="*/ 807330 w 915678"/>
                <a:gd name="connsiteY451" fmla="*/ 97201 h 815526"/>
                <a:gd name="connsiteX452" fmla="*/ 807339 w 915678"/>
                <a:gd name="connsiteY452" fmla="*/ 102057 h 815526"/>
                <a:gd name="connsiteX453" fmla="*/ 812186 w 915678"/>
                <a:gd name="connsiteY453" fmla="*/ 102057 h 815526"/>
                <a:gd name="connsiteX454" fmla="*/ 812195 w 915678"/>
                <a:gd name="connsiteY454" fmla="*/ 97201 h 815526"/>
                <a:gd name="connsiteX455" fmla="*/ 812186 w 915678"/>
                <a:gd name="connsiteY455" fmla="*/ 97192 h 815526"/>
                <a:gd name="connsiteX456" fmla="*/ 849099 w 915678"/>
                <a:gd name="connsiteY456" fmla="*/ 64428 h 815526"/>
                <a:gd name="connsiteX457" fmla="*/ 845022 w 915678"/>
                <a:gd name="connsiteY457" fmla="*/ 64214 h 815526"/>
                <a:gd name="connsiteX458" fmla="*/ 844807 w 915678"/>
                <a:gd name="connsiteY458" fmla="*/ 68291 h 815526"/>
                <a:gd name="connsiteX459" fmla="*/ 848813 w 915678"/>
                <a:gd name="connsiteY459" fmla="*/ 68291 h 815526"/>
                <a:gd name="connsiteX460" fmla="*/ 848813 w 915678"/>
                <a:gd name="connsiteY460" fmla="*/ 64142 h 815526"/>
                <a:gd name="connsiteX461" fmla="*/ 458648 w 915678"/>
                <a:gd name="connsiteY461" fmla="*/ 368033 h 815526"/>
                <a:gd name="connsiteX462" fmla="*/ 446058 w 915678"/>
                <a:gd name="connsiteY462" fmla="*/ 367318 h 815526"/>
                <a:gd name="connsiteX463" fmla="*/ 445281 w 915678"/>
                <a:gd name="connsiteY463" fmla="*/ 379838 h 815526"/>
                <a:gd name="connsiteX464" fmla="*/ 445342 w 915678"/>
                <a:gd name="connsiteY464" fmla="*/ 379908 h 815526"/>
                <a:gd name="connsiteX465" fmla="*/ 457933 w 915678"/>
                <a:gd name="connsiteY465" fmla="*/ 380624 h 815526"/>
                <a:gd name="connsiteX466" fmla="*/ 458648 w 915678"/>
                <a:gd name="connsiteY466" fmla="*/ 368033 h 815526"/>
                <a:gd name="connsiteX467" fmla="*/ 495562 w 915678"/>
                <a:gd name="connsiteY467" fmla="*/ 335269 h 815526"/>
                <a:gd name="connsiteX468" fmla="*/ 483847 w 915678"/>
                <a:gd name="connsiteY468" fmla="*/ 334574 h 815526"/>
                <a:gd name="connsiteX469" fmla="*/ 483151 w 915678"/>
                <a:gd name="connsiteY469" fmla="*/ 346289 h 815526"/>
                <a:gd name="connsiteX470" fmla="*/ 494846 w 915678"/>
                <a:gd name="connsiteY470" fmla="*/ 347001 h 815526"/>
                <a:gd name="connsiteX471" fmla="*/ 495579 w 915678"/>
                <a:gd name="connsiteY471" fmla="*/ 335289 h 815526"/>
                <a:gd name="connsiteX472" fmla="*/ 495562 w 915678"/>
                <a:gd name="connsiteY472" fmla="*/ 335269 h 815526"/>
                <a:gd name="connsiteX473" fmla="*/ 532618 w 915678"/>
                <a:gd name="connsiteY473" fmla="*/ 302505 h 815526"/>
                <a:gd name="connsiteX474" fmla="*/ 521744 w 915678"/>
                <a:gd name="connsiteY474" fmla="*/ 302505 h 815526"/>
                <a:gd name="connsiteX475" fmla="*/ 521594 w 915678"/>
                <a:gd name="connsiteY475" fmla="*/ 313228 h 815526"/>
                <a:gd name="connsiteX476" fmla="*/ 521744 w 915678"/>
                <a:gd name="connsiteY476" fmla="*/ 313379 h 815526"/>
                <a:gd name="connsiteX477" fmla="*/ 532618 w 915678"/>
                <a:gd name="connsiteY477" fmla="*/ 313379 h 815526"/>
                <a:gd name="connsiteX478" fmla="*/ 532618 w 915678"/>
                <a:gd name="connsiteY478" fmla="*/ 302505 h 815526"/>
                <a:gd name="connsiteX479" fmla="*/ 569531 w 915678"/>
                <a:gd name="connsiteY479" fmla="*/ 269741 h 815526"/>
                <a:gd name="connsiteX480" fmla="*/ 559516 w 915678"/>
                <a:gd name="connsiteY480" fmla="*/ 269741 h 815526"/>
                <a:gd name="connsiteX481" fmla="*/ 560253 w 915678"/>
                <a:gd name="connsiteY481" fmla="*/ 279830 h 815526"/>
                <a:gd name="connsiteX482" fmla="*/ 568959 w 915678"/>
                <a:gd name="connsiteY482" fmla="*/ 280328 h 815526"/>
                <a:gd name="connsiteX483" fmla="*/ 568959 w 915678"/>
                <a:gd name="connsiteY483" fmla="*/ 270313 h 815526"/>
                <a:gd name="connsiteX484" fmla="*/ 605872 w 915678"/>
                <a:gd name="connsiteY484" fmla="*/ 237549 h 815526"/>
                <a:gd name="connsiteX485" fmla="*/ 596716 w 915678"/>
                <a:gd name="connsiteY485" fmla="*/ 237549 h 815526"/>
                <a:gd name="connsiteX486" fmla="*/ 596716 w 915678"/>
                <a:gd name="connsiteY486" fmla="*/ 246706 h 815526"/>
                <a:gd name="connsiteX487" fmla="*/ 605872 w 915678"/>
                <a:gd name="connsiteY487" fmla="*/ 246706 h 815526"/>
                <a:gd name="connsiteX488" fmla="*/ 605924 w 915678"/>
                <a:gd name="connsiteY488" fmla="*/ 237600 h 815526"/>
                <a:gd name="connsiteX489" fmla="*/ 605872 w 915678"/>
                <a:gd name="connsiteY489" fmla="*/ 237549 h 815526"/>
                <a:gd name="connsiteX490" fmla="*/ 642929 w 915678"/>
                <a:gd name="connsiteY490" fmla="*/ 204928 h 815526"/>
                <a:gd name="connsiteX491" fmla="*/ 634633 w 915678"/>
                <a:gd name="connsiteY491" fmla="*/ 204931 h 815526"/>
                <a:gd name="connsiteX492" fmla="*/ 634635 w 915678"/>
                <a:gd name="connsiteY492" fmla="*/ 213226 h 815526"/>
                <a:gd name="connsiteX493" fmla="*/ 642929 w 915678"/>
                <a:gd name="connsiteY493" fmla="*/ 213226 h 815526"/>
                <a:gd name="connsiteX494" fmla="*/ 642932 w 915678"/>
                <a:gd name="connsiteY494" fmla="*/ 204931 h 815526"/>
                <a:gd name="connsiteX495" fmla="*/ 642929 w 915678"/>
                <a:gd name="connsiteY495" fmla="*/ 204928 h 815526"/>
                <a:gd name="connsiteX496" fmla="*/ 679842 w 915678"/>
                <a:gd name="connsiteY496" fmla="*/ 172164 h 815526"/>
                <a:gd name="connsiteX497" fmla="*/ 672402 w 915678"/>
                <a:gd name="connsiteY497" fmla="*/ 172164 h 815526"/>
                <a:gd name="connsiteX498" fmla="*/ 671901 w 915678"/>
                <a:gd name="connsiteY498" fmla="*/ 179675 h 815526"/>
                <a:gd name="connsiteX499" fmla="*/ 679413 w 915678"/>
                <a:gd name="connsiteY499" fmla="*/ 180176 h 815526"/>
                <a:gd name="connsiteX500" fmla="*/ 679413 w 915678"/>
                <a:gd name="connsiteY500" fmla="*/ 172736 h 815526"/>
                <a:gd name="connsiteX501" fmla="*/ 717328 w 915678"/>
                <a:gd name="connsiteY501" fmla="*/ 138255 h 815526"/>
                <a:gd name="connsiteX502" fmla="*/ 710853 w 915678"/>
                <a:gd name="connsiteY502" fmla="*/ 138148 h 815526"/>
                <a:gd name="connsiteX503" fmla="*/ 710746 w 915678"/>
                <a:gd name="connsiteY503" fmla="*/ 138255 h 815526"/>
                <a:gd name="connsiteX504" fmla="*/ 710746 w 915678"/>
                <a:gd name="connsiteY504" fmla="*/ 144836 h 815526"/>
                <a:gd name="connsiteX505" fmla="*/ 717471 w 915678"/>
                <a:gd name="connsiteY505" fmla="*/ 144836 h 815526"/>
                <a:gd name="connsiteX506" fmla="*/ 717471 w 915678"/>
                <a:gd name="connsiteY506" fmla="*/ 138255 h 815526"/>
                <a:gd name="connsiteX507" fmla="*/ 754527 w 915678"/>
                <a:gd name="connsiteY507" fmla="*/ 105491 h 815526"/>
                <a:gd name="connsiteX508" fmla="*/ 748661 w 915678"/>
                <a:gd name="connsiteY508" fmla="*/ 105491 h 815526"/>
                <a:gd name="connsiteX509" fmla="*/ 748661 w 915678"/>
                <a:gd name="connsiteY509" fmla="*/ 111214 h 815526"/>
                <a:gd name="connsiteX510" fmla="*/ 754384 w 915678"/>
                <a:gd name="connsiteY510" fmla="*/ 111643 h 815526"/>
                <a:gd name="connsiteX511" fmla="*/ 754813 w 915678"/>
                <a:gd name="connsiteY511" fmla="*/ 105920 h 815526"/>
                <a:gd name="connsiteX512" fmla="*/ 791726 w 915678"/>
                <a:gd name="connsiteY512" fmla="*/ 73156 h 815526"/>
                <a:gd name="connsiteX513" fmla="*/ 786871 w 915678"/>
                <a:gd name="connsiteY513" fmla="*/ 73165 h 815526"/>
                <a:gd name="connsiteX514" fmla="*/ 786879 w 915678"/>
                <a:gd name="connsiteY514" fmla="*/ 78021 h 815526"/>
                <a:gd name="connsiteX515" fmla="*/ 791726 w 915678"/>
                <a:gd name="connsiteY515" fmla="*/ 78021 h 815526"/>
                <a:gd name="connsiteX516" fmla="*/ 791735 w 915678"/>
                <a:gd name="connsiteY516" fmla="*/ 73165 h 815526"/>
                <a:gd name="connsiteX517" fmla="*/ 791726 w 915678"/>
                <a:gd name="connsiteY517" fmla="*/ 73156 h 815526"/>
                <a:gd name="connsiteX518" fmla="*/ 828354 w 915678"/>
                <a:gd name="connsiteY518" fmla="*/ 40535 h 815526"/>
                <a:gd name="connsiteX519" fmla="*/ 824312 w 915678"/>
                <a:gd name="connsiteY519" fmla="*/ 40744 h 815526"/>
                <a:gd name="connsiteX520" fmla="*/ 824061 w 915678"/>
                <a:gd name="connsiteY520" fmla="*/ 44255 h 815526"/>
                <a:gd name="connsiteX521" fmla="*/ 828210 w 915678"/>
                <a:gd name="connsiteY521" fmla="*/ 44255 h 815526"/>
                <a:gd name="connsiteX522" fmla="*/ 828375 w 915678"/>
                <a:gd name="connsiteY522" fmla="*/ 40413 h 815526"/>
                <a:gd name="connsiteX523" fmla="*/ 828210 w 915678"/>
                <a:gd name="connsiteY523" fmla="*/ 40249 h 815526"/>
                <a:gd name="connsiteX524" fmla="*/ 437759 w 915678"/>
                <a:gd name="connsiteY524" fmla="*/ 344569 h 815526"/>
                <a:gd name="connsiteX525" fmla="*/ 425229 w 915678"/>
                <a:gd name="connsiteY525" fmla="*/ 343957 h 815526"/>
                <a:gd name="connsiteX526" fmla="*/ 424453 w 915678"/>
                <a:gd name="connsiteY526" fmla="*/ 356301 h 815526"/>
                <a:gd name="connsiteX527" fmla="*/ 437044 w 915678"/>
                <a:gd name="connsiteY527" fmla="*/ 357159 h 815526"/>
                <a:gd name="connsiteX528" fmla="*/ 437821 w 915678"/>
                <a:gd name="connsiteY528" fmla="*/ 344639 h 815526"/>
                <a:gd name="connsiteX529" fmla="*/ 437759 w 915678"/>
                <a:gd name="connsiteY529" fmla="*/ 344569 h 815526"/>
                <a:gd name="connsiteX530" fmla="*/ 474816 w 915678"/>
                <a:gd name="connsiteY530" fmla="*/ 311805 h 815526"/>
                <a:gd name="connsiteX531" fmla="*/ 463081 w 915678"/>
                <a:gd name="connsiteY531" fmla="*/ 311802 h 815526"/>
                <a:gd name="connsiteX532" fmla="*/ 463076 w 915678"/>
                <a:gd name="connsiteY532" fmla="*/ 323537 h 815526"/>
                <a:gd name="connsiteX533" fmla="*/ 474813 w 915678"/>
                <a:gd name="connsiteY533" fmla="*/ 323540 h 815526"/>
                <a:gd name="connsiteX534" fmla="*/ 474816 w 915678"/>
                <a:gd name="connsiteY534" fmla="*/ 323537 h 815526"/>
                <a:gd name="connsiteX535" fmla="*/ 474816 w 915678"/>
                <a:gd name="connsiteY535" fmla="*/ 311805 h 815526"/>
                <a:gd name="connsiteX536" fmla="*/ 511729 w 915678"/>
                <a:gd name="connsiteY536" fmla="*/ 279041 h 815526"/>
                <a:gd name="connsiteX537" fmla="*/ 500802 w 915678"/>
                <a:gd name="connsiteY537" fmla="*/ 278988 h 815526"/>
                <a:gd name="connsiteX538" fmla="*/ 500751 w 915678"/>
                <a:gd name="connsiteY538" fmla="*/ 289914 h 815526"/>
                <a:gd name="connsiteX539" fmla="*/ 511676 w 915678"/>
                <a:gd name="connsiteY539" fmla="*/ 289967 h 815526"/>
                <a:gd name="connsiteX540" fmla="*/ 511729 w 915678"/>
                <a:gd name="connsiteY540" fmla="*/ 289914 h 815526"/>
                <a:gd name="connsiteX541" fmla="*/ 511879 w 915678"/>
                <a:gd name="connsiteY541" fmla="*/ 279191 h 815526"/>
                <a:gd name="connsiteX542" fmla="*/ 511729 w 915678"/>
                <a:gd name="connsiteY542" fmla="*/ 279041 h 815526"/>
                <a:gd name="connsiteX543" fmla="*/ 548642 w 915678"/>
                <a:gd name="connsiteY543" fmla="*/ 246276 h 815526"/>
                <a:gd name="connsiteX544" fmla="*/ 538526 w 915678"/>
                <a:gd name="connsiteY544" fmla="*/ 246175 h 815526"/>
                <a:gd name="connsiteX545" fmla="*/ 538425 w 915678"/>
                <a:gd name="connsiteY545" fmla="*/ 256292 h 815526"/>
                <a:gd name="connsiteX546" fmla="*/ 548541 w 915678"/>
                <a:gd name="connsiteY546" fmla="*/ 256393 h 815526"/>
                <a:gd name="connsiteX547" fmla="*/ 548642 w 915678"/>
                <a:gd name="connsiteY547" fmla="*/ 256292 h 815526"/>
                <a:gd name="connsiteX548" fmla="*/ 548642 w 915678"/>
                <a:gd name="connsiteY548" fmla="*/ 246276 h 815526"/>
                <a:gd name="connsiteX549" fmla="*/ 585126 w 915678"/>
                <a:gd name="connsiteY549" fmla="*/ 213512 h 815526"/>
                <a:gd name="connsiteX550" fmla="*/ 575970 w 915678"/>
                <a:gd name="connsiteY550" fmla="*/ 213512 h 815526"/>
                <a:gd name="connsiteX551" fmla="*/ 575397 w 915678"/>
                <a:gd name="connsiteY551" fmla="*/ 222669 h 815526"/>
                <a:gd name="connsiteX552" fmla="*/ 584554 w 915678"/>
                <a:gd name="connsiteY552" fmla="*/ 223241 h 815526"/>
                <a:gd name="connsiteX553" fmla="*/ 584554 w 915678"/>
                <a:gd name="connsiteY553" fmla="*/ 214085 h 815526"/>
                <a:gd name="connsiteX554" fmla="*/ 622612 w 915678"/>
                <a:gd name="connsiteY554" fmla="*/ 181177 h 815526"/>
                <a:gd name="connsiteX555" fmla="*/ 614317 w 915678"/>
                <a:gd name="connsiteY555" fmla="*/ 181180 h 815526"/>
                <a:gd name="connsiteX556" fmla="*/ 614318 w 915678"/>
                <a:gd name="connsiteY556" fmla="*/ 189476 h 815526"/>
                <a:gd name="connsiteX557" fmla="*/ 622612 w 915678"/>
                <a:gd name="connsiteY557" fmla="*/ 189476 h 815526"/>
                <a:gd name="connsiteX558" fmla="*/ 622615 w 915678"/>
                <a:gd name="connsiteY558" fmla="*/ 181180 h 815526"/>
                <a:gd name="connsiteX559" fmla="*/ 622612 w 915678"/>
                <a:gd name="connsiteY559" fmla="*/ 181177 h 815526"/>
                <a:gd name="connsiteX560" fmla="*/ 659525 w 915678"/>
                <a:gd name="connsiteY560" fmla="*/ 148413 h 815526"/>
                <a:gd name="connsiteX561" fmla="*/ 652085 w 915678"/>
                <a:gd name="connsiteY561" fmla="*/ 148413 h 815526"/>
                <a:gd name="connsiteX562" fmla="*/ 652085 w 915678"/>
                <a:gd name="connsiteY562" fmla="*/ 155853 h 815526"/>
                <a:gd name="connsiteX563" fmla="*/ 659567 w 915678"/>
                <a:gd name="connsiteY563" fmla="*/ 155568 h 815526"/>
                <a:gd name="connsiteX564" fmla="*/ 659955 w 915678"/>
                <a:gd name="connsiteY564" fmla="*/ 148843 h 815526"/>
                <a:gd name="connsiteX565" fmla="*/ 697011 w 915678"/>
                <a:gd name="connsiteY565" fmla="*/ 116078 h 815526"/>
                <a:gd name="connsiteX566" fmla="*/ 690382 w 915678"/>
                <a:gd name="connsiteY566" fmla="*/ 115280 h 815526"/>
                <a:gd name="connsiteX567" fmla="*/ 689584 w 915678"/>
                <a:gd name="connsiteY567" fmla="*/ 121910 h 815526"/>
                <a:gd name="connsiteX568" fmla="*/ 690000 w 915678"/>
                <a:gd name="connsiteY568" fmla="*/ 122374 h 815526"/>
                <a:gd name="connsiteX569" fmla="*/ 696678 w 915678"/>
                <a:gd name="connsiteY569" fmla="*/ 122291 h 815526"/>
                <a:gd name="connsiteX570" fmla="*/ 697011 w 915678"/>
                <a:gd name="connsiteY570" fmla="*/ 116078 h 815526"/>
                <a:gd name="connsiteX571" fmla="*/ 733924 w 915678"/>
                <a:gd name="connsiteY571" fmla="*/ 83314 h 815526"/>
                <a:gd name="connsiteX572" fmla="*/ 728077 w 915678"/>
                <a:gd name="connsiteY572" fmla="*/ 83808 h 815526"/>
                <a:gd name="connsiteX573" fmla="*/ 727772 w 915678"/>
                <a:gd name="connsiteY573" fmla="*/ 88751 h 815526"/>
                <a:gd name="connsiteX574" fmla="*/ 733638 w 915678"/>
                <a:gd name="connsiteY574" fmla="*/ 88751 h 815526"/>
                <a:gd name="connsiteX575" fmla="*/ 733638 w 915678"/>
                <a:gd name="connsiteY575" fmla="*/ 83028 h 815526"/>
                <a:gd name="connsiteX576" fmla="*/ 771124 w 915678"/>
                <a:gd name="connsiteY576" fmla="*/ 49692 h 815526"/>
                <a:gd name="connsiteX577" fmla="*/ 766268 w 915678"/>
                <a:gd name="connsiteY577" fmla="*/ 49683 h 815526"/>
                <a:gd name="connsiteX578" fmla="*/ 766259 w 915678"/>
                <a:gd name="connsiteY578" fmla="*/ 49692 h 815526"/>
                <a:gd name="connsiteX579" fmla="*/ 766268 w 915678"/>
                <a:gd name="connsiteY579" fmla="*/ 54548 h 815526"/>
                <a:gd name="connsiteX580" fmla="*/ 771124 w 915678"/>
                <a:gd name="connsiteY580" fmla="*/ 54539 h 815526"/>
                <a:gd name="connsiteX581" fmla="*/ 771124 w 915678"/>
                <a:gd name="connsiteY581" fmla="*/ 49692 h 815526"/>
                <a:gd name="connsiteX582" fmla="*/ 808180 w 915678"/>
                <a:gd name="connsiteY582" fmla="*/ 16928 h 815526"/>
                <a:gd name="connsiteX583" fmla="*/ 804031 w 915678"/>
                <a:gd name="connsiteY583" fmla="*/ 16928 h 815526"/>
                <a:gd name="connsiteX584" fmla="*/ 803865 w 915678"/>
                <a:gd name="connsiteY584" fmla="*/ 20769 h 815526"/>
                <a:gd name="connsiteX585" fmla="*/ 804031 w 915678"/>
                <a:gd name="connsiteY585" fmla="*/ 20934 h 815526"/>
                <a:gd name="connsiteX586" fmla="*/ 808037 w 915678"/>
                <a:gd name="connsiteY586" fmla="*/ 20934 h 815526"/>
                <a:gd name="connsiteX587" fmla="*/ 808037 w 915678"/>
                <a:gd name="connsiteY587" fmla="*/ 16784 h 815526"/>
                <a:gd name="connsiteX588" fmla="*/ 542204 w 915678"/>
                <a:gd name="connsiteY588" fmla="*/ 462176 h 815526"/>
                <a:gd name="connsiteX589" fmla="*/ 529659 w 915678"/>
                <a:gd name="connsiteY589" fmla="*/ 462131 h 815526"/>
                <a:gd name="connsiteX590" fmla="*/ 529613 w 915678"/>
                <a:gd name="connsiteY590" fmla="*/ 462176 h 815526"/>
                <a:gd name="connsiteX591" fmla="*/ 529508 w 915678"/>
                <a:gd name="connsiteY591" fmla="*/ 474518 h 815526"/>
                <a:gd name="connsiteX592" fmla="*/ 529613 w 915678"/>
                <a:gd name="connsiteY592" fmla="*/ 474624 h 815526"/>
                <a:gd name="connsiteX593" fmla="*/ 542061 w 915678"/>
                <a:gd name="connsiteY593" fmla="*/ 475482 h 815526"/>
                <a:gd name="connsiteX594" fmla="*/ 542919 w 915678"/>
                <a:gd name="connsiteY594" fmla="*/ 462892 h 815526"/>
                <a:gd name="connsiteX595" fmla="*/ 579833 w 915678"/>
                <a:gd name="connsiteY595" fmla="*/ 430128 h 815526"/>
                <a:gd name="connsiteX596" fmla="*/ 568098 w 915678"/>
                <a:gd name="connsiteY596" fmla="*/ 430125 h 815526"/>
                <a:gd name="connsiteX597" fmla="*/ 568093 w 915678"/>
                <a:gd name="connsiteY597" fmla="*/ 441860 h 815526"/>
                <a:gd name="connsiteX598" fmla="*/ 579830 w 915678"/>
                <a:gd name="connsiteY598" fmla="*/ 441863 h 815526"/>
                <a:gd name="connsiteX599" fmla="*/ 579833 w 915678"/>
                <a:gd name="connsiteY599" fmla="*/ 441860 h 815526"/>
                <a:gd name="connsiteX600" fmla="*/ 579833 w 915678"/>
                <a:gd name="connsiteY600" fmla="*/ 430128 h 815526"/>
                <a:gd name="connsiteX601" fmla="*/ 616746 w 915678"/>
                <a:gd name="connsiteY601" fmla="*/ 397363 h 815526"/>
                <a:gd name="connsiteX602" fmla="*/ 606022 w 915678"/>
                <a:gd name="connsiteY602" fmla="*/ 397514 h 815526"/>
                <a:gd name="connsiteX603" fmla="*/ 606174 w 915678"/>
                <a:gd name="connsiteY603" fmla="*/ 408237 h 815526"/>
                <a:gd name="connsiteX604" fmla="*/ 616746 w 915678"/>
                <a:gd name="connsiteY604" fmla="*/ 408237 h 815526"/>
                <a:gd name="connsiteX605" fmla="*/ 616746 w 915678"/>
                <a:gd name="connsiteY605" fmla="*/ 397363 h 815526"/>
                <a:gd name="connsiteX606" fmla="*/ 653802 w 915678"/>
                <a:gd name="connsiteY606" fmla="*/ 364599 h 815526"/>
                <a:gd name="connsiteX607" fmla="*/ 643787 w 915678"/>
                <a:gd name="connsiteY607" fmla="*/ 364599 h 815526"/>
                <a:gd name="connsiteX608" fmla="*/ 643479 w 915678"/>
                <a:gd name="connsiteY608" fmla="*/ 374307 h 815526"/>
                <a:gd name="connsiteX609" fmla="*/ 643787 w 915678"/>
                <a:gd name="connsiteY609" fmla="*/ 374615 h 815526"/>
                <a:gd name="connsiteX610" fmla="*/ 653728 w 915678"/>
                <a:gd name="connsiteY610" fmla="*/ 376496 h 815526"/>
                <a:gd name="connsiteX611" fmla="*/ 655609 w 915678"/>
                <a:gd name="connsiteY611" fmla="*/ 366555 h 815526"/>
                <a:gd name="connsiteX612" fmla="*/ 654375 w 915678"/>
                <a:gd name="connsiteY612" fmla="*/ 365172 h 815526"/>
                <a:gd name="connsiteX613" fmla="*/ 691288 w 915678"/>
                <a:gd name="connsiteY613" fmla="*/ 332407 h 815526"/>
                <a:gd name="connsiteX614" fmla="*/ 682131 w 915678"/>
                <a:gd name="connsiteY614" fmla="*/ 331835 h 815526"/>
                <a:gd name="connsiteX615" fmla="*/ 681559 w 915678"/>
                <a:gd name="connsiteY615" fmla="*/ 340992 h 815526"/>
                <a:gd name="connsiteX616" fmla="*/ 690716 w 915678"/>
                <a:gd name="connsiteY616" fmla="*/ 341564 h 815526"/>
                <a:gd name="connsiteX617" fmla="*/ 691288 w 915678"/>
                <a:gd name="connsiteY617" fmla="*/ 332407 h 815526"/>
                <a:gd name="connsiteX618" fmla="*/ 728201 w 915678"/>
                <a:gd name="connsiteY618" fmla="*/ 299643 h 815526"/>
                <a:gd name="connsiteX619" fmla="*/ 719906 w 915678"/>
                <a:gd name="connsiteY619" fmla="*/ 299646 h 815526"/>
                <a:gd name="connsiteX620" fmla="*/ 719907 w 915678"/>
                <a:gd name="connsiteY620" fmla="*/ 307942 h 815526"/>
                <a:gd name="connsiteX621" fmla="*/ 728201 w 915678"/>
                <a:gd name="connsiteY621" fmla="*/ 307942 h 815526"/>
                <a:gd name="connsiteX622" fmla="*/ 728204 w 915678"/>
                <a:gd name="connsiteY622" fmla="*/ 299646 h 815526"/>
                <a:gd name="connsiteX623" fmla="*/ 728201 w 915678"/>
                <a:gd name="connsiteY623" fmla="*/ 299643 h 815526"/>
                <a:gd name="connsiteX624" fmla="*/ 765258 w 915678"/>
                <a:gd name="connsiteY624" fmla="*/ 266879 h 815526"/>
                <a:gd name="connsiteX625" fmla="*/ 757818 w 915678"/>
                <a:gd name="connsiteY625" fmla="*/ 266879 h 815526"/>
                <a:gd name="connsiteX626" fmla="*/ 757660 w 915678"/>
                <a:gd name="connsiteY626" fmla="*/ 274162 h 815526"/>
                <a:gd name="connsiteX627" fmla="*/ 757818 w 915678"/>
                <a:gd name="connsiteY627" fmla="*/ 274319 h 815526"/>
                <a:gd name="connsiteX628" fmla="*/ 765258 w 915678"/>
                <a:gd name="connsiteY628" fmla="*/ 274319 h 815526"/>
                <a:gd name="connsiteX629" fmla="*/ 765258 w 915678"/>
                <a:gd name="connsiteY629" fmla="*/ 266879 h 815526"/>
                <a:gd name="connsiteX630" fmla="*/ 802171 w 915678"/>
                <a:gd name="connsiteY630" fmla="*/ 234115 h 815526"/>
                <a:gd name="connsiteX631" fmla="*/ 795589 w 915678"/>
                <a:gd name="connsiteY631" fmla="*/ 234115 h 815526"/>
                <a:gd name="connsiteX632" fmla="*/ 795482 w 915678"/>
                <a:gd name="connsiteY632" fmla="*/ 240589 h 815526"/>
                <a:gd name="connsiteX633" fmla="*/ 795589 w 915678"/>
                <a:gd name="connsiteY633" fmla="*/ 240697 h 815526"/>
                <a:gd name="connsiteX634" fmla="*/ 802171 w 915678"/>
                <a:gd name="connsiteY634" fmla="*/ 240697 h 815526"/>
                <a:gd name="connsiteX635" fmla="*/ 802278 w 915678"/>
                <a:gd name="connsiteY635" fmla="*/ 234222 h 815526"/>
                <a:gd name="connsiteX636" fmla="*/ 802171 w 915678"/>
                <a:gd name="connsiteY636" fmla="*/ 234115 h 815526"/>
                <a:gd name="connsiteX637" fmla="*/ 839084 w 915678"/>
                <a:gd name="connsiteY637" fmla="*/ 201351 h 815526"/>
                <a:gd name="connsiteX638" fmla="*/ 833418 w 915678"/>
                <a:gd name="connsiteY638" fmla="*/ 201294 h 815526"/>
                <a:gd name="connsiteX639" fmla="*/ 833361 w 915678"/>
                <a:gd name="connsiteY639" fmla="*/ 201351 h 815526"/>
                <a:gd name="connsiteX640" fmla="*/ 833095 w 915678"/>
                <a:gd name="connsiteY640" fmla="*/ 206808 h 815526"/>
                <a:gd name="connsiteX641" fmla="*/ 833361 w 915678"/>
                <a:gd name="connsiteY641" fmla="*/ 207074 h 815526"/>
                <a:gd name="connsiteX642" fmla="*/ 839027 w 915678"/>
                <a:gd name="connsiteY642" fmla="*/ 207131 h 815526"/>
                <a:gd name="connsiteX643" fmla="*/ 839084 w 915678"/>
                <a:gd name="connsiteY643" fmla="*/ 207074 h 815526"/>
                <a:gd name="connsiteX644" fmla="*/ 839084 w 915678"/>
                <a:gd name="connsiteY644" fmla="*/ 201208 h 815526"/>
                <a:gd name="connsiteX645" fmla="*/ 874710 w 915678"/>
                <a:gd name="connsiteY645" fmla="*/ 166870 h 815526"/>
                <a:gd name="connsiteX646" fmla="*/ 869854 w 915678"/>
                <a:gd name="connsiteY646" fmla="*/ 166861 h 815526"/>
                <a:gd name="connsiteX647" fmla="*/ 869845 w 915678"/>
                <a:gd name="connsiteY647" fmla="*/ 166870 h 815526"/>
                <a:gd name="connsiteX648" fmla="*/ 869845 w 915678"/>
                <a:gd name="connsiteY648" fmla="*/ 171878 h 815526"/>
                <a:gd name="connsiteX649" fmla="*/ 874701 w 915678"/>
                <a:gd name="connsiteY649" fmla="*/ 171886 h 815526"/>
                <a:gd name="connsiteX650" fmla="*/ 874710 w 915678"/>
                <a:gd name="connsiteY650" fmla="*/ 171878 h 815526"/>
                <a:gd name="connsiteX651" fmla="*/ 874710 w 915678"/>
                <a:gd name="connsiteY651" fmla="*/ 166870 h 815526"/>
                <a:gd name="connsiteX652" fmla="*/ 911623 w 915678"/>
                <a:gd name="connsiteY652" fmla="*/ 134106 h 815526"/>
                <a:gd name="connsiteX653" fmla="*/ 907782 w 915678"/>
                <a:gd name="connsiteY653" fmla="*/ 133941 h 815526"/>
                <a:gd name="connsiteX654" fmla="*/ 907617 w 915678"/>
                <a:gd name="connsiteY654" fmla="*/ 134106 h 815526"/>
                <a:gd name="connsiteX655" fmla="*/ 906836 w 915678"/>
                <a:gd name="connsiteY655" fmla="*/ 138076 h 815526"/>
                <a:gd name="connsiteX656" fmla="*/ 910808 w 915678"/>
                <a:gd name="connsiteY656" fmla="*/ 138857 h 815526"/>
                <a:gd name="connsiteX657" fmla="*/ 911337 w 915678"/>
                <a:gd name="connsiteY657" fmla="*/ 138398 h 815526"/>
                <a:gd name="connsiteX658" fmla="*/ 911440 w 915678"/>
                <a:gd name="connsiteY658" fmla="*/ 134352 h 815526"/>
                <a:gd name="connsiteX659" fmla="*/ 911337 w 915678"/>
                <a:gd name="connsiteY659" fmla="*/ 134249 h 815526"/>
                <a:gd name="connsiteX660" fmla="*/ 521172 w 915678"/>
                <a:gd name="connsiteY660" fmla="*/ 438712 h 815526"/>
                <a:gd name="connsiteX661" fmla="*/ 508581 w 915678"/>
                <a:gd name="connsiteY661" fmla="*/ 437997 h 815526"/>
                <a:gd name="connsiteX662" fmla="*/ 507866 w 915678"/>
                <a:gd name="connsiteY662" fmla="*/ 450587 h 815526"/>
                <a:gd name="connsiteX663" fmla="*/ 520411 w 915678"/>
                <a:gd name="connsiteY663" fmla="*/ 450633 h 815526"/>
                <a:gd name="connsiteX664" fmla="*/ 520457 w 915678"/>
                <a:gd name="connsiteY664" fmla="*/ 450587 h 815526"/>
                <a:gd name="connsiteX665" fmla="*/ 521172 w 915678"/>
                <a:gd name="connsiteY665" fmla="*/ 437997 h 815526"/>
                <a:gd name="connsiteX666" fmla="*/ 558085 w 915678"/>
                <a:gd name="connsiteY666" fmla="*/ 405376 h 815526"/>
                <a:gd name="connsiteX667" fmla="*/ 546552 w 915678"/>
                <a:gd name="connsiteY667" fmla="*/ 405431 h 815526"/>
                <a:gd name="connsiteX668" fmla="*/ 546608 w 915678"/>
                <a:gd name="connsiteY668" fmla="*/ 416965 h 815526"/>
                <a:gd name="connsiteX669" fmla="*/ 558085 w 915678"/>
                <a:gd name="connsiteY669" fmla="*/ 416965 h 815526"/>
                <a:gd name="connsiteX670" fmla="*/ 558347 w 915678"/>
                <a:gd name="connsiteY670" fmla="*/ 405636 h 815526"/>
                <a:gd name="connsiteX671" fmla="*/ 558085 w 915678"/>
                <a:gd name="connsiteY671" fmla="*/ 405376 h 815526"/>
                <a:gd name="connsiteX672" fmla="*/ 595142 w 915678"/>
                <a:gd name="connsiteY672" fmla="*/ 372612 h 815526"/>
                <a:gd name="connsiteX673" fmla="*/ 584454 w 915678"/>
                <a:gd name="connsiteY673" fmla="*/ 371733 h 815526"/>
                <a:gd name="connsiteX674" fmla="*/ 584268 w 915678"/>
                <a:gd name="connsiteY674" fmla="*/ 371896 h 815526"/>
                <a:gd name="connsiteX675" fmla="*/ 584268 w 915678"/>
                <a:gd name="connsiteY675" fmla="*/ 382770 h 815526"/>
                <a:gd name="connsiteX676" fmla="*/ 595195 w 915678"/>
                <a:gd name="connsiteY676" fmla="*/ 382690 h 815526"/>
                <a:gd name="connsiteX677" fmla="*/ 595857 w 915678"/>
                <a:gd name="connsiteY677" fmla="*/ 372612 h 815526"/>
                <a:gd name="connsiteX678" fmla="*/ 632770 w 915678"/>
                <a:gd name="connsiteY678" fmla="*/ 339847 h 815526"/>
                <a:gd name="connsiteX679" fmla="*/ 622891 w 915678"/>
                <a:gd name="connsiteY679" fmla="*/ 339015 h 815526"/>
                <a:gd name="connsiteX680" fmla="*/ 622755 w 915678"/>
                <a:gd name="connsiteY680" fmla="*/ 339132 h 815526"/>
                <a:gd name="connsiteX681" fmla="*/ 622755 w 915678"/>
                <a:gd name="connsiteY681" fmla="*/ 349147 h 815526"/>
                <a:gd name="connsiteX682" fmla="*/ 632669 w 915678"/>
                <a:gd name="connsiteY682" fmla="*/ 349249 h 815526"/>
                <a:gd name="connsiteX683" fmla="*/ 632770 w 915678"/>
                <a:gd name="connsiteY683" fmla="*/ 349147 h 815526"/>
                <a:gd name="connsiteX684" fmla="*/ 632770 w 915678"/>
                <a:gd name="connsiteY684" fmla="*/ 339132 h 815526"/>
                <a:gd name="connsiteX685" fmla="*/ 669684 w 915678"/>
                <a:gd name="connsiteY685" fmla="*/ 306368 h 815526"/>
                <a:gd name="connsiteX686" fmla="*/ 660578 w 915678"/>
                <a:gd name="connsiteY686" fmla="*/ 306316 h 815526"/>
                <a:gd name="connsiteX687" fmla="*/ 660527 w 915678"/>
                <a:gd name="connsiteY687" fmla="*/ 306368 h 815526"/>
                <a:gd name="connsiteX688" fmla="*/ 660377 w 915678"/>
                <a:gd name="connsiteY688" fmla="*/ 315675 h 815526"/>
                <a:gd name="connsiteX689" fmla="*/ 669684 w 915678"/>
                <a:gd name="connsiteY689" fmla="*/ 315824 h 815526"/>
                <a:gd name="connsiteX690" fmla="*/ 669834 w 915678"/>
                <a:gd name="connsiteY690" fmla="*/ 306518 h 815526"/>
                <a:gd name="connsiteX691" fmla="*/ 669684 w 915678"/>
                <a:gd name="connsiteY691" fmla="*/ 306368 h 815526"/>
                <a:gd name="connsiteX692" fmla="*/ 706740 w 915678"/>
                <a:gd name="connsiteY692" fmla="*/ 273604 h 815526"/>
                <a:gd name="connsiteX693" fmla="*/ 698445 w 915678"/>
                <a:gd name="connsiteY693" fmla="*/ 273607 h 815526"/>
                <a:gd name="connsiteX694" fmla="*/ 698446 w 915678"/>
                <a:gd name="connsiteY694" fmla="*/ 281902 h 815526"/>
                <a:gd name="connsiteX695" fmla="*/ 706740 w 915678"/>
                <a:gd name="connsiteY695" fmla="*/ 281902 h 815526"/>
                <a:gd name="connsiteX696" fmla="*/ 706743 w 915678"/>
                <a:gd name="connsiteY696" fmla="*/ 273607 h 815526"/>
                <a:gd name="connsiteX697" fmla="*/ 706740 w 915678"/>
                <a:gd name="connsiteY697" fmla="*/ 273604 h 815526"/>
                <a:gd name="connsiteX698" fmla="*/ 742509 w 915678"/>
                <a:gd name="connsiteY698" fmla="*/ 242127 h 815526"/>
                <a:gd name="connsiteX699" fmla="*/ 735110 w 915678"/>
                <a:gd name="connsiteY699" fmla="*/ 240984 h 815526"/>
                <a:gd name="connsiteX700" fmla="*/ 733967 w 915678"/>
                <a:gd name="connsiteY700" fmla="*/ 248383 h 815526"/>
                <a:gd name="connsiteX701" fmla="*/ 734640 w 915678"/>
                <a:gd name="connsiteY701" fmla="*/ 249138 h 815526"/>
                <a:gd name="connsiteX702" fmla="*/ 742080 w 915678"/>
                <a:gd name="connsiteY702" fmla="*/ 249138 h 815526"/>
                <a:gd name="connsiteX703" fmla="*/ 742080 w 915678"/>
                <a:gd name="connsiteY703" fmla="*/ 241698 h 815526"/>
                <a:gd name="connsiteX704" fmla="*/ 779851 w 915678"/>
                <a:gd name="connsiteY704" fmla="*/ 209792 h 815526"/>
                <a:gd name="connsiteX705" fmla="*/ 773377 w 915678"/>
                <a:gd name="connsiteY705" fmla="*/ 209685 h 815526"/>
                <a:gd name="connsiteX706" fmla="*/ 773270 w 915678"/>
                <a:gd name="connsiteY706" fmla="*/ 209792 h 815526"/>
                <a:gd name="connsiteX707" fmla="*/ 773270 w 915678"/>
                <a:gd name="connsiteY707" fmla="*/ 216374 h 815526"/>
                <a:gd name="connsiteX708" fmla="*/ 779744 w 915678"/>
                <a:gd name="connsiteY708" fmla="*/ 216481 h 815526"/>
                <a:gd name="connsiteX709" fmla="*/ 779851 w 915678"/>
                <a:gd name="connsiteY709" fmla="*/ 216374 h 815526"/>
                <a:gd name="connsiteX710" fmla="*/ 779851 w 915678"/>
                <a:gd name="connsiteY710" fmla="*/ 209792 h 815526"/>
                <a:gd name="connsiteX711" fmla="*/ 816908 w 915678"/>
                <a:gd name="connsiteY711" fmla="*/ 177028 h 815526"/>
                <a:gd name="connsiteX712" fmla="*/ 811242 w 915678"/>
                <a:gd name="connsiteY712" fmla="*/ 176971 h 815526"/>
                <a:gd name="connsiteX713" fmla="*/ 811185 w 915678"/>
                <a:gd name="connsiteY713" fmla="*/ 177028 h 815526"/>
                <a:gd name="connsiteX714" fmla="*/ 811127 w 915678"/>
                <a:gd name="connsiteY714" fmla="*/ 182694 h 815526"/>
                <a:gd name="connsiteX715" fmla="*/ 811185 w 915678"/>
                <a:gd name="connsiteY715" fmla="*/ 182751 h 815526"/>
                <a:gd name="connsiteX716" fmla="*/ 816850 w 915678"/>
                <a:gd name="connsiteY716" fmla="*/ 182808 h 815526"/>
                <a:gd name="connsiteX717" fmla="*/ 816908 w 915678"/>
                <a:gd name="connsiteY717" fmla="*/ 182751 h 815526"/>
                <a:gd name="connsiteX718" fmla="*/ 816965 w 915678"/>
                <a:gd name="connsiteY718" fmla="*/ 177085 h 815526"/>
                <a:gd name="connsiteX719" fmla="*/ 816908 w 915678"/>
                <a:gd name="connsiteY719" fmla="*/ 177028 h 815526"/>
                <a:gd name="connsiteX720" fmla="*/ 853821 w 915678"/>
                <a:gd name="connsiteY720" fmla="*/ 144264 h 815526"/>
                <a:gd name="connsiteX721" fmla="*/ 848965 w 915678"/>
                <a:gd name="connsiteY721" fmla="*/ 144273 h 815526"/>
                <a:gd name="connsiteX722" fmla="*/ 848974 w 915678"/>
                <a:gd name="connsiteY722" fmla="*/ 149129 h 815526"/>
                <a:gd name="connsiteX723" fmla="*/ 853821 w 915678"/>
                <a:gd name="connsiteY723" fmla="*/ 149129 h 815526"/>
                <a:gd name="connsiteX724" fmla="*/ 853830 w 915678"/>
                <a:gd name="connsiteY724" fmla="*/ 144273 h 815526"/>
                <a:gd name="connsiteX725" fmla="*/ 853821 w 915678"/>
                <a:gd name="connsiteY725" fmla="*/ 144264 h 815526"/>
                <a:gd name="connsiteX726" fmla="*/ 890734 w 915678"/>
                <a:gd name="connsiteY726" fmla="*/ 111500 h 815526"/>
                <a:gd name="connsiteX727" fmla="*/ 886728 w 915678"/>
                <a:gd name="connsiteY727" fmla="*/ 111500 h 815526"/>
                <a:gd name="connsiteX728" fmla="*/ 886728 w 915678"/>
                <a:gd name="connsiteY728" fmla="*/ 115649 h 815526"/>
                <a:gd name="connsiteX729" fmla="*/ 890877 w 915678"/>
                <a:gd name="connsiteY729" fmla="*/ 115649 h 815526"/>
                <a:gd name="connsiteX730" fmla="*/ 891043 w 915678"/>
                <a:gd name="connsiteY730" fmla="*/ 111808 h 815526"/>
                <a:gd name="connsiteX731" fmla="*/ 890877 w 915678"/>
                <a:gd name="connsiteY731" fmla="*/ 111643 h 815526"/>
                <a:gd name="connsiteX732" fmla="*/ 500283 w 915678"/>
                <a:gd name="connsiteY732" fmla="*/ 415105 h 815526"/>
                <a:gd name="connsiteX733" fmla="*/ 487969 w 915678"/>
                <a:gd name="connsiteY733" fmla="*/ 414271 h 815526"/>
                <a:gd name="connsiteX734" fmla="*/ 487836 w 915678"/>
                <a:gd name="connsiteY734" fmla="*/ 414389 h 815526"/>
                <a:gd name="connsiteX735" fmla="*/ 486907 w 915678"/>
                <a:gd name="connsiteY735" fmla="*/ 426900 h 815526"/>
                <a:gd name="connsiteX736" fmla="*/ 486977 w 915678"/>
                <a:gd name="connsiteY736" fmla="*/ 426980 h 815526"/>
                <a:gd name="connsiteX737" fmla="*/ 499568 w 915678"/>
                <a:gd name="connsiteY737" fmla="*/ 426980 h 815526"/>
                <a:gd name="connsiteX738" fmla="*/ 499613 w 915678"/>
                <a:gd name="connsiteY738" fmla="*/ 414435 h 815526"/>
                <a:gd name="connsiteX739" fmla="*/ 499568 w 915678"/>
                <a:gd name="connsiteY739" fmla="*/ 414389 h 815526"/>
                <a:gd name="connsiteX740" fmla="*/ 536624 w 915678"/>
                <a:gd name="connsiteY740" fmla="*/ 381625 h 815526"/>
                <a:gd name="connsiteX741" fmla="*/ 524889 w 915678"/>
                <a:gd name="connsiteY741" fmla="*/ 381622 h 815526"/>
                <a:gd name="connsiteX742" fmla="*/ 524885 w 915678"/>
                <a:gd name="connsiteY742" fmla="*/ 393357 h 815526"/>
                <a:gd name="connsiteX743" fmla="*/ 536621 w 915678"/>
                <a:gd name="connsiteY743" fmla="*/ 393360 h 815526"/>
                <a:gd name="connsiteX744" fmla="*/ 536624 w 915678"/>
                <a:gd name="connsiteY744" fmla="*/ 393357 h 815526"/>
                <a:gd name="connsiteX745" fmla="*/ 536624 w 915678"/>
                <a:gd name="connsiteY745" fmla="*/ 381625 h 815526"/>
                <a:gd name="connsiteX746" fmla="*/ 573537 w 915678"/>
                <a:gd name="connsiteY746" fmla="*/ 348861 h 815526"/>
                <a:gd name="connsiteX747" fmla="*/ 562664 w 915678"/>
                <a:gd name="connsiteY747" fmla="*/ 348861 h 815526"/>
                <a:gd name="connsiteX748" fmla="*/ 562657 w 915678"/>
                <a:gd name="connsiteY748" fmla="*/ 359585 h 815526"/>
                <a:gd name="connsiteX749" fmla="*/ 562664 w 915678"/>
                <a:gd name="connsiteY749" fmla="*/ 359592 h 815526"/>
                <a:gd name="connsiteX750" fmla="*/ 573144 w 915678"/>
                <a:gd name="connsiteY750" fmla="*/ 360526 h 815526"/>
                <a:gd name="connsiteX751" fmla="*/ 573394 w 915678"/>
                <a:gd name="connsiteY751" fmla="*/ 360307 h 815526"/>
                <a:gd name="connsiteX752" fmla="*/ 574273 w 915678"/>
                <a:gd name="connsiteY752" fmla="*/ 349619 h 815526"/>
                <a:gd name="connsiteX753" fmla="*/ 574110 w 915678"/>
                <a:gd name="connsiteY753" fmla="*/ 349433 h 815526"/>
                <a:gd name="connsiteX754" fmla="*/ 611023 w 915678"/>
                <a:gd name="connsiteY754" fmla="*/ 316669 h 815526"/>
                <a:gd name="connsiteX755" fmla="*/ 600906 w 915678"/>
                <a:gd name="connsiteY755" fmla="*/ 316568 h 815526"/>
                <a:gd name="connsiteX756" fmla="*/ 600806 w 915678"/>
                <a:gd name="connsiteY756" fmla="*/ 326684 h 815526"/>
                <a:gd name="connsiteX757" fmla="*/ 610921 w 915678"/>
                <a:gd name="connsiteY757" fmla="*/ 326786 h 815526"/>
                <a:gd name="connsiteX758" fmla="*/ 611023 w 915678"/>
                <a:gd name="connsiteY758" fmla="*/ 326684 h 815526"/>
                <a:gd name="connsiteX759" fmla="*/ 611125 w 915678"/>
                <a:gd name="connsiteY759" fmla="*/ 316771 h 815526"/>
                <a:gd name="connsiteX760" fmla="*/ 611023 w 915678"/>
                <a:gd name="connsiteY760" fmla="*/ 316669 h 815526"/>
                <a:gd name="connsiteX761" fmla="*/ 648079 w 915678"/>
                <a:gd name="connsiteY761" fmla="*/ 283905 h 815526"/>
                <a:gd name="connsiteX762" fmla="*/ 638923 w 915678"/>
                <a:gd name="connsiteY762" fmla="*/ 283905 h 815526"/>
                <a:gd name="connsiteX763" fmla="*/ 638350 w 915678"/>
                <a:gd name="connsiteY763" fmla="*/ 293062 h 815526"/>
                <a:gd name="connsiteX764" fmla="*/ 647507 w 915678"/>
                <a:gd name="connsiteY764" fmla="*/ 293634 h 815526"/>
                <a:gd name="connsiteX765" fmla="*/ 647507 w 915678"/>
                <a:gd name="connsiteY765" fmla="*/ 284477 h 815526"/>
                <a:gd name="connsiteX766" fmla="*/ 685279 w 915678"/>
                <a:gd name="connsiteY766" fmla="*/ 251284 h 815526"/>
                <a:gd name="connsiteX767" fmla="*/ 676909 w 915678"/>
                <a:gd name="connsiteY767" fmla="*/ 250783 h 815526"/>
                <a:gd name="connsiteX768" fmla="*/ 676408 w 915678"/>
                <a:gd name="connsiteY768" fmla="*/ 259153 h 815526"/>
                <a:gd name="connsiteX769" fmla="*/ 684850 w 915678"/>
                <a:gd name="connsiteY769" fmla="*/ 259153 h 815526"/>
                <a:gd name="connsiteX770" fmla="*/ 684852 w 915678"/>
                <a:gd name="connsiteY770" fmla="*/ 250858 h 815526"/>
                <a:gd name="connsiteX771" fmla="*/ 684850 w 915678"/>
                <a:gd name="connsiteY771" fmla="*/ 250855 h 815526"/>
                <a:gd name="connsiteX772" fmla="*/ 721763 w 915678"/>
                <a:gd name="connsiteY772" fmla="*/ 218091 h 815526"/>
                <a:gd name="connsiteX773" fmla="*/ 714365 w 915678"/>
                <a:gd name="connsiteY773" fmla="*/ 216948 h 815526"/>
                <a:gd name="connsiteX774" fmla="*/ 713221 w 915678"/>
                <a:gd name="connsiteY774" fmla="*/ 224346 h 815526"/>
                <a:gd name="connsiteX775" fmla="*/ 713894 w 915678"/>
                <a:gd name="connsiteY775" fmla="*/ 225101 h 815526"/>
                <a:gd name="connsiteX776" fmla="*/ 721292 w 915678"/>
                <a:gd name="connsiteY776" fmla="*/ 226245 h 815526"/>
                <a:gd name="connsiteX777" fmla="*/ 722435 w 915678"/>
                <a:gd name="connsiteY777" fmla="*/ 218846 h 815526"/>
                <a:gd name="connsiteX778" fmla="*/ 721763 w 915678"/>
                <a:gd name="connsiteY778" fmla="*/ 218091 h 815526"/>
                <a:gd name="connsiteX779" fmla="*/ 758819 w 915678"/>
                <a:gd name="connsiteY779" fmla="*/ 185327 h 815526"/>
                <a:gd name="connsiteX780" fmla="*/ 752238 w 915678"/>
                <a:gd name="connsiteY780" fmla="*/ 185327 h 815526"/>
                <a:gd name="connsiteX781" fmla="*/ 752131 w 915678"/>
                <a:gd name="connsiteY781" fmla="*/ 191801 h 815526"/>
                <a:gd name="connsiteX782" fmla="*/ 752238 w 915678"/>
                <a:gd name="connsiteY782" fmla="*/ 191908 h 815526"/>
                <a:gd name="connsiteX783" fmla="*/ 758819 w 915678"/>
                <a:gd name="connsiteY783" fmla="*/ 191908 h 815526"/>
                <a:gd name="connsiteX784" fmla="*/ 758819 w 915678"/>
                <a:gd name="connsiteY784" fmla="*/ 185184 h 815526"/>
                <a:gd name="connsiteX785" fmla="*/ 796019 w 915678"/>
                <a:gd name="connsiteY785" fmla="*/ 152562 h 815526"/>
                <a:gd name="connsiteX786" fmla="*/ 790296 w 915678"/>
                <a:gd name="connsiteY786" fmla="*/ 152133 h 815526"/>
                <a:gd name="connsiteX787" fmla="*/ 789866 w 915678"/>
                <a:gd name="connsiteY787" fmla="*/ 157856 h 815526"/>
                <a:gd name="connsiteX788" fmla="*/ 795733 w 915678"/>
                <a:gd name="connsiteY788" fmla="*/ 157856 h 815526"/>
                <a:gd name="connsiteX789" fmla="*/ 795790 w 915678"/>
                <a:gd name="connsiteY789" fmla="*/ 152190 h 815526"/>
                <a:gd name="connsiteX790" fmla="*/ 795733 w 915678"/>
                <a:gd name="connsiteY790" fmla="*/ 152133 h 815526"/>
                <a:gd name="connsiteX791" fmla="*/ 832646 w 915678"/>
                <a:gd name="connsiteY791" fmla="*/ 119369 h 815526"/>
                <a:gd name="connsiteX792" fmla="*/ 827790 w 915678"/>
                <a:gd name="connsiteY792" fmla="*/ 119378 h 815526"/>
                <a:gd name="connsiteX793" fmla="*/ 827798 w 915678"/>
                <a:gd name="connsiteY793" fmla="*/ 124234 h 815526"/>
                <a:gd name="connsiteX794" fmla="*/ 832646 w 915678"/>
                <a:gd name="connsiteY794" fmla="*/ 124234 h 815526"/>
                <a:gd name="connsiteX795" fmla="*/ 832654 w 915678"/>
                <a:gd name="connsiteY795" fmla="*/ 119378 h 815526"/>
                <a:gd name="connsiteX796" fmla="*/ 832646 w 915678"/>
                <a:gd name="connsiteY796" fmla="*/ 119369 h 815526"/>
                <a:gd name="connsiteX797" fmla="*/ 869702 w 915678"/>
                <a:gd name="connsiteY797" fmla="*/ 86605 h 815526"/>
                <a:gd name="connsiteX798" fmla="*/ 865553 w 915678"/>
                <a:gd name="connsiteY798" fmla="*/ 86605 h 815526"/>
                <a:gd name="connsiteX799" fmla="*/ 865338 w 915678"/>
                <a:gd name="connsiteY799" fmla="*/ 90683 h 815526"/>
                <a:gd name="connsiteX800" fmla="*/ 869416 w 915678"/>
                <a:gd name="connsiteY800" fmla="*/ 90897 h 815526"/>
                <a:gd name="connsiteX801" fmla="*/ 869416 w 915678"/>
                <a:gd name="connsiteY801" fmla="*/ 86891 h 8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Lst>
              <a:rect l="l" t="t" r="r" b="b"/>
              <a:pathLst>
                <a:path w="915678" h="815526">
                  <a:moveTo>
                    <a:pt x="427744" y="436995"/>
                  </a:moveTo>
                  <a:cubicBezTo>
                    <a:pt x="424465" y="433321"/>
                    <a:pt x="424785" y="427684"/>
                    <a:pt x="428460" y="424405"/>
                  </a:cubicBezTo>
                  <a:cubicBezTo>
                    <a:pt x="432134" y="421125"/>
                    <a:pt x="437771" y="421446"/>
                    <a:pt x="441050" y="425120"/>
                  </a:cubicBezTo>
                  <a:cubicBezTo>
                    <a:pt x="444329" y="428794"/>
                    <a:pt x="444009" y="434431"/>
                    <a:pt x="440335" y="437711"/>
                  </a:cubicBezTo>
                  <a:cubicBezTo>
                    <a:pt x="436661" y="440990"/>
                    <a:pt x="431023" y="440669"/>
                    <a:pt x="427744" y="436995"/>
                  </a:cubicBezTo>
                  <a:moveTo>
                    <a:pt x="390688" y="469759"/>
                  </a:moveTo>
                  <a:cubicBezTo>
                    <a:pt x="393927" y="473001"/>
                    <a:pt x="399182" y="473003"/>
                    <a:pt x="402423" y="469762"/>
                  </a:cubicBezTo>
                  <a:cubicBezTo>
                    <a:pt x="405665" y="466523"/>
                    <a:pt x="405666" y="461269"/>
                    <a:pt x="402427" y="458027"/>
                  </a:cubicBezTo>
                  <a:cubicBezTo>
                    <a:pt x="399188" y="454785"/>
                    <a:pt x="393933" y="454784"/>
                    <a:pt x="390691" y="458024"/>
                  </a:cubicBezTo>
                  <a:cubicBezTo>
                    <a:pt x="390691" y="458024"/>
                    <a:pt x="390689" y="458026"/>
                    <a:pt x="390688" y="458027"/>
                  </a:cubicBezTo>
                  <a:cubicBezTo>
                    <a:pt x="387450" y="461268"/>
                    <a:pt x="387450" y="466519"/>
                    <a:pt x="390688" y="469759"/>
                  </a:cubicBezTo>
                  <a:moveTo>
                    <a:pt x="353774" y="502523"/>
                  </a:moveTo>
                  <a:cubicBezTo>
                    <a:pt x="356786" y="505505"/>
                    <a:pt x="361636" y="505505"/>
                    <a:pt x="364648" y="502523"/>
                  </a:cubicBezTo>
                  <a:cubicBezTo>
                    <a:pt x="367555" y="499482"/>
                    <a:pt x="367555" y="494692"/>
                    <a:pt x="364648" y="491650"/>
                  </a:cubicBezTo>
                  <a:cubicBezTo>
                    <a:pt x="361636" y="488668"/>
                    <a:pt x="356786" y="488668"/>
                    <a:pt x="353774" y="491650"/>
                  </a:cubicBezTo>
                  <a:cubicBezTo>
                    <a:pt x="350581" y="494358"/>
                    <a:pt x="350188" y="499144"/>
                    <a:pt x="352896" y="502337"/>
                  </a:cubicBezTo>
                  <a:cubicBezTo>
                    <a:pt x="352949" y="502400"/>
                    <a:pt x="353003" y="502462"/>
                    <a:pt x="353059" y="502523"/>
                  </a:cubicBezTo>
                  <a:moveTo>
                    <a:pt x="316146" y="535145"/>
                  </a:moveTo>
                  <a:cubicBezTo>
                    <a:pt x="318856" y="537910"/>
                    <a:pt x="323294" y="537956"/>
                    <a:pt x="326059" y="535246"/>
                  </a:cubicBezTo>
                  <a:cubicBezTo>
                    <a:pt x="326094" y="535212"/>
                    <a:pt x="326128" y="535179"/>
                    <a:pt x="326161" y="535145"/>
                  </a:cubicBezTo>
                  <a:cubicBezTo>
                    <a:pt x="328888" y="532363"/>
                    <a:pt x="328888" y="527911"/>
                    <a:pt x="326161" y="525129"/>
                  </a:cubicBezTo>
                  <a:cubicBezTo>
                    <a:pt x="323593" y="522206"/>
                    <a:pt x="319140" y="521917"/>
                    <a:pt x="316217" y="524485"/>
                  </a:cubicBezTo>
                  <a:cubicBezTo>
                    <a:pt x="313294" y="527054"/>
                    <a:pt x="313005" y="531506"/>
                    <a:pt x="315573" y="534429"/>
                  </a:cubicBezTo>
                  <a:moveTo>
                    <a:pt x="280377" y="567479"/>
                  </a:moveTo>
                  <a:cubicBezTo>
                    <a:pt x="282748" y="570166"/>
                    <a:pt x="286847" y="570422"/>
                    <a:pt x="289534" y="568052"/>
                  </a:cubicBezTo>
                  <a:cubicBezTo>
                    <a:pt x="292221" y="565681"/>
                    <a:pt x="292477" y="561582"/>
                    <a:pt x="290106" y="558895"/>
                  </a:cubicBezTo>
                  <a:cubicBezTo>
                    <a:pt x="287735" y="556208"/>
                    <a:pt x="283636" y="555952"/>
                    <a:pt x="280949" y="558323"/>
                  </a:cubicBezTo>
                  <a:cubicBezTo>
                    <a:pt x="278262" y="560693"/>
                    <a:pt x="278006" y="564792"/>
                    <a:pt x="280377" y="567479"/>
                  </a:cubicBezTo>
                  <a:moveTo>
                    <a:pt x="243464" y="600244"/>
                  </a:moveTo>
                  <a:cubicBezTo>
                    <a:pt x="245756" y="602534"/>
                    <a:pt x="249470" y="602533"/>
                    <a:pt x="251759" y="600241"/>
                  </a:cubicBezTo>
                  <a:cubicBezTo>
                    <a:pt x="254050" y="597950"/>
                    <a:pt x="254048" y="594236"/>
                    <a:pt x="251758" y="591945"/>
                  </a:cubicBezTo>
                  <a:cubicBezTo>
                    <a:pt x="249467" y="589656"/>
                    <a:pt x="245754" y="589656"/>
                    <a:pt x="243464" y="591945"/>
                  </a:cubicBezTo>
                  <a:cubicBezTo>
                    <a:pt x="241172" y="594236"/>
                    <a:pt x="241172" y="597950"/>
                    <a:pt x="243461" y="600241"/>
                  </a:cubicBezTo>
                  <a:cubicBezTo>
                    <a:pt x="243462" y="600242"/>
                    <a:pt x="243462" y="600242"/>
                    <a:pt x="243464" y="600244"/>
                  </a:cubicBezTo>
                  <a:moveTo>
                    <a:pt x="206551" y="633008"/>
                  </a:moveTo>
                  <a:cubicBezTo>
                    <a:pt x="208518" y="635062"/>
                    <a:pt x="211778" y="635132"/>
                    <a:pt x="213833" y="633165"/>
                  </a:cubicBezTo>
                  <a:cubicBezTo>
                    <a:pt x="213886" y="633114"/>
                    <a:pt x="213939" y="633061"/>
                    <a:pt x="213990" y="633008"/>
                  </a:cubicBezTo>
                  <a:cubicBezTo>
                    <a:pt x="216350" y="631281"/>
                    <a:pt x="216860" y="627967"/>
                    <a:pt x="215134" y="625609"/>
                  </a:cubicBezTo>
                  <a:cubicBezTo>
                    <a:pt x="213407" y="623250"/>
                    <a:pt x="210094" y="622738"/>
                    <a:pt x="207735" y="624466"/>
                  </a:cubicBezTo>
                  <a:cubicBezTo>
                    <a:pt x="207462" y="624665"/>
                    <a:pt x="207210" y="624891"/>
                    <a:pt x="206980" y="625139"/>
                  </a:cubicBezTo>
                  <a:cubicBezTo>
                    <a:pt x="204944" y="627200"/>
                    <a:pt x="204944" y="630517"/>
                    <a:pt x="206980" y="632578"/>
                  </a:cubicBezTo>
                  <a:moveTo>
                    <a:pt x="170209" y="666201"/>
                  </a:moveTo>
                  <a:cubicBezTo>
                    <a:pt x="172027" y="668071"/>
                    <a:pt x="175015" y="668114"/>
                    <a:pt x="176885" y="666295"/>
                  </a:cubicBezTo>
                  <a:cubicBezTo>
                    <a:pt x="178755" y="664478"/>
                    <a:pt x="178798" y="661490"/>
                    <a:pt x="176981" y="659620"/>
                  </a:cubicBezTo>
                  <a:cubicBezTo>
                    <a:pt x="175164" y="657750"/>
                    <a:pt x="172174" y="657707"/>
                    <a:pt x="170304" y="659525"/>
                  </a:cubicBezTo>
                  <a:cubicBezTo>
                    <a:pt x="170272" y="659555"/>
                    <a:pt x="170241" y="659588"/>
                    <a:pt x="170209" y="659620"/>
                  </a:cubicBezTo>
                  <a:cubicBezTo>
                    <a:pt x="168428" y="661452"/>
                    <a:pt x="168428" y="664368"/>
                    <a:pt x="170209" y="666201"/>
                  </a:cubicBezTo>
                  <a:moveTo>
                    <a:pt x="133296" y="698965"/>
                  </a:moveTo>
                  <a:cubicBezTo>
                    <a:pt x="134844" y="700546"/>
                    <a:pt x="137381" y="700572"/>
                    <a:pt x="138962" y="699022"/>
                  </a:cubicBezTo>
                  <a:cubicBezTo>
                    <a:pt x="138981" y="699004"/>
                    <a:pt x="139001" y="698985"/>
                    <a:pt x="139019" y="698965"/>
                  </a:cubicBezTo>
                  <a:cubicBezTo>
                    <a:pt x="140939" y="697713"/>
                    <a:pt x="141480" y="695142"/>
                    <a:pt x="140228" y="693224"/>
                  </a:cubicBezTo>
                  <a:cubicBezTo>
                    <a:pt x="138976" y="691304"/>
                    <a:pt x="136405" y="690763"/>
                    <a:pt x="134485" y="692015"/>
                  </a:cubicBezTo>
                  <a:cubicBezTo>
                    <a:pt x="134147" y="692235"/>
                    <a:pt x="133843" y="692504"/>
                    <a:pt x="133582" y="692813"/>
                  </a:cubicBezTo>
                  <a:cubicBezTo>
                    <a:pt x="132056" y="694415"/>
                    <a:pt x="132056" y="696933"/>
                    <a:pt x="133582" y="698536"/>
                  </a:cubicBezTo>
                  <a:moveTo>
                    <a:pt x="96669" y="731300"/>
                  </a:moveTo>
                  <a:cubicBezTo>
                    <a:pt x="98013" y="732639"/>
                    <a:pt x="100186" y="732635"/>
                    <a:pt x="101525" y="731291"/>
                  </a:cubicBezTo>
                  <a:cubicBezTo>
                    <a:pt x="102864" y="729948"/>
                    <a:pt x="102860" y="727775"/>
                    <a:pt x="101516" y="726436"/>
                  </a:cubicBezTo>
                  <a:cubicBezTo>
                    <a:pt x="100177" y="725101"/>
                    <a:pt x="98010" y="725101"/>
                    <a:pt x="96669" y="726436"/>
                  </a:cubicBezTo>
                  <a:cubicBezTo>
                    <a:pt x="95326" y="727775"/>
                    <a:pt x="95321" y="729948"/>
                    <a:pt x="96660" y="731291"/>
                  </a:cubicBezTo>
                  <a:cubicBezTo>
                    <a:pt x="96663" y="731294"/>
                    <a:pt x="96666" y="731297"/>
                    <a:pt x="96669" y="731300"/>
                  </a:cubicBezTo>
                  <a:moveTo>
                    <a:pt x="58611" y="764493"/>
                  </a:moveTo>
                  <a:cubicBezTo>
                    <a:pt x="59799" y="765534"/>
                    <a:pt x="61573" y="765534"/>
                    <a:pt x="62760" y="764493"/>
                  </a:cubicBezTo>
                  <a:cubicBezTo>
                    <a:pt x="63869" y="763333"/>
                    <a:pt x="63869" y="761505"/>
                    <a:pt x="62760" y="760344"/>
                  </a:cubicBezTo>
                  <a:cubicBezTo>
                    <a:pt x="61746" y="759238"/>
                    <a:pt x="60026" y="759164"/>
                    <a:pt x="58919" y="760178"/>
                  </a:cubicBezTo>
                  <a:cubicBezTo>
                    <a:pt x="58862" y="760231"/>
                    <a:pt x="58807" y="760287"/>
                    <a:pt x="58754" y="760344"/>
                  </a:cubicBezTo>
                  <a:cubicBezTo>
                    <a:pt x="57664" y="761457"/>
                    <a:pt x="57664" y="763237"/>
                    <a:pt x="58754" y="764350"/>
                  </a:cubicBezTo>
                  <a:moveTo>
                    <a:pt x="407428" y="413388"/>
                  </a:moveTo>
                  <a:cubicBezTo>
                    <a:pt x="410691" y="417055"/>
                    <a:pt x="416288" y="417435"/>
                    <a:pt x="420018" y="414246"/>
                  </a:cubicBezTo>
                  <a:cubicBezTo>
                    <a:pt x="423495" y="410795"/>
                    <a:pt x="423515" y="405178"/>
                    <a:pt x="420064" y="401701"/>
                  </a:cubicBezTo>
                  <a:cubicBezTo>
                    <a:pt x="420048" y="401686"/>
                    <a:pt x="420034" y="401671"/>
                    <a:pt x="420018" y="401656"/>
                  </a:cubicBezTo>
                  <a:cubicBezTo>
                    <a:pt x="416830" y="397936"/>
                    <a:pt x="411229" y="397505"/>
                    <a:pt x="407511" y="400694"/>
                  </a:cubicBezTo>
                  <a:cubicBezTo>
                    <a:pt x="403791" y="403882"/>
                    <a:pt x="403360" y="409482"/>
                    <a:pt x="406548" y="413202"/>
                  </a:cubicBezTo>
                  <a:cubicBezTo>
                    <a:pt x="406602" y="413265"/>
                    <a:pt x="406656" y="413326"/>
                    <a:pt x="406712" y="413388"/>
                  </a:cubicBezTo>
                  <a:moveTo>
                    <a:pt x="370514" y="446152"/>
                  </a:moveTo>
                  <a:cubicBezTo>
                    <a:pt x="373753" y="449394"/>
                    <a:pt x="379009" y="449395"/>
                    <a:pt x="382249" y="446155"/>
                  </a:cubicBezTo>
                  <a:cubicBezTo>
                    <a:pt x="385491" y="442916"/>
                    <a:pt x="385493" y="437662"/>
                    <a:pt x="382254" y="434420"/>
                  </a:cubicBezTo>
                  <a:cubicBezTo>
                    <a:pt x="379014" y="431178"/>
                    <a:pt x="373759" y="431176"/>
                    <a:pt x="370517" y="434417"/>
                  </a:cubicBezTo>
                  <a:cubicBezTo>
                    <a:pt x="370517" y="434417"/>
                    <a:pt x="370516" y="434418"/>
                    <a:pt x="370514" y="434420"/>
                  </a:cubicBezTo>
                  <a:cubicBezTo>
                    <a:pt x="367276" y="437660"/>
                    <a:pt x="367276" y="442911"/>
                    <a:pt x="370514" y="446152"/>
                  </a:cubicBezTo>
                  <a:moveTo>
                    <a:pt x="333458" y="478916"/>
                  </a:moveTo>
                  <a:cubicBezTo>
                    <a:pt x="336500" y="481823"/>
                    <a:pt x="341290" y="481823"/>
                    <a:pt x="344332" y="478916"/>
                  </a:cubicBezTo>
                  <a:cubicBezTo>
                    <a:pt x="347313" y="475904"/>
                    <a:pt x="347313" y="471054"/>
                    <a:pt x="344332" y="468042"/>
                  </a:cubicBezTo>
                  <a:cubicBezTo>
                    <a:pt x="341760" y="464637"/>
                    <a:pt x="336916" y="463961"/>
                    <a:pt x="333511" y="466532"/>
                  </a:cubicBezTo>
                  <a:cubicBezTo>
                    <a:pt x="330104" y="469104"/>
                    <a:pt x="329429" y="473949"/>
                    <a:pt x="332000" y="477354"/>
                  </a:cubicBezTo>
                  <a:cubicBezTo>
                    <a:pt x="332226" y="477654"/>
                    <a:pt x="332475" y="477937"/>
                    <a:pt x="332742" y="478201"/>
                  </a:cubicBezTo>
                  <a:moveTo>
                    <a:pt x="296545" y="511680"/>
                  </a:moveTo>
                  <a:cubicBezTo>
                    <a:pt x="299254" y="514446"/>
                    <a:pt x="303693" y="514492"/>
                    <a:pt x="306458" y="511782"/>
                  </a:cubicBezTo>
                  <a:cubicBezTo>
                    <a:pt x="306493" y="511747"/>
                    <a:pt x="306527" y="511715"/>
                    <a:pt x="306560" y="511680"/>
                  </a:cubicBezTo>
                  <a:cubicBezTo>
                    <a:pt x="309381" y="508915"/>
                    <a:pt x="309427" y="504385"/>
                    <a:pt x="306661" y="501563"/>
                  </a:cubicBezTo>
                  <a:cubicBezTo>
                    <a:pt x="303896" y="498742"/>
                    <a:pt x="299366" y="498698"/>
                    <a:pt x="296545" y="501463"/>
                  </a:cubicBezTo>
                  <a:cubicBezTo>
                    <a:pt x="293723" y="504229"/>
                    <a:pt x="293677" y="508757"/>
                    <a:pt x="296443" y="511579"/>
                  </a:cubicBezTo>
                  <a:cubicBezTo>
                    <a:pt x="296477" y="511613"/>
                    <a:pt x="296510" y="511647"/>
                    <a:pt x="296545" y="511680"/>
                  </a:cubicBezTo>
                  <a:moveTo>
                    <a:pt x="259631" y="544444"/>
                  </a:moveTo>
                  <a:cubicBezTo>
                    <a:pt x="262184" y="546915"/>
                    <a:pt x="266236" y="546915"/>
                    <a:pt x="268788" y="544444"/>
                  </a:cubicBezTo>
                  <a:cubicBezTo>
                    <a:pt x="271187" y="541863"/>
                    <a:pt x="271187" y="537869"/>
                    <a:pt x="268788" y="535288"/>
                  </a:cubicBezTo>
                  <a:cubicBezTo>
                    <a:pt x="266417" y="532601"/>
                    <a:pt x="262318" y="532345"/>
                    <a:pt x="259631" y="534715"/>
                  </a:cubicBezTo>
                  <a:cubicBezTo>
                    <a:pt x="256944" y="537086"/>
                    <a:pt x="256688" y="541185"/>
                    <a:pt x="259059" y="543872"/>
                  </a:cubicBezTo>
                  <a:moveTo>
                    <a:pt x="222003" y="576636"/>
                  </a:moveTo>
                  <a:cubicBezTo>
                    <a:pt x="224295" y="578927"/>
                    <a:pt x="228009" y="578925"/>
                    <a:pt x="230298" y="576633"/>
                  </a:cubicBezTo>
                  <a:cubicBezTo>
                    <a:pt x="232589" y="574343"/>
                    <a:pt x="232587" y="570628"/>
                    <a:pt x="230297" y="568338"/>
                  </a:cubicBezTo>
                  <a:cubicBezTo>
                    <a:pt x="228006" y="566049"/>
                    <a:pt x="224293" y="566049"/>
                    <a:pt x="222003" y="568338"/>
                  </a:cubicBezTo>
                  <a:cubicBezTo>
                    <a:pt x="219711" y="570628"/>
                    <a:pt x="219711" y="574343"/>
                    <a:pt x="222000" y="576633"/>
                  </a:cubicBezTo>
                  <a:cubicBezTo>
                    <a:pt x="222001" y="576635"/>
                    <a:pt x="222001" y="576635"/>
                    <a:pt x="222003" y="576636"/>
                  </a:cubicBezTo>
                  <a:moveTo>
                    <a:pt x="185662" y="610402"/>
                  </a:moveTo>
                  <a:cubicBezTo>
                    <a:pt x="187716" y="612482"/>
                    <a:pt x="191068" y="612502"/>
                    <a:pt x="193147" y="610449"/>
                  </a:cubicBezTo>
                  <a:cubicBezTo>
                    <a:pt x="195228" y="608394"/>
                    <a:pt x="195249" y="605042"/>
                    <a:pt x="193194" y="602962"/>
                  </a:cubicBezTo>
                  <a:cubicBezTo>
                    <a:pt x="191140" y="600882"/>
                    <a:pt x="187788" y="600862"/>
                    <a:pt x="185707" y="602915"/>
                  </a:cubicBezTo>
                  <a:cubicBezTo>
                    <a:pt x="185693" y="602930"/>
                    <a:pt x="185677" y="602946"/>
                    <a:pt x="185662" y="602962"/>
                  </a:cubicBezTo>
                  <a:cubicBezTo>
                    <a:pt x="183626" y="605024"/>
                    <a:pt x="183626" y="608340"/>
                    <a:pt x="185662" y="610402"/>
                  </a:cubicBezTo>
                  <a:moveTo>
                    <a:pt x="148748" y="642737"/>
                  </a:moveTo>
                  <a:cubicBezTo>
                    <a:pt x="150581" y="644518"/>
                    <a:pt x="153497" y="644518"/>
                    <a:pt x="155330" y="642737"/>
                  </a:cubicBezTo>
                  <a:cubicBezTo>
                    <a:pt x="157381" y="641127"/>
                    <a:pt x="157738" y="638158"/>
                    <a:pt x="156128" y="636108"/>
                  </a:cubicBezTo>
                  <a:cubicBezTo>
                    <a:pt x="154517" y="634056"/>
                    <a:pt x="151550" y="633699"/>
                    <a:pt x="149498" y="635310"/>
                  </a:cubicBezTo>
                  <a:cubicBezTo>
                    <a:pt x="149335" y="635439"/>
                    <a:pt x="149180" y="635577"/>
                    <a:pt x="149034" y="635726"/>
                  </a:cubicBezTo>
                  <a:cubicBezTo>
                    <a:pt x="147253" y="637559"/>
                    <a:pt x="147253" y="640475"/>
                    <a:pt x="149034" y="642308"/>
                  </a:cubicBezTo>
                  <a:moveTo>
                    <a:pt x="111978" y="675072"/>
                  </a:moveTo>
                  <a:cubicBezTo>
                    <a:pt x="113598" y="676691"/>
                    <a:pt x="116225" y="676691"/>
                    <a:pt x="117844" y="675072"/>
                  </a:cubicBezTo>
                  <a:cubicBezTo>
                    <a:pt x="119371" y="673469"/>
                    <a:pt x="119371" y="670951"/>
                    <a:pt x="117844" y="669349"/>
                  </a:cubicBezTo>
                  <a:cubicBezTo>
                    <a:pt x="116296" y="667768"/>
                    <a:pt x="113759" y="667742"/>
                    <a:pt x="112178" y="669291"/>
                  </a:cubicBezTo>
                  <a:cubicBezTo>
                    <a:pt x="112160" y="669310"/>
                    <a:pt x="112140" y="669329"/>
                    <a:pt x="112121" y="669349"/>
                  </a:cubicBezTo>
                  <a:cubicBezTo>
                    <a:pt x="110540" y="670897"/>
                    <a:pt x="110514" y="673433"/>
                    <a:pt x="112064" y="675014"/>
                  </a:cubicBezTo>
                  <a:cubicBezTo>
                    <a:pt x="112082" y="675033"/>
                    <a:pt x="112101" y="675053"/>
                    <a:pt x="112121" y="675072"/>
                  </a:cubicBezTo>
                  <a:moveTo>
                    <a:pt x="75208" y="707836"/>
                  </a:moveTo>
                  <a:cubicBezTo>
                    <a:pt x="76547" y="709179"/>
                    <a:pt x="78720" y="709184"/>
                    <a:pt x="80064" y="707844"/>
                  </a:cubicBezTo>
                  <a:cubicBezTo>
                    <a:pt x="80067" y="707842"/>
                    <a:pt x="80070" y="707839"/>
                    <a:pt x="80072" y="707836"/>
                  </a:cubicBezTo>
                  <a:cubicBezTo>
                    <a:pt x="81412" y="706492"/>
                    <a:pt x="81407" y="704318"/>
                    <a:pt x="80064" y="702980"/>
                  </a:cubicBezTo>
                  <a:cubicBezTo>
                    <a:pt x="78720" y="701641"/>
                    <a:pt x="76547" y="701645"/>
                    <a:pt x="75208" y="702988"/>
                  </a:cubicBezTo>
                  <a:cubicBezTo>
                    <a:pt x="73873" y="704328"/>
                    <a:pt x="73873" y="706495"/>
                    <a:pt x="75208" y="707836"/>
                  </a:cubicBezTo>
                  <a:moveTo>
                    <a:pt x="38295" y="740600"/>
                  </a:moveTo>
                  <a:cubicBezTo>
                    <a:pt x="39309" y="741706"/>
                    <a:pt x="41029" y="741780"/>
                    <a:pt x="42136" y="740765"/>
                  </a:cubicBezTo>
                  <a:cubicBezTo>
                    <a:pt x="42193" y="740713"/>
                    <a:pt x="42248" y="740657"/>
                    <a:pt x="42301" y="740600"/>
                  </a:cubicBezTo>
                  <a:cubicBezTo>
                    <a:pt x="43391" y="739487"/>
                    <a:pt x="43391" y="737707"/>
                    <a:pt x="42301" y="736594"/>
                  </a:cubicBezTo>
                  <a:cubicBezTo>
                    <a:pt x="41113" y="735554"/>
                    <a:pt x="39339" y="735554"/>
                    <a:pt x="38151" y="736594"/>
                  </a:cubicBezTo>
                  <a:cubicBezTo>
                    <a:pt x="37043" y="737754"/>
                    <a:pt x="37043" y="739583"/>
                    <a:pt x="38151" y="740743"/>
                  </a:cubicBezTo>
                  <a:moveTo>
                    <a:pt x="386539" y="389924"/>
                  </a:moveTo>
                  <a:cubicBezTo>
                    <a:pt x="389781" y="393596"/>
                    <a:pt x="395386" y="393944"/>
                    <a:pt x="399059" y="390702"/>
                  </a:cubicBezTo>
                  <a:cubicBezTo>
                    <a:pt x="402732" y="387460"/>
                    <a:pt x="403081" y="381854"/>
                    <a:pt x="399837" y="378181"/>
                  </a:cubicBezTo>
                  <a:cubicBezTo>
                    <a:pt x="396622" y="374540"/>
                    <a:pt x="391077" y="374161"/>
                    <a:pt x="387397" y="377333"/>
                  </a:cubicBezTo>
                  <a:cubicBezTo>
                    <a:pt x="383730" y="380597"/>
                    <a:pt x="383349" y="386194"/>
                    <a:pt x="386539" y="389924"/>
                  </a:cubicBezTo>
                  <a:moveTo>
                    <a:pt x="349625" y="422688"/>
                  </a:moveTo>
                  <a:cubicBezTo>
                    <a:pt x="352669" y="426114"/>
                    <a:pt x="357914" y="426426"/>
                    <a:pt x="361340" y="423383"/>
                  </a:cubicBezTo>
                  <a:cubicBezTo>
                    <a:pt x="364767" y="420341"/>
                    <a:pt x="365079" y="415096"/>
                    <a:pt x="362036" y="411668"/>
                  </a:cubicBezTo>
                  <a:cubicBezTo>
                    <a:pt x="359000" y="408249"/>
                    <a:pt x="353770" y="407930"/>
                    <a:pt x="350341" y="410956"/>
                  </a:cubicBezTo>
                  <a:cubicBezTo>
                    <a:pt x="346904" y="413987"/>
                    <a:pt x="346576" y="419231"/>
                    <a:pt x="349608" y="422668"/>
                  </a:cubicBezTo>
                  <a:cubicBezTo>
                    <a:pt x="349614" y="422675"/>
                    <a:pt x="349620" y="422682"/>
                    <a:pt x="349625" y="422688"/>
                  </a:cubicBezTo>
                  <a:moveTo>
                    <a:pt x="313284" y="455452"/>
                  </a:moveTo>
                  <a:cubicBezTo>
                    <a:pt x="316287" y="458484"/>
                    <a:pt x="321179" y="458506"/>
                    <a:pt x="324211" y="455505"/>
                  </a:cubicBezTo>
                  <a:cubicBezTo>
                    <a:pt x="327243" y="452502"/>
                    <a:pt x="327266" y="447610"/>
                    <a:pt x="324262" y="444578"/>
                  </a:cubicBezTo>
                  <a:cubicBezTo>
                    <a:pt x="321261" y="441546"/>
                    <a:pt x="316369" y="441523"/>
                    <a:pt x="313337" y="444525"/>
                  </a:cubicBezTo>
                  <a:cubicBezTo>
                    <a:pt x="313319" y="444542"/>
                    <a:pt x="313301" y="444561"/>
                    <a:pt x="313284" y="444578"/>
                  </a:cubicBezTo>
                  <a:cubicBezTo>
                    <a:pt x="310303" y="447590"/>
                    <a:pt x="310303" y="452440"/>
                    <a:pt x="313284" y="455452"/>
                  </a:cubicBezTo>
                  <a:moveTo>
                    <a:pt x="276228" y="488216"/>
                  </a:moveTo>
                  <a:cubicBezTo>
                    <a:pt x="279009" y="490943"/>
                    <a:pt x="283462" y="490943"/>
                    <a:pt x="286243" y="488216"/>
                  </a:cubicBezTo>
                  <a:cubicBezTo>
                    <a:pt x="288953" y="485450"/>
                    <a:pt x="288907" y="481012"/>
                    <a:pt x="286142" y="478302"/>
                  </a:cubicBezTo>
                  <a:cubicBezTo>
                    <a:pt x="283376" y="475592"/>
                    <a:pt x="278938" y="475637"/>
                    <a:pt x="276228" y="478402"/>
                  </a:cubicBezTo>
                  <a:cubicBezTo>
                    <a:pt x="273557" y="481129"/>
                    <a:pt x="273557" y="485490"/>
                    <a:pt x="276228" y="488216"/>
                  </a:cubicBezTo>
                  <a:moveTo>
                    <a:pt x="239315" y="520980"/>
                  </a:moveTo>
                  <a:cubicBezTo>
                    <a:pt x="241843" y="523591"/>
                    <a:pt x="246009" y="523658"/>
                    <a:pt x="248622" y="521130"/>
                  </a:cubicBezTo>
                  <a:cubicBezTo>
                    <a:pt x="251233" y="518601"/>
                    <a:pt x="251299" y="514434"/>
                    <a:pt x="248770" y="511823"/>
                  </a:cubicBezTo>
                  <a:cubicBezTo>
                    <a:pt x="246242" y="509212"/>
                    <a:pt x="242076" y="509145"/>
                    <a:pt x="239465" y="511673"/>
                  </a:cubicBezTo>
                  <a:cubicBezTo>
                    <a:pt x="239413" y="511723"/>
                    <a:pt x="239363" y="511773"/>
                    <a:pt x="239315" y="511823"/>
                  </a:cubicBezTo>
                  <a:cubicBezTo>
                    <a:pt x="236786" y="514323"/>
                    <a:pt x="236764" y="518400"/>
                    <a:pt x="239263" y="520929"/>
                  </a:cubicBezTo>
                  <a:cubicBezTo>
                    <a:pt x="239280" y="520946"/>
                    <a:pt x="239297" y="520963"/>
                    <a:pt x="239315" y="520980"/>
                  </a:cubicBezTo>
                  <a:moveTo>
                    <a:pt x="201829" y="553172"/>
                  </a:moveTo>
                  <a:cubicBezTo>
                    <a:pt x="204160" y="555422"/>
                    <a:pt x="207874" y="555357"/>
                    <a:pt x="210123" y="553025"/>
                  </a:cubicBezTo>
                  <a:cubicBezTo>
                    <a:pt x="212374" y="550694"/>
                    <a:pt x="212308" y="546981"/>
                    <a:pt x="209977" y="544731"/>
                  </a:cubicBezTo>
                  <a:cubicBezTo>
                    <a:pt x="207704" y="542537"/>
                    <a:pt x="204102" y="542537"/>
                    <a:pt x="201829" y="544731"/>
                  </a:cubicBezTo>
                  <a:cubicBezTo>
                    <a:pt x="199520" y="547071"/>
                    <a:pt x="199520" y="550831"/>
                    <a:pt x="201829" y="553172"/>
                  </a:cubicBezTo>
                  <a:moveTo>
                    <a:pt x="164773" y="585793"/>
                  </a:moveTo>
                  <a:cubicBezTo>
                    <a:pt x="166849" y="587852"/>
                    <a:pt x="170201" y="587836"/>
                    <a:pt x="172260" y="585760"/>
                  </a:cubicBezTo>
                  <a:cubicBezTo>
                    <a:pt x="174085" y="583919"/>
                    <a:pt x="174307" y="581024"/>
                    <a:pt x="172785" y="578925"/>
                  </a:cubicBezTo>
                  <a:cubicBezTo>
                    <a:pt x="171068" y="576559"/>
                    <a:pt x="167759" y="576031"/>
                    <a:pt x="165392" y="577748"/>
                  </a:cubicBezTo>
                  <a:cubicBezTo>
                    <a:pt x="163024" y="579465"/>
                    <a:pt x="162498" y="582774"/>
                    <a:pt x="164215" y="585141"/>
                  </a:cubicBezTo>
                  <a:cubicBezTo>
                    <a:pt x="164382" y="585374"/>
                    <a:pt x="164569" y="585591"/>
                    <a:pt x="164773" y="585793"/>
                  </a:cubicBezTo>
                  <a:moveTo>
                    <a:pt x="127287" y="619129"/>
                  </a:moveTo>
                  <a:cubicBezTo>
                    <a:pt x="129292" y="620798"/>
                    <a:pt x="132269" y="620524"/>
                    <a:pt x="133936" y="618520"/>
                  </a:cubicBezTo>
                  <a:cubicBezTo>
                    <a:pt x="135245" y="616946"/>
                    <a:pt x="135391" y="614707"/>
                    <a:pt x="134298" y="612977"/>
                  </a:cubicBezTo>
                  <a:cubicBezTo>
                    <a:pt x="132465" y="611196"/>
                    <a:pt x="129549" y="611196"/>
                    <a:pt x="127716" y="612977"/>
                  </a:cubicBezTo>
                  <a:cubicBezTo>
                    <a:pt x="125899" y="614736"/>
                    <a:pt x="125851" y="617634"/>
                    <a:pt x="127609" y="619451"/>
                  </a:cubicBezTo>
                  <a:cubicBezTo>
                    <a:pt x="127643" y="619487"/>
                    <a:pt x="127681" y="619523"/>
                    <a:pt x="127716" y="619559"/>
                  </a:cubicBezTo>
                  <a:moveTo>
                    <a:pt x="90946" y="651894"/>
                  </a:moveTo>
                  <a:cubicBezTo>
                    <a:pt x="92494" y="653474"/>
                    <a:pt x="95031" y="653500"/>
                    <a:pt x="96612" y="651951"/>
                  </a:cubicBezTo>
                  <a:cubicBezTo>
                    <a:pt x="96630" y="651932"/>
                    <a:pt x="96650" y="651914"/>
                    <a:pt x="96669" y="651894"/>
                  </a:cubicBezTo>
                  <a:cubicBezTo>
                    <a:pt x="98250" y="650345"/>
                    <a:pt x="98276" y="647809"/>
                    <a:pt x="96726" y="646228"/>
                  </a:cubicBezTo>
                  <a:cubicBezTo>
                    <a:pt x="96708" y="646209"/>
                    <a:pt x="96689" y="646189"/>
                    <a:pt x="96669" y="646171"/>
                  </a:cubicBezTo>
                  <a:cubicBezTo>
                    <a:pt x="95121" y="644590"/>
                    <a:pt x="92584" y="644564"/>
                    <a:pt x="91003" y="646113"/>
                  </a:cubicBezTo>
                  <a:cubicBezTo>
                    <a:pt x="90985" y="646132"/>
                    <a:pt x="90965" y="646151"/>
                    <a:pt x="90946" y="646171"/>
                  </a:cubicBezTo>
                  <a:cubicBezTo>
                    <a:pt x="89365" y="647719"/>
                    <a:pt x="89339" y="650255"/>
                    <a:pt x="90889" y="651836"/>
                  </a:cubicBezTo>
                  <a:cubicBezTo>
                    <a:pt x="90907" y="651855"/>
                    <a:pt x="90926" y="651875"/>
                    <a:pt x="90946" y="651894"/>
                  </a:cubicBezTo>
                  <a:moveTo>
                    <a:pt x="53890" y="684658"/>
                  </a:moveTo>
                  <a:cubicBezTo>
                    <a:pt x="55233" y="685997"/>
                    <a:pt x="57406" y="685993"/>
                    <a:pt x="58746" y="684649"/>
                  </a:cubicBezTo>
                  <a:cubicBezTo>
                    <a:pt x="60085" y="683306"/>
                    <a:pt x="60081" y="681132"/>
                    <a:pt x="58737" y="679793"/>
                  </a:cubicBezTo>
                  <a:cubicBezTo>
                    <a:pt x="57398" y="678458"/>
                    <a:pt x="55230" y="678458"/>
                    <a:pt x="53890" y="679793"/>
                  </a:cubicBezTo>
                  <a:cubicBezTo>
                    <a:pt x="52546" y="681132"/>
                    <a:pt x="52542" y="683306"/>
                    <a:pt x="53881" y="684649"/>
                  </a:cubicBezTo>
                  <a:cubicBezTo>
                    <a:pt x="53884" y="684652"/>
                    <a:pt x="53887" y="684655"/>
                    <a:pt x="53890" y="684658"/>
                  </a:cubicBezTo>
                  <a:moveTo>
                    <a:pt x="16976" y="717422"/>
                  </a:moveTo>
                  <a:cubicBezTo>
                    <a:pt x="18082" y="718551"/>
                    <a:pt x="19894" y="718569"/>
                    <a:pt x="21023" y="717462"/>
                  </a:cubicBezTo>
                  <a:cubicBezTo>
                    <a:pt x="22151" y="716356"/>
                    <a:pt x="22170" y="714545"/>
                    <a:pt x="21064" y="713416"/>
                  </a:cubicBezTo>
                  <a:cubicBezTo>
                    <a:pt x="19957" y="712287"/>
                    <a:pt x="18145" y="712270"/>
                    <a:pt x="17016" y="713376"/>
                  </a:cubicBezTo>
                  <a:cubicBezTo>
                    <a:pt x="17004" y="713388"/>
                    <a:pt x="16989" y="713403"/>
                    <a:pt x="16976" y="713416"/>
                  </a:cubicBezTo>
                  <a:cubicBezTo>
                    <a:pt x="15870" y="714432"/>
                    <a:pt x="15796" y="716150"/>
                    <a:pt x="16812" y="717257"/>
                  </a:cubicBezTo>
                  <a:cubicBezTo>
                    <a:pt x="16863" y="717315"/>
                    <a:pt x="16919" y="717369"/>
                    <a:pt x="16976" y="717422"/>
                  </a:cubicBezTo>
                  <a:moveTo>
                    <a:pt x="490840" y="507531"/>
                  </a:moveTo>
                  <a:cubicBezTo>
                    <a:pt x="494291" y="511008"/>
                    <a:pt x="499908" y="511028"/>
                    <a:pt x="503385" y="507577"/>
                  </a:cubicBezTo>
                  <a:cubicBezTo>
                    <a:pt x="503401" y="507561"/>
                    <a:pt x="503415" y="507547"/>
                    <a:pt x="503431" y="507531"/>
                  </a:cubicBezTo>
                  <a:cubicBezTo>
                    <a:pt x="506882" y="504054"/>
                    <a:pt x="506862" y="498437"/>
                    <a:pt x="503385" y="494986"/>
                  </a:cubicBezTo>
                  <a:cubicBezTo>
                    <a:pt x="499908" y="491535"/>
                    <a:pt x="494291" y="491555"/>
                    <a:pt x="490840" y="495032"/>
                  </a:cubicBezTo>
                  <a:cubicBezTo>
                    <a:pt x="487406" y="498490"/>
                    <a:pt x="487406" y="504071"/>
                    <a:pt x="490840" y="507531"/>
                  </a:cubicBezTo>
                  <a:moveTo>
                    <a:pt x="453927" y="540295"/>
                  </a:moveTo>
                  <a:cubicBezTo>
                    <a:pt x="456632" y="543995"/>
                    <a:pt x="461825" y="544801"/>
                    <a:pt x="465523" y="542095"/>
                  </a:cubicBezTo>
                  <a:cubicBezTo>
                    <a:pt x="469223" y="539390"/>
                    <a:pt x="470028" y="534197"/>
                    <a:pt x="467323" y="530499"/>
                  </a:cubicBezTo>
                  <a:cubicBezTo>
                    <a:pt x="467001" y="530057"/>
                    <a:pt x="466635" y="529648"/>
                    <a:pt x="466231" y="529278"/>
                  </a:cubicBezTo>
                  <a:cubicBezTo>
                    <a:pt x="463526" y="525579"/>
                    <a:pt x="458334" y="524773"/>
                    <a:pt x="454635" y="527479"/>
                  </a:cubicBezTo>
                  <a:cubicBezTo>
                    <a:pt x="450935" y="530184"/>
                    <a:pt x="450130" y="535376"/>
                    <a:pt x="452835" y="539075"/>
                  </a:cubicBezTo>
                  <a:cubicBezTo>
                    <a:pt x="453157" y="539517"/>
                    <a:pt x="453523" y="539926"/>
                    <a:pt x="453927" y="540295"/>
                  </a:cubicBezTo>
                  <a:moveTo>
                    <a:pt x="416870" y="573059"/>
                  </a:moveTo>
                  <a:cubicBezTo>
                    <a:pt x="419882" y="576041"/>
                    <a:pt x="424732" y="576041"/>
                    <a:pt x="427744" y="573059"/>
                  </a:cubicBezTo>
                  <a:cubicBezTo>
                    <a:pt x="430651" y="570018"/>
                    <a:pt x="430651" y="565227"/>
                    <a:pt x="427744" y="562186"/>
                  </a:cubicBezTo>
                  <a:cubicBezTo>
                    <a:pt x="424732" y="559204"/>
                    <a:pt x="419882" y="559204"/>
                    <a:pt x="416870" y="562186"/>
                  </a:cubicBezTo>
                  <a:cubicBezTo>
                    <a:pt x="413963" y="565227"/>
                    <a:pt x="413963" y="570018"/>
                    <a:pt x="416870" y="573059"/>
                  </a:cubicBezTo>
                  <a:moveTo>
                    <a:pt x="379957" y="605823"/>
                  </a:moveTo>
                  <a:cubicBezTo>
                    <a:pt x="382723" y="608645"/>
                    <a:pt x="387253" y="608691"/>
                    <a:pt x="390074" y="605925"/>
                  </a:cubicBezTo>
                  <a:cubicBezTo>
                    <a:pt x="392895" y="603159"/>
                    <a:pt x="392940" y="598630"/>
                    <a:pt x="390174" y="595808"/>
                  </a:cubicBezTo>
                  <a:cubicBezTo>
                    <a:pt x="387409" y="592987"/>
                    <a:pt x="382880" y="592941"/>
                    <a:pt x="380059" y="595707"/>
                  </a:cubicBezTo>
                  <a:cubicBezTo>
                    <a:pt x="380024" y="595741"/>
                    <a:pt x="379990" y="595774"/>
                    <a:pt x="379957" y="595808"/>
                  </a:cubicBezTo>
                  <a:cubicBezTo>
                    <a:pt x="377230" y="598590"/>
                    <a:pt x="377230" y="603042"/>
                    <a:pt x="379957" y="605823"/>
                  </a:cubicBezTo>
                  <a:moveTo>
                    <a:pt x="342901" y="639017"/>
                  </a:moveTo>
                  <a:cubicBezTo>
                    <a:pt x="345482" y="641416"/>
                    <a:pt x="349476" y="641416"/>
                    <a:pt x="352058" y="639017"/>
                  </a:cubicBezTo>
                  <a:cubicBezTo>
                    <a:pt x="354745" y="636646"/>
                    <a:pt x="355001" y="632547"/>
                    <a:pt x="352630" y="629860"/>
                  </a:cubicBezTo>
                  <a:cubicBezTo>
                    <a:pt x="350259" y="627173"/>
                    <a:pt x="346160" y="626917"/>
                    <a:pt x="343473" y="629288"/>
                  </a:cubicBezTo>
                  <a:cubicBezTo>
                    <a:pt x="341074" y="631869"/>
                    <a:pt x="341074" y="635863"/>
                    <a:pt x="343473" y="638444"/>
                  </a:cubicBezTo>
                  <a:moveTo>
                    <a:pt x="306560" y="671209"/>
                  </a:moveTo>
                  <a:cubicBezTo>
                    <a:pt x="308733" y="673658"/>
                    <a:pt x="312480" y="673883"/>
                    <a:pt x="314930" y="671709"/>
                  </a:cubicBezTo>
                  <a:cubicBezTo>
                    <a:pt x="317379" y="669536"/>
                    <a:pt x="317604" y="665789"/>
                    <a:pt x="315430" y="663339"/>
                  </a:cubicBezTo>
                  <a:cubicBezTo>
                    <a:pt x="313253" y="661048"/>
                    <a:pt x="309632" y="660954"/>
                    <a:pt x="307340" y="663132"/>
                  </a:cubicBezTo>
                  <a:cubicBezTo>
                    <a:pt x="307268" y="663199"/>
                    <a:pt x="307199" y="663268"/>
                    <a:pt x="307132" y="663339"/>
                  </a:cubicBezTo>
                  <a:cubicBezTo>
                    <a:pt x="304840" y="665630"/>
                    <a:pt x="304840" y="669344"/>
                    <a:pt x="307129" y="671635"/>
                  </a:cubicBezTo>
                  <a:cubicBezTo>
                    <a:pt x="307131" y="671636"/>
                    <a:pt x="307131" y="671636"/>
                    <a:pt x="307132" y="671638"/>
                  </a:cubicBezTo>
                  <a:moveTo>
                    <a:pt x="270219" y="704402"/>
                  </a:moveTo>
                  <a:cubicBezTo>
                    <a:pt x="272280" y="706438"/>
                    <a:pt x="275597" y="706438"/>
                    <a:pt x="277659" y="704402"/>
                  </a:cubicBezTo>
                  <a:cubicBezTo>
                    <a:pt x="279871" y="702466"/>
                    <a:pt x="280095" y="699103"/>
                    <a:pt x="278159" y="696891"/>
                  </a:cubicBezTo>
                  <a:cubicBezTo>
                    <a:pt x="276224" y="694679"/>
                    <a:pt x="272860" y="694454"/>
                    <a:pt x="270648" y="696390"/>
                  </a:cubicBezTo>
                  <a:cubicBezTo>
                    <a:pt x="268595" y="698500"/>
                    <a:pt x="268595" y="701862"/>
                    <a:pt x="270648" y="703973"/>
                  </a:cubicBezTo>
                  <a:moveTo>
                    <a:pt x="233592" y="736594"/>
                  </a:moveTo>
                  <a:cubicBezTo>
                    <a:pt x="235423" y="738451"/>
                    <a:pt x="238412" y="738472"/>
                    <a:pt x="240269" y="736641"/>
                  </a:cubicBezTo>
                  <a:cubicBezTo>
                    <a:pt x="240285" y="736625"/>
                    <a:pt x="240300" y="736610"/>
                    <a:pt x="240316" y="736594"/>
                  </a:cubicBezTo>
                  <a:cubicBezTo>
                    <a:pt x="242148" y="734737"/>
                    <a:pt x="242126" y="731748"/>
                    <a:pt x="240269" y="729917"/>
                  </a:cubicBezTo>
                  <a:cubicBezTo>
                    <a:pt x="238412" y="728087"/>
                    <a:pt x="235423" y="728108"/>
                    <a:pt x="233592" y="729964"/>
                  </a:cubicBezTo>
                  <a:cubicBezTo>
                    <a:pt x="231779" y="731802"/>
                    <a:pt x="231779" y="734755"/>
                    <a:pt x="233592" y="736594"/>
                  </a:cubicBezTo>
                  <a:moveTo>
                    <a:pt x="196678" y="769358"/>
                  </a:moveTo>
                  <a:cubicBezTo>
                    <a:pt x="198259" y="770906"/>
                    <a:pt x="200795" y="770880"/>
                    <a:pt x="202344" y="769301"/>
                  </a:cubicBezTo>
                  <a:cubicBezTo>
                    <a:pt x="203892" y="767720"/>
                    <a:pt x="203866" y="765183"/>
                    <a:pt x="202285" y="763635"/>
                  </a:cubicBezTo>
                  <a:cubicBezTo>
                    <a:pt x="200729" y="762108"/>
                    <a:pt x="198236" y="762108"/>
                    <a:pt x="196678" y="763635"/>
                  </a:cubicBezTo>
                  <a:cubicBezTo>
                    <a:pt x="195152" y="765237"/>
                    <a:pt x="195152" y="767756"/>
                    <a:pt x="196678" y="769358"/>
                  </a:cubicBezTo>
                  <a:moveTo>
                    <a:pt x="159765" y="802122"/>
                  </a:moveTo>
                  <a:cubicBezTo>
                    <a:pt x="161108" y="803461"/>
                    <a:pt x="163282" y="803457"/>
                    <a:pt x="164621" y="802113"/>
                  </a:cubicBezTo>
                  <a:cubicBezTo>
                    <a:pt x="165960" y="800770"/>
                    <a:pt x="165956" y="798597"/>
                    <a:pt x="164612" y="797258"/>
                  </a:cubicBezTo>
                  <a:cubicBezTo>
                    <a:pt x="163273" y="795923"/>
                    <a:pt x="161106" y="795923"/>
                    <a:pt x="159765" y="797258"/>
                  </a:cubicBezTo>
                  <a:cubicBezTo>
                    <a:pt x="158422" y="798597"/>
                    <a:pt x="158417" y="800770"/>
                    <a:pt x="159756" y="802113"/>
                  </a:cubicBezTo>
                  <a:cubicBezTo>
                    <a:pt x="159759" y="802116"/>
                    <a:pt x="159762" y="802119"/>
                    <a:pt x="159765" y="802122"/>
                  </a:cubicBezTo>
                  <a:moveTo>
                    <a:pt x="470667" y="483924"/>
                  </a:moveTo>
                  <a:cubicBezTo>
                    <a:pt x="473856" y="487644"/>
                    <a:pt x="479456" y="488074"/>
                    <a:pt x="483174" y="484885"/>
                  </a:cubicBezTo>
                  <a:cubicBezTo>
                    <a:pt x="486894" y="481697"/>
                    <a:pt x="487325" y="476098"/>
                    <a:pt x="484137" y="472378"/>
                  </a:cubicBezTo>
                  <a:cubicBezTo>
                    <a:pt x="484083" y="472315"/>
                    <a:pt x="484028" y="472253"/>
                    <a:pt x="483973" y="472192"/>
                  </a:cubicBezTo>
                  <a:cubicBezTo>
                    <a:pt x="480682" y="468562"/>
                    <a:pt x="475072" y="468288"/>
                    <a:pt x="471442" y="471579"/>
                  </a:cubicBezTo>
                  <a:cubicBezTo>
                    <a:pt x="467885" y="474806"/>
                    <a:pt x="467540" y="480277"/>
                    <a:pt x="470667" y="483924"/>
                  </a:cubicBezTo>
                  <a:moveTo>
                    <a:pt x="433753" y="516688"/>
                  </a:moveTo>
                  <a:cubicBezTo>
                    <a:pt x="436752" y="520155"/>
                    <a:pt x="441992" y="520532"/>
                    <a:pt x="445458" y="517535"/>
                  </a:cubicBezTo>
                  <a:cubicBezTo>
                    <a:pt x="448925" y="514536"/>
                    <a:pt x="449304" y="509295"/>
                    <a:pt x="446305" y="505830"/>
                  </a:cubicBezTo>
                  <a:cubicBezTo>
                    <a:pt x="443306" y="502363"/>
                    <a:pt x="438066" y="501984"/>
                    <a:pt x="434600" y="504983"/>
                  </a:cubicBezTo>
                  <a:cubicBezTo>
                    <a:pt x="434556" y="505022"/>
                    <a:pt x="434512" y="505060"/>
                    <a:pt x="434469" y="505099"/>
                  </a:cubicBezTo>
                  <a:cubicBezTo>
                    <a:pt x="431073" y="508059"/>
                    <a:pt x="430720" y="513210"/>
                    <a:pt x="433680" y="516605"/>
                  </a:cubicBezTo>
                  <a:cubicBezTo>
                    <a:pt x="433705" y="516633"/>
                    <a:pt x="433729" y="516661"/>
                    <a:pt x="433753" y="516688"/>
                  </a:cubicBezTo>
                  <a:moveTo>
                    <a:pt x="396840" y="549452"/>
                  </a:moveTo>
                  <a:cubicBezTo>
                    <a:pt x="399687" y="552415"/>
                    <a:pt x="404396" y="552510"/>
                    <a:pt x="407359" y="549664"/>
                  </a:cubicBezTo>
                  <a:cubicBezTo>
                    <a:pt x="407432" y="549594"/>
                    <a:pt x="407502" y="549524"/>
                    <a:pt x="407571" y="549452"/>
                  </a:cubicBezTo>
                  <a:cubicBezTo>
                    <a:pt x="410764" y="546744"/>
                    <a:pt x="411157" y="541958"/>
                    <a:pt x="408449" y="538764"/>
                  </a:cubicBezTo>
                  <a:cubicBezTo>
                    <a:pt x="408396" y="538701"/>
                    <a:pt x="408342" y="538640"/>
                    <a:pt x="408286" y="538578"/>
                  </a:cubicBezTo>
                  <a:cubicBezTo>
                    <a:pt x="405440" y="535462"/>
                    <a:pt x="400643" y="535147"/>
                    <a:pt x="397412" y="537863"/>
                  </a:cubicBezTo>
                  <a:cubicBezTo>
                    <a:pt x="394431" y="540875"/>
                    <a:pt x="394431" y="545725"/>
                    <a:pt x="397412" y="548737"/>
                  </a:cubicBezTo>
                  <a:moveTo>
                    <a:pt x="359068" y="581787"/>
                  </a:moveTo>
                  <a:cubicBezTo>
                    <a:pt x="361834" y="584497"/>
                    <a:pt x="366272" y="584451"/>
                    <a:pt x="368982" y="581685"/>
                  </a:cubicBezTo>
                  <a:cubicBezTo>
                    <a:pt x="371692" y="578920"/>
                    <a:pt x="371647" y="574481"/>
                    <a:pt x="368882" y="571772"/>
                  </a:cubicBezTo>
                  <a:cubicBezTo>
                    <a:pt x="366155" y="569100"/>
                    <a:pt x="361794" y="569100"/>
                    <a:pt x="359068" y="571772"/>
                  </a:cubicBezTo>
                  <a:cubicBezTo>
                    <a:pt x="356341" y="574553"/>
                    <a:pt x="356341" y="579006"/>
                    <a:pt x="359068" y="581787"/>
                  </a:cubicBezTo>
                  <a:moveTo>
                    <a:pt x="322155" y="614551"/>
                  </a:moveTo>
                  <a:cubicBezTo>
                    <a:pt x="324654" y="617079"/>
                    <a:pt x="328732" y="617102"/>
                    <a:pt x="331260" y="614602"/>
                  </a:cubicBezTo>
                  <a:cubicBezTo>
                    <a:pt x="331277" y="614585"/>
                    <a:pt x="331295" y="614568"/>
                    <a:pt x="331312" y="614551"/>
                  </a:cubicBezTo>
                  <a:cubicBezTo>
                    <a:pt x="333999" y="612180"/>
                    <a:pt x="334255" y="608081"/>
                    <a:pt x="331884" y="605394"/>
                  </a:cubicBezTo>
                  <a:cubicBezTo>
                    <a:pt x="329513" y="602707"/>
                    <a:pt x="325414" y="602451"/>
                    <a:pt x="322727" y="604822"/>
                  </a:cubicBezTo>
                  <a:cubicBezTo>
                    <a:pt x="320199" y="607321"/>
                    <a:pt x="320176" y="611399"/>
                    <a:pt x="322676" y="613927"/>
                  </a:cubicBezTo>
                  <a:cubicBezTo>
                    <a:pt x="322693" y="613944"/>
                    <a:pt x="322710" y="613962"/>
                    <a:pt x="322727" y="613979"/>
                  </a:cubicBezTo>
                  <a:moveTo>
                    <a:pt x="284669" y="647744"/>
                  </a:moveTo>
                  <a:cubicBezTo>
                    <a:pt x="286961" y="650035"/>
                    <a:pt x="290676" y="650034"/>
                    <a:pt x="292965" y="647741"/>
                  </a:cubicBezTo>
                  <a:cubicBezTo>
                    <a:pt x="295255" y="645451"/>
                    <a:pt x="295254" y="641737"/>
                    <a:pt x="292963" y="639446"/>
                  </a:cubicBezTo>
                  <a:cubicBezTo>
                    <a:pt x="290673" y="637157"/>
                    <a:pt x="286960" y="637157"/>
                    <a:pt x="284669" y="639446"/>
                  </a:cubicBezTo>
                  <a:cubicBezTo>
                    <a:pt x="282377" y="641737"/>
                    <a:pt x="282377" y="645451"/>
                    <a:pt x="284666" y="647741"/>
                  </a:cubicBezTo>
                  <a:cubicBezTo>
                    <a:pt x="284668" y="647743"/>
                    <a:pt x="284668" y="647743"/>
                    <a:pt x="284669" y="647744"/>
                  </a:cubicBezTo>
                  <a:moveTo>
                    <a:pt x="248185" y="680509"/>
                  </a:moveTo>
                  <a:cubicBezTo>
                    <a:pt x="250330" y="682496"/>
                    <a:pt x="253679" y="682368"/>
                    <a:pt x="255667" y="680224"/>
                  </a:cubicBezTo>
                  <a:cubicBezTo>
                    <a:pt x="257389" y="678364"/>
                    <a:pt x="257552" y="675544"/>
                    <a:pt x="256054" y="673498"/>
                  </a:cubicBezTo>
                  <a:cubicBezTo>
                    <a:pt x="254327" y="671139"/>
                    <a:pt x="251014" y="670628"/>
                    <a:pt x="248656" y="672355"/>
                  </a:cubicBezTo>
                  <a:cubicBezTo>
                    <a:pt x="246297" y="674082"/>
                    <a:pt x="245784" y="677394"/>
                    <a:pt x="247513" y="679753"/>
                  </a:cubicBezTo>
                  <a:cubicBezTo>
                    <a:pt x="247712" y="680026"/>
                    <a:pt x="247938" y="680278"/>
                    <a:pt x="248185" y="680509"/>
                  </a:cubicBezTo>
                  <a:moveTo>
                    <a:pt x="211272" y="713273"/>
                  </a:moveTo>
                  <a:cubicBezTo>
                    <a:pt x="213030" y="715090"/>
                    <a:pt x="215929" y="715138"/>
                    <a:pt x="217746" y="713380"/>
                  </a:cubicBezTo>
                  <a:cubicBezTo>
                    <a:pt x="217782" y="713346"/>
                    <a:pt x="217818" y="713310"/>
                    <a:pt x="217853" y="713273"/>
                  </a:cubicBezTo>
                  <a:cubicBezTo>
                    <a:pt x="219635" y="711440"/>
                    <a:pt x="219635" y="708524"/>
                    <a:pt x="217853" y="706691"/>
                  </a:cubicBezTo>
                  <a:cubicBezTo>
                    <a:pt x="216460" y="704486"/>
                    <a:pt x="213544" y="703830"/>
                    <a:pt x="211339" y="705223"/>
                  </a:cubicBezTo>
                  <a:cubicBezTo>
                    <a:pt x="209136" y="706615"/>
                    <a:pt x="208478" y="709533"/>
                    <a:pt x="209871" y="711736"/>
                  </a:cubicBezTo>
                  <a:cubicBezTo>
                    <a:pt x="210135" y="712154"/>
                    <a:pt x="210464" y="712527"/>
                    <a:pt x="210843" y="712843"/>
                  </a:cubicBezTo>
                  <a:moveTo>
                    <a:pt x="173786" y="745607"/>
                  </a:moveTo>
                  <a:cubicBezTo>
                    <a:pt x="175406" y="747227"/>
                    <a:pt x="178033" y="747227"/>
                    <a:pt x="179652" y="745607"/>
                  </a:cubicBezTo>
                  <a:cubicBezTo>
                    <a:pt x="181179" y="744005"/>
                    <a:pt x="181179" y="741487"/>
                    <a:pt x="179652" y="739885"/>
                  </a:cubicBezTo>
                  <a:cubicBezTo>
                    <a:pt x="178219" y="738304"/>
                    <a:pt x="175777" y="738185"/>
                    <a:pt x="174196" y="739618"/>
                  </a:cubicBezTo>
                  <a:cubicBezTo>
                    <a:pt x="174103" y="739703"/>
                    <a:pt x="174014" y="739792"/>
                    <a:pt x="173929" y="739885"/>
                  </a:cubicBezTo>
                  <a:cubicBezTo>
                    <a:pt x="172348" y="741433"/>
                    <a:pt x="172323" y="743969"/>
                    <a:pt x="173872" y="745550"/>
                  </a:cubicBezTo>
                  <a:cubicBezTo>
                    <a:pt x="173891" y="745569"/>
                    <a:pt x="173909" y="745589"/>
                    <a:pt x="173929" y="745607"/>
                  </a:cubicBezTo>
                  <a:moveTo>
                    <a:pt x="137302" y="778801"/>
                  </a:moveTo>
                  <a:cubicBezTo>
                    <a:pt x="138646" y="780140"/>
                    <a:pt x="140819" y="780136"/>
                    <a:pt x="142158" y="778792"/>
                  </a:cubicBezTo>
                  <a:cubicBezTo>
                    <a:pt x="143497" y="777449"/>
                    <a:pt x="143493" y="775275"/>
                    <a:pt x="142150" y="773936"/>
                  </a:cubicBezTo>
                  <a:cubicBezTo>
                    <a:pt x="140810" y="772601"/>
                    <a:pt x="138643" y="772601"/>
                    <a:pt x="137302" y="773936"/>
                  </a:cubicBezTo>
                  <a:cubicBezTo>
                    <a:pt x="135959" y="775275"/>
                    <a:pt x="135955" y="777449"/>
                    <a:pt x="137294" y="778792"/>
                  </a:cubicBezTo>
                  <a:cubicBezTo>
                    <a:pt x="137297" y="778795"/>
                    <a:pt x="137299" y="778798"/>
                    <a:pt x="137302" y="778801"/>
                  </a:cubicBezTo>
                  <a:moveTo>
                    <a:pt x="449205" y="460459"/>
                  </a:moveTo>
                  <a:cubicBezTo>
                    <a:pt x="452585" y="463896"/>
                    <a:pt x="458110" y="463943"/>
                    <a:pt x="461547" y="460565"/>
                  </a:cubicBezTo>
                  <a:cubicBezTo>
                    <a:pt x="461583" y="460530"/>
                    <a:pt x="461619" y="460495"/>
                    <a:pt x="461653" y="460459"/>
                  </a:cubicBezTo>
                  <a:cubicBezTo>
                    <a:pt x="465301" y="457246"/>
                    <a:pt x="465685" y="451695"/>
                    <a:pt x="462511" y="448012"/>
                  </a:cubicBezTo>
                  <a:cubicBezTo>
                    <a:pt x="459248" y="444345"/>
                    <a:pt x="453651" y="443964"/>
                    <a:pt x="449921" y="447153"/>
                  </a:cubicBezTo>
                  <a:cubicBezTo>
                    <a:pt x="446444" y="450604"/>
                    <a:pt x="446424" y="456222"/>
                    <a:pt x="449875" y="459698"/>
                  </a:cubicBezTo>
                  <a:cubicBezTo>
                    <a:pt x="449891" y="459714"/>
                    <a:pt x="449905" y="459728"/>
                    <a:pt x="449921" y="459744"/>
                  </a:cubicBezTo>
                  <a:moveTo>
                    <a:pt x="412864" y="492508"/>
                  </a:moveTo>
                  <a:cubicBezTo>
                    <a:pt x="415686" y="496121"/>
                    <a:pt x="420901" y="496762"/>
                    <a:pt x="424512" y="493940"/>
                  </a:cubicBezTo>
                  <a:cubicBezTo>
                    <a:pt x="428125" y="491120"/>
                    <a:pt x="428766" y="485905"/>
                    <a:pt x="425944" y="482293"/>
                  </a:cubicBezTo>
                  <a:cubicBezTo>
                    <a:pt x="423124" y="478681"/>
                    <a:pt x="417909" y="478039"/>
                    <a:pt x="414297" y="480860"/>
                  </a:cubicBezTo>
                  <a:cubicBezTo>
                    <a:pt x="413992" y="481098"/>
                    <a:pt x="413706" y="481357"/>
                    <a:pt x="413437" y="481635"/>
                  </a:cubicBezTo>
                  <a:cubicBezTo>
                    <a:pt x="410000" y="484666"/>
                    <a:pt x="409672" y="489910"/>
                    <a:pt x="412704" y="493347"/>
                  </a:cubicBezTo>
                  <a:cubicBezTo>
                    <a:pt x="412710" y="493354"/>
                    <a:pt x="412716" y="493359"/>
                    <a:pt x="412721" y="493367"/>
                  </a:cubicBezTo>
                  <a:moveTo>
                    <a:pt x="375236" y="525988"/>
                  </a:moveTo>
                  <a:cubicBezTo>
                    <a:pt x="378277" y="528895"/>
                    <a:pt x="383068" y="528895"/>
                    <a:pt x="386109" y="525988"/>
                  </a:cubicBezTo>
                  <a:cubicBezTo>
                    <a:pt x="389091" y="522976"/>
                    <a:pt x="389091" y="518126"/>
                    <a:pt x="386109" y="515114"/>
                  </a:cubicBezTo>
                  <a:cubicBezTo>
                    <a:pt x="383191" y="512111"/>
                    <a:pt x="378389" y="512044"/>
                    <a:pt x="375386" y="514964"/>
                  </a:cubicBezTo>
                  <a:cubicBezTo>
                    <a:pt x="375336" y="515012"/>
                    <a:pt x="375286" y="515062"/>
                    <a:pt x="375236" y="515114"/>
                  </a:cubicBezTo>
                  <a:cubicBezTo>
                    <a:pt x="372254" y="518126"/>
                    <a:pt x="372254" y="522976"/>
                    <a:pt x="375236" y="525988"/>
                  </a:cubicBezTo>
                  <a:moveTo>
                    <a:pt x="338179" y="558752"/>
                  </a:moveTo>
                  <a:cubicBezTo>
                    <a:pt x="340961" y="561479"/>
                    <a:pt x="345413" y="561479"/>
                    <a:pt x="348195" y="558752"/>
                  </a:cubicBezTo>
                  <a:cubicBezTo>
                    <a:pt x="351153" y="556254"/>
                    <a:pt x="351525" y="551830"/>
                    <a:pt x="349027" y="548873"/>
                  </a:cubicBezTo>
                  <a:cubicBezTo>
                    <a:pt x="348989" y="548827"/>
                    <a:pt x="348950" y="548781"/>
                    <a:pt x="348910" y="548737"/>
                  </a:cubicBezTo>
                  <a:cubicBezTo>
                    <a:pt x="346129" y="546010"/>
                    <a:pt x="341676" y="546010"/>
                    <a:pt x="338895" y="548737"/>
                  </a:cubicBezTo>
                  <a:cubicBezTo>
                    <a:pt x="336129" y="551446"/>
                    <a:pt x="336083" y="555885"/>
                    <a:pt x="338793" y="558650"/>
                  </a:cubicBezTo>
                  <a:cubicBezTo>
                    <a:pt x="338827" y="558685"/>
                    <a:pt x="338860" y="558719"/>
                    <a:pt x="338895" y="558752"/>
                  </a:cubicBezTo>
                  <a:moveTo>
                    <a:pt x="301981" y="591516"/>
                  </a:moveTo>
                  <a:cubicBezTo>
                    <a:pt x="304534" y="593987"/>
                    <a:pt x="308586" y="593987"/>
                    <a:pt x="311138" y="591516"/>
                  </a:cubicBezTo>
                  <a:cubicBezTo>
                    <a:pt x="313825" y="589145"/>
                    <a:pt x="314081" y="585046"/>
                    <a:pt x="311710" y="582359"/>
                  </a:cubicBezTo>
                  <a:cubicBezTo>
                    <a:pt x="309340" y="579672"/>
                    <a:pt x="305241" y="579416"/>
                    <a:pt x="302554" y="581787"/>
                  </a:cubicBezTo>
                  <a:cubicBezTo>
                    <a:pt x="300083" y="584339"/>
                    <a:pt x="300083" y="588391"/>
                    <a:pt x="302554" y="590944"/>
                  </a:cubicBezTo>
                  <a:moveTo>
                    <a:pt x="264353" y="624709"/>
                  </a:moveTo>
                  <a:cubicBezTo>
                    <a:pt x="266645" y="627000"/>
                    <a:pt x="270359" y="626999"/>
                    <a:pt x="272648" y="624706"/>
                  </a:cubicBezTo>
                  <a:cubicBezTo>
                    <a:pt x="274939" y="622416"/>
                    <a:pt x="274937" y="618702"/>
                    <a:pt x="272647" y="616411"/>
                  </a:cubicBezTo>
                  <a:cubicBezTo>
                    <a:pt x="270356" y="614122"/>
                    <a:pt x="266643" y="614122"/>
                    <a:pt x="264353" y="616411"/>
                  </a:cubicBezTo>
                  <a:cubicBezTo>
                    <a:pt x="262061" y="618702"/>
                    <a:pt x="262061" y="622416"/>
                    <a:pt x="264350" y="624706"/>
                  </a:cubicBezTo>
                  <a:cubicBezTo>
                    <a:pt x="264351" y="624708"/>
                    <a:pt x="264351" y="624708"/>
                    <a:pt x="264353" y="624709"/>
                  </a:cubicBezTo>
                  <a:moveTo>
                    <a:pt x="227439" y="657044"/>
                  </a:moveTo>
                  <a:cubicBezTo>
                    <a:pt x="229578" y="659026"/>
                    <a:pt x="232883" y="659026"/>
                    <a:pt x="235022" y="657044"/>
                  </a:cubicBezTo>
                  <a:cubicBezTo>
                    <a:pt x="236985" y="654952"/>
                    <a:pt x="236985" y="651696"/>
                    <a:pt x="235022" y="649604"/>
                  </a:cubicBezTo>
                  <a:cubicBezTo>
                    <a:pt x="233087" y="647392"/>
                    <a:pt x="229723" y="647168"/>
                    <a:pt x="227511" y="649104"/>
                  </a:cubicBezTo>
                  <a:cubicBezTo>
                    <a:pt x="225299" y="651039"/>
                    <a:pt x="225074" y="654403"/>
                    <a:pt x="227010" y="656615"/>
                  </a:cubicBezTo>
                  <a:moveTo>
                    <a:pt x="190097" y="689379"/>
                  </a:moveTo>
                  <a:cubicBezTo>
                    <a:pt x="191930" y="691160"/>
                    <a:pt x="194846" y="691160"/>
                    <a:pt x="196678" y="689379"/>
                  </a:cubicBezTo>
                  <a:cubicBezTo>
                    <a:pt x="198495" y="687621"/>
                    <a:pt x="198544" y="684722"/>
                    <a:pt x="196786" y="682905"/>
                  </a:cubicBezTo>
                  <a:cubicBezTo>
                    <a:pt x="196751" y="682869"/>
                    <a:pt x="196714" y="682833"/>
                    <a:pt x="196678" y="682798"/>
                  </a:cubicBezTo>
                  <a:cubicBezTo>
                    <a:pt x="194846" y="681016"/>
                    <a:pt x="191930" y="681016"/>
                    <a:pt x="190097" y="682798"/>
                  </a:cubicBezTo>
                  <a:cubicBezTo>
                    <a:pt x="188280" y="684556"/>
                    <a:pt x="188231" y="687455"/>
                    <a:pt x="189990" y="689272"/>
                  </a:cubicBezTo>
                  <a:cubicBezTo>
                    <a:pt x="190024" y="689308"/>
                    <a:pt x="190061" y="689343"/>
                    <a:pt x="190097" y="689379"/>
                  </a:cubicBezTo>
                  <a:moveTo>
                    <a:pt x="153184" y="722143"/>
                  </a:moveTo>
                  <a:cubicBezTo>
                    <a:pt x="154786" y="723670"/>
                    <a:pt x="157304" y="723670"/>
                    <a:pt x="158907" y="722143"/>
                  </a:cubicBezTo>
                  <a:cubicBezTo>
                    <a:pt x="160488" y="720710"/>
                    <a:pt x="160606" y="718267"/>
                    <a:pt x="159173" y="716686"/>
                  </a:cubicBezTo>
                  <a:cubicBezTo>
                    <a:pt x="159088" y="716593"/>
                    <a:pt x="159000" y="716505"/>
                    <a:pt x="158907" y="716420"/>
                  </a:cubicBezTo>
                  <a:cubicBezTo>
                    <a:pt x="157359" y="714839"/>
                    <a:pt x="154822" y="714814"/>
                    <a:pt x="153241" y="716363"/>
                  </a:cubicBezTo>
                  <a:cubicBezTo>
                    <a:pt x="153222" y="716382"/>
                    <a:pt x="153202" y="716400"/>
                    <a:pt x="153184" y="716420"/>
                  </a:cubicBezTo>
                  <a:cubicBezTo>
                    <a:pt x="151564" y="718040"/>
                    <a:pt x="151564" y="720667"/>
                    <a:pt x="153184" y="722286"/>
                  </a:cubicBezTo>
                  <a:moveTo>
                    <a:pt x="116127" y="755050"/>
                  </a:moveTo>
                  <a:cubicBezTo>
                    <a:pt x="117509" y="756461"/>
                    <a:pt x="119774" y="756484"/>
                    <a:pt x="121185" y="755101"/>
                  </a:cubicBezTo>
                  <a:cubicBezTo>
                    <a:pt x="122596" y="753718"/>
                    <a:pt x="122619" y="751454"/>
                    <a:pt x="121236" y="750043"/>
                  </a:cubicBezTo>
                  <a:cubicBezTo>
                    <a:pt x="119853" y="748632"/>
                    <a:pt x="117588" y="748609"/>
                    <a:pt x="116177" y="749993"/>
                  </a:cubicBezTo>
                  <a:cubicBezTo>
                    <a:pt x="116160" y="750008"/>
                    <a:pt x="116144" y="750026"/>
                    <a:pt x="116127" y="750043"/>
                  </a:cubicBezTo>
                  <a:cubicBezTo>
                    <a:pt x="114764" y="751434"/>
                    <a:pt x="114764" y="753660"/>
                    <a:pt x="116127" y="755050"/>
                  </a:cubicBezTo>
                  <a:moveTo>
                    <a:pt x="79214" y="787672"/>
                  </a:moveTo>
                  <a:cubicBezTo>
                    <a:pt x="80228" y="788777"/>
                    <a:pt x="81948" y="788852"/>
                    <a:pt x="83055" y="787838"/>
                  </a:cubicBezTo>
                  <a:cubicBezTo>
                    <a:pt x="83113" y="787785"/>
                    <a:pt x="83167" y="787729"/>
                    <a:pt x="83220" y="787672"/>
                  </a:cubicBezTo>
                  <a:cubicBezTo>
                    <a:pt x="84326" y="786657"/>
                    <a:pt x="84400" y="784937"/>
                    <a:pt x="83385" y="783830"/>
                  </a:cubicBezTo>
                  <a:cubicBezTo>
                    <a:pt x="83333" y="783773"/>
                    <a:pt x="83277" y="783718"/>
                    <a:pt x="83220" y="783665"/>
                  </a:cubicBezTo>
                  <a:cubicBezTo>
                    <a:pt x="82107" y="782575"/>
                    <a:pt x="80327" y="782575"/>
                    <a:pt x="79214" y="783665"/>
                  </a:cubicBezTo>
                  <a:cubicBezTo>
                    <a:pt x="78108" y="784680"/>
                    <a:pt x="78034" y="786400"/>
                    <a:pt x="79049" y="787506"/>
                  </a:cubicBezTo>
                  <a:cubicBezTo>
                    <a:pt x="79101" y="787564"/>
                    <a:pt x="79157" y="787619"/>
                    <a:pt x="79214" y="787672"/>
                  </a:cubicBezTo>
                  <a:moveTo>
                    <a:pt x="479823" y="391354"/>
                  </a:moveTo>
                  <a:cubicBezTo>
                    <a:pt x="476584" y="387640"/>
                    <a:pt x="470947" y="387257"/>
                    <a:pt x="467233" y="390496"/>
                  </a:cubicBezTo>
                  <a:cubicBezTo>
                    <a:pt x="463519" y="393735"/>
                    <a:pt x="463135" y="399372"/>
                    <a:pt x="466374" y="403086"/>
                  </a:cubicBezTo>
                  <a:cubicBezTo>
                    <a:pt x="469614" y="406801"/>
                    <a:pt x="475251" y="407184"/>
                    <a:pt x="478965" y="403945"/>
                  </a:cubicBezTo>
                  <a:cubicBezTo>
                    <a:pt x="482679" y="400706"/>
                    <a:pt x="483063" y="395069"/>
                    <a:pt x="479823" y="391354"/>
                  </a:cubicBezTo>
                  <a:moveTo>
                    <a:pt x="516737" y="358590"/>
                  </a:moveTo>
                  <a:cubicBezTo>
                    <a:pt x="513738" y="355123"/>
                    <a:pt x="508497" y="354746"/>
                    <a:pt x="505032" y="357743"/>
                  </a:cubicBezTo>
                  <a:cubicBezTo>
                    <a:pt x="501565" y="360742"/>
                    <a:pt x="501186" y="365983"/>
                    <a:pt x="504185" y="369448"/>
                  </a:cubicBezTo>
                  <a:cubicBezTo>
                    <a:pt x="507184" y="372915"/>
                    <a:pt x="512424" y="373294"/>
                    <a:pt x="515890" y="370295"/>
                  </a:cubicBezTo>
                  <a:cubicBezTo>
                    <a:pt x="515934" y="370257"/>
                    <a:pt x="515978" y="370218"/>
                    <a:pt x="516021" y="370179"/>
                  </a:cubicBezTo>
                  <a:cubicBezTo>
                    <a:pt x="519416" y="367219"/>
                    <a:pt x="519770" y="362068"/>
                    <a:pt x="516810" y="358673"/>
                  </a:cubicBezTo>
                  <a:cubicBezTo>
                    <a:pt x="516785" y="358646"/>
                    <a:pt x="516761" y="358617"/>
                    <a:pt x="516737" y="358590"/>
                  </a:cubicBezTo>
                  <a:moveTo>
                    <a:pt x="553650" y="325826"/>
                  </a:moveTo>
                  <a:cubicBezTo>
                    <a:pt x="550844" y="322666"/>
                    <a:pt x="546008" y="322377"/>
                    <a:pt x="542848" y="325182"/>
                  </a:cubicBezTo>
                  <a:cubicBezTo>
                    <a:pt x="539687" y="327988"/>
                    <a:pt x="539398" y="332824"/>
                    <a:pt x="542204" y="335984"/>
                  </a:cubicBezTo>
                  <a:cubicBezTo>
                    <a:pt x="545246" y="338892"/>
                    <a:pt x="550036" y="338892"/>
                    <a:pt x="553078" y="335984"/>
                  </a:cubicBezTo>
                  <a:cubicBezTo>
                    <a:pt x="556059" y="332973"/>
                    <a:pt x="556059" y="328122"/>
                    <a:pt x="553078" y="325111"/>
                  </a:cubicBezTo>
                  <a:moveTo>
                    <a:pt x="590134" y="292347"/>
                  </a:moveTo>
                  <a:cubicBezTo>
                    <a:pt x="587539" y="289581"/>
                    <a:pt x="583192" y="289444"/>
                    <a:pt x="580426" y="292039"/>
                  </a:cubicBezTo>
                  <a:cubicBezTo>
                    <a:pt x="580321" y="292138"/>
                    <a:pt x="580218" y="292241"/>
                    <a:pt x="580119" y="292347"/>
                  </a:cubicBezTo>
                  <a:cubicBezTo>
                    <a:pt x="577160" y="294845"/>
                    <a:pt x="576788" y="299269"/>
                    <a:pt x="579286" y="302226"/>
                  </a:cubicBezTo>
                  <a:cubicBezTo>
                    <a:pt x="579325" y="302272"/>
                    <a:pt x="579363" y="302317"/>
                    <a:pt x="579403" y="302362"/>
                  </a:cubicBezTo>
                  <a:cubicBezTo>
                    <a:pt x="582185" y="305089"/>
                    <a:pt x="586637" y="305089"/>
                    <a:pt x="589419" y="302362"/>
                  </a:cubicBezTo>
                  <a:cubicBezTo>
                    <a:pt x="592184" y="299652"/>
                    <a:pt x="592230" y="295214"/>
                    <a:pt x="589520" y="292448"/>
                  </a:cubicBezTo>
                  <a:cubicBezTo>
                    <a:pt x="589486" y="292414"/>
                    <a:pt x="589453" y="292379"/>
                    <a:pt x="589419" y="292347"/>
                  </a:cubicBezTo>
                  <a:moveTo>
                    <a:pt x="628049" y="260584"/>
                  </a:moveTo>
                  <a:cubicBezTo>
                    <a:pt x="625549" y="258056"/>
                    <a:pt x="621472" y="258033"/>
                    <a:pt x="618944" y="260532"/>
                  </a:cubicBezTo>
                  <a:cubicBezTo>
                    <a:pt x="618926" y="260550"/>
                    <a:pt x="618909" y="260567"/>
                    <a:pt x="618892" y="260584"/>
                  </a:cubicBezTo>
                  <a:cubicBezTo>
                    <a:pt x="616205" y="262955"/>
                    <a:pt x="615949" y="267054"/>
                    <a:pt x="618320" y="269741"/>
                  </a:cubicBezTo>
                  <a:cubicBezTo>
                    <a:pt x="620691" y="272428"/>
                    <a:pt x="624790" y="272684"/>
                    <a:pt x="627477" y="270313"/>
                  </a:cubicBezTo>
                  <a:cubicBezTo>
                    <a:pt x="630005" y="267814"/>
                    <a:pt x="630028" y="263736"/>
                    <a:pt x="627528" y="261208"/>
                  </a:cubicBezTo>
                  <a:cubicBezTo>
                    <a:pt x="627511" y="261191"/>
                    <a:pt x="627494" y="261173"/>
                    <a:pt x="627477" y="261156"/>
                  </a:cubicBezTo>
                  <a:moveTo>
                    <a:pt x="664390" y="228392"/>
                  </a:moveTo>
                  <a:cubicBezTo>
                    <a:pt x="662098" y="226101"/>
                    <a:pt x="658384" y="226103"/>
                    <a:pt x="656094" y="228395"/>
                  </a:cubicBezTo>
                  <a:cubicBezTo>
                    <a:pt x="653804" y="230686"/>
                    <a:pt x="653805" y="234400"/>
                    <a:pt x="656096" y="236690"/>
                  </a:cubicBezTo>
                  <a:cubicBezTo>
                    <a:pt x="658386" y="238980"/>
                    <a:pt x="662099" y="238980"/>
                    <a:pt x="664390" y="236690"/>
                  </a:cubicBezTo>
                  <a:cubicBezTo>
                    <a:pt x="666682" y="234400"/>
                    <a:pt x="666682" y="230686"/>
                    <a:pt x="664393" y="228395"/>
                  </a:cubicBezTo>
                  <a:cubicBezTo>
                    <a:pt x="664391" y="228394"/>
                    <a:pt x="664391" y="228394"/>
                    <a:pt x="664390" y="228392"/>
                  </a:cubicBezTo>
                  <a:moveTo>
                    <a:pt x="701303" y="195485"/>
                  </a:moveTo>
                  <a:cubicBezTo>
                    <a:pt x="699367" y="193273"/>
                    <a:pt x="696004" y="193048"/>
                    <a:pt x="693792" y="194984"/>
                  </a:cubicBezTo>
                  <a:cubicBezTo>
                    <a:pt x="691580" y="196920"/>
                    <a:pt x="691355" y="200284"/>
                    <a:pt x="693291" y="202496"/>
                  </a:cubicBezTo>
                  <a:cubicBezTo>
                    <a:pt x="695227" y="204708"/>
                    <a:pt x="698590" y="204932"/>
                    <a:pt x="700802" y="202996"/>
                  </a:cubicBezTo>
                  <a:cubicBezTo>
                    <a:pt x="703014" y="201061"/>
                    <a:pt x="703239" y="197697"/>
                    <a:pt x="701303" y="195485"/>
                  </a:cubicBezTo>
                  <a:moveTo>
                    <a:pt x="738216" y="162721"/>
                  </a:moveTo>
                  <a:cubicBezTo>
                    <a:pt x="736384" y="160940"/>
                    <a:pt x="733468" y="160940"/>
                    <a:pt x="731635" y="162721"/>
                  </a:cubicBezTo>
                  <a:cubicBezTo>
                    <a:pt x="729765" y="164538"/>
                    <a:pt x="729722" y="167527"/>
                    <a:pt x="731541" y="169397"/>
                  </a:cubicBezTo>
                  <a:cubicBezTo>
                    <a:pt x="733358" y="171267"/>
                    <a:pt x="736347" y="171310"/>
                    <a:pt x="738216" y="169493"/>
                  </a:cubicBezTo>
                  <a:cubicBezTo>
                    <a:pt x="740086" y="167675"/>
                    <a:pt x="740129" y="164685"/>
                    <a:pt x="738311" y="162815"/>
                  </a:cubicBezTo>
                  <a:cubicBezTo>
                    <a:pt x="738281" y="162784"/>
                    <a:pt x="738248" y="162752"/>
                    <a:pt x="738216" y="162721"/>
                  </a:cubicBezTo>
                  <a:moveTo>
                    <a:pt x="775130" y="129957"/>
                  </a:moveTo>
                  <a:cubicBezTo>
                    <a:pt x="773549" y="128409"/>
                    <a:pt x="771013" y="128434"/>
                    <a:pt x="769464" y="130014"/>
                  </a:cubicBezTo>
                  <a:cubicBezTo>
                    <a:pt x="767916" y="131595"/>
                    <a:pt x="767942" y="134132"/>
                    <a:pt x="769523" y="135680"/>
                  </a:cubicBezTo>
                  <a:cubicBezTo>
                    <a:pt x="771079" y="137206"/>
                    <a:pt x="773572" y="137206"/>
                    <a:pt x="775130" y="135680"/>
                  </a:cubicBezTo>
                  <a:cubicBezTo>
                    <a:pt x="776711" y="134246"/>
                    <a:pt x="776830" y="131804"/>
                    <a:pt x="775396" y="130223"/>
                  </a:cubicBezTo>
                  <a:cubicBezTo>
                    <a:pt x="775312" y="130130"/>
                    <a:pt x="775223" y="130041"/>
                    <a:pt x="775130" y="129957"/>
                  </a:cubicBezTo>
                  <a:moveTo>
                    <a:pt x="812186" y="97192"/>
                  </a:moveTo>
                  <a:cubicBezTo>
                    <a:pt x="810843" y="95853"/>
                    <a:pt x="808669" y="95858"/>
                    <a:pt x="807330" y="97201"/>
                  </a:cubicBezTo>
                  <a:cubicBezTo>
                    <a:pt x="805991" y="98545"/>
                    <a:pt x="805995" y="100718"/>
                    <a:pt x="807339" y="102057"/>
                  </a:cubicBezTo>
                  <a:cubicBezTo>
                    <a:pt x="808678" y="103392"/>
                    <a:pt x="810846" y="103392"/>
                    <a:pt x="812186" y="102057"/>
                  </a:cubicBezTo>
                  <a:cubicBezTo>
                    <a:pt x="813530" y="100718"/>
                    <a:pt x="813534" y="98545"/>
                    <a:pt x="812195" y="97201"/>
                  </a:cubicBezTo>
                  <a:cubicBezTo>
                    <a:pt x="812192" y="97198"/>
                    <a:pt x="812189" y="97195"/>
                    <a:pt x="812186" y="97192"/>
                  </a:cubicBezTo>
                  <a:moveTo>
                    <a:pt x="849099" y="64428"/>
                  </a:moveTo>
                  <a:cubicBezTo>
                    <a:pt x="848032" y="63244"/>
                    <a:pt x="846207" y="63146"/>
                    <a:pt x="845022" y="64214"/>
                  </a:cubicBezTo>
                  <a:cubicBezTo>
                    <a:pt x="843837" y="65281"/>
                    <a:pt x="843740" y="67107"/>
                    <a:pt x="844807" y="68291"/>
                  </a:cubicBezTo>
                  <a:cubicBezTo>
                    <a:pt x="845920" y="69382"/>
                    <a:pt x="847700" y="69382"/>
                    <a:pt x="848813" y="68291"/>
                  </a:cubicBezTo>
                  <a:cubicBezTo>
                    <a:pt x="849922" y="67131"/>
                    <a:pt x="849922" y="65303"/>
                    <a:pt x="848813" y="64142"/>
                  </a:cubicBezTo>
                  <a:moveTo>
                    <a:pt x="458648" y="368033"/>
                  </a:moveTo>
                  <a:cubicBezTo>
                    <a:pt x="455345" y="364410"/>
                    <a:pt x="449750" y="364091"/>
                    <a:pt x="446058" y="367318"/>
                  </a:cubicBezTo>
                  <a:cubicBezTo>
                    <a:pt x="442385" y="370561"/>
                    <a:pt x="442037" y="376167"/>
                    <a:pt x="445281" y="379838"/>
                  </a:cubicBezTo>
                  <a:cubicBezTo>
                    <a:pt x="445301" y="379863"/>
                    <a:pt x="445321" y="379885"/>
                    <a:pt x="445342" y="379908"/>
                  </a:cubicBezTo>
                  <a:cubicBezTo>
                    <a:pt x="448622" y="383583"/>
                    <a:pt x="454259" y="383903"/>
                    <a:pt x="457933" y="380624"/>
                  </a:cubicBezTo>
                  <a:cubicBezTo>
                    <a:pt x="461607" y="377344"/>
                    <a:pt x="461928" y="371707"/>
                    <a:pt x="458648" y="368033"/>
                  </a:cubicBezTo>
                  <a:moveTo>
                    <a:pt x="495562" y="335269"/>
                  </a:moveTo>
                  <a:cubicBezTo>
                    <a:pt x="492518" y="331842"/>
                    <a:pt x="487273" y="331530"/>
                    <a:pt x="483847" y="334574"/>
                  </a:cubicBezTo>
                  <a:cubicBezTo>
                    <a:pt x="480420" y="337615"/>
                    <a:pt x="480108" y="342861"/>
                    <a:pt x="483151" y="346289"/>
                  </a:cubicBezTo>
                  <a:cubicBezTo>
                    <a:pt x="486187" y="349708"/>
                    <a:pt x="491417" y="350027"/>
                    <a:pt x="494846" y="347001"/>
                  </a:cubicBezTo>
                  <a:cubicBezTo>
                    <a:pt x="498283" y="343969"/>
                    <a:pt x="498610" y="338726"/>
                    <a:pt x="495579" y="335289"/>
                  </a:cubicBezTo>
                  <a:cubicBezTo>
                    <a:pt x="495573" y="335282"/>
                    <a:pt x="495567" y="335276"/>
                    <a:pt x="495562" y="335269"/>
                  </a:cubicBezTo>
                  <a:moveTo>
                    <a:pt x="532618" y="302505"/>
                  </a:moveTo>
                  <a:cubicBezTo>
                    <a:pt x="529606" y="299523"/>
                    <a:pt x="524756" y="299523"/>
                    <a:pt x="521744" y="302505"/>
                  </a:cubicBezTo>
                  <a:cubicBezTo>
                    <a:pt x="518741" y="305424"/>
                    <a:pt x="518674" y="310225"/>
                    <a:pt x="521594" y="313228"/>
                  </a:cubicBezTo>
                  <a:cubicBezTo>
                    <a:pt x="521643" y="313278"/>
                    <a:pt x="521693" y="313328"/>
                    <a:pt x="521744" y="313379"/>
                  </a:cubicBezTo>
                  <a:cubicBezTo>
                    <a:pt x="524756" y="316360"/>
                    <a:pt x="529606" y="316360"/>
                    <a:pt x="532618" y="313379"/>
                  </a:cubicBezTo>
                  <a:cubicBezTo>
                    <a:pt x="535525" y="310337"/>
                    <a:pt x="535525" y="305547"/>
                    <a:pt x="532618" y="302505"/>
                  </a:cubicBezTo>
                  <a:moveTo>
                    <a:pt x="569531" y="269741"/>
                  </a:moveTo>
                  <a:cubicBezTo>
                    <a:pt x="566750" y="267014"/>
                    <a:pt x="562297" y="267014"/>
                    <a:pt x="559516" y="269741"/>
                  </a:cubicBezTo>
                  <a:cubicBezTo>
                    <a:pt x="556934" y="272731"/>
                    <a:pt x="557263" y="277248"/>
                    <a:pt x="560253" y="279830"/>
                  </a:cubicBezTo>
                  <a:cubicBezTo>
                    <a:pt x="562707" y="281951"/>
                    <a:pt x="566279" y="282155"/>
                    <a:pt x="568959" y="280328"/>
                  </a:cubicBezTo>
                  <a:cubicBezTo>
                    <a:pt x="571686" y="277547"/>
                    <a:pt x="571686" y="273094"/>
                    <a:pt x="568959" y="270313"/>
                  </a:cubicBezTo>
                  <a:moveTo>
                    <a:pt x="605872" y="237549"/>
                  </a:moveTo>
                  <a:cubicBezTo>
                    <a:pt x="603320" y="235078"/>
                    <a:pt x="599268" y="235078"/>
                    <a:pt x="596716" y="237549"/>
                  </a:cubicBezTo>
                  <a:cubicBezTo>
                    <a:pt x="594316" y="240130"/>
                    <a:pt x="594316" y="244125"/>
                    <a:pt x="596716" y="246706"/>
                  </a:cubicBezTo>
                  <a:cubicBezTo>
                    <a:pt x="599268" y="249177"/>
                    <a:pt x="603320" y="249177"/>
                    <a:pt x="605872" y="246706"/>
                  </a:cubicBezTo>
                  <a:cubicBezTo>
                    <a:pt x="608400" y="244206"/>
                    <a:pt x="608423" y="240129"/>
                    <a:pt x="605924" y="237600"/>
                  </a:cubicBezTo>
                  <a:cubicBezTo>
                    <a:pt x="605907" y="237583"/>
                    <a:pt x="605889" y="237566"/>
                    <a:pt x="605872" y="237549"/>
                  </a:cubicBezTo>
                  <a:moveTo>
                    <a:pt x="642929" y="204928"/>
                  </a:moveTo>
                  <a:cubicBezTo>
                    <a:pt x="640637" y="202637"/>
                    <a:pt x="636922" y="202639"/>
                    <a:pt x="634633" y="204931"/>
                  </a:cubicBezTo>
                  <a:cubicBezTo>
                    <a:pt x="632343" y="207221"/>
                    <a:pt x="632344" y="210936"/>
                    <a:pt x="634635" y="213226"/>
                  </a:cubicBezTo>
                  <a:cubicBezTo>
                    <a:pt x="636925" y="215515"/>
                    <a:pt x="640638" y="215515"/>
                    <a:pt x="642929" y="213226"/>
                  </a:cubicBezTo>
                  <a:cubicBezTo>
                    <a:pt x="645221" y="210936"/>
                    <a:pt x="645221" y="207221"/>
                    <a:pt x="642932" y="204931"/>
                  </a:cubicBezTo>
                  <a:cubicBezTo>
                    <a:pt x="642930" y="204929"/>
                    <a:pt x="642930" y="204929"/>
                    <a:pt x="642929" y="204928"/>
                  </a:cubicBezTo>
                  <a:moveTo>
                    <a:pt x="679842" y="172164"/>
                  </a:moveTo>
                  <a:cubicBezTo>
                    <a:pt x="677780" y="170128"/>
                    <a:pt x="674464" y="170128"/>
                    <a:pt x="672402" y="172164"/>
                  </a:cubicBezTo>
                  <a:cubicBezTo>
                    <a:pt x="670190" y="174100"/>
                    <a:pt x="669965" y="177463"/>
                    <a:pt x="671901" y="179675"/>
                  </a:cubicBezTo>
                  <a:cubicBezTo>
                    <a:pt x="673837" y="181887"/>
                    <a:pt x="677201" y="182112"/>
                    <a:pt x="679413" y="180176"/>
                  </a:cubicBezTo>
                  <a:cubicBezTo>
                    <a:pt x="681449" y="178114"/>
                    <a:pt x="681449" y="174798"/>
                    <a:pt x="679413" y="172736"/>
                  </a:cubicBezTo>
                  <a:moveTo>
                    <a:pt x="717328" y="138255"/>
                  </a:moveTo>
                  <a:cubicBezTo>
                    <a:pt x="715569" y="136438"/>
                    <a:pt x="712670" y="136389"/>
                    <a:pt x="710853" y="138148"/>
                  </a:cubicBezTo>
                  <a:cubicBezTo>
                    <a:pt x="710818" y="138182"/>
                    <a:pt x="710782" y="138219"/>
                    <a:pt x="710746" y="138255"/>
                  </a:cubicBezTo>
                  <a:cubicBezTo>
                    <a:pt x="708965" y="140088"/>
                    <a:pt x="708965" y="143004"/>
                    <a:pt x="710746" y="144836"/>
                  </a:cubicBezTo>
                  <a:cubicBezTo>
                    <a:pt x="712626" y="146635"/>
                    <a:pt x="715591" y="146635"/>
                    <a:pt x="717471" y="144836"/>
                  </a:cubicBezTo>
                  <a:cubicBezTo>
                    <a:pt x="719252" y="143004"/>
                    <a:pt x="719252" y="140088"/>
                    <a:pt x="717471" y="138255"/>
                  </a:cubicBezTo>
                  <a:moveTo>
                    <a:pt x="754527" y="105491"/>
                  </a:moveTo>
                  <a:cubicBezTo>
                    <a:pt x="752877" y="103946"/>
                    <a:pt x="750311" y="103946"/>
                    <a:pt x="748661" y="105491"/>
                  </a:cubicBezTo>
                  <a:cubicBezTo>
                    <a:pt x="747134" y="107093"/>
                    <a:pt x="747134" y="109611"/>
                    <a:pt x="748661" y="111214"/>
                  </a:cubicBezTo>
                  <a:cubicBezTo>
                    <a:pt x="750123" y="112912"/>
                    <a:pt x="752686" y="113105"/>
                    <a:pt x="754384" y="111643"/>
                  </a:cubicBezTo>
                  <a:cubicBezTo>
                    <a:pt x="756082" y="110181"/>
                    <a:pt x="756275" y="107618"/>
                    <a:pt x="754813" y="105920"/>
                  </a:cubicBezTo>
                  <a:moveTo>
                    <a:pt x="791726" y="73156"/>
                  </a:moveTo>
                  <a:cubicBezTo>
                    <a:pt x="790383" y="71817"/>
                    <a:pt x="788210" y="71821"/>
                    <a:pt x="786871" y="73165"/>
                  </a:cubicBezTo>
                  <a:cubicBezTo>
                    <a:pt x="785531" y="74508"/>
                    <a:pt x="785536" y="76681"/>
                    <a:pt x="786879" y="78021"/>
                  </a:cubicBezTo>
                  <a:cubicBezTo>
                    <a:pt x="788218" y="79355"/>
                    <a:pt x="790386" y="79355"/>
                    <a:pt x="791726" y="78021"/>
                  </a:cubicBezTo>
                  <a:cubicBezTo>
                    <a:pt x="793070" y="76681"/>
                    <a:pt x="793074" y="74508"/>
                    <a:pt x="791735" y="73165"/>
                  </a:cubicBezTo>
                  <a:cubicBezTo>
                    <a:pt x="791732" y="73162"/>
                    <a:pt x="791729" y="73159"/>
                    <a:pt x="791726" y="73156"/>
                  </a:cubicBezTo>
                  <a:moveTo>
                    <a:pt x="828354" y="40535"/>
                  </a:moveTo>
                  <a:cubicBezTo>
                    <a:pt x="827180" y="39476"/>
                    <a:pt x="825370" y="39569"/>
                    <a:pt x="824312" y="40744"/>
                  </a:cubicBezTo>
                  <a:cubicBezTo>
                    <a:pt x="823433" y="41718"/>
                    <a:pt x="823330" y="43165"/>
                    <a:pt x="824061" y="44255"/>
                  </a:cubicBezTo>
                  <a:cubicBezTo>
                    <a:pt x="825222" y="45364"/>
                    <a:pt x="827050" y="45364"/>
                    <a:pt x="828210" y="44255"/>
                  </a:cubicBezTo>
                  <a:cubicBezTo>
                    <a:pt x="829316" y="43240"/>
                    <a:pt x="829391" y="41521"/>
                    <a:pt x="828375" y="40413"/>
                  </a:cubicBezTo>
                  <a:cubicBezTo>
                    <a:pt x="828324" y="40356"/>
                    <a:pt x="828268" y="40302"/>
                    <a:pt x="828210" y="40249"/>
                  </a:cubicBezTo>
                  <a:moveTo>
                    <a:pt x="437759" y="344569"/>
                  </a:moveTo>
                  <a:cubicBezTo>
                    <a:pt x="434469" y="340939"/>
                    <a:pt x="428859" y="340666"/>
                    <a:pt x="425229" y="343957"/>
                  </a:cubicBezTo>
                  <a:cubicBezTo>
                    <a:pt x="421672" y="347183"/>
                    <a:pt x="421327" y="352654"/>
                    <a:pt x="424453" y="356301"/>
                  </a:cubicBezTo>
                  <a:cubicBezTo>
                    <a:pt x="427717" y="359968"/>
                    <a:pt x="433314" y="360349"/>
                    <a:pt x="437044" y="357159"/>
                  </a:cubicBezTo>
                  <a:cubicBezTo>
                    <a:pt x="440717" y="353916"/>
                    <a:pt x="441064" y="348310"/>
                    <a:pt x="437821" y="344639"/>
                  </a:cubicBezTo>
                  <a:cubicBezTo>
                    <a:pt x="437801" y="344615"/>
                    <a:pt x="437781" y="344592"/>
                    <a:pt x="437759" y="344569"/>
                  </a:cubicBezTo>
                  <a:moveTo>
                    <a:pt x="474816" y="311805"/>
                  </a:moveTo>
                  <a:cubicBezTo>
                    <a:pt x="471577" y="308563"/>
                    <a:pt x="466321" y="308561"/>
                    <a:pt x="463081" y="311802"/>
                  </a:cubicBezTo>
                  <a:cubicBezTo>
                    <a:pt x="459839" y="315041"/>
                    <a:pt x="459837" y="320295"/>
                    <a:pt x="463076" y="323537"/>
                  </a:cubicBezTo>
                  <a:cubicBezTo>
                    <a:pt x="466316" y="326779"/>
                    <a:pt x="471571" y="326780"/>
                    <a:pt x="474813" y="323540"/>
                  </a:cubicBezTo>
                  <a:cubicBezTo>
                    <a:pt x="474813" y="323540"/>
                    <a:pt x="474814" y="323538"/>
                    <a:pt x="474816" y="323537"/>
                  </a:cubicBezTo>
                  <a:cubicBezTo>
                    <a:pt x="478054" y="320296"/>
                    <a:pt x="478054" y="315045"/>
                    <a:pt x="474816" y="311805"/>
                  </a:cubicBezTo>
                  <a:moveTo>
                    <a:pt x="511729" y="279041"/>
                  </a:moveTo>
                  <a:cubicBezTo>
                    <a:pt x="508726" y="276009"/>
                    <a:pt x="503834" y="275986"/>
                    <a:pt x="500802" y="278988"/>
                  </a:cubicBezTo>
                  <a:cubicBezTo>
                    <a:pt x="497771" y="281991"/>
                    <a:pt x="497748" y="286883"/>
                    <a:pt x="500751" y="289914"/>
                  </a:cubicBezTo>
                  <a:cubicBezTo>
                    <a:pt x="503753" y="292946"/>
                    <a:pt x="508644" y="292969"/>
                    <a:pt x="511676" y="289967"/>
                  </a:cubicBezTo>
                  <a:cubicBezTo>
                    <a:pt x="511695" y="289950"/>
                    <a:pt x="511712" y="289931"/>
                    <a:pt x="511729" y="289914"/>
                  </a:cubicBezTo>
                  <a:cubicBezTo>
                    <a:pt x="514732" y="286996"/>
                    <a:pt x="514799" y="282194"/>
                    <a:pt x="511879" y="279191"/>
                  </a:cubicBezTo>
                  <a:cubicBezTo>
                    <a:pt x="511831" y="279141"/>
                    <a:pt x="511781" y="279091"/>
                    <a:pt x="511729" y="279041"/>
                  </a:cubicBezTo>
                  <a:moveTo>
                    <a:pt x="548642" y="246276"/>
                  </a:moveTo>
                  <a:cubicBezTo>
                    <a:pt x="545877" y="243455"/>
                    <a:pt x="541347" y="243409"/>
                    <a:pt x="538526" y="246175"/>
                  </a:cubicBezTo>
                  <a:cubicBezTo>
                    <a:pt x="535704" y="248940"/>
                    <a:pt x="535660" y="253470"/>
                    <a:pt x="538425" y="256292"/>
                  </a:cubicBezTo>
                  <a:cubicBezTo>
                    <a:pt x="541191" y="259113"/>
                    <a:pt x="545719" y="259159"/>
                    <a:pt x="548541" y="256393"/>
                  </a:cubicBezTo>
                  <a:cubicBezTo>
                    <a:pt x="548575" y="256359"/>
                    <a:pt x="548609" y="256326"/>
                    <a:pt x="548642" y="256292"/>
                  </a:cubicBezTo>
                  <a:cubicBezTo>
                    <a:pt x="551369" y="253510"/>
                    <a:pt x="551369" y="249058"/>
                    <a:pt x="548642" y="246276"/>
                  </a:cubicBezTo>
                  <a:moveTo>
                    <a:pt x="585126" y="213512"/>
                  </a:moveTo>
                  <a:cubicBezTo>
                    <a:pt x="582574" y="211041"/>
                    <a:pt x="578522" y="211041"/>
                    <a:pt x="575970" y="213512"/>
                  </a:cubicBezTo>
                  <a:cubicBezTo>
                    <a:pt x="573283" y="215883"/>
                    <a:pt x="573027" y="219982"/>
                    <a:pt x="575397" y="222669"/>
                  </a:cubicBezTo>
                  <a:cubicBezTo>
                    <a:pt x="577768" y="225356"/>
                    <a:pt x="581867" y="225612"/>
                    <a:pt x="584554" y="223241"/>
                  </a:cubicBezTo>
                  <a:cubicBezTo>
                    <a:pt x="586954" y="220660"/>
                    <a:pt x="586954" y="216666"/>
                    <a:pt x="584554" y="214085"/>
                  </a:cubicBezTo>
                  <a:moveTo>
                    <a:pt x="622612" y="181177"/>
                  </a:moveTo>
                  <a:cubicBezTo>
                    <a:pt x="620320" y="178887"/>
                    <a:pt x="616606" y="178888"/>
                    <a:pt x="614317" y="181180"/>
                  </a:cubicBezTo>
                  <a:cubicBezTo>
                    <a:pt x="612026" y="183471"/>
                    <a:pt x="612027" y="187185"/>
                    <a:pt x="614318" y="189476"/>
                  </a:cubicBezTo>
                  <a:cubicBezTo>
                    <a:pt x="616609" y="191765"/>
                    <a:pt x="620321" y="191765"/>
                    <a:pt x="622612" y="189476"/>
                  </a:cubicBezTo>
                  <a:cubicBezTo>
                    <a:pt x="624904" y="187185"/>
                    <a:pt x="624904" y="183471"/>
                    <a:pt x="622615" y="181180"/>
                  </a:cubicBezTo>
                  <a:cubicBezTo>
                    <a:pt x="622613" y="181179"/>
                    <a:pt x="622613" y="181179"/>
                    <a:pt x="622612" y="181177"/>
                  </a:cubicBezTo>
                  <a:moveTo>
                    <a:pt x="659525" y="148413"/>
                  </a:moveTo>
                  <a:cubicBezTo>
                    <a:pt x="657464" y="146377"/>
                    <a:pt x="654147" y="146377"/>
                    <a:pt x="652085" y="148413"/>
                  </a:cubicBezTo>
                  <a:cubicBezTo>
                    <a:pt x="650122" y="150505"/>
                    <a:pt x="650122" y="153761"/>
                    <a:pt x="652085" y="155853"/>
                  </a:cubicBezTo>
                  <a:cubicBezTo>
                    <a:pt x="654230" y="157840"/>
                    <a:pt x="657580" y="157713"/>
                    <a:pt x="659567" y="155568"/>
                  </a:cubicBezTo>
                  <a:cubicBezTo>
                    <a:pt x="661289" y="153708"/>
                    <a:pt x="661453" y="150888"/>
                    <a:pt x="659955" y="148843"/>
                  </a:cubicBezTo>
                  <a:moveTo>
                    <a:pt x="697011" y="116078"/>
                  </a:moveTo>
                  <a:cubicBezTo>
                    <a:pt x="695401" y="114027"/>
                    <a:pt x="692433" y="113670"/>
                    <a:pt x="690382" y="115280"/>
                  </a:cubicBezTo>
                  <a:cubicBezTo>
                    <a:pt x="688331" y="116891"/>
                    <a:pt x="687973" y="119858"/>
                    <a:pt x="689584" y="121910"/>
                  </a:cubicBezTo>
                  <a:cubicBezTo>
                    <a:pt x="689713" y="122073"/>
                    <a:pt x="689851" y="122228"/>
                    <a:pt x="690000" y="122374"/>
                  </a:cubicBezTo>
                  <a:cubicBezTo>
                    <a:pt x="691867" y="124195"/>
                    <a:pt x="694856" y="124158"/>
                    <a:pt x="696678" y="122291"/>
                  </a:cubicBezTo>
                  <a:cubicBezTo>
                    <a:pt x="698330" y="120597"/>
                    <a:pt x="698473" y="117940"/>
                    <a:pt x="697011" y="116078"/>
                  </a:cubicBezTo>
                  <a:moveTo>
                    <a:pt x="733924" y="83314"/>
                  </a:moveTo>
                  <a:cubicBezTo>
                    <a:pt x="732173" y="81836"/>
                    <a:pt x="729556" y="82057"/>
                    <a:pt x="728077" y="83808"/>
                  </a:cubicBezTo>
                  <a:cubicBezTo>
                    <a:pt x="726895" y="85207"/>
                    <a:pt x="726771" y="87216"/>
                    <a:pt x="727772" y="88751"/>
                  </a:cubicBezTo>
                  <a:cubicBezTo>
                    <a:pt x="729392" y="90371"/>
                    <a:pt x="732018" y="90371"/>
                    <a:pt x="733638" y="88751"/>
                  </a:cubicBezTo>
                  <a:cubicBezTo>
                    <a:pt x="735165" y="87149"/>
                    <a:pt x="735165" y="84631"/>
                    <a:pt x="733638" y="83028"/>
                  </a:cubicBezTo>
                  <a:moveTo>
                    <a:pt x="771124" y="49692"/>
                  </a:moveTo>
                  <a:cubicBezTo>
                    <a:pt x="769784" y="48348"/>
                    <a:pt x="767611" y="48344"/>
                    <a:pt x="766268" y="49683"/>
                  </a:cubicBezTo>
                  <a:cubicBezTo>
                    <a:pt x="766265" y="49686"/>
                    <a:pt x="766262" y="49689"/>
                    <a:pt x="766259" y="49692"/>
                  </a:cubicBezTo>
                  <a:cubicBezTo>
                    <a:pt x="764920" y="51035"/>
                    <a:pt x="764924" y="53208"/>
                    <a:pt x="766268" y="54548"/>
                  </a:cubicBezTo>
                  <a:cubicBezTo>
                    <a:pt x="767611" y="55887"/>
                    <a:pt x="769784" y="55883"/>
                    <a:pt x="771124" y="54539"/>
                  </a:cubicBezTo>
                  <a:cubicBezTo>
                    <a:pt x="772459" y="53200"/>
                    <a:pt x="772459" y="51032"/>
                    <a:pt x="771124" y="49692"/>
                  </a:cubicBezTo>
                  <a:moveTo>
                    <a:pt x="808180" y="16928"/>
                  </a:moveTo>
                  <a:cubicBezTo>
                    <a:pt x="807020" y="15819"/>
                    <a:pt x="805191" y="15819"/>
                    <a:pt x="804031" y="16928"/>
                  </a:cubicBezTo>
                  <a:cubicBezTo>
                    <a:pt x="802925" y="17942"/>
                    <a:pt x="802850" y="19662"/>
                    <a:pt x="803865" y="20769"/>
                  </a:cubicBezTo>
                  <a:cubicBezTo>
                    <a:pt x="803918" y="20826"/>
                    <a:pt x="803974" y="20881"/>
                    <a:pt x="804031" y="20934"/>
                  </a:cubicBezTo>
                  <a:cubicBezTo>
                    <a:pt x="805144" y="22024"/>
                    <a:pt x="806924" y="22024"/>
                    <a:pt x="808037" y="20934"/>
                  </a:cubicBezTo>
                  <a:cubicBezTo>
                    <a:pt x="809077" y="19746"/>
                    <a:pt x="809077" y="17972"/>
                    <a:pt x="808037" y="16784"/>
                  </a:cubicBezTo>
                  <a:moveTo>
                    <a:pt x="542204" y="462176"/>
                  </a:moveTo>
                  <a:cubicBezTo>
                    <a:pt x="538753" y="458700"/>
                    <a:pt x="533136" y="458680"/>
                    <a:pt x="529659" y="462131"/>
                  </a:cubicBezTo>
                  <a:cubicBezTo>
                    <a:pt x="529643" y="462146"/>
                    <a:pt x="529629" y="462161"/>
                    <a:pt x="529613" y="462176"/>
                  </a:cubicBezTo>
                  <a:cubicBezTo>
                    <a:pt x="526177" y="465556"/>
                    <a:pt x="526130" y="471081"/>
                    <a:pt x="529508" y="474518"/>
                  </a:cubicBezTo>
                  <a:cubicBezTo>
                    <a:pt x="529543" y="474554"/>
                    <a:pt x="529578" y="474589"/>
                    <a:pt x="529613" y="474624"/>
                  </a:cubicBezTo>
                  <a:cubicBezTo>
                    <a:pt x="532827" y="478272"/>
                    <a:pt x="538378" y="478656"/>
                    <a:pt x="542061" y="475482"/>
                  </a:cubicBezTo>
                  <a:cubicBezTo>
                    <a:pt x="545728" y="472219"/>
                    <a:pt x="546109" y="466622"/>
                    <a:pt x="542919" y="462892"/>
                  </a:cubicBezTo>
                  <a:moveTo>
                    <a:pt x="579833" y="430128"/>
                  </a:moveTo>
                  <a:cubicBezTo>
                    <a:pt x="576593" y="426886"/>
                    <a:pt x="571338" y="426884"/>
                    <a:pt x="568098" y="430125"/>
                  </a:cubicBezTo>
                  <a:cubicBezTo>
                    <a:pt x="564856" y="433364"/>
                    <a:pt x="564854" y="438618"/>
                    <a:pt x="568093" y="441860"/>
                  </a:cubicBezTo>
                  <a:cubicBezTo>
                    <a:pt x="571333" y="445102"/>
                    <a:pt x="576588" y="445103"/>
                    <a:pt x="579830" y="441863"/>
                  </a:cubicBezTo>
                  <a:cubicBezTo>
                    <a:pt x="579830" y="441863"/>
                    <a:pt x="579831" y="441861"/>
                    <a:pt x="579833" y="441860"/>
                  </a:cubicBezTo>
                  <a:cubicBezTo>
                    <a:pt x="583070" y="438619"/>
                    <a:pt x="583070" y="433368"/>
                    <a:pt x="579833" y="430128"/>
                  </a:cubicBezTo>
                  <a:moveTo>
                    <a:pt x="616746" y="397363"/>
                  </a:moveTo>
                  <a:cubicBezTo>
                    <a:pt x="613743" y="394445"/>
                    <a:pt x="608943" y="394512"/>
                    <a:pt x="606022" y="397514"/>
                  </a:cubicBezTo>
                  <a:cubicBezTo>
                    <a:pt x="603104" y="400517"/>
                    <a:pt x="603171" y="405318"/>
                    <a:pt x="606174" y="408237"/>
                  </a:cubicBezTo>
                  <a:cubicBezTo>
                    <a:pt x="609117" y="411099"/>
                    <a:pt x="613803" y="411099"/>
                    <a:pt x="616746" y="408237"/>
                  </a:cubicBezTo>
                  <a:cubicBezTo>
                    <a:pt x="619728" y="405225"/>
                    <a:pt x="619728" y="400375"/>
                    <a:pt x="616746" y="397363"/>
                  </a:cubicBezTo>
                  <a:moveTo>
                    <a:pt x="653802" y="364599"/>
                  </a:moveTo>
                  <a:cubicBezTo>
                    <a:pt x="651021" y="361872"/>
                    <a:pt x="646568" y="361872"/>
                    <a:pt x="643787" y="364599"/>
                  </a:cubicBezTo>
                  <a:cubicBezTo>
                    <a:pt x="641021" y="367195"/>
                    <a:pt x="640884" y="371541"/>
                    <a:pt x="643479" y="374307"/>
                  </a:cubicBezTo>
                  <a:cubicBezTo>
                    <a:pt x="643578" y="374413"/>
                    <a:pt x="643681" y="374516"/>
                    <a:pt x="643787" y="374615"/>
                  </a:cubicBezTo>
                  <a:cubicBezTo>
                    <a:pt x="646012" y="377880"/>
                    <a:pt x="650463" y="378721"/>
                    <a:pt x="653728" y="376496"/>
                  </a:cubicBezTo>
                  <a:cubicBezTo>
                    <a:pt x="656991" y="374271"/>
                    <a:pt x="657834" y="369820"/>
                    <a:pt x="655609" y="366555"/>
                  </a:cubicBezTo>
                  <a:cubicBezTo>
                    <a:pt x="655259" y="366043"/>
                    <a:pt x="654844" y="365578"/>
                    <a:pt x="654375" y="365172"/>
                  </a:cubicBezTo>
                  <a:moveTo>
                    <a:pt x="691288" y="332407"/>
                  </a:moveTo>
                  <a:cubicBezTo>
                    <a:pt x="688917" y="329721"/>
                    <a:pt x="684818" y="329464"/>
                    <a:pt x="682131" y="331835"/>
                  </a:cubicBezTo>
                  <a:cubicBezTo>
                    <a:pt x="679444" y="334206"/>
                    <a:pt x="679188" y="338305"/>
                    <a:pt x="681559" y="340992"/>
                  </a:cubicBezTo>
                  <a:cubicBezTo>
                    <a:pt x="683930" y="343679"/>
                    <a:pt x="688029" y="343935"/>
                    <a:pt x="690716" y="341564"/>
                  </a:cubicBezTo>
                  <a:cubicBezTo>
                    <a:pt x="693403" y="339194"/>
                    <a:pt x="693659" y="335094"/>
                    <a:pt x="691288" y="332407"/>
                  </a:cubicBezTo>
                  <a:moveTo>
                    <a:pt x="728201" y="299643"/>
                  </a:moveTo>
                  <a:cubicBezTo>
                    <a:pt x="725909" y="297353"/>
                    <a:pt x="722195" y="297354"/>
                    <a:pt x="719906" y="299646"/>
                  </a:cubicBezTo>
                  <a:cubicBezTo>
                    <a:pt x="717615" y="301937"/>
                    <a:pt x="717617" y="305651"/>
                    <a:pt x="719907" y="307942"/>
                  </a:cubicBezTo>
                  <a:cubicBezTo>
                    <a:pt x="722198" y="310231"/>
                    <a:pt x="725911" y="310231"/>
                    <a:pt x="728201" y="307942"/>
                  </a:cubicBezTo>
                  <a:cubicBezTo>
                    <a:pt x="730493" y="305651"/>
                    <a:pt x="730493" y="301937"/>
                    <a:pt x="728204" y="299646"/>
                  </a:cubicBezTo>
                  <a:cubicBezTo>
                    <a:pt x="728203" y="299645"/>
                    <a:pt x="728203" y="299645"/>
                    <a:pt x="728201" y="299643"/>
                  </a:cubicBezTo>
                  <a:moveTo>
                    <a:pt x="765258" y="266879"/>
                  </a:moveTo>
                  <a:cubicBezTo>
                    <a:pt x="763166" y="264916"/>
                    <a:pt x="759910" y="264916"/>
                    <a:pt x="757818" y="266879"/>
                  </a:cubicBezTo>
                  <a:cubicBezTo>
                    <a:pt x="755763" y="268846"/>
                    <a:pt x="755693" y="272107"/>
                    <a:pt x="757660" y="274162"/>
                  </a:cubicBezTo>
                  <a:cubicBezTo>
                    <a:pt x="757712" y="274215"/>
                    <a:pt x="757765" y="274268"/>
                    <a:pt x="757818" y="274319"/>
                  </a:cubicBezTo>
                  <a:cubicBezTo>
                    <a:pt x="759879" y="276355"/>
                    <a:pt x="763196" y="276355"/>
                    <a:pt x="765258" y="274319"/>
                  </a:cubicBezTo>
                  <a:cubicBezTo>
                    <a:pt x="767294" y="272257"/>
                    <a:pt x="767294" y="268941"/>
                    <a:pt x="765258" y="266879"/>
                  </a:cubicBezTo>
                  <a:moveTo>
                    <a:pt x="802171" y="234115"/>
                  </a:moveTo>
                  <a:cubicBezTo>
                    <a:pt x="800338" y="232334"/>
                    <a:pt x="797422" y="232334"/>
                    <a:pt x="795589" y="234115"/>
                  </a:cubicBezTo>
                  <a:cubicBezTo>
                    <a:pt x="793772" y="235873"/>
                    <a:pt x="793724" y="238772"/>
                    <a:pt x="795482" y="240589"/>
                  </a:cubicBezTo>
                  <a:cubicBezTo>
                    <a:pt x="795517" y="240625"/>
                    <a:pt x="795554" y="240661"/>
                    <a:pt x="795589" y="240697"/>
                  </a:cubicBezTo>
                  <a:cubicBezTo>
                    <a:pt x="797422" y="242478"/>
                    <a:pt x="800338" y="242478"/>
                    <a:pt x="802171" y="240697"/>
                  </a:cubicBezTo>
                  <a:cubicBezTo>
                    <a:pt x="803988" y="238938"/>
                    <a:pt x="804037" y="236039"/>
                    <a:pt x="802278" y="234222"/>
                  </a:cubicBezTo>
                  <a:cubicBezTo>
                    <a:pt x="802242" y="234187"/>
                    <a:pt x="802207" y="234151"/>
                    <a:pt x="802171" y="234115"/>
                  </a:cubicBezTo>
                  <a:moveTo>
                    <a:pt x="839084" y="201351"/>
                  </a:moveTo>
                  <a:cubicBezTo>
                    <a:pt x="837536" y="199770"/>
                    <a:pt x="834999" y="199744"/>
                    <a:pt x="833418" y="201294"/>
                  </a:cubicBezTo>
                  <a:cubicBezTo>
                    <a:pt x="833400" y="201312"/>
                    <a:pt x="833380" y="201331"/>
                    <a:pt x="833361" y="201351"/>
                  </a:cubicBezTo>
                  <a:cubicBezTo>
                    <a:pt x="831780" y="202785"/>
                    <a:pt x="831662" y="205227"/>
                    <a:pt x="833095" y="206808"/>
                  </a:cubicBezTo>
                  <a:cubicBezTo>
                    <a:pt x="833180" y="206901"/>
                    <a:pt x="833268" y="206990"/>
                    <a:pt x="833361" y="207074"/>
                  </a:cubicBezTo>
                  <a:cubicBezTo>
                    <a:pt x="834909" y="208655"/>
                    <a:pt x="837446" y="208681"/>
                    <a:pt x="839027" y="207131"/>
                  </a:cubicBezTo>
                  <a:cubicBezTo>
                    <a:pt x="839046" y="207113"/>
                    <a:pt x="839066" y="207094"/>
                    <a:pt x="839084" y="207074"/>
                  </a:cubicBezTo>
                  <a:cubicBezTo>
                    <a:pt x="840704" y="205454"/>
                    <a:pt x="840704" y="202827"/>
                    <a:pt x="839084" y="201208"/>
                  </a:cubicBezTo>
                  <a:moveTo>
                    <a:pt x="874710" y="166870"/>
                  </a:moveTo>
                  <a:cubicBezTo>
                    <a:pt x="873371" y="165526"/>
                    <a:pt x="871197" y="165522"/>
                    <a:pt x="869854" y="166861"/>
                  </a:cubicBezTo>
                  <a:cubicBezTo>
                    <a:pt x="869851" y="166864"/>
                    <a:pt x="869848" y="166867"/>
                    <a:pt x="869845" y="166870"/>
                  </a:cubicBezTo>
                  <a:cubicBezTo>
                    <a:pt x="868482" y="168261"/>
                    <a:pt x="868482" y="170487"/>
                    <a:pt x="869845" y="171878"/>
                  </a:cubicBezTo>
                  <a:cubicBezTo>
                    <a:pt x="871184" y="173221"/>
                    <a:pt x="873358" y="173225"/>
                    <a:pt x="874701" y="171886"/>
                  </a:cubicBezTo>
                  <a:cubicBezTo>
                    <a:pt x="874704" y="171883"/>
                    <a:pt x="874707" y="171880"/>
                    <a:pt x="874710" y="171878"/>
                  </a:cubicBezTo>
                  <a:cubicBezTo>
                    <a:pt x="876073" y="170487"/>
                    <a:pt x="876073" y="168261"/>
                    <a:pt x="874710" y="166870"/>
                  </a:cubicBezTo>
                  <a:moveTo>
                    <a:pt x="911623" y="134106"/>
                  </a:moveTo>
                  <a:cubicBezTo>
                    <a:pt x="910609" y="133000"/>
                    <a:pt x="908889" y="132925"/>
                    <a:pt x="907782" y="133941"/>
                  </a:cubicBezTo>
                  <a:cubicBezTo>
                    <a:pt x="907724" y="133993"/>
                    <a:pt x="907670" y="134049"/>
                    <a:pt x="907617" y="134106"/>
                  </a:cubicBezTo>
                  <a:cubicBezTo>
                    <a:pt x="906305" y="134987"/>
                    <a:pt x="905956" y="136764"/>
                    <a:pt x="906836" y="138076"/>
                  </a:cubicBezTo>
                  <a:cubicBezTo>
                    <a:pt x="907717" y="139388"/>
                    <a:pt x="909496" y="139739"/>
                    <a:pt x="910808" y="138857"/>
                  </a:cubicBezTo>
                  <a:cubicBezTo>
                    <a:pt x="911002" y="138726"/>
                    <a:pt x="911180" y="138573"/>
                    <a:pt x="911337" y="138398"/>
                  </a:cubicBezTo>
                  <a:cubicBezTo>
                    <a:pt x="912483" y="137309"/>
                    <a:pt x="912529" y="135498"/>
                    <a:pt x="911440" y="134352"/>
                  </a:cubicBezTo>
                  <a:cubicBezTo>
                    <a:pt x="911407" y="134318"/>
                    <a:pt x="911373" y="134283"/>
                    <a:pt x="911337" y="134249"/>
                  </a:cubicBezTo>
                  <a:moveTo>
                    <a:pt x="521172" y="438712"/>
                  </a:moveTo>
                  <a:cubicBezTo>
                    <a:pt x="517893" y="435038"/>
                    <a:pt x="512256" y="434717"/>
                    <a:pt x="508581" y="437997"/>
                  </a:cubicBezTo>
                  <a:cubicBezTo>
                    <a:pt x="504907" y="441276"/>
                    <a:pt x="504587" y="446913"/>
                    <a:pt x="507866" y="450587"/>
                  </a:cubicBezTo>
                  <a:cubicBezTo>
                    <a:pt x="511317" y="454064"/>
                    <a:pt x="516934" y="454084"/>
                    <a:pt x="520411" y="450633"/>
                  </a:cubicBezTo>
                  <a:cubicBezTo>
                    <a:pt x="520427" y="450617"/>
                    <a:pt x="520441" y="450603"/>
                    <a:pt x="520457" y="450587"/>
                  </a:cubicBezTo>
                  <a:cubicBezTo>
                    <a:pt x="524079" y="447284"/>
                    <a:pt x="524398" y="441689"/>
                    <a:pt x="521172" y="437997"/>
                  </a:cubicBezTo>
                  <a:moveTo>
                    <a:pt x="558085" y="405376"/>
                  </a:moveTo>
                  <a:cubicBezTo>
                    <a:pt x="554885" y="402207"/>
                    <a:pt x="549721" y="402231"/>
                    <a:pt x="546552" y="405431"/>
                  </a:cubicBezTo>
                  <a:cubicBezTo>
                    <a:pt x="543383" y="408632"/>
                    <a:pt x="543407" y="413796"/>
                    <a:pt x="546608" y="416965"/>
                  </a:cubicBezTo>
                  <a:cubicBezTo>
                    <a:pt x="549787" y="420112"/>
                    <a:pt x="554908" y="420112"/>
                    <a:pt x="558085" y="416965"/>
                  </a:cubicBezTo>
                  <a:cubicBezTo>
                    <a:pt x="561286" y="413909"/>
                    <a:pt x="561402" y="408837"/>
                    <a:pt x="558347" y="405636"/>
                  </a:cubicBezTo>
                  <a:cubicBezTo>
                    <a:pt x="558261" y="405547"/>
                    <a:pt x="558174" y="405460"/>
                    <a:pt x="558085" y="405376"/>
                  </a:cubicBezTo>
                  <a:moveTo>
                    <a:pt x="595142" y="372612"/>
                  </a:moveTo>
                  <a:cubicBezTo>
                    <a:pt x="592433" y="369418"/>
                    <a:pt x="587647" y="369025"/>
                    <a:pt x="584454" y="371733"/>
                  </a:cubicBezTo>
                  <a:cubicBezTo>
                    <a:pt x="584391" y="371786"/>
                    <a:pt x="584330" y="371840"/>
                    <a:pt x="584268" y="371896"/>
                  </a:cubicBezTo>
                  <a:cubicBezTo>
                    <a:pt x="581361" y="374938"/>
                    <a:pt x="581361" y="379728"/>
                    <a:pt x="584268" y="382770"/>
                  </a:cubicBezTo>
                  <a:cubicBezTo>
                    <a:pt x="587307" y="385764"/>
                    <a:pt x="592199" y="385730"/>
                    <a:pt x="595195" y="382690"/>
                  </a:cubicBezTo>
                  <a:cubicBezTo>
                    <a:pt x="597884" y="379960"/>
                    <a:pt x="598166" y="375670"/>
                    <a:pt x="595857" y="372612"/>
                  </a:cubicBezTo>
                  <a:moveTo>
                    <a:pt x="632770" y="339847"/>
                  </a:moveTo>
                  <a:cubicBezTo>
                    <a:pt x="630272" y="336889"/>
                    <a:pt x="625848" y="336517"/>
                    <a:pt x="622891" y="339015"/>
                  </a:cubicBezTo>
                  <a:cubicBezTo>
                    <a:pt x="622845" y="339053"/>
                    <a:pt x="622799" y="339092"/>
                    <a:pt x="622755" y="339132"/>
                  </a:cubicBezTo>
                  <a:cubicBezTo>
                    <a:pt x="620028" y="341913"/>
                    <a:pt x="620028" y="346366"/>
                    <a:pt x="622755" y="349147"/>
                  </a:cubicBezTo>
                  <a:cubicBezTo>
                    <a:pt x="625465" y="351913"/>
                    <a:pt x="629903" y="351959"/>
                    <a:pt x="632669" y="349249"/>
                  </a:cubicBezTo>
                  <a:cubicBezTo>
                    <a:pt x="632703" y="349215"/>
                    <a:pt x="632737" y="349182"/>
                    <a:pt x="632770" y="349147"/>
                  </a:cubicBezTo>
                  <a:cubicBezTo>
                    <a:pt x="635497" y="346366"/>
                    <a:pt x="635497" y="341913"/>
                    <a:pt x="632770" y="339132"/>
                  </a:cubicBezTo>
                  <a:moveTo>
                    <a:pt x="669684" y="306368"/>
                  </a:moveTo>
                  <a:cubicBezTo>
                    <a:pt x="667184" y="303840"/>
                    <a:pt x="663106" y="303817"/>
                    <a:pt x="660578" y="306316"/>
                  </a:cubicBezTo>
                  <a:cubicBezTo>
                    <a:pt x="660561" y="306334"/>
                    <a:pt x="660544" y="306351"/>
                    <a:pt x="660527" y="306368"/>
                  </a:cubicBezTo>
                  <a:cubicBezTo>
                    <a:pt x="657916" y="308896"/>
                    <a:pt x="657849" y="313062"/>
                    <a:pt x="660377" y="315675"/>
                  </a:cubicBezTo>
                  <a:cubicBezTo>
                    <a:pt x="662906" y="318286"/>
                    <a:pt x="667073" y="318352"/>
                    <a:pt x="669684" y="315824"/>
                  </a:cubicBezTo>
                  <a:cubicBezTo>
                    <a:pt x="672295" y="313296"/>
                    <a:pt x="672362" y="309129"/>
                    <a:pt x="669834" y="306518"/>
                  </a:cubicBezTo>
                  <a:cubicBezTo>
                    <a:pt x="669784" y="306467"/>
                    <a:pt x="669734" y="306417"/>
                    <a:pt x="669684" y="306368"/>
                  </a:cubicBezTo>
                  <a:moveTo>
                    <a:pt x="706740" y="273604"/>
                  </a:moveTo>
                  <a:cubicBezTo>
                    <a:pt x="704448" y="271313"/>
                    <a:pt x="700734" y="271315"/>
                    <a:pt x="698445" y="273607"/>
                  </a:cubicBezTo>
                  <a:cubicBezTo>
                    <a:pt x="696154" y="275897"/>
                    <a:pt x="696155" y="279611"/>
                    <a:pt x="698446" y="281902"/>
                  </a:cubicBezTo>
                  <a:cubicBezTo>
                    <a:pt x="700737" y="284191"/>
                    <a:pt x="704449" y="284191"/>
                    <a:pt x="706740" y="281902"/>
                  </a:cubicBezTo>
                  <a:cubicBezTo>
                    <a:pt x="709032" y="279611"/>
                    <a:pt x="709032" y="275897"/>
                    <a:pt x="706743" y="273607"/>
                  </a:cubicBezTo>
                  <a:cubicBezTo>
                    <a:pt x="706741" y="273605"/>
                    <a:pt x="706741" y="273605"/>
                    <a:pt x="706740" y="273604"/>
                  </a:cubicBezTo>
                  <a:moveTo>
                    <a:pt x="742509" y="242127"/>
                  </a:moveTo>
                  <a:cubicBezTo>
                    <a:pt x="740782" y="239768"/>
                    <a:pt x="737468" y="239257"/>
                    <a:pt x="735110" y="240984"/>
                  </a:cubicBezTo>
                  <a:cubicBezTo>
                    <a:pt x="732751" y="242711"/>
                    <a:pt x="732239" y="246023"/>
                    <a:pt x="733967" y="248383"/>
                  </a:cubicBezTo>
                  <a:cubicBezTo>
                    <a:pt x="734166" y="248656"/>
                    <a:pt x="734392" y="248908"/>
                    <a:pt x="734640" y="249138"/>
                  </a:cubicBezTo>
                  <a:cubicBezTo>
                    <a:pt x="736701" y="251174"/>
                    <a:pt x="740018" y="251174"/>
                    <a:pt x="742080" y="249138"/>
                  </a:cubicBezTo>
                  <a:cubicBezTo>
                    <a:pt x="744115" y="247076"/>
                    <a:pt x="744115" y="243760"/>
                    <a:pt x="742080" y="241698"/>
                  </a:cubicBezTo>
                  <a:moveTo>
                    <a:pt x="779851" y="209792"/>
                  </a:moveTo>
                  <a:cubicBezTo>
                    <a:pt x="778093" y="207975"/>
                    <a:pt x="775194" y="207927"/>
                    <a:pt x="773377" y="209685"/>
                  </a:cubicBezTo>
                  <a:cubicBezTo>
                    <a:pt x="773341" y="209719"/>
                    <a:pt x="773306" y="209757"/>
                    <a:pt x="773270" y="209792"/>
                  </a:cubicBezTo>
                  <a:cubicBezTo>
                    <a:pt x="771489" y="211625"/>
                    <a:pt x="771489" y="214541"/>
                    <a:pt x="773270" y="216374"/>
                  </a:cubicBezTo>
                  <a:cubicBezTo>
                    <a:pt x="775028" y="218191"/>
                    <a:pt x="777927" y="218240"/>
                    <a:pt x="779744" y="216481"/>
                  </a:cubicBezTo>
                  <a:cubicBezTo>
                    <a:pt x="779780" y="216445"/>
                    <a:pt x="779815" y="216410"/>
                    <a:pt x="779851" y="216374"/>
                  </a:cubicBezTo>
                  <a:cubicBezTo>
                    <a:pt x="781633" y="214541"/>
                    <a:pt x="781633" y="211625"/>
                    <a:pt x="779851" y="209792"/>
                  </a:cubicBezTo>
                  <a:moveTo>
                    <a:pt x="816908" y="177028"/>
                  </a:moveTo>
                  <a:cubicBezTo>
                    <a:pt x="815360" y="175447"/>
                    <a:pt x="812823" y="175422"/>
                    <a:pt x="811242" y="176971"/>
                  </a:cubicBezTo>
                  <a:cubicBezTo>
                    <a:pt x="811223" y="176990"/>
                    <a:pt x="811203" y="177008"/>
                    <a:pt x="811185" y="177028"/>
                  </a:cubicBezTo>
                  <a:cubicBezTo>
                    <a:pt x="809604" y="178576"/>
                    <a:pt x="809578" y="181113"/>
                    <a:pt x="811127" y="182694"/>
                  </a:cubicBezTo>
                  <a:cubicBezTo>
                    <a:pt x="811146" y="182713"/>
                    <a:pt x="811165" y="182733"/>
                    <a:pt x="811185" y="182751"/>
                  </a:cubicBezTo>
                  <a:cubicBezTo>
                    <a:pt x="812733" y="184332"/>
                    <a:pt x="815269" y="184358"/>
                    <a:pt x="816850" y="182808"/>
                  </a:cubicBezTo>
                  <a:cubicBezTo>
                    <a:pt x="816869" y="182790"/>
                    <a:pt x="816889" y="182771"/>
                    <a:pt x="816908" y="182751"/>
                  </a:cubicBezTo>
                  <a:cubicBezTo>
                    <a:pt x="818489" y="181203"/>
                    <a:pt x="818514" y="178666"/>
                    <a:pt x="816965" y="177085"/>
                  </a:cubicBezTo>
                  <a:cubicBezTo>
                    <a:pt x="816946" y="177067"/>
                    <a:pt x="816928" y="177047"/>
                    <a:pt x="816908" y="177028"/>
                  </a:cubicBezTo>
                  <a:moveTo>
                    <a:pt x="853821" y="144264"/>
                  </a:moveTo>
                  <a:cubicBezTo>
                    <a:pt x="852477" y="142925"/>
                    <a:pt x="850303" y="142929"/>
                    <a:pt x="848965" y="144273"/>
                  </a:cubicBezTo>
                  <a:cubicBezTo>
                    <a:pt x="847626" y="145616"/>
                    <a:pt x="847630" y="147790"/>
                    <a:pt x="848974" y="149129"/>
                  </a:cubicBezTo>
                  <a:cubicBezTo>
                    <a:pt x="850313" y="150464"/>
                    <a:pt x="852480" y="150464"/>
                    <a:pt x="853821" y="149129"/>
                  </a:cubicBezTo>
                  <a:cubicBezTo>
                    <a:pt x="855164" y="147790"/>
                    <a:pt x="855169" y="145616"/>
                    <a:pt x="853830" y="144273"/>
                  </a:cubicBezTo>
                  <a:cubicBezTo>
                    <a:pt x="853827" y="144270"/>
                    <a:pt x="853824" y="144267"/>
                    <a:pt x="853821" y="144264"/>
                  </a:cubicBezTo>
                  <a:moveTo>
                    <a:pt x="890734" y="111500"/>
                  </a:moveTo>
                  <a:cubicBezTo>
                    <a:pt x="889621" y="110410"/>
                    <a:pt x="887841" y="110410"/>
                    <a:pt x="886728" y="111500"/>
                  </a:cubicBezTo>
                  <a:cubicBezTo>
                    <a:pt x="885688" y="112688"/>
                    <a:pt x="885688" y="114462"/>
                    <a:pt x="886728" y="115649"/>
                  </a:cubicBezTo>
                  <a:cubicBezTo>
                    <a:pt x="887888" y="116758"/>
                    <a:pt x="889717" y="116758"/>
                    <a:pt x="890877" y="115649"/>
                  </a:cubicBezTo>
                  <a:cubicBezTo>
                    <a:pt x="891983" y="114635"/>
                    <a:pt x="892058" y="112915"/>
                    <a:pt x="891043" y="111808"/>
                  </a:cubicBezTo>
                  <a:cubicBezTo>
                    <a:pt x="890990" y="111750"/>
                    <a:pt x="890935" y="111696"/>
                    <a:pt x="890877" y="111643"/>
                  </a:cubicBezTo>
                  <a:moveTo>
                    <a:pt x="500283" y="415105"/>
                  </a:moveTo>
                  <a:cubicBezTo>
                    <a:pt x="497113" y="411473"/>
                    <a:pt x="491600" y="411100"/>
                    <a:pt x="487969" y="414271"/>
                  </a:cubicBezTo>
                  <a:cubicBezTo>
                    <a:pt x="487924" y="414309"/>
                    <a:pt x="487880" y="414349"/>
                    <a:pt x="487836" y="414389"/>
                  </a:cubicBezTo>
                  <a:cubicBezTo>
                    <a:pt x="484124" y="417587"/>
                    <a:pt x="483709" y="423188"/>
                    <a:pt x="486907" y="426900"/>
                  </a:cubicBezTo>
                  <a:cubicBezTo>
                    <a:pt x="486930" y="426927"/>
                    <a:pt x="486954" y="426953"/>
                    <a:pt x="486977" y="426980"/>
                  </a:cubicBezTo>
                  <a:cubicBezTo>
                    <a:pt x="490478" y="430397"/>
                    <a:pt x="496067" y="430397"/>
                    <a:pt x="499568" y="426980"/>
                  </a:cubicBezTo>
                  <a:cubicBezTo>
                    <a:pt x="503044" y="423529"/>
                    <a:pt x="503064" y="417912"/>
                    <a:pt x="499613" y="414435"/>
                  </a:cubicBezTo>
                  <a:cubicBezTo>
                    <a:pt x="499598" y="414419"/>
                    <a:pt x="499583" y="414405"/>
                    <a:pt x="499568" y="414389"/>
                  </a:cubicBezTo>
                  <a:moveTo>
                    <a:pt x="536624" y="381625"/>
                  </a:moveTo>
                  <a:cubicBezTo>
                    <a:pt x="533385" y="378383"/>
                    <a:pt x="528130" y="378382"/>
                    <a:pt x="524889" y="381622"/>
                  </a:cubicBezTo>
                  <a:cubicBezTo>
                    <a:pt x="521647" y="384862"/>
                    <a:pt x="521646" y="390115"/>
                    <a:pt x="524885" y="393357"/>
                  </a:cubicBezTo>
                  <a:cubicBezTo>
                    <a:pt x="528124" y="396599"/>
                    <a:pt x="533379" y="396601"/>
                    <a:pt x="536621" y="393360"/>
                  </a:cubicBezTo>
                  <a:cubicBezTo>
                    <a:pt x="536621" y="393360"/>
                    <a:pt x="536623" y="393359"/>
                    <a:pt x="536624" y="393357"/>
                  </a:cubicBezTo>
                  <a:cubicBezTo>
                    <a:pt x="539862" y="390117"/>
                    <a:pt x="539862" y="384866"/>
                    <a:pt x="536624" y="381625"/>
                  </a:cubicBezTo>
                  <a:moveTo>
                    <a:pt x="573537" y="348861"/>
                  </a:moveTo>
                  <a:cubicBezTo>
                    <a:pt x="570526" y="345879"/>
                    <a:pt x="565675" y="345879"/>
                    <a:pt x="562664" y="348861"/>
                  </a:cubicBezTo>
                  <a:cubicBezTo>
                    <a:pt x="559701" y="351820"/>
                    <a:pt x="559698" y="356621"/>
                    <a:pt x="562657" y="359585"/>
                  </a:cubicBezTo>
                  <a:cubicBezTo>
                    <a:pt x="562659" y="359587"/>
                    <a:pt x="562661" y="359589"/>
                    <a:pt x="562664" y="359592"/>
                  </a:cubicBezTo>
                  <a:cubicBezTo>
                    <a:pt x="565299" y="362744"/>
                    <a:pt x="569992" y="363163"/>
                    <a:pt x="573144" y="360526"/>
                  </a:cubicBezTo>
                  <a:cubicBezTo>
                    <a:pt x="573228" y="360454"/>
                    <a:pt x="573313" y="360381"/>
                    <a:pt x="573394" y="360307"/>
                  </a:cubicBezTo>
                  <a:cubicBezTo>
                    <a:pt x="576588" y="357599"/>
                    <a:pt x="576981" y="352813"/>
                    <a:pt x="574273" y="349619"/>
                  </a:cubicBezTo>
                  <a:cubicBezTo>
                    <a:pt x="574220" y="349556"/>
                    <a:pt x="574165" y="349495"/>
                    <a:pt x="574110" y="349433"/>
                  </a:cubicBezTo>
                  <a:moveTo>
                    <a:pt x="611023" y="316669"/>
                  </a:moveTo>
                  <a:cubicBezTo>
                    <a:pt x="608257" y="313848"/>
                    <a:pt x="603728" y="313802"/>
                    <a:pt x="600906" y="316568"/>
                  </a:cubicBezTo>
                  <a:cubicBezTo>
                    <a:pt x="598085" y="319333"/>
                    <a:pt x="598040" y="323863"/>
                    <a:pt x="600806" y="326684"/>
                  </a:cubicBezTo>
                  <a:cubicBezTo>
                    <a:pt x="603572" y="329506"/>
                    <a:pt x="608100" y="329552"/>
                    <a:pt x="610921" y="326786"/>
                  </a:cubicBezTo>
                  <a:cubicBezTo>
                    <a:pt x="610956" y="326752"/>
                    <a:pt x="610990" y="326719"/>
                    <a:pt x="611023" y="326684"/>
                  </a:cubicBezTo>
                  <a:cubicBezTo>
                    <a:pt x="613789" y="323975"/>
                    <a:pt x="613834" y="319536"/>
                    <a:pt x="611125" y="316771"/>
                  </a:cubicBezTo>
                  <a:cubicBezTo>
                    <a:pt x="611090" y="316737"/>
                    <a:pt x="611057" y="316702"/>
                    <a:pt x="611023" y="316669"/>
                  </a:cubicBezTo>
                  <a:moveTo>
                    <a:pt x="648079" y="283905"/>
                  </a:moveTo>
                  <a:cubicBezTo>
                    <a:pt x="645498" y="281506"/>
                    <a:pt x="641504" y="281506"/>
                    <a:pt x="638923" y="283905"/>
                  </a:cubicBezTo>
                  <a:cubicBezTo>
                    <a:pt x="636236" y="286276"/>
                    <a:pt x="635979" y="290375"/>
                    <a:pt x="638350" y="293062"/>
                  </a:cubicBezTo>
                  <a:cubicBezTo>
                    <a:pt x="640721" y="295749"/>
                    <a:pt x="644820" y="296005"/>
                    <a:pt x="647507" y="293634"/>
                  </a:cubicBezTo>
                  <a:cubicBezTo>
                    <a:pt x="649978" y="291082"/>
                    <a:pt x="649978" y="287030"/>
                    <a:pt x="647507" y="284477"/>
                  </a:cubicBezTo>
                  <a:moveTo>
                    <a:pt x="685279" y="251284"/>
                  </a:moveTo>
                  <a:cubicBezTo>
                    <a:pt x="683105" y="248835"/>
                    <a:pt x="679358" y="248610"/>
                    <a:pt x="676909" y="250783"/>
                  </a:cubicBezTo>
                  <a:cubicBezTo>
                    <a:pt x="674459" y="252957"/>
                    <a:pt x="674235" y="256704"/>
                    <a:pt x="676408" y="259153"/>
                  </a:cubicBezTo>
                  <a:cubicBezTo>
                    <a:pt x="678749" y="261462"/>
                    <a:pt x="682509" y="261462"/>
                    <a:pt x="684850" y="259153"/>
                  </a:cubicBezTo>
                  <a:cubicBezTo>
                    <a:pt x="687142" y="256863"/>
                    <a:pt x="687142" y="253148"/>
                    <a:pt x="684852" y="250858"/>
                  </a:cubicBezTo>
                  <a:cubicBezTo>
                    <a:pt x="684851" y="250856"/>
                    <a:pt x="684851" y="250856"/>
                    <a:pt x="684850" y="250855"/>
                  </a:cubicBezTo>
                  <a:moveTo>
                    <a:pt x="721763" y="218091"/>
                  </a:moveTo>
                  <a:cubicBezTo>
                    <a:pt x="720036" y="215731"/>
                    <a:pt x="716722" y="215221"/>
                    <a:pt x="714365" y="216948"/>
                  </a:cubicBezTo>
                  <a:cubicBezTo>
                    <a:pt x="712005" y="218674"/>
                    <a:pt x="711493" y="221987"/>
                    <a:pt x="713221" y="224346"/>
                  </a:cubicBezTo>
                  <a:cubicBezTo>
                    <a:pt x="713420" y="224619"/>
                    <a:pt x="713646" y="224871"/>
                    <a:pt x="713894" y="225101"/>
                  </a:cubicBezTo>
                  <a:cubicBezTo>
                    <a:pt x="715621" y="227461"/>
                    <a:pt x="718934" y="227971"/>
                    <a:pt x="721292" y="226245"/>
                  </a:cubicBezTo>
                  <a:cubicBezTo>
                    <a:pt x="723651" y="224518"/>
                    <a:pt x="724164" y="221205"/>
                    <a:pt x="722435" y="218846"/>
                  </a:cubicBezTo>
                  <a:cubicBezTo>
                    <a:pt x="722236" y="218573"/>
                    <a:pt x="722010" y="218321"/>
                    <a:pt x="721763" y="218091"/>
                  </a:cubicBezTo>
                  <a:moveTo>
                    <a:pt x="758819" y="185327"/>
                  </a:moveTo>
                  <a:cubicBezTo>
                    <a:pt x="756986" y="183545"/>
                    <a:pt x="754071" y="183545"/>
                    <a:pt x="752238" y="185327"/>
                  </a:cubicBezTo>
                  <a:cubicBezTo>
                    <a:pt x="750421" y="187085"/>
                    <a:pt x="750372" y="189984"/>
                    <a:pt x="752131" y="191801"/>
                  </a:cubicBezTo>
                  <a:cubicBezTo>
                    <a:pt x="752165" y="191837"/>
                    <a:pt x="752202" y="191872"/>
                    <a:pt x="752238" y="191908"/>
                  </a:cubicBezTo>
                  <a:cubicBezTo>
                    <a:pt x="754071" y="193689"/>
                    <a:pt x="756986" y="193689"/>
                    <a:pt x="758819" y="191908"/>
                  </a:cubicBezTo>
                  <a:cubicBezTo>
                    <a:pt x="760618" y="190028"/>
                    <a:pt x="760618" y="187064"/>
                    <a:pt x="758819" y="185184"/>
                  </a:cubicBezTo>
                  <a:moveTo>
                    <a:pt x="796019" y="152562"/>
                  </a:moveTo>
                  <a:cubicBezTo>
                    <a:pt x="794557" y="150864"/>
                    <a:pt x="791994" y="150671"/>
                    <a:pt x="790296" y="152133"/>
                  </a:cubicBezTo>
                  <a:cubicBezTo>
                    <a:pt x="788597" y="153595"/>
                    <a:pt x="788404" y="156158"/>
                    <a:pt x="789866" y="157856"/>
                  </a:cubicBezTo>
                  <a:cubicBezTo>
                    <a:pt x="791516" y="159401"/>
                    <a:pt x="794083" y="159401"/>
                    <a:pt x="795733" y="157856"/>
                  </a:cubicBezTo>
                  <a:cubicBezTo>
                    <a:pt x="797313" y="156308"/>
                    <a:pt x="797339" y="153771"/>
                    <a:pt x="795790" y="152190"/>
                  </a:cubicBezTo>
                  <a:cubicBezTo>
                    <a:pt x="795771" y="152172"/>
                    <a:pt x="795753" y="152152"/>
                    <a:pt x="795733" y="152133"/>
                  </a:cubicBezTo>
                  <a:moveTo>
                    <a:pt x="832646" y="119369"/>
                  </a:moveTo>
                  <a:cubicBezTo>
                    <a:pt x="831302" y="118030"/>
                    <a:pt x="829129" y="118034"/>
                    <a:pt x="827790" y="119378"/>
                  </a:cubicBezTo>
                  <a:cubicBezTo>
                    <a:pt x="826451" y="120721"/>
                    <a:pt x="826455" y="122894"/>
                    <a:pt x="827798" y="124234"/>
                  </a:cubicBezTo>
                  <a:cubicBezTo>
                    <a:pt x="829138" y="125569"/>
                    <a:pt x="831305" y="125569"/>
                    <a:pt x="832646" y="124234"/>
                  </a:cubicBezTo>
                  <a:cubicBezTo>
                    <a:pt x="833989" y="122894"/>
                    <a:pt x="833994" y="120721"/>
                    <a:pt x="832654" y="119378"/>
                  </a:cubicBezTo>
                  <a:cubicBezTo>
                    <a:pt x="832652" y="119375"/>
                    <a:pt x="832649" y="119372"/>
                    <a:pt x="832646" y="119369"/>
                  </a:cubicBezTo>
                  <a:moveTo>
                    <a:pt x="869702" y="86605"/>
                  </a:moveTo>
                  <a:cubicBezTo>
                    <a:pt x="868542" y="85496"/>
                    <a:pt x="866713" y="85496"/>
                    <a:pt x="865553" y="86605"/>
                  </a:cubicBezTo>
                  <a:cubicBezTo>
                    <a:pt x="864368" y="87672"/>
                    <a:pt x="864271" y="89498"/>
                    <a:pt x="865338" y="90683"/>
                  </a:cubicBezTo>
                  <a:cubicBezTo>
                    <a:pt x="866406" y="91867"/>
                    <a:pt x="868231" y="91965"/>
                    <a:pt x="869416" y="90897"/>
                  </a:cubicBezTo>
                  <a:cubicBezTo>
                    <a:pt x="870506" y="89784"/>
                    <a:pt x="870506" y="88004"/>
                    <a:pt x="869416" y="86891"/>
                  </a:cubicBezTo>
                </a:path>
              </a:pathLst>
            </a:custGeom>
            <a:solidFill>
              <a:srgbClr val="00BCEB"/>
            </a:solidFill>
            <a:ln w="14288" cap="flat">
              <a:noFill/>
              <a:prstDash val="solid"/>
              <a:miter/>
            </a:ln>
          </p:spPr>
          <p:txBody>
            <a:bodyPr rtlCol="0" anchor="ctr"/>
            <a:lstStyle/>
            <a:p>
              <a:endParaRPr lang="en-US" dirty="0"/>
            </a:p>
          </p:txBody>
        </p:sp>
        <p:sp>
          <p:nvSpPr>
            <p:cNvPr id="194" name="Freeform: Shape 193">
              <a:extLst>
                <a:ext uri="{FF2B5EF4-FFF2-40B4-BE49-F238E27FC236}">
                  <a16:creationId xmlns:a16="http://schemas.microsoft.com/office/drawing/2014/main" id="{F3E9A04C-B2BD-45ED-B7FD-2CC33A2874EA}"/>
                </a:ext>
              </a:extLst>
            </p:cNvPr>
            <p:cNvSpPr/>
            <p:nvPr/>
          </p:nvSpPr>
          <p:spPr>
            <a:xfrm>
              <a:off x="5859265" y="2830484"/>
              <a:ext cx="786911" cy="715374"/>
            </a:xfrm>
            <a:custGeom>
              <a:avLst/>
              <a:gdLst>
                <a:gd name="connsiteX0" fmla="*/ 412818 w 786911"/>
                <a:gd name="connsiteY0" fmla="*/ 383011 h 715374"/>
                <a:gd name="connsiteX1" fmla="*/ 412818 w 786911"/>
                <a:gd name="connsiteY1" fmla="*/ 394457 h 715374"/>
                <a:gd name="connsiteX2" fmla="*/ 401515 w 786911"/>
                <a:gd name="connsiteY2" fmla="*/ 394457 h 715374"/>
                <a:gd name="connsiteX3" fmla="*/ 401515 w 786911"/>
                <a:gd name="connsiteY3" fmla="*/ 383154 h 715374"/>
                <a:gd name="connsiteX4" fmla="*/ 412961 w 786911"/>
                <a:gd name="connsiteY4" fmla="*/ 383154 h 715374"/>
                <a:gd name="connsiteX5" fmla="*/ 445439 w 786911"/>
                <a:gd name="connsiteY5" fmla="*/ 352679 h 715374"/>
                <a:gd name="connsiteX6" fmla="*/ 434918 w 786911"/>
                <a:gd name="connsiteY6" fmla="*/ 352745 h 715374"/>
                <a:gd name="connsiteX7" fmla="*/ 434984 w 786911"/>
                <a:gd name="connsiteY7" fmla="*/ 363267 h 715374"/>
                <a:gd name="connsiteX8" fmla="*/ 445439 w 786911"/>
                <a:gd name="connsiteY8" fmla="*/ 363267 h 715374"/>
                <a:gd name="connsiteX9" fmla="*/ 445505 w 786911"/>
                <a:gd name="connsiteY9" fmla="*/ 352745 h 715374"/>
                <a:gd name="connsiteX10" fmla="*/ 445439 w 786911"/>
                <a:gd name="connsiteY10" fmla="*/ 352679 h 715374"/>
                <a:gd name="connsiteX11" fmla="*/ 477917 w 786911"/>
                <a:gd name="connsiteY11" fmla="*/ 322205 h 715374"/>
                <a:gd name="connsiteX12" fmla="*/ 468019 w 786911"/>
                <a:gd name="connsiteY12" fmla="*/ 322788 h 715374"/>
                <a:gd name="connsiteX13" fmla="*/ 467759 w 786911"/>
                <a:gd name="connsiteY13" fmla="*/ 331791 h 715374"/>
                <a:gd name="connsiteX14" fmla="*/ 477631 w 786911"/>
                <a:gd name="connsiteY14" fmla="*/ 331791 h 715374"/>
                <a:gd name="connsiteX15" fmla="*/ 477793 w 786911"/>
                <a:gd name="connsiteY15" fmla="*/ 322080 h 715374"/>
                <a:gd name="connsiteX16" fmla="*/ 477631 w 786911"/>
                <a:gd name="connsiteY16" fmla="*/ 321918 h 715374"/>
                <a:gd name="connsiteX17" fmla="*/ 510252 w 786911"/>
                <a:gd name="connsiteY17" fmla="*/ 291587 h 715374"/>
                <a:gd name="connsiteX18" fmla="*/ 501147 w 786911"/>
                <a:gd name="connsiteY18" fmla="*/ 291495 h 715374"/>
                <a:gd name="connsiteX19" fmla="*/ 501057 w 786911"/>
                <a:gd name="connsiteY19" fmla="*/ 300600 h 715374"/>
                <a:gd name="connsiteX20" fmla="*/ 510161 w 786911"/>
                <a:gd name="connsiteY20" fmla="*/ 300692 h 715374"/>
                <a:gd name="connsiteX21" fmla="*/ 510252 w 786911"/>
                <a:gd name="connsiteY21" fmla="*/ 300600 h 715374"/>
                <a:gd name="connsiteX22" fmla="*/ 510364 w 786911"/>
                <a:gd name="connsiteY22" fmla="*/ 291698 h 715374"/>
                <a:gd name="connsiteX23" fmla="*/ 510252 w 786911"/>
                <a:gd name="connsiteY23" fmla="*/ 291587 h 715374"/>
                <a:gd name="connsiteX24" fmla="*/ 542873 w 786911"/>
                <a:gd name="connsiteY24" fmla="*/ 261112 h 715374"/>
                <a:gd name="connsiteX25" fmla="*/ 534575 w 786911"/>
                <a:gd name="connsiteY25" fmla="*/ 261112 h 715374"/>
                <a:gd name="connsiteX26" fmla="*/ 534289 w 786911"/>
                <a:gd name="connsiteY26" fmla="*/ 269410 h 715374"/>
                <a:gd name="connsiteX27" fmla="*/ 542587 w 786911"/>
                <a:gd name="connsiteY27" fmla="*/ 269696 h 715374"/>
                <a:gd name="connsiteX28" fmla="*/ 542587 w 786911"/>
                <a:gd name="connsiteY28" fmla="*/ 261398 h 715374"/>
                <a:gd name="connsiteX29" fmla="*/ 575065 w 786911"/>
                <a:gd name="connsiteY29" fmla="*/ 230923 h 715374"/>
                <a:gd name="connsiteX30" fmla="*/ 567625 w 786911"/>
                <a:gd name="connsiteY30" fmla="*/ 230923 h 715374"/>
                <a:gd name="connsiteX31" fmla="*/ 567625 w 786911"/>
                <a:gd name="connsiteY31" fmla="*/ 238506 h 715374"/>
                <a:gd name="connsiteX32" fmla="*/ 575065 w 786911"/>
                <a:gd name="connsiteY32" fmla="*/ 238506 h 715374"/>
                <a:gd name="connsiteX33" fmla="*/ 575065 w 786911"/>
                <a:gd name="connsiteY33" fmla="*/ 230923 h 715374"/>
                <a:gd name="connsiteX34" fmla="*/ 607543 w 786911"/>
                <a:gd name="connsiteY34" fmla="*/ 200162 h 715374"/>
                <a:gd name="connsiteX35" fmla="*/ 600819 w 786911"/>
                <a:gd name="connsiteY35" fmla="*/ 200019 h 715374"/>
                <a:gd name="connsiteX36" fmla="*/ 600676 w 786911"/>
                <a:gd name="connsiteY36" fmla="*/ 206743 h 715374"/>
                <a:gd name="connsiteX37" fmla="*/ 607400 w 786911"/>
                <a:gd name="connsiteY37" fmla="*/ 206886 h 715374"/>
                <a:gd name="connsiteX38" fmla="*/ 607543 w 786911"/>
                <a:gd name="connsiteY38" fmla="*/ 200162 h 715374"/>
                <a:gd name="connsiteX39" fmla="*/ 640164 w 786911"/>
                <a:gd name="connsiteY39" fmla="*/ 169687 h 715374"/>
                <a:gd name="connsiteX40" fmla="*/ 634298 w 786911"/>
                <a:gd name="connsiteY40" fmla="*/ 169544 h 715374"/>
                <a:gd name="connsiteX41" fmla="*/ 634155 w 786911"/>
                <a:gd name="connsiteY41" fmla="*/ 169687 h 715374"/>
                <a:gd name="connsiteX42" fmla="*/ 633951 w 786911"/>
                <a:gd name="connsiteY42" fmla="*/ 175348 h 715374"/>
                <a:gd name="connsiteX43" fmla="*/ 634155 w 786911"/>
                <a:gd name="connsiteY43" fmla="*/ 175553 h 715374"/>
                <a:gd name="connsiteX44" fmla="*/ 640021 w 786911"/>
                <a:gd name="connsiteY44" fmla="*/ 175553 h 715374"/>
                <a:gd name="connsiteX45" fmla="*/ 640021 w 786911"/>
                <a:gd name="connsiteY45" fmla="*/ 169544 h 715374"/>
                <a:gd name="connsiteX46" fmla="*/ 672499 w 786911"/>
                <a:gd name="connsiteY46" fmla="*/ 139069 h 715374"/>
                <a:gd name="connsiteX47" fmla="*/ 667253 w 786911"/>
                <a:gd name="connsiteY47" fmla="*/ 139452 h 715374"/>
                <a:gd name="connsiteX48" fmla="*/ 667062 w 786911"/>
                <a:gd name="connsiteY48" fmla="*/ 144076 h 715374"/>
                <a:gd name="connsiteX49" fmla="*/ 672356 w 786911"/>
                <a:gd name="connsiteY49" fmla="*/ 144076 h 715374"/>
                <a:gd name="connsiteX50" fmla="*/ 672449 w 786911"/>
                <a:gd name="connsiteY50" fmla="*/ 139019 h 715374"/>
                <a:gd name="connsiteX51" fmla="*/ 672356 w 786911"/>
                <a:gd name="connsiteY51" fmla="*/ 138926 h 715374"/>
                <a:gd name="connsiteX52" fmla="*/ 704834 w 786911"/>
                <a:gd name="connsiteY52" fmla="*/ 108451 h 715374"/>
                <a:gd name="connsiteX53" fmla="*/ 700383 w 786911"/>
                <a:gd name="connsiteY53" fmla="*/ 108435 h 715374"/>
                <a:gd name="connsiteX54" fmla="*/ 700367 w 786911"/>
                <a:gd name="connsiteY54" fmla="*/ 112886 h 715374"/>
                <a:gd name="connsiteX55" fmla="*/ 704818 w 786911"/>
                <a:gd name="connsiteY55" fmla="*/ 112902 h 715374"/>
                <a:gd name="connsiteX56" fmla="*/ 704834 w 786911"/>
                <a:gd name="connsiteY56" fmla="*/ 112886 h 715374"/>
                <a:gd name="connsiteX57" fmla="*/ 704834 w 786911"/>
                <a:gd name="connsiteY57" fmla="*/ 108451 h 715374"/>
                <a:gd name="connsiteX58" fmla="*/ 737312 w 786911"/>
                <a:gd name="connsiteY58" fmla="*/ 77976 h 715374"/>
                <a:gd name="connsiteX59" fmla="*/ 733735 w 786911"/>
                <a:gd name="connsiteY59" fmla="*/ 77976 h 715374"/>
                <a:gd name="connsiteX60" fmla="*/ 733664 w 786911"/>
                <a:gd name="connsiteY60" fmla="*/ 81624 h 715374"/>
                <a:gd name="connsiteX61" fmla="*/ 737312 w 786911"/>
                <a:gd name="connsiteY61" fmla="*/ 81696 h 715374"/>
                <a:gd name="connsiteX62" fmla="*/ 737452 w 786911"/>
                <a:gd name="connsiteY62" fmla="*/ 78259 h 715374"/>
                <a:gd name="connsiteX63" fmla="*/ 737312 w 786911"/>
                <a:gd name="connsiteY63" fmla="*/ 78119 h 715374"/>
                <a:gd name="connsiteX64" fmla="*/ 432133 w 786911"/>
                <a:gd name="connsiteY64" fmla="*/ 403185 h 715374"/>
                <a:gd name="connsiteX65" fmla="*/ 421546 w 786911"/>
                <a:gd name="connsiteY65" fmla="*/ 403185 h 715374"/>
                <a:gd name="connsiteX66" fmla="*/ 421546 w 786911"/>
                <a:gd name="connsiteY66" fmla="*/ 414631 h 715374"/>
                <a:gd name="connsiteX67" fmla="*/ 432992 w 786911"/>
                <a:gd name="connsiteY67" fmla="*/ 414631 h 715374"/>
                <a:gd name="connsiteX68" fmla="*/ 432992 w 786911"/>
                <a:gd name="connsiteY68" fmla="*/ 403328 h 715374"/>
                <a:gd name="connsiteX69" fmla="*/ 464468 w 786911"/>
                <a:gd name="connsiteY69" fmla="*/ 373282 h 715374"/>
                <a:gd name="connsiteX70" fmla="*/ 453947 w 786911"/>
                <a:gd name="connsiteY70" fmla="*/ 373216 h 715374"/>
                <a:gd name="connsiteX71" fmla="*/ 453881 w 786911"/>
                <a:gd name="connsiteY71" fmla="*/ 373282 h 715374"/>
                <a:gd name="connsiteX72" fmla="*/ 453755 w 786911"/>
                <a:gd name="connsiteY72" fmla="*/ 383601 h 715374"/>
                <a:gd name="connsiteX73" fmla="*/ 453881 w 786911"/>
                <a:gd name="connsiteY73" fmla="*/ 383727 h 715374"/>
                <a:gd name="connsiteX74" fmla="*/ 464403 w 786911"/>
                <a:gd name="connsiteY74" fmla="*/ 383793 h 715374"/>
                <a:gd name="connsiteX75" fmla="*/ 464468 w 786911"/>
                <a:gd name="connsiteY75" fmla="*/ 383727 h 715374"/>
                <a:gd name="connsiteX76" fmla="*/ 464468 w 786911"/>
                <a:gd name="connsiteY76" fmla="*/ 373139 h 715374"/>
                <a:gd name="connsiteX77" fmla="*/ 496946 w 786911"/>
                <a:gd name="connsiteY77" fmla="*/ 342664 h 715374"/>
                <a:gd name="connsiteX78" fmla="*/ 487236 w 786911"/>
                <a:gd name="connsiteY78" fmla="*/ 342503 h 715374"/>
                <a:gd name="connsiteX79" fmla="*/ 487074 w 786911"/>
                <a:gd name="connsiteY79" fmla="*/ 342664 h 715374"/>
                <a:gd name="connsiteX80" fmla="*/ 487074 w 786911"/>
                <a:gd name="connsiteY80" fmla="*/ 352393 h 715374"/>
                <a:gd name="connsiteX81" fmla="*/ 496785 w 786911"/>
                <a:gd name="connsiteY81" fmla="*/ 352555 h 715374"/>
                <a:gd name="connsiteX82" fmla="*/ 496946 w 786911"/>
                <a:gd name="connsiteY82" fmla="*/ 352393 h 715374"/>
                <a:gd name="connsiteX83" fmla="*/ 496946 w 786911"/>
                <a:gd name="connsiteY83" fmla="*/ 342664 h 715374"/>
                <a:gd name="connsiteX84" fmla="*/ 529424 w 786911"/>
                <a:gd name="connsiteY84" fmla="*/ 312189 h 715374"/>
                <a:gd name="connsiteX85" fmla="*/ 520319 w 786911"/>
                <a:gd name="connsiteY85" fmla="*/ 312098 h 715374"/>
                <a:gd name="connsiteX86" fmla="*/ 520229 w 786911"/>
                <a:gd name="connsiteY86" fmla="*/ 321203 h 715374"/>
                <a:gd name="connsiteX87" fmla="*/ 529333 w 786911"/>
                <a:gd name="connsiteY87" fmla="*/ 321295 h 715374"/>
                <a:gd name="connsiteX88" fmla="*/ 529424 w 786911"/>
                <a:gd name="connsiteY88" fmla="*/ 321203 h 715374"/>
                <a:gd name="connsiteX89" fmla="*/ 529536 w 786911"/>
                <a:gd name="connsiteY89" fmla="*/ 312301 h 715374"/>
                <a:gd name="connsiteX90" fmla="*/ 529424 w 786911"/>
                <a:gd name="connsiteY90" fmla="*/ 312189 h 715374"/>
                <a:gd name="connsiteX91" fmla="*/ 561902 w 786911"/>
                <a:gd name="connsiteY91" fmla="*/ 281714 h 715374"/>
                <a:gd name="connsiteX92" fmla="*/ 554016 w 786911"/>
                <a:gd name="connsiteY92" fmla="*/ 281445 h 715374"/>
                <a:gd name="connsiteX93" fmla="*/ 553747 w 786911"/>
                <a:gd name="connsiteY93" fmla="*/ 281714 h 715374"/>
                <a:gd name="connsiteX94" fmla="*/ 553540 w 786911"/>
                <a:gd name="connsiteY94" fmla="*/ 289805 h 715374"/>
                <a:gd name="connsiteX95" fmla="*/ 553747 w 786911"/>
                <a:gd name="connsiteY95" fmla="*/ 290013 h 715374"/>
                <a:gd name="connsiteX96" fmla="*/ 561902 w 786911"/>
                <a:gd name="connsiteY96" fmla="*/ 290013 h 715374"/>
                <a:gd name="connsiteX97" fmla="*/ 562110 w 786911"/>
                <a:gd name="connsiteY97" fmla="*/ 281922 h 715374"/>
                <a:gd name="connsiteX98" fmla="*/ 561902 w 786911"/>
                <a:gd name="connsiteY98" fmla="*/ 281714 h 715374"/>
                <a:gd name="connsiteX99" fmla="*/ 594523 w 786911"/>
                <a:gd name="connsiteY99" fmla="*/ 251239 h 715374"/>
                <a:gd name="connsiteX100" fmla="*/ 586940 w 786911"/>
                <a:gd name="connsiteY100" fmla="*/ 251239 h 715374"/>
                <a:gd name="connsiteX101" fmla="*/ 586940 w 786911"/>
                <a:gd name="connsiteY101" fmla="*/ 258679 h 715374"/>
                <a:gd name="connsiteX102" fmla="*/ 594523 w 786911"/>
                <a:gd name="connsiteY102" fmla="*/ 258679 h 715374"/>
                <a:gd name="connsiteX103" fmla="*/ 594523 w 786911"/>
                <a:gd name="connsiteY103" fmla="*/ 251239 h 715374"/>
                <a:gd name="connsiteX104" fmla="*/ 627001 w 786911"/>
                <a:gd name="connsiteY104" fmla="*/ 220764 h 715374"/>
                <a:gd name="connsiteX105" fmla="*/ 620324 w 786911"/>
                <a:gd name="connsiteY105" fmla="*/ 220812 h 715374"/>
                <a:gd name="connsiteX106" fmla="*/ 620371 w 786911"/>
                <a:gd name="connsiteY106" fmla="*/ 227489 h 715374"/>
                <a:gd name="connsiteX107" fmla="*/ 627001 w 786911"/>
                <a:gd name="connsiteY107" fmla="*/ 227489 h 715374"/>
                <a:gd name="connsiteX108" fmla="*/ 627049 w 786911"/>
                <a:gd name="connsiteY108" fmla="*/ 220812 h 715374"/>
                <a:gd name="connsiteX109" fmla="*/ 627001 w 786911"/>
                <a:gd name="connsiteY109" fmla="*/ 220764 h 715374"/>
                <a:gd name="connsiteX110" fmla="*/ 659479 w 786911"/>
                <a:gd name="connsiteY110" fmla="*/ 190290 h 715374"/>
                <a:gd name="connsiteX111" fmla="*/ 653470 w 786911"/>
                <a:gd name="connsiteY111" fmla="*/ 190290 h 715374"/>
                <a:gd name="connsiteX112" fmla="*/ 653470 w 786911"/>
                <a:gd name="connsiteY112" fmla="*/ 196299 h 715374"/>
                <a:gd name="connsiteX113" fmla="*/ 659479 w 786911"/>
                <a:gd name="connsiteY113" fmla="*/ 196299 h 715374"/>
                <a:gd name="connsiteX114" fmla="*/ 659479 w 786911"/>
                <a:gd name="connsiteY114" fmla="*/ 190433 h 715374"/>
                <a:gd name="connsiteX115" fmla="*/ 692243 w 786911"/>
                <a:gd name="connsiteY115" fmla="*/ 159958 h 715374"/>
                <a:gd name="connsiteX116" fmla="*/ 687186 w 786911"/>
                <a:gd name="connsiteY116" fmla="*/ 159865 h 715374"/>
                <a:gd name="connsiteX117" fmla="*/ 687093 w 786911"/>
                <a:gd name="connsiteY117" fmla="*/ 159958 h 715374"/>
                <a:gd name="connsiteX118" fmla="*/ 687093 w 786911"/>
                <a:gd name="connsiteY118" fmla="*/ 165251 h 715374"/>
                <a:gd name="connsiteX119" fmla="*/ 692150 w 786911"/>
                <a:gd name="connsiteY119" fmla="*/ 165344 h 715374"/>
                <a:gd name="connsiteX120" fmla="*/ 692243 w 786911"/>
                <a:gd name="connsiteY120" fmla="*/ 165251 h 715374"/>
                <a:gd name="connsiteX121" fmla="*/ 692336 w 786911"/>
                <a:gd name="connsiteY121" fmla="*/ 160194 h 715374"/>
                <a:gd name="connsiteX122" fmla="*/ 692243 w 786911"/>
                <a:gd name="connsiteY122" fmla="*/ 160101 h 715374"/>
                <a:gd name="connsiteX123" fmla="*/ 724864 w 786911"/>
                <a:gd name="connsiteY123" fmla="*/ 129483 h 715374"/>
                <a:gd name="connsiteX124" fmla="*/ 720429 w 786911"/>
                <a:gd name="connsiteY124" fmla="*/ 129483 h 715374"/>
                <a:gd name="connsiteX125" fmla="*/ 720176 w 786911"/>
                <a:gd name="connsiteY125" fmla="*/ 133522 h 715374"/>
                <a:gd name="connsiteX126" fmla="*/ 720429 w 786911"/>
                <a:gd name="connsiteY126" fmla="*/ 133775 h 715374"/>
                <a:gd name="connsiteX127" fmla="*/ 724674 w 786911"/>
                <a:gd name="connsiteY127" fmla="*/ 133965 h 715374"/>
                <a:gd name="connsiteX128" fmla="*/ 724864 w 786911"/>
                <a:gd name="connsiteY128" fmla="*/ 133775 h 715374"/>
                <a:gd name="connsiteX129" fmla="*/ 724864 w 786911"/>
                <a:gd name="connsiteY129" fmla="*/ 129340 h 715374"/>
                <a:gd name="connsiteX130" fmla="*/ 757343 w 786911"/>
                <a:gd name="connsiteY130" fmla="*/ 98865 h 715374"/>
                <a:gd name="connsiteX131" fmla="*/ 753623 w 786911"/>
                <a:gd name="connsiteY131" fmla="*/ 98865 h 715374"/>
                <a:gd name="connsiteX132" fmla="*/ 753551 w 786911"/>
                <a:gd name="connsiteY132" fmla="*/ 102513 h 715374"/>
                <a:gd name="connsiteX133" fmla="*/ 757199 w 786911"/>
                <a:gd name="connsiteY133" fmla="*/ 102585 h 715374"/>
                <a:gd name="connsiteX134" fmla="*/ 757199 w 786911"/>
                <a:gd name="connsiteY134" fmla="*/ 98865 h 715374"/>
                <a:gd name="connsiteX135" fmla="*/ 451592 w 786911"/>
                <a:gd name="connsiteY135" fmla="*/ 424503 h 715374"/>
                <a:gd name="connsiteX136" fmla="*/ 440260 w 786911"/>
                <a:gd name="connsiteY136" fmla="*/ 424474 h 715374"/>
                <a:gd name="connsiteX137" fmla="*/ 440233 w 786911"/>
                <a:gd name="connsiteY137" fmla="*/ 435806 h 715374"/>
                <a:gd name="connsiteX138" fmla="*/ 451563 w 786911"/>
                <a:gd name="connsiteY138" fmla="*/ 435835 h 715374"/>
                <a:gd name="connsiteX139" fmla="*/ 451592 w 786911"/>
                <a:gd name="connsiteY139" fmla="*/ 435806 h 715374"/>
                <a:gd name="connsiteX140" fmla="*/ 451592 w 786911"/>
                <a:gd name="connsiteY140" fmla="*/ 424503 h 715374"/>
                <a:gd name="connsiteX141" fmla="*/ 484070 w 786911"/>
                <a:gd name="connsiteY141" fmla="*/ 394028 h 715374"/>
                <a:gd name="connsiteX142" fmla="*/ 473754 w 786911"/>
                <a:gd name="connsiteY142" fmla="*/ 393756 h 715374"/>
                <a:gd name="connsiteX143" fmla="*/ 473482 w 786911"/>
                <a:gd name="connsiteY143" fmla="*/ 394028 h 715374"/>
                <a:gd name="connsiteX144" fmla="*/ 473196 w 786911"/>
                <a:gd name="connsiteY144" fmla="*/ 404616 h 715374"/>
                <a:gd name="connsiteX145" fmla="*/ 483783 w 786911"/>
                <a:gd name="connsiteY145" fmla="*/ 404902 h 715374"/>
                <a:gd name="connsiteX146" fmla="*/ 483909 w 786911"/>
                <a:gd name="connsiteY146" fmla="*/ 394583 h 715374"/>
                <a:gd name="connsiteX147" fmla="*/ 483783 w 786911"/>
                <a:gd name="connsiteY147" fmla="*/ 394457 h 715374"/>
                <a:gd name="connsiteX148" fmla="*/ 516261 w 786911"/>
                <a:gd name="connsiteY148" fmla="*/ 363839 h 715374"/>
                <a:gd name="connsiteX149" fmla="*/ 506532 w 786911"/>
                <a:gd name="connsiteY149" fmla="*/ 363839 h 715374"/>
                <a:gd name="connsiteX150" fmla="*/ 506371 w 786911"/>
                <a:gd name="connsiteY150" fmla="*/ 373550 h 715374"/>
                <a:gd name="connsiteX151" fmla="*/ 506532 w 786911"/>
                <a:gd name="connsiteY151" fmla="*/ 373711 h 715374"/>
                <a:gd name="connsiteX152" fmla="*/ 516261 w 786911"/>
                <a:gd name="connsiteY152" fmla="*/ 373711 h 715374"/>
                <a:gd name="connsiteX153" fmla="*/ 516423 w 786911"/>
                <a:gd name="connsiteY153" fmla="*/ 364001 h 715374"/>
                <a:gd name="connsiteX154" fmla="*/ 516261 w 786911"/>
                <a:gd name="connsiteY154" fmla="*/ 363839 h 715374"/>
                <a:gd name="connsiteX155" fmla="*/ 548883 w 786911"/>
                <a:gd name="connsiteY155" fmla="*/ 333364 h 715374"/>
                <a:gd name="connsiteX156" fmla="*/ 539726 w 786911"/>
                <a:gd name="connsiteY156" fmla="*/ 333364 h 715374"/>
                <a:gd name="connsiteX157" fmla="*/ 539726 w 786911"/>
                <a:gd name="connsiteY157" fmla="*/ 342521 h 715374"/>
                <a:gd name="connsiteX158" fmla="*/ 548883 w 786911"/>
                <a:gd name="connsiteY158" fmla="*/ 342521 h 715374"/>
                <a:gd name="connsiteX159" fmla="*/ 548883 w 786911"/>
                <a:gd name="connsiteY159" fmla="*/ 333364 h 715374"/>
                <a:gd name="connsiteX160" fmla="*/ 581647 w 786911"/>
                <a:gd name="connsiteY160" fmla="*/ 303033 h 715374"/>
                <a:gd name="connsiteX161" fmla="*/ 573348 w 786911"/>
                <a:gd name="connsiteY161" fmla="*/ 302746 h 715374"/>
                <a:gd name="connsiteX162" fmla="*/ 573062 w 786911"/>
                <a:gd name="connsiteY162" fmla="*/ 311045 h 715374"/>
                <a:gd name="connsiteX163" fmla="*/ 581153 w 786911"/>
                <a:gd name="connsiteY163" fmla="*/ 311252 h 715374"/>
                <a:gd name="connsiteX164" fmla="*/ 581360 w 786911"/>
                <a:gd name="connsiteY164" fmla="*/ 311045 h 715374"/>
                <a:gd name="connsiteX165" fmla="*/ 581363 w 786911"/>
                <a:gd name="connsiteY165" fmla="*/ 302749 h 715374"/>
                <a:gd name="connsiteX166" fmla="*/ 581360 w 786911"/>
                <a:gd name="connsiteY166" fmla="*/ 302746 h 715374"/>
                <a:gd name="connsiteX167" fmla="*/ 613839 w 786911"/>
                <a:gd name="connsiteY167" fmla="*/ 272271 h 715374"/>
                <a:gd name="connsiteX168" fmla="*/ 606353 w 786911"/>
                <a:gd name="connsiteY168" fmla="*/ 272369 h 715374"/>
                <a:gd name="connsiteX169" fmla="*/ 606450 w 786911"/>
                <a:gd name="connsiteY169" fmla="*/ 279854 h 715374"/>
                <a:gd name="connsiteX170" fmla="*/ 613839 w 786911"/>
                <a:gd name="connsiteY170" fmla="*/ 279854 h 715374"/>
                <a:gd name="connsiteX171" fmla="*/ 613839 w 786911"/>
                <a:gd name="connsiteY171" fmla="*/ 272271 h 715374"/>
                <a:gd name="connsiteX172" fmla="*/ 646316 w 786911"/>
                <a:gd name="connsiteY172" fmla="*/ 241797 h 715374"/>
                <a:gd name="connsiteX173" fmla="*/ 639639 w 786911"/>
                <a:gd name="connsiteY173" fmla="*/ 241844 h 715374"/>
                <a:gd name="connsiteX174" fmla="*/ 639686 w 786911"/>
                <a:gd name="connsiteY174" fmla="*/ 248521 h 715374"/>
                <a:gd name="connsiteX175" fmla="*/ 646316 w 786911"/>
                <a:gd name="connsiteY175" fmla="*/ 248521 h 715374"/>
                <a:gd name="connsiteX176" fmla="*/ 646364 w 786911"/>
                <a:gd name="connsiteY176" fmla="*/ 241844 h 715374"/>
                <a:gd name="connsiteX177" fmla="*/ 646316 w 786911"/>
                <a:gd name="connsiteY177" fmla="*/ 241797 h 715374"/>
                <a:gd name="connsiteX178" fmla="*/ 679081 w 786911"/>
                <a:gd name="connsiteY178" fmla="*/ 211035 h 715374"/>
                <a:gd name="connsiteX179" fmla="*/ 673011 w 786911"/>
                <a:gd name="connsiteY179" fmla="*/ 211118 h 715374"/>
                <a:gd name="connsiteX180" fmla="*/ 673094 w 786911"/>
                <a:gd name="connsiteY180" fmla="*/ 217188 h 715374"/>
                <a:gd name="connsiteX181" fmla="*/ 679081 w 786911"/>
                <a:gd name="connsiteY181" fmla="*/ 217188 h 715374"/>
                <a:gd name="connsiteX182" fmla="*/ 679081 w 786911"/>
                <a:gd name="connsiteY182" fmla="*/ 211179 h 715374"/>
                <a:gd name="connsiteX183" fmla="*/ 711559 w 786911"/>
                <a:gd name="connsiteY183" fmla="*/ 180704 h 715374"/>
                <a:gd name="connsiteX184" fmla="*/ 706501 w 786911"/>
                <a:gd name="connsiteY184" fmla="*/ 180611 h 715374"/>
                <a:gd name="connsiteX185" fmla="*/ 706408 w 786911"/>
                <a:gd name="connsiteY185" fmla="*/ 180704 h 715374"/>
                <a:gd name="connsiteX186" fmla="*/ 706315 w 786911"/>
                <a:gd name="connsiteY186" fmla="*/ 185761 h 715374"/>
                <a:gd name="connsiteX187" fmla="*/ 706408 w 786911"/>
                <a:gd name="connsiteY187" fmla="*/ 185854 h 715374"/>
                <a:gd name="connsiteX188" fmla="*/ 711466 w 786911"/>
                <a:gd name="connsiteY188" fmla="*/ 185947 h 715374"/>
                <a:gd name="connsiteX189" fmla="*/ 711559 w 786911"/>
                <a:gd name="connsiteY189" fmla="*/ 185854 h 715374"/>
                <a:gd name="connsiteX190" fmla="*/ 711559 w 786911"/>
                <a:gd name="connsiteY190" fmla="*/ 180560 h 715374"/>
                <a:gd name="connsiteX191" fmla="*/ 744037 w 786911"/>
                <a:gd name="connsiteY191" fmla="*/ 150086 h 715374"/>
                <a:gd name="connsiteX192" fmla="*/ 739601 w 786911"/>
                <a:gd name="connsiteY192" fmla="*/ 150086 h 715374"/>
                <a:gd name="connsiteX193" fmla="*/ 739601 w 786911"/>
                <a:gd name="connsiteY193" fmla="*/ 154521 h 715374"/>
                <a:gd name="connsiteX194" fmla="*/ 744037 w 786911"/>
                <a:gd name="connsiteY194" fmla="*/ 154521 h 715374"/>
                <a:gd name="connsiteX195" fmla="*/ 744227 w 786911"/>
                <a:gd name="connsiteY195" fmla="*/ 150276 h 715374"/>
                <a:gd name="connsiteX196" fmla="*/ 744037 w 786911"/>
                <a:gd name="connsiteY196" fmla="*/ 150086 h 715374"/>
                <a:gd name="connsiteX197" fmla="*/ 776658 w 786911"/>
                <a:gd name="connsiteY197" fmla="*/ 119611 h 715374"/>
                <a:gd name="connsiteX198" fmla="*/ 773016 w 786911"/>
                <a:gd name="connsiteY198" fmla="*/ 119689 h 715374"/>
                <a:gd name="connsiteX199" fmla="*/ 773095 w 786911"/>
                <a:gd name="connsiteY199" fmla="*/ 123331 h 715374"/>
                <a:gd name="connsiteX200" fmla="*/ 776658 w 786911"/>
                <a:gd name="connsiteY200" fmla="*/ 123331 h 715374"/>
                <a:gd name="connsiteX201" fmla="*/ 776658 w 786911"/>
                <a:gd name="connsiteY201" fmla="*/ 119611 h 715374"/>
                <a:gd name="connsiteX202" fmla="*/ 354587 w 786911"/>
                <a:gd name="connsiteY202" fmla="*/ 320917 h 715374"/>
                <a:gd name="connsiteX203" fmla="*/ 343284 w 786911"/>
                <a:gd name="connsiteY203" fmla="*/ 320917 h 715374"/>
                <a:gd name="connsiteX204" fmla="*/ 343526 w 786911"/>
                <a:gd name="connsiteY204" fmla="*/ 332246 h 715374"/>
                <a:gd name="connsiteX205" fmla="*/ 354158 w 786911"/>
                <a:gd name="connsiteY205" fmla="*/ 332649 h 715374"/>
                <a:gd name="connsiteX206" fmla="*/ 354158 w 786911"/>
                <a:gd name="connsiteY206" fmla="*/ 321203 h 715374"/>
                <a:gd name="connsiteX207" fmla="*/ 386636 w 786911"/>
                <a:gd name="connsiteY207" fmla="*/ 290728 h 715374"/>
                <a:gd name="connsiteX208" fmla="*/ 376114 w 786911"/>
                <a:gd name="connsiteY208" fmla="*/ 290794 h 715374"/>
                <a:gd name="connsiteX209" fmla="*/ 376180 w 786911"/>
                <a:gd name="connsiteY209" fmla="*/ 301316 h 715374"/>
                <a:gd name="connsiteX210" fmla="*/ 386636 w 786911"/>
                <a:gd name="connsiteY210" fmla="*/ 301316 h 715374"/>
                <a:gd name="connsiteX211" fmla="*/ 386702 w 786911"/>
                <a:gd name="connsiteY211" fmla="*/ 290794 h 715374"/>
                <a:gd name="connsiteX212" fmla="*/ 386636 w 786911"/>
                <a:gd name="connsiteY212" fmla="*/ 290728 h 715374"/>
                <a:gd name="connsiteX213" fmla="*/ 419543 w 786911"/>
                <a:gd name="connsiteY213" fmla="*/ 260110 h 715374"/>
                <a:gd name="connsiteX214" fmla="*/ 409814 w 786911"/>
                <a:gd name="connsiteY214" fmla="*/ 260110 h 715374"/>
                <a:gd name="connsiteX215" fmla="*/ 409652 w 786911"/>
                <a:gd name="connsiteY215" fmla="*/ 269821 h 715374"/>
                <a:gd name="connsiteX216" fmla="*/ 409814 w 786911"/>
                <a:gd name="connsiteY216" fmla="*/ 269982 h 715374"/>
                <a:gd name="connsiteX217" fmla="*/ 419543 w 786911"/>
                <a:gd name="connsiteY217" fmla="*/ 269982 h 715374"/>
                <a:gd name="connsiteX218" fmla="*/ 419705 w 786911"/>
                <a:gd name="connsiteY218" fmla="*/ 260272 h 715374"/>
                <a:gd name="connsiteX219" fmla="*/ 419543 w 786911"/>
                <a:gd name="connsiteY219" fmla="*/ 260110 h 715374"/>
                <a:gd name="connsiteX220" fmla="*/ 452164 w 786911"/>
                <a:gd name="connsiteY220" fmla="*/ 229635 h 715374"/>
                <a:gd name="connsiteX221" fmla="*/ 443060 w 786911"/>
                <a:gd name="connsiteY221" fmla="*/ 229762 h 715374"/>
                <a:gd name="connsiteX222" fmla="*/ 442721 w 786911"/>
                <a:gd name="connsiteY222" fmla="*/ 238363 h 715374"/>
                <a:gd name="connsiteX223" fmla="*/ 451878 w 786911"/>
                <a:gd name="connsiteY223" fmla="*/ 238363 h 715374"/>
                <a:gd name="connsiteX224" fmla="*/ 451989 w 786911"/>
                <a:gd name="connsiteY224" fmla="*/ 229461 h 715374"/>
                <a:gd name="connsiteX225" fmla="*/ 451878 w 786911"/>
                <a:gd name="connsiteY225" fmla="*/ 229349 h 715374"/>
                <a:gd name="connsiteX226" fmla="*/ 484356 w 786911"/>
                <a:gd name="connsiteY226" fmla="*/ 198874 h 715374"/>
                <a:gd name="connsiteX227" fmla="*/ 476057 w 786911"/>
                <a:gd name="connsiteY227" fmla="*/ 198588 h 715374"/>
                <a:gd name="connsiteX228" fmla="*/ 475771 w 786911"/>
                <a:gd name="connsiteY228" fmla="*/ 206886 h 715374"/>
                <a:gd name="connsiteX229" fmla="*/ 484070 w 786911"/>
                <a:gd name="connsiteY229" fmla="*/ 207172 h 715374"/>
                <a:gd name="connsiteX230" fmla="*/ 484356 w 786911"/>
                <a:gd name="connsiteY230" fmla="*/ 198874 h 715374"/>
                <a:gd name="connsiteX231" fmla="*/ 516834 w 786911"/>
                <a:gd name="connsiteY231" fmla="*/ 168399 h 715374"/>
                <a:gd name="connsiteX232" fmla="*/ 509394 w 786911"/>
                <a:gd name="connsiteY232" fmla="*/ 168399 h 715374"/>
                <a:gd name="connsiteX233" fmla="*/ 509149 w 786911"/>
                <a:gd name="connsiteY233" fmla="*/ 176084 h 715374"/>
                <a:gd name="connsiteX234" fmla="*/ 516834 w 786911"/>
                <a:gd name="connsiteY234" fmla="*/ 176330 h 715374"/>
                <a:gd name="connsiteX235" fmla="*/ 517078 w 786911"/>
                <a:gd name="connsiteY235" fmla="*/ 168644 h 715374"/>
                <a:gd name="connsiteX236" fmla="*/ 516834 w 786911"/>
                <a:gd name="connsiteY236" fmla="*/ 168399 h 715374"/>
                <a:gd name="connsiteX237" fmla="*/ 550313 w 786911"/>
                <a:gd name="connsiteY237" fmla="*/ 138067 h 715374"/>
                <a:gd name="connsiteX238" fmla="*/ 543446 w 786911"/>
                <a:gd name="connsiteY238" fmla="*/ 138067 h 715374"/>
                <a:gd name="connsiteX239" fmla="*/ 543303 w 786911"/>
                <a:gd name="connsiteY239" fmla="*/ 144792 h 715374"/>
                <a:gd name="connsiteX240" fmla="*/ 550027 w 786911"/>
                <a:gd name="connsiteY240" fmla="*/ 144935 h 715374"/>
                <a:gd name="connsiteX241" fmla="*/ 550027 w 786911"/>
                <a:gd name="connsiteY241" fmla="*/ 138210 h 715374"/>
                <a:gd name="connsiteX242" fmla="*/ 582505 w 786911"/>
                <a:gd name="connsiteY242" fmla="*/ 107735 h 715374"/>
                <a:gd name="connsiteX243" fmla="*/ 576496 w 786911"/>
                <a:gd name="connsiteY243" fmla="*/ 107735 h 715374"/>
                <a:gd name="connsiteX244" fmla="*/ 576281 w 786911"/>
                <a:gd name="connsiteY244" fmla="*/ 113673 h 715374"/>
                <a:gd name="connsiteX245" fmla="*/ 582219 w 786911"/>
                <a:gd name="connsiteY245" fmla="*/ 113888 h 715374"/>
                <a:gd name="connsiteX246" fmla="*/ 582219 w 786911"/>
                <a:gd name="connsiteY246" fmla="*/ 107878 h 715374"/>
                <a:gd name="connsiteX247" fmla="*/ 614697 w 786911"/>
                <a:gd name="connsiteY247" fmla="*/ 77404 h 715374"/>
                <a:gd name="connsiteX248" fmla="*/ 609639 w 786911"/>
                <a:gd name="connsiteY248" fmla="*/ 77311 h 715374"/>
                <a:gd name="connsiteX249" fmla="*/ 609546 w 786911"/>
                <a:gd name="connsiteY249" fmla="*/ 77404 h 715374"/>
                <a:gd name="connsiteX250" fmla="*/ 609403 w 786911"/>
                <a:gd name="connsiteY250" fmla="*/ 82554 h 715374"/>
                <a:gd name="connsiteX251" fmla="*/ 614554 w 786911"/>
                <a:gd name="connsiteY251" fmla="*/ 82697 h 715374"/>
                <a:gd name="connsiteX252" fmla="*/ 614647 w 786911"/>
                <a:gd name="connsiteY252" fmla="*/ 77640 h 715374"/>
                <a:gd name="connsiteX253" fmla="*/ 614554 w 786911"/>
                <a:gd name="connsiteY253" fmla="*/ 77547 h 715374"/>
                <a:gd name="connsiteX254" fmla="*/ 647032 w 786911"/>
                <a:gd name="connsiteY254" fmla="*/ 47072 h 715374"/>
                <a:gd name="connsiteX255" fmla="*/ 642596 w 786911"/>
                <a:gd name="connsiteY255" fmla="*/ 47072 h 715374"/>
                <a:gd name="connsiteX256" fmla="*/ 642596 w 786911"/>
                <a:gd name="connsiteY256" fmla="*/ 51507 h 715374"/>
                <a:gd name="connsiteX257" fmla="*/ 647032 w 786911"/>
                <a:gd name="connsiteY257" fmla="*/ 51507 h 715374"/>
                <a:gd name="connsiteX258" fmla="*/ 647222 w 786911"/>
                <a:gd name="connsiteY258" fmla="*/ 47262 h 715374"/>
                <a:gd name="connsiteX259" fmla="*/ 647032 w 786911"/>
                <a:gd name="connsiteY259" fmla="*/ 47072 h 715374"/>
                <a:gd name="connsiteX260" fmla="*/ 679796 w 786911"/>
                <a:gd name="connsiteY260" fmla="*/ 16883 h 715374"/>
                <a:gd name="connsiteX261" fmla="*/ 676155 w 786911"/>
                <a:gd name="connsiteY261" fmla="*/ 16819 h 715374"/>
                <a:gd name="connsiteX262" fmla="*/ 676090 w 786911"/>
                <a:gd name="connsiteY262" fmla="*/ 20460 h 715374"/>
                <a:gd name="connsiteX263" fmla="*/ 679732 w 786911"/>
                <a:gd name="connsiteY263" fmla="*/ 20524 h 715374"/>
                <a:gd name="connsiteX264" fmla="*/ 679796 w 786911"/>
                <a:gd name="connsiteY264" fmla="*/ 20460 h 715374"/>
                <a:gd name="connsiteX265" fmla="*/ 679796 w 786911"/>
                <a:gd name="connsiteY265" fmla="*/ 16883 h 715374"/>
                <a:gd name="connsiteX266" fmla="*/ 373902 w 786911"/>
                <a:gd name="connsiteY266" fmla="*/ 341663 h 715374"/>
                <a:gd name="connsiteX267" fmla="*/ 362599 w 786911"/>
                <a:gd name="connsiteY267" fmla="*/ 341663 h 715374"/>
                <a:gd name="connsiteX268" fmla="*/ 362241 w 786911"/>
                <a:gd name="connsiteY268" fmla="*/ 353037 h 715374"/>
                <a:gd name="connsiteX269" fmla="*/ 373616 w 786911"/>
                <a:gd name="connsiteY269" fmla="*/ 353395 h 715374"/>
                <a:gd name="connsiteX270" fmla="*/ 373616 w 786911"/>
                <a:gd name="connsiteY270" fmla="*/ 342092 h 715374"/>
                <a:gd name="connsiteX271" fmla="*/ 407238 w 786911"/>
                <a:gd name="connsiteY271" fmla="*/ 311188 h 715374"/>
                <a:gd name="connsiteX272" fmla="*/ 396651 w 786911"/>
                <a:gd name="connsiteY272" fmla="*/ 310759 h 715374"/>
                <a:gd name="connsiteX273" fmla="*/ 396222 w 786911"/>
                <a:gd name="connsiteY273" fmla="*/ 321346 h 715374"/>
                <a:gd name="connsiteX274" fmla="*/ 406537 w 786911"/>
                <a:gd name="connsiteY274" fmla="*/ 321618 h 715374"/>
                <a:gd name="connsiteX275" fmla="*/ 406809 w 786911"/>
                <a:gd name="connsiteY275" fmla="*/ 321346 h 715374"/>
                <a:gd name="connsiteX276" fmla="*/ 406809 w 786911"/>
                <a:gd name="connsiteY276" fmla="*/ 310759 h 715374"/>
                <a:gd name="connsiteX277" fmla="*/ 439287 w 786911"/>
                <a:gd name="connsiteY277" fmla="*/ 280284 h 715374"/>
                <a:gd name="connsiteX278" fmla="*/ 429577 w 786911"/>
                <a:gd name="connsiteY278" fmla="*/ 280122 h 715374"/>
                <a:gd name="connsiteX279" fmla="*/ 429415 w 786911"/>
                <a:gd name="connsiteY279" fmla="*/ 280284 h 715374"/>
                <a:gd name="connsiteX280" fmla="*/ 429415 w 786911"/>
                <a:gd name="connsiteY280" fmla="*/ 290013 h 715374"/>
                <a:gd name="connsiteX281" fmla="*/ 439126 w 786911"/>
                <a:gd name="connsiteY281" fmla="*/ 290174 h 715374"/>
                <a:gd name="connsiteX282" fmla="*/ 439287 w 786911"/>
                <a:gd name="connsiteY282" fmla="*/ 290013 h 715374"/>
                <a:gd name="connsiteX283" fmla="*/ 439287 w 786911"/>
                <a:gd name="connsiteY283" fmla="*/ 280284 h 715374"/>
                <a:gd name="connsiteX284" fmla="*/ 471765 w 786911"/>
                <a:gd name="connsiteY284" fmla="*/ 249809 h 715374"/>
                <a:gd name="connsiteX285" fmla="*/ 462660 w 786911"/>
                <a:gd name="connsiteY285" fmla="*/ 249717 h 715374"/>
                <a:gd name="connsiteX286" fmla="*/ 462570 w 786911"/>
                <a:gd name="connsiteY286" fmla="*/ 258822 h 715374"/>
                <a:gd name="connsiteX287" fmla="*/ 471674 w 786911"/>
                <a:gd name="connsiteY287" fmla="*/ 258914 h 715374"/>
                <a:gd name="connsiteX288" fmla="*/ 471765 w 786911"/>
                <a:gd name="connsiteY288" fmla="*/ 258822 h 715374"/>
                <a:gd name="connsiteX289" fmla="*/ 471877 w 786911"/>
                <a:gd name="connsiteY289" fmla="*/ 249920 h 715374"/>
                <a:gd name="connsiteX290" fmla="*/ 471765 w 786911"/>
                <a:gd name="connsiteY290" fmla="*/ 249809 h 715374"/>
                <a:gd name="connsiteX291" fmla="*/ 504386 w 786911"/>
                <a:gd name="connsiteY291" fmla="*/ 219334 h 715374"/>
                <a:gd name="connsiteX292" fmla="*/ 496088 w 786911"/>
                <a:gd name="connsiteY292" fmla="*/ 219048 h 715374"/>
                <a:gd name="connsiteX293" fmla="*/ 495802 w 786911"/>
                <a:gd name="connsiteY293" fmla="*/ 227346 h 715374"/>
                <a:gd name="connsiteX294" fmla="*/ 504100 w 786911"/>
                <a:gd name="connsiteY294" fmla="*/ 227632 h 715374"/>
                <a:gd name="connsiteX295" fmla="*/ 504386 w 786911"/>
                <a:gd name="connsiteY295" fmla="*/ 219334 h 715374"/>
                <a:gd name="connsiteX296" fmla="*/ 536006 w 786911"/>
                <a:gd name="connsiteY296" fmla="*/ 189288 h 715374"/>
                <a:gd name="connsiteX297" fmla="*/ 528520 w 786911"/>
                <a:gd name="connsiteY297" fmla="*/ 189241 h 715374"/>
                <a:gd name="connsiteX298" fmla="*/ 528473 w 786911"/>
                <a:gd name="connsiteY298" fmla="*/ 196728 h 715374"/>
                <a:gd name="connsiteX299" fmla="*/ 535959 w 786911"/>
                <a:gd name="connsiteY299" fmla="*/ 196774 h 715374"/>
                <a:gd name="connsiteX300" fmla="*/ 536006 w 786911"/>
                <a:gd name="connsiteY300" fmla="*/ 196728 h 715374"/>
                <a:gd name="connsiteX301" fmla="*/ 536006 w 786911"/>
                <a:gd name="connsiteY301" fmla="*/ 189288 h 715374"/>
                <a:gd name="connsiteX302" fmla="*/ 568484 w 786911"/>
                <a:gd name="connsiteY302" fmla="*/ 158813 h 715374"/>
                <a:gd name="connsiteX303" fmla="*/ 561806 w 786911"/>
                <a:gd name="connsiteY303" fmla="*/ 158860 h 715374"/>
                <a:gd name="connsiteX304" fmla="*/ 561854 w 786911"/>
                <a:gd name="connsiteY304" fmla="*/ 165538 h 715374"/>
                <a:gd name="connsiteX305" fmla="*/ 568484 w 786911"/>
                <a:gd name="connsiteY305" fmla="*/ 165538 h 715374"/>
                <a:gd name="connsiteX306" fmla="*/ 568531 w 786911"/>
                <a:gd name="connsiteY306" fmla="*/ 158860 h 715374"/>
                <a:gd name="connsiteX307" fmla="*/ 568484 w 786911"/>
                <a:gd name="connsiteY307" fmla="*/ 158813 h 715374"/>
                <a:gd name="connsiteX308" fmla="*/ 600962 w 786911"/>
                <a:gd name="connsiteY308" fmla="*/ 128338 h 715374"/>
                <a:gd name="connsiteX309" fmla="*/ 595096 w 786911"/>
                <a:gd name="connsiteY309" fmla="*/ 128338 h 715374"/>
                <a:gd name="connsiteX310" fmla="*/ 595096 w 786911"/>
                <a:gd name="connsiteY310" fmla="*/ 134347 h 715374"/>
                <a:gd name="connsiteX311" fmla="*/ 600962 w 786911"/>
                <a:gd name="connsiteY311" fmla="*/ 134490 h 715374"/>
                <a:gd name="connsiteX312" fmla="*/ 601105 w 786911"/>
                <a:gd name="connsiteY312" fmla="*/ 134347 h 715374"/>
                <a:gd name="connsiteX313" fmla="*/ 601309 w 786911"/>
                <a:gd name="connsiteY313" fmla="*/ 128686 h 715374"/>
                <a:gd name="connsiteX314" fmla="*/ 601105 w 786911"/>
                <a:gd name="connsiteY314" fmla="*/ 128481 h 715374"/>
                <a:gd name="connsiteX315" fmla="*/ 633726 w 786911"/>
                <a:gd name="connsiteY315" fmla="*/ 98006 h 715374"/>
                <a:gd name="connsiteX316" fmla="*/ 628466 w 786911"/>
                <a:gd name="connsiteY316" fmla="*/ 97898 h 715374"/>
                <a:gd name="connsiteX317" fmla="*/ 628358 w 786911"/>
                <a:gd name="connsiteY317" fmla="*/ 103157 h 715374"/>
                <a:gd name="connsiteX318" fmla="*/ 633617 w 786911"/>
                <a:gd name="connsiteY318" fmla="*/ 103266 h 715374"/>
                <a:gd name="connsiteX319" fmla="*/ 633726 w 786911"/>
                <a:gd name="connsiteY319" fmla="*/ 103157 h 715374"/>
                <a:gd name="connsiteX320" fmla="*/ 633726 w 786911"/>
                <a:gd name="connsiteY320" fmla="*/ 98006 h 715374"/>
                <a:gd name="connsiteX321" fmla="*/ 666204 w 786911"/>
                <a:gd name="connsiteY321" fmla="*/ 67531 h 715374"/>
                <a:gd name="connsiteX322" fmla="*/ 661959 w 786911"/>
                <a:gd name="connsiteY322" fmla="*/ 67341 h 715374"/>
                <a:gd name="connsiteX323" fmla="*/ 661769 w 786911"/>
                <a:gd name="connsiteY323" fmla="*/ 67531 h 715374"/>
                <a:gd name="connsiteX324" fmla="*/ 661769 w 786911"/>
                <a:gd name="connsiteY324" fmla="*/ 71967 h 715374"/>
                <a:gd name="connsiteX325" fmla="*/ 666204 w 786911"/>
                <a:gd name="connsiteY325" fmla="*/ 71967 h 715374"/>
                <a:gd name="connsiteX326" fmla="*/ 666204 w 786911"/>
                <a:gd name="connsiteY326" fmla="*/ 67531 h 715374"/>
                <a:gd name="connsiteX327" fmla="*/ 699111 w 786911"/>
                <a:gd name="connsiteY327" fmla="*/ 36913 h 715374"/>
                <a:gd name="connsiteX328" fmla="*/ 695470 w 786911"/>
                <a:gd name="connsiteY328" fmla="*/ 36849 h 715374"/>
                <a:gd name="connsiteX329" fmla="*/ 695405 w 786911"/>
                <a:gd name="connsiteY329" fmla="*/ 40490 h 715374"/>
                <a:gd name="connsiteX330" fmla="*/ 699047 w 786911"/>
                <a:gd name="connsiteY330" fmla="*/ 40555 h 715374"/>
                <a:gd name="connsiteX331" fmla="*/ 699111 w 786911"/>
                <a:gd name="connsiteY331" fmla="*/ 40490 h 715374"/>
                <a:gd name="connsiteX332" fmla="*/ 699251 w 786911"/>
                <a:gd name="connsiteY332" fmla="*/ 37054 h 715374"/>
                <a:gd name="connsiteX333" fmla="*/ 699111 w 786911"/>
                <a:gd name="connsiteY333" fmla="*/ 36913 h 715374"/>
                <a:gd name="connsiteX334" fmla="*/ 392931 w 786911"/>
                <a:gd name="connsiteY334" fmla="*/ 362409 h 715374"/>
                <a:gd name="connsiteX335" fmla="*/ 381599 w 786911"/>
                <a:gd name="connsiteY335" fmla="*/ 362380 h 715374"/>
                <a:gd name="connsiteX336" fmla="*/ 381572 w 786911"/>
                <a:gd name="connsiteY336" fmla="*/ 373711 h 715374"/>
                <a:gd name="connsiteX337" fmla="*/ 392902 w 786911"/>
                <a:gd name="connsiteY337" fmla="*/ 373740 h 715374"/>
                <a:gd name="connsiteX338" fmla="*/ 392931 w 786911"/>
                <a:gd name="connsiteY338" fmla="*/ 373711 h 715374"/>
                <a:gd name="connsiteX339" fmla="*/ 392931 w 786911"/>
                <a:gd name="connsiteY339" fmla="*/ 362409 h 715374"/>
                <a:gd name="connsiteX340" fmla="*/ 425838 w 786911"/>
                <a:gd name="connsiteY340" fmla="*/ 331647 h 715374"/>
                <a:gd name="connsiteX341" fmla="*/ 415322 w 786911"/>
                <a:gd name="connsiteY341" fmla="*/ 331290 h 715374"/>
                <a:gd name="connsiteX342" fmla="*/ 414965 w 786911"/>
                <a:gd name="connsiteY342" fmla="*/ 341806 h 715374"/>
                <a:gd name="connsiteX343" fmla="*/ 425552 w 786911"/>
                <a:gd name="connsiteY343" fmla="*/ 341806 h 715374"/>
                <a:gd name="connsiteX344" fmla="*/ 425618 w 786911"/>
                <a:gd name="connsiteY344" fmla="*/ 331284 h 715374"/>
                <a:gd name="connsiteX345" fmla="*/ 425552 w 786911"/>
                <a:gd name="connsiteY345" fmla="*/ 331218 h 715374"/>
                <a:gd name="connsiteX346" fmla="*/ 458173 w 786911"/>
                <a:gd name="connsiteY346" fmla="*/ 300743 h 715374"/>
                <a:gd name="connsiteX347" fmla="*/ 448461 w 786911"/>
                <a:gd name="connsiteY347" fmla="*/ 300761 h 715374"/>
                <a:gd name="connsiteX348" fmla="*/ 448478 w 786911"/>
                <a:gd name="connsiteY348" fmla="*/ 310472 h 715374"/>
                <a:gd name="connsiteX349" fmla="*/ 458173 w 786911"/>
                <a:gd name="connsiteY349" fmla="*/ 310472 h 715374"/>
                <a:gd name="connsiteX350" fmla="*/ 458190 w 786911"/>
                <a:gd name="connsiteY350" fmla="*/ 300761 h 715374"/>
                <a:gd name="connsiteX351" fmla="*/ 458173 w 786911"/>
                <a:gd name="connsiteY351" fmla="*/ 300743 h 715374"/>
                <a:gd name="connsiteX352" fmla="*/ 490651 w 786911"/>
                <a:gd name="connsiteY352" fmla="*/ 270268 h 715374"/>
                <a:gd name="connsiteX353" fmla="*/ 481677 w 786911"/>
                <a:gd name="connsiteY353" fmla="*/ 268727 h 715374"/>
                <a:gd name="connsiteX354" fmla="*/ 480137 w 786911"/>
                <a:gd name="connsiteY354" fmla="*/ 277701 h 715374"/>
                <a:gd name="connsiteX355" fmla="*/ 481351 w 786911"/>
                <a:gd name="connsiteY355" fmla="*/ 278996 h 715374"/>
                <a:gd name="connsiteX356" fmla="*/ 490405 w 786911"/>
                <a:gd name="connsiteY356" fmla="*/ 278027 h 715374"/>
                <a:gd name="connsiteX357" fmla="*/ 490651 w 786911"/>
                <a:gd name="connsiteY357" fmla="*/ 270268 h 715374"/>
                <a:gd name="connsiteX358" fmla="*/ 523129 w 786911"/>
                <a:gd name="connsiteY358" fmla="*/ 239650 h 715374"/>
                <a:gd name="connsiteX359" fmla="*/ 514831 w 786911"/>
                <a:gd name="connsiteY359" fmla="*/ 239364 h 715374"/>
                <a:gd name="connsiteX360" fmla="*/ 514545 w 786911"/>
                <a:gd name="connsiteY360" fmla="*/ 247663 h 715374"/>
                <a:gd name="connsiteX361" fmla="*/ 522843 w 786911"/>
                <a:gd name="connsiteY361" fmla="*/ 247949 h 715374"/>
                <a:gd name="connsiteX362" fmla="*/ 523129 w 786911"/>
                <a:gd name="connsiteY362" fmla="*/ 239650 h 715374"/>
                <a:gd name="connsiteX363" fmla="*/ 555607 w 786911"/>
                <a:gd name="connsiteY363" fmla="*/ 209175 h 715374"/>
                <a:gd name="connsiteX364" fmla="*/ 548096 w 786911"/>
                <a:gd name="connsiteY364" fmla="*/ 208961 h 715374"/>
                <a:gd name="connsiteX365" fmla="*/ 547881 w 786911"/>
                <a:gd name="connsiteY365" fmla="*/ 216472 h 715374"/>
                <a:gd name="connsiteX366" fmla="*/ 555392 w 786911"/>
                <a:gd name="connsiteY366" fmla="*/ 216687 h 715374"/>
                <a:gd name="connsiteX367" fmla="*/ 555607 w 786911"/>
                <a:gd name="connsiteY367" fmla="*/ 209175 h 715374"/>
                <a:gd name="connsiteX368" fmla="*/ 588228 w 786911"/>
                <a:gd name="connsiteY368" fmla="*/ 178701 h 715374"/>
                <a:gd name="connsiteX369" fmla="*/ 581350 w 786911"/>
                <a:gd name="connsiteY369" fmla="*/ 178547 h 715374"/>
                <a:gd name="connsiteX370" fmla="*/ 581197 w 786911"/>
                <a:gd name="connsiteY370" fmla="*/ 185425 h 715374"/>
                <a:gd name="connsiteX371" fmla="*/ 588075 w 786911"/>
                <a:gd name="connsiteY371" fmla="*/ 185578 h 715374"/>
                <a:gd name="connsiteX372" fmla="*/ 588228 w 786911"/>
                <a:gd name="connsiteY372" fmla="*/ 185425 h 715374"/>
                <a:gd name="connsiteX373" fmla="*/ 588275 w 786911"/>
                <a:gd name="connsiteY373" fmla="*/ 178748 h 715374"/>
                <a:gd name="connsiteX374" fmla="*/ 588228 w 786911"/>
                <a:gd name="connsiteY374" fmla="*/ 178701 h 715374"/>
                <a:gd name="connsiteX375" fmla="*/ 620706 w 786911"/>
                <a:gd name="connsiteY375" fmla="*/ 148226 h 715374"/>
                <a:gd name="connsiteX376" fmla="*/ 614637 w 786911"/>
                <a:gd name="connsiteY376" fmla="*/ 148165 h 715374"/>
                <a:gd name="connsiteX377" fmla="*/ 614575 w 786911"/>
                <a:gd name="connsiteY377" fmla="*/ 154235 h 715374"/>
                <a:gd name="connsiteX378" fmla="*/ 620646 w 786911"/>
                <a:gd name="connsiteY378" fmla="*/ 154295 h 715374"/>
                <a:gd name="connsiteX379" fmla="*/ 620706 w 786911"/>
                <a:gd name="connsiteY379" fmla="*/ 154235 h 715374"/>
                <a:gd name="connsiteX380" fmla="*/ 620706 w 786911"/>
                <a:gd name="connsiteY380" fmla="*/ 148226 h 715374"/>
                <a:gd name="connsiteX381" fmla="*/ 653184 w 786911"/>
                <a:gd name="connsiteY381" fmla="*/ 117751 h 715374"/>
                <a:gd name="connsiteX382" fmla="*/ 648132 w 786911"/>
                <a:gd name="connsiteY382" fmla="*/ 117991 h 715374"/>
                <a:gd name="connsiteX383" fmla="*/ 648372 w 786911"/>
                <a:gd name="connsiteY383" fmla="*/ 123044 h 715374"/>
                <a:gd name="connsiteX384" fmla="*/ 653184 w 786911"/>
                <a:gd name="connsiteY384" fmla="*/ 123044 h 715374"/>
                <a:gd name="connsiteX385" fmla="*/ 653184 w 786911"/>
                <a:gd name="connsiteY385" fmla="*/ 117751 h 715374"/>
                <a:gd name="connsiteX386" fmla="*/ 686091 w 786911"/>
                <a:gd name="connsiteY386" fmla="*/ 88420 h 715374"/>
                <a:gd name="connsiteX387" fmla="*/ 681656 w 786911"/>
                <a:gd name="connsiteY387" fmla="*/ 88420 h 715374"/>
                <a:gd name="connsiteX388" fmla="*/ 681466 w 786911"/>
                <a:gd name="connsiteY388" fmla="*/ 92665 h 715374"/>
                <a:gd name="connsiteX389" fmla="*/ 681656 w 786911"/>
                <a:gd name="connsiteY389" fmla="*/ 92856 h 715374"/>
                <a:gd name="connsiteX390" fmla="*/ 686091 w 786911"/>
                <a:gd name="connsiteY390" fmla="*/ 92856 h 715374"/>
                <a:gd name="connsiteX391" fmla="*/ 686091 w 786911"/>
                <a:gd name="connsiteY391" fmla="*/ 88420 h 715374"/>
                <a:gd name="connsiteX392" fmla="*/ 718569 w 786911"/>
                <a:gd name="connsiteY392" fmla="*/ 57945 h 715374"/>
                <a:gd name="connsiteX393" fmla="*/ 714849 w 786911"/>
                <a:gd name="connsiteY393" fmla="*/ 57945 h 715374"/>
                <a:gd name="connsiteX394" fmla="*/ 714849 w 786911"/>
                <a:gd name="connsiteY394" fmla="*/ 61665 h 715374"/>
                <a:gd name="connsiteX395" fmla="*/ 718569 w 786911"/>
                <a:gd name="connsiteY395" fmla="*/ 61808 h 715374"/>
                <a:gd name="connsiteX396" fmla="*/ 718712 w 786911"/>
                <a:gd name="connsiteY396" fmla="*/ 58088 h 715374"/>
                <a:gd name="connsiteX397" fmla="*/ 367750 w 786911"/>
                <a:gd name="connsiteY397" fmla="*/ 425218 h 715374"/>
                <a:gd name="connsiteX398" fmla="*/ 379081 w 786911"/>
                <a:gd name="connsiteY398" fmla="*/ 425247 h 715374"/>
                <a:gd name="connsiteX399" fmla="*/ 379109 w 786911"/>
                <a:gd name="connsiteY399" fmla="*/ 413915 h 715374"/>
                <a:gd name="connsiteX400" fmla="*/ 367778 w 786911"/>
                <a:gd name="connsiteY400" fmla="*/ 413887 h 715374"/>
                <a:gd name="connsiteX401" fmla="*/ 367750 w 786911"/>
                <a:gd name="connsiteY401" fmla="*/ 413915 h 715374"/>
                <a:gd name="connsiteX402" fmla="*/ 367750 w 786911"/>
                <a:gd name="connsiteY402" fmla="*/ 425218 h 715374"/>
                <a:gd name="connsiteX403" fmla="*/ 335701 w 786911"/>
                <a:gd name="connsiteY403" fmla="*/ 455693 h 715374"/>
                <a:gd name="connsiteX404" fmla="*/ 346217 w 786911"/>
                <a:gd name="connsiteY404" fmla="*/ 456051 h 715374"/>
                <a:gd name="connsiteX405" fmla="*/ 346575 w 786911"/>
                <a:gd name="connsiteY405" fmla="*/ 445535 h 715374"/>
                <a:gd name="connsiteX406" fmla="*/ 335987 w 786911"/>
                <a:gd name="connsiteY406" fmla="*/ 445535 h 715374"/>
                <a:gd name="connsiteX407" fmla="*/ 335921 w 786911"/>
                <a:gd name="connsiteY407" fmla="*/ 456057 h 715374"/>
                <a:gd name="connsiteX408" fmla="*/ 335987 w 786911"/>
                <a:gd name="connsiteY408" fmla="*/ 456123 h 715374"/>
                <a:gd name="connsiteX409" fmla="*/ 302651 w 786911"/>
                <a:gd name="connsiteY409" fmla="*/ 486168 h 715374"/>
                <a:gd name="connsiteX410" fmla="*/ 312523 w 786911"/>
                <a:gd name="connsiteY410" fmla="*/ 486168 h 715374"/>
                <a:gd name="connsiteX411" fmla="*/ 312523 w 786911"/>
                <a:gd name="connsiteY411" fmla="*/ 476296 h 715374"/>
                <a:gd name="connsiteX412" fmla="*/ 302794 w 786911"/>
                <a:gd name="connsiteY412" fmla="*/ 476296 h 715374"/>
                <a:gd name="connsiteX413" fmla="*/ 302777 w 786911"/>
                <a:gd name="connsiteY413" fmla="*/ 486008 h 715374"/>
                <a:gd name="connsiteX414" fmla="*/ 302794 w 786911"/>
                <a:gd name="connsiteY414" fmla="*/ 486025 h 715374"/>
                <a:gd name="connsiteX415" fmla="*/ 270316 w 786911"/>
                <a:gd name="connsiteY415" fmla="*/ 516500 h 715374"/>
                <a:gd name="connsiteX416" fmla="*/ 279290 w 786911"/>
                <a:gd name="connsiteY416" fmla="*/ 518041 h 715374"/>
                <a:gd name="connsiteX417" fmla="*/ 280830 w 786911"/>
                <a:gd name="connsiteY417" fmla="*/ 509067 h 715374"/>
                <a:gd name="connsiteX418" fmla="*/ 279616 w 786911"/>
                <a:gd name="connsiteY418" fmla="*/ 507773 h 715374"/>
                <a:gd name="connsiteX419" fmla="*/ 270642 w 786911"/>
                <a:gd name="connsiteY419" fmla="*/ 506232 h 715374"/>
                <a:gd name="connsiteX420" fmla="*/ 269101 w 786911"/>
                <a:gd name="connsiteY420" fmla="*/ 515205 h 715374"/>
                <a:gd name="connsiteX421" fmla="*/ 270316 w 786911"/>
                <a:gd name="connsiteY421" fmla="*/ 516500 h 715374"/>
                <a:gd name="connsiteX422" fmla="*/ 237838 w 786911"/>
                <a:gd name="connsiteY422" fmla="*/ 547118 h 715374"/>
                <a:gd name="connsiteX423" fmla="*/ 246136 w 786911"/>
                <a:gd name="connsiteY423" fmla="*/ 547404 h 715374"/>
                <a:gd name="connsiteX424" fmla="*/ 246422 w 786911"/>
                <a:gd name="connsiteY424" fmla="*/ 539106 h 715374"/>
                <a:gd name="connsiteX425" fmla="*/ 238124 w 786911"/>
                <a:gd name="connsiteY425" fmla="*/ 538820 h 715374"/>
                <a:gd name="connsiteX426" fmla="*/ 237838 w 786911"/>
                <a:gd name="connsiteY426" fmla="*/ 547118 h 715374"/>
                <a:gd name="connsiteX427" fmla="*/ 205217 w 786911"/>
                <a:gd name="connsiteY427" fmla="*/ 577736 h 715374"/>
                <a:gd name="connsiteX428" fmla="*/ 212728 w 786911"/>
                <a:gd name="connsiteY428" fmla="*/ 577951 h 715374"/>
                <a:gd name="connsiteX429" fmla="*/ 212943 w 786911"/>
                <a:gd name="connsiteY429" fmla="*/ 570439 h 715374"/>
                <a:gd name="connsiteX430" fmla="*/ 205431 w 786911"/>
                <a:gd name="connsiteY430" fmla="*/ 570225 h 715374"/>
                <a:gd name="connsiteX431" fmla="*/ 205217 w 786911"/>
                <a:gd name="connsiteY431" fmla="*/ 577736 h 715374"/>
                <a:gd name="connsiteX432" fmla="*/ 172596 w 786911"/>
                <a:gd name="connsiteY432" fmla="*/ 608211 h 715374"/>
                <a:gd name="connsiteX433" fmla="*/ 179473 w 786911"/>
                <a:gd name="connsiteY433" fmla="*/ 608364 h 715374"/>
                <a:gd name="connsiteX434" fmla="*/ 179626 w 786911"/>
                <a:gd name="connsiteY434" fmla="*/ 601487 h 715374"/>
                <a:gd name="connsiteX435" fmla="*/ 172749 w 786911"/>
                <a:gd name="connsiteY435" fmla="*/ 601333 h 715374"/>
                <a:gd name="connsiteX436" fmla="*/ 172596 w 786911"/>
                <a:gd name="connsiteY436" fmla="*/ 601487 h 715374"/>
                <a:gd name="connsiteX437" fmla="*/ 172549 w 786911"/>
                <a:gd name="connsiteY437" fmla="*/ 608164 h 715374"/>
                <a:gd name="connsiteX438" fmla="*/ 172596 w 786911"/>
                <a:gd name="connsiteY438" fmla="*/ 608211 h 715374"/>
                <a:gd name="connsiteX439" fmla="*/ 140118 w 786911"/>
                <a:gd name="connsiteY439" fmla="*/ 638686 h 715374"/>
                <a:gd name="connsiteX440" fmla="*/ 146187 w 786911"/>
                <a:gd name="connsiteY440" fmla="*/ 638746 h 715374"/>
                <a:gd name="connsiteX441" fmla="*/ 146249 w 786911"/>
                <a:gd name="connsiteY441" fmla="*/ 632677 h 715374"/>
                <a:gd name="connsiteX442" fmla="*/ 140178 w 786911"/>
                <a:gd name="connsiteY442" fmla="*/ 632617 h 715374"/>
                <a:gd name="connsiteX443" fmla="*/ 140118 w 786911"/>
                <a:gd name="connsiteY443" fmla="*/ 632677 h 715374"/>
                <a:gd name="connsiteX444" fmla="*/ 140118 w 786911"/>
                <a:gd name="connsiteY444" fmla="*/ 638686 h 715374"/>
                <a:gd name="connsiteX445" fmla="*/ 107640 w 786911"/>
                <a:gd name="connsiteY445" fmla="*/ 669161 h 715374"/>
                <a:gd name="connsiteX446" fmla="*/ 112693 w 786911"/>
                <a:gd name="connsiteY446" fmla="*/ 668921 h 715374"/>
                <a:gd name="connsiteX447" fmla="*/ 112451 w 786911"/>
                <a:gd name="connsiteY447" fmla="*/ 663867 h 715374"/>
                <a:gd name="connsiteX448" fmla="*/ 107640 w 786911"/>
                <a:gd name="connsiteY448" fmla="*/ 663867 h 715374"/>
                <a:gd name="connsiteX449" fmla="*/ 107640 w 786911"/>
                <a:gd name="connsiteY449" fmla="*/ 669161 h 715374"/>
                <a:gd name="connsiteX450" fmla="*/ 387208 w 786911"/>
                <a:gd name="connsiteY450" fmla="*/ 446107 h 715374"/>
                <a:gd name="connsiteX451" fmla="*/ 398511 w 786911"/>
                <a:gd name="connsiteY451" fmla="*/ 446107 h 715374"/>
                <a:gd name="connsiteX452" fmla="*/ 398511 w 786911"/>
                <a:gd name="connsiteY452" fmla="*/ 434661 h 715374"/>
                <a:gd name="connsiteX453" fmla="*/ 387208 w 786911"/>
                <a:gd name="connsiteY453" fmla="*/ 434661 h 715374"/>
                <a:gd name="connsiteX454" fmla="*/ 387032 w 786911"/>
                <a:gd name="connsiteY454" fmla="*/ 445788 h 715374"/>
                <a:gd name="connsiteX455" fmla="*/ 387208 w 786911"/>
                <a:gd name="connsiteY455" fmla="*/ 445964 h 715374"/>
                <a:gd name="connsiteX456" fmla="*/ 354587 w 786911"/>
                <a:gd name="connsiteY456" fmla="*/ 476439 h 715374"/>
                <a:gd name="connsiteX457" fmla="*/ 365109 w 786911"/>
                <a:gd name="connsiteY457" fmla="*/ 476505 h 715374"/>
                <a:gd name="connsiteX458" fmla="*/ 365174 w 786911"/>
                <a:gd name="connsiteY458" fmla="*/ 476439 h 715374"/>
                <a:gd name="connsiteX459" fmla="*/ 365174 w 786911"/>
                <a:gd name="connsiteY459" fmla="*/ 465852 h 715374"/>
                <a:gd name="connsiteX460" fmla="*/ 354478 w 786911"/>
                <a:gd name="connsiteY460" fmla="*/ 466616 h 715374"/>
                <a:gd name="connsiteX461" fmla="*/ 354158 w 786911"/>
                <a:gd name="connsiteY461" fmla="*/ 476153 h 715374"/>
                <a:gd name="connsiteX462" fmla="*/ 321680 w 786911"/>
                <a:gd name="connsiteY462" fmla="*/ 506628 h 715374"/>
                <a:gd name="connsiteX463" fmla="*/ 331390 w 786911"/>
                <a:gd name="connsiteY463" fmla="*/ 506790 h 715374"/>
                <a:gd name="connsiteX464" fmla="*/ 331552 w 786911"/>
                <a:gd name="connsiteY464" fmla="*/ 506628 h 715374"/>
                <a:gd name="connsiteX465" fmla="*/ 330968 w 786911"/>
                <a:gd name="connsiteY465" fmla="*/ 496730 h 715374"/>
                <a:gd name="connsiteX466" fmla="*/ 321966 w 786911"/>
                <a:gd name="connsiteY466" fmla="*/ 496470 h 715374"/>
                <a:gd name="connsiteX467" fmla="*/ 321966 w 786911"/>
                <a:gd name="connsiteY467" fmla="*/ 506342 h 715374"/>
                <a:gd name="connsiteX468" fmla="*/ 289488 w 786911"/>
                <a:gd name="connsiteY468" fmla="*/ 536817 h 715374"/>
                <a:gd name="connsiteX469" fmla="*/ 298593 w 786911"/>
                <a:gd name="connsiteY469" fmla="*/ 536908 h 715374"/>
                <a:gd name="connsiteX470" fmla="*/ 298683 w 786911"/>
                <a:gd name="connsiteY470" fmla="*/ 527803 h 715374"/>
                <a:gd name="connsiteX471" fmla="*/ 289579 w 786911"/>
                <a:gd name="connsiteY471" fmla="*/ 527711 h 715374"/>
                <a:gd name="connsiteX472" fmla="*/ 289488 w 786911"/>
                <a:gd name="connsiteY472" fmla="*/ 527803 h 715374"/>
                <a:gd name="connsiteX473" fmla="*/ 289376 w 786911"/>
                <a:gd name="connsiteY473" fmla="*/ 536705 h 715374"/>
                <a:gd name="connsiteX474" fmla="*/ 289488 w 786911"/>
                <a:gd name="connsiteY474" fmla="*/ 536817 h 715374"/>
                <a:gd name="connsiteX475" fmla="*/ 257010 w 786911"/>
                <a:gd name="connsiteY475" fmla="*/ 567864 h 715374"/>
                <a:gd name="connsiteX476" fmla="*/ 265305 w 786911"/>
                <a:gd name="connsiteY476" fmla="*/ 567867 h 715374"/>
                <a:gd name="connsiteX477" fmla="*/ 265308 w 786911"/>
                <a:gd name="connsiteY477" fmla="*/ 567864 h 715374"/>
                <a:gd name="connsiteX478" fmla="*/ 265516 w 786911"/>
                <a:gd name="connsiteY478" fmla="*/ 559773 h 715374"/>
                <a:gd name="connsiteX479" fmla="*/ 265308 w 786911"/>
                <a:gd name="connsiteY479" fmla="*/ 559566 h 715374"/>
                <a:gd name="connsiteX480" fmla="*/ 257010 w 786911"/>
                <a:gd name="connsiteY480" fmla="*/ 559279 h 715374"/>
                <a:gd name="connsiteX481" fmla="*/ 256724 w 786911"/>
                <a:gd name="connsiteY481" fmla="*/ 567578 h 715374"/>
                <a:gd name="connsiteX482" fmla="*/ 224246 w 786911"/>
                <a:gd name="connsiteY482" fmla="*/ 598053 h 715374"/>
                <a:gd name="connsiteX483" fmla="*/ 231731 w 786911"/>
                <a:gd name="connsiteY483" fmla="*/ 598100 h 715374"/>
                <a:gd name="connsiteX484" fmla="*/ 231779 w 786911"/>
                <a:gd name="connsiteY484" fmla="*/ 590613 h 715374"/>
                <a:gd name="connsiteX485" fmla="*/ 224292 w 786911"/>
                <a:gd name="connsiteY485" fmla="*/ 590567 h 715374"/>
                <a:gd name="connsiteX486" fmla="*/ 224246 w 786911"/>
                <a:gd name="connsiteY486" fmla="*/ 590613 h 715374"/>
                <a:gd name="connsiteX487" fmla="*/ 224246 w 786911"/>
                <a:gd name="connsiteY487" fmla="*/ 598053 h 715374"/>
                <a:gd name="connsiteX488" fmla="*/ 192626 w 786911"/>
                <a:gd name="connsiteY488" fmla="*/ 628814 h 715374"/>
                <a:gd name="connsiteX489" fmla="*/ 199304 w 786911"/>
                <a:gd name="connsiteY489" fmla="*/ 628767 h 715374"/>
                <a:gd name="connsiteX490" fmla="*/ 199256 w 786911"/>
                <a:gd name="connsiteY490" fmla="*/ 622089 h 715374"/>
                <a:gd name="connsiteX491" fmla="*/ 192626 w 786911"/>
                <a:gd name="connsiteY491" fmla="*/ 622089 h 715374"/>
                <a:gd name="connsiteX492" fmla="*/ 192579 w 786911"/>
                <a:gd name="connsiteY492" fmla="*/ 628767 h 715374"/>
                <a:gd name="connsiteX493" fmla="*/ 192626 w 786911"/>
                <a:gd name="connsiteY493" fmla="*/ 628814 h 715374"/>
                <a:gd name="connsiteX494" fmla="*/ 159576 w 786911"/>
                <a:gd name="connsiteY494" fmla="*/ 659289 h 715374"/>
                <a:gd name="connsiteX495" fmla="*/ 165442 w 786911"/>
                <a:gd name="connsiteY495" fmla="*/ 659289 h 715374"/>
                <a:gd name="connsiteX496" fmla="*/ 165442 w 786911"/>
                <a:gd name="connsiteY496" fmla="*/ 653280 h 715374"/>
                <a:gd name="connsiteX497" fmla="*/ 159576 w 786911"/>
                <a:gd name="connsiteY497" fmla="*/ 653137 h 715374"/>
                <a:gd name="connsiteX498" fmla="*/ 159433 w 786911"/>
                <a:gd name="connsiteY498" fmla="*/ 653280 h 715374"/>
                <a:gd name="connsiteX499" fmla="*/ 159228 w 786911"/>
                <a:gd name="connsiteY499" fmla="*/ 658941 h 715374"/>
                <a:gd name="connsiteX500" fmla="*/ 159433 w 786911"/>
                <a:gd name="connsiteY500" fmla="*/ 659146 h 715374"/>
                <a:gd name="connsiteX501" fmla="*/ 126955 w 786911"/>
                <a:gd name="connsiteY501" fmla="*/ 689334 h 715374"/>
                <a:gd name="connsiteX502" fmla="*/ 132214 w 786911"/>
                <a:gd name="connsiteY502" fmla="*/ 689443 h 715374"/>
                <a:gd name="connsiteX503" fmla="*/ 132323 w 786911"/>
                <a:gd name="connsiteY503" fmla="*/ 684184 h 715374"/>
                <a:gd name="connsiteX504" fmla="*/ 127064 w 786911"/>
                <a:gd name="connsiteY504" fmla="*/ 684075 h 715374"/>
                <a:gd name="connsiteX505" fmla="*/ 126955 w 786911"/>
                <a:gd name="connsiteY505" fmla="*/ 684184 h 715374"/>
                <a:gd name="connsiteX506" fmla="*/ 126955 w 786911"/>
                <a:gd name="connsiteY506" fmla="*/ 689334 h 715374"/>
                <a:gd name="connsiteX507" fmla="*/ 407238 w 786911"/>
                <a:gd name="connsiteY507" fmla="*/ 466710 h 715374"/>
                <a:gd name="connsiteX508" fmla="*/ 418541 w 786911"/>
                <a:gd name="connsiteY508" fmla="*/ 466710 h 715374"/>
                <a:gd name="connsiteX509" fmla="*/ 418300 w 786911"/>
                <a:gd name="connsiteY509" fmla="*/ 455381 h 715374"/>
                <a:gd name="connsiteX510" fmla="*/ 407668 w 786911"/>
                <a:gd name="connsiteY510" fmla="*/ 454978 h 715374"/>
                <a:gd name="connsiteX511" fmla="*/ 407668 w 786911"/>
                <a:gd name="connsiteY511" fmla="*/ 466424 h 715374"/>
                <a:gd name="connsiteX512" fmla="*/ 375190 w 786911"/>
                <a:gd name="connsiteY512" fmla="*/ 496899 h 715374"/>
                <a:gd name="connsiteX513" fmla="*/ 385711 w 786911"/>
                <a:gd name="connsiteY513" fmla="*/ 496833 h 715374"/>
                <a:gd name="connsiteX514" fmla="*/ 385646 w 786911"/>
                <a:gd name="connsiteY514" fmla="*/ 486311 h 715374"/>
                <a:gd name="connsiteX515" fmla="*/ 375190 w 786911"/>
                <a:gd name="connsiteY515" fmla="*/ 486311 h 715374"/>
                <a:gd name="connsiteX516" fmla="*/ 375124 w 786911"/>
                <a:gd name="connsiteY516" fmla="*/ 496833 h 715374"/>
                <a:gd name="connsiteX517" fmla="*/ 375190 w 786911"/>
                <a:gd name="connsiteY517" fmla="*/ 496899 h 715374"/>
                <a:gd name="connsiteX518" fmla="*/ 341567 w 786911"/>
                <a:gd name="connsiteY518" fmla="*/ 527660 h 715374"/>
                <a:gd name="connsiteX519" fmla="*/ 351296 w 786911"/>
                <a:gd name="connsiteY519" fmla="*/ 527660 h 715374"/>
                <a:gd name="connsiteX520" fmla="*/ 351458 w 786911"/>
                <a:gd name="connsiteY520" fmla="*/ 517949 h 715374"/>
                <a:gd name="connsiteX521" fmla="*/ 351296 w 786911"/>
                <a:gd name="connsiteY521" fmla="*/ 517788 h 715374"/>
                <a:gd name="connsiteX522" fmla="*/ 341567 w 786911"/>
                <a:gd name="connsiteY522" fmla="*/ 517788 h 715374"/>
                <a:gd name="connsiteX523" fmla="*/ 341405 w 786911"/>
                <a:gd name="connsiteY523" fmla="*/ 527498 h 715374"/>
                <a:gd name="connsiteX524" fmla="*/ 341567 w 786911"/>
                <a:gd name="connsiteY524" fmla="*/ 527660 h 715374"/>
                <a:gd name="connsiteX525" fmla="*/ 308946 w 786911"/>
                <a:gd name="connsiteY525" fmla="*/ 558135 h 715374"/>
                <a:gd name="connsiteX526" fmla="*/ 317848 w 786911"/>
                <a:gd name="connsiteY526" fmla="*/ 558246 h 715374"/>
                <a:gd name="connsiteX527" fmla="*/ 317960 w 786911"/>
                <a:gd name="connsiteY527" fmla="*/ 558135 h 715374"/>
                <a:gd name="connsiteX528" fmla="*/ 319501 w 786911"/>
                <a:gd name="connsiteY528" fmla="*/ 549161 h 715374"/>
                <a:gd name="connsiteX529" fmla="*/ 310527 w 786911"/>
                <a:gd name="connsiteY529" fmla="*/ 547620 h 715374"/>
                <a:gd name="connsiteX530" fmla="*/ 309232 w 786911"/>
                <a:gd name="connsiteY530" fmla="*/ 548835 h 715374"/>
                <a:gd name="connsiteX531" fmla="*/ 309121 w 786911"/>
                <a:gd name="connsiteY531" fmla="*/ 557737 h 715374"/>
                <a:gd name="connsiteX532" fmla="*/ 309232 w 786911"/>
                <a:gd name="connsiteY532" fmla="*/ 557849 h 715374"/>
                <a:gd name="connsiteX533" fmla="*/ 276468 w 786911"/>
                <a:gd name="connsiteY533" fmla="*/ 589182 h 715374"/>
                <a:gd name="connsiteX534" fmla="*/ 284766 w 786911"/>
                <a:gd name="connsiteY534" fmla="*/ 589468 h 715374"/>
                <a:gd name="connsiteX535" fmla="*/ 285053 w 786911"/>
                <a:gd name="connsiteY535" fmla="*/ 581170 h 715374"/>
                <a:gd name="connsiteX536" fmla="*/ 276754 w 786911"/>
                <a:gd name="connsiteY536" fmla="*/ 580884 h 715374"/>
                <a:gd name="connsiteX537" fmla="*/ 276468 w 786911"/>
                <a:gd name="connsiteY537" fmla="*/ 589182 h 715374"/>
                <a:gd name="connsiteX538" fmla="*/ 243990 w 786911"/>
                <a:gd name="connsiteY538" fmla="*/ 619657 h 715374"/>
                <a:gd name="connsiteX539" fmla="*/ 251430 w 786911"/>
                <a:gd name="connsiteY539" fmla="*/ 619657 h 715374"/>
                <a:gd name="connsiteX540" fmla="*/ 251675 w 786911"/>
                <a:gd name="connsiteY540" fmla="*/ 611973 h 715374"/>
                <a:gd name="connsiteX541" fmla="*/ 243990 w 786911"/>
                <a:gd name="connsiteY541" fmla="*/ 611726 h 715374"/>
                <a:gd name="connsiteX542" fmla="*/ 243745 w 786911"/>
                <a:gd name="connsiteY542" fmla="*/ 619412 h 715374"/>
                <a:gd name="connsiteX543" fmla="*/ 243990 w 786911"/>
                <a:gd name="connsiteY543" fmla="*/ 619657 h 715374"/>
                <a:gd name="connsiteX544" fmla="*/ 211369 w 786911"/>
                <a:gd name="connsiteY544" fmla="*/ 650132 h 715374"/>
                <a:gd name="connsiteX545" fmla="*/ 218237 w 786911"/>
                <a:gd name="connsiteY545" fmla="*/ 650132 h 715374"/>
                <a:gd name="connsiteX546" fmla="*/ 218380 w 786911"/>
                <a:gd name="connsiteY546" fmla="*/ 643407 h 715374"/>
                <a:gd name="connsiteX547" fmla="*/ 211655 w 786911"/>
                <a:gd name="connsiteY547" fmla="*/ 643264 h 715374"/>
                <a:gd name="connsiteX548" fmla="*/ 211655 w 786911"/>
                <a:gd name="connsiteY548" fmla="*/ 649989 h 715374"/>
                <a:gd name="connsiteX549" fmla="*/ 178319 w 786911"/>
                <a:gd name="connsiteY549" fmla="*/ 680035 h 715374"/>
                <a:gd name="connsiteX550" fmla="*/ 184328 w 786911"/>
                <a:gd name="connsiteY550" fmla="*/ 680035 h 715374"/>
                <a:gd name="connsiteX551" fmla="*/ 184328 w 786911"/>
                <a:gd name="connsiteY551" fmla="*/ 674169 h 715374"/>
                <a:gd name="connsiteX552" fmla="*/ 178319 w 786911"/>
                <a:gd name="connsiteY552" fmla="*/ 674169 h 715374"/>
                <a:gd name="connsiteX553" fmla="*/ 178319 w 786911"/>
                <a:gd name="connsiteY553" fmla="*/ 680178 h 715374"/>
                <a:gd name="connsiteX554" fmla="*/ 145841 w 786911"/>
                <a:gd name="connsiteY554" fmla="*/ 710653 h 715374"/>
                <a:gd name="connsiteX555" fmla="*/ 150898 w 786911"/>
                <a:gd name="connsiteY555" fmla="*/ 710746 h 715374"/>
                <a:gd name="connsiteX556" fmla="*/ 150991 w 786911"/>
                <a:gd name="connsiteY556" fmla="*/ 710653 h 715374"/>
                <a:gd name="connsiteX557" fmla="*/ 151135 w 786911"/>
                <a:gd name="connsiteY557" fmla="*/ 705502 h 715374"/>
                <a:gd name="connsiteX558" fmla="*/ 145984 w 786911"/>
                <a:gd name="connsiteY558" fmla="*/ 705359 h 715374"/>
                <a:gd name="connsiteX559" fmla="*/ 145891 w 786911"/>
                <a:gd name="connsiteY559" fmla="*/ 710417 h 715374"/>
                <a:gd name="connsiteX560" fmla="*/ 145984 w 786911"/>
                <a:gd name="connsiteY560" fmla="*/ 710510 h 715374"/>
                <a:gd name="connsiteX561" fmla="*/ 309518 w 786911"/>
                <a:gd name="connsiteY561" fmla="*/ 363124 h 715374"/>
                <a:gd name="connsiteX562" fmla="*/ 320850 w 786911"/>
                <a:gd name="connsiteY562" fmla="*/ 363153 h 715374"/>
                <a:gd name="connsiteX563" fmla="*/ 320877 w 786911"/>
                <a:gd name="connsiteY563" fmla="*/ 351821 h 715374"/>
                <a:gd name="connsiteX564" fmla="*/ 309547 w 786911"/>
                <a:gd name="connsiteY564" fmla="*/ 351792 h 715374"/>
                <a:gd name="connsiteX565" fmla="*/ 309518 w 786911"/>
                <a:gd name="connsiteY565" fmla="*/ 351821 h 715374"/>
                <a:gd name="connsiteX566" fmla="*/ 309518 w 786911"/>
                <a:gd name="connsiteY566" fmla="*/ 363124 h 715374"/>
                <a:gd name="connsiteX567" fmla="*/ 277040 w 786911"/>
                <a:gd name="connsiteY567" fmla="*/ 393599 h 715374"/>
                <a:gd name="connsiteX568" fmla="*/ 287356 w 786911"/>
                <a:gd name="connsiteY568" fmla="*/ 393871 h 715374"/>
                <a:gd name="connsiteX569" fmla="*/ 287628 w 786911"/>
                <a:gd name="connsiteY569" fmla="*/ 393599 h 715374"/>
                <a:gd name="connsiteX570" fmla="*/ 287914 w 786911"/>
                <a:gd name="connsiteY570" fmla="*/ 383011 h 715374"/>
                <a:gd name="connsiteX571" fmla="*/ 277327 w 786911"/>
                <a:gd name="connsiteY571" fmla="*/ 382725 h 715374"/>
                <a:gd name="connsiteX572" fmla="*/ 277201 w 786911"/>
                <a:gd name="connsiteY572" fmla="*/ 393044 h 715374"/>
                <a:gd name="connsiteX573" fmla="*/ 277327 w 786911"/>
                <a:gd name="connsiteY573" fmla="*/ 393170 h 715374"/>
                <a:gd name="connsiteX574" fmla="*/ 244849 w 786911"/>
                <a:gd name="connsiteY574" fmla="*/ 423788 h 715374"/>
                <a:gd name="connsiteX575" fmla="*/ 254578 w 786911"/>
                <a:gd name="connsiteY575" fmla="*/ 423788 h 715374"/>
                <a:gd name="connsiteX576" fmla="*/ 254739 w 786911"/>
                <a:gd name="connsiteY576" fmla="*/ 414077 h 715374"/>
                <a:gd name="connsiteX577" fmla="*/ 254578 w 786911"/>
                <a:gd name="connsiteY577" fmla="*/ 413915 h 715374"/>
                <a:gd name="connsiteX578" fmla="*/ 244849 w 786911"/>
                <a:gd name="connsiteY578" fmla="*/ 413915 h 715374"/>
                <a:gd name="connsiteX579" fmla="*/ 244687 w 786911"/>
                <a:gd name="connsiteY579" fmla="*/ 423626 h 715374"/>
                <a:gd name="connsiteX580" fmla="*/ 244849 w 786911"/>
                <a:gd name="connsiteY580" fmla="*/ 423788 h 715374"/>
                <a:gd name="connsiteX581" fmla="*/ 211941 w 786911"/>
                <a:gd name="connsiteY581" fmla="*/ 454692 h 715374"/>
                <a:gd name="connsiteX582" fmla="*/ 220816 w 786911"/>
                <a:gd name="connsiteY582" fmla="*/ 456726 h 715374"/>
                <a:gd name="connsiteX583" fmla="*/ 222851 w 786911"/>
                <a:gd name="connsiteY583" fmla="*/ 447851 h 715374"/>
                <a:gd name="connsiteX584" fmla="*/ 221241 w 786911"/>
                <a:gd name="connsiteY584" fmla="*/ 446107 h 715374"/>
                <a:gd name="connsiteX585" fmla="*/ 212084 w 786911"/>
                <a:gd name="connsiteY585" fmla="*/ 445821 h 715374"/>
                <a:gd name="connsiteX586" fmla="*/ 211798 w 786911"/>
                <a:gd name="connsiteY586" fmla="*/ 454978 h 715374"/>
                <a:gd name="connsiteX587" fmla="*/ 179320 w 786911"/>
                <a:gd name="connsiteY587" fmla="*/ 485453 h 715374"/>
                <a:gd name="connsiteX588" fmla="*/ 187619 w 786911"/>
                <a:gd name="connsiteY588" fmla="*/ 485739 h 715374"/>
                <a:gd name="connsiteX589" fmla="*/ 187905 w 786911"/>
                <a:gd name="connsiteY589" fmla="*/ 477441 h 715374"/>
                <a:gd name="connsiteX590" fmla="*/ 179814 w 786911"/>
                <a:gd name="connsiteY590" fmla="*/ 477233 h 715374"/>
                <a:gd name="connsiteX591" fmla="*/ 179606 w 786911"/>
                <a:gd name="connsiteY591" fmla="*/ 477441 h 715374"/>
                <a:gd name="connsiteX592" fmla="*/ 179604 w 786911"/>
                <a:gd name="connsiteY592" fmla="*/ 485736 h 715374"/>
                <a:gd name="connsiteX593" fmla="*/ 179606 w 786911"/>
                <a:gd name="connsiteY593" fmla="*/ 485739 h 715374"/>
                <a:gd name="connsiteX594" fmla="*/ 147128 w 786911"/>
                <a:gd name="connsiteY594" fmla="*/ 516214 h 715374"/>
                <a:gd name="connsiteX595" fmla="*/ 154640 w 786911"/>
                <a:gd name="connsiteY595" fmla="*/ 516429 h 715374"/>
                <a:gd name="connsiteX596" fmla="*/ 154855 w 786911"/>
                <a:gd name="connsiteY596" fmla="*/ 508917 h 715374"/>
                <a:gd name="connsiteX597" fmla="*/ 147272 w 786911"/>
                <a:gd name="connsiteY597" fmla="*/ 508917 h 715374"/>
                <a:gd name="connsiteX598" fmla="*/ 147272 w 786911"/>
                <a:gd name="connsiteY598" fmla="*/ 516500 h 715374"/>
                <a:gd name="connsiteX599" fmla="*/ 114507 w 786911"/>
                <a:gd name="connsiteY599" fmla="*/ 546260 h 715374"/>
                <a:gd name="connsiteX600" fmla="*/ 121185 w 786911"/>
                <a:gd name="connsiteY600" fmla="*/ 546212 h 715374"/>
                <a:gd name="connsiteX601" fmla="*/ 121137 w 786911"/>
                <a:gd name="connsiteY601" fmla="*/ 539535 h 715374"/>
                <a:gd name="connsiteX602" fmla="*/ 114507 w 786911"/>
                <a:gd name="connsiteY602" fmla="*/ 539535 h 715374"/>
                <a:gd name="connsiteX603" fmla="*/ 114460 w 786911"/>
                <a:gd name="connsiteY603" fmla="*/ 546212 h 715374"/>
                <a:gd name="connsiteX604" fmla="*/ 114507 w 786911"/>
                <a:gd name="connsiteY604" fmla="*/ 546260 h 715374"/>
                <a:gd name="connsiteX605" fmla="*/ 81886 w 786911"/>
                <a:gd name="connsiteY605" fmla="*/ 576735 h 715374"/>
                <a:gd name="connsiteX606" fmla="*/ 87956 w 786911"/>
                <a:gd name="connsiteY606" fmla="*/ 576795 h 715374"/>
                <a:gd name="connsiteX607" fmla="*/ 88017 w 786911"/>
                <a:gd name="connsiteY607" fmla="*/ 570725 h 715374"/>
                <a:gd name="connsiteX608" fmla="*/ 81946 w 786911"/>
                <a:gd name="connsiteY608" fmla="*/ 570665 h 715374"/>
                <a:gd name="connsiteX609" fmla="*/ 81886 w 786911"/>
                <a:gd name="connsiteY609" fmla="*/ 570725 h 715374"/>
                <a:gd name="connsiteX610" fmla="*/ 81886 w 786911"/>
                <a:gd name="connsiteY610" fmla="*/ 576735 h 715374"/>
                <a:gd name="connsiteX611" fmla="*/ 49551 w 786911"/>
                <a:gd name="connsiteY611" fmla="*/ 607066 h 715374"/>
                <a:gd name="connsiteX612" fmla="*/ 54609 w 786911"/>
                <a:gd name="connsiteY612" fmla="*/ 607159 h 715374"/>
                <a:gd name="connsiteX613" fmla="*/ 54702 w 786911"/>
                <a:gd name="connsiteY613" fmla="*/ 607066 h 715374"/>
                <a:gd name="connsiteX614" fmla="*/ 54795 w 786911"/>
                <a:gd name="connsiteY614" fmla="*/ 602009 h 715374"/>
                <a:gd name="connsiteX615" fmla="*/ 54702 w 786911"/>
                <a:gd name="connsiteY615" fmla="*/ 601916 h 715374"/>
                <a:gd name="connsiteX616" fmla="*/ 49644 w 786911"/>
                <a:gd name="connsiteY616" fmla="*/ 601823 h 715374"/>
                <a:gd name="connsiteX617" fmla="*/ 49551 w 786911"/>
                <a:gd name="connsiteY617" fmla="*/ 601916 h 715374"/>
                <a:gd name="connsiteX618" fmla="*/ 49551 w 786911"/>
                <a:gd name="connsiteY618" fmla="*/ 607210 h 715374"/>
                <a:gd name="connsiteX619" fmla="*/ 17073 w 786911"/>
                <a:gd name="connsiteY619" fmla="*/ 637684 h 715374"/>
                <a:gd name="connsiteX620" fmla="*/ 21509 w 786911"/>
                <a:gd name="connsiteY620" fmla="*/ 637684 h 715374"/>
                <a:gd name="connsiteX621" fmla="*/ 21509 w 786911"/>
                <a:gd name="connsiteY621" fmla="*/ 633249 h 715374"/>
                <a:gd name="connsiteX622" fmla="*/ 17073 w 786911"/>
                <a:gd name="connsiteY622" fmla="*/ 633249 h 715374"/>
                <a:gd name="connsiteX623" fmla="*/ 16883 w 786911"/>
                <a:gd name="connsiteY623" fmla="*/ 637494 h 715374"/>
                <a:gd name="connsiteX624" fmla="*/ 17073 w 786911"/>
                <a:gd name="connsiteY624" fmla="*/ 637684 h 715374"/>
                <a:gd name="connsiteX625" fmla="*/ 328977 w 786911"/>
                <a:gd name="connsiteY625" fmla="*/ 383870 h 715374"/>
                <a:gd name="connsiteX626" fmla="*/ 340279 w 786911"/>
                <a:gd name="connsiteY626" fmla="*/ 383870 h 715374"/>
                <a:gd name="connsiteX627" fmla="*/ 340279 w 786911"/>
                <a:gd name="connsiteY627" fmla="*/ 372424 h 715374"/>
                <a:gd name="connsiteX628" fmla="*/ 328833 w 786911"/>
                <a:gd name="connsiteY628" fmla="*/ 372424 h 715374"/>
                <a:gd name="connsiteX629" fmla="*/ 328833 w 786911"/>
                <a:gd name="connsiteY629" fmla="*/ 383727 h 715374"/>
                <a:gd name="connsiteX630" fmla="*/ 296212 w 786911"/>
                <a:gd name="connsiteY630" fmla="*/ 414202 h 715374"/>
                <a:gd name="connsiteX631" fmla="*/ 306734 w 786911"/>
                <a:gd name="connsiteY631" fmla="*/ 414267 h 715374"/>
                <a:gd name="connsiteX632" fmla="*/ 306800 w 786911"/>
                <a:gd name="connsiteY632" fmla="*/ 414202 h 715374"/>
                <a:gd name="connsiteX633" fmla="*/ 307158 w 786911"/>
                <a:gd name="connsiteY633" fmla="*/ 403686 h 715374"/>
                <a:gd name="connsiteX634" fmla="*/ 296642 w 786911"/>
                <a:gd name="connsiteY634" fmla="*/ 403328 h 715374"/>
                <a:gd name="connsiteX635" fmla="*/ 296642 w 786911"/>
                <a:gd name="connsiteY635" fmla="*/ 413915 h 715374"/>
                <a:gd name="connsiteX636" fmla="*/ 264164 w 786911"/>
                <a:gd name="connsiteY636" fmla="*/ 444820 h 715374"/>
                <a:gd name="connsiteX637" fmla="*/ 273874 w 786911"/>
                <a:gd name="connsiteY637" fmla="*/ 444981 h 715374"/>
                <a:gd name="connsiteX638" fmla="*/ 274036 w 786911"/>
                <a:gd name="connsiteY638" fmla="*/ 444820 h 715374"/>
                <a:gd name="connsiteX639" fmla="*/ 274036 w 786911"/>
                <a:gd name="connsiteY639" fmla="*/ 435091 h 715374"/>
                <a:gd name="connsiteX640" fmla="*/ 264325 w 786911"/>
                <a:gd name="connsiteY640" fmla="*/ 434929 h 715374"/>
                <a:gd name="connsiteX641" fmla="*/ 264164 w 786911"/>
                <a:gd name="connsiteY641" fmla="*/ 435091 h 715374"/>
                <a:gd name="connsiteX642" fmla="*/ 264164 w 786911"/>
                <a:gd name="connsiteY642" fmla="*/ 444820 h 715374"/>
                <a:gd name="connsiteX643" fmla="*/ 231400 w 786911"/>
                <a:gd name="connsiteY643" fmla="*/ 474722 h 715374"/>
                <a:gd name="connsiteX644" fmla="*/ 240505 w 786911"/>
                <a:gd name="connsiteY644" fmla="*/ 474814 h 715374"/>
                <a:gd name="connsiteX645" fmla="*/ 240595 w 786911"/>
                <a:gd name="connsiteY645" fmla="*/ 465709 h 715374"/>
                <a:gd name="connsiteX646" fmla="*/ 231491 w 786911"/>
                <a:gd name="connsiteY646" fmla="*/ 465617 h 715374"/>
                <a:gd name="connsiteX647" fmla="*/ 231400 w 786911"/>
                <a:gd name="connsiteY647" fmla="*/ 465709 h 715374"/>
                <a:gd name="connsiteX648" fmla="*/ 231288 w 786911"/>
                <a:gd name="connsiteY648" fmla="*/ 474611 h 715374"/>
                <a:gd name="connsiteX649" fmla="*/ 231400 w 786911"/>
                <a:gd name="connsiteY649" fmla="*/ 474722 h 715374"/>
                <a:gd name="connsiteX650" fmla="*/ 198922 w 786911"/>
                <a:gd name="connsiteY650" fmla="*/ 505197 h 715374"/>
                <a:gd name="connsiteX651" fmla="*/ 206808 w 786911"/>
                <a:gd name="connsiteY651" fmla="*/ 505466 h 715374"/>
                <a:gd name="connsiteX652" fmla="*/ 207077 w 786911"/>
                <a:gd name="connsiteY652" fmla="*/ 505197 h 715374"/>
                <a:gd name="connsiteX653" fmla="*/ 207284 w 786911"/>
                <a:gd name="connsiteY653" fmla="*/ 497106 h 715374"/>
                <a:gd name="connsiteX654" fmla="*/ 207077 w 786911"/>
                <a:gd name="connsiteY654" fmla="*/ 496899 h 715374"/>
                <a:gd name="connsiteX655" fmla="*/ 198922 w 786911"/>
                <a:gd name="connsiteY655" fmla="*/ 496899 h 715374"/>
                <a:gd name="connsiteX656" fmla="*/ 198714 w 786911"/>
                <a:gd name="connsiteY656" fmla="*/ 504990 h 715374"/>
                <a:gd name="connsiteX657" fmla="*/ 198922 w 786911"/>
                <a:gd name="connsiteY657" fmla="*/ 505197 h 715374"/>
                <a:gd name="connsiteX658" fmla="*/ 166300 w 786911"/>
                <a:gd name="connsiteY658" fmla="*/ 536244 h 715374"/>
                <a:gd name="connsiteX659" fmla="*/ 173883 w 786911"/>
                <a:gd name="connsiteY659" fmla="*/ 536244 h 715374"/>
                <a:gd name="connsiteX660" fmla="*/ 173883 w 786911"/>
                <a:gd name="connsiteY660" fmla="*/ 528805 h 715374"/>
                <a:gd name="connsiteX661" fmla="*/ 166300 w 786911"/>
                <a:gd name="connsiteY661" fmla="*/ 528805 h 715374"/>
                <a:gd name="connsiteX662" fmla="*/ 166300 w 786911"/>
                <a:gd name="connsiteY662" fmla="*/ 536244 h 715374"/>
                <a:gd name="connsiteX663" fmla="*/ 133822 w 786911"/>
                <a:gd name="connsiteY663" fmla="*/ 566719 h 715374"/>
                <a:gd name="connsiteX664" fmla="*/ 140500 w 786911"/>
                <a:gd name="connsiteY664" fmla="*/ 566672 h 715374"/>
                <a:gd name="connsiteX665" fmla="*/ 140453 w 786911"/>
                <a:gd name="connsiteY665" fmla="*/ 559995 h 715374"/>
                <a:gd name="connsiteX666" fmla="*/ 133822 w 786911"/>
                <a:gd name="connsiteY666" fmla="*/ 559995 h 715374"/>
                <a:gd name="connsiteX667" fmla="*/ 133775 w 786911"/>
                <a:gd name="connsiteY667" fmla="*/ 566672 h 715374"/>
                <a:gd name="connsiteX668" fmla="*/ 133822 w 786911"/>
                <a:gd name="connsiteY668" fmla="*/ 566719 h 715374"/>
                <a:gd name="connsiteX669" fmla="*/ 101345 w 786911"/>
                <a:gd name="connsiteY669" fmla="*/ 597194 h 715374"/>
                <a:gd name="connsiteX670" fmla="*/ 107354 w 786911"/>
                <a:gd name="connsiteY670" fmla="*/ 597194 h 715374"/>
                <a:gd name="connsiteX671" fmla="*/ 107354 w 786911"/>
                <a:gd name="connsiteY671" fmla="*/ 591185 h 715374"/>
                <a:gd name="connsiteX672" fmla="*/ 101345 w 786911"/>
                <a:gd name="connsiteY672" fmla="*/ 591185 h 715374"/>
                <a:gd name="connsiteX673" fmla="*/ 101345 w 786911"/>
                <a:gd name="connsiteY673" fmla="*/ 597051 h 715374"/>
                <a:gd name="connsiteX674" fmla="*/ 68867 w 786911"/>
                <a:gd name="connsiteY674" fmla="*/ 627526 h 715374"/>
                <a:gd name="connsiteX675" fmla="*/ 73924 w 786911"/>
                <a:gd name="connsiteY675" fmla="*/ 627619 h 715374"/>
                <a:gd name="connsiteX676" fmla="*/ 74017 w 786911"/>
                <a:gd name="connsiteY676" fmla="*/ 627526 h 715374"/>
                <a:gd name="connsiteX677" fmla="*/ 74017 w 786911"/>
                <a:gd name="connsiteY677" fmla="*/ 622232 h 715374"/>
                <a:gd name="connsiteX678" fmla="*/ 68960 w 786911"/>
                <a:gd name="connsiteY678" fmla="*/ 622139 h 715374"/>
                <a:gd name="connsiteX679" fmla="*/ 68867 w 786911"/>
                <a:gd name="connsiteY679" fmla="*/ 622232 h 715374"/>
                <a:gd name="connsiteX680" fmla="*/ 68774 w 786911"/>
                <a:gd name="connsiteY680" fmla="*/ 627290 h 715374"/>
                <a:gd name="connsiteX681" fmla="*/ 68867 w 786911"/>
                <a:gd name="connsiteY681" fmla="*/ 627383 h 715374"/>
                <a:gd name="connsiteX682" fmla="*/ 36245 w 786911"/>
                <a:gd name="connsiteY682" fmla="*/ 658001 h 715374"/>
                <a:gd name="connsiteX683" fmla="*/ 40681 w 786911"/>
                <a:gd name="connsiteY683" fmla="*/ 658001 h 715374"/>
                <a:gd name="connsiteX684" fmla="*/ 40724 w 786911"/>
                <a:gd name="connsiteY684" fmla="*/ 653752 h 715374"/>
                <a:gd name="connsiteX685" fmla="*/ 40681 w 786911"/>
                <a:gd name="connsiteY685" fmla="*/ 653709 h 715374"/>
                <a:gd name="connsiteX686" fmla="*/ 36436 w 786911"/>
                <a:gd name="connsiteY686" fmla="*/ 653519 h 715374"/>
                <a:gd name="connsiteX687" fmla="*/ 36245 w 786911"/>
                <a:gd name="connsiteY687" fmla="*/ 653709 h 715374"/>
                <a:gd name="connsiteX688" fmla="*/ 36245 w 786911"/>
                <a:gd name="connsiteY688" fmla="*/ 658144 h 715374"/>
                <a:gd name="connsiteX689" fmla="*/ 348292 w 786911"/>
                <a:gd name="connsiteY689" fmla="*/ 404616 h 715374"/>
                <a:gd name="connsiteX690" fmla="*/ 359738 w 786911"/>
                <a:gd name="connsiteY690" fmla="*/ 404616 h 715374"/>
                <a:gd name="connsiteX691" fmla="*/ 359738 w 786911"/>
                <a:gd name="connsiteY691" fmla="*/ 393313 h 715374"/>
                <a:gd name="connsiteX692" fmla="*/ 348435 w 786911"/>
                <a:gd name="connsiteY692" fmla="*/ 393313 h 715374"/>
                <a:gd name="connsiteX693" fmla="*/ 348435 w 786911"/>
                <a:gd name="connsiteY693" fmla="*/ 404759 h 715374"/>
                <a:gd name="connsiteX694" fmla="*/ 315957 w 786911"/>
                <a:gd name="connsiteY694" fmla="*/ 435234 h 715374"/>
                <a:gd name="connsiteX695" fmla="*/ 326478 w 786911"/>
                <a:gd name="connsiteY695" fmla="*/ 435168 h 715374"/>
                <a:gd name="connsiteX696" fmla="*/ 326413 w 786911"/>
                <a:gd name="connsiteY696" fmla="*/ 424646 h 715374"/>
                <a:gd name="connsiteX697" fmla="*/ 315957 w 786911"/>
                <a:gd name="connsiteY697" fmla="*/ 424646 h 715374"/>
                <a:gd name="connsiteX698" fmla="*/ 315891 w 786911"/>
                <a:gd name="connsiteY698" fmla="*/ 435168 h 715374"/>
                <a:gd name="connsiteX699" fmla="*/ 315957 w 786911"/>
                <a:gd name="connsiteY699" fmla="*/ 435234 h 715374"/>
                <a:gd name="connsiteX700" fmla="*/ 283479 w 786911"/>
                <a:gd name="connsiteY700" fmla="*/ 465709 h 715374"/>
                <a:gd name="connsiteX701" fmla="*/ 293377 w 786911"/>
                <a:gd name="connsiteY701" fmla="*/ 465125 h 715374"/>
                <a:gd name="connsiteX702" fmla="*/ 293637 w 786911"/>
                <a:gd name="connsiteY702" fmla="*/ 456123 h 715374"/>
                <a:gd name="connsiteX703" fmla="*/ 283765 w 786911"/>
                <a:gd name="connsiteY703" fmla="*/ 456123 h 715374"/>
                <a:gd name="connsiteX704" fmla="*/ 283603 w 786911"/>
                <a:gd name="connsiteY704" fmla="*/ 465833 h 715374"/>
                <a:gd name="connsiteX705" fmla="*/ 283765 w 786911"/>
                <a:gd name="connsiteY705" fmla="*/ 465995 h 715374"/>
                <a:gd name="connsiteX706" fmla="*/ 251287 w 786911"/>
                <a:gd name="connsiteY706" fmla="*/ 496470 h 715374"/>
                <a:gd name="connsiteX707" fmla="*/ 260392 w 786911"/>
                <a:gd name="connsiteY707" fmla="*/ 496561 h 715374"/>
                <a:gd name="connsiteX708" fmla="*/ 260482 w 786911"/>
                <a:gd name="connsiteY708" fmla="*/ 487456 h 715374"/>
                <a:gd name="connsiteX709" fmla="*/ 251378 w 786911"/>
                <a:gd name="connsiteY709" fmla="*/ 487364 h 715374"/>
                <a:gd name="connsiteX710" fmla="*/ 251287 w 786911"/>
                <a:gd name="connsiteY710" fmla="*/ 487456 h 715374"/>
                <a:gd name="connsiteX711" fmla="*/ 251175 w 786911"/>
                <a:gd name="connsiteY711" fmla="*/ 496358 h 715374"/>
                <a:gd name="connsiteX712" fmla="*/ 251287 w 786911"/>
                <a:gd name="connsiteY712" fmla="*/ 496470 h 715374"/>
                <a:gd name="connsiteX713" fmla="*/ 218666 w 786911"/>
                <a:gd name="connsiteY713" fmla="*/ 526945 h 715374"/>
                <a:gd name="connsiteX714" fmla="*/ 226964 w 786911"/>
                <a:gd name="connsiteY714" fmla="*/ 526945 h 715374"/>
                <a:gd name="connsiteX715" fmla="*/ 227250 w 786911"/>
                <a:gd name="connsiteY715" fmla="*/ 518646 h 715374"/>
                <a:gd name="connsiteX716" fmla="*/ 218952 w 786911"/>
                <a:gd name="connsiteY716" fmla="*/ 518360 h 715374"/>
                <a:gd name="connsiteX717" fmla="*/ 218952 w 786911"/>
                <a:gd name="connsiteY717" fmla="*/ 526658 h 715374"/>
                <a:gd name="connsiteX718" fmla="*/ 186474 w 786911"/>
                <a:gd name="connsiteY718" fmla="*/ 557133 h 715374"/>
                <a:gd name="connsiteX719" fmla="*/ 193914 w 786911"/>
                <a:gd name="connsiteY719" fmla="*/ 557133 h 715374"/>
                <a:gd name="connsiteX720" fmla="*/ 193914 w 786911"/>
                <a:gd name="connsiteY720" fmla="*/ 549550 h 715374"/>
                <a:gd name="connsiteX721" fmla="*/ 186474 w 786911"/>
                <a:gd name="connsiteY721" fmla="*/ 549550 h 715374"/>
                <a:gd name="connsiteX722" fmla="*/ 186474 w 786911"/>
                <a:gd name="connsiteY722" fmla="*/ 557133 h 715374"/>
                <a:gd name="connsiteX723" fmla="*/ 153996 w 786911"/>
                <a:gd name="connsiteY723" fmla="*/ 587608 h 715374"/>
                <a:gd name="connsiteX724" fmla="*/ 160673 w 786911"/>
                <a:gd name="connsiteY724" fmla="*/ 587561 h 715374"/>
                <a:gd name="connsiteX725" fmla="*/ 160626 w 786911"/>
                <a:gd name="connsiteY725" fmla="*/ 580884 h 715374"/>
                <a:gd name="connsiteX726" fmla="*/ 153996 w 786911"/>
                <a:gd name="connsiteY726" fmla="*/ 580884 h 715374"/>
                <a:gd name="connsiteX727" fmla="*/ 153949 w 786911"/>
                <a:gd name="connsiteY727" fmla="*/ 587561 h 715374"/>
                <a:gd name="connsiteX728" fmla="*/ 153996 w 786911"/>
                <a:gd name="connsiteY728" fmla="*/ 587608 h 715374"/>
                <a:gd name="connsiteX729" fmla="*/ 121089 w 786911"/>
                <a:gd name="connsiteY729" fmla="*/ 617797 h 715374"/>
                <a:gd name="connsiteX730" fmla="*/ 126955 w 786911"/>
                <a:gd name="connsiteY730" fmla="*/ 617940 h 715374"/>
                <a:gd name="connsiteX731" fmla="*/ 127098 w 786911"/>
                <a:gd name="connsiteY731" fmla="*/ 617797 h 715374"/>
                <a:gd name="connsiteX732" fmla="*/ 127303 w 786911"/>
                <a:gd name="connsiteY732" fmla="*/ 612136 h 715374"/>
                <a:gd name="connsiteX733" fmla="*/ 127098 w 786911"/>
                <a:gd name="connsiteY733" fmla="*/ 611931 h 715374"/>
                <a:gd name="connsiteX734" fmla="*/ 121232 w 786911"/>
                <a:gd name="connsiteY734" fmla="*/ 611931 h 715374"/>
                <a:gd name="connsiteX735" fmla="*/ 121089 w 786911"/>
                <a:gd name="connsiteY735" fmla="*/ 617797 h 715374"/>
                <a:gd name="connsiteX736" fmla="*/ 88182 w 786911"/>
                <a:gd name="connsiteY736" fmla="*/ 648415 h 715374"/>
                <a:gd name="connsiteX737" fmla="*/ 93428 w 786911"/>
                <a:gd name="connsiteY737" fmla="*/ 648032 h 715374"/>
                <a:gd name="connsiteX738" fmla="*/ 93619 w 786911"/>
                <a:gd name="connsiteY738" fmla="*/ 643407 h 715374"/>
                <a:gd name="connsiteX739" fmla="*/ 88325 w 786911"/>
                <a:gd name="connsiteY739" fmla="*/ 643407 h 715374"/>
                <a:gd name="connsiteX740" fmla="*/ 88232 w 786911"/>
                <a:gd name="connsiteY740" fmla="*/ 648465 h 715374"/>
                <a:gd name="connsiteX741" fmla="*/ 88325 w 786911"/>
                <a:gd name="connsiteY741" fmla="*/ 648558 h 7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Lst>
              <a:rect l="l" t="t" r="r" b="b"/>
              <a:pathLst>
                <a:path w="786911" h="715374">
                  <a:moveTo>
                    <a:pt x="412818" y="383011"/>
                  </a:moveTo>
                  <a:cubicBezTo>
                    <a:pt x="415946" y="386186"/>
                    <a:pt x="415946" y="391282"/>
                    <a:pt x="412818" y="394457"/>
                  </a:cubicBezTo>
                  <a:cubicBezTo>
                    <a:pt x="409692" y="397568"/>
                    <a:pt x="404642" y="397568"/>
                    <a:pt x="401515" y="394457"/>
                  </a:cubicBezTo>
                  <a:cubicBezTo>
                    <a:pt x="398405" y="391331"/>
                    <a:pt x="398405" y="386281"/>
                    <a:pt x="401515" y="383154"/>
                  </a:cubicBezTo>
                  <a:cubicBezTo>
                    <a:pt x="404720" y="380103"/>
                    <a:pt x="409757" y="380103"/>
                    <a:pt x="412961" y="383154"/>
                  </a:cubicBezTo>
                  <a:moveTo>
                    <a:pt x="445439" y="352679"/>
                  </a:moveTo>
                  <a:cubicBezTo>
                    <a:pt x="442516" y="349792"/>
                    <a:pt x="437805" y="349822"/>
                    <a:pt x="434918" y="352745"/>
                  </a:cubicBezTo>
                  <a:cubicBezTo>
                    <a:pt x="432031" y="355670"/>
                    <a:pt x="432061" y="360380"/>
                    <a:pt x="434984" y="363267"/>
                  </a:cubicBezTo>
                  <a:cubicBezTo>
                    <a:pt x="437882" y="366128"/>
                    <a:pt x="442542" y="366128"/>
                    <a:pt x="445439" y="363267"/>
                  </a:cubicBezTo>
                  <a:cubicBezTo>
                    <a:pt x="448362" y="360380"/>
                    <a:pt x="448393" y="355670"/>
                    <a:pt x="445505" y="352745"/>
                  </a:cubicBezTo>
                  <a:cubicBezTo>
                    <a:pt x="445484" y="352724"/>
                    <a:pt x="445461" y="352701"/>
                    <a:pt x="445439" y="352679"/>
                  </a:cubicBezTo>
                  <a:moveTo>
                    <a:pt x="477917" y="322205"/>
                  </a:moveTo>
                  <a:cubicBezTo>
                    <a:pt x="475023" y="319632"/>
                    <a:pt x="470592" y="319894"/>
                    <a:pt x="468019" y="322788"/>
                  </a:cubicBezTo>
                  <a:cubicBezTo>
                    <a:pt x="465762" y="325329"/>
                    <a:pt x="465652" y="329124"/>
                    <a:pt x="467759" y="331791"/>
                  </a:cubicBezTo>
                  <a:cubicBezTo>
                    <a:pt x="470522" y="334425"/>
                    <a:pt x="474868" y="334425"/>
                    <a:pt x="477631" y="331791"/>
                  </a:cubicBezTo>
                  <a:cubicBezTo>
                    <a:pt x="480357" y="329154"/>
                    <a:pt x="480430" y="324806"/>
                    <a:pt x="477793" y="322080"/>
                  </a:cubicBezTo>
                  <a:cubicBezTo>
                    <a:pt x="477740" y="322024"/>
                    <a:pt x="477686" y="321971"/>
                    <a:pt x="477631" y="321918"/>
                  </a:cubicBezTo>
                  <a:moveTo>
                    <a:pt x="510252" y="291587"/>
                  </a:moveTo>
                  <a:cubicBezTo>
                    <a:pt x="507763" y="289047"/>
                    <a:pt x="503687" y="289007"/>
                    <a:pt x="501147" y="291495"/>
                  </a:cubicBezTo>
                  <a:cubicBezTo>
                    <a:pt x="498607" y="293984"/>
                    <a:pt x="498567" y="298061"/>
                    <a:pt x="501057" y="300600"/>
                  </a:cubicBezTo>
                  <a:cubicBezTo>
                    <a:pt x="503545" y="303140"/>
                    <a:pt x="507621" y="303180"/>
                    <a:pt x="510161" y="300692"/>
                  </a:cubicBezTo>
                  <a:cubicBezTo>
                    <a:pt x="510192" y="300662"/>
                    <a:pt x="510222" y="300630"/>
                    <a:pt x="510252" y="300600"/>
                  </a:cubicBezTo>
                  <a:cubicBezTo>
                    <a:pt x="512742" y="298172"/>
                    <a:pt x="512792" y="294188"/>
                    <a:pt x="510364" y="291698"/>
                  </a:cubicBezTo>
                  <a:cubicBezTo>
                    <a:pt x="510327" y="291661"/>
                    <a:pt x="510289" y="291624"/>
                    <a:pt x="510252" y="291587"/>
                  </a:cubicBezTo>
                  <a:moveTo>
                    <a:pt x="542873" y="261112"/>
                  </a:moveTo>
                  <a:cubicBezTo>
                    <a:pt x="540551" y="258895"/>
                    <a:pt x="536897" y="258895"/>
                    <a:pt x="534575" y="261112"/>
                  </a:cubicBezTo>
                  <a:cubicBezTo>
                    <a:pt x="532204" y="263324"/>
                    <a:pt x="532077" y="267039"/>
                    <a:pt x="534289" y="269410"/>
                  </a:cubicBezTo>
                  <a:cubicBezTo>
                    <a:pt x="536501" y="271781"/>
                    <a:pt x="540216" y="271908"/>
                    <a:pt x="542587" y="269696"/>
                  </a:cubicBezTo>
                  <a:cubicBezTo>
                    <a:pt x="544803" y="267374"/>
                    <a:pt x="544803" y="263720"/>
                    <a:pt x="542587" y="261398"/>
                  </a:cubicBezTo>
                  <a:moveTo>
                    <a:pt x="575065" y="230923"/>
                  </a:moveTo>
                  <a:cubicBezTo>
                    <a:pt x="573003" y="228887"/>
                    <a:pt x="569687" y="228887"/>
                    <a:pt x="567625" y="230923"/>
                  </a:cubicBezTo>
                  <a:cubicBezTo>
                    <a:pt x="565572" y="233033"/>
                    <a:pt x="565572" y="236395"/>
                    <a:pt x="567625" y="238506"/>
                  </a:cubicBezTo>
                  <a:cubicBezTo>
                    <a:pt x="569687" y="240542"/>
                    <a:pt x="573003" y="240542"/>
                    <a:pt x="575065" y="238506"/>
                  </a:cubicBezTo>
                  <a:cubicBezTo>
                    <a:pt x="577118" y="236395"/>
                    <a:pt x="577118" y="233033"/>
                    <a:pt x="575065" y="230923"/>
                  </a:cubicBezTo>
                  <a:moveTo>
                    <a:pt x="607543" y="200162"/>
                  </a:moveTo>
                  <a:cubicBezTo>
                    <a:pt x="605726" y="198266"/>
                    <a:pt x="602716" y="198202"/>
                    <a:pt x="600819" y="200019"/>
                  </a:cubicBezTo>
                  <a:cubicBezTo>
                    <a:pt x="598923" y="201836"/>
                    <a:pt x="598859" y="204847"/>
                    <a:pt x="600676" y="206743"/>
                  </a:cubicBezTo>
                  <a:cubicBezTo>
                    <a:pt x="602493" y="208640"/>
                    <a:pt x="605503" y="208703"/>
                    <a:pt x="607400" y="206886"/>
                  </a:cubicBezTo>
                  <a:cubicBezTo>
                    <a:pt x="609296" y="205069"/>
                    <a:pt x="609360" y="202059"/>
                    <a:pt x="607543" y="200162"/>
                  </a:cubicBezTo>
                  <a:moveTo>
                    <a:pt x="640164" y="169687"/>
                  </a:moveTo>
                  <a:cubicBezTo>
                    <a:pt x="638583" y="168027"/>
                    <a:pt x="635958" y="167963"/>
                    <a:pt x="634298" y="169544"/>
                  </a:cubicBezTo>
                  <a:cubicBezTo>
                    <a:pt x="634250" y="169591"/>
                    <a:pt x="634201" y="169638"/>
                    <a:pt x="634155" y="169687"/>
                  </a:cubicBezTo>
                  <a:cubicBezTo>
                    <a:pt x="632536" y="171193"/>
                    <a:pt x="632444" y="173729"/>
                    <a:pt x="633951" y="175348"/>
                  </a:cubicBezTo>
                  <a:cubicBezTo>
                    <a:pt x="634016" y="175420"/>
                    <a:pt x="634085" y="175487"/>
                    <a:pt x="634155" y="175553"/>
                  </a:cubicBezTo>
                  <a:cubicBezTo>
                    <a:pt x="635775" y="177172"/>
                    <a:pt x="638402" y="177172"/>
                    <a:pt x="640021" y="175553"/>
                  </a:cubicBezTo>
                  <a:cubicBezTo>
                    <a:pt x="641657" y="173883"/>
                    <a:pt x="641657" y="171213"/>
                    <a:pt x="640021" y="169544"/>
                  </a:cubicBezTo>
                  <a:moveTo>
                    <a:pt x="672499" y="139069"/>
                  </a:moveTo>
                  <a:cubicBezTo>
                    <a:pt x="670944" y="137725"/>
                    <a:pt x="668596" y="137897"/>
                    <a:pt x="667253" y="139452"/>
                  </a:cubicBezTo>
                  <a:cubicBezTo>
                    <a:pt x="666121" y="140761"/>
                    <a:pt x="666042" y="142679"/>
                    <a:pt x="667062" y="144076"/>
                  </a:cubicBezTo>
                  <a:cubicBezTo>
                    <a:pt x="668550" y="145476"/>
                    <a:pt x="670870" y="145476"/>
                    <a:pt x="672356" y="144076"/>
                  </a:cubicBezTo>
                  <a:cubicBezTo>
                    <a:pt x="673778" y="142706"/>
                    <a:pt x="673820" y="140441"/>
                    <a:pt x="672449" y="139019"/>
                  </a:cubicBezTo>
                  <a:cubicBezTo>
                    <a:pt x="672419" y="138987"/>
                    <a:pt x="672388" y="138956"/>
                    <a:pt x="672356" y="138926"/>
                  </a:cubicBezTo>
                  <a:moveTo>
                    <a:pt x="704834" y="108451"/>
                  </a:moveTo>
                  <a:cubicBezTo>
                    <a:pt x="703609" y="107217"/>
                    <a:pt x="701616" y="107210"/>
                    <a:pt x="700383" y="108435"/>
                  </a:cubicBezTo>
                  <a:cubicBezTo>
                    <a:pt x="699148" y="109660"/>
                    <a:pt x="699141" y="111653"/>
                    <a:pt x="700367" y="112886"/>
                  </a:cubicBezTo>
                  <a:cubicBezTo>
                    <a:pt x="701592" y="114119"/>
                    <a:pt x="703585" y="114127"/>
                    <a:pt x="704818" y="112902"/>
                  </a:cubicBezTo>
                  <a:cubicBezTo>
                    <a:pt x="704824" y="112898"/>
                    <a:pt x="704828" y="112892"/>
                    <a:pt x="704834" y="112886"/>
                  </a:cubicBezTo>
                  <a:cubicBezTo>
                    <a:pt x="706053" y="111659"/>
                    <a:pt x="706053" y="109678"/>
                    <a:pt x="704834" y="108451"/>
                  </a:cubicBezTo>
                  <a:moveTo>
                    <a:pt x="737312" y="77976"/>
                  </a:moveTo>
                  <a:cubicBezTo>
                    <a:pt x="736315" y="77013"/>
                    <a:pt x="734732" y="77013"/>
                    <a:pt x="733735" y="77976"/>
                  </a:cubicBezTo>
                  <a:cubicBezTo>
                    <a:pt x="732708" y="78963"/>
                    <a:pt x="732676" y="80597"/>
                    <a:pt x="733664" y="81624"/>
                  </a:cubicBezTo>
                  <a:cubicBezTo>
                    <a:pt x="734651" y="82652"/>
                    <a:pt x="736285" y="82683"/>
                    <a:pt x="737312" y="81696"/>
                  </a:cubicBezTo>
                  <a:cubicBezTo>
                    <a:pt x="738299" y="80786"/>
                    <a:pt x="738362" y="79246"/>
                    <a:pt x="737452" y="78259"/>
                  </a:cubicBezTo>
                  <a:cubicBezTo>
                    <a:pt x="737408" y="78210"/>
                    <a:pt x="737361" y="78163"/>
                    <a:pt x="737312" y="78119"/>
                  </a:cubicBezTo>
                  <a:moveTo>
                    <a:pt x="432133" y="403185"/>
                  </a:moveTo>
                  <a:cubicBezTo>
                    <a:pt x="429107" y="400521"/>
                    <a:pt x="424572" y="400521"/>
                    <a:pt x="421546" y="403185"/>
                  </a:cubicBezTo>
                  <a:cubicBezTo>
                    <a:pt x="418418" y="406360"/>
                    <a:pt x="418418" y="411456"/>
                    <a:pt x="421546" y="414631"/>
                  </a:cubicBezTo>
                  <a:cubicBezTo>
                    <a:pt x="424751" y="417683"/>
                    <a:pt x="429787" y="417683"/>
                    <a:pt x="432992" y="414631"/>
                  </a:cubicBezTo>
                  <a:cubicBezTo>
                    <a:pt x="436102" y="411505"/>
                    <a:pt x="436102" y="406454"/>
                    <a:pt x="432992" y="403328"/>
                  </a:cubicBezTo>
                  <a:moveTo>
                    <a:pt x="464468" y="373282"/>
                  </a:moveTo>
                  <a:cubicBezTo>
                    <a:pt x="461581" y="370359"/>
                    <a:pt x="456871" y="370329"/>
                    <a:pt x="453947" y="373216"/>
                  </a:cubicBezTo>
                  <a:cubicBezTo>
                    <a:pt x="453925" y="373238"/>
                    <a:pt x="453902" y="373259"/>
                    <a:pt x="453881" y="373282"/>
                  </a:cubicBezTo>
                  <a:cubicBezTo>
                    <a:pt x="450996" y="376097"/>
                    <a:pt x="450941" y="380716"/>
                    <a:pt x="453755" y="383601"/>
                  </a:cubicBezTo>
                  <a:cubicBezTo>
                    <a:pt x="453796" y="383644"/>
                    <a:pt x="453838" y="383685"/>
                    <a:pt x="453881" y="383727"/>
                  </a:cubicBezTo>
                  <a:cubicBezTo>
                    <a:pt x="456768" y="386650"/>
                    <a:pt x="461478" y="386680"/>
                    <a:pt x="464403" y="383793"/>
                  </a:cubicBezTo>
                  <a:cubicBezTo>
                    <a:pt x="464424" y="383771"/>
                    <a:pt x="464447" y="383750"/>
                    <a:pt x="464468" y="383727"/>
                  </a:cubicBezTo>
                  <a:cubicBezTo>
                    <a:pt x="467340" y="380782"/>
                    <a:pt x="467340" y="376084"/>
                    <a:pt x="464468" y="373139"/>
                  </a:cubicBezTo>
                  <a:moveTo>
                    <a:pt x="496946" y="342664"/>
                  </a:moveTo>
                  <a:cubicBezTo>
                    <a:pt x="494310" y="339939"/>
                    <a:pt x="489961" y="339866"/>
                    <a:pt x="487236" y="342503"/>
                  </a:cubicBezTo>
                  <a:cubicBezTo>
                    <a:pt x="487180" y="342556"/>
                    <a:pt x="487127" y="342610"/>
                    <a:pt x="487074" y="342664"/>
                  </a:cubicBezTo>
                  <a:cubicBezTo>
                    <a:pt x="484457" y="345380"/>
                    <a:pt x="484457" y="349678"/>
                    <a:pt x="487074" y="352393"/>
                  </a:cubicBezTo>
                  <a:cubicBezTo>
                    <a:pt x="489711" y="355119"/>
                    <a:pt x="494059" y="355192"/>
                    <a:pt x="496785" y="352555"/>
                  </a:cubicBezTo>
                  <a:cubicBezTo>
                    <a:pt x="496841" y="352502"/>
                    <a:pt x="496893" y="352448"/>
                    <a:pt x="496946" y="352393"/>
                  </a:cubicBezTo>
                  <a:cubicBezTo>
                    <a:pt x="499563" y="349678"/>
                    <a:pt x="499563" y="345380"/>
                    <a:pt x="496946" y="342664"/>
                  </a:cubicBezTo>
                  <a:moveTo>
                    <a:pt x="529424" y="312189"/>
                  </a:moveTo>
                  <a:cubicBezTo>
                    <a:pt x="526935" y="309650"/>
                    <a:pt x="522859" y="309610"/>
                    <a:pt x="520319" y="312098"/>
                  </a:cubicBezTo>
                  <a:cubicBezTo>
                    <a:pt x="517781" y="314587"/>
                    <a:pt x="517739" y="318663"/>
                    <a:pt x="520229" y="321203"/>
                  </a:cubicBezTo>
                  <a:cubicBezTo>
                    <a:pt x="522717" y="323743"/>
                    <a:pt x="526793" y="323783"/>
                    <a:pt x="529333" y="321295"/>
                  </a:cubicBezTo>
                  <a:cubicBezTo>
                    <a:pt x="529364" y="321265"/>
                    <a:pt x="529394" y="321233"/>
                    <a:pt x="529424" y="321203"/>
                  </a:cubicBezTo>
                  <a:cubicBezTo>
                    <a:pt x="531914" y="318775"/>
                    <a:pt x="531964" y="314790"/>
                    <a:pt x="529536" y="312301"/>
                  </a:cubicBezTo>
                  <a:cubicBezTo>
                    <a:pt x="529499" y="312264"/>
                    <a:pt x="529462" y="312227"/>
                    <a:pt x="529424" y="312189"/>
                  </a:cubicBezTo>
                  <a:moveTo>
                    <a:pt x="561902" y="281714"/>
                  </a:moveTo>
                  <a:cubicBezTo>
                    <a:pt x="559799" y="279462"/>
                    <a:pt x="556268" y="279342"/>
                    <a:pt x="554016" y="281445"/>
                  </a:cubicBezTo>
                  <a:cubicBezTo>
                    <a:pt x="553923" y="281533"/>
                    <a:pt x="553833" y="281621"/>
                    <a:pt x="553747" y="281714"/>
                  </a:cubicBezTo>
                  <a:cubicBezTo>
                    <a:pt x="551455" y="283892"/>
                    <a:pt x="551362" y="287513"/>
                    <a:pt x="553540" y="289805"/>
                  </a:cubicBezTo>
                  <a:cubicBezTo>
                    <a:pt x="553607" y="289877"/>
                    <a:pt x="553676" y="289945"/>
                    <a:pt x="553747" y="290013"/>
                  </a:cubicBezTo>
                  <a:cubicBezTo>
                    <a:pt x="556021" y="292212"/>
                    <a:pt x="559629" y="292212"/>
                    <a:pt x="561902" y="290013"/>
                  </a:cubicBezTo>
                  <a:cubicBezTo>
                    <a:pt x="564194" y="287835"/>
                    <a:pt x="564287" y="284214"/>
                    <a:pt x="562110" y="281922"/>
                  </a:cubicBezTo>
                  <a:cubicBezTo>
                    <a:pt x="562043" y="281850"/>
                    <a:pt x="561974" y="281782"/>
                    <a:pt x="561902" y="281714"/>
                  </a:cubicBezTo>
                  <a:moveTo>
                    <a:pt x="594523" y="251239"/>
                  </a:moveTo>
                  <a:cubicBezTo>
                    <a:pt x="592413" y="249186"/>
                    <a:pt x="589051" y="249186"/>
                    <a:pt x="586940" y="251239"/>
                  </a:cubicBezTo>
                  <a:cubicBezTo>
                    <a:pt x="584904" y="253301"/>
                    <a:pt x="584904" y="256618"/>
                    <a:pt x="586940" y="258679"/>
                  </a:cubicBezTo>
                  <a:cubicBezTo>
                    <a:pt x="589051" y="260732"/>
                    <a:pt x="592413" y="260732"/>
                    <a:pt x="594523" y="258679"/>
                  </a:cubicBezTo>
                  <a:cubicBezTo>
                    <a:pt x="596559" y="256618"/>
                    <a:pt x="596559" y="253301"/>
                    <a:pt x="594523" y="251239"/>
                  </a:cubicBezTo>
                  <a:moveTo>
                    <a:pt x="627001" y="220764"/>
                  </a:moveTo>
                  <a:cubicBezTo>
                    <a:pt x="625144" y="218933"/>
                    <a:pt x="622155" y="218955"/>
                    <a:pt x="620324" y="220812"/>
                  </a:cubicBezTo>
                  <a:cubicBezTo>
                    <a:pt x="618494" y="222669"/>
                    <a:pt x="618516" y="225658"/>
                    <a:pt x="620371" y="227489"/>
                  </a:cubicBezTo>
                  <a:cubicBezTo>
                    <a:pt x="622210" y="229302"/>
                    <a:pt x="625163" y="229302"/>
                    <a:pt x="627001" y="227489"/>
                  </a:cubicBezTo>
                  <a:cubicBezTo>
                    <a:pt x="628858" y="225658"/>
                    <a:pt x="628880" y="222669"/>
                    <a:pt x="627049" y="220812"/>
                  </a:cubicBezTo>
                  <a:cubicBezTo>
                    <a:pt x="627033" y="220796"/>
                    <a:pt x="627017" y="220780"/>
                    <a:pt x="627001" y="220764"/>
                  </a:cubicBezTo>
                  <a:moveTo>
                    <a:pt x="659479" y="190290"/>
                  </a:moveTo>
                  <a:cubicBezTo>
                    <a:pt x="657810" y="188654"/>
                    <a:pt x="655140" y="188654"/>
                    <a:pt x="653470" y="190290"/>
                  </a:cubicBezTo>
                  <a:cubicBezTo>
                    <a:pt x="651906" y="191988"/>
                    <a:pt x="651906" y="194600"/>
                    <a:pt x="653470" y="196299"/>
                  </a:cubicBezTo>
                  <a:cubicBezTo>
                    <a:pt x="655140" y="197934"/>
                    <a:pt x="657810" y="197934"/>
                    <a:pt x="659479" y="196299"/>
                  </a:cubicBezTo>
                  <a:cubicBezTo>
                    <a:pt x="661099" y="194679"/>
                    <a:pt x="661099" y="192052"/>
                    <a:pt x="659479" y="190433"/>
                  </a:cubicBezTo>
                  <a:moveTo>
                    <a:pt x="692243" y="159958"/>
                  </a:moveTo>
                  <a:cubicBezTo>
                    <a:pt x="690873" y="158536"/>
                    <a:pt x="688608" y="158494"/>
                    <a:pt x="687186" y="159865"/>
                  </a:cubicBezTo>
                  <a:cubicBezTo>
                    <a:pt x="687154" y="159895"/>
                    <a:pt x="687123" y="159926"/>
                    <a:pt x="687093" y="159958"/>
                  </a:cubicBezTo>
                  <a:cubicBezTo>
                    <a:pt x="685693" y="161446"/>
                    <a:pt x="685693" y="163763"/>
                    <a:pt x="687093" y="165251"/>
                  </a:cubicBezTo>
                  <a:cubicBezTo>
                    <a:pt x="688463" y="166674"/>
                    <a:pt x="690728" y="166715"/>
                    <a:pt x="692150" y="165344"/>
                  </a:cubicBezTo>
                  <a:cubicBezTo>
                    <a:pt x="692182" y="165314"/>
                    <a:pt x="692213" y="165283"/>
                    <a:pt x="692243" y="165251"/>
                  </a:cubicBezTo>
                  <a:cubicBezTo>
                    <a:pt x="693666" y="163881"/>
                    <a:pt x="693707" y="161616"/>
                    <a:pt x="692336" y="160194"/>
                  </a:cubicBezTo>
                  <a:cubicBezTo>
                    <a:pt x="692306" y="160162"/>
                    <a:pt x="692275" y="160131"/>
                    <a:pt x="692243" y="160101"/>
                  </a:cubicBezTo>
                  <a:moveTo>
                    <a:pt x="724864" y="129483"/>
                  </a:moveTo>
                  <a:cubicBezTo>
                    <a:pt x="723637" y="128264"/>
                    <a:pt x="721657" y="128264"/>
                    <a:pt x="720429" y="129483"/>
                  </a:cubicBezTo>
                  <a:cubicBezTo>
                    <a:pt x="719245" y="130529"/>
                    <a:pt x="719130" y="132336"/>
                    <a:pt x="720176" y="133522"/>
                  </a:cubicBezTo>
                  <a:cubicBezTo>
                    <a:pt x="720255" y="133612"/>
                    <a:pt x="720339" y="133696"/>
                    <a:pt x="720429" y="133775"/>
                  </a:cubicBezTo>
                  <a:cubicBezTo>
                    <a:pt x="721549" y="135000"/>
                    <a:pt x="723449" y="135086"/>
                    <a:pt x="724674" y="133965"/>
                  </a:cubicBezTo>
                  <a:cubicBezTo>
                    <a:pt x="724740" y="133905"/>
                    <a:pt x="724804" y="133841"/>
                    <a:pt x="724864" y="133775"/>
                  </a:cubicBezTo>
                  <a:cubicBezTo>
                    <a:pt x="726084" y="132547"/>
                    <a:pt x="726084" y="130567"/>
                    <a:pt x="724864" y="129340"/>
                  </a:cubicBezTo>
                  <a:moveTo>
                    <a:pt x="757343" y="98865"/>
                  </a:moveTo>
                  <a:cubicBezTo>
                    <a:pt x="756297" y="97883"/>
                    <a:pt x="754668" y="97883"/>
                    <a:pt x="753623" y="98865"/>
                  </a:cubicBezTo>
                  <a:cubicBezTo>
                    <a:pt x="752595" y="99852"/>
                    <a:pt x="752564" y="101486"/>
                    <a:pt x="753551" y="102513"/>
                  </a:cubicBezTo>
                  <a:cubicBezTo>
                    <a:pt x="754538" y="103540"/>
                    <a:pt x="756172" y="103572"/>
                    <a:pt x="757199" y="102585"/>
                  </a:cubicBezTo>
                  <a:cubicBezTo>
                    <a:pt x="758181" y="101539"/>
                    <a:pt x="758181" y="99911"/>
                    <a:pt x="757199" y="98865"/>
                  </a:cubicBezTo>
                  <a:moveTo>
                    <a:pt x="451592" y="424503"/>
                  </a:moveTo>
                  <a:cubicBezTo>
                    <a:pt x="448470" y="421367"/>
                    <a:pt x="443398" y="421354"/>
                    <a:pt x="440260" y="424474"/>
                  </a:cubicBezTo>
                  <a:cubicBezTo>
                    <a:pt x="437124" y="427596"/>
                    <a:pt x="437111" y="432670"/>
                    <a:pt x="440233" y="435806"/>
                  </a:cubicBezTo>
                  <a:cubicBezTo>
                    <a:pt x="443353" y="438942"/>
                    <a:pt x="448427" y="438955"/>
                    <a:pt x="451563" y="435835"/>
                  </a:cubicBezTo>
                  <a:cubicBezTo>
                    <a:pt x="451573" y="435825"/>
                    <a:pt x="451582" y="435816"/>
                    <a:pt x="451592" y="435806"/>
                  </a:cubicBezTo>
                  <a:cubicBezTo>
                    <a:pt x="454702" y="432680"/>
                    <a:pt x="454702" y="427629"/>
                    <a:pt x="451592" y="424503"/>
                  </a:cubicBezTo>
                  <a:moveTo>
                    <a:pt x="484070" y="394028"/>
                  </a:moveTo>
                  <a:cubicBezTo>
                    <a:pt x="481297" y="391105"/>
                    <a:pt x="476677" y="390982"/>
                    <a:pt x="473754" y="393756"/>
                  </a:cubicBezTo>
                  <a:cubicBezTo>
                    <a:pt x="473661" y="393845"/>
                    <a:pt x="473571" y="393935"/>
                    <a:pt x="473482" y="394028"/>
                  </a:cubicBezTo>
                  <a:cubicBezTo>
                    <a:pt x="470479" y="396872"/>
                    <a:pt x="470352" y="401612"/>
                    <a:pt x="473196" y="404616"/>
                  </a:cubicBezTo>
                  <a:cubicBezTo>
                    <a:pt x="476040" y="407619"/>
                    <a:pt x="480780" y="407746"/>
                    <a:pt x="483783" y="404902"/>
                  </a:cubicBezTo>
                  <a:cubicBezTo>
                    <a:pt x="486668" y="402088"/>
                    <a:pt x="486724" y="397468"/>
                    <a:pt x="483909" y="394583"/>
                  </a:cubicBezTo>
                  <a:cubicBezTo>
                    <a:pt x="483868" y="394540"/>
                    <a:pt x="483826" y="394499"/>
                    <a:pt x="483783" y="394457"/>
                  </a:cubicBezTo>
                  <a:moveTo>
                    <a:pt x="516261" y="363839"/>
                  </a:moveTo>
                  <a:cubicBezTo>
                    <a:pt x="513546" y="361222"/>
                    <a:pt x="509248" y="361222"/>
                    <a:pt x="506532" y="363839"/>
                  </a:cubicBezTo>
                  <a:cubicBezTo>
                    <a:pt x="503807" y="366476"/>
                    <a:pt x="503734" y="370824"/>
                    <a:pt x="506371" y="373550"/>
                  </a:cubicBezTo>
                  <a:cubicBezTo>
                    <a:pt x="506424" y="373604"/>
                    <a:pt x="506478" y="373658"/>
                    <a:pt x="506532" y="373711"/>
                  </a:cubicBezTo>
                  <a:cubicBezTo>
                    <a:pt x="509248" y="376328"/>
                    <a:pt x="513546" y="376328"/>
                    <a:pt x="516261" y="373711"/>
                  </a:cubicBezTo>
                  <a:cubicBezTo>
                    <a:pt x="518987" y="371075"/>
                    <a:pt x="519060" y="366727"/>
                    <a:pt x="516423" y="364001"/>
                  </a:cubicBezTo>
                  <a:cubicBezTo>
                    <a:pt x="516370" y="363947"/>
                    <a:pt x="516316" y="363892"/>
                    <a:pt x="516261" y="363839"/>
                  </a:cubicBezTo>
                  <a:moveTo>
                    <a:pt x="548883" y="333364"/>
                  </a:moveTo>
                  <a:cubicBezTo>
                    <a:pt x="546330" y="330893"/>
                    <a:pt x="542278" y="330893"/>
                    <a:pt x="539726" y="333364"/>
                  </a:cubicBezTo>
                  <a:cubicBezTo>
                    <a:pt x="537326" y="335945"/>
                    <a:pt x="537326" y="339940"/>
                    <a:pt x="539726" y="342521"/>
                  </a:cubicBezTo>
                  <a:cubicBezTo>
                    <a:pt x="542278" y="344992"/>
                    <a:pt x="546330" y="344992"/>
                    <a:pt x="548883" y="342521"/>
                  </a:cubicBezTo>
                  <a:cubicBezTo>
                    <a:pt x="551282" y="339940"/>
                    <a:pt x="551282" y="335945"/>
                    <a:pt x="548883" y="333364"/>
                  </a:cubicBezTo>
                  <a:moveTo>
                    <a:pt x="581647" y="303033"/>
                  </a:moveTo>
                  <a:cubicBezTo>
                    <a:pt x="579435" y="300662"/>
                    <a:pt x="575719" y="300534"/>
                    <a:pt x="573348" y="302746"/>
                  </a:cubicBezTo>
                  <a:cubicBezTo>
                    <a:pt x="570978" y="304958"/>
                    <a:pt x="570850" y="308674"/>
                    <a:pt x="573062" y="311045"/>
                  </a:cubicBezTo>
                  <a:cubicBezTo>
                    <a:pt x="575240" y="313337"/>
                    <a:pt x="578861" y="313430"/>
                    <a:pt x="581153" y="311252"/>
                  </a:cubicBezTo>
                  <a:cubicBezTo>
                    <a:pt x="581225" y="311185"/>
                    <a:pt x="581293" y="311116"/>
                    <a:pt x="581360" y="311045"/>
                  </a:cubicBezTo>
                  <a:cubicBezTo>
                    <a:pt x="583653" y="308754"/>
                    <a:pt x="583653" y="305040"/>
                    <a:pt x="581363" y="302749"/>
                  </a:cubicBezTo>
                  <a:cubicBezTo>
                    <a:pt x="581362" y="302748"/>
                    <a:pt x="581362" y="302748"/>
                    <a:pt x="581360" y="302746"/>
                  </a:cubicBezTo>
                  <a:moveTo>
                    <a:pt x="613839" y="272271"/>
                  </a:moveTo>
                  <a:cubicBezTo>
                    <a:pt x="611744" y="270231"/>
                    <a:pt x="608393" y="270274"/>
                    <a:pt x="606353" y="272369"/>
                  </a:cubicBezTo>
                  <a:cubicBezTo>
                    <a:pt x="604313" y="274462"/>
                    <a:pt x="604355" y="277814"/>
                    <a:pt x="606450" y="279854"/>
                  </a:cubicBezTo>
                  <a:cubicBezTo>
                    <a:pt x="608505" y="281857"/>
                    <a:pt x="611783" y="281857"/>
                    <a:pt x="613839" y="279854"/>
                  </a:cubicBezTo>
                  <a:cubicBezTo>
                    <a:pt x="615892" y="277744"/>
                    <a:pt x="615892" y="274382"/>
                    <a:pt x="613839" y="272271"/>
                  </a:cubicBezTo>
                  <a:moveTo>
                    <a:pt x="646316" y="241797"/>
                  </a:moveTo>
                  <a:cubicBezTo>
                    <a:pt x="644459" y="239965"/>
                    <a:pt x="641471" y="239987"/>
                    <a:pt x="639639" y="241844"/>
                  </a:cubicBezTo>
                  <a:cubicBezTo>
                    <a:pt x="637809" y="243701"/>
                    <a:pt x="637831" y="246690"/>
                    <a:pt x="639686" y="248521"/>
                  </a:cubicBezTo>
                  <a:cubicBezTo>
                    <a:pt x="641525" y="250334"/>
                    <a:pt x="644478" y="250334"/>
                    <a:pt x="646316" y="248521"/>
                  </a:cubicBezTo>
                  <a:cubicBezTo>
                    <a:pt x="648174" y="246690"/>
                    <a:pt x="648195" y="243701"/>
                    <a:pt x="646364" y="241844"/>
                  </a:cubicBezTo>
                  <a:cubicBezTo>
                    <a:pt x="646348" y="241828"/>
                    <a:pt x="646332" y="241812"/>
                    <a:pt x="646316" y="241797"/>
                  </a:cubicBezTo>
                  <a:moveTo>
                    <a:pt x="679081" y="211035"/>
                  </a:moveTo>
                  <a:cubicBezTo>
                    <a:pt x="677382" y="209381"/>
                    <a:pt x="674664" y="209419"/>
                    <a:pt x="673011" y="211118"/>
                  </a:cubicBezTo>
                  <a:cubicBezTo>
                    <a:pt x="671357" y="212817"/>
                    <a:pt x="671395" y="215534"/>
                    <a:pt x="673094" y="217188"/>
                  </a:cubicBezTo>
                  <a:cubicBezTo>
                    <a:pt x="674760" y="218809"/>
                    <a:pt x="677414" y="218809"/>
                    <a:pt x="679081" y="217188"/>
                  </a:cubicBezTo>
                  <a:cubicBezTo>
                    <a:pt x="680716" y="215518"/>
                    <a:pt x="680716" y="212848"/>
                    <a:pt x="679081" y="211179"/>
                  </a:cubicBezTo>
                  <a:moveTo>
                    <a:pt x="711559" y="180704"/>
                  </a:moveTo>
                  <a:cubicBezTo>
                    <a:pt x="710188" y="179281"/>
                    <a:pt x="707923" y="179240"/>
                    <a:pt x="706501" y="180611"/>
                  </a:cubicBezTo>
                  <a:cubicBezTo>
                    <a:pt x="706469" y="180641"/>
                    <a:pt x="706438" y="180672"/>
                    <a:pt x="706408" y="180704"/>
                  </a:cubicBezTo>
                  <a:cubicBezTo>
                    <a:pt x="704986" y="182074"/>
                    <a:pt x="704944" y="184339"/>
                    <a:pt x="706315" y="185761"/>
                  </a:cubicBezTo>
                  <a:cubicBezTo>
                    <a:pt x="706345" y="185793"/>
                    <a:pt x="706376" y="185824"/>
                    <a:pt x="706408" y="185854"/>
                  </a:cubicBezTo>
                  <a:cubicBezTo>
                    <a:pt x="707779" y="187276"/>
                    <a:pt x="710043" y="187318"/>
                    <a:pt x="711466" y="185947"/>
                  </a:cubicBezTo>
                  <a:cubicBezTo>
                    <a:pt x="711497" y="185917"/>
                    <a:pt x="711529" y="185886"/>
                    <a:pt x="711559" y="185854"/>
                  </a:cubicBezTo>
                  <a:cubicBezTo>
                    <a:pt x="712958" y="184368"/>
                    <a:pt x="712958" y="182048"/>
                    <a:pt x="711559" y="180560"/>
                  </a:cubicBezTo>
                  <a:moveTo>
                    <a:pt x="744037" y="150086"/>
                  </a:moveTo>
                  <a:cubicBezTo>
                    <a:pt x="742809" y="148867"/>
                    <a:pt x="740829" y="148867"/>
                    <a:pt x="739601" y="150086"/>
                  </a:cubicBezTo>
                  <a:cubicBezTo>
                    <a:pt x="738455" y="151342"/>
                    <a:pt x="738455" y="153265"/>
                    <a:pt x="739601" y="154521"/>
                  </a:cubicBezTo>
                  <a:cubicBezTo>
                    <a:pt x="740829" y="155740"/>
                    <a:pt x="742809" y="155740"/>
                    <a:pt x="744037" y="154521"/>
                  </a:cubicBezTo>
                  <a:cubicBezTo>
                    <a:pt x="745261" y="153402"/>
                    <a:pt x="745347" y="151501"/>
                    <a:pt x="744227" y="150276"/>
                  </a:cubicBezTo>
                  <a:cubicBezTo>
                    <a:pt x="744167" y="150210"/>
                    <a:pt x="744102" y="150146"/>
                    <a:pt x="744037" y="150086"/>
                  </a:cubicBezTo>
                  <a:moveTo>
                    <a:pt x="776658" y="119611"/>
                  </a:moveTo>
                  <a:cubicBezTo>
                    <a:pt x="775630" y="118626"/>
                    <a:pt x="774001" y="118662"/>
                    <a:pt x="773016" y="119689"/>
                  </a:cubicBezTo>
                  <a:cubicBezTo>
                    <a:pt x="772032" y="120717"/>
                    <a:pt x="772068" y="122346"/>
                    <a:pt x="773095" y="123331"/>
                  </a:cubicBezTo>
                  <a:cubicBezTo>
                    <a:pt x="774091" y="124285"/>
                    <a:pt x="775662" y="124285"/>
                    <a:pt x="776658" y="123331"/>
                  </a:cubicBezTo>
                  <a:cubicBezTo>
                    <a:pt x="777573" y="122260"/>
                    <a:pt x="777573" y="120681"/>
                    <a:pt x="776658" y="119611"/>
                  </a:cubicBezTo>
                  <a:moveTo>
                    <a:pt x="354587" y="320917"/>
                  </a:moveTo>
                  <a:cubicBezTo>
                    <a:pt x="351461" y="317806"/>
                    <a:pt x="346410" y="317806"/>
                    <a:pt x="343284" y="320917"/>
                  </a:cubicBezTo>
                  <a:cubicBezTo>
                    <a:pt x="340222" y="324112"/>
                    <a:pt x="340331" y="329184"/>
                    <a:pt x="343526" y="332246"/>
                  </a:cubicBezTo>
                  <a:cubicBezTo>
                    <a:pt x="346456" y="335053"/>
                    <a:pt x="351023" y="335227"/>
                    <a:pt x="354158" y="332649"/>
                  </a:cubicBezTo>
                  <a:cubicBezTo>
                    <a:pt x="357285" y="329474"/>
                    <a:pt x="357285" y="324378"/>
                    <a:pt x="354158" y="321203"/>
                  </a:cubicBezTo>
                  <a:moveTo>
                    <a:pt x="386636" y="290728"/>
                  </a:moveTo>
                  <a:cubicBezTo>
                    <a:pt x="383713" y="287841"/>
                    <a:pt x="379001" y="287871"/>
                    <a:pt x="376114" y="290794"/>
                  </a:cubicBezTo>
                  <a:cubicBezTo>
                    <a:pt x="373227" y="293718"/>
                    <a:pt x="373257" y="298428"/>
                    <a:pt x="376180" y="301316"/>
                  </a:cubicBezTo>
                  <a:cubicBezTo>
                    <a:pt x="379078" y="304177"/>
                    <a:pt x="383738" y="304177"/>
                    <a:pt x="386636" y="301316"/>
                  </a:cubicBezTo>
                  <a:cubicBezTo>
                    <a:pt x="389559" y="298428"/>
                    <a:pt x="389589" y="293718"/>
                    <a:pt x="386702" y="290794"/>
                  </a:cubicBezTo>
                  <a:cubicBezTo>
                    <a:pt x="386680" y="290772"/>
                    <a:pt x="386659" y="290750"/>
                    <a:pt x="386636" y="290728"/>
                  </a:cubicBezTo>
                  <a:moveTo>
                    <a:pt x="419543" y="260110"/>
                  </a:moveTo>
                  <a:cubicBezTo>
                    <a:pt x="416827" y="257493"/>
                    <a:pt x="412529" y="257493"/>
                    <a:pt x="409814" y="260110"/>
                  </a:cubicBezTo>
                  <a:cubicBezTo>
                    <a:pt x="407088" y="262747"/>
                    <a:pt x="407015" y="267095"/>
                    <a:pt x="409652" y="269821"/>
                  </a:cubicBezTo>
                  <a:cubicBezTo>
                    <a:pt x="409705" y="269875"/>
                    <a:pt x="409759" y="269929"/>
                    <a:pt x="409814" y="269982"/>
                  </a:cubicBezTo>
                  <a:cubicBezTo>
                    <a:pt x="412529" y="272599"/>
                    <a:pt x="416827" y="272599"/>
                    <a:pt x="419543" y="269982"/>
                  </a:cubicBezTo>
                  <a:cubicBezTo>
                    <a:pt x="422268" y="267345"/>
                    <a:pt x="422341" y="262997"/>
                    <a:pt x="419705" y="260272"/>
                  </a:cubicBezTo>
                  <a:cubicBezTo>
                    <a:pt x="419652" y="260217"/>
                    <a:pt x="419597" y="260163"/>
                    <a:pt x="419543" y="260110"/>
                  </a:cubicBezTo>
                  <a:moveTo>
                    <a:pt x="452164" y="229635"/>
                  </a:moveTo>
                  <a:cubicBezTo>
                    <a:pt x="449614" y="227156"/>
                    <a:pt x="445538" y="227213"/>
                    <a:pt x="443060" y="229762"/>
                  </a:cubicBezTo>
                  <a:cubicBezTo>
                    <a:pt x="440765" y="232122"/>
                    <a:pt x="440619" y="235830"/>
                    <a:pt x="442721" y="238363"/>
                  </a:cubicBezTo>
                  <a:cubicBezTo>
                    <a:pt x="445273" y="240834"/>
                    <a:pt x="449325" y="240834"/>
                    <a:pt x="451878" y="238363"/>
                  </a:cubicBezTo>
                  <a:cubicBezTo>
                    <a:pt x="454367" y="235935"/>
                    <a:pt x="454417" y="231950"/>
                    <a:pt x="451989" y="229461"/>
                  </a:cubicBezTo>
                  <a:cubicBezTo>
                    <a:pt x="451952" y="229423"/>
                    <a:pt x="451915" y="229386"/>
                    <a:pt x="451878" y="229349"/>
                  </a:cubicBezTo>
                  <a:moveTo>
                    <a:pt x="484356" y="198874"/>
                  </a:moveTo>
                  <a:cubicBezTo>
                    <a:pt x="482144" y="196503"/>
                    <a:pt x="478428" y="196376"/>
                    <a:pt x="476057" y="198588"/>
                  </a:cubicBezTo>
                  <a:cubicBezTo>
                    <a:pt x="473687" y="200800"/>
                    <a:pt x="473559" y="204515"/>
                    <a:pt x="475771" y="206886"/>
                  </a:cubicBezTo>
                  <a:cubicBezTo>
                    <a:pt x="477983" y="209257"/>
                    <a:pt x="481699" y="209384"/>
                    <a:pt x="484070" y="207172"/>
                  </a:cubicBezTo>
                  <a:cubicBezTo>
                    <a:pt x="486440" y="204960"/>
                    <a:pt x="486568" y="201245"/>
                    <a:pt x="484356" y="198874"/>
                  </a:cubicBezTo>
                  <a:moveTo>
                    <a:pt x="516834" y="168399"/>
                  </a:moveTo>
                  <a:cubicBezTo>
                    <a:pt x="514772" y="166363"/>
                    <a:pt x="511456" y="166363"/>
                    <a:pt x="509394" y="168399"/>
                  </a:cubicBezTo>
                  <a:cubicBezTo>
                    <a:pt x="507205" y="170454"/>
                    <a:pt x="507095" y="173895"/>
                    <a:pt x="509149" y="176084"/>
                  </a:cubicBezTo>
                  <a:cubicBezTo>
                    <a:pt x="511204" y="178274"/>
                    <a:pt x="514645" y="178383"/>
                    <a:pt x="516834" y="176330"/>
                  </a:cubicBezTo>
                  <a:cubicBezTo>
                    <a:pt x="519024" y="174275"/>
                    <a:pt x="519133" y="170834"/>
                    <a:pt x="517078" y="168644"/>
                  </a:cubicBezTo>
                  <a:cubicBezTo>
                    <a:pt x="517000" y="168559"/>
                    <a:pt x="516918" y="168478"/>
                    <a:pt x="516834" y="168399"/>
                  </a:cubicBezTo>
                  <a:moveTo>
                    <a:pt x="550313" y="138067"/>
                  </a:moveTo>
                  <a:cubicBezTo>
                    <a:pt x="548415" y="136176"/>
                    <a:pt x="545344" y="136176"/>
                    <a:pt x="543446" y="138067"/>
                  </a:cubicBezTo>
                  <a:cubicBezTo>
                    <a:pt x="541550" y="139884"/>
                    <a:pt x="541486" y="142896"/>
                    <a:pt x="543303" y="144792"/>
                  </a:cubicBezTo>
                  <a:cubicBezTo>
                    <a:pt x="545120" y="146689"/>
                    <a:pt x="548130" y="146752"/>
                    <a:pt x="550027" y="144935"/>
                  </a:cubicBezTo>
                  <a:cubicBezTo>
                    <a:pt x="551826" y="143055"/>
                    <a:pt x="551826" y="140090"/>
                    <a:pt x="550027" y="138210"/>
                  </a:cubicBezTo>
                  <a:moveTo>
                    <a:pt x="582505" y="107735"/>
                  </a:moveTo>
                  <a:cubicBezTo>
                    <a:pt x="580835" y="106100"/>
                    <a:pt x="578166" y="106100"/>
                    <a:pt x="576496" y="107735"/>
                  </a:cubicBezTo>
                  <a:cubicBezTo>
                    <a:pt x="574798" y="109316"/>
                    <a:pt x="574700" y="111975"/>
                    <a:pt x="576281" y="113673"/>
                  </a:cubicBezTo>
                  <a:cubicBezTo>
                    <a:pt x="577862" y="115371"/>
                    <a:pt x="580521" y="115469"/>
                    <a:pt x="582219" y="113888"/>
                  </a:cubicBezTo>
                  <a:cubicBezTo>
                    <a:pt x="583854" y="112218"/>
                    <a:pt x="583854" y="109548"/>
                    <a:pt x="582219" y="107878"/>
                  </a:cubicBezTo>
                  <a:moveTo>
                    <a:pt x="614697" y="77404"/>
                  </a:moveTo>
                  <a:cubicBezTo>
                    <a:pt x="613326" y="75981"/>
                    <a:pt x="611061" y="75940"/>
                    <a:pt x="609639" y="77311"/>
                  </a:cubicBezTo>
                  <a:cubicBezTo>
                    <a:pt x="609608" y="77341"/>
                    <a:pt x="609576" y="77372"/>
                    <a:pt x="609546" y="77404"/>
                  </a:cubicBezTo>
                  <a:cubicBezTo>
                    <a:pt x="608084" y="78786"/>
                    <a:pt x="608020" y="81092"/>
                    <a:pt x="609403" y="82554"/>
                  </a:cubicBezTo>
                  <a:cubicBezTo>
                    <a:pt x="610785" y="84016"/>
                    <a:pt x="613092" y="84079"/>
                    <a:pt x="614554" y="82697"/>
                  </a:cubicBezTo>
                  <a:cubicBezTo>
                    <a:pt x="615976" y="81327"/>
                    <a:pt x="616018" y="79062"/>
                    <a:pt x="614647" y="77640"/>
                  </a:cubicBezTo>
                  <a:cubicBezTo>
                    <a:pt x="614617" y="77608"/>
                    <a:pt x="614585" y="77577"/>
                    <a:pt x="614554" y="77547"/>
                  </a:cubicBezTo>
                  <a:moveTo>
                    <a:pt x="647032" y="47072"/>
                  </a:moveTo>
                  <a:cubicBezTo>
                    <a:pt x="645804" y="45853"/>
                    <a:pt x="643824" y="45853"/>
                    <a:pt x="642596" y="47072"/>
                  </a:cubicBezTo>
                  <a:cubicBezTo>
                    <a:pt x="641451" y="48328"/>
                    <a:pt x="641451" y="50251"/>
                    <a:pt x="642596" y="51507"/>
                  </a:cubicBezTo>
                  <a:cubicBezTo>
                    <a:pt x="643824" y="52726"/>
                    <a:pt x="645804" y="52726"/>
                    <a:pt x="647032" y="51507"/>
                  </a:cubicBezTo>
                  <a:cubicBezTo>
                    <a:pt x="648257" y="50387"/>
                    <a:pt x="648342" y="48487"/>
                    <a:pt x="647222" y="47262"/>
                  </a:cubicBezTo>
                  <a:cubicBezTo>
                    <a:pt x="647162" y="47196"/>
                    <a:pt x="647098" y="47132"/>
                    <a:pt x="647032" y="47072"/>
                  </a:cubicBezTo>
                  <a:moveTo>
                    <a:pt x="679796" y="16883"/>
                  </a:moveTo>
                  <a:cubicBezTo>
                    <a:pt x="678809" y="15860"/>
                    <a:pt x="677178" y="15830"/>
                    <a:pt x="676155" y="16819"/>
                  </a:cubicBezTo>
                  <a:cubicBezTo>
                    <a:pt x="675132" y="17806"/>
                    <a:pt x="675102" y="19437"/>
                    <a:pt x="676090" y="20460"/>
                  </a:cubicBezTo>
                  <a:cubicBezTo>
                    <a:pt x="677078" y="21483"/>
                    <a:pt x="678709" y="21513"/>
                    <a:pt x="679732" y="20524"/>
                  </a:cubicBezTo>
                  <a:cubicBezTo>
                    <a:pt x="679753" y="20503"/>
                    <a:pt x="679775" y="20481"/>
                    <a:pt x="679796" y="20460"/>
                  </a:cubicBezTo>
                  <a:cubicBezTo>
                    <a:pt x="680759" y="19463"/>
                    <a:pt x="680759" y="17880"/>
                    <a:pt x="679796" y="16883"/>
                  </a:cubicBezTo>
                  <a:moveTo>
                    <a:pt x="373902" y="341663"/>
                  </a:moveTo>
                  <a:cubicBezTo>
                    <a:pt x="370776" y="338552"/>
                    <a:pt x="365725" y="338552"/>
                    <a:pt x="362599" y="341663"/>
                  </a:cubicBezTo>
                  <a:cubicBezTo>
                    <a:pt x="359360" y="344704"/>
                    <a:pt x="359200" y="349798"/>
                    <a:pt x="362241" y="353037"/>
                  </a:cubicBezTo>
                  <a:cubicBezTo>
                    <a:pt x="365283" y="356276"/>
                    <a:pt x="370377" y="356437"/>
                    <a:pt x="373616" y="353395"/>
                  </a:cubicBezTo>
                  <a:cubicBezTo>
                    <a:pt x="376726" y="350269"/>
                    <a:pt x="376726" y="345218"/>
                    <a:pt x="373616" y="342092"/>
                  </a:cubicBezTo>
                  <a:moveTo>
                    <a:pt x="407238" y="311188"/>
                  </a:moveTo>
                  <a:cubicBezTo>
                    <a:pt x="404433" y="308146"/>
                    <a:pt x="399693" y="307953"/>
                    <a:pt x="396651" y="310759"/>
                  </a:cubicBezTo>
                  <a:cubicBezTo>
                    <a:pt x="393609" y="313564"/>
                    <a:pt x="393416" y="318304"/>
                    <a:pt x="396222" y="321346"/>
                  </a:cubicBezTo>
                  <a:cubicBezTo>
                    <a:pt x="398996" y="324269"/>
                    <a:pt x="403614" y="324392"/>
                    <a:pt x="406537" y="321618"/>
                  </a:cubicBezTo>
                  <a:cubicBezTo>
                    <a:pt x="406630" y="321529"/>
                    <a:pt x="406721" y="321439"/>
                    <a:pt x="406809" y="321346"/>
                  </a:cubicBezTo>
                  <a:cubicBezTo>
                    <a:pt x="409681" y="318402"/>
                    <a:pt x="409681" y="313703"/>
                    <a:pt x="406809" y="310759"/>
                  </a:cubicBezTo>
                  <a:moveTo>
                    <a:pt x="439287" y="280284"/>
                  </a:moveTo>
                  <a:cubicBezTo>
                    <a:pt x="436650" y="277558"/>
                    <a:pt x="432302" y="277485"/>
                    <a:pt x="429577" y="280122"/>
                  </a:cubicBezTo>
                  <a:cubicBezTo>
                    <a:pt x="429521" y="280175"/>
                    <a:pt x="429468" y="280229"/>
                    <a:pt x="429415" y="280284"/>
                  </a:cubicBezTo>
                  <a:cubicBezTo>
                    <a:pt x="426798" y="282999"/>
                    <a:pt x="426798" y="287297"/>
                    <a:pt x="429415" y="290013"/>
                  </a:cubicBezTo>
                  <a:cubicBezTo>
                    <a:pt x="432052" y="292738"/>
                    <a:pt x="436400" y="292811"/>
                    <a:pt x="439126" y="290174"/>
                  </a:cubicBezTo>
                  <a:cubicBezTo>
                    <a:pt x="439181" y="290121"/>
                    <a:pt x="439234" y="290067"/>
                    <a:pt x="439287" y="290013"/>
                  </a:cubicBezTo>
                  <a:cubicBezTo>
                    <a:pt x="441904" y="287297"/>
                    <a:pt x="441904" y="282999"/>
                    <a:pt x="439287" y="280284"/>
                  </a:cubicBezTo>
                  <a:moveTo>
                    <a:pt x="471765" y="249809"/>
                  </a:moveTo>
                  <a:cubicBezTo>
                    <a:pt x="469276" y="247269"/>
                    <a:pt x="465200" y="247229"/>
                    <a:pt x="462660" y="249717"/>
                  </a:cubicBezTo>
                  <a:cubicBezTo>
                    <a:pt x="460122" y="252207"/>
                    <a:pt x="460080" y="256283"/>
                    <a:pt x="462570" y="258822"/>
                  </a:cubicBezTo>
                  <a:cubicBezTo>
                    <a:pt x="465058" y="261362"/>
                    <a:pt x="469134" y="261402"/>
                    <a:pt x="471674" y="258914"/>
                  </a:cubicBezTo>
                  <a:cubicBezTo>
                    <a:pt x="471705" y="258884"/>
                    <a:pt x="471735" y="258852"/>
                    <a:pt x="471765" y="258822"/>
                  </a:cubicBezTo>
                  <a:cubicBezTo>
                    <a:pt x="474255" y="256394"/>
                    <a:pt x="474305" y="252410"/>
                    <a:pt x="471877" y="249920"/>
                  </a:cubicBezTo>
                  <a:cubicBezTo>
                    <a:pt x="471840" y="249883"/>
                    <a:pt x="471802" y="249846"/>
                    <a:pt x="471765" y="249809"/>
                  </a:cubicBezTo>
                  <a:moveTo>
                    <a:pt x="504386" y="219334"/>
                  </a:moveTo>
                  <a:cubicBezTo>
                    <a:pt x="502174" y="216963"/>
                    <a:pt x="498459" y="216836"/>
                    <a:pt x="496088" y="219048"/>
                  </a:cubicBezTo>
                  <a:cubicBezTo>
                    <a:pt x="493717" y="221260"/>
                    <a:pt x="493590" y="224975"/>
                    <a:pt x="495802" y="227346"/>
                  </a:cubicBezTo>
                  <a:cubicBezTo>
                    <a:pt x="498014" y="229717"/>
                    <a:pt x="501729" y="229844"/>
                    <a:pt x="504100" y="227632"/>
                  </a:cubicBezTo>
                  <a:cubicBezTo>
                    <a:pt x="506471" y="225420"/>
                    <a:pt x="506598" y="221704"/>
                    <a:pt x="504386" y="219334"/>
                  </a:cubicBezTo>
                  <a:moveTo>
                    <a:pt x="536006" y="189288"/>
                  </a:moveTo>
                  <a:cubicBezTo>
                    <a:pt x="533951" y="187208"/>
                    <a:pt x="530599" y="187188"/>
                    <a:pt x="528520" y="189241"/>
                  </a:cubicBezTo>
                  <a:cubicBezTo>
                    <a:pt x="526440" y="191295"/>
                    <a:pt x="526418" y="194648"/>
                    <a:pt x="528473" y="196728"/>
                  </a:cubicBezTo>
                  <a:cubicBezTo>
                    <a:pt x="530528" y="198808"/>
                    <a:pt x="533880" y="198828"/>
                    <a:pt x="535959" y="196774"/>
                  </a:cubicBezTo>
                  <a:cubicBezTo>
                    <a:pt x="535974" y="196759"/>
                    <a:pt x="535990" y="196744"/>
                    <a:pt x="536006" y="196728"/>
                  </a:cubicBezTo>
                  <a:cubicBezTo>
                    <a:pt x="538042" y="194666"/>
                    <a:pt x="538042" y="191350"/>
                    <a:pt x="536006" y="189288"/>
                  </a:cubicBezTo>
                  <a:moveTo>
                    <a:pt x="568484" y="158813"/>
                  </a:moveTo>
                  <a:cubicBezTo>
                    <a:pt x="566627" y="156982"/>
                    <a:pt x="563638" y="157003"/>
                    <a:pt x="561806" y="158860"/>
                  </a:cubicBezTo>
                  <a:cubicBezTo>
                    <a:pt x="559977" y="160717"/>
                    <a:pt x="559997" y="163706"/>
                    <a:pt x="561854" y="165538"/>
                  </a:cubicBezTo>
                  <a:cubicBezTo>
                    <a:pt x="563692" y="167350"/>
                    <a:pt x="566645" y="167350"/>
                    <a:pt x="568484" y="165538"/>
                  </a:cubicBezTo>
                  <a:cubicBezTo>
                    <a:pt x="570341" y="163706"/>
                    <a:pt x="570362" y="160717"/>
                    <a:pt x="568531" y="158860"/>
                  </a:cubicBezTo>
                  <a:cubicBezTo>
                    <a:pt x="568515" y="158845"/>
                    <a:pt x="568500" y="158829"/>
                    <a:pt x="568484" y="158813"/>
                  </a:cubicBezTo>
                  <a:moveTo>
                    <a:pt x="600962" y="128338"/>
                  </a:moveTo>
                  <a:cubicBezTo>
                    <a:pt x="599342" y="126719"/>
                    <a:pt x="596715" y="126719"/>
                    <a:pt x="595096" y="128338"/>
                  </a:cubicBezTo>
                  <a:cubicBezTo>
                    <a:pt x="593460" y="130008"/>
                    <a:pt x="593460" y="132678"/>
                    <a:pt x="595096" y="134347"/>
                  </a:cubicBezTo>
                  <a:cubicBezTo>
                    <a:pt x="596677" y="136007"/>
                    <a:pt x="599302" y="136071"/>
                    <a:pt x="600962" y="134490"/>
                  </a:cubicBezTo>
                  <a:cubicBezTo>
                    <a:pt x="601010" y="134443"/>
                    <a:pt x="601059" y="134396"/>
                    <a:pt x="601105" y="134347"/>
                  </a:cubicBezTo>
                  <a:cubicBezTo>
                    <a:pt x="602724" y="132841"/>
                    <a:pt x="602816" y="130305"/>
                    <a:pt x="601309" y="128686"/>
                  </a:cubicBezTo>
                  <a:cubicBezTo>
                    <a:pt x="601244" y="128614"/>
                    <a:pt x="601175" y="128547"/>
                    <a:pt x="601105" y="128481"/>
                  </a:cubicBezTo>
                  <a:moveTo>
                    <a:pt x="633726" y="98006"/>
                  </a:moveTo>
                  <a:cubicBezTo>
                    <a:pt x="632304" y="96524"/>
                    <a:pt x="629949" y="96475"/>
                    <a:pt x="628466" y="97898"/>
                  </a:cubicBezTo>
                  <a:cubicBezTo>
                    <a:pt x="626984" y="99320"/>
                    <a:pt x="626936" y="101675"/>
                    <a:pt x="628358" y="103157"/>
                  </a:cubicBezTo>
                  <a:cubicBezTo>
                    <a:pt x="629780" y="104639"/>
                    <a:pt x="632135" y="104688"/>
                    <a:pt x="633617" y="103266"/>
                  </a:cubicBezTo>
                  <a:cubicBezTo>
                    <a:pt x="633654" y="103230"/>
                    <a:pt x="633690" y="103194"/>
                    <a:pt x="633726" y="103157"/>
                  </a:cubicBezTo>
                  <a:cubicBezTo>
                    <a:pt x="635107" y="101718"/>
                    <a:pt x="635107" y="99446"/>
                    <a:pt x="633726" y="98006"/>
                  </a:cubicBezTo>
                  <a:moveTo>
                    <a:pt x="666204" y="67531"/>
                  </a:moveTo>
                  <a:cubicBezTo>
                    <a:pt x="665084" y="66307"/>
                    <a:pt x="663184" y="66221"/>
                    <a:pt x="661959" y="67341"/>
                  </a:cubicBezTo>
                  <a:cubicBezTo>
                    <a:pt x="661893" y="67401"/>
                    <a:pt x="661829" y="67466"/>
                    <a:pt x="661769" y="67531"/>
                  </a:cubicBezTo>
                  <a:cubicBezTo>
                    <a:pt x="660550" y="68759"/>
                    <a:pt x="660550" y="70739"/>
                    <a:pt x="661769" y="71967"/>
                  </a:cubicBezTo>
                  <a:cubicBezTo>
                    <a:pt x="663025" y="73113"/>
                    <a:pt x="664948" y="73113"/>
                    <a:pt x="666204" y="71967"/>
                  </a:cubicBezTo>
                  <a:cubicBezTo>
                    <a:pt x="667423" y="70739"/>
                    <a:pt x="667423" y="68759"/>
                    <a:pt x="666204" y="67531"/>
                  </a:cubicBezTo>
                  <a:moveTo>
                    <a:pt x="699111" y="36913"/>
                  </a:moveTo>
                  <a:cubicBezTo>
                    <a:pt x="698124" y="35890"/>
                    <a:pt x="696493" y="35860"/>
                    <a:pt x="695470" y="36849"/>
                  </a:cubicBezTo>
                  <a:cubicBezTo>
                    <a:pt x="694447" y="37836"/>
                    <a:pt x="694417" y="39467"/>
                    <a:pt x="695405" y="40490"/>
                  </a:cubicBezTo>
                  <a:cubicBezTo>
                    <a:pt x="696393" y="41513"/>
                    <a:pt x="698024" y="41543"/>
                    <a:pt x="699047" y="40555"/>
                  </a:cubicBezTo>
                  <a:cubicBezTo>
                    <a:pt x="699068" y="40533"/>
                    <a:pt x="699090" y="40512"/>
                    <a:pt x="699111" y="40490"/>
                  </a:cubicBezTo>
                  <a:cubicBezTo>
                    <a:pt x="700098" y="39580"/>
                    <a:pt x="700161" y="38041"/>
                    <a:pt x="699251" y="37054"/>
                  </a:cubicBezTo>
                  <a:cubicBezTo>
                    <a:pt x="699207" y="37005"/>
                    <a:pt x="699160" y="36958"/>
                    <a:pt x="699111" y="36913"/>
                  </a:cubicBezTo>
                  <a:moveTo>
                    <a:pt x="392931" y="362409"/>
                  </a:moveTo>
                  <a:cubicBezTo>
                    <a:pt x="389809" y="359272"/>
                    <a:pt x="384737" y="359259"/>
                    <a:pt x="381599" y="362380"/>
                  </a:cubicBezTo>
                  <a:cubicBezTo>
                    <a:pt x="378463" y="365502"/>
                    <a:pt x="378450" y="370575"/>
                    <a:pt x="381572" y="373711"/>
                  </a:cubicBezTo>
                  <a:cubicBezTo>
                    <a:pt x="384693" y="376848"/>
                    <a:pt x="389766" y="376861"/>
                    <a:pt x="392902" y="373740"/>
                  </a:cubicBezTo>
                  <a:cubicBezTo>
                    <a:pt x="392912" y="373730"/>
                    <a:pt x="392921" y="373721"/>
                    <a:pt x="392931" y="373711"/>
                  </a:cubicBezTo>
                  <a:cubicBezTo>
                    <a:pt x="396041" y="370585"/>
                    <a:pt x="396041" y="365535"/>
                    <a:pt x="392931" y="362409"/>
                  </a:cubicBezTo>
                  <a:moveTo>
                    <a:pt x="425838" y="331647"/>
                  </a:moveTo>
                  <a:cubicBezTo>
                    <a:pt x="423032" y="328644"/>
                    <a:pt x="418325" y="328484"/>
                    <a:pt x="415322" y="331290"/>
                  </a:cubicBezTo>
                  <a:cubicBezTo>
                    <a:pt x="412319" y="334095"/>
                    <a:pt x="412159" y="338803"/>
                    <a:pt x="414965" y="341806"/>
                  </a:cubicBezTo>
                  <a:cubicBezTo>
                    <a:pt x="417909" y="344677"/>
                    <a:pt x="422608" y="344677"/>
                    <a:pt x="425552" y="341806"/>
                  </a:cubicBezTo>
                  <a:cubicBezTo>
                    <a:pt x="428475" y="338919"/>
                    <a:pt x="428505" y="334209"/>
                    <a:pt x="425618" y="331284"/>
                  </a:cubicBezTo>
                  <a:cubicBezTo>
                    <a:pt x="425596" y="331263"/>
                    <a:pt x="425574" y="331240"/>
                    <a:pt x="425552" y="331218"/>
                  </a:cubicBezTo>
                  <a:moveTo>
                    <a:pt x="458173" y="300743"/>
                  </a:moveTo>
                  <a:cubicBezTo>
                    <a:pt x="455486" y="298066"/>
                    <a:pt x="451138" y="298074"/>
                    <a:pt x="448461" y="300761"/>
                  </a:cubicBezTo>
                  <a:cubicBezTo>
                    <a:pt x="445784" y="303447"/>
                    <a:pt x="445791" y="307795"/>
                    <a:pt x="448478" y="310472"/>
                  </a:cubicBezTo>
                  <a:cubicBezTo>
                    <a:pt x="451158" y="313144"/>
                    <a:pt x="455493" y="313144"/>
                    <a:pt x="458173" y="310472"/>
                  </a:cubicBezTo>
                  <a:cubicBezTo>
                    <a:pt x="460860" y="307795"/>
                    <a:pt x="460867" y="303447"/>
                    <a:pt x="458190" y="300761"/>
                  </a:cubicBezTo>
                  <a:cubicBezTo>
                    <a:pt x="458185" y="300755"/>
                    <a:pt x="458179" y="300749"/>
                    <a:pt x="458173" y="300743"/>
                  </a:cubicBezTo>
                  <a:moveTo>
                    <a:pt x="490651" y="270268"/>
                  </a:moveTo>
                  <a:cubicBezTo>
                    <a:pt x="488598" y="267365"/>
                    <a:pt x="484580" y="266674"/>
                    <a:pt x="481677" y="268727"/>
                  </a:cubicBezTo>
                  <a:cubicBezTo>
                    <a:pt x="478773" y="270781"/>
                    <a:pt x="478083" y="274798"/>
                    <a:pt x="480137" y="277701"/>
                  </a:cubicBezTo>
                  <a:cubicBezTo>
                    <a:pt x="480480" y="278188"/>
                    <a:pt x="480889" y="278623"/>
                    <a:pt x="481351" y="278996"/>
                  </a:cubicBezTo>
                  <a:cubicBezTo>
                    <a:pt x="484118" y="281228"/>
                    <a:pt x="488173" y="280794"/>
                    <a:pt x="490405" y="278027"/>
                  </a:cubicBezTo>
                  <a:cubicBezTo>
                    <a:pt x="492212" y="275787"/>
                    <a:pt x="492312" y="272619"/>
                    <a:pt x="490651" y="270268"/>
                  </a:cubicBezTo>
                  <a:moveTo>
                    <a:pt x="523129" y="239650"/>
                  </a:moveTo>
                  <a:cubicBezTo>
                    <a:pt x="520917" y="237280"/>
                    <a:pt x="517201" y="237152"/>
                    <a:pt x="514831" y="239364"/>
                  </a:cubicBezTo>
                  <a:cubicBezTo>
                    <a:pt x="512460" y="241576"/>
                    <a:pt x="512333" y="245292"/>
                    <a:pt x="514545" y="247663"/>
                  </a:cubicBezTo>
                  <a:cubicBezTo>
                    <a:pt x="516757" y="250033"/>
                    <a:pt x="520472" y="250161"/>
                    <a:pt x="522843" y="247949"/>
                  </a:cubicBezTo>
                  <a:cubicBezTo>
                    <a:pt x="525214" y="245737"/>
                    <a:pt x="525341" y="242021"/>
                    <a:pt x="523129" y="239650"/>
                  </a:cubicBezTo>
                  <a:moveTo>
                    <a:pt x="555607" y="209175"/>
                  </a:moveTo>
                  <a:cubicBezTo>
                    <a:pt x="553593" y="207042"/>
                    <a:pt x="550229" y="206946"/>
                    <a:pt x="548096" y="208961"/>
                  </a:cubicBezTo>
                  <a:cubicBezTo>
                    <a:pt x="545962" y="210975"/>
                    <a:pt x="545867" y="214339"/>
                    <a:pt x="547881" y="216472"/>
                  </a:cubicBezTo>
                  <a:cubicBezTo>
                    <a:pt x="549896" y="218605"/>
                    <a:pt x="553259" y="218701"/>
                    <a:pt x="555392" y="216687"/>
                  </a:cubicBezTo>
                  <a:cubicBezTo>
                    <a:pt x="557526" y="214672"/>
                    <a:pt x="557622" y="211309"/>
                    <a:pt x="555607" y="209175"/>
                  </a:cubicBezTo>
                  <a:moveTo>
                    <a:pt x="588228" y="178701"/>
                  </a:moveTo>
                  <a:cubicBezTo>
                    <a:pt x="586371" y="176759"/>
                    <a:pt x="583292" y="176690"/>
                    <a:pt x="581350" y="178547"/>
                  </a:cubicBezTo>
                  <a:cubicBezTo>
                    <a:pt x="579409" y="180405"/>
                    <a:pt x="579340" y="183483"/>
                    <a:pt x="581197" y="185425"/>
                  </a:cubicBezTo>
                  <a:cubicBezTo>
                    <a:pt x="583054" y="187367"/>
                    <a:pt x="586133" y="187435"/>
                    <a:pt x="588075" y="185578"/>
                  </a:cubicBezTo>
                  <a:cubicBezTo>
                    <a:pt x="588126" y="185528"/>
                    <a:pt x="588178" y="185477"/>
                    <a:pt x="588228" y="185425"/>
                  </a:cubicBezTo>
                  <a:cubicBezTo>
                    <a:pt x="590085" y="183595"/>
                    <a:pt x="590107" y="180605"/>
                    <a:pt x="588275" y="178748"/>
                  </a:cubicBezTo>
                  <a:cubicBezTo>
                    <a:pt x="588260" y="178732"/>
                    <a:pt x="588244" y="178716"/>
                    <a:pt x="588228" y="178701"/>
                  </a:cubicBezTo>
                  <a:moveTo>
                    <a:pt x="620706" y="148226"/>
                  </a:moveTo>
                  <a:cubicBezTo>
                    <a:pt x="619046" y="146533"/>
                    <a:pt x="616329" y="146506"/>
                    <a:pt x="614637" y="148165"/>
                  </a:cubicBezTo>
                  <a:cubicBezTo>
                    <a:pt x="612943" y="149824"/>
                    <a:pt x="612916" y="152542"/>
                    <a:pt x="614575" y="154235"/>
                  </a:cubicBezTo>
                  <a:cubicBezTo>
                    <a:pt x="616235" y="155927"/>
                    <a:pt x="618952" y="155954"/>
                    <a:pt x="620646" y="154295"/>
                  </a:cubicBezTo>
                  <a:cubicBezTo>
                    <a:pt x="620666" y="154275"/>
                    <a:pt x="620686" y="154255"/>
                    <a:pt x="620706" y="154235"/>
                  </a:cubicBezTo>
                  <a:cubicBezTo>
                    <a:pt x="622341" y="152565"/>
                    <a:pt x="622341" y="149895"/>
                    <a:pt x="620706" y="148226"/>
                  </a:cubicBezTo>
                  <a:moveTo>
                    <a:pt x="653184" y="117751"/>
                  </a:moveTo>
                  <a:cubicBezTo>
                    <a:pt x="651722" y="116421"/>
                    <a:pt x="649460" y="116530"/>
                    <a:pt x="648132" y="117991"/>
                  </a:cubicBezTo>
                  <a:cubicBezTo>
                    <a:pt x="646803" y="119453"/>
                    <a:pt x="646910" y="121715"/>
                    <a:pt x="648372" y="123044"/>
                  </a:cubicBezTo>
                  <a:cubicBezTo>
                    <a:pt x="649737" y="124285"/>
                    <a:pt x="651821" y="124285"/>
                    <a:pt x="653184" y="123044"/>
                  </a:cubicBezTo>
                  <a:cubicBezTo>
                    <a:pt x="654583" y="121558"/>
                    <a:pt x="654583" y="119239"/>
                    <a:pt x="653184" y="117751"/>
                  </a:cubicBezTo>
                  <a:moveTo>
                    <a:pt x="686091" y="88420"/>
                  </a:moveTo>
                  <a:cubicBezTo>
                    <a:pt x="684864" y="87201"/>
                    <a:pt x="682884" y="87201"/>
                    <a:pt x="681656" y="88420"/>
                  </a:cubicBezTo>
                  <a:cubicBezTo>
                    <a:pt x="680431" y="89541"/>
                    <a:pt x="680345" y="91441"/>
                    <a:pt x="681466" y="92665"/>
                  </a:cubicBezTo>
                  <a:cubicBezTo>
                    <a:pt x="681526" y="92731"/>
                    <a:pt x="681590" y="92796"/>
                    <a:pt x="681656" y="92856"/>
                  </a:cubicBezTo>
                  <a:cubicBezTo>
                    <a:pt x="682884" y="94075"/>
                    <a:pt x="684864" y="94075"/>
                    <a:pt x="686091" y="92856"/>
                  </a:cubicBezTo>
                  <a:cubicBezTo>
                    <a:pt x="687237" y="91599"/>
                    <a:pt x="687237" y="89676"/>
                    <a:pt x="686091" y="88420"/>
                  </a:cubicBezTo>
                  <a:moveTo>
                    <a:pt x="718569" y="57945"/>
                  </a:moveTo>
                  <a:cubicBezTo>
                    <a:pt x="717523" y="56964"/>
                    <a:pt x="715895" y="56964"/>
                    <a:pt x="714849" y="57945"/>
                  </a:cubicBezTo>
                  <a:cubicBezTo>
                    <a:pt x="713934" y="59016"/>
                    <a:pt x="713934" y="60595"/>
                    <a:pt x="714849" y="61665"/>
                  </a:cubicBezTo>
                  <a:cubicBezTo>
                    <a:pt x="715837" y="62733"/>
                    <a:pt x="717502" y="62796"/>
                    <a:pt x="718569" y="61808"/>
                  </a:cubicBezTo>
                  <a:cubicBezTo>
                    <a:pt x="719637" y="60821"/>
                    <a:pt x="719699" y="59156"/>
                    <a:pt x="718712" y="58088"/>
                  </a:cubicBezTo>
                  <a:moveTo>
                    <a:pt x="367750" y="425218"/>
                  </a:moveTo>
                  <a:cubicBezTo>
                    <a:pt x="370872" y="428355"/>
                    <a:pt x="375944" y="428367"/>
                    <a:pt x="379081" y="425247"/>
                  </a:cubicBezTo>
                  <a:cubicBezTo>
                    <a:pt x="382218" y="422125"/>
                    <a:pt x="382230" y="417052"/>
                    <a:pt x="379109" y="413915"/>
                  </a:cubicBezTo>
                  <a:cubicBezTo>
                    <a:pt x="375988" y="410779"/>
                    <a:pt x="370915" y="410766"/>
                    <a:pt x="367778" y="413887"/>
                  </a:cubicBezTo>
                  <a:cubicBezTo>
                    <a:pt x="367768" y="413897"/>
                    <a:pt x="367760" y="413905"/>
                    <a:pt x="367750" y="413915"/>
                  </a:cubicBezTo>
                  <a:cubicBezTo>
                    <a:pt x="364639" y="417042"/>
                    <a:pt x="364639" y="422092"/>
                    <a:pt x="367750" y="425218"/>
                  </a:cubicBezTo>
                  <a:moveTo>
                    <a:pt x="335701" y="455693"/>
                  </a:moveTo>
                  <a:cubicBezTo>
                    <a:pt x="338507" y="458696"/>
                    <a:pt x="343214" y="458857"/>
                    <a:pt x="346217" y="456051"/>
                  </a:cubicBezTo>
                  <a:cubicBezTo>
                    <a:pt x="349220" y="453245"/>
                    <a:pt x="349380" y="448538"/>
                    <a:pt x="346575" y="445535"/>
                  </a:cubicBezTo>
                  <a:cubicBezTo>
                    <a:pt x="343630" y="442663"/>
                    <a:pt x="338932" y="442663"/>
                    <a:pt x="335987" y="445535"/>
                  </a:cubicBezTo>
                  <a:cubicBezTo>
                    <a:pt x="333064" y="448422"/>
                    <a:pt x="333034" y="453132"/>
                    <a:pt x="335921" y="456057"/>
                  </a:cubicBezTo>
                  <a:cubicBezTo>
                    <a:pt x="335943" y="456078"/>
                    <a:pt x="335964" y="456101"/>
                    <a:pt x="335987" y="456123"/>
                  </a:cubicBezTo>
                  <a:moveTo>
                    <a:pt x="302651" y="486168"/>
                  </a:moveTo>
                  <a:cubicBezTo>
                    <a:pt x="305384" y="488878"/>
                    <a:pt x="309790" y="488878"/>
                    <a:pt x="312523" y="486168"/>
                  </a:cubicBezTo>
                  <a:cubicBezTo>
                    <a:pt x="315157" y="483404"/>
                    <a:pt x="315157" y="479060"/>
                    <a:pt x="312523" y="476296"/>
                  </a:cubicBezTo>
                  <a:cubicBezTo>
                    <a:pt x="309807" y="473679"/>
                    <a:pt x="305509" y="473679"/>
                    <a:pt x="302794" y="476296"/>
                  </a:cubicBezTo>
                  <a:cubicBezTo>
                    <a:pt x="300107" y="478973"/>
                    <a:pt x="300100" y="483321"/>
                    <a:pt x="302777" y="486008"/>
                  </a:cubicBezTo>
                  <a:cubicBezTo>
                    <a:pt x="302782" y="486014"/>
                    <a:pt x="302788" y="486019"/>
                    <a:pt x="302794" y="486025"/>
                  </a:cubicBezTo>
                  <a:moveTo>
                    <a:pt x="270316" y="516500"/>
                  </a:moveTo>
                  <a:cubicBezTo>
                    <a:pt x="272369" y="519403"/>
                    <a:pt x="276387" y="520094"/>
                    <a:pt x="279290" y="518041"/>
                  </a:cubicBezTo>
                  <a:cubicBezTo>
                    <a:pt x="282194" y="515988"/>
                    <a:pt x="282884" y="511970"/>
                    <a:pt x="280830" y="509067"/>
                  </a:cubicBezTo>
                  <a:cubicBezTo>
                    <a:pt x="280487" y="508581"/>
                    <a:pt x="280079" y="508146"/>
                    <a:pt x="279616" y="507773"/>
                  </a:cubicBezTo>
                  <a:cubicBezTo>
                    <a:pt x="277563" y="504870"/>
                    <a:pt x="273545" y="504179"/>
                    <a:pt x="270642" y="506232"/>
                  </a:cubicBezTo>
                  <a:cubicBezTo>
                    <a:pt x="267738" y="508285"/>
                    <a:pt x="267048" y="512302"/>
                    <a:pt x="269101" y="515205"/>
                  </a:cubicBezTo>
                  <a:cubicBezTo>
                    <a:pt x="269445" y="515690"/>
                    <a:pt x="269852" y="516127"/>
                    <a:pt x="270316" y="516500"/>
                  </a:cubicBezTo>
                  <a:moveTo>
                    <a:pt x="237838" y="547118"/>
                  </a:moveTo>
                  <a:cubicBezTo>
                    <a:pt x="240050" y="549489"/>
                    <a:pt x="243765" y="549616"/>
                    <a:pt x="246136" y="547404"/>
                  </a:cubicBezTo>
                  <a:cubicBezTo>
                    <a:pt x="248507" y="545192"/>
                    <a:pt x="248634" y="541477"/>
                    <a:pt x="246422" y="539106"/>
                  </a:cubicBezTo>
                  <a:cubicBezTo>
                    <a:pt x="244210" y="536735"/>
                    <a:pt x="240495" y="536608"/>
                    <a:pt x="238124" y="538820"/>
                  </a:cubicBezTo>
                  <a:cubicBezTo>
                    <a:pt x="235753" y="541032"/>
                    <a:pt x="235626" y="544747"/>
                    <a:pt x="237838" y="547118"/>
                  </a:cubicBezTo>
                  <a:moveTo>
                    <a:pt x="205217" y="577736"/>
                  </a:moveTo>
                  <a:cubicBezTo>
                    <a:pt x="207231" y="579869"/>
                    <a:pt x="210595" y="579965"/>
                    <a:pt x="212728" y="577951"/>
                  </a:cubicBezTo>
                  <a:cubicBezTo>
                    <a:pt x="214862" y="575936"/>
                    <a:pt x="214957" y="572573"/>
                    <a:pt x="212943" y="570439"/>
                  </a:cubicBezTo>
                  <a:cubicBezTo>
                    <a:pt x="210928" y="568306"/>
                    <a:pt x="207565" y="568210"/>
                    <a:pt x="205431" y="570225"/>
                  </a:cubicBezTo>
                  <a:cubicBezTo>
                    <a:pt x="203298" y="572239"/>
                    <a:pt x="203202" y="575603"/>
                    <a:pt x="205217" y="577736"/>
                  </a:cubicBezTo>
                  <a:moveTo>
                    <a:pt x="172596" y="608211"/>
                  </a:moveTo>
                  <a:cubicBezTo>
                    <a:pt x="174453" y="610153"/>
                    <a:pt x="177532" y="610221"/>
                    <a:pt x="179473" y="608364"/>
                  </a:cubicBezTo>
                  <a:cubicBezTo>
                    <a:pt x="181415" y="606507"/>
                    <a:pt x="181484" y="603428"/>
                    <a:pt x="179626" y="601487"/>
                  </a:cubicBezTo>
                  <a:cubicBezTo>
                    <a:pt x="177769" y="599545"/>
                    <a:pt x="174690" y="599476"/>
                    <a:pt x="172749" y="601333"/>
                  </a:cubicBezTo>
                  <a:cubicBezTo>
                    <a:pt x="172697" y="601384"/>
                    <a:pt x="172646" y="601435"/>
                    <a:pt x="172596" y="601487"/>
                  </a:cubicBezTo>
                  <a:cubicBezTo>
                    <a:pt x="170739" y="603318"/>
                    <a:pt x="170717" y="606307"/>
                    <a:pt x="172549" y="608164"/>
                  </a:cubicBezTo>
                  <a:cubicBezTo>
                    <a:pt x="172564" y="608180"/>
                    <a:pt x="172580" y="608195"/>
                    <a:pt x="172596" y="608211"/>
                  </a:cubicBezTo>
                  <a:moveTo>
                    <a:pt x="140118" y="638686"/>
                  </a:moveTo>
                  <a:cubicBezTo>
                    <a:pt x="141777" y="640379"/>
                    <a:pt x="144494" y="640406"/>
                    <a:pt x="146187" y="638746"/>
                  </a:cubicBezTo>
                  <a:cubicBezTo>
                    <a:pt x="147881" y="637088"/>
                    <a:pt x="147908" y="634369"/>
                    <a:pt x="146249" y="632677"/>
                  </a:cubicBezTo>
                  <a:cubicBezTo>
                    <a:pt x="144589" y="630984"/>
                    <a:pt x="141872" y="630957"/>
                    <a:pt x="140178" y="632617"/>
                  </a:cubicBezTo>
                  <a:cubicBezTo>
                    <a:pt x="140158" y="632637"/>
                    <a:pt x="140138" y="632657"/>
                    <a:pt x="140118" y="632677"/>
                  </a:cubicBezTo>
                  <a:cubicBezTo>
                    <a:pt x="138482" y="634347"/>
                    <a:pt x="138482" y="637016"/>
                    <a:pt x="140118" y="638686"/>
                  </a:cubicBezTo>
                  <a:moveTo>
                    <a:pt x="107640" y="669161"/>
                  </a:moveTo>
                  <a:cubicBezTo>
                    <a:pt x="109102" y="670490"/>
                    <a:pt x="111364" y="670381"/>
                    <a:pt x="112693" y="668921"/>
                  </a:cubicBezTo>
                  <a:cubicBezTo>
                    <a:pt x="114021" y="667458"/>
                    <a:pt x="113914" y="665196"/>
                    <a:pt x="112451" y="663867"/>
                  </a:cubicBezTo>
                  <a:cubicBezTo>
                    <a:pt x="111088" y="662627"/>
                    <a:pt x="109005" y="662627"/>
                    <a:pt x="107640" y="663867"/>
                  </a:cubicBezTo>
                  <a:cubicBezTo>
                    <a:pt x="106241" y="665355"/>
                    <a:pt x="106241" y="667674"/>
                    <a:pt x="107640" y="669161"/>
                  </a:cubicBezTo>
                  <a:moveTo>
                    <a:pt x="387208" y="446107"/>
                  </a:moveTo>
                  <a:cubicBezTo>
                    <a:pt x="390334" y="449218"/>
                    <a:pt x="395385" y="449218"/>
                    <a:pt x="398511" y="446107"/>
                  </a:cubicBezTo>
                  <a:cubicBezTo>
                    <a:pt x="401638" y="442932"/>
                    <a:pt x="401638" y="437836"/>
                    <a:pt x="398511" y="434661"/>
                  </a:cubicBezTo>
                  <a:cubicBezTo>
                    <a:pt x="395385" y="431551"/>
                    <a:pt x="390334" y="431551"/>
                    <a:pt x="387208" y="434661"/>
                  </a:cubicBezTo>
                  <a:cubicBezTo>
                    <a:pt x="384086" y="437686"/>
                    <a:pt x="384007" y="442668"/>
                    <a:pt x="387032" y="445788"/>
                  </a:cubicBezTo>
                  <a:cubicBezTo>
                    <a:pt x="387089" y="445848"/>
                    <a:pt x="387148" y="445907"/>
                    <a:pt x="387208" y="445964"/>
                  </a:cubicBezTo>
                  <a:moveTo>
                    <a:pt x="354587" y="476439"/>
                  </a:moveTo>
                  <a:cubicBezTo>
                    <a:pt x="357474" y="479362"/>
                    <a:pt x="362184" y="479392"/>
                    <a:pt x="365109" y="476505"/>
                  </a:cubicBezTo>
                  <a:cubicBezTo>
                    <a:pt x="365130" y="476484"/>
                    <a:pt x="365153" y="476462"/>
                    <a:pt x="365174" y="476439"/>
                  </a:cubicBezTo>
                  <a:cubicBezTo>
                    <a:pt x="368046" y="473495"/>
                    <a:pt x="368046" y="468796"/>
                    <a:pt x="365174" y="465852"/>
                  </a:cubicBezTo>
                  <a:cubicBezTo>
                    <a:pt x="362010" y="463109"/>
                    <a:pt x="357221" y="463451"/>
                    <a:pt x="354478" y="466616"/>
                  </a:cubicBezTo>
                  <a:cubicBezTo>
                    <a:pt x="352133" y="469320"/>
                    <a:pt x="352000" y="473297"/>
                    <a:pt x="354158" y="476153"/>
                  </a:cubicBezTo>
                  <a:moveTo>
                    <a:pt x="321680" y="506628"/>
                  </a:moveTo>
                  <a:cubicBezTo>
                    <a:pt x="324317" y="509354"/>
                    <a:pt x="328665" y="509426"/>
                    <a:pt x="331390" y="506790"/>
                  </a:cubicBezTo>
                  <a:cubicBezTo>
                    <a:pt x="331445" y="506737"/>
                    <a:pt x="331499" y="506682"/>
                    <a:pt x="331552" y="506628"/>
                  </a:cubicBezTo>
                  <a:cubicBezTo>
                    <a:pt x="334124" y="503734"/>
                    <a:pt x="333863" y="499302"/>
                    <a:pt x="330968" y="496730"/>
                  </a:cubicBezTo>
                  <a:cubicBezTo>
                    <a:pt x="328427" y="494472"/>
                    <a:pt x="324633" y="494364"/>
                    <a:pt x="321966" y="496470"/>
                  </a:cubicBezTo>
                  <a:cubicBezTo>
                    <a:pt x="319332" y="499234"/>
                    <a:pt x="319332" y="503578"/>
                    <a:pt x="321966" y="506342"/>
                  </a:cubicBezTo>
                  <a:moveTo>
                    <a:pt x="289488" y="536817"/>
                  </a:moveTo>
                  <a:cubicBezTo>
                    <a:pt x="291977" y="539356"/>
                    <a:pt x="296054" y="539396"/>
                    <a:pt x="298593" y="536908"/>
                  </a:cubicBezTo>
                  <a:cubicBezTo>
                    <a:pt x="301133" y="534419"/>
                    <a:pt x="301173" y="530343"/>
                    <a:pt x="298683" y="527803"/>
                  </a:cubicBezTo>
                  <a:cubicBezTo>
                    <a:pt x="296195" y="525263"/>
                    <a:pt x="292118" y="525223"/>
                    <a:pt x="289579" y="527711"/>
                  </a:cubicBezTo>
                  <a:cubicBezTo>
                    <a:pt x="289548" y="527742"/>
                    <a:pt x="289518" y="527773"/>
                    <a:pt x="289488" y="527803"/>
                  </a:cubicBezTo>
                  <a:cubicBezTo>
                    <a:pt x="286998" y="530231"/>
                    <a:pt x="286948" y="534216"/>
                    <a:pt x="289376" y="536705"/>
                  </a:cubicBezTo>
                  <a:cubicBezTo>
                    <a:pt x="289414" y="536742"/>
                    <a:pt x="289451" y="536780"/>
                    <a:pt x="289488" y="536817"/>
                  </a:cubicBezTo>
                  <a:moveTo>
                    <a:pt x="257010" y="567864"/>
                  </a:moveTo>
                  <a:cubicBezTo>
                    <a:pt x="259301" y="570156"/>
                    <a:pt x="263015" y="570156"/>
                    <a:pt x="265305" y="567867"/>
                  </a:cubicBezTo>
                  <a:cubicBezTo>
                    <a:pt x="265307" y="567865"/>
                    <a:pt x="265307" y="567865"/>
                    <a:pt x="265308" y="567864"/>
                  </a:cubicBezTo>
                  <a:cubicBezTo>
                    <a:pt x="267600" y="565686"/>
                    <a:pt x="267693" y="562065"/>
                    <a:pt x="265516" y="559773"/>
                  </a:cubicBezTo>
                  <a:cubicBezTo>
                    <a:pt x="265448" y="559702"/>
                    <a:pt x="265380" y="559633"/>
                    <a:pt x="265308" y="559566"/>
                  </a:cubicBezTo>
                  <a:cubicBezTo>
                    <a:pt x="263096" y="557195"/>
                    <a:pt x="259381" y="557068"/>
                    <a:pt x="257010" y="559279"/>
                  </a:cubicBezTo>
                  <a:cubicBezTo>
                    <a:pt x="254639" y="561491"/>
                    <a:pt x="254512" y="565207"/>
                    <a:pt x="256724" y="567578"/>
                  </a:cubicBezTo>
                  <a:moveTo>
                    <a:pt x="224246" y="598053"/>
                  </a:moveTo>
                  <a:cubicBezTo>
                    <a:pt x="226300" y="600133"/>
                    <a:pt x="229653" y="600153"/>
                    <a:pt x="231731" y="598100"/>
                  </a:cubicBezTo>
                  <a:cubicBezTo>
                    <a:pt x="233812" y="596045"/>
                    <a:pt x="233833" y="592693"/>
                    <a:pt x="231779" y="590613"/>
                  </a:cubicBezTo>
                  <a:cubicBezTo>
                    <a:pt x="229724" y="588533"/>
                    <a:pt x="226372" y="588513"/>
                    <a:pt x="224292" y="590567"/>
                  </a:cubicBezTo>
                  <a:cubicBezTo>
                    <a:pt x="224277" y="590581"/>
                    <a:pt x="224262" y="590597"/>
                    <a:pt x="224246" y="590613"/>
                  </a:cubicBezTo>
                  <a:cubicBezTo>
                    <a:pt x="222210" y="592675"/>
                    <a:pt x="222210" y="595991"/>
                    <a:pt x="224246" y="598053"/>
                  </a:cubicBezTo>
                  <a:moveTo>
                    <a:pt x="192626" y="628814"/>
                  </a:moveTo>
                  <a:cubicBezTo>
                    <a:pt x="194483" y="630644"/>
                    <a:pt x="197472" y="630624"/>
                    <a:pt x="199304" y="628767"/>
                  </a:cubicBezTo>
                  <a:cubicBezTo>
                    <a:pt x="201133" y="626910"/>
                    <a:pt x="201112" y="623919"/>
                    <a:pt x="199256" y="622089"/>
                  </a:cubicBezTo>
                  <a:cubicBezTo>
                    <a:pt x="197418" y="620277"/>
                    <a:pt x="194465" y="620277"/>
                    <a:pt x="192626" y="622089"/>
                  </a:cubicBezTo>
                  <a:cubicBezTo>
                    <a:pt x="190769" y="623919"/>
                    <a:pt x="190748" y="626910"/>
                    <a:pt x="192579" y="628767"/>
                  </a:cubicBezTo>
                  <a:cubicBezTo>
                    <a:pt x="192595" y="628782"/>
                    <a:pt x="192611" y="628798"/>
                    <a:pt x="192626" y="628814"/>
                  </a:cubicBezTo>
                  <a:moveTo>
                    <a:pt x="159576" y="659289"/>
                  </a:moveTo>
                  <a:cubicBezTo>
                    <a:pt x="161196" y="660908"/>
                    <a:pt x="163822" y="660908"/>
                    <a:pt x="165442" y="659289"/>
                  </a:cubicBezTo>
                  <a:cubicBezTo>
                    <a:pt x="167077" y="657619"/>
                    <a:pt x="167077" y="654949"/>
                    <a:pt x="165442" y="653280"/>
                  </a:cubicBezTo>
                  <a:cubicBezTo>
                    <a:pt x="163861" y="651620"/>
                    <a:pt x="161236" y="651556"/>
                    <a:pt x="159576" y="653137"/>
                  </a:cubicBezTo>
                  <a:cubicBezTo>
                    <a:pt x="159527" y="653184"/>
                    <a:pt x="159480" y="653231"/>
                    <a:pt x="159433" y="653280"/>
                  </a:cubicBezTo>
                  <a:cubicBezTo>
                    <a:pt x="157813" y="654786"/>
                    <a:pt x="157722" y="657321"/>
                    <a:pt x="159228" y="658941"/>
                  </a:cubicBezTo>
                  <a:cubicBezTo>
                    <a:pt x="159294" y="659013"/>
                    <a:pt x="159363" y="659080"/>
                    <a:pt x="159433" y="659146"/>
                  </a:cubicBezTo>
                  <a:moveTo>
                    <a:pt x="126955" y="689334"/>
                  </a:moveTo>
                  <a:cubicBezTo>
                    <a:pt x="128377" y="690817"/>
                    <a:pt x="130732" y="690865"/>
                    <a:pt x="132214" y="689443"/>
                  </a:cubicBezTo>
                  <a:cubicBezTo>
                    <a:pt x="133697" y="688021"/>
                    <a:pt x="133745" y="685666"/>
                    <a:pt x="132323" y="684184"/>
                  </a:cubicBezTo>
                  <a:cubicBezTo>
                    <a:pt x="130901" y="682702"/>
                    <a:pt x="128546" y="682653"/>
                    <a:pt x="127064" y="684075"/>
                  </a:cubicBezTo>
                  <a:cubicBezTo>
                    <a:pt x="127026" y="684111"/>
                    <a:pt x="126991" y="684147"/>
                    <a:pt x="126955" y="684184"/>
                  </a:cubicBezTo>
                  <a:cubicBezTo>
                    <a:pt x="125574" y="685623"/>
                    <a:pt x="125574" y="687895"/>
                    <a:pt x="126955" y="689334"/>
                  </a:cubicBezTo>
                  <a:moveTo>
                    <a:pt x="407238" y="466710"/>
                  </a:moveTo>
                  <a:cubicBezTo>
                    <a:pt x="410365" y="469820"/>
                    <a:pt x="415415" y="469820"/>
                    <a:pt x="418541" y="466710"/>
                  </a:cubicBezTo>
                  <a:cubicBezTo>
                    <a:pt x="421603" y="463515"/>
                    <a:pt x="421494" y="458443"/>
                    <a:pt x="418300" y="455381"/>
                  </a:cubicBezTo>
                  <a:cubicBezTo>
                    <a:pt x="415369" y="452574"/>
                    <a:pt x="410802" y="452400"/>
                    <a:pt x="407668" y="454978"/>
                  </a:cubicBezTo>
                  <a:cubicBezTo>
                    <a:pt x="404540" y="458153"/>
                    <a:pt x="404540" y="463249"/>
                    <a:pt x="407668" y="466424"/>
                  </a:cubicBezTo>
                  <a:moveTo>
                    <a:pt x="375190" y="496899"/>
                  </a:moveTo>
                  <a:cubicBezTo>
                    <a:pt x="378113" y="499786"/>
                    <a:pt x="382824" y="499756"/>
                    <a:pt x="385711" y="496833"/>
                  </a:cubicBezTo>
                  <a:cubicBezTo>
                    <a:pt x="388599" y="493909"/>
                    <a:pt x="388569" y="489199"/>
                    <a:pt x="385646" y="486311"/>
                  </a:cubicBezTo>
                  <a:cubicBezTo>
                    <a:pt x="382747" y="483450"/>
                    <a:pt x="378087" y="483450"/>
                    <a:pt x="375190" y="486311"/>
                  </a:cubicBezTo>
                  <a:cubicBezTo>
                    <a:pt x="372267" y="489199"/>
                    <a:pt x="372237" y="493909"/>
                    <a:pt x="375124" y="496833"/>
                  </a:cubicBezTo>
                  <a:cubicBezTo>
                    <a:pt x="375145" y="496855"/>
                    <a:pt x="375167" y="496877"/>
                    <a:pt x="375190" y="496899"/>
                  </a:cubicBezTo>
                  <a:moveTo>
                    <a:pt x="341567" y="527660"/>
                  </a:moveTo>
                  <a:cubicBezTo>
                    <a:pt x="344283" y="530277"/>
                    <a:pt x="348581" y="530277"/>
                    <a:pt x="351296" y="527660"/>
                  </a:cubicBezTo>
                  <a:cubicBezTo>
                    <a:pt x="354022" y="525023"/>
                    <a:pt x="354095" y="520675"/>
                    <a:pt x="351458" y="517949"/>
                  </a:cubicBezTo>
                  <a:cubicBezTo>
                    <a:pt x="351405" y="517895"/>
                    <a:pt x="351351" y="517841"/>
                    <a:pt x="351296" y="517788"/>
                  </a:cubicBezTo>
                  <a:cubicBezTo>
                    <a:pt x="348581" y="515171"/>
                    <a:pt x="344283" y="515171"/>
                    <a:pt x="341567" y="517788"/>
                  </a:cubicBezTo>
                  <a:cubicBezTo>
                    <a:pt x="338842" y="520425"/>
                    <a:pt x="338769" y="524773"/>
                    <a:pt x="341405" y="527498"/>
                  </a:cubicBezTo>
                  <a:cubicBezTo>
                    <a:pt x="341458" y="527553"/>
                    <a:pt x="341513" y="527607"/>
                    <a:pt x="341567" y="527660"/>
                  </a:cubicBezTo>
                  <a:moveTo>
                    <a:pt x="308946" y="558135"/>
                  </a:moveTo>
                  <a:cubicBezTo>
                    <a:pt x="311374" y="560624"/>
                    <a:pt x="315359" y="560674"/>
                    <a:pt x="317848" y="558246"/>
                  </a:cubicBezTo>
                  <a:cubicBezTo>
                    <a:pt x="317885" y="558209"/>
                    <a:pt x="317923" y="558172"/>
                    <a:pt x="317960" y="558135"/>
                  </a:cubicBezTo>
                  <a:cubicBezTo>
                    <a:pt x="320863" y="556082"/>
                    <a:pt x="321554" y="552064"/>
                    <a:pt x="319501" y="549161"/>
                  </a:cubicBezTo>
                  <a:cubicBezTo>
                    <a:pt x="317448" y="546257"/>
                    <a:pt x="313430" y="545567"/>
                    <a:pt x="310527" y="547620"/>
                  </a:cubicBezTo>
                  <a:cubicBezTo>
                    <a:pt x="310041" y="547964"/>
                    <a:pt x="309606" y="548373"/>
                    <a:pt x="309232" y="548835"/>
                  </a:cubicBezTo>
                  <a:cubicBezTo>
                    <a:pt x="306743" y="551263"/>
                    <a:pt x="306693" y="555248"/>
                    <a:pt x="309121" y="557737"/>
                  </a:cubicBezTo>
                  <a:cubicBezTo>
                    <a:pt x="309158" y="557774"/>
                    <a:pt x="309195" y="557812"/>
                    <a:pt x="309232" y="557849"/>
                  </a:cubicBezTo>
                  <a:moveTo>
                    <a:pt x="276468" y="589182"/>
                  </a:moveTo>
                  <a:cubicBezTo>
                    <a:pt x="278680" y="591553"/>
                    <a:pt x="282396" y="591680"/>
                    <a:pt x="284766" y="589468"/>
                  </a:cubicBezTo>
                  <a:cubicBezTo>
                    <a:pt x="287137" y="587256"/>
                    <a:pt x="287265" y="583541"/>
                    <a:pt x="285053" y="581170"/>
                  </a:cubicBezTo>
                  <a:cubicBezTo>
                    <a:pt x="282841" y="578799"/>
                    <a:pt x="279125" y="578672"/>
                    <a:pt x="276754" y="580884"/>
                  </a:cubicBezTo>
                  <a:cubicBezTo>
                    <a:pt x="274383" y="583096"/>
                    <a:pt x="274256" y="586811"/>
                    <a:pt x="276468" y="589182"/>
                  </a:cubicBezTo>
                  <a:moveTo>
                    <a:pt x="243990" y="619657"/>
                  </a:moveTo>
                  <a:cubicBezTo>
                    <a:pt x="246052" y="621693"/>
                    <a:pt x="249368" y="621693"/>
                    <a:pt x="251430" y="619657"/>
                  </a:cubicBezTo>
                  <a:cubicBezTo>
                    <a:pt x="253620" y="617602"/>
                    <a:pt x="253729" y="614162"/>
                    <a:pt x="251675" y="611973"/>
                  </a:cubicBezTo>
                  <a:cubicBezTo>
                    <a:pt x="249620" y="609782"/>
                    <a:pt x="246181" y="609673"/>
                    <a:pt x="243990" y="611726"/>
                  </a:cubicBezTo>
                  <a:cubicBezTo>
                    <a:pt x="241800" y="613781"/>
                    <a:pt x="241691" y="617222"/>
                    <a:pt x="243745" y="619412"/>
                  </a:cubicBezTo>
                  <a:cubicBezTo>
                    <a:pt x="243824" y="619497"/>
                    <a:pt x="243906" y="619578"/>
                    <a:pt x="243990" y="619657"/>
                  </a:cubicBezTo>
                  <a:moveTo>
                    <a:pt x="211369" y="650132"/>
                  </a:moveTo>
                  <a:cubicBezTo>
                    <a:pt x="213268" y="652023"/>
                    <a:pt x="216338" y="652023"/>
                    <a:pt x="218237" y="650132"/>
                  </a:cubicBezTo>
                  <a:cubicBezTo>
                    <a:pt x="220134" y="648315"/>
                    <a:pt x="220197" y="645305"/>
                    <a:pt x="218380" y="643407"/>
                  </a:cubicBezTo>
                  <a:cubicBezTo>
                    <a:pt x="216563" y="641512"/>
                    <a:pt x="213551" y="641447"/>
                    <a:pt x="211655" y="643264"/>
                  </a:cubicBezTo>
                  <a:cubicBezTo>
                    <a:pt x="209857" y="645144"/>
                    <a:pt x="209857" y="648109"/>
                    <a:pt x="211655" y="649989"/>
                  </a:cubicBezTo>
                  <a:moveTo>
                    <a:pt x="178319" y="680035"/>
                  </a:moveTo>
                  <a:cubicBezTo>
                    <a:pt x="179988" y="681670"/>
                    <a:pt x="182658" y="681670"/>
                    <a:pt x="184328" y="680035"/>
                  </a:cubicBezTo>
                  <a:cubicBezTo>
                    <a:pt x="185948" y="678415"/>
                    <a:pt x="185948" y="675788"/>
                    <a:pt x="184328" y="674169"/>
                  </a:cubicBezTo>
                  <a:cubicBezTo>
                    <a:pt x="182658" y="672533"/>
                    <a:pt x="179987" y="672533"/>
                    <a:pt x="178319" y="674169"/>
                  </a:cubicBezTo>
                  <a:cubicBezTo>
                    <a:pt x="176755" y="675867"/>
                    <a:pt x="176755" y="678479"/>
                    <a:pt x="178319" y="680178"/>
                  </a:cubicBezTo>
                  <a:moveTo>
                    <a:pt x="145841" y="710653"/>
                  </a:moveTo>
                  <a:cubicBezTo>
                    <a:pt x="147211" y="712075"/>
                    <a:pt x="149476" y="712116"/>
                    <a:pt x="150898" y="710746"/>
                  </a:cubicBezTo>
                  <a:cubicBezTo>
                    <a:pt x="150930" y="710716"/>
                    <a:pt x="150961" y="710684"/>
                    <a:pt x="150991" y="710653"/>
                  </a:cubicBezTo>
                  <a:cubicBezTo>
                    <a:pt x="152454" y="709269"/>
                    <a:pt x="152518" y="706964"/>
                    <a:pt x="151135" y="705502"/>
                  </a:cubicBezTo>
                  <a:cubicBezTo>
                    <a:pt x="149751" y="704040"/>
                    <a:pt x="147446" y="703975"/>
                    <a:pt x="145984" y="705359"/>
                  </a:cubicBezTo>
                  <a:cubicBezTo>
                    <a:pt x="144562" y="706729"/>
                    <a:pt x="144520" y="708994"/>
                    <a:pt x="145891" y="710417"/>
                  </a:cubicBezTo>
                  <a:cubicBezTo>
                    <a:pt x="145921" y="710448"/>
                    <a:pt x="145952" y="710479"/>
                    <a:pt x="145984" y="710510"/>
                  </a:cubicBezTo>
                  <a:moveTo>
                    <a:pt x="309518" y="363124"/>
                  </a:moveTo>
                  <a:cubicBezTo>
                    <a:pt x="312639" y="366260"/>
                    <a:pt x="317712" y="366273"/>
                    <a:pt x="320850" y="363153"/>
                  </a:cubicBezTo>
                  <a:cubicBezTo>
                    <a:pt x="323986" y="360031"/>
                    <a:pt x="323999" y="354957"/>
                    <a:pt x="320877" y="351821"/>
                  </a:cubicBezTo>
                  <a:cubicBezTo>
                    <a:pt x="317757" y="348685"/>
                    <a:pt x="312683" y="348672"/>
                    <a:pt x="309547" y="351792"/>
                  </a:cubicBezTo>
                  <a:cubicBezTo>
                    <a:pt x="309537" y="351802"/>
                    <a:pt x="309528" y="351811"/>
                    <a:pt x="309518" y="351821"/>
                  </a:cubicBezTo>
                  <a:cubicBezTo>
                    <a:pt x="306408" y="354947"/>
                    <a:pt x="306408" y="359998"/>
                    <a:pt x="309518" y="363124"/>
                  </a:cubicBezTo>
                  <a:moveTo>
                    <a:pt x="277040" y="393599"/>
                  </a:moveTo>
                  <a:cubicBezTo>
                    <a:pt x="279815" y="396522"/>
                    <a:pt x="284433" y="396645"/>
                    <a:pt x="287356" y="393871"/>
                  </a:cubicBezTo>
                  <a:cubicBezTo>
                    <a:pt x="287449" y="393782"/>
                    <a:pt x="287539" y="393692"/>
                    <a:pt x="287628" y="393599"/>
                  </a:cubicBezTo>
                  <a:cubicBezTo>
                    <a:pt x="290631" y="390755"/>
                    <a:pt x="290758" y="386014"/>
                    <a:pt x="287914" y="383011"/>
                  </a:cubicBezTo>
                  <a:cubicBezTo>
                    <a:pt x="285070" y="380008"/>
                    <a:pt x="280330" y="379881"/>
                    <a:pt x="277327" y="382725"/>
                  </a:cubicBezTo>
                  <a:cubicBezTo>
                    <a:pt x="274442" y="385539"/>
                    <a:pt x="274386" y="390159"/>
                    <a:pt x="277201" y="393044"/>
                  </a:cubicBezTo>
                  <a:cubicBezTo>
                    <a:pt x="277242" y="393087"/>
                    <a:pt x="277284" y="393128"/>
                    <a:pt x="277327" y="393170"/>
                  </a:cubicBezTo>
                  <a:moveTo>
                    <a:pt x="244849" y="423788"/>
                  </a:moveTo>
                  <a:cubicBezTo>
                    <a:pt x="247564" y="426404"/>
                    <a:pt x="251862" y="426404"/>
                    <a:pt x="254578" y="423788"/>
                  </a:cubicBezTo>
                  <a:cubicBezTo>
                    <a:pt x="257303" y="421151"/>
                    <a:pt x="257376" y="416803"/>
                    <a:pt x="254739" y="414077"/>
                  </a:cubicBezTo>
                  <a:cubicBezTo>
                    <a:pt x="254686" y="414023"/>
                    <a:pt x="254632" y="413968"/>
                    <a:pt x="254578" y="413915"/>
                  </a:cubicBezTo>
                  <a:cubicBezTo>
                    <a:pt x="251862" y="411299"/>
                    <a:pt x="247564" y="411299"/>
                    <a:pt x="244849" y="413915"/>
                  </a:cubicBezTo>
                  <a:cubicBezTo>
                    <a:pt x="242123" y="416552"/>
                    <a:pt x="242050" y="420900"/>
                    <a:pt x="244687" y="423626"/>
                  </a:cubicBezTo>
                  <a:cubicBezTo>
                    <a:pt x="244740" y="423680"/>
                    <a:pt x="244794" y="423735"/>
                    <a:pt x="244849" y="423788"/>
                  </a:cubicBezTo>
                  <a:moveTo>
                    <a:pt x="211941" y="454692"/>
                  </a:moveTo>
                  <a:cubicBezTo>
                    <a:pt x="213830" y="457705"/>
                    <a:pt x="217805" y="458615"/>
                    <a:pt x="220816" y="456726"/>
                  </a:cubicBezTo>
                  <a:cubicBezTo>
                    <a:pt x="223829" y="454836"/>
                    <a:pt x="224739" y="450863"/>
                    <a:pt x="222851" y="447851"/>
                  </a:cubicBezTo>
                  <a:cubicBezTo>
                    <a:pt x="222427" y="447175"/>
                    <a:pt x="221881" y="446584"/>
                    <a:pt x="221241" y="446107"/>
                  </a:cubicBezTo>
                  <a:cubicBezTo>
                    <a:pt x="218792" y="443499"/>
                    <a:pt x="214693" y="443372"/>
                    <a:pt x="212084" y="445821"/>
                  </a:cubicBezTo>
                  <a:cubicBezTo>
                    <a:pt x="209476" y="448271"/>
                    <a:pt x="209349" y="452370"/>
                    <a:pt x="211798" y="454978"/>
                  </a:cubicBezTo>
                  <a:moveTo>
                    <a:pt x="179320" y="485453"/>
                  </a:moveTo>
                  <a:cubicBezTo>
                    <a:pt x="181532" y="487824"/>
                    <a:pt x="185248" y="487951"/>
                    <a:pt x="187619" y="485739"/>
                  </a:cubicBezTo>
                  <a:cubicBezTo>
                    <a:pt x="189989" y="483527"/>
                    <a:pt x="190117" y="479811"/>
                    <a:pt x="187905" y="477441"/>
                  </a:cubicBezTo>
                  <a:cubicBezTo>
                    <a:pt x="185727" y="475149"/>
                    <a:pt x="182106" y="475056"/>
                    <a:pt x="179814" y="477233"/>
                  </a:cubicBezTo>
                  <a:cubicBezTo>
                    <a:pt x="179742" y="477300"/>
                    <a:pt x="179674" y="477369"/>
                    <a:pt x="179606" y="477441"/>
                  </a:cubicBezTo>
                  <a:cubicBezTo>
                    <a:pt x="177314" y="479731"/>
                    <a:pt x="177314" y="483446"/>
                    <a:pt x="179604" y="485736"/>
                  </a:cubicBezTo>
                  <a:cubicBezTo>
                    <a:pt x="179605" y="485738"/>
                    <a:pt x="179605" y="485738"/>
                    <a:pt x="179606" y="485739"/>
                  </a:cubicBezTo>
                  <a:moveTo>
                    <a:pt x="147128" y="516214"/>
                  </a:moveTo>
                  <a:cubicBezTo>
                    <a:pt x="149143" y="518347"/>
                    <a:pt x="152507" y="518443"/>
                    <a:pt x="154640" y="516429"/>
                  </a:cubicBezTo>
                  <a:cubicBezTo>
                    <a:pt x="156773" y="514414"/>
                    <a:pt x="156869" y="511050"/>
                    <a:pt x="154855" y="508917"/>
                  </a:cubicBezTo>
                  <a:cubicBezTo>
                    <a:pt x="152744" y="506864"/>
                    <a:pt x="149382" y="506864"/>
                    <a:pt x="147272" y="508917"/>
                  </a:cubicBezTo>
                  <a:cubicBezTo>
                    <a:pt x="145290" y="511056"/>
                    <a:pt x="145290" y="514361"/>
                    <a:pt x="147272" y="516500"/>
                  </a:cubicBezTo>
                  <a:moveTo>
                    <a:pt x="114507" y="546260"/>
                  </a:moveTo>
                  <a:cubicBezTo>
                    <a:pt x="116365" y="548091"/>
                    <a:pt x="119353" y="548070"/>
                    <a:pt x="121185" y="546212"/>
                  </a:cubicBezTo>
                  <a:cubicBezTo>
                    <a:pt x="123015" y="544355"/>
                    <a:pt x="122993" y="541367"/>
                    <a:pt x="121137" y="539535"/>
                  </a:cubicBezTo>
                  <a:cubicBezTo>
                    <a:pt x="119299" y="537722"/>
                    <a:pt x="116346" y="537722"/>
                    <a:pt x="114507" y="539535"/>
                  </a:cubicBezTo>
                  <a:cubicBezTo>
                    <a:pt x="112650" y="541367"/>
                    <a:pt x="112629" y="544355"/>
                    <a:pt x="114460" y="546212"/>
                  </a:cubicBezTo>
                  <a:cubicBezTo>
                    <a:pt x="114476" y="546228"/>
                    <a:pt x="114492" y="546244"/>
                    <a:pt x="114507" y="546260"/>
                  </a:cubicBezTo>
                  <a:moveTo>
                    <a:pt x="81886" y="576735"/>
                  </a:moveTo>
                  <a:cubicBezTo>
                    <a:pt x="83546" y="578427"/>
                    <a:pt x="86263" y="578454"/>
                    <a:pt x="87956" y="576795"/>
                  </a:cubicBezTo>
                  <a:cubicBezTo>
                    <a:pt x="89650" y="575137"/>
                    <a:pt x="89677" y="572418"/>
                    <a:pt x="88017" y="570725"/>
                  </a:cubicBezTo>
                  <a:cubicBezTo>
                    <a:pt x="86357" y="569033"/>
                    <a:pt x="83640" y="569006"/>
                    <a:pt x="81946" y="570665"/>
                  </a:cubicBezTo>
                  <a:cubicBezTo>
                    <a:pt x="81926" y="570685"/>
                    <a:pt x="81906" y="570705"/>
                    <a:pt x="81886" y="570725"/>
                  </a:cubicBezTo>
                  <a:cubicBezTo>
                    <a:pt x="80251" y="572394"/>
                    <a:pt x="80251" y="575065"/>
                    <a:pt x="81886" y="576735"/>
                  </a:cubicBezTo>
                  <a:moveTo>
                    <a:pt x="49551" y="607066"/>
                  </a:moveTo>
                  <a:cubicBezTo>
                    <a:pt x="50922" y="608489"/>
                    <a:pt x="53187" y="608530"/>
                    <a:pt x="54609" y="607159"/>
                  </a:cubicBezTo>
                  <a:cubicBezTo>
                    <a:pt x="54641" y="607129"/>
                    <a:pt x="54672" y="607098"/>
                    <a:pt x="54702" y="607066"/>
                  </a:cubicBezTo>
                  <a:cubicBezTo>
                    <a:pt x="56124" y="605696"/>
                    <a:pt x="56166" y="603431"/>
                    <a:pt x="54795" y="602009"/>
                  </a:cubicBezTo>
                  <a:cubicBezTo>
                    <a:pt x="54765" y="601977"/>
                    <a:pt x="54734" y="601946"/>
                    <a:pt x="54702" y="601916"/>
                  </a:cubicBezTo>
                  <a:cubicBezTo>
                    <a:pt x="53331" y="600494"/>
                    <a:pt x="51067" y="600452"/>
                    <a:pt x="49644" y="601823"/>
                  </a:cubicBezTo>
                  <a:cubicBezTo>
                    <a:pt x="49613" y="601853"/>
                    <a:pt x="49582" y="601884"/>
                    <a:pt x="49551" y="601916"/>
                  </a:cubicBezTo>
                  <a:cubicBezTo>
                    <a:pt x="48152" y="603402"/>
                    <a:pt x="48152" y="605723"/>
                    <a:pt x="49551" y="607210"/>
                  </a:cubicBezTo>
                  <a:moveTo>
                    <a:pt x="17073" y="637684"/>
                  </a:moveTo>
                  <a:cubicBezTo>
                    <a:pt x="18301" y="638903"/>
                    <a:pt x="20281" y="638903"/>
                    <a:pt x="21509" y="637684"/>
                  </a:cubicBezTo>
                  <a:cubicBezTo>
                    <a:pt x="22655" y="636428"/>
                    <a:pt x="22655" y="634505"/>
                    <a:pt x="21509" y="633249"/>
                  </a:cubicBezTo>
                  <a:cubicBezTo>
                    <a:pt x="20281" y="632030"/>
                    <a:pt x="18301" y="632030"/>
                    <a:pt x="17073" y="633249"/>
                  </a:cubicBezTo>
                  <a:cubicBezTo>
                    <a:pt x="15849" y="634369"/>
                    <a:pt x="15763" y="636269"/>
                    <a:pt x="16883" y="637494"/>
                  </a:cubicBezTo>
                  <a:cubicBezTo>
                    <a:pt x="16943" y="637560"/>
                    <a:pt x="17008" y="637624"/>
                    <a:pt x="17073" y="637684"/>
                  </a:cubicBezTo>
                  <a:moveTo>
                    <a:pt x="328977" y="383870"/>
                  </a:moveTo>
                  <a:cubicBezTo>
                    <a:pt x="332103" y="386980"/>
                    <a:pt x="337153" y="386980"/>
                    <a:pt x="340279" y="383870"/>
                  </a:cubicBezTo>
                  <a:cubicBezTo>
                    <a:pt x="343407" y="380695"/>
                    <a:pt x="343407" y="375599"/>
                    <a:pt x="340279" y="372424"/>
                  </a:cubicBezTo>
                  <a:cubicBezTo>
                    <a:pt x="337075" y="369372"/>
                    <a:pt x="332038" y="369372"/>
                    <a:pt x="328833" y="372424"/>
                  </a:cubicBezTo>
                  <a:cubicBezTo>
                    <a:pt x="325723" y="375550"/>
                    <a:pt x="325723" y="380601"/>
                    <a:pt x="328833" y="383727"/>
                  </a:cubicBezTo>
                  <a:moveTo>
                    <a:pt x="296212" y="414202"/>
                  </a:moveTo>
                  <a:cubicBezTo>
                    <a:pt x="299100" y="417125"/>
                    <a:pt x="303810" y="417155"/>
                    <a:pt x="306734" y="414267"/>
                  </a:cubicBezTo>
                  <a:cubicBezTo>
                    <a:pt x="306756" y="414246"/>
                    <a:pt x="306778" y="414225"/>
                    <a:pt x="306800" y="414202"/>
                  </a:cubicBezTo>
                  <a:cubicBezTo>
                    <a:pt x="309803" y="411396"/>
                    <a:pt x="309963" y="406689"/>
                    <a:pt x="307158" y="403686"/>
                  </a:cubicBezTo>
                  <a:cubicBezTo>
                    <a:pt x="304352" y="400682"/>
                    <a:pt x="299645" y="400522"/>
                    <a:pt x="296642" y="403328"/>
                  </a:cubicBezTo>
                  <a:cubicBezTo>
                    <a:pt x="293770" y="406272"/>
                    <a:pt x="293770" y="410971"/>
                    <a:pt x="296642" y="413915"/>
                  </a:cubicBezTo>
                  <a:moveTo>
                    <a:pt x="264164" y="444820"/>
                  </a:moveTo>
                  <a:cubicBezTo>
                    <a:pt x="266801" y="447545"/>
                    <a:pt x="271149" y="447618"/>
                    <a:pt x="273874" y="444981"/>
                  </a:cubicBezTo>
                  <a:cubicBezTo>
                    <a:pt x="273928" y="444928"/>
                    <a:pt x="273983" y="444874"/>
                    <a:pt x="274036" y="444820"/>
                  </a:cubicBezTo>
                  <a:cubicBezTo>
                    <a:pt x="276653" y="442104"/>
                    <a:pt x="276653" y="437806"/>
                    <a:pt x="274036" y="435091"/>
                  </a:cubicBezTo>
                  <a:cubicBezTo>
                    <a:pt x="271399" y="432365"/>
                    <a:pt x="267051" y="432292"/>
                    <a:pt x="264325" y="434929"/>
                  </a:cubicBezTo>
                  <a:cubicBezTo>
                    <a:pt x="264271" y="434982"/>
                    <a:pt x="264217" y="435036"/>
                    <a:pt x="264164" y="435091"/>
                  </a:cubicBezTo>
                  <a:cubicBezTo>
                    <a:pt x="261547" y="437806"/>
                    <a:pt x="261547" y="442104"/>
                    <a:pt x="264164" y="444820"/>
                  </a:cubicBezTo>
                  <a:moveTo>
                    <a:pt x="231400" y="474722"/>
                  </a:moveTo>
                  <a:cubicBezTo>
                    <a:pt x="233889" y="477262"/>
                    <a:pt x="237965" y="477302"/>
                    <a:pt x="240505" y="474814"/>
                  </a:cubicBezTo>
                  <a:cubicBezTo>
                    <a:pt x="243043" y="472324"/>
                    <a:pt x="243084" y="468248"/>
                    <a:pt x="240595" y="465709"/>
                  </a:cubicBezTo>
                  <a:cubicBezTo>
                    <a:pt x="238107" y="463169"/>
                    <a:pt x="234029" y="463129"/>
                    <a:pt x="231491" y="465617"/>
                  </a:cubicBezTo>
                  <a:cubicBezTo>
                    <a:pt x="231460" y="465647"/>
                    <a:pt x="231430" y="465679"/>
                    <a:pt x="231400" y="465709"/>
                  </a:cubicBezTo>
                  <a:cubicBezTo>
                    <a:pt x="228910" y="468137"/>
                    <a:pt x="228860" y="472121"/>
                    <a:pt x="231288" y="474611"/>
                  </a:cubicBezTo>
                  <a:cubicBezTo>
                    <a:pt x="231325" y="474648"/>
                    <a:pt x="231362" y="474685"/>
                    <a:pt x="231400" y="474722"/>
                  </a:cubicBezTo>
                  <a:moveTo>
                    <a:pt x="198922" y="505197"/>
                  </a:moveTo>
                  <a:cubicBezTo>
                    <a:pt x="201025" y="507449"/>
                    <a:pt x="204556" y="507569"/>
                    <a:pt x="206808" y="505466"/>
                  </a:cubicBezTo>
                  <a:cubicBezTo>
                    <a:pt x="206901" y="505379"/>
                    <a:pt x="206991" y="505290"/>
                    <a:pt x="207077" y="505197"/>
                  </a:cubicBezTo>
                  <a:cubicBezTo>
                    <a:pt x="209369" y="503020"/>
                    <a:pt x="209462" y="499398"/>
                    <a:pt x="207284" y="497106"/>
                  </a:cubicBezTo>
                  <a:cubicBezTo>
                    <a:pt x="207217" y="497035"/>
                    <a:pt x="207148" y="496966"/>
                    <a:pt x="207077" y="496899"/>
                  </a:cubicBezTo>
                  <a:cubicBezTo>
                    <a:pt x="204803" y="494700"/>
                    <a:pt x="201195" y="494700"/>
                    <a:pt x="198922" y="496899"/>
                  </a:cubicBezTo>
                  <a:cubicBezTo>
                    <a:pt x="196629" y="499076"/>
                    <a:pt x="196536" y="502698"/>
                    <a:pt x="198714" y="504990"/>
                  </a:cubicBezTo>
                  <a:cubicBezTo>
                    <a:pt x="198781" y="505061"/>
                    <a:pt x="198850" y="505130"/>
                    <a:pt x="198922" y="505197"/>
                  </a:cubicBezTo>
                  <a:moveTo>
                    <a:pt x="166300" y="536244"/>
                  </a:moveTo>
                  <a:cubicBezTo>
                    <a:pt x="168411" y="538298"/>
                    <a:pt x="171773" y="538298"/>
                    <a:pt x="173883" y="536244"/>
                  </a:cubicBezTo>
                  <a:cubicBezTo>
                    <a:pt x="175919" y="534183"/>
                    <a:pt x="175919" y="530866"/>
                    <a:pt x="173883" y="528805"/>
                  </a:cubicBezTo>
                  <a:cubicBezTo>
                    <a:pt x="171773" y="526751"/>
                    <a:pt x="168411" y="526751"/>
                    <a:pt x="166300" y="528805"/>
                  </a:cubicBezTo>
                  <a:cubicBezTo>
                    <a:pt x="164265" y="530866"/>
                    <a:pt x="164265" y="534183"/>
                    <a:pt x="166300" y="536244"/>
                  </a:cubicBezTo>
                  <a:moveTo>
                    <a:pt x="133822" y="566719"/>
                  </a:moveTo>
                  <a:cubicBezTo>
                    <a:pt x="135680" y="568551"/>
                    <a:pt x="138668" y="568529"/>
                    <a:pt x="140500" y="566672"/>
                  </a:cubicBezTo>
                  <a:cubicBezTo>
                    <a:pt x="142330" y="564815"/>
                    <a:pt x="142308" y="561826"/>
                    <a:pt x="140453" y="559995"/>
                  </a:cubicBezTo>
                  <a:cubicBezTo>
                    <a:pt x="138614" y="558182"/>
                    <a:pt x="135661" y="558182"/>
                    <a:pt x="133822" y="559995"/>
                  </a:cubicBezTo>
                  <a:cubicBezTo>
                    <a:pt x="131965" y="561826"/>
                    <a:pt x="131944" y="564815"/>
                    <a:pt x="133775" y="566672"/>
                  </a:cubicBezTo>
                  <a:cubicBezTo>
                    <a:pt x="133791" y="566688"/>
                    <a:pt x="133807" y="566704"/>
                    <a:pt x="133822" y="566719"/>
                  </a:cubicBezTo>
                  <a:moveTo>
                    <a:pt x="101345" y="597194"/>
                  </a:moveTo>
                  <a:cubicBezTo>
                    <a:pt x="103014" y="598830"/>
                    <a:pt x="105684" y="598830"/>
                    <a:pt x="107354" y="597194"/>
                  </a:cubicBezTo>
                  <a:cubicBezTo>
                    <a:pt x="108917" y="595496"/>
                    <a:pt x="108917" y="592883"/>
                    <a:pt x="107354" y="591185"/>
                  </a:cubicBezTo>
                  <a:cubicBezTo>
                    <a:pt x="105684" y="589550"/>
                    <a:pt x="103013" y="589550"/>
                    <a:pt x="101345" y="591185"/>
                  </a:cubicBezTo>
                  <a:cubicBezTo>
                    <a:pt x="99725" y="592805"/>
                    <a:pt x="99725" y="595432"/>
                    <a:pt x="101345" y="597051"/>
                  </a:cubicBezTo>
                  <a:moveTo>
                    <a:pt x="68867" y="627526"/>
                  </a:moveTo>
                  <a:cubicBezTo>
                    <a:pt x="70237" y="628948"/>
                    <a:pt x="72502" y="628990"/>
                    <a:pt x="73924" y="627619"/>
                  </a:cubicBezTo>
                  <a:cubicBezTo>
                    <a:pt x="73956" y="627589"/>
                    <a:pt x="73987" y="627558"/>
                    <a:pt x="74017" y="627526"/>
                  </a:cubicBezTo>
                  <a:cubicBezTo>
                    <a:pt x="75417" y="626038"/>
                    <a:pt x="75417" y="623719"/>
                    <a:pt x="74017" y="622232"/>
                  </a:cubicBezTo>
                  <a:cubicBezTo>
                    <a:pt x="72647" y="620810"/>
                    <a:pt x="70382" y="620769"/>
                    <a:pt x="68960" y="622139"/>
                  </a:cubicBezTo>
                  <a:cubicBezTo>
                    <a:pt x="68928" y="622169"/>
                    <a:pt x="68897" y="622201"/>
                    <a:pt x="68867" y="622232"/>
                  </a:cubicBezTo>
                  <a:cubicBezTo>
                    <a:pt x="67444" y="623603"/>
                    <a:pt x="67403" y="625868"/>
                    <a:pt x="68774" y="627290"/>
                  </a:cubicBezTo>
                  <a:cubicBezTo>
                    <a:pt x="68804" y="627322"/>
                    <a:pt x="68835" y="627353"/>
                    <a:pt x="68867" y="627383"/>
                  </a:cubicBezTo>
                  <a:moveTo>
                    <a:pt x="36245" y="658001"/>
                  </a:moveTo>
                  <a:cubicBezTo>
                    <a:pt x="37473" y="659220"/>
                    <a:pt x="39453" y="659220"/>
                    <a:pt x="40681" y="658001"/>
                  </a:cubicBezTo>
                  <a:cubicBezTo>
                    <a:pt x="41865" y="656839"/>
                    <a:pt x="41885" y="654938"/>
                    <a:pt x="40724" y="653752"/>
                  </a:cubicBezTo>
                  <a:cubicBezTo>
                    <a:pt x="40709" y="653737"/>
                    <a:pt x="40695" y="653723"/>
                    <a:pt x="40681" y="653709"/>
                  </a:cubicBezTo>
                  <a:cubicBezTo>
                    <a:pt x="39562" y="652484"/>
                    <a:pt x="37660" y="652398"/>
                    <a:pt x="36436" y="653519"/>
                  </a:cubicBezTo>
                  <a:cubicBezTo>
                    <a:pt x="36370" y="653579"/>
                    <a:pt x="36306" y="653643"/>
                    <a:pt x="36245" y="653709"/>
                  </a:cubicBezTo>
                  <a:cubicBezTo>
                    <a:pt x="35026" y="654936"/>
                    <a:pt x="35026" y="656917"/>
                    <a:pt x="36245" y="658144"/>
                  </a:cubicBezTo>
                  <a:moveTo>
                    <a:pt x="348292" y="404616"/>
                  </a:moveTo>
                  <a:cubicBezTo>
                    <a:pt x="351497" y="407667"/>
                    <a:pt x="356533" y="407667"/>
                    <a:pt x="359738" y="404616"/>
                  </a:cubicBezTo>
                  <a:cubicBezTo>
                    <a:pt x="362848" y="401489"/>
                    <a:pt x="362848" y="396439"/>
                    <a:pt x="359738" y="393313"/>
                  </a:cubicBezTo>
                  <a:cubicBezTo>
                    <a:pt x="356611" y="390202"/>
                    <a:pt x="351561" y="390202"/>
                    <a:pt x="348435" y="393313"/>
                  </a:cubicBezTo>
                  <a:cubicBezTo>
                    <a:pt x="345307" y="396488"/>
                    <a:pt x="345307" y="401584"/>
                    <a:pt x="348435" y="404759"/>
                  </a:cubicBezTo>
                  <a:moveTo>
                    <a:pt x="315957" y="435234"/>
                  </a:moveTo>
                  <a:cubicBezTo>
                    <a:pt x="318880" y="438121"/>
                    <a:pt x="323591" y="438091"/>
                    <a:pt x="326478" y="435168"/>
                  </a:cubicBezTo>
                  <a:cubicBezTo>
                    <a:pt x="329366" y="432243"/>
                    <a:pt x="329336" y="427533"/>
                    <a:pt x="326413" y="424646"/>
                  </a:cubicBezTo>
                  <a:cubicBezTo>
                    <a:pt x="323514" y="421785"/>
                    <a:pt x="318854" y="421785"/>
                    <a:pt x="315957" y="424646"/>
                  </a:cubicBezTo>
                  <a:cubicBezTo>
                    <a:pt x="313034" y="427533"/>
                    <a:pt x="313004" y="432243"/>
                    <a:pt x="315891" y="435168"/>
                  </a:cubicBezTo>
                  <a:cubicBezTo>
                    <a:pt x="315912" y="435189"/>
                    <a:pt x="315934" y="435212"/>
                    <a:pt x="315957" y="435234"/>
                  </a:cubicBezTo>
                  <a:moveTo>
                    <a:pt x="283479" y="465709"/>
                  </a:moveTo>
                  <a:cubicBezTo>
                    <a:pt x="286373" y="468281"/>
                    <a:pt x="290804" y="468019"/>
                    <a:pt x="293377" y="465125"/>
                  </a:cubicBezTo>
                  <a:cubicBezTo>
                    <a:pt x="295634" y="462584"/>
                    <a:pt x="295743" y="458789"/>
                    <a:pt x="293637" y="456123"/>
                  </a:cubicBezTo>
                  <a:cubicBezTo>
                    <a:pt x="290873" y="453489"/>
                    <a:pt x="286528" y="453489"/>
                    <a:pt x="283765" y="456123"/>
                  </a:cubicBezTo>
                  <a:cubicBezTo>
                    <a:pt x="281039" y="458759"/>
                    <a:pt x="280966" y="463107"/>
                    <a:pt x="283603" y="465833"/>
                  </a:cubicBezTo>
                  <a:cubicBezTo>
                    <a:pt x="283656" y="465887"/>
                    <a:pt x="283711" y="465942"/>
                    <a:pt x="283765" y="465995"/>
                  </a:cubicBezTo>
                  <a:moveTo>
                    <a:pt x="251287" y="496470"/>
                  </a:moveTo>
                  <a:cubicBezTo>
                    <a:pt x="253776" y="499009"/>
                    <a:pt x="257853" y="499049"/>
                    <a:pt x="260392" y="496561"/>
                  </a:cubicBezTo>
                  <a:cubicBezTo>
                    <a:pt x="262930" y="494072"/>
                    <a:pt x="262972" y="489996"/>
                    <a:pt x="260482" y="487456"/>
                  </a:cubicBezTo>
                  <a:cubicBezTo>
                    <a:pt x="257994" y="484916"/>
                    <a:pt x="253917" y="484876"/>
                    <a:pt x="251378" y="487364"/>
                  </a:cubicBezTo>
                  <a:cubicBezTo>
                    <a:pt x="251347" y="487394"/>
                    <a:pt x="251317" y="487426"/>
                    <a:pt x="251287" y="487456"/>
                  </a:cubicBezTo>
                  <a:cubicBezTo>
                    <a:pt x="248797" y="489884"/>
                    <a:pt x="248747" y="493869"/>
                    <a:pt x="251175" y="496358"/>
                  </a:cubicBezTo>
                  <a:cubicBezTo>
                    <a:pt x="251213" y="496395"/>
                    <a:pt x="251250" y="496432"/>
                    <a:pt x="251287" y="496470"/>
                  </a:cubicBezTo>
                  <a:moveTo>
                    <a:pt x="218666" y="526945"/>
                  </a:moveTo>
                  <a:cubicBezTo>
                    <a:pt x="220988" y="529161"/>
                    <a:pt x="224642" y="529161"/>
                    <a:pt x="226964" y="526945"/>
                  </a:cubicBezTo>
                  <a:cubicBezTo>
                    <a:pt x="229335" y="524733"/>
                    <a:pt x="229462" y="521017"/>
                    <a:pt x="227250" y="518646"/>
                  </a:cubicBezTo>
                  <a:cubicBezTo>
                    <a:pt x="225038" y="516275"/>
                    <a:pt x="221323" y="516148"/>
                    <a:pt x="218952" y="518360"/>
                  </a:cubicBezTo>
                  <a:cubicBezTo>
                    <a:pt x="216736" y="520682"/>
                    <a:pt x="216736" y="524336"/>
                    <a:pt x="218952" y="526658"/>
                  </a:cubicBezTo>
                  <a:moveTo>
                    <a:pt x="186474" y="557133"/>
                  </a:moveTo>
                  <a:cubicBezTo>
                    <a:pt x="188536" y="559169"/>
                    <a:pt x="191852" y="559169"/>
                    <a:pt x="193914" y="557133"/>
                  </a:cubicBezTo>
                  <a:cubicBezTo>
                    <a:pt x="195967" y="555023"/>
                    <a:pt x="195967" y="551661"/>
                    <a:pt x="193914" y="549550"/>
                  </a:cubicBezTo>
                  <a:cubicBezTo>
                    <a:pt x="191852" y="547514"/>
                    <a:pt x="188536" y="547514"/>
                    <a:pt x="186474" y="549550"/>
                  </a:cubicBezTo>
                  <a:cubicBezTo>
                    <a:pt x="184421" y="551661"/>
                    <a:pt x="184421" y="555023"/>
                    <a:pt x="186474" y="557133"/>
                  </a:cubicBezTo>
                  <a:moveTo>
                    <a:pt x="153996" y="587608"/>
                  </a:moveTo>
                  <a:cubicBezTo>
                    <a:pt x="155853" y="589440"/>
                    <a:pt x="158842" y="589418"/>
                    <a:pt x="160673" y="587561"/>
                  </a:cubicBezTo>
                  <a:cubicBezTo>
                    <a:pt x="162503" y="585704"/>
                    <a:pt x="162482" y="582715"/>
                    <a:pt x="160626" y="580884"/>
                  </a:cubicBezTo>
                  <a:cubicBezTo>
                    <a:pt x="158788" y="579071"/>
                    <a:pt x="155835" y="579071"/>
                    <a:pt x="153996" y="580884"/>
                  </a:cubicBezTo>
                  <a:cubicBezTo>
                    <a:pt x="152139" y="582715"/>
                    <a:pt x="152117" y="585704"/>
                    <a:pt x="153949" y="587561"/>
                  </a:cubicBezTo>
                  <a:cubicBezTo>
                    <a:pt x="153965" y="587577"/>
                    <a:pt x="153980" y="587593"/>
                    <a:pt x="153996" y="587608"/>
                  </a:cubicBezTo>
                  <a:moveTo>
                    <a:pt x="121089" y="617797"/>
                  </a:moveTo>
                  <a:cubicBezTo>
                    <a:pt x="122670" y="619457"/>
                    <a:pt x="125295" y="619521"/>
                    <a:pt x="126955" y="617940"/>
                  </a:cubicBezTo>
                  <a:cubicBezTo>
                    <a:pt x="127004" y="617894"/>
                    <a:pt x="127051" y="617846"/>
                    <a:pt x="127098" y="617797"/>
                  </a:cubicBezTo>
                  <a:cubicBezTo>
                    <a:pt x="128718" y="616290"/>
                    <a:pt x="128809" y="613755"/>
                    <a:pt x="127303" y="612136"/>
                  </a:cubicBezTo>
                  <a:cubicBezTo>
                    <a:pt x="127237" y="612064"/>
                    <a:pt x="127168" y="611997"/>
                    <a:pt x="127098" y="611931"/>
                  </a:cubicBezTo>
                  <a:cubicBezTo>
                    <a:pt x="125478" y="610311"/>
                    <a:pt x="122852" y="610311"/>
                    <a:pt x="121232" y="611931"/>
                  </a:cubicBezTo>
                  <a:cubicBezTo>
                    <a:pt x="119647" y="613543"/>
                    <a:pt x="119584" y="616109"/>
                    <a:pt x="121089" y="617797"/>
                  </a:cubicBezTo>
                  <a:moveTo>
                    <a:pt x="88182" y="648415"/>
                  </a:moveTo>
                  <a:cubicBezTo>
                    <a:pt x="89737" y="649759"/>
                    <a:pt x="92086" y="649587"/>
                    <a:pt x="93428" y="648032"/>
                  </a:cubicBezTo>
                  <a:cubicBezTo>
                    <a:pt x="94560" y="646722"/>
                    <a:pt x="94639" y="644805"/>
                    <a:pt x="93619" y="643407"/>
                  </a:cubicBezTo>
                  <a:cubicBezTo>
                    <a:pt x="92132" y="642008"/>
                    <a:pt x="89813" y="642008"/>
                    <a:pt x="88325" y="643407"/>
                  </a:cubicBezTo>
                  <a:cubicBezTo>
                    <a:pt x="86903" y="644778"/>
                    <a:pt x="86861" y="647043"/>
                    <a:pt x="88232" y="648465"/>
                  </a:cubicBezTo>
                  <a:cubicBezTo>
                    <a:pt x="88262" y="648497"/>
                    <a:pt x="88293" y="648528"/>
                    <a:pt x="88325" y="648558"/>
                  </a:cubicBezTo>
                </a:path>
              </a:pathLst>
            </a:custGeom>
            <a:solidFill>
              <a:srgbClr val="00BCEB"/>
            </a:solidFill>
            <a:ln w="14288" cap="flat">
              <a:noFill/>
              <a:prstDash val="solid"/>
              <a:miter/>
            </a:ln>
          </p:spPr>
          <p:txBody>
            <a:bodyPr rtlCol="0" anchor="ctr"/>
            <a:lstStyle/>
            <a:p>
              <a:endParaRPr lang="en-US" dirty="0"/>
            </a:p>
          </p:txBody>
        </p:sp>
        <p:sp>
          <p:nvSpPr>
            <p:cNvPr id="195" name="Freeform: Shape 194">
              <a:extLst>
                <a:ext uri="{FF2B5EF4-FFF2-40B4-BE49-F238E27FC236}">
                  <a16:creationId xmlns:a16="http://schemas.microsoft.com/office/drawing/2014/main" id="{F864B218-100F-40F9-A121-DEA6574E244A}"/>
                </a:ext>
              </a:extLst>
            </p:cNvPr>
            <p:cNvSpPr/>
            <p:nvPr/>
          </p:nvSpPr>
          <p:spPr>
            <a:xfrm>
              <a:off x="6290611" y="2659867"/>
              <a:ext cx="371994" cy="371994"/>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rgbClr val="9E9EA2">
                <a:alpha val="73000"/>
              </a:srgbClr>
            </a:solidFill>
            <a:ln w="14288" cap="flat">
              <a:noFill/>
              <a:prstDash val="solid"/>
              <a:miter/>
            </a:ln>
          </p:spPr>
          <p:txBody>
            <a:bodyPr rtlCol="0" anchor="ctr"/>
            <a:lstStyle/>
            <a:p>
              <a:endParaRPr lang="en-US" dirty="0"/>
            </a:p>
          </p:txBody>
        </p:sp>
        <p:sp>
          <p:nvSpPr>
            <p:cNvPr id="196" name="Freeform: Shape 195">
              <a:extLst>
                <a:ext uri="{FF2B5EF4-FFF2-40B4-BE49-F238E27FC236}">
                  <a16:creationId xmlns:a16="http://schemas.microsoft.com/office/drawing/2014/main" id="{F2703086-B89B-4C6A-A5CB-A409DEE11CA1}"/>
                </a:ext>
              </a:extLst>
            </p:cNvPr>
            <p:cNvSpPr/>
            <p:nvPr/>
          </p:nvSpPr>
          <p:spPr>
            <a:xfrm>
              <a:off x="6252267" y="2641840"/>
              <a:ext cx="371994" cy="371994"/>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rgbClr val="00BCEB">
                <a:alpha val="81000"/>
              </a:srgbClr>
            </a:solidFill>
            <a:ln w="14288" cap="flat">
              <a:noFill/>
              <a:prstDash val="solid"/>
              <a:miter/>
            </a:ln>
          </p:spPr>
          <p:txBody>
            <a:bodyPr rtlCol="0" anchor="ctr"/>
            <a:lstStyle/>
            <a:p>
              <a:endParaRPr lang="en-US" dirty="0"/>
            </a:p>
          </p:txBody>
        </p:sp>
      </p:grpSp>
      <p:sp>
        <p:nvSpPr>
          <p:cNvPr id="91" name="Oval 90">
            <a:extLst>
              <a:ext uri="{FF2B5EF4-FFF2-40B4-BE49-F238E27FC236}">
                <a16:creationId xmlns:a16="http://schemas.microsoft.com/office/drawing/2014/main" id="{5A37347E-354C-4A7B-AA1D-4CA100816EF3}"/>
              </a:ext>
            </a:extLst>
          </p:cNvPr>
          <p:cNvSpPr/>
          <p:nvPr/>
        </p:nvSpPr>
        <p:spPr>
          <a:xfrm>
            <a:off x="10525470" y="1630680"/>
            <a:ext cx="1345364" cy="1345364"/>
          </a:xfrm>
          <a:prstGeom prst="ellipse">
            <a:avLst/>
          </a:prstGeom>
          <a:solidFill>
            <a:schemeClr val="tx2">
              <a:alpha val="7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9" name="Group 88">
            <a:extLst>
              <a:ext uri="{FF2B5EF4-FFF2-40B4-BE49-F238E27FC236}">
                <a16:creationId xmlns:a16="http://schemas.microsoft.com/office/drawing/2014/main" id="{7A8C8EFE-DFAA-4702-AA9D-C920CCE601DD}"/>
              </a:ext>
            </a:extLst>
          </p:cNvPr>
          <p:cNvGrpSpPr/>
          <p:nvPr/>
        </p:nvGrpSpPr>
        <p:grpSpPr>
          <a:xfrm>
            <a:off x="10739878" y="1908643"/>
            <a:ext cx="899461" cy="880919"/>
            <a:chOff x="6330560" y="3409386"/>
            <a:chExt cx="899461" cy="880919"/>
          </a:xfrm>
        </p:grpSpPr>
        <p:grpSp>
          <p:nvGrpSpPr>
            <p:cNvPr id="90" name="Group 89">
              <a:extLst>
                <a:ext uri="{FF2B5EF4-FFF2-40B4-BE49-F238E27FC236}">
                  <a16:creationId xmlns:a16="http://schemas.microsoft.com/office/drawing/2014/main" id="{C133F549-5A17-44C1-9349-A8D4F37B492D}"/>
                </a:ext>
              </a:extLst>
            </p:cNvPr>
            <p:cNvGrpSpPr/>
            <p:nvPr/>
          </p:nvGrpSpPr>
          <p:grpSpPr>
            <a:xfrm>
              <a:off x="6371627" y="3409386"/>
              <a:ext cx="858394" cy="846581"/>
              <a:chOff x="6736081" y="-2000249"/>
              <a:chExt cx="1188722" cy="1188718"/>
            </a:xfrm>
            <a:solidFill>
              <a:schemeClr val="bg2"/>
            </a:solidFill>
          </p:grpSpPr>
          <p:sp>
            <p:nvSpPr>
              <p:cNvPr id="95" name="Freeform: Shape 94">
                <a:extLst>
                  <a:ext uri="{FF2B5EF4-FFF2-40B4-BE49-F238E27FC236}">
                    <a16:creationId xmlns:a16="http://schemas.microsoft.com/office/drawing/2014/main" id="{B02089C4-0118-4ED3-B026-C252CE8A6AEF}"/>
                  </a:ext>
                </a:extLst>
              </p:cNvPr>
              <p:cNvSpPr/>
              <p:nvPr/>
            </p:nvSpPr>
            <p:spPr>
              <a:xfrm>
                <a:off x="7139942" y="-1592579"/>
                <a:ext cx="381000" cy="380999"/>
              </a:xfrm>
              <a:custGeom>
                <a:avLst/>
                <a:gdLst>
                  <a:gd name="connsiteX0" fmla="*/ 190500 w 381000"/>
                  <a:gd name="connsiteY0" fmla="*/ 380999 h 380999"/>
                  <a:gd name="connsiteX1" fmla="*/ 0 w 381000"/>
                  <a:gd name="connsiteY1" fmla="*/ 190500 h 380999"/>
                  <a:gd name="connsiteX2" fmla="*/ 190500 w 381000"/>
                  <a:gd name="connsiteY2" fmla="*/ 0 h 380999"/>
                  <a:gd name="connsiteX3" fmla="*/ 381001 w 381000"/>
                  <a:gd name="connsiteY3" fmla="*/ 190500 h 380999"/>
                  <a:gd name="connsiteX4" fmla="*/ 190500 w 381000"/>
                  <a:gd name="connsiteY4" fmla="*/ 380999 h 380999"/>
                  <a:gd name="connsiteX5" fmla="*/ 190500 w 381000"/>
                  <a:gd name="connsiteY5" fmla="*/ 38100 h 380999"/>
                  <a:gd name="connsiteX6" fmla="*/ 38100 w 381000"/>
                  <a:gd name="connsiteY6" fmla="*/ 190500 h 380999"/>
                  <a:gd name="connsiteX7" fmla="*/ 190500 w 381000"/>
                  <a:gd name="connsiteY7" fmla="*/ 342900 h 380999"/>
                  <a:gd name="connsiteX8" fmla="*/ 342901 w 381000"/>
                  <a:gd name="connsiteY8" fmla="*/ 190500 h 380999"/>
                  <a:gd name="connsiteX9" fmla="*/ 190500 w 381000"/>
                  <a:gd name="connsiteY9" fmla="*/ 38100 h 38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380999">
                    <a:moveTo>
                      <a:pt x="190500" y="380999"/>
                    </a:moveTo>
                    <a:cubicBezTo>
                      <a:pt x="83820" y="380999"/>
                      <a:pt x="0" y="297180"/>
                      <a:pt x="0" y="190500"/>
                    </a:cubicBezTo>
                    <a:cubicBezTo>
                      <a:pt x="0" y="83820"/>
                      <a:pt x="83820" y="0"/>
                      <a:pt x="190500" y="0"/>
                    </a:cubicBezTo>
                    <a:cubicBezTo>
                      <a:pt x="297180" y="0"/>
                      <a:pt x="381001" y="83820"/>
                      <a:pt x="381001" y="190500"/>
                    </a:cubicBezTo>
                    <a:cubicBezTo>
                      <a:pt x="377191" y="293370"/>
                      <a:pt x="293370" y="380999"/>
                      <a:pt x="190500" y="380999"/>
                    </a:cubicBezTo>
                    <a:close/>
                    <a:moveTo>
                      <a:pt x="190500" y="38100"/>
                    </a:moveTo>
                    <a:cubicBezTo>
                      <a:pt x="106680" y="38100"/>
                      <a:pt x="38100" y="106680"/>
                      <a:pt x="38100" y="190500"/>
                    </a:cubicBezTo>
                    <a:cubicBezTo>
                      <a:pt x="38100" y="274320"/>
                      <a:pt x="106680" y="342900"/>
                      <a:pt x="190500" y="342900"/>
                    </a:cubicBezTo>
                    <a:cubicBezTo>
                      <a:pt x="274320" y="342900"/>
                      <a:pt x="342901" y="274320"/>
                      <a:pt x="342901" y="190500"/>
                    </a:cubicBezTo>
                    <a:cubicBezTo>
                      <a:pt x="339091" y="106680"/>
                      <a:pt x="274320" y="38100"/>
                      <a:pt x="190500" y="38100"/>
                    </a:cubicBezTo>
                    <a:close/>
                  </a:path>
                </a:pathLst>
              </a:custGeom>
              <a:grpFill/>
              <a:ln w="38100" cap="flat">
                <a:noFill/>
                <a:prstDash val="solid"/>
                <a:miter/>
              </a:ln>
            </p:spPr>
            <p:txBody>
              <a:bodyPr rtlCol="0" anchor="ctr"/>
              <a:lstStyle/>
              <a:p>
                <a:endParaRPr lang="en-IN" dirty="0"/>
              </a:p>
            </p:txBody>
          </p:sp>
          <p:sp>
            <p:nvSpPr>
              <p:cNvPr id="103" name="Freeform: Shape 102">
                <a:extLst>
                  <a:ext uri="{FF2B5EF4-FFF2-40B4-BE49-F238E27FC236}">
                    <a16:creationId xmlns:a16="http://schemas.microsoft.com/office/drawing/2014/main" id="{74F79598-7995-495A-B0C1-3E5E8464A41B}"/>
                  </a:ext>
                </a:extLst>
              </p:cNvPr>
              <p:cNvSpPr/>
              <p:nvPr/>
            </p:nvSpPr>
            <p:spPr>
              <a:xfrm>
                <a:off x="6926581" y="-1809749"/>
                <a:ext cx="807721" cy="811528"/>
              </a:xfrm>
              <a:custGeom>
                <a:avLst/>
                <a:gdLst>
                  <a:gd name="connsiteX0" fmla="*/ 403861 w 807721"/>
                  <a:gd name="connsiteY0" fmla="*/ 811529 h 811528"/>
                  <a:gd name="connsiteX1" fmla="*/ 0 w 807721"/>
                  <a:gd name="connsiteY1" fmla="*/ 407669 h 811528"/>
                  <a:gd name="connsiteX2" fmla="*/ 403861 w 807721"/>
                  <a:gd name="connsiteY2" fmla="*/ 0 h 811528"/>
                  <a:gd name="connsiteX3" fmla="*/ 807722 w 807721"/>
                  <a:gd name="connsiteY3" fmla="*/ 403859 h 811528"/>
                  <a:gd name="connsiteX4" fmla="*/ 403861 w 807721"/>
                  <a:gd name="connsiteY4" fmla="*/ 811529 h 811528"/>
                  <a:gd name="connsiteX5" fmla="*/ 403861 w 807721"/>
                  <a:gd name="connsiteY5" fmla="*/ 38100 h 811528"/>
                  <a:gd name="connsiteX6" fmla="*/ 38100 w 807721"/>
                  <a:gd name="connsiteY6" fmla="*/ 403859 h 811528"/>
                  <a:gd name="connsiteX7" fmla="*/ 403861 w 807721"/>
                  <a:gd name="connsiteY7" fmla="*/ 769619 h 811528"/>
                  <a:gd name="connsiteX8" fmla="*/ 769621 w 807721"/>
                  <a:gd name="connsiteY8" fmla="*/ 403859 h 811528"/>
                  <a:gd name="connsiteX9" fmla="*/ 403861 w 807721"/>
                  <a:gd name="connsiteY9" fmla="*/ 38100 h 81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721" h="811528">
                    <a:moveTo>
                      <a:pt x="403861" y="811529"/>
                    </a:moveTo>
                    <a:cubicBezTo>
                      <a:pt x="179070" y="811529"/>
                      <a:pt x="0" y="628649"/>
                      <a:pt x="0" y="407669"/>
                    </a:cubicBezTo>
                    <a:cubicBezTo>
                      <a:pt x="0" y="186690"/>
                      <a:pt x="179070" y="0"/>
                      <a:pt x="403861" y="0"/>
                    </a:cubicBezTo>
                    <a:cubicBezTo>
                      <a:pt x="628651" y="0"/>
                      <a:pt x="807722" y="182880"/>
                      <a:pt x="807722" y="403859"/>
                    </a:cubicBezTo>
                    <a:cubicBezTo>
                      <a:pt x="807722" y="624839"/>
                      <a:pt x="624841" y="811529"/>
                      <a:pt x="403861" y="811529"/>
                    </a:cubicBezTo>
                    <a:close/>
                    <a:moveTo>
                      <a:pt x="403861" y="38100"/>
                    </a:moveTo>
                    <a:cubicBezTo>
                      <a:pt x="201930" y="38100"/>
                      <a:pt x="38100" y="201930"/>
                      <a:pt x="38100" y="403859"/>
                    </a:cubicBezTo>
                    <a:cubicBezTo>
                      <a:pt x="38100" y="605789"/>
                      <a:pt x="201930" y="769619"/>
                      <a:pt x="403861" y="769619"/>
                    </a:cubicBezTo>
                    <a:cubicBezTo>
                      <a:pt x="605791" y="769619"/>
                      <a:pt x="769621" y="605789"/>
                      <a:pt x="769621" y="403859"/>
                    </a:cubicBezTo>
                    <a:cubicBezTo>
                      <a:pt x="769621" y="205740"/>
                      <a:pt x="605791" y="38100"/>
                      <a:pt x="403861" y="38100"/>
                    </a:cubicBezTo>
                    <a:close/>
                  </a:path>
                </a:pathLst>
              </a:custGeom>
              <a:grpFill/>
              <a:ln w="38100" cap="flat">
                <a:noFill/>
                <a:prstDash val="solid"/>
                <a:miter/>
              </a:ln>
            </p:spPr>
            <p:txBody>
              <a:bodyPr rtlCol="0" anchor="ctr"/>
              <a:lstStyle/>
              <a:p>
                <a:endParaRPr lang="en-IN" dirty="0"/>
              </a:p>
            </p:txBody>
          </p:sp>
          <p:sp>
            <p:nvSpPr>
              <p:cNvPr id="104" name="Freeform: Shape 103">
                <a:extLst>
                  <a:ext uri="{FF2B5EF4-FFF2-40B4-BE49-F238E27FC236}">
                    <a16:creationId xmlns:a16="http://schemas.microsoft.com/office/drawing/2014/main" id="{5CEA232A-DC4F-4908-ADE4-A6777F8D202C}"/>
                  </a:ext>
                </a:extLst>
              </p:cNvPr>
              <p:cNvSpPr/>
              <p:nvPr/>
            </p:nvSpPr>
            <p:spPr>
              <a:xfrm>
                <a:off x="6736081" y="-2000249"/>
                <a:ext cx="1188722" cy="1188718"/>
              </a:xfrm>
              <a:custGeom>
                <a:avLst/>
                <a:gdLst>
                  <a:gd name="connsiteX0" fmla="*/ 594361 w 1188722"/>
                  <a:gd name="connsiteY0" fmla="*/ 1188718 h 1188718"/>
                  <a:gd name="connsiteX1" fmla="*/ 0 w 1188722"/>
                  <a:gd name="connsiteY1" fmla="*/ 594359 h 1188718"/>
                  <a:gd name="connsiteX2" fmla="*/ 594361 w 1188722"/>
                  <a:gd name="connsiteY2" fmla="*/ 0 h 1188718"/>
                  <a:gd name="connsiteX3" fmla="*/ 1188722 w 1188722"/>
                  <a:gd name="connsiteY3" fmla="*/ 594359 h 1188718"/>
                  <a:gd name="connsiteX4" fmla="*/ 594361 w 1188722"/>
                  <a:gd name="connsiteY4" fmla="*/ 1188718 h 1188718"/>
                  <a:gd name="connsiteX5" fmla="*/ 594361 w 1188722"/>
                  <a:gd name="connsiteY5" fmla="*/ 41910 h 1188718"/>
                  <a:gd name="connsiteX6" fmla="*/ 38100 w 1188722"/>
                  <a:gd name="connsiteY6" fmla="*/ 598169 h 1188718"/>
                  <a:gd name="connsiteX7" fmla="*/ 594361 w 1188722"/>
                  <a:gd name="connsiteY7" fmla="*/ 1154428 h 1188718"/>
                  <a:gd name="connsiteX8" fmla="*/ 1150622 w 1188722"/>
                  <a:gd name="connsiteY8" fmla="*/ 598169 h 1188718"/>
                  <a:gd name="connsiteX9" fmla="*/ 594361 w 1188722"/>
                  <a:gd name="connsiteY9" fmla="*/ 41910 h 118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8722" h="1188718">
                    <a:moveTo>
                      <a:pt x="594361" y="1188718"/>
                    </a:moveTo>
                    <a:cubicBezTo>
                      <a:pt x="266701" y="1188718"/>
                      <a:pt x="0" y="922019"/>
                      <a:pt x="0" y="594359"/>
                    </a:cubicBezTo>
                    <a:cubicBezTo>
                      <a:pt x="0" y="266700"/>
                      <a:pt x="266701" y="0"/>
                      <a:pt x="594361" y="0"/>
                    </a:cubicBezTo>
                    <a:cubicBezTo>
                      <a:pt x="922022" y="0"/>
                      <a:pt x="1188722" y="266700"/>
                      <a:pt x="1188722" y="594359"/>
                    </a:cubicBezTo>
                    <a:cubicBezTo>
                      <a:pt x="1188722" y="922019"/>
                      <a:pt x="918212" y="1188718"/>
                      <a:pt x="594361" y="1188718"/>
                    </a:cubicBezTo>
                    <a:close/>
                    <a:moveTo>
                      <a:pt x="594361" y="41910"/>
                    </a:moveTo>
                    <a:cubicBezTo>
                      <a:pt x="289561" y="41910"/>
                      <a:pt x="38100" y="289560"/>
                      <a:pt x="38100" y="598169"/>
                    </a:cubicBezTo>
                    <a:cubicBezTo>
                      <a:pt x="38100" y="906779"/>
                      <a:pt x="285751" y="1154428"/>
                      <a:pt x="594361" y="1154428"/>
                    </a:cubicBezTo>
                    <a:cubicBezTo>
                      <a:pt x="902972" y="1154428"/>
                      <a:pt x="1150622" y="906779"/>
                      <a:pt x="1150622" y="598169"/>
                    </a:cubicBezTo>
                    <a:cubicBezTo>
                      <a:pt x="1150622" y="289560"/>
                      <a:pt x="899162" y="41910"/>
                      <a:pt x="594361" y="41910"/>
                    </a:cubicBezTo>
                    <a:close/>
                  </a:path>
                </a:pathLst>
              </a:custGeom>
              <a:grpFill/>
              <a:ln w="38100" cap="flat">
                <a:noFill/>
                <a:prstDash val="solid"/>
                <a:miter/>
              </a:ln>
            </p:spPr>
            <p:txBody>
              <a:bodyPr rtlCol="0" anchor="ctr"/>
              <a:lstStyle/>
              <a:p>
                <a:endParaRPr lang="en-IN" dirty="0"/>
              </a:p>
            </p:txBody>
          </p:sp>
        </p:grpSp>
        <p:cxnSp>
          <p:nvCxnSpPr>
            <p:cNvPr id="93" name="Straight Connector 92">
              <a:extLst>
                <a:ext uri="{FF2B5EF4-FFF2-40B4-BE49-F238E27FC236}">
                  <a16:creationId xmlns:a16="http://schemas.microsoft.com/office/drawing/2014/main" id="{85C627A4-0ACB-404B-A328-7ECE4E6D46EA}"/>
                </a:ext>
              </a:extLst>
            </p:cNvPr>
            <p:cNvCxnSpPr>
              <a:cxnSpLocks/>
            </p:cNvCxnSpPr>
            <p:nvPr/>
          </p:nvCxnSpPr>
          <p:spPr>
            <a:xfrm flipV="1">
              <a:off x="6399434" y="3800584"/>
              <a:ext cx="819367" cy="1"/>
            </a:xfrm>
            <a:prstGeom prst="line">
              <a:avLst/>
            </a:prstGeom>
            <a:ln w="34925">
              <a:solidFill>
                <a:schemeClr val="bg2"/>
              </a:solidFill>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00026738-7FF6-46C3-B126-D47E0B5A800E}"/>
                </a:ext>
              </a:extLst>
            </p:cNvPr>
            <p:cNvSpPr/>
            <p:nvPr/>
          </p:nvSpPr>
          <p:spPr>
            <a:xfrm>
              <a:off x="6330560" y="3814529"/>
              <a:ext cx="899461" cy="475776"/>
            </a:xfrm>
            <a:prstGeom prst="rect">
              <a:avLst/>
            </a:prstGeom>
            <a:solidFill>
              <a:srgbClr val="3D7A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8446923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567524E4-28E0-42E7-9B43-7E2E8CCBD206}"/>
              </a:ext>
            </a:extLst>
          </p:cNvPr>
          <p:cNvGrpSpPr/>
          <p:nvPr/>
        </p:nvGrpSpPr>
        <p:grpSpPr>
          <a:xfrm rot="2037512">
            <a:off x="1697909" y="2849020"/>
            <a:ext cx="836772" cy="839606"/>
            <a:chOff x="404732" y="4154898"/>
            <a:chExt cx="836772" cy="839606"/>
          </a:xfrm>
          <a:solidFill>
            <a:schemeClr val="accent1"/>
          </a:solidFill>
        </p:grpSpPr>
        <p:sp>
          <p:nvSpPr>
            <p:cNvPr id="73" name="Freeform 28">
              <a:extLst>
                <a:ext uri="{FF2B5EF4-FFF2-40B4-BE49-F238E27FC236}">
                  <a16:creationId xmlns:a16="http://schemas.microsoft.com/office/drawing/2014/main" id="{3C835237-4CF3-4DDE-A3E4-E606B8159F83}"/>
                </a:ext>
              </a:extLst>
            </p:cNvPr>
            <p:cNvSpPr>
              <a:spLocks/>
            </p:cNvSpPr>
            <p:nvPr/>
          </p:nvSpPr>
          <p:spPr bwMode="auto">
            <a:xfrm>
              <a:off x="404732" y="4154898"/>
              <a:ext cx="836772" cy="839606"/>
            </a:xfrm>
            <a:custGeom>
              <a:avLst/>
              <a:gdLst>
                <a:gd name="T0" fmla="*/ 41 w 218"/>
                <a:gd name="T1" fmla="*/ 215 h 215"/>
                <a:gd name="T2" fmla="*/ 8 w 218"/>
                <a:gd name="T3" fmla="*/ 157 h 215"/>
                <a:gd name="T4" fmla="*/ 19 w 218"/>
                <a:gd name="T5" fmla="*/ 67 h 215"/>
                <a:gd name="T6" fmla="*/ 112 w 218"/>
                <a:gd name="T7" fmla="*/ 4 h 215"/>
                <a:gd name="T8" fmla="*/ 190 w 218"/>
                <a:gd name="T9" fmla="*/ 20 h 215"/>
                <a:gd name="T10" fmla="*/ 215 w 218"/>
                <a:gd name="T11" fmla="*/ 38 h 215"/>
                <a:gd name="T12" fmla="*/ 216 w 218"/>
                <a:gd name="T13" fmla="*/ 46 h 215"/>
                <a:gd name="T14" fmla="*/ 208 w 218"/>
                <a:gd name="T15" fmla="*/ 45 h 215"/>
                <a:gd name="T16" fmla="*/ 123 w 218"/>
                <a:gd name="T17" fmla="*/ 13 h 215"/>
                <a:gd name="T18" fmla="*/ 41 w 218"/>
                <a:gd name="T19" fmla="*/ 53 h 215"/>
                <a:gd name="T20" fmla="*/ 20 w 218"/>
                <a:gd name="T21" fmla="*/ 165 h 215"/>
                <a:gd name="T22" fmla="*/ 46 w 218"/>
                <a:gd name="T23" fmla="*/ 206 h 215"/>
                <a:gd name="T24" fmla="*/ 46 w 218"/>
                <a:gd name="T25" fmla="*/ 215 h 215"/>
                <a:gd name="T26" fmla="*/ 41 w 218"/>
                <a:gd name="T27"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8" h="215">
                  <a:moveTo>
                    <a:pt x="41" y="215"/>
                  </a:moveTo>
                  <a:cubicBezTo>
                    <a:pt x="25" y="199"/>
                    <a:pt x="13" y="180"/>
                    <a:pt x="8" y="157"/>
                  </a:cubicBezTo>
                  <a:cubicBezTo>
                    <a:pt x="0" y="126"/>
                    <a:pt x="3" y="96"/>
                    <a:pt x="19" y="67"/>
                  </a:cubicBezTo>
                  <a:cubicBezTo>
                    <a:pt x="39" y="31"/>
                    <a:pt x="70" y="10"/>
                    <a:pt x="112" y="4"/>
                  </a:cubicBezTo>
                  <a:cubicBezTo>
                    <a:pt x="140" y="0"/>
                    <a:pt x="166" y="5"/>
                    <a:pt x="190" y="20"/>
                  </a:cubicBezTo>
                  <a:cubicBezTo>
                    <a:pt x="199" y="25"/>
                    <a:pt x="208" y="31"/>
                    <a:pt x="215" y="38"/>
                  </a:cubicBezTo>
                  <a:cubicBezTo>
                    <a:pt x="218" y="41"/>
                    <a:pt x="218" y="44"/>
                    <a:pt x="216" y="46"/>
                  </a:cubicBezTo>
                  <a:cubicBezTo>
                    <a:pt x="214" y="48"/>
                    <a:pt x="211" y="48"/>
                    <a:pt x="208" y="45"/>
                  </a:cubicBezTo>
                  <a:cubicBezTo>
                    <a:pt x="184" y="23"/>
                    <a:pt x="156" y="11"/>
                    <a:pt x="123" y="13"/>
                  </a:cubicBezTo>
                  <a:cubicBezTo>
                    <a:pt x="90" y="14"/>
                    <a:pt x="62" y="27"/>
                    <a:pt x="41" y="53"/>
                  </a:cubicBezTo>
                  <a:cubicBezTo>
                    <a:pt x="13" y="86"/>
                    <a:pt x="7" y="124"/>
                    <a:pt x="20" y="165"/>
                  </a:cubicBezTo>
                  <a:cubicBezTo>
                    <a:pt x="25" y="181"/>
                    <a:pt x="35" y="194"/>
                    <a:pt x="46" y="206"/>
                  </a:cubicBezTo>
                  <a:cubicBezTo>
                    <a:pt x="49" y="210"/>
                    <a:pt x="49" y="212"/>
                    <a:pt x="46" y="215"/>
                  </a:cubicBezTo>
                  <a:cubicBezTo>
                    <a:pt x="44" y="215"/>
                    <a:pt x="43" y="215"/>
                    <a:pt x="41"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30">
              <a:extLst>
                <a:ext uri="{FF2B5EF4-FFF2-40B4-BE49-F238E27FC236}">
                  <a16:creationId xmlns:a16="http://schemas.microsoft.com/office/drawing/2014/main" id="{F37A56FA-DD20-4BBD-B745-7DFDC661D929}"/>
                </a:ext>
              </a:extLst>
            </p:cNvPr>
            <p:cNvSpPr>
              <a:spLocks/>
            </p:cNvSpPr>
            <p:nvPr/>
          </p:nvSpPr>
          <p:spPr bwMode="auto">
            <a:xfrm>
              <a:off x="492665" y="4265521"/>
              <a:ext cx="672254" cy="658070"/>
            </a:xfrm>
            <a:custGeom>
              <a:avLst/>
              <a:gdLst>
                <a:gd name="T0" fmla="*/ 17 w 175"/>
                <a:gd name="T1" fmla="*/ 102 h 169"/>
                <a:gd name="T2" fmla="*/ 42 w 175"/>
                <a:gd name="T3" fmla="*/ 159 h 169"/>
                <a:gd name="T4" fmla="*/ 44 w 175"/>
                <a:gd name="T5" fmla="*/ 162 h 169"/>
                <a:gd name="T6" fmla="*/ 42 w 175"/>
                <a:gd name="T7" fmla="*/ 168 h 169"/>
                <a:gd name="T8" fmla="*/ 36 w 175"/>
                <a:gd name="T9" fmla="*/ 167 h 169"/>
                <a:gd name="T10" fmla="*/ 22 w 175"/>
                <a:gd name="T11" fmla="*/ 150 h 169"/>
                <a:gd name="T12" fmla="*/ 30 w 175"/>
                <a:gd name="T13" fmla="*/ 37 h 169"/>
                <a:gd name="T14" fmla="*/ 113 w 175"/>
                <a:gd name="T15" fmla="*/ 2 h 169"/>
                <a:gd name="T16" fmla="*/ 172 w 175"/>
                <a:gd name="T17" fmla="*/ 29 h 169"/>
                <a:gd name="T18" fmla="*/ 173 w 175"/>
                <a:gd name="T19" fmla="*/ 37 h 169"/>
                <a:gd name="T20" fmla="*/ 166 w 175"/>
                <a:gd name="T21" fmla="*/ 36 h 169"/>
                <a:gd name="T22" fmla="*/ 110 w 175"/>
                <a:gd name="T23" fmla="*/ 12 h 169"/>
                <a:gd name="T24" fmla="*/ 33 w 175"/>
                <a:gd name="T25" fmla="*/ 50 h 169"/>
                <a:gd name="T26" fmla="*/ 17 w 175"/>
                <a:gd name="T27" fmla="*/ 10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5" h="169">
                  <a:moveTo>
                    <a:pt x="17" y="102"/>
                  </a:moveTo>
                  <a:cubicBezTo>
                    <a:pt x="18" y="122"/>
                    <a:pt x="26" y="142"/>
                    <a:pt x="42" y="159"/>
                  </a:cubicBezTo>
                  <a:cubicBezTo>
                    <a:pt x="43" y="160"/>
                    <a:pt x="43" y="161"/>
                    <a:pt x="44" y="162"/>
                  </a:cubicBezTo>
                  <a:cubicBezTo>
                    <a:pt x="45" y="164"/>
                    <a:pt x="44" y="166"/>
                    <a:pt x="42" y="168"/>
                  </a:cubicBezTo>
                  <a:cubicBezTo>
                    <a:pt x="40" y="169"/>
                    <a:pt x="38" y="169"/>
                    <a:pt x="36" y="167"/>
                  </a:cubicBezTo>
                  <a:cubicBezTo>
                    <a:pt x="31" y="161"/>
                    <a:pt x="26" y="156"/>
                    <a:pt x="22" y="150"/>
                  </a:cubicBezTo>
                  <a:cubicBezTo>
                    <a:pt x="0" y="114"/>
                    <a:pt x="3" y="69"/>
                    <a:pt x="30" y="37"/>
                  </a:cubicBezTo>
                  <a:cubicBezTo>
                    <a:pt x="51" y="11"/>
                    <a:pt x="79" y="0"/>
                    <a:pt x="113" y="2"/>
                  </a:cubicBezTo>
                  <a:cubicBezTo>
                    <a:pt x="136" y="4"/>
                    <a:pt x="156" y="13"/>
                    <a:pt x="172" y="29"/>
                  </a:cubicBezTo>
                  <a:cubicBezTo>
                    <a:pt x="175" y="32"/>
                    <a:pt x="175" y="35"/>
                    <a:pt x="173" y="37"/>
                  </a:cubicBezTo>
                  <a:cubicBezTo>
                    <a:pt x="171" y="39"/>
                    <a:pt x="168" y="38"/>
                    <a:pt x="166" y="36"/>
                  </a:cubicBezTo>
                  <a:cubicBezTo>
                    <a:pt x="150" y="21"/>
                    <a:pt x="131" y="12"/>
                    <a:pt x="110" y="12"/>
                  </a:cubicBezTo>
                  <a:cubicBezTo>
                    <a:pt x="77" y="10"/>
                    <a:pt x="51" y="23"/>
                    <a:pt x="33" y="50"/>
                  </a:cubicBezTo>
                  <a:cubicBezTo>
                    <a:pt x="22" y="64"/>
                    <a:pt x="17" y="81"/>
                    <a:pt x="17"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31">
              <a:extLst>
                <a:ext uri="{FF2B5EF4-FFF2-40B4-BE49-F238E27FC236}">
                  <a16:creationId xmlns:a16="http://schemas.microsoft.com/office/drawing/2014/main" id="{AFDA7E42-1A7B-4B46-AA61-83A2689ECE68}"/>
                </a:ext>
              </a:extLst>
            </p:cNvPr>
            <p:cNvSpPr>
              <a:spLocks/>
            </p:cNvSpPr>
            <p:nvPr/>
          </p:nvSpPr>
          <p:spPr bwMode="auto">
            <a:xfrm>
              <a:off x="625982" y="4350616"/>
              <a:ext cx="465188" cy="499225"/>
            </a:xfrm>
            <a:custGeom>
              <a:avLst/>
              <a:gdLst>
                <a:gd name="T0" fmla="*/ 0 w 121"/>
                <a:gd name="T1" fmla="*/ 73 h 128"/>
                <a:gd name="T2" fmla="*/ 41 w 121"/>
                <a:gd name="T3" fmla="*/ 13 h 128"/>
                <a:gd name="T4" fmla="*/ 117 w 121"/>
                <a:gd name="T5" fmla="*/ 25 h 128"/>
                <a:gd name="T6" fmla="*/ 120 w 121"/>
                <a:gd name="T7" fmla="*/ 27 h 128"/>
                <a:gd name="T8" fmla="*/ 119 w 121"/>
                <a:gd name="T9" fmla="*/ 34 h 128"/>
                <a:gd name="T10" fmla="*/ 113 w 121"/>
                <a:gd name="T11" fmla="*/ 34 h 128"/>
                <a:gd name="T12" fmla="*/ 110 w 121"/>
                <a:gd name="T13" fmla="*/ 32 h 128"/>
                <a:gd name="T14" fmla="*/ 25 w 121"/>
                <a:gd name="T15" fmla="*/ 36 h 128"/>
                <a:gd name="T16" fmla="*/ 26 w 121"/>
                <a:gd name="T17" fmla="*/ 119 h 128"/>
                <a:gd name="T18" fmla="*/ 27 w 121"/>
                <a:gd name="T19" fmla="*/ 126 h 128"/>
                <a:gd name="T20" fmla="*/ 19 w 121"/>
                <a:gd name="T21" fmla="*/ 125 h 128"/>
                <a:gd name="T22" fmla="*/ 0 w 121"/>
                <a:gd name="T23" fmla="*/ 7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128">
                  <a:moveTo>
                    <a:pt x="0" y="73"/>
                  </a:moveTo>
                  <a:cubicBezTo>
                    <a:pt x="1" y="47"/>
                    <a:pt x="14" y="25"/>
                    <a:pt x="41" y="13"/>
                  </a:cubicBezTo>
                  <a:cubicBezTo>
                    <a:pt x="69" y="0"/>
                    <a:pt x="95" y="5"/>
                    <a:pt x="117" y="25"/>
                  </a:cubicBezTo>
                  <a:cubicBezTo>
                    <a:pt x="118" y="26"/>
                    <a:pt x="119" y="26"/>
                    <a:pt x="120" y="27"/>
                  </a:cubicBezTo>
                  <a:cubicBezTo>
                    <a:pt x="121" y="29"/>
                    <a:pt x="121" y="32"/>
                    <a:pt x="119" y="34"/>
                  </a:cubicBezTo>
                  <a:cubicBezTo>
                    <a:pt x="118" y="36"/>
                    <a:pt x="115" y="36"/>
                    <a:pt x="113" y="34"/>
                  </a:cubicBezTo>
                  <a:cubicBezTo>
                    <a:pt x="112" y="34"/>
                    <a:pt x="111" y="33"/>
                    <a:pt x="110" y="32"/>
                  </a:cubicBezTo>
                  <a:cubicBezTo>
                    <a:pt x="86" y="10"/>
                    <a:pt x="48" y="11"/>
                    <a:pt x="25" y="36"/>
                  </a:cubicBezTo>
                  <a:cubicBezTo>
                    <a:pt x="4" y="60"/>
                    <a:pt x="4" y="95"/>
                    <a:pt x="26" y="119"/>
                  </a:cubicBezTo>
                  <a:cubicBezTo>
                    <a:pt x="29" y="121"/>
                    <a:pt x="29" y="124"/>
                    <a:pt x="27" y="126"/>
                  </a:cubicBezTo>
                  <a:cubicBezTo>
                    <a:pt x="25" y="128"/>
                    <a:pt x="22" y="128"/>
                    <a:pt x="19" y="125"/>
                  </a:cubicBezTo>
                  <a:cubicBezTo>
                    <a:pt x="6" y="112"/>
                    <a:pt x="0" y="95"/>
                    <a:pt x="0"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35">
              <a:extLst>
                <a:ext uri="{FF2B5EF4-FFF2-40B4-BE49-F238E27FC236}">
                  <a16:creationId xmlns:a16="http://schemas.microsoft.com/office/drawing/2014/main" id="{C8E28DE3-3C30-4D92-BCF4-540A170B2CC9}"/>
                </a:ext>
              </a:extLst>
            </p:cNvPr>
            <p:cNvSpPr>
              <a:spLocks/>
            </p:cNvSpPr>
            <p:nvPr/>
          </p:nvSpPr>
          <p:spPr bwMode="auto">
            <a:xfrm>
              <a:off x="404732" y="4154898"/>
              <a:ext cx="836772" cy="839606"/>
            </a:xfrm>
            <a:custGeom>
              <a:avLst/>
              <a:gdLst>
                <a:gd name="T0" fmla="*/ 41 w 218"/>
                <a:gd name="T1" fmla="*/ 215 h 215"/>
                <a:gd name="T2" fmla="*/ 8 w 218"/>
                <a:gd name="T3" fmla="*/ 157 h 215"/>
                <a:gd name="T4" fmla="*/ 19 w 218"/>
                <a:gd name="T5" fmla="*/ 67 h 215"/>
                <a:gd name="T6" fmla="*/ 112 w 218"/>
                <a:gd name="T7" fmla="*/ 4 h 215"/>
                <a:gd name="T8" fmla="*/ 190 w 218"/>
                <a:gd name="T9" fmla="*/ 20 h 215"/>
                <a:gd name="T10" fmla="*/ 215 w 218"/>
                <a:gd name="T11" fmla="*/ 38 h 215"/>
                <a:gd name="T12" fmla="*/ 216 w 218"/>
                <a:gd name="T13" fmla="*/ 46 h 215"/>
                <a:gd name="T14" fmla="*/ 208 w 218"/>
                <a:gd name="T15" fmla="*/ 45 h 215"/>
                <a:gd name="T16" fmla="*/ 123 w 218"/>
                <a:gd name="T17" fmla="*/ 13 h 215"/>
                <a:gd name="T18" fmla="*/ 41 w 218"/>
                <a:gd name="T19" fmla="*/ 53 h 215"/>
                <a:gd name="T20" fmla="*/ 20 w 218"/>
                <a:gd name="T21" fmla="*/ 165 h 215"/>
                <a:gd name="T22" fmla="*/ 46 w 218"/>
                <a:gd name="T23" fmla="*/ 206 h 215"/>
                <a:gd name="T24" fmla="*/ 46 w 218"/>
                <a:gd name="T25" fmla="*/ 215 h 215"/>
                <a:gd name="T26" fmla="*/ 41 w 218"/>
                <a:gd name="T27"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8" h="215">
                  <a:moveTo>
                    <a:pt x="41" y="215"/>
                  </a:moveTo>
                  <a:cubicBezTo>
                    <a:pt x="25" y="199"/>
                    <a:pt x="13" y="180"/>
                    <a:pt x="8" y="157"/>
                  </a:cubicBezTo>
                  <a:cubicBezTo>
                    <a:pt x="0" y="126"/>
                    <a:pt x="3" y="96"/>
                    <a:pt x="19" y="67"/>
                  </a:cubicBezTo>
                  <a:cubicBezTo>
                    <a:pt x="39" y="31"/>
                    <a:pt x="70" y="10"/>
                    <a:pt x="112" y="4"/>
                  </a:cubicBezTo>
                  <a:cubicBezTo>
                    <a:pt x="140" y="0"/>
                    <a:pt x="166" y="5"/>
                    <a:pt x="190" y="20"/>
                  </a:cubicBezTo>
                  <a:cubicBezTo>
                    <a:pt x="199" y="25"/>
                    <a:pt x="208" y="31"/>
                    <a:pt x="215" y="38"/>
                  </a:cubicBezTo>
                  <a:cubicBezTo>
                    <a:pt x="218" y="41"/>
                    <a:pt x="218" y="44"/>
                    <a:pt x="216" y="46"/>
                  </a:cubicBezTo>
                  <a:cubicBezTo>
                    <a:pt x="214" y="48"/>
                    <a:pt x="211" y="48"/>
                    <a:pt x="208" y="45"/>
                  </a:cubicBezTo>
                  <a:cubicBezTo>
                    <a:pt x="184" y="23"/>
                    <a:pt x="156" y="11"/>
                    <a:pt x="123" y="13"/>
                  </a:cubicBezTo>
                  <a:cubicBezTo>
                    <a:pt x="90" y="14"/>
                    <a:pt x="62" y="27"/>
                    <a:pt x="41" y="53"/>
                  </a:cubicBezTo>
                  <a:cubicBezTo>
                    <a:pt x="13" y="86"/>
                    <a:pt x="7" y="124"/>
                    <a:pt x="20" y="165"/>
                  </a:cubicBezTo>
                  <a:cubicBezTo>
                    <a:pt x="25" y="181"/>
                    <a:pt x="35" y="194"/>
                    <a:pt x="46" y="206"/>
                  </a:cubicBezTo>
                  <a:cubicBezTo>
                    <a:pt x="49" y="210"/>
                    <a:pt x="49" y="212"/>
                    <a:pt x="46" y="215"/>
                  </a:cubicBezTo>
                  <a:cubicBezTo>
                    <a:pt x="44" y="215"/>
                    <a:pt x="43" y="215"/>
                    <a:pt x="41"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37">
              <a:extLst>
                <a:ext uri="{FF2B5EF4-FFF2-40B4-BE49-F238E27FC236}">
                  <a16:creationId xmlns:a16="http://schemas.microsoft.com/office/drawing/2014/main" id="{7F5E120F-3D88-4194-BCA9-187D29208668}"/>
                </a:ext>
              </a:extLst>
            </p:cNvPr>
            <p:cNvSpPr>
              <a:spLocks/>
            </p:cNvSpPr>
            <p:nvPr/>
          </p:nvSpPr>
          <p:spPr bwMode="auto">
            <a:xfrm>
              <a:off x="492665" y="4265521"/>
              <a:ext cx="672254" cy="658070"/>
            </a:xfrm>
            <a:custGeom>
              <a:avLst/>
              <a:gdLst>
                <a:gd name="T0" fmla="*/ 17 w 175"/>
                <a:gd name="T1" fmla="*/ 102 h 169"/>
                <a:gd name="T2" fmla="*/ 42 w 175"/>
                <a:gd name="T3" fmla="*/ 159 h 169"/>
                <a:gd name="T4" fmla="*/ 44 w 175"/>
                <a:gd name="T5" fmla="*/ 162 h 169"/>
                <a:gd name="T6" fmla="*/ 42 w 175"/>
                <a:gd name="T7" fmla="*/ 168 h 169"/>
                <a:gd name="T8" fmla="*/ 36 w 175"/>
                <a:gd name="T9" fmla="*/ 167 h 169"/>
                <a:gd name="T10" fmla="*/ 22 w 175"/>
                <a:gd name="T11" fmla="*/ 150 h 169"/>
                <a:gd name="T12" fmla="*/ 30 w 175"/>
                <a:gd name="T13" fmla="*/ 37 h 169"/>
                <a:gd name="T14" fmla="*/ 113 w 175"/>
                <a:gd name="T15" fmla="*/ 2 h 169"/>
                <a:gd name="T16" fmla="*/ 172 w 175"/>
                <a:gd name="T17" fmla="*/ 29 h 169"/>
                <a:gd name="T18" fmla="*/ 173 w 175"/>
                <a:gd name="T19" fmla="*/ 37 h 169"/>
                <a:gd name="T20" fmla="*/ 166 w 175"/>
                <a:gd name="T21" fmla="*/ 36 h 169"/>
                <a:gd name="T22" fmla="*/ 110 w 175"/>
                <a:gd name="T23" fmla="*/ 12 h 169"/>
                <a:gd name="T24" fmla="*/ 33 w 175"/>
                <a:gd name="T25" fmla="*/ 50 h 169"/>
                <a:gd name="T26" fmla="*/ 17 w 175"/>
                <a:gd name="T27" fmla="*/ 10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5" h="169">
                  <a:moveTo>
                    <a:pt x="17" y="102"/>
                  </a:moveTo>
                  <a:cubicBezTo>
                    <a:pt x="18" y="122"/>
                    <a:pt x="26" y="142"/>
                    <a:pt x="42" y="159"/>
                  </a:cubicBezTo>
                  <a:cubicBezTo>
                    <a:pt x="43" y="160"/>
                    <a:pt x="43" y="161"/>
                    <a:pt x="44" y="162"/>
                  </a:cubicBezTo>
                  <a:cubicBezTo>
                    <a:pt x="45" y="164"/>
                    <a:pt x="44" y="166"/>
                    <a:pt x="42" y="168"/>
                  </a:cubicBezTo>
                  <a:cubicBezTo>
                    <a:pt x="40" y="169"/>
                    <a:pt x="38" y="169"/>
                    <a:pt x="36" y="167"/>
                  </a:cubicBezTo>
                  <a:cubicBezTo>
                    <a:pt x="31" y="161"/>
                    <a:pt x="26" y="156"/>
                    <a:pt x="22" y="150"/>
                  </a:cubicBezTo>
                  <a:cubicBezTo>
                    <a:pt x="0" y="114"/>
                    <a:pt x="3" y="69"/>
                    <a:pt x="30" y="37"/>
                  </a:cubicBezTo>
                  <a:cubicBezTo>
                    <a:pt x="51" y="11"/>
                    <a:pt x="79" y="0"/>
                    <a:pt x="113" y="2"/>
                  </a:cubicBezTo>
                  <a:cubicBezTo>
                    <a:pt x="136" y="4"/>
                    <a:pt x="156" y="13"/>
                    <a:pt x="172" y="29"/>
                  </a:cubicBezTo>
                  <a:cubicBezTo>
                    <a:pt x="175" y="32"/>
                    <a:pt x="175" y="35"/>
                    <a:pt x="173" y="37"/>
                  </a:cubicBezTo>
                  <a:cubicBezTo>
                    <a:pt x="171" y="39"/>
                    <a:pt x="168" y="38"/>
                    <a:pt x="166" y="36"/>
                  </a:cubicBezTo>
                  <a:cubicBezTo>
                    <a:pt x="150" y="21"/>
                    <a:pt x="131" y="12"/>
                    <a:pt x="110" y="12"/>
                  </a:cubicBezTo>
                  <a:cubicBezTo>
                    <a:pt x="77" y="10"/>
                    <a:pt x="51" y="23"/>
                    <a:pt x="33" y="50"/>
                  </a:cubicBezTo>
                  <a:cubicBezTo>
                    <a:pt x="22" y="64"/>
                    <a:pt x="17" y="81"/>
                    <a:pt x="17"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38">
              <a:extLst>
                <a:ext uri="{FF2B5EF4-FFF2-40B4-BE49-F238E27FC236}">
                  <a16:creationId xmlns:a16="http://schemas.microsoft.com/office/drawing/2014/main" id="{CCEF9F03-E13A-49DF-8AB7-A9DD8629778A}"/>
                </a:ext>
              </a:extLst>
            </p:cNvPr>
            <p:cNvSpPr>
              <a:spLocks/>
            </p:cNvSpPr>
            <p:nvPr/>
          </p:nvSpPr>
          <p:spPr bwMode="auto">
            <a:xfrm>
              <a:off x="625982" y="4350616"/>
              <a:ext cx="465188" cy="499225"/>
            </a:xfrm>
            <a:custGeom>
              <a:avLst/>
              <a:gdLst>
                <a:gd name="T0" fmla="*/ 0 w 121"/>
                <a:gd name="T1" fmla="*/ 73 h 128"/>
                <a:gd name="T2" fmla="*/ 41 w 121"/>
                <a:gd name="T3" fmla="*/ 13 h 128"/>
                <a:gd name="T4" fmla="*/ 117 w 121"/>
                <a:gd name="T5" fmla="*/ 25 h 128"/>
                <a:gd name="T6" fmla="*/ 120 w 121"/>
                <a:gd name="T7" fmla="*/ 27 h 128"/>
                <a:gd name="T8" fmla="*/ 119 w 121"/>
                <a:gd name="T9" fmla="*/ 34 h 128"/>
                <a:gd name="T10" fmla="*/ 113 w 121"/>
                <a:gd name="T11" fmla="*/ 34 h 128"/>
                <a:gd name="T12" fmla="*/ 110 w 121"/>
                <a:gd name="T13" fmla="*/ 32 h 128"/>
                <a:gd name="T14" fmla="*/ 25 w 121"/>
                <a:gd name="T15" fmla="*/ 36 h 128"/>
                <a:gd name="T16" fmla="*/ 26 w 121"/>
                <a:gd name="T17" fmla="*/ 119 h 128"/>
                <a:gd name="T18" fmla="*/ 27 w 121"/>
                <a:gd name="T19" fmla="*/ 126 h 128"/>
                <a:gd name="T20" fmla="*/ 19 w 121"/>
                <a:gd name="T21" fmla="*/ 125 h 128"/>
                <a:gd name="T22" fmla="*/ 0 w 121"/>
                <a:gd name="T23" fmla="*/ 7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128">
                  <a:moveTo>
                    <a:pt x="0" y="73"/>
                  </a:moveTo>
                  <a:cubicBezTo>
                    <a:pt x="1" y="47"/>
                    <a:pt x="14" y="25"/>
                    <a:pt x="41" y="13"/>
                  </a:cubicBezTo>
                  <a:cubicBezTo>
                    <a:pt x="69" y="0"/>
                    <a:pt x="95" y="5"/>
                    <a:pt x="117" y="25"/>
                  </a:cubicBezTo>
                  <a:cubicBezTo>
                    <a:pt x="118" y="26"/>
                    <a:pt x="119" y="26"/>
                    <a:pt x="120" y="27"/>
                  </a:cubicBezTo>
                  <a:cubicBezTo>
                    <a:pt x="121" y="29"/>
                    <a:pt x="121" y="32"/>
                    <a:pt x="119" y="34"/>
                  </a:cubicBezTo>
                  <a:cubicBezTo>
                    <a:pt x="118" y="36"/>
                    <a:pt x="115" y="36"/>
                    <a:pt x="113" y="34"/>
                  </a:cubicBezTo>
                  <a:cubicBezTo>
                    <a:pt x="112" y="34"/>
                    <a:pt x="111" y="33"/>
                    <a:pt x="110" y="32"/>
                  </a:cubicBezTo>
                  <a:cubicBezTo>
                    <a:pt x="86" y="10"/>
                    <a:pt x="48" y="11"/>
                    <a:pt x="25" y="36"/>
                  </a:cubicBezTo>
                  <a:cubicBezTo>
                    <a:pt x="4" y="60"/>
                    <a:pt x="4" y="95"/>
                    <a:pt x="26" y="119"/>
                  </a:cubicBezTo>
                  <a:cubicBezTo>
                    <a:pt x="29" y="121"/>
                    <a:pt x="29" y="124"/>
                    <a:pt x="27" y="126"/>
                  </a:cubicBezTo>
                  <a:cubicBezTo>
                    <a:pt x="25" y="128"/>
                    <a:pt x="22" y="128"/>
                    <a:pt x="19" y="125"/>
                  </a:cubicBezTo>
                  <a:cubicBezTo>
                    <a:pt x="6" y="112"/>
                    <a:pt x="0" y="95"/>
                    <a:pt x="0"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79" name="Picture 78" descr="A person sitting in front of a computer&#10;&#10;Description generated with very high confidence">
            <a:extLst>
              <a:ext uri="{FF2B5EF4-FFF2-40B4-BE49-F238E27FC236}">
                <a16:creationId xmlns:a16="http://schemas.microsoft.com/office/drawing/2014/main" id="{1D993044-16EE-416B-B6BC-208EC89618A7}"/>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ackgroundRemoval t="8757" b="99296" l="8913" r="94683">
                        <a14:foregroundMark x1="9382" y1="25801" x2="9382" y2="25801"/>
                        <a14:foregroundMark x1="9695" y1="28225" x2="18296" y2="58170"/>
                        <a14:foregroundMark x1="18296" y1="58170" x2="18296" y2="58170"/>
                        <a14:foregroundMark x1="17748" y1="47772" x2="24394" y2="62002"/>
                        <a14:foregroundMark x1="23299" y1="66067" x2="28460" y2="84988"/>
                        <a14:foregroundMark x1="34402" y1="92572" x2="66067" y2="95152"/>
                        <a14:foregroundMark x1="31353" y1="86083" x2="34089" y2="94996"/>
                        <a14:foregroundMark x1="32291" y1="94371" x2="36982" y2="96403"/>
                        <a14:foregroundMark x1="47381" y1="98671" x2="61532" y2="99375"/>
                        <a14:foregroundMark x1="73495" y1="63331" x2="83346" y2="83190"/>
                        <a14:foregroundMark x1="62236" y1="51837" x2="77248" y2="79124"/>
                        <a14:foregroundMark x1="74980" y1="27756" x2="59421" y2="41673"/>
                        <a14:foregroundMark x1="93589" y1="73495" x2="93589" y2="73495"/>
                        <a14:foregroundMark x1="92260" y1="74590" x2="94840" y2="73339"/>
                        <a14:foregroundMark x1="16497" y1="43081" x2="18061" y2="47459"/>
                        <a14:foregroundMark x1="44253" y1="54261" x2="53010" y2="53948"/>
                        <a14:foregroundMark x1="75919" y1="8835" x2="77717" y2="11962"/>
                      </a14:backgroundRemoval>
                    </a14:imgEffect>
                  </a14:imgLayer>
                </a14:imgProps>
              </a:ext>
              <a:ext uri="{28A0092B-C50C-407E-A947-70E740481C1C}">
                <a14:useLocalDpi xmlns:a14="http://schemas.microsoft.com/office/drawing/2010/main"/>
              </a:ext>
            </a:extLst>
          </a:blip>
          <a:srcRect/>
          <a:stretch/>
        </p:blipFill>
        <p:spPr>
          <a:xfrm>
            <a:off x="1111378" y="2587227"/>
            <a:ext cx="1964418" cy="1964418"/>
          </a:xfrm>
          <a:custGeom>
            <a:avLst/>
            <a:gdLst>
              <a:gd name="connsiteX0" fmla="*/ 982209 w 1964418"/>
              <a:gd name="connsiteY0" fmla="*/ 0 h 1964418"/>
              <a:gd name="connsiteX1" fmla="*/ 1964418 w 1964418"/>
              <a:gd name="connsiteY1" fmla="*/ 982209 h 1964418"/>
              <a:gd name="connsiteX2" fmla="*/ 982209 w 1964418"/>
              <a:gd name="connsiteY2" fmla="*/ 1964418 h 1964418"/>
              <a:gd name="connsiteX3" fmla="*/ 0 w 1964418"/>
              <a:gd name="connsiteY3" fmla="*/ 982209 h 1964418"/>
              <a:gd name="connsiteX4" fmla="*/ 982209 w 1964418"/>
              <a:gd name="connsiteY4" fmla="*/ 0 h 1964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4418" h="1964418">
                <a:moveTo>
                  <a:pt x="982209" y="0"/>
                </a:moveTo>
                <a:cubicBezTo>
                  <a:pt x="1524668" y="0"/>
                  <a:pt x="1964418" y="439750"/>
                  <a:pt x="1964418" y="982209"/>
                </a:cubicBezTo>
                <a:cubicBezTo>
                  <a:pt x="1964418" y="1524668"/>
                  <a:pt x="1524668" y="1964418"/>
                  <a:pt x="982209" y="1964418"/>
                </a:cubicBezTo>
                <a:cubicBezTo>
                  <a:pt x="439750" y="1964418"/>
                  <a:pt x="0" y="1524668"/>
                  <a:pt x="0" y="982209"/>
                </a:cubicBezTo>
                <a:cubicBezTo>
                  <a:pt x="0" y="439750"/>
                  <a:pt x="439750" y="0"/>
                  <a:pt x="982209" y="0"/>
                </a:cubicBezTo>
                <a:close/>
              </a:path>
            </a:pathLst>
          </a:custGeom>
        </p:spPr>
      </p:pic>
      <p:sp>
        <p:nvSpPr>
          <p:cNvPr id="80" name="Oval 79">
            <a:extLst>
              <a:ext uri="{FF2B5EF4-FFF2-40B4-BE49-F238E27FC236}">
                <a16:creationId xmlns:a16="http://schemas.microsoft.com/office/drawing/2014/main" id="{D656B432-CC82-4DA9-964C-E31DE40E09BE}"/>
              </a:ext>
            </a:extLst>
          </p:cNvPr>
          <p:cNvSpPr/>
          <p:nvPr/>
        </p:nvSpPr>
        <p:spPr>
          <a:xfrm>
            <a:off x="1107027" y="2578115"/>
            <a:ext cx="1964418" cy="1964418"/>
          </a:xfrm>
          <a:prstGeom prst="ellipse">
            <a:avLst/>
          </a:prstGeom>
          <a:noFill/>
          <a:ln w="190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1" name="Group 80">
            <a:extLst>
              <a:ext uri="{FF2B5EF4-FFF2-40B4-BE49-F238E27FC236}">
                <a16:creationId xmlns:a16="http://schemas.microsoft.com/office/drawing/2014/main" id="{EDFF96B2-6332-4F14-9AA9-F4A9D1C7BBF0}"/>
              </a:ext>
            </a:extLst>
          </p:cNvPr>
          <p:cNvGrpSpPr/>
          <p:nvPr/>
        </p:nvGrpSpPr>
        <p:grpSpPr>
          <a:xfrm flipH="1">
            <a:off x="8330435" y="3539414"/>
            <a:ext cx="756889" cy="723245"/>
            <a:chOff x="9696331" y="3340250"/>
            <a:chExt cx="356958" cy="341091"/>
          </a:xfrm>
        </p:grpSpPr>
        <p:sp>
          <p:nvSpPr>
            <p:cNvPr id="82" name="Oval 81">
              <a:extLst>
                <a:ext uri="{FF2B5EF4-FFF2-40B4-BE49-F238E27FC236}">
                  <a16:creationId xmlns:a16="http://schemas.microsoft.com/office/drawing/2014/main" id="{A21A94DA-10A4-4695-B7DD-5918BB1B7E0B}"/>
                </a:ext>
              </a:extLst>
            </p:cNvPr>
            <p:cNvSpPr/>
            <p:nvPr/>
          </p:nvSpPr>
          <p:spPr>
            <a:xfrm>
              <a:off x="9728744" y="3356796"/>
              <a:ext cx="324545" cy="324545"/>
            </a:xfrm>
            <a:prstGeom prst="ellipse">
              <a:avLst/>
            </a:prstGeom>
            <a:noFill/>
            <a:ln w="6350" cap="flat" cmpd="sng" algn="ctr">
              <a:solidFill>
                <a:schemeClr val="bg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u="none" strike="noStrike" kern="0" cap="none" spc="0" normalizeH="0" baseline="0" noProof="0" dirty="0">
                <a:ln>
                  <a:noFill/>
                </a:ln>
                <a:solidFill>
                  <a:srgbClr val="0D274D"/>
                </a:solidFill>
                <a:effectLst/>
                <a:uLnTx/>
                <a:uFillTx/>
              </a:endParaRPr>
            </a:p>
          </p:txBody>
        </p:sp>
        <p:sp>
          <p:nvSpPr>
            <p:cNvPr id="83" name="Oval 82">
              <a:extLst>
                <a:ext uri="{FF2B5EF4-FFF2-40B4-BE49-F238E27FC236}">
                  <a16:creationId xmlns:a16="http://schemas.microsoft.com/office/drawing/2014/main" id="{6E178FB7-52BF-45F8-AE68-F622410CAEBE}"/>
                </a:ext>
              </a:extLst>
            </p:cNvPr>
            <p:cNvSpPr/>
            <p:nvPr/>
          </p:nvSpPr>
          <p:spPr>
            <a:xfrm>
              <a:off x="9696331" y="3340250"/>
              <a:ext cx="322294" cy="322294"/>
            </a:xfrm>
            <a:prstGeom prst="ellipse">
              <a:avLst/>
            </a:prstGeom>
            <a:solidFill>
              <a:schemeClr val="bg1">
                <a:alpha val="73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u="none" strike="noStrike" kern="0" cap="none" spc="0" normalizeH="0" baseline="0" noProof="0" dirty="0">
                <a:ln>
                  <a:noFill/>
                </a:ln>
                <a:solidFill>
                  <a:srgbClr val="0D274D"/>
                </a:solidFill>
                <a:effectLst/>
                <a:uLnTx/>
                <a:uFillTx/>
              </a:endParaRPr>
            </a:p>
          </p:txBody>
        </p:sp>
      </p:grpSp>
      <p:pic>
        <p:nvPicPr>
          <p:cNvPr id="84" name="Picture 83" descr="A picture containing standing, photo, computer, black&#10;&#10;Description automatically generated">
            <a:extLst>
              <a:ext uri="{FF2B5EF4-FFF2-40B4-BE49-F238E27FC236}">
                <a16:creationId xmlns:a16="http://schemas.microsoft.com/office/drawing/2014/main" id="{9F98FB3D-210A-4A3C-81C7-C1B28A936A2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705851" y="2578115"/>
            <a:ext cx="1113517" cy="1964418"/>
          </a:xfrm>
          <a:custGeom>
            <a:avLst/>
            <a:gdLst>
              <a:gd name="connsiteX0" fmla="*/ 131308 w 1113517"/>
              <a:gd name="connsiteY0" fmla="*/ 0 h 1964418"/>
              <a:gd name="connsiteX1" fmla="*/ 1113517 w 1113517"/>
              <a:gd name="connsiteY1" fmla="*/ 982209 h 1964418"/>
              <a:gd name="connsiteX2" fmla="*/ 131308 w 1113517"/>
              <a:gd name="connsiteY2" fmla="*/ 1964418 h 1964418"/>
              <a:gd name="connsiteX3" fmla="*/ 30883 w 1113517"/>
              <a:gd name="connsiteY3" fmla="*/ 1959347 h 1964418"/>
              <a:gd name="connsiteX4" fmla="*/ 0 w 1113517"/>
              <a:gd name="connsiteY4" fmla="*/ 1954634 h 1964418"/>
              <a:gd name="connsiteX5" fmla="*/ 0 w 1113517"/>
              <a:gd name="connsiteY5" fmla="*/ 9784 h 1964418"/>
              <a:gd name="connsiteX6" fmla="*/ 30883 w 1113517"/>
              <a:gd name="connsiteY6" fmla="*/ 5071 h 1964418"/>
              <a:gd name="connsiteX7" fmla="*/ 131308 w 1113517"/>
              <a:gd name="connsiteY7" fmla="*/ 0 h 1964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3517" h="1964418">
                <a:moveTo>
                  <a:pt x="131308" y="0"/>
                </a:moveTo>
                <a:cubicBezTo>
                  <a:pt x="673767" y="0"/>
                  <a:pt x="1113517" y="439750"/>
                  <a:pt x="1113517" y="982209"/>
                </a:cubicBezTo>
                <a:cubicBezTo>
                  <a:pt x="1113517" y="1524668"/>
                  <a:pt x="673767" y="1964418"/>
                  <a:pt x="131308" y="1964418"/>
                </a:cubicBezTo>
                <a:cubicBezTo>
                  <a:pt x="97404" y="1964418"/>
                  <a:pt x="63902" y="1962700"/>
                  <a:pt x="30883" y="1959347"/>
                </a:cubicBezTo>
                <a:lnTo>
                  <a:pt x="0" y="1954634"/>
                </a:lnTo>
                <a:lnTo>
                  <a:pt x="0" y="9784"/>
                </a:lnTo>
                <a:lnTo>
                  <a:pt x="30883" y="5071"/>
                </a:lnTo>
                <a:cubicBezTo>
                  <a:pt x="63902" y="1718"/>
                  <a:pt x="97404" y="0"/>
                  <a:pt x="131308" y="0"/>
                </a:cubicBezTo>
                <a:close/>
              </a:path>
            </a:pathLst>
          </a:custGeom>
        </p:spPr>
      </p:pic>
      <p:sp>
        <p:nvSpPr>
          <p:cNvPr id="85" name="Freeform: Shape 84">
            <a:extLst>
              <a:ext uri="{FF2B5EF4-FFF2-40B4-BE49-F238E27FC236}">
                <a16:creationId xmlns:a16="http://schemas.microsoft.com/office/drawing/2014/main" id="{33A93B24-797F-446B-BF03-2BF9EF8F8C0A}"/>
              </a:ext>
            </a:extLst>
          </p:cNvPr>
          <p:cNvSpPr>
            <a:spLocks/>
          </p:cNvSpPr>
          <p:nvPr/>
        </p:nvSpPr>
        <p:spPr bwMode="auto">
          <a:xfrm>
            <a:off x="4970917" y="3079496"/>
            <a:ext cx="1029833" cy="1044829"/>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pic>
        <p:nvPicPr>
          <p:cNvPr id="86" name="Picture 85" descr="A picture containing food&#10;&#10;Description automatically generated">
            <a:extLst>
              <a:ext uri="{FF2B5EF4-FFF2-40B4-BE49-F238E27FC236}">
                <a16:creationId xmlns:a16="http://schemas.microsoft.com/office/drawing/2014/main" id="{3B8ED99F-9C89-4BE5-A8ED-72432F35705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486275" y="2897280"/>
            <a:ext cx="1543050" cy="1369920"/>
          </a:xfrm>
          <a:custGeom>
            <a:avLst/>
            <a:gdLst>
              <a:gd name="connsiteX0" fmla="*/ 277425 w 1543050"/>
              <a:gd name="connsiteY0" fmla="*/ 0 h 1369920"/>
              <a:gd name="connsiteX1" fmla="*/ 1543050 w 1543050"/>
              <a:gd name="connsiteY1" fmla="*/ 0 h 1369920"/>
              <a:gd name="connsiteX2" fmla="*/ 1543050 w 1543050"/>
              <a:gd name="connsiteY2" fmla="*/ 1369920 h 1369920"/>
              <a:gd name="connsiteX3" fmla="*/ 282154 w 1543050"/>
              <a:gd name="connsiteY3" fmla="*/ 1369920 h 1369920"/>
              <a:gd name="connsiteX4" fmla="*/ 167746 w 1543050"/>
              <a:gd name="connsiteY4" fmla="*/ 1231256 h 1369920"/>
              <a:gd name="connsiteX5" fmla="*/ 0 w 1543050"/>
              <a:gd name="connsiteY5" fmla="*/ 682094 h 1369920"/>
              <a:gd name="connsiteX6" fmla="*/ 167746 w 1543050"/>
              <a:gd name="connsiteY6" fmla="*/ 132932 h 136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3050" h="1369920">
                <a:moveTo>
                  <a:pt x="277425" y="0"/>
                </a:moveTo>
                <a:lnTo>
                  <a:pt x="1543050" y="0"/>
                </a:lnTo>
                <a:lnTo>
                  <a:pt x="1543050" y="1369920"/>
                </a:lnTo>
                <a:lnTo>
                  <a:pt x="282154" y="1369920"/>
                </a:lnTo>
                <a:lnTo>
                  <a:pt x="167746" y="1231256"/>
                </a:lnTo>
                <a:cubicBezTo>
                  <a:pt x="61840" y="1074495"/>
                  <a:pt x="0" y="885516"/>
                  <a:pt x="0" y="682094"/>
                </a:cubicBezTo>
                <a:cubicBezTo>
                  <a:pt x="0" y="478672"/>
                  <a:pt x="61840" y="289693"/>
                  <a:pt x="167746" y="132932"/>
                </a:cubicBezTo>
                <a:close/>
              </a:path>
            </a:pathLst>
          </a:custGeom>
        </p:spPr>
      </p:pic>
      <p:grpSp>
        <p:nvGrpSpPr>
          <p:cNvPr id="87" name="Group 86">
            <a:extLst>
              <a:ext uri="{FF2B5EF4-FFF2-40B4-BE49-F238E27FC236}">
                <a16:creationId xmlns:a16="http://schemas.microsoft.com/office/drawing/2014/main" id="{A198E936-7584-4734-8AF2-ECD8DBC26F8C}"/>
              </a:ext>
            </a:extLst>
          </p:cNvPr>
          <p:cNvGrpSpPr/>
          <p:nvPr/>
        </p:nvGrpSpPr>
        <p:grpSpPr>
          <a:xfrm>
            <a:off x="5592743" y="4179095"/>
            <a:ext cx="586367" cy="75370"/>
            <a:chOff x="2168525" y="4489450"/>
            <a:chExt cx="1346200" cy="173038"/>
          </a:xfrm>
        </p:grpSpPr>
        <p:sp>
          <p:nvSpPr>
            <p:cNvPr id="88" name="Freeform 91">
              <a:extLst>
                <a:ext uri="{FF2B5EF4-FFF2-40B4-BE49-F238E27FC236}">
                  <a16:creationId xmlns:a16="http://schemas.microsoft.com/office/drawing/2014/main" id="{3870573F-6C98-44C0-A378-B4D17C8BF5F8}"/>
                </a:ext>
              </a:extLst>
            </p:cNvPr>
            <p:cNvSpPr>
              <a:spLocks noEditPoints="1"/>
            </p:cNvSpPr>
            <p:nvPr/>
          </p:nvSpPr>
          <p:spPr bwMode="auto">
            <a:xfrm>
              <a:off x="2168525" y="4545013"/>
              <a:ext cx="1346200" cy="117475"/>
            </a:xfrm>
            <a:custGeom>
              <a:avLst/>
              <a:gdLst>
                <a:gd name="T0" fmla="*/ 1314 w 2628"/>
                <a:gd name="T1" fmla="*/ 227 h 227"/>
                <a:gd name="T2" fmla="*/ 395 w 2628"/>
                <a:gd name="T3" fmla="*/ 199 h 227"/>
                <a:gd name="T4" fmla="*/ 0 w 2628"/>
                <a:gd name="T5" fmla="*/ 114 h 227"/>
                <a:gd name="T6" fmla="*/ 395 w 2628"/>
                <a:gd name="T7" fmla="*/ 29 h 227"/>
                <a:gd name="T8" fmla="*/ 1314 w 2628"/>
                <a:gd name="T9" fmla="*/ 0 h 227"/>
                <a:gd name="T10" fmla="*/ 2233 w 2628"/>
                <a:gd name="T11" fmla="*/ 29 h 227"/>
                <a:gd name="T12" fmla="*/ 2628 w 2628"/>
                <a:gd name="T13" fmla="*/ 114 h 227"/>
                <a:gd name="T14" fmla="*/ 2233 w 2628"/>
                <a:gd name="T15" fmla="*/ 199 h 227"/>
                <a:gd name="T16" fmla="*/ 1314 w 2628"/>
                <a:gd name="T17" fmla="*/ 227 h 227"/>
                <a:gd name="T18" fmla="*/ 37 w 2628"/>
                <a:gd name="T19" fmla="*/ 114 h 227"/>
                <a:gd name="T20" fmla="*/ 1314 w 2628"/>
                <a:gd name="T21" fmla="*/ 195 h 227"/>
                <a:gd name="T22" fmla="*/ 2592 w 2628"/>
                <a:gd name="T23" fmla="*/ 114 h 227"/>
                <a:gd name="T24" fmla="*/ 1314 w 2628"/>
                <a:gd name="T25" fmla="*/ 32 h 227"/>
                <a:gd name="T26" fmla="*/ 37 w 2628"/>
                <a:gd name="T27" fmla="*/ 11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28" h="227">
                  <a:moveTo>
                    <a:pt x="1314" y="227"/>
                  </a:moveTo>
                  <a:cubicBezTo>
                    <a:pt x="967" y="227"/>
                    <a:pt x="641" y="217"/>
                    <a:pt x="395" y="199"/>
                  </a:cubicBezTo>
                  <a:cubicBezTo>
                    <a:pt x="0" y="169"/>
                    <a:pt x="0" y="133"/>
                    <a:pt x="0" y="114"/>
                  </a:cubicBezTo>
                  <a:cubicBezTo>
                    <a:pt x="0" y="94"/>
                    <a:pt x="0" y="58"/>
                    <a:pt x="395" y="29"/>
                  </a:cubicBezTo>
                  <a:cubicBezTo>
                    <a:pt x="641" y="10"/>
                    <a:pt x="967" y="0"/>
                    <a:pt x="1314" y="0"/>
                  </a:cubicBezTo>
                  <a:cubicBezTo>
                    <a:pt x="1661" y="0"/>
                    <a:pt x="1988" y="10"/>
                    <a:pt x="2233" y="29"/>
                  </a:cubicBezTo>
                  <a:cubicBezTo>
                    <a:pt x="2628" y="58"/>
                    <a:pt x="2628" y="94"/>
                    <a:pt x="2628" y="114"/>
                  </a:cubicBezTo>
                  <a:cubicBezTo>
                    <a:pt x="2628" y="133"/>
                    <a:pt x="2628" y="169"/>
                    <a:pt x="2233" y="199"/>
                  </a:cubicBezTo>
                  <a:cubicBezTo>
                    <a:pt x="1988" y="217"/>
                    <a:pt x="1661" y="227"/>
                    <a:pt x="1314" y="227"/>
                  </a:cubicBezTo>
                  <a:close/>
                  <a:moveTo>
                    <a:pt x="37" y="114"/>
                  </a:moveTo>
                  <a:cubicBezTo>
                    <a:pt x="97" y="149"/>
                    <a:pt x="554" y="195"/>
                    <a:pt x="1314" y="195"/>
                  </a:cubicBezTo>
                  <a:cubicBezTo>
                    <a:pt x="2075" y="195"/>
                    <a:pt x="2532" y="149"/>
                    <a:pt x="2592" y="114"/>
                  </a:cubicBezTo>
                  <a:cubicBezTo>
                    <a:pt x="2532" y="78"/>
                    <a:pt x="2075" y="32"/>
                    <a:pt x="1314" y="32"/>
                  </a:cubicBezTo>
                  <a:cubicBezTo>
                    <a:pt x="554" y="32"/>
                    <a:pt x="97" y="78"/>
                    <a:pt x="37" y="114"/>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Oval 92">
              <a:extLst>
                <a:ext uri="{FF2B5EF4-FFF2-40B4-BE49-F238E27FC236}">
                  <a16:creationId xmlns:a16="http://schemas.microsoft.com/office/drawing/2014/main" id="{DCE7F04E-9BDD-4F7A-B2AD-23D84C0CB3D5}"/>
                </a:ext>
              </a:extLst>
            </p:cNvPr>
            <p:cNvSpPr>
              <a:spLocks noChangeArrowheads="1"/>
            </p:cNvSpPr>
            <p:nvPr/>
          </p:nvSpPr>
          <p:spPr bwMode="auto">
            <a:xfrm>
              <a:off x="3095625" y="4489450"/>
              <a:ext cx="133350" cy="133350"/>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90" name="Oval 89">
            <a:extLst>
              <a:ext uri="{FF2B5EF4-FFF2-40B4-BE49-F238E27FC236}">
                <a16:creationId xmlns:a16="http://schemas.microsoft.com/office/drawing/2014/main" id="{00AA085A-E74C-4C9C-AE72-B36BD8244F60}"/>
              </a:ext>
            </a:extLst>
          </p:cNvPr>
          <p:cNvSpPr/>
          <p:nvPr/>
        </p:nvSpPr>
        <p:spPr>
          <a:xfrm>
            <a:off x="4483417" y="2578115"/>
            <a:ext cx="1964418" cy="1964418"/>
          </a:xfrm>
          <a:prstGeom prst="ellipse">
            <a:avLst/>
          </a:prstGeom>
          <a:noFill/>
          <a:ln w="190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Oval 90">
            <a:extLst>
              <a:ext uri="{FF2B5EF4-FFF2-40B4-BE49-F238E27FC236}">
                <a16:creationId xmlns:a16="http://schemas.microsoft.com/office/drawing/2014/main" id="{767BDD4F-B5AF-4C9C-80CC-CB3281D32E39}"/>
              </a:ext>
            </a:extLst>
          </p:cNvPr>
          <p:cNvSpPr/>
          <p:nvPr/>
        </p:nvSpPr>
        <p:spPr>
          <a:xfrm>
            <a:off x="7859806" y="2578115"/>
            <a:ext cx="1964418" cy="1964418"/>
          </a:xfrm>
          <a:prstGeom prst="ellipse">
            <a:avLst/>
          </a:prstGeom>
          <a:noFill/>
          <a:ln w="19050">
            <a:solidFill>
              <a:schemeClr val="accent4">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91">
            <a:extLst>
              <a:ext uri="{FF2B5EF4-FFF2-40B4-BE49-F238E27FC236}">
                <a16:creationId xmlns:a16="http://schemas.microsoft.com/office/drawing/2014/main" id="{5A23E73D-F6DD-478D-ADAC-D23A2623D564}"/>
              </a:ext>
            </a:extLst>
          </p:cNvPr>
          <p:cNvSpPr/>
          <p:nvPr/>
        </p:nvSpPr>
        <p:spPr>
          <a:xfrm>
            <a:off x="0" y="2435069"/>
            <a:ext cx="10788661" cy="27987"/>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3" name="Group 92">
            <a:extLst>
              <a:ext uri="{FF2B5EF4-FFF2-40B4-BE49-F238E27FC236}">
                <a16:creationId xmlns:a16="http://schemas.microsoft.com/office/drawing/2014/main" id="{714C1202-7BD3-47BC-9673-E21625D092D6}"/>
              </a:ext>
            </a:extLst>
          </p:cNvPr>
          <p:cNvGrpSpPr/>
          <p:nvPr/>
        </p:nvGrpSpPr>
        <p:grpSpPr>
          <a:xfrm>
            <a:off x="8587513" y="2194560"/>
            <a:ext cx="509004" cy="509004"/>
            <a:chOff x="987706" y="2608489"/>
            <a:chExt cx="1038422" cy="1038422"/>
          </a:xfrm>
        </p:grpSpPr>
        <p:sp>
          <p:nvSpPr>
            <p:cNvPr id="94" name="Oval 93">
              <a:extLst>
                <a:ext uri="{FF2B5EF4-FFF2-40B4-BE49-F238E27FC236}">
                  <a16:creationId xmlns:a16="http://schemas.microsoft.com/office/drawing/2014/main" id="{DC0DF175-0891-4B2D-9EEC-5416B5A18EC5}"/>
                </a:ext>
              </a:extLst>
            </p:cNvPr>
            <p:cNvSpPr/>
            <p:nvPr/>
          </p:nvSpPr>
          <p:spPr>
            <a:xfrm>
              <a:off x="987706" y="2608489"/>
              <a:ext cx="1038422" cy="1038422"/>
            </a:xfrm>
            <a:prstGeom prst="ellipse">
              <a:avLst/>
            </a:prstGeom>
            <a:pattFill prst="wdUpDiag">
              <a:fgClr>
                <a:schemeClr val="accent2">
                  <a:lumMod val="60000"/>
                  <a:lumOff val="40000"/>
                </a:schemeClr>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u="none" strike="noStrike" kern="0" cap="none" spc="0" normalizeH="0" baseline="0" noProof="0" dirty="0">
                <a:ln>
                  <a:noFill/>
                </a:ln>
                <a:solidFill>
                  <a:srgbClr val="1E4471"/>
                </a:solidFill>
                <a:effectLst/>
                <a:uLnTx/>
                <a:uFillTx/>
                <a:ea typeface="+mn-ea"/>
                <a:cs typeface="+mn-cs"/>
              </a:endParaRPr>
            </a:p>
          </p:txBody>
        </p:sp>
        <p:sp>
          <p:nvSpPr>
            <p:cNvPr id="95" name="Oval 94">
              <a:extLst>
                <a:ext uri="{FF2B5EF4-FFF2-40B4-BE49-F238E27FC236}">
                  <a16:creationId xmlns:a16="http://schemas.microsoft.com/office/drawing/2014/main" id="{33C9C424-35A4-49CF-9B90-B1E188DB57BC}"/>
                </a:ext>
              </a:extLst>
            </p:cNvPr>
            <p:cNvSpPr/>
            <p:nvPr/>
          </p:nvSpPr>
          <p:spPr>
            <a:xfrm>
              <a:off x="1097280" y="2718063"/>
              <a:ext cx="928848" cy="928848"/>
            </a:xfrm>
            <a:prstGeom prst="ellipse">
              <a:avLst/>
            </a:prstGeom>
            <a:solidFill>
              <a:schemeClr val="accent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solidFill>
                  <a:schemeClr val="bg2"/>
                </a:solidFill>
              </a:endParaRPr>
            </a:p>
          </p:txBody>
        </p:sp>
      </p:grpSp>
      <p:grpSp>
        <p:nvGrpSpPr>
          <p:cNvPr id="96" name="Group 95">
            <a:extLst>
              <a:ext uri="{FF2B5EF4-FFF2-40B4-BE49-F238E27FC236}">
                <a16:creationId xmlns:a16="http://schemas.microsoft.com/office/drawing/2014/main" id="{362B096A-D6E1-4DDB-A5A2-B75B351FF042}"/>
              </a:ext>
            </a:extLst>
          </p:cNvPr>
          <p:cNvGrpSpPr/>
          <p:nvPr/>
        </p:nvGrpSpPr>
        <p:grpSpPr>
          <a:xfrm>
            <a:off x="5211124" y="2194560"/>
            <a:ext cx="509004" cy="509004"/>
            <a:chOff x="987706" y="2608489"/>
            <a:chExt cx="1038422" cy="1038422"/>
          </a:xfrm>
        </p:grpSpPr>
        <p:sp>
          <p:nvSpPr>
            <p:cNvPr id="97" name="Oval 96">
              <a:extLst>
                <a:ext uri="{FF2B5EF4-FFF2-40B4-BE49-F238E27FC236}">
                  <a16:creationId xmlns:a16="http://schemas.microsoft.com/office/drawing/2014/main" id="{40E5CFB5-0D8E-458F-8395-AB8AAB8B9750}"/>
                </a:ext>
              </a:extLst>
            </p:cNvPr>
            <p:cNvSpPr/>
            <p:nvPr/>
          </p:nvSpPr>
          <p:spPr>
            <a:xfrm>
              <a:off x="987706" y="2608489"/>
              <a:ext cx="1038422" cy="1038422"/>
            </a:xfrm>
            <a:prstGeom prst="ellipse">
              <a:avLst/>
            </a:prstGeom>
            <a:pattFill prst="wdUpDiag">
              <a:fgClr>
                <a:schemeClr val="accent2">
                  <a:lumMod val="60000"/>
                  <a:lumOff val="40000"/>
                </a:schemeClr>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u="none" strike="noStrike" kern="0" cap="none" spc="0" normalizeH="0" baseline="0" noProof="0" dirty="0">
                <a:ln>
                  <a:noFill/>
                </a:ln>
                <a:solidFill>
                  <a:srgbClr val="1E4471"/>
                </a:solidFill>
                <a:effectLst/>
                <a:uLnTx/>
                <a:uFillTx/>
                <a:ea typeface="+mn-ea"/>
                <a:cs typeface="+mn-cs"/>
              </a:endParaRPr>
            </a:p>
          </p:txBody>
        </p:sp>
        <p:sp>
          <p:nvSpPr>
            <p:cNvPr id="98" name="Oval 97">
              <a:extLst>
                <a:ext uri="{FF2B5EF4-FFF2-40B4-BE49-F238E27FC236}">
                  <a16:creationId xmlns:a16="http://schemas.microsoft.com/office/drawing/2014/main" id="{33C30013-CA80-4AB3-BE82-A0B955776DEF}"/>
                </a:ext>
              </a:extLst>
            </p:cNvPr>
            <p:cNvSpPr/>
            <p:nvPr/>
          </p:nvSpPr>
          <p:spPr>
            <a:xfrm>
              <a:off x="1097280" y="2718063"/>
              <a:ext cx="928848" cy="928848"/>
            </a:xfrm>
            <a:prstGeom prst="ellipse">
              <a:avLst/>
            </a:prstGeom>
            <a:solidFill>
              <a:schemeClr val="accent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solidFill>
                  <a:schemeClr val="bg2"/>
                </a:solidFill>
              </a:endParaRPr>
            </a:p>
          </p:txBody>
        </p:sp>
      </p:grpSp>
      <p:grpSp>
        <p:nvGrpSpPr>
          <p:cNvPr id="99" name="Group 98">
            <a:extLst>
              <a:ext uri="{FF2B5EF4-FFF2-40B4-BE49-F238E27FC236}">
                <a16:creationId xmlns:a16="http://schemas.microsoft.com/office/drawing/2014/main" id="{74A1C255-D2B8-4AB1-BA48-30F5DDD1AC88}"/>
              </a:ext>
            </a:extLst>
          </p:cNvPr>
          <p:cNvGrpSpPr/>
          <p:nvPr/>
        </p:nvGrpSpPr>
        <p:grpSpPr>
          <a:xfrm>
            <a:off x="1168394" y="3583940"/>
            <a:ext cx="907501" cy="788035"/>
            <a:chOff x="1239837" y="3583940"/>
            <a:chExt cx="907501" cy="788035"/>
          </a:xfrm>
          <a:solidFill>
            <a:schemeClr val="accent2"/>
          </a:solidFill>
        </p:grpSpPr>
        <p:sp>
          <p:nvSpPr>
            <p:cNvPr id="100" name="Oval 227">
              <a:extLst>
                <a:ext uri="{FF2B5EF4-FFF2-40B4-BE49-F238E27FC236}">
                  <a16:creationId xmlns:a16="http://schemas.microsoft.com/office/drawing/2014/main" id="{8DA2BD01-C764-4C3E-BEEC-21BFAE8E9FC3}"/>
                </a:ext>
              </a:extLst>
            </p:cNvPr>
            <p:cNvSpPr>
              <a:spLocks noChangeArrowheads="1"/>
            </p:cNvSpPr>
            <p:nvPr/>
          </p:nvSpPr>
          <p:spPr bwMode="auto">
            <a:xfrm flipH="1">
              <a:off x="2095825" y="4125372"/>
              <a:ext cx="51513" cy="5370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Oval 228">
              <a:extLst>
                <a:ext uri="{FF2B5EF4-FFF2-40B4-BE49-F238E27FC236}">
                  <a16:creationId xmlns:a16="http://schemas.microsoft.com/office/drawing/2014/main" id="{711CFC49-5028-4000-A438-18FCAAED51DB}"/>
                </a:ext>
              </a:extLst>
            </p:cNvPr>
            <p:cNvSpPr>
              <a:spLocks noChangeArrowheads="1"/>
            </p:cNvSpPr>
            <p:nvPr/>
          </p:nvSpPr>
          <p:spPr bwMode="auto">
            <a:xfrm flipH="1">
              <a:off x="1943479" y="4125372"/>
              <a:ext cx="50417" cy="5370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Oval 229">
              <a:extLst>
                <a:ext uri="{FF2B5EF4-FFF2-40B4-BE49-F238E27FC236}">
                  <a16:creationId xmlns:a16="http://schemas.microsoft.com/office/drawing/2014/main" id="{CDA65A27-AE9E-4542-9AD5-6ED7E2520027}"/>
                </a:ext>
              </a:extLst>
            </p:cNvPr>
            <p:cNvSpPr>
              <a:spLocks noChangeArrowheads="1"/>
            </p:cNvSpPr>
            <p:nvPr/>
          </p:nvSpPr>
          <p:spPr bwMode="auto">
            <a:xfrm flipH="1">
              <a:off x="1609194" y="4125372"/>
              <a:ext cx="51513" cy="5370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Oval 230">
              <a:extLst>
                <a:ext uri="{FF2B5EF4-FFF2-40B4-BE49-F238E27FC236}">
                  <a16:creationId xmlns:a16="http://schemas.microsoft.com/office/drawing/2014/main" id="{E3C3B618-2655-4270-BF2E-BA7A2880C239}"/>
                </a:ext>
              </a:extLst>
            </p:cNvPr>
            <p:cNvSpPr>
              <a:spLocks noChangeArrowheads="1"/>
            </p:cNvSpPr>
            <p:nvPr/>
          </p:nvSpPr>
          <p:spPr bwMode="auto">
            <a:xfrm flipH="1">
              <a:off x="1609194" y="3954393"/>
              <a:ext cx="51513" cy="515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Oval 231">
              <a:extLst>
                <a:ext uri="{FF2B5EF4-FFF2-40B4-BE49-F238E27FC236}">
                  <a16:creationId xmlns:a16="http://schemas.microsoft.com/office/drawing/2014/main" id="{251FF9A7-7994-4C38-B40B-C3F114F8D8F9}"/>
                </a:ext>
              </a:extLst>
            </p:cNvPr>
            <p:cNvSpPr>
              <a:spLocks noChangeArrowheads="1"/>
            </p:cNvSpPr>
            <p:nvPr/>
          </p:nvSpPr>
          <p:spPr bwMode="auto">
            <a:xfrm flipH="1">
              <a:off x="1443696" y="3774647"/>
              <a:ext cx="51513" cy="5370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Oval 232">
              <a:extLst>
                <a:ext uri="{FF2B5EF4-FFF2-40B4-BE49-F238E27FC236}">
                  <a16:creationId xmlns:a16="http://schemas.microsoft.com/office/drawing/2014/main" id="{9EF60BE3-31A4-4E70-AC83-14AAA0219413}"/>
                </a:ext>
              </a:extLst>
            </p:cNvPr>
            <p:cNvSpPr>
              <a:spLocks noChangeArrowheads="1"/>
            </p:cNvSpPr>
            <p:nvPr/>
          </p:nvSpPr>
          <p:spPr bwMode="auto">
            <a:xfrm flipH="1">
              <a:off x="1443696" y="3603668"/>
              <a:ext cx="51513" cy="515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Oval 233">
              <a:extLst>
                <a:ext uri="{FF2B5EF4-FFF2-40B4-BE49-F238E27FC236}">
                  <a16:creationId xmlns:a16="http://schemas.microsoft.com/office/drawing/2014/main" id="{7BF30A77-6DCE-4A81-90E9-C37695B2ACDC}"/>
                </a:ext>
              </a:extLst>
            </p:cNvPr>
            <p:cNvSpPr>
              <a:spLocks noChangeArrowheads="1"/>
            </p:cNvSpPr>
            <p:nvPr/>
          </p:nvSpPr>
          <p:spPr bwMode="auto">
            <a:xfrm flipH="1">
              <a:off x="1260662" y="3779031"/>
              <a:ext cx="50417" cy="5480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Oval 234">
              <a:extLst>
                <a:ext uri="{FF2B5EF4-FFF2-40B4-BE49-F238E27FC236}">
                  <a16:creationId xmlns:a16="http://schemas.microsoft.com/office/drawing/2014/main" id="{9DAB8A71-16EA-4288-8FCF-3BCB55404B4B}"/>
                </a:ext>
              </a:extLst>
            </p:cNvPr>
            <p:cNvSpPr>
              <a:spLocks noChangeArrowheads="1"/>
            </p:cNvSpPr>
            <p:nvPr/>
          </p:nvSpPr>
          <p:spPr bwMode="auto">
            <a:xfrm flipH="1">
              <a:off x="2095825" y="4300734"/>
              <a:ext cx="51513" cy="515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Oval 235">
              <a:extLst>
                <a:ext uri="{FF2B5EF4-FFF2-40B4-BE49-F238E27FC236}">
                  <a16:creationId xmlns:a16="http://schemas.microsoft.com/office/drawing/2014/main" id="{3B70D60C-24F9-4129-AFAD-7EC93A165AEE}"/>
                </a:ext>
              </a:extLst>
            </p:cNvPr>
            <p:cNvSpPr>
              <a:spLocks noChangeArrowheads="1"/>
            </p:cNvSpPr>
            <p:nvPr/>
          </p:nvSpPr>
          <p:spPr bwMode="auto">
            <a:xfrm flipH="1">
              <a:off x="1609194" y="4300734"/>
              <a:ext cx="51513" cy="515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238">
              <a:extLst>
                <a:ext uri="{FF2B5EF4-FFF2-40B4-BE49-F238E27FC236}">
                  <a16:creationId xmlns:a16="http://schemas.microsoft.com/office/drawing/2014/main" id="{8A3FD452-B685-478A-BA45-D6CE3C67F526}"/>
                </a:ext>
              </a:extLst>
            </p:cNvPr>
            <p:cNvSpPr>
              <a:spLocks noEditPoints="1"/>
            </p:cNvSpPr>
            <p:nvPr/>
          </p:nvSpPr>
          <p:spPr bwMode="auto">
            <a:xfrm flipH="1">
              <a:off x="1422872" y="4106739"/>
              <a:ext cx="92065" cy="89873"/>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239">
              <a:extLst>
                <a:ext uri="{FF2B5EF4-FFF2-40B4-BE49-F238E27FC236}">
                  <a16:creationId xmlns:a16="http://schemas.microsoft.com/office/drawing/2014/main" id="{2B80AAB7-FF60-4B1F-9490-854BD865660D}"/>
                </a:ext>
              </a:extLst>
            </p:cNvPr>
            <p:cNvSpPr>
              <a:spLocks noEditPoints="1"/>
            </p:cNvSpPr>
            <p:nvPr/>
          </p:nvSpPr>
          <p:spPr bwMode="auto">
            <a:xfrm flipH="1">
              <a:off x="1422872" y="3933569"/>
              <a:ext cx="92065" cy="9316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241">
              <a:extLst>
                <a:ext uri="{FF2B5EF4-FFF2-40B4-BE49-F238E27FC236}">
                  <a16:creationId xmlns:a16="http://schemas.microsoft.com/office/drawing/2014/main" id="{A79B3C7A-D2DE-40FF-BA4B-51D8914A15A4}"/>
                </a:ext>
              </a:extLst>
            </p:cNvPr>
            <p:cNvSpPr>
              <a:spLocks noEditPoints="1"/>
            </p:cNvSpPr>
            <p:nvPr/>
          </p:nvSpPr>
          <p:spPr bwMode="auto">
            <a:xfrm flipH="1">
              <a:off x="1757156" y="4106739"/>
              <a:ext cx="92065" cy="89873"/>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242">
              <a:extLst>
                <a:ext uri="{FF2B5EF4-FFF2-40B4-BE49-F238E27FC236}">
                  <a16:creationId xmlns:a16="http://schemas.microsoft.com/office/drawing/2014/main" id="{DF352811-9346-4828-84FC-54F59FB11D8E}"/>
                </a:ext>
              </a:extLst>
            </p:cNvPr>
            <p:cNvSpPr>
              <a:spLocks noEditPoints="1"/>
            </p:cNvSpPr>
            <p:nvPr/>
          </p:nvSpPr>
          <p:spPr bwMode="auto">
            <a:xfrm flipH="1">
              <a:off x="1589466" y="3761495"/>
              <a:ext cx="90970" cy="89873"/>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243">
              <a:extLst>
                <a:ext uri="{FF2B5EF4-FFF2-40B4-BE49-F238E27FC236}">
                  <a16:creationId xmlns:a16="http://schemas.microsoft.com/office/drawing/2014/main" id="{E552B3A6-693D-4AA8-A9B6-A138B217FBDA}"/>
                </a:ext>
              </a:extLst>
            </p:cNvPr>
            <p:cNvSpPr>
              <a:spLocks noEditPoints="1"/>
            </p:cNvSpPr>
            <p:nvPr/>
          </p:nvSpPr>
          <p:spPr bwMode="auto">
            <a:xfrm flipH="1">
              <a:off x="1589466" y="3583940"/>
              <a:ext cx="90970" cy="92065"/>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244">
              <a:extLst>
                <a:ext uri="{FF2B5EF4-FFF2-40B4-BE49-F238E27FC236}">
                  <a16:creationId xmlns:a16="http://schemas.microsoft.com/office/drawing/2014/main" id="{FB89F233-7408-4B87-A591-B7DC17889BC2}"/>
                </a:ext>
              </a:extLst>
            </p:cNvPr>
            <p:cNvSpPr>
              <a:spLocks noEditPoints="1"/>
            </p:cNvSpPr>
            <p:nvPr/>
          </p:nvSpPr>
          <p:spPr bwMode="auto">
            <a:xfrm flipH="1">
              <a:off x="1239837" y="3583940"/>
              <a:ext cx="92065" cy="92065"/>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245">
              <a:extLst>
                <a:ext uri="{FF2B5EF4-FFF2-40B4-BE49-F238E27FC236}">
                  <a16:creationId xmlns:a16="http://schemas.microsoft.com/office/drawing/2014/main" id="{3DF5785D-B2FF-4833-964B-C0DB82CB6F20}"/>
                </a:ext>
              </a:extLst>
            </p:cNvPr>
            <p:cNvSpPr>
              <a:spLocks noEditPoints="1"/>
            </p:cNvSpPr>
            <p:nvPr/>
          </p:nvSpPr>
          <p:spPr bwMode="auto">
            <a:xfrm flipH="1">
              <a:off x="1757156" y="4279910"/>
              <a:ext cx="92065" cy="92065"/>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6" name="Graphic 75">
            <a:extLst>
              <a:ext uri="{FF2B5EF4-FFF2-40B4-BE49-F238E27FC236}">
                <a16:creationId xmlns:a16="http://schemas.microsoft.com/office/drawing/2014/main" id="{3AF1E30F-DA6D-40C3-9DBF-0AC60BBE7A9E}"/>
              </a:ext>
            </a:extLst>
          </p:cNvPr>
          <p:cNvGrpSpPr/>
          <p:nvPr/>
        </p:nvGrpSpPr>
        <p:grpSpPr>
          <a:xfrm>
            <a:off x="5516405" y="2802881"/>
            <a:ext cx="637915" cy="652789"/>
            <a:chOff x="4820236" y="1931698"/>
            <a:chExt cx="926552" cy="948156"/>
          </a:xfrm>
          <a:solidFill>
            <a:schemeClr val="accent2"/>
          </a:solidFill>
        </p:grpSpPr>
        <p:sp>
          <p:nvSpPr>
            <p:cNvPr id="117" name="Freeform: Shape 116">
              <a:extLst>
                <a:ext uri="{FF2B5EF4-FFF2-40B4-BE49-F238E27FC236}">
                  <a16:creationId xmlns:a16="http://schemas.microsoft.com/office/drawing/2014/main" id="{00077C0D-7F58-4C28-9806-643C54891626}"/>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0D7514CD-464F-40EF-90C3-3E46D45F83F4}"/>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endParaRPr lang="en-US" dirty="0"/>
            </a:p>
          </p:txBody>
        </p:sp>
        <p:sp>
          <p:nvSpPr>
            <p:cNvPr id="119" name="Freeform: Shape 118">
              <a:extLst>
                <a:ext uri="{FF2B5EF4-FFF2-40B4-BE49-F238E27FC236}">
                  <a16:creationId xmlns:a16="http://schemas.microsoft.com/office/drawing/2014/main" id="{F81F1BA9-7B8B-49D8-BBED-47EF88F191E0}"/>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endParaRPr lang="en-US" dirty="0"/>
            </a:p>
          </p:txBody>
        </p:sp>
        <p:sp>
          <p:nvSpPr>
            <p:cNvPr id="120" name="Freeform: Shape 119">
              <a:extLst>
                <a:ext uri="{FF2B5EF4-FFF2-40B4-BE49-F238E27FC236}">
                  <a16:creationId xmlns:a16="http://schemas.microsoft.com/office/drawing/2014/main" id="{D3FB1E70-A8FE-4C21-BC52-63BA63697FDC}"/>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endParaRPr lang="en-US" dirty="0"/>
            </a:p>
          </p:txBody>
        </p:sp>
        <p:sp>
          <p:nvSpPr>
            <p:cNvPr id="121" name="Freeform: Shape 120">
              <a:extLst>
                <a:ext uri="{FF2B5EF4-FFF2-40B4-BE49-F238E27FC236}">
                  <a16:creationId xmlns:a16="http://schemas.microsoft.com/office/drawing/2014/main" id="{9B480C89-B61E-49C1-BD3F-200D48F2583A}"/>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endParaRPr lang="en-US" dirty="0"/>
            </a:p>
          </p:txBody>
        </p:sp>
        <p:sp>
          <p:nvSpPr>
            <p:cNvPr id="122" name="Freeform: Shape 121">
              <a:extLst>
                <a:ext uri="{FF2B5EF4-FFF2-40B4-BE49-F238E27FC236}">
                  <a16:creationId xmlns:a16="http://schemas.microsoft.com/office/drawing/2014/main" id="{C63831DA-4D86-4D7D-A85D-5FA54A0F19E6}"/>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endParaRPr lang="en-US" dirty="0"/>
            </a:p>
          </p:txBody>
        </p:sp>
        <p:sp>
          <p:nvSpPr>
            <p:cNvPr id="123" name="Freeform: Shape 122">
              <a:extLst>
                <a:ext uri="{FF2B5EF4-FFF2-40B4-BE49-F238E27FC236}">
                  <a16:creationId xmlns:a16="http://schemas.microsoft.com/office/drawing/2014/main" id="{AB71FB86-C10A-46BE-B1AC-AA457AEED4C1}"/>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2526ECD0-5502-468C-8D73-3AE5B0696AD5}"/>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endParaRPr lang="en-US" dirty="0"/>
            </a:p>
          </p:txBody>
        </p:sp>
        <p:sp>
          <p:nvSpPr>
            <p:cNvPr id="125" name="Freeform: Shape 124">
              <a:extLst>
                <a:ext uri="{FF2B5EF4-FFF2-40B4-BE49-F238E27FC236}">
                  <a16:creationId xmlns:a16="http://schemas.microsoft.com/office/drawing/2014/main" id="{07541CEF-D088-4AC4-9301-0523DD58A20D}"/>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endParaRPr lang="en-US" dirty="0"/>
            </a:p>
          </p:txBody>
        </p:sp>
        <p:sp>
          <p:nvSpPr>
            <p:cNvPr id="126" name="Freeform: Shape 125">
              <a:extLst>
                <a:ext uri="{FF2B5EF4-FFF2-40B4-BE49-F238E27FC236}">
                  <a16:creationId xmlns:a16="http://schemas.microsoft.com/office/drawing/2014/main" id="{9A5A6B06-C05F-4638-9E88-4CE25BA33AD1}"/>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endParaRPr lang="en-US" dirty="0"/>
            </a:p>
          </p:txBody>
        </p:sp>
        <p:sp>
          <p:nvSpPr>
            <p:cNvPr id="127" name="Freeform: Shape 126">
              <a:extLst>
                <a:ext uri="{FF2B5EF4-FFF2-40B4-BE49-F238E27FC236}">
                  <a16:creationId xmlns:a16="http://schemas.microsoft.com/office/drawing/2014/main" id="{54A08190-7DBB-4B48-9661-742F5F974122}"/>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endParaRPr lang="en-US" dirty="0"/>
            </a:p>
          </p:txBody>
        </p:sp>
        <p:sp>
          <p:nvSpPr>
            <p:cNvPr id="128" name="Freeform: Shape 127">
              <a:extLst>
                <a:ext uri="{FF2B5EF4-FFF2-40B4-BE49-F238E27FC236}">
                  <a16:creationId xmlns:a16="http://schemas.microsoft.com/office/drawing/2014/main" id="{4F773965-3AEA-4F45-837F-0C325E4A0E6E}"/>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B34FA0FF-8728-4461-9B3E-98FFA4C0A973}"/>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endParaRPr lang="en-US" dirty="0"/>
            </a:p>
          </p:txBody>
        </p:sp>
        <p:sp>
          <p:nvSpPr>
            <p:cNvPr id="130" name="Freeform: Shape 129">
              <a:extLst>
                <a:ext uri="{FF2B5EF4-FFF2-40B4-BE49-F238E27FC236}">
                  <a16:creationId xmlns:a16="http://schemas.microsoft.com/office/drawing/2014/main" id="{236E7771-49EA-419C-90EE-9823CB8C1BD2}"/>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endParaRPr lang="en-US" dirty="0"/>
            </a:p>
          </p:txBody>
        </p:sp>
        <p:sp>
          <p:nvSpPr>
            <p:cNvPr id="131" name="Freeform: Shape 130">
              <a:extLst>
                <a:ext uri="{FF2B5EF4-FFF2-40B4-BE49-F238E27FC236}">
                  <a16:creationId xmlns:a16="http://schemas.microsoft.com/office/drawing/2014/main" id="{4F0A594A-4950-4297-8EBB-8E97DB365E8D}"/>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endParaRPr lang="en-US" dirty="0"/>
            </a:p>
          </p:txBody>
        </p:sp>
        <p:sp>
          <p:nvSpPr>
            <p:cNvPr id="132" name="Freeform: Shape 131">
              <a:extLst>
                <a:ext uri="{FF2B5EF4-FFF2-40B4-BE49-F238E27FC236}">
                  <a16:creationId xmlns:a16="http://schemas.microsoft.com/office/drawing/2014/main" id="{6D6E13A6-3652-4F50-920B-0C671F7AF21A}"/>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endParaRPr lang="en-US" dirty="0"/>
            </a:p>
          </p:txBody>
        </p:sp>
        <p:sp>
          <p:nvSpPr>
            <p:cNvPr id="133" name="Freeform: Shape 132">
              <a:extLst>
                <a:ext uri="{FF2B5EF4-FFF2-40B4-BE49-F238E27FC236}">
                  <a16:creationId xmlns:a16="http://schemas.microsoft.com/office/drawing/2014/main" id="{700EF37F-4963-489A-8C40-59AB0A5256A4}"/>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DFB8E1A4-7F8F-4F4B-B3AC-64832ADDC352}"/>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endParaRPr lang="en-US" dirty="0"/>
            </a:p>
          </p:txBody>
        </p:sp>
      </p:grpSp>
      <p:pic>
        <p:nvPicPr>
          <p:cNvPr id="135" name="Picture 134">
            <a:extLst>
              <a:ext uri="{FF2B5EF4-FFF2-40B4-BE49-F238E27FC236}">
                <a16:creationId xmlns:a16="http://schemas.microsoft.com/office/drawing/2014/main" id="{5963657D-315C-4ED6-8387-37631E1EEE7A}"/>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a:xfrm>
            <a:off x="8777415" y="2999663"/>
            <a:ext cx="1036874" cy="1549221"/>
          </a:xfrm>
          <a:custGeom>
            <a:avLst/>
            <a:gdLst>
              <a:gd name="connsiteX0" fmla="*/ 0 w 1036874"/>
              <a:gd name="connsiteY0" fmla="*/ 0 h 1549221"/>
              <a:gd name="connsiteX1" fmla="*/ 854401 w 1036874"/>
              <a:gd name="connsiteY1" fmla="*/ 0 h 1549221"/>
              <a:gd name="connsiteX2" fmla="*/ 869128 w 1036874"/>
              <a:gd name="connsiteY2" fmla="*/ 17850 h 1549221"/>
              <a:gd name="connsiteX3" fmla="*/ 1036874 w 1036874"/>
              <a:gd name="connsiteY3" fmla="*/ 567012 h 1549221"/>
              <a:gd name="connsiteX4" fmla="*/ 54665 w 1036874"/>
              <a:gd name="connsiteY4" fmla="*/ 1549221 h 1549221"/>
              <a:gd name="connsiteX5" fmla="*/ 0 w 1036874"/>
              <a:gd name="connsiteY5" fmla="*/ 1546461 h 1549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6874" h="1549221">
                <a:moveTo>
                  <a:pt x="0" y="0"/>
                </a:moveTo>
                <a:lnTo>
                  <a:pt x="854401" y="0"/>
                </a:lnTo>
                <a:lnTo>
                  <a:pt x="869128" y="17850"/>
                </a:lnTo>
                <a:cubicBezTo>
                  <a:pt x="975034" y="174611"/>
                  <a:pt x="1036874" y="363590"/>
                  <a:pt x="1036874" y="567012"/>
                </a:cubicBezTo>
                <a:cubicBezTo>
                  <a:pt x="1036874" y="1109471"/>
                  <a:pt x="597124" y="1549221"/>
                  <a:pt x="54665" y="1549221"/>
                </a:cubicBezTo>
                <a:lnTo>
                  <a:pt x="0" y="1546461"/>
                </a:lnTo>
                <a:close/>
              </a:path>
            </a:pathLst>
          </a:custGeom>
        </p:spPr>
      </p:pic>
      <p:grpSp>
        <p:nvGrpSpPr>
          <p:cNvPr id="136" name="Group 135">
            <a:extLst>
              <a:ext uri="{FF2B5EF4-FFF2-40B4-BE49-F238E27FC236}">
                <a16:creationId xmlns:a16="http://schemas.microsoft.com/office/drawing/2014/main" id="{4CB55C69-6F4C-42BB-A045-760E13D70A7D}"/>
              </a:ext>
            </a:extLst>
          </p:cNvPr>
          <p:cNvGrpSpPr/>
          <p:nvPr/>
        </p:nvGrpSpPr>
        <p:grpSpPr>
          <a:xfrm>
            <a:off x="8301884" y="3030855"/>
            <a:ext cx="1132075" cy="428605"/>
            <a:chOff x="5678488" y="5662613"/>
            <a:chExt cx="769938" cy="292100"/>
          </a:xfrm>
          <a:solidFill>
            <a:schemeClr val="accent1"/>
          </a:solidFill>
        </p:grpSpPr>
        <p:sp>
          <p:nvSpPr>
            <p:cNvPr id="137" name="Freeform 90">
              <a:extLst>
                <a:ext uri="{FF2B5EF4-FFF2-40B4-BE49-F238E27FC236}">
                  <a16:creationId xmlns:a16="http://schemas.microsoft.com/office/drawing/2014/main" id="{6ED88C5F-4F35-47C8-AB66-271609A3A808}"/>
                </a:ext>
              </a:extLst>
            </p:cNvPr>
            <p:cNvSpPr>
              <a:spLocks/>
            </p:cNvSpPr>
            <p:nvPr/>
          </p:nvSpPr>
          <p:spPr bwMode="auto">
            <a:xfrm>
              <a:off x="5678488" y="566261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4 h 46"/>
                <a:gd name="T46" fmla="*/ 355 w 358"/>
                <a:gd name="T47" fmla="*/ 41 h 46"/>
                <a:gd name="T48" fmla="*/ 342 w 358"/>
                <a:gd name="T49" fmla="*/ 36 h 46"/>
                <a:gd name="T50" fmla="*/ 327 w 358"/>
                <a:gd name="T51" fmla="*/ 14 h 46"/>
                <a:gd name="T52" fmla="*/ 305 w 358"/>
                <a:gd name="T53" fmla="*/ 1 h 46"/>
                <a:gd name="T54" fmla="*/ 288 w 358"/>
                <a:gd name="T55" fmla="*/ 8 h 46"/>
                <a:gd name="T56" fmla="*/ 273 w 358"/>
                <a:gd name="T57" fmla="*/ 30 h 46"/>
                <a:gd name="T58" fmla="*/ 254 w 358"/>
                <a:gd name="T59" fmla="*/ 41 h 46"/>
                <a:gd name="T60" fmla="*/ 241 w 358"/>
                <a:gd name="T61" fmla="*/ 36 h 46"/>
                <a:gd name="T62" fmla="*/ 226 w 358"/>
                <a:gd name="T63" fmla="*/ 14 h 46"/>
                <a:gd name="T64" fmla="*/ 204 w 358"/>
                <a:gd name="T65" fmla="*/ 1 h 46"/>
                <a:gd name="T66" fmla="*/ 187 w 358"/>
                <a:gd name="T67" fmla="*/ 8 h 46"/>
                <a:gd name="T68" fmla="*/ 172 w 358"/>
                <a:gd name="T69" fmla="*/ 30 h 46"/>
                <a:gd name="T70" fmla="*/ 154 w 358"/>
                <a:gd name="T71" fmla="*/ 41 h 46"/>
                <a:gd name="T72" fmla="*/ 140 w 358"/>
                <a:gd name="T73" fmla="*/ 36 h 46"/>
                <a:gd name="T74" fmla="*/ 126 w 358"/>
                <a:gd name="T75" fmla="*/ 14 h 46"/>
                <a:gd name="T76" fmla="*/ 103 w 358"/>
                <a:gd name="T77" fmla="*/ 1 h 46"/>
                <a:gd name="T78" fmla="*/ 87 w 358"/>
                <a:gd name="T79" fmla="*/ 8 h 46"/>
                <a:gd name="T80" fmla="*/ 72 w 358"/>
                <a:gd name="T81" fmla="*/ 30 h 46"/>
                <a:gd name="T82" fmla="*/ 53 w 358"/>
                <a:gd name="T83" fmla="*/ 41 h 46"/>
                <a:gd name="T84" fmla="*/ 40 w 358"/>
                <a:gd name="T85" fmla="*/ 36 h 46"/>
                <a:gd name="T86" fmla="*/ 25 w 358"/>
                <a:gd name="T87" fmla="*/ 14 h 46"/>
                <a:gd name="T88" fmla="*/ 3 w 358"/>
                <a:gd name="T89" fmla="*/ 1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5"/>
                    <a:pt x="31" y="32"/>
                  </a:cubicBezTo>
                  <a:cubicBezTo>
                    <a:pt x="36" y="40"/>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5"/>
                    <a:pt x="131" y="32"/>
                  </a:cubicBezTo>
                  <a:cubicBezTo>
                    <a:pt x="137" y="40"/>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5"/>
                    <a:pt x="232" y="32"/>
                  </a:cubicBezTo>
                  <a:cubicBezTo>
                    <a:pt x="237" y="40"/>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5"/>
                    <a:pt x="333" y="32"/>
                  </a:cubicBezTo>
                  <a:cubicBezTo>
                    <a:pt x="338" y="40"/>
                    <a:pt x="345" y="46"/>
                    <a:pt x="355" y="46"/>
                  </a:cubicBezTo>
                  <a:cubicBezTo>
                    <a:pt x="356" y="46"/>
                    <a:pt x="358" y="45"/>
                    <a:pt x="358" y="44"/>
                  </a:cubicBezTo>
                  <a:cubicBezTo>
                    <a:pt x="358" y="43"/>
                    <a:pt x="356" y="41"/>
                    <a:pt x="355" y="41"/>
                  </a:cubicBezTo>
                  <a:cubicBezTo>
                    <a:pt x="350" y="41"/>
                    <a:pt x="346" y="39"/>
                    <a:pt x="342" y="36"/>
                  </a:cubicBezTo>
                  <a:cubicBezTo>
                    <a:pt x="336" y="30"/>
                    <a:pt x="332" y="22"/>
                    <a:pt x="327" y="14"/>
                  </a:cubicBezTo>
                  <a:cubicBezTo>
                    <a:pt x="322" y="7"/>
                    <a:pt x="315" y="0"/>
                    <a:pt x="305" y="1"/>
                  </a:cubicBezTo>
                  <a:cubicBezTo>
                    <a:pt x="298" y="0"/>
                    <a:pt x="292" y="3"/>
                    <a:pt x="288" y="8"/>
                  </a:cubicBezTo>
                  <a:cubicBezTo>
                    <a:pt x="282" y="14"/>
                    <a:pt x="278" y="23"/>
                    <a:pt x="273" y="30"/>
                  </a:cubicBezTo>
                  <a:cubicBezTo>
                    <a:pt x="268" y="37"/>
                    <a:pt x="263" y="41"/>
                    <a:pt x="254" y="41"/>
                  </a:cubicBezTo>
                  <a:cubicBezTo>
                    <a:pt x="249" y="41"/>
                    <a:pt x="245" y="39"/>
                    <a:pt x="241" y="36"/>
                  </a:cubicBezTo>
                  <a:cubicBezTo>
                    <a:pt x="236" y="30"/>
                    <a:pt x="232" y="22"/>
                    <a:pt x="226" y="14"/>
                  </a:cubicBezTo>
                  <a:cubicBezTo>
                    <a:pt x="221" y="7"/>
                    <a:pt x="215" y="0"/>
                    <a:pt x="204" y="1"/>
                  </a:cubicBezTo>
                  <a:cubicBezTo>
                    <a:pt x="197" y="0"/>
                    <a:pt x="192" y="3"/>
                    <a:pt x="187" y="8"/>
                  </a:cubicBezTo>
                  <a:cubicBezTo>
                    <a:pt x="181" y="14"/>
                    <a:pt x="177" y="23"/>
                    <a:pt x="172" y="30"/>
                  </a:cubicBezTo>
                  <a:cubicBezTo>
                    <a:pt x="167" y="37"/>
                    <a:pt x="162" y="41"/>
                    <a:pt x="154" y="41"/>
                  </a:cubicBezTo>
                  <a:cubicBezTo>
                    <a:pt x="148" y="41"/>
                    <a:pt x="144" y="39"/>
                    <a:pt x="140" y="36"/>
                  </a:cubicBezTo>
                  <a:cubicBezTo>
                    <a:pt x="135" y="30"/>
                    <a:pt x="131" y="22"/>
                    <a:pt x="126" y="14"/>
                  </a:cubicBezTo>
                  <a:cubicBezTo>
                    <a:pt x="121" y="7"/>
                    <a:pt x="114" y="0"/>
                    <a:pt x="103" y="1"/>
                  </a:cubicBezTo>
                  <a:cubicBezTo>
                    <a:pt x="96" y="0"/>
                    <a:pt x="91" y="3"/>
                    <a:pt x="87" y="8"/>
                  </a:cubicBezTo>
                  <a:cubicBezTo>
                    <a:pt x="81" y="14"/>
                    <a:pt x="76" y="23"/>
                    <a:pt x="72" y="30"/>
                  </a:cubicBezTo>
                  <a:cubicBezTo>
                    <a:pt x="67" y="37"/>
                    <a:pt x="61" y="41"/>
                    <a:pt x="53" y="41"/>
                  </a:cubicBezTo>
                  <a:cubicBezTo>
                    <a:pt x="48" y="41"/>
                    <a:pt x="44" y="39"/>
                    <a:pt x="40" y="36"/>
                  </a:cubicBezTo>
                  <a:cubicBezTo>
                    <a:pt x="34" y="30"/>
                    <a:pt x="30" y="22"/>
                    <a:pt x="25" y="14"/>
                  </a:cubicBezTo>
                  <a:cubicBezTo>
                    <a:pt x="20" y="7"/>
                    <a:pt x="13" y="0"/>
                    <a:pt x="3" y="1"/>
                  </a:cubicBezTo>
                  <a:cubicBezTo>
                    <a:pt x="2" y="1"/>
                    <a:pt x="0" y="2"/>
                    <a:pt x="0" y="3"/>
                  </a:cubicBezTo>
                  <a:cubicBezTo>
                    <a:pt x="0" y="4"/>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91">
              <a:extLst>
                <a:ext uri="{FF2B5EF4-FFF2-40B4-BE49-F238E27FC236}">
                  <a16:creationId xmlns:a16="http://schemas.microsoft.com/office/drawing/2014/main" id="{40FB1137-454E-4375-9E74-4E321B8E3D1C}"/>
                </a:ext>
              </a:extLst>
            </p:cNvPr>
            <p:cNvSpPr>
              <a:spLocks/>
            </p:cNvSpPr>
            <p:nvPr/>
          </p:nvSpPr>
          <p:spPr bwMode="auto">
            <a:xfrm>
              <a:off x="5678488" y="575786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4"/>
                    <a:pt x="31" y="32"/>
                  </a:cubicBezTo>
                  <a:cubicBezTo>
                    <a:pt x="36" y="39"/>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4"/>
                    <a:pt x="131" y="32"/>
                  </a:cubicBezTo>
                  <a:cubicBezTo>
                    <a:pt x="137" y="39"/>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4"/>
                    <a:pt x="232" y="32"/>
                  </a:cubicBezTo>
                  <a:cubicBezTo>
                    <a:pt x="237" y="39"/>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4"/>
                    <a:pt x="333" y="32"/>
                  </a:cubicBezTo>
                  <a:cubicBezTo>
                    <a:pt x="338" y="39"/>
                    <a:pt x="345" y="46"/>
                    <a:pt x="355" y="46"/>
                  </a:cubicBezTo>
                  <a:cubicBezTo>
                    <a:pt x="356" y="46"/>
                    <a:pt x="358" y="45"/>
                    <a:pt x="358" y="43"/>
                  </a:cubicBezTo>
                  <a:cubicBezTo>
                    <a:pt x="358" y="42"/>
                    <a:pt x="356" y="41"/>
                    <a:pt x="355" y="41"/>
                  </a:cubicBezTo>
                  <a:cubicBezTo>
                    <a:pt x="350" y="41"/>
                    <a:pt x="346" y="39"/>
                    <a:pt x="342" y="35"/>
                  </a:cubicBezTo>
                  <a:cubicBezTo>
                    <a:pt x="336" y="30"/>
                    <a:pt x="332" y="22"/>
                    <a:pt x="327" y="14"/>
                  </a:cubicBezTo>
                  <a:cubicBezTo>
                    <a:pt x="322" y="7"/>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2"/>
                    <a:pt x="226" y="14"/>
                  </a:cubicBezTo>
                  <a:cubicBezTo>
                    <a:pt x="221" y="7"/>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2"/>
                    <a:pt x="126" y="14"/>
                  </a:cubicBezTo>
                  <a:cubicBezTo>
                    <a:pt x="121" y="7"/>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2"/>
                    <a:pt x="25" y="14"/>
                  </a:cubicBezTo>
                  <a:cubicBezTo>
                    <a:pt x="20" y="7"/>
                    <a:pt x="13" y="0"/>
                    <a:pt x="3" y="0"/>
                  </a:cubicBezTo>
                  <a:cubicBezTo>
                    <a:pt x="2" y="0"/>
                    <a:pt x="0" y="1"/>
                    <a:pt x="0" y="3"/>
                  </a:cubicBezTo>
                  <a:cubicBezTo>
                    <a:pt x="0" y="4"/>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92">
              <a:extLst>
                <a:ext uri="{FF2B5EF4-FFF2-40B4-BE49-F238E27FC236}">
                  <a16:creationId xmlns:a16="http://schemas.microsoft.com/office/drawing/2014/main" id="{FEC62684-2CE7-44D0-B026-43A1FB54C60D}"/>
                </a:ext>
              </a:extLst>
            </p:cNvPr>
            <p:cNvSpPr>
              <a:spLocks/>
            </p:cNvSpPr>
            <p:nvPr/>
          </p:nvSpPr>
          <p:spPr bwMode="auto">
            <a:xfrm>
              <a:off x="5678488" y="5853113"/>
              <a:ext cx="769938" cy="101600"/>
            </a:xfrm>
            <a:custGeom>
              <a:avLst/>
              <a:gdLst>
                <a:gd name="T0" fmla="*/ 3 w 358"/>
                <a:gd name="T1" fmla="*/ 5 h 46"/>
                <a:gd name="T2" fmla="*/ 16 w 358"/>
                <a:gd name="T3" fmla="*/ 10 h 46"/>
                <a:gd name="T4" fmla="*/ 31 w 358"/>
                <a:gd name="T5" fmla="*/ 32 h 46"/>
                <a:gd name="T6" fmla="*/ 53 w 358"/>
                <a:gd name="T7" fmla="*/ 45 h 46"/>
                <a:gd name="T8" fmla="*/ 70 w 358"/>
                <a:gd name="T9" fmla="*/ 38 h 46"/>
                <a:gd name="T10" fmla="*/ 85 w 358"/>
                <a:gd name="T11" fmla="*/ 16 h 46"/>
                <a:gd name="T12" fmla="*/ 103 w 358"/>
                <a:gd name="T13" fmla="*/ 5 h 46"/>
                <a:gd name="T14" fmla="*/ 117 w 358"/>
                <a:gd name="T15" fmla="*/ 10 h 46"/>
                <a:gd name="T16" fmla="*/ 131 w 358"/>
                <a:gd name="T17" fmla="*/ 32 h 46"/>
                <a:gd name="T18" fmla="*/ 154 w 358"/>
                <a:gd name="T19" fmla="*/ 45 h 46"/>
                <a:gd name="T20" fmla="*/ 170 w 358"/>
                <a:gd name="T21" fmla="*/ 38 h 46"/>
                <a:gd name="T22" fmla="*/ 186 w 358"/>
                <a:gd name="T23" fmla="*/ 16 h 46"/>
                <a:gd name="T24" fmla="*/ 204 w 358"/>
                <a:gd name="T25" fmla="*/ 5 h 46"/>
                <a:gd name="T26" fmla="*/ 217 w 358"/>
                <a:gd name="T27" fmla="*/ 10 h 46"/>
                <a:gd name="T28" fmla="*/ 232 w 358"/>
                <a:gd name="T29" fmla="*/ 32 h 46"/>
                <a:gd name="T30" fmla="*/ 254 w 358"/>
                <a:gd name="T31" fmla="*/ 45 h 46"/>
                <a:gd name="T32" fmla="*/ 271 w 358"/>
                <a:gd name="T33" fmla="*/ 38 h 46"/>
                <a:gd name="T34" fmla="*/ 286 w 358"/>
                <a:gd name="T35" fmla="*/ 16 h 46"/>
                <a:gd name="T36" fmla="*/ 305 w 358"/>
                <a:gd name="T37" fmla="*/ 5 h 46"/>
                <a:gd name="T38" fmla="*/ 318 w 358"/>
                <a:gd name="T39" fmla="*/ 10 h 46"/>
                <a:gd name="T40" fmla="*/ 333 w 358"/>
                <a:gd name="T41" fmla="*/ 32 h 46"/>
                <a:gd name="T42" fmla="*/ 355 w 358"/>
                <a:gd name="T43" fmla="*/ 45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2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0"/>
                  </a:cubicBezTo>
                  <a:cubicBezTo>
                    <a:pt x="22" y="16"/>
                    <a:pt x="26" y="24"/>
                    <a:pt x="31" y="32"/>
                  </a:cubicBezTo>
                  <a:cubicBezTo>
                    <a:pt x="36" y="39"/>
                    <a:pt x="43" y="46"/>
                    <a:pt x="53" y="45"/>
                  </a:cubicBezTo>
                  <a:cubicBezTo>
                    <a:pt x="60" y="46"/>
                    <a:pt x="66" y="43"/>
                    <a:pt x="70" y="38"/>
                  </a:cubicBezTo>
                  <a:cubicBezTo>
                    <a:pt x="76" y="32"/>
                    <a:pt x="80" y="23"/>
                    <a:pt x="85" y="16"/>
                  </a:cubicBezTo>
                  <a:cubicBezTo>
                    <a:pt x="90" y="9"/>
                    <a:pt x="95" y="5"/>
                    <a:pt x="103" y="5"/>
                  </a:cubicBezTo>
                  <a:cubicBezTo>
                    <a:pt x="109" y="5"/>
                    <a:pt x="113" y="7"/>
                    <a:pt x="117" y="10"/>
                  </a:cubicBezTo>
                  <a:cubicBezTo>
                    <a:pt x="122" y="16"/>
                    <a:pt x="126" y="24"/>
                    <a:pt x="131" y="32"/>
                  </a:cubicBezTo>
                  <a:cubicBezTo>
                    <a:pt x="137" y="39"/>
                    <a:pt x="143" y="46"/>
                    <a:pt x="154" y="45"/>
                  </a:cubicBezTo>
                  <a:cubicBezTo>
                    <a:pt x="161" y="46"/>
                    <a:pt x="166" y="43"/>
                    <a:pt x="170" y="38"/>
                  </a:cubicBezTo>
                  <a:cubicBezTo>
                    <a:pt x="177" y="32"/>
                    <a:pt x="181" y="23"/>
                    <a:pt x="186" y="16"/>
                  </a:cubicBezTo>
                  <a:cubicBezTo>
                    <a:pt x="191" y="9"/>
                    <a:pt x="196" y="5"/>
                    <a:pt x="204" y="5"/>
                  </a:cubicBezTo>
                  <a:cubicBezTo>
                    <a:pt x="210" y="5"/>
                    <a:pt x="214" y="7"/>
                    <a:pt x="217" y="10"/>
                  </a:cubicBezTo>
                  <a:cubicBezTo>
                    <a:pt x="223" y="16"/>
                    <a:pt x="227" y="24"/>
                    <a:pt x="232" y="32"/>
                  </a:cubicBezTo>
                  <a:cubicBezTo>
                    <a:pt x="237" y="39"/>
                    <a:pt x="244" y="46"/>
                    <a:pt x="254" y="45"/>
                  </a:cubicBezTo>
                  <a:cubicBezTo>
                    <a:pt x="261" y="46"/>
                    <a:pt x="267" y="43"/>
                    <a:pt x="271" y="38"/>
                  </a:cubicBezTo>
                  <a:cubicBezTo>
                    <a:pt x="277" y="32"/>
                    <a:pt x="281" y="23"/>
                    <a:pt x="286" y="16"/>
                  </a:cubicBezTo>
                  <a:cubicBezTo>
                    <a:pt x="291" y="9"/>
                    <a:pt x="296" y="5"/>
                    <a:pt x="305" y="5"/>
                  </a:cubicBezTo>
                  <a:cubicBezTo>
                    <a:pt x="310" y="5"/>
                    <a:pt x="314" y="7"/>
                    <a:pt x="318" y="10"/>
                  </a:cubicBezTo>
                  <a:cubicBezTo>
                    <a:pt x="324" y="16"/>
                    <a:pt x="328" y="24"/>
                    <a:pt x="333" y="32"/>
                  </a:cubicBezTo>
                  <a:cubicBezTo>
                    <a:pt x="338" y="39"/>
                    <a:pt x="345" y="46"/>
                    <a:pt x="355" y="45"/>
                  </a:cubicBezTo>
                  <a:cubicBezTo>
                    <a:pt x="356" y="45"/>
                    <a:pt x="358" y="44"/>
                    <a:pt x="358" y="43"/>
                  </a:cubicBezTo>
                  <a:cubicBezTo>
                    <a:pt x="358" y="42"/>
                    <a:pt x="356" y="41"/>
                    <a:pt x="355" y="41"/>
                  </a:cubicBezTo>
                  <a:cubicBezTo>
                    <a:pt x="350" y="41"/>
                    <a:pt x="346" y="39"/>
                    <a:pt x="342" y="35"/>
                  </a:cubicBezTo>
                  <a:cubicBezTo>
                    <a:pt x="336" y="30"/>
                    <a:pt x="332" y="21"/>
                    <a:pt x="327" y="14"/>
                  </a:cubicBezTo>
                  <a:cubicBezTo>
                    <a:pt x="322" y="6"/>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1"/>
                    <a:pt x="226" y="14"/>
                  </a:cubicBezTo>
                  <a:cubicBezTo>
                    <a:pt x="221" y="6"/>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1"/>
                    <a:pt x="126" y="14"/>
                  </a:cubicBezTo>
                  <a:cubicBezTo>
                    <a:pt x="121" y="6"/>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1"/>
                    <a:pt x="25" y="14"/>
                  </a:cubicBezTo>
                  <a:cubicBezTo>
                    <a:pt x="20" y="6"/>
                    <a:pt x="13" y="0"/>
                    <a:pt x="3" y="0"/>
                  </a:cubicBezTo>
                  <a:cubicBezTo>
                    <a:pt x="2" y="0"/>
                    <a:pt x="0" y="1"/>
                    <a:pt x="0" y="2"/>
                  </a:cubicBezTo>
                  <a:cubicBezTo>
                    <a:pt x="0" y="3"/>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0" name="Group 139">
            <a:extLst>
              <a:ext uri="{FF2B5EF4-FFF2-40B4-BE49-F238E27FC236}">
                <a16:creationId xmlns:a16="http://schemas.microsoft.com/office/drawing/2014/main" id="{56A490A5-0900-4723-8FB8-31ADC43B6E66}"/>
              </a:ext>
            </a:extLst>
          </p:cNvPr>
          <p:cNvGrpSpPr/>
          <p:nvPr/>
        </p:nvGrpSpPr>
        <p:grpSpPr>
          <a:xfrm>
            <a:off x="1834734" y="2194560"/>
            <a:ext cx="509004" cy="509004"/>
            <a:chOff x="987706" y="2608489"/>
            <a:chExt cx="1038422" cy="1038422"/>
          </a:xfrm>
        </p:grpSpPr>
        <p:sp>
          <p:nvSpPr>
            <p:cNvPr id="141" name="Oval 140">
              <a:extLst>
                <a:ext uri="{FF2B5EF4-FFF2-40B4-BE49-F238E27FC236}">
                  <a16:creationId xmlns:a16="http://schemas.microsoft.com/office/drawing/2014/main" id="{B18FAEF6-D301-45C9-908B-853233FAEC6D}"/>
                </a:ext>
              </a:extLst>
            </p:cNvPr>
            <p:cNvSpPr/>
            <p:nvPr/>
          </p:nvSpPr>
          <p:spPr>
            <a:xfrm>
              <a:off x="987706" y="2608489"/>
              <a:ext cx="1038422" cy="1038422"/>
            </a:xfrm>
            <a:prstGeom prst="ellipse">
              <a:avLst/>
            </a:prstGeom>
            <a:pattFill prst="wdUpDiag">
              <a:fgClr>
                <a:schemeClr val="accent2">
                  <a:lumMod val="60000"/>
                  <a:lumOff val="40000"/>
                </a:schemeClr>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u="none" strike="noStrike" kern="0" cap="none" spc="0" normalizeH="0" baseline="0" noProof="0" dirty="0">
                <a:ln>
                  <a:noFill/>
                </a:ln>
                <a:solidFill>
                  <a:srgbClr val="1E4471"/>
                </a:solidFill>
                <a:effectLst/>
                <a:uLnTx/>
                <a:uFillTx/>
                <a:ea typeface="+mn-ea"/>
                <a:cs typeface="+mn-cs"/>
              </a:endParaRPr>
            </a:p>
          </p:txBody>
        </p:sp>
        <p:sp>
          <p:nvSpPr>
            <p:cNvPr id="142" name="Oval 141">
              <a:extLst>
                <a:ext uri="{FF2B5EF4-FFF2-40B4-BE49-F238E27FC236}">
                  <a16:creationId xmlns:a16="http://schemas.microsoft.com/office/drawing/2014/main" id="{8CE41A00-D19E-4E77-9C5A-477B37AA2B90}"/>
                </a:ext>
              </a:extLst>
            </p:cNvPr>
            <p:cNvSpPr/>
            <p:nvPr/>
          </p:nvSpPr>
          <p:spPr>
            <a:xfrm>
              <a:off x="1097280" y="2718063"/>
              <a:ext cx="928848" cy="928848"/>
            </a:xfrm>
            <a:prstGeom prst="ellipse">
              <a:avLst/>
            </a:prstGeom>
            <a:solidFill>
              <a:schemeClr val="accent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solidFill>
                  <a:schemeClr val="bg2"/>
                </a:solidFill>
              </a:endParaRPr>
            </a:p>
          </p:txBody>
        </p:sp>
      </p:grpSp>
      <p:sp>
        <p:nvSpPr>
          <p:cNvPr id="4" name="Footer Placeholder 3">
            <a:extLst>
              <a:ext uri="{FF2B5EF4-FFF2-40B4-BE49-F238E27FC236}">
                <a16:creationId xmlns:a16="http://schemas.microsoft.com/office/drawing/2014/main" id="{69672D11-E4C5-4C12-8248-69B422FCE378}"/>
              </a:ext>
            </a:extLst>
          </p:cNvPr>
          <p:cNvSpPr>
            <a:spLocks noGrp="1"/>
          </p:cNvSpPr>
          <p:nvPr>
            <p:ph type="ftr" sz="quarter" idx="10"/>
          </p:nvPr>
        </p:nvSpPr>
        <p:spPr/>
        <p:txBody>
          <a:bodyPr/>
          <a:lstStyle/>
          <a:p>
            <a:r>
              <a:rPr lang="en-US" dirty="0"/>
              <a:t>© 2020 Cisco and/or its affiliates. All rights reserved. Cisco Confidential</a:t>
            </a:r>
          </a:p>
        </p:txBody>
      </p:sp>
      <p:sp>
        <p:nvSpPr>
          <p:cNvPr id="2" name="Title 1">
            <a:extLst>
              <a:ext uri="{FF2B5EF4-FFF2-40B4-BE49-F238E27FC236}">
                <a16:creationId xmlns:a16="http://schemas.microsoft.com/office/drawing/2014/main" id="{FA0BE187-2788-4615-8701-F892CE34BE42}"/>
              </a:ext>
            </a:extLst>
          </p:cNvPr>
          <p:cNvSpPr>
            <a:spLocks noGrp="1"/>
          </p:cNvSpPr>
          <p:nvPr>
            <p:ph type="title"/>
          </p:nvPr>
        </p:nvSpPr>
        <p:spPr>
          <a:xfrm>
            <a:off x="533400" y="481807"/>
            <a:ext cx="11127317" cy="787908"/>
          </a:xfrm>
        </p:spPr>
        <p:txBody>
          <a:bodyPr/>
          <a:lstStyle/>
          <a:p>
            <a:r>
              <a:rPr lang="en-US" sz="3200" dirty="0"/>
              <a:t>Bolster the last line of defense through Cisco AMP for Endpoints integration</a:t>
            </a:r>
          </a:p>
        </p:txBody>
      </p:sp>
      <p:sp>
        <p:nvSpPr>
          <p:cNvPr id="16" name="Rectangle 15">
            <a:extLst>
              <a:ext uri="{FF2B5EF4-FFF2-40B4-BE49-F238E27FC236}">
                <a16:creationId xmlns:a16="http://schemas.microsoft.com/office/drawing/2014/main" id="{48BCC141-35F8-4DBF-A89B-DB86585EC1A7}"/>
              </a:ext>
            </a:extLst>
          </p:cNvPr>
          <p:cNvSpPr/>
          <p:nvPr/>
        </p:nvSpPr>
        <p:spPr>
          <a:xfrm>
            <a:off x="533400" y="4679234"/>
            <a:ext cx="3111673" cy="830997"/>
          </a:xfrm>
          <a:prstGeom prst="rect">
            <a:avLst/>
          </a:prstGeom>
        </p:spPr>
        <p:txBody>
          <a:bodyPr wrap="square">
            <a:spAutoFit/>
          </a:bodyPr>
          <a:lstStyle/>
          <a:p>
            <a:pPr algn="ctr"/>
            <a:r>
              <a:rPr lang="en-US" sz="1600" dirty="0">
                <a:solidFill>
                  <a:schemeClr val="bg1"/>
                </a:solidFill>
              </a:rPr>
              <a:t>Protect, detect and respond to</a:t>
            </a:r>
            <a:br>
              <a:rPr lang="en-US" sz="1600" dirty="0">
                <a:solidFill>
                  <a:schemeClr val="bg1"/>
                </a:solidFill>
              </a:rPr>
            </a:br>
            <a:r>
              <a:rPr lang="en-US" sz="1600" dirty="0">
                <a:solidFill>
                  <a:schemeClr val="bg1"/>
                </a:solidFill>
              </a:rPr>
              <a:t>threats continuously with advanced EPP and EDR</a:t>
            </a:r>
          </a:p>
        </p:txBody>
      </p:sp>
      <p:sp>
        <p:nvSpPr>
          <p:cNvPr id="17" name="Rectangle 16">
            <a:extLst>
              <a:ext uri="{FF2B5EF4-FFF2-40B4-BE49-F238E27FC236}">
                <a16:creationId xmlns:a16="http://schemas.microsoft.com/office/drawing/2014/main" id="{817D5061-2091-4EFF-9524-23E313A910A9}"/>
              </a:ext>
            </a:extLst>
          </p:cNvPr>
          <p:cNvSpPr/>
          <p:nvPr/>
        </p:nvSpPr>
        <p:spPr>
          <a:xfrm>
            <a:off x="3909790" y="4679234"/>
            <a:ext cx="3111673" cy="830997"/>
          </a:xfrm>
          <a:prstGeom prst="rect">
            <a:avLst/>
          </a:prstGeom>
        </p:spPr>
        <p:txBody>
          <a:bodyPr wrap="square">
            <a:spAutoFit/>
          </a:bodyPr>
          <a:lstStyle/>
          <a:p>
            <a:pPr algn="ctr"/>
            <a:r>
              <a:rPr lang="en-US" sz="1600" dirty="0">
                <a:solidFill>
                  <a:schemeClr val="bg1"/>
                </a:solidFill>
              </a:rPr>
              <a:t>Leverage global</a:t>
            </a:r>
            <a:br>
              <a:rPr lang="en-US" sz="1600" dirty="0">
                <a:solidFill>
                  <a:schemeClr val="bg1"/>
                </a:solidFill>
              </a:rPr>
            </a:br>
            <a:r>
              <a:rPr lang="en-US" sz="1600" dirty="0">
                <a:solidFill>
                  <a:schemeClr val="bg1"/>
                </a:solidFill>
              </a:rPr>
              <a:t>threat intelligence via</a:t>
            </a:r>
            <a:br>
              <a:rPr lang="en-US" sz="1600" dirty="0">
                <a:solidFill>
                  <a:schemeClr val="bg1"/>
                </a:solidFill>
              </a:rPr>
            </a:br>
            <a:r>
              <a:rPr lang="en-US" sz="1600" dirty="0">
                <a:solidFill>
                  <a:schemeClr val="bg1"/>
                </a:solidFill>
              </a:rPr>
              <a:t>Cisco Talos </a:t>
            </a:r>
          </a:p>
        </p:txBody>
      </p:sp>
      <p:sp>
        <p:nvSpPr>
          <p:cNvPr id="18" name="Rectangle 17">
            <a:extLst>
              <a:ext uri="{FF2B5EF4-FFF2-40B4-BE49-F238E27FC236}">
                <a16:creationId xmlns:a16="http://schemas.microsoft.com/office/drawing/2014/main" id="{20D65B4C-9E99-434C-9329-BDD470DEB0B1}"/>
              </a:ext>
            </a:extLst>
          </p:cNvPr>
          <p:cNvSpPr/>
          <p:nvPr/>
        </p:nvSpPr>
        <p:spPr>
          <a:xfrm>
            <a:off x="7286179" y="4679234"/>
            <a:ext cx="3111673" cy="584775"/>
          </a:xfrm>
          <a:prstGeom prst="rect">
            <a:avLst/>
          </a:prstGeom>
        </p:spPr>
        <p:txBody>
          <a:bodyPr wrap="square">
            <a:spAutoFit/>
          </a:bodyPr>
          <a:lstStyle/>
          <a:p>
            <a:pPr algn="ctr"/>
            <a:r>
              <a:rPr lang="en-US" sz="1600" dirty="0">
                <a:solidFill>
                  <a:schemeClr val="bg1"/>
                </a:solidFill>
              </a:rPr>
              <a:t>Isolate and eliminate threats across all control points</a:t>
            </a:r>
          </a:p>
        </p:txBody>
      </p:sp>
      <p:sp>
        <p:nvSpPr>
          <p:cNvPr id="23" name="Text Placeholder 3">
            <a:extLst>
              <a:ext uri="{FF2B5EF4-FFF2-40B4-BE49-F238E27FC236}">
                <a16:creationId xmlns:a16="http://schemas.microsoft.com/office/drawing/2014/main" id="{4411806C-6742-4001-8E84-57FB6E37CBFB}"/>
              </a:ext>
            </a:extLst>
          </p:cNvPr>
          <p:cNvSpPr txBox="1">
            <a:spLocks/>
          </p:cNvSpPr>
          <p:nvPr/>
        </p:nvSpPr>
        <p:spPr>
          <a:xfrm>
            <a:off x="533399" y="1456307"/>
            <a:ext cx="8660653" cy="347231"/>
          </a:xfrm>
          <a:prstGeom prst="rect">
            <a:avLst/>
          </a:prstGeom>
          <a:noFill/>
        </p:spPr>
        <p:txBody>
          <a:bodyPr wrap="square" lIns="0" tIns="0" rIns="0" bIns="0" rtlCol="0">
            <a:noAutofit/>
          </a:bodyPr>
          <a:lstStyle>
            <a:lvl1pPr marL="0" indent="0" algn="l" defTabSz="912239" rtl="0" eaLnBrk="1" fontAlgn="base" hangingPunct="1">
              <a:lnSpc>
                <a:spcPct val="95000"/>
              </a:lnSpc>
              <a:spcBef>
                <a:spcPts val="1433"/>
              </a:spcBef>
              <a:spcAft>
                <a:spcPct val="0"/>
              </a:spcAft>
              <a:buClr>
                <a:schemeClr val="tx2"/>
              </a:buClr>
              <a:buSzPct val="90000"/>
              <a:buFont typeface="Arial" charset="0"/>
              <a:buNone/>
              <a:defRPr lang="en-US" sz="1400" kern="1200" smtClean="0">
                <a:solidFill>
                  <a:schemeClr val="accent1"/>
                </a:solidFill>
                <a:latin typeface="+mn-lt"/>
                <a:ea typeface="+mn-ea"/>
                <a:cs typeface="+mn-cs"/>
              </a:defRPr>
            </a:lvl1pPr>
            <a:lvl2pPr marL="169349" indent="0" algn="l" defTabSz="912239" rtl="0" eaLnBrk="1" fontAlgn="base" hangingPunct="1">
              <a:lnSpc>
                <a:spcPct val="95000"/>
              </a:lnSpc>
              <a:spcBef>
                <a:spcPts val="800"/>
              </a:spcBef>
              <a:spcAft>
                <a:spcPct val="0"/>
              </a:spcAft>
              <a:buClr>
                <a:schemeClr val="tx2"/>
              </a:buClr>
              <a:buFont typeface="Arial" charset="0"/>
              <a:buNone/>
              <a:defRPr lang="en-US" sz="1800" kern="1200" smtClean="0">
                <a:solidFill>
                  <a:schemeClr val="tx1"/>
                </a:solidFill>
                <a:latin typeface="+mn-lt"/>
                <a:ea typeface="+mn-ea"/>
                <a:cs typeface="+mn-cs"/>
              </a:defRPr>
            </a:lvl2pPr>
            <a:lvl3pPr marL="575704" indent="-226473" algn="l" defTabSz="912239" rtl="0" eaLnBrk="1" fontAlgn="base" hangingPunct="1">
              <a:lnSpc>
                <a:spcPct val="95000"/>
              </a:lnSpc>
              <a:spcBef>
                <a:spcPts val="833"/>
              </a:spcBef>
              <a:spcAft>
                <a:spcPct val="0"/>
              </a:spcAft>
              <a:buFont typeface="Arial" charset="0"/>
              <a:buChar char="•"/>
              <a:defRPr lang="en-US" sz="1800" kern="1200" smtClean="0">
                <a:solidFill>
                  <a:schemeClr val="tx1"/>
                </a:solidFill>
                <a:latin typeface="+mn-lt"/>
                <a:ea typeface="+mn-ea"/>
                <a:cs typeface="+mn-cs"/>
              </a:defRPr>
            </a:lvl3pPr>
            <a:lvl4pPr marL="670950" indent="-226473" algn="l" defTabSz="912239" rtl="0" eaLnBrk="1" fontAlgn="base" hangingPunct="1">
              <a:lnSpc>
                <a:spcPct val="95000"/>
              </a:lnSpc>
              <a:spcBef>
                <a:spcPts val="833"/>
              </a:spcBef>
              <a:spcAft>
                <a:spcPct val="0"/>
              </a:spcAft>
              <a:buFont typeface="Arial" charset="0"/>
              <a:buChar char="•"/>
              <a:defRPr lang="en-US" sz="1800" kern="1200" smtClean="0">
                <a:solidFill>
                  <a:schemeClr val="tx1"/>
                </a:solidFill>
                <a:latin typeface="+mn-lt"/>
                <a:ea typeface="+mn-ea"/>
                <a:cs typeface="+mn-cs"/>
              </a:defRPr>
            </a:lvl4pPr>
            <a:lvl5pPr marL="766196" indent="-226473" algn="l" defTabSz="912239" rtl="0" eaLnBrk="1" fontAlgn="base" hangingPunct="1">
              <a:lnSpc>
                <a:spcPct val="95000"/>
              </a:lnSpc>
              <a:spcBef>
                <a:spcPts val="833"/>
              </a:spcBef>
              <a:spcAft>
                <a:spcPct val="0"/>
              </a:spcAft>
              <a:buFont typeface="Arial" charset="0"/>
              <a:buChar char="•"/>
              <a:defRPr lang="en-US" sz="1800" kern="1200">
                <a:solidFill>
                  <a:schemeClr val="tx1"/>
                </a:solidFill>
                <a:latin typeface="+mn-lt"/>
                <a:ea typeface="+mn-ea"/>
                <a:cs typeface="+mn-cs"/>
              </a:defRPr>
            </a:lvl5pPr>
            <a:lvl6pPr marL="1151750" indent="-228582" algn="l" defTabSz="914324"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30" indent="-228552" algn="l" defTabSz="914324"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133" indent="0" algn="l" defTabSz="914324" rtl="0" eaLnBrk="1" latinLnBrk="0" hangingPunct="1">
              <a:spcBef>
                <a:spcPct val="20000"/>
              </a:spcBef>
              <a:buFont typeface="Arial" pitchFamily="34" charset="0"/>
              <a:buNone/>
              <a:defRPr sz="2000" kern="1200">
                <a:solidFill>
                  <a:schemeClr val="tx1"/>
                </a:solidFill>
                <a:latin typeface="+mn-lt"/>
                <a:ea typeface="+mn-ea"/>
                <a:cs typeface="+mn-cs"/>
              </a:defRPr>
            </a:lvl8pPr>
            <a:lvl9pPr marL="3885878" indent="-228582" algn="l" defTabSz="91432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ctr"/>
            <a:r>
              <a:rPr lang="en-US" sz="2400" dirty="0"/>
              <a:t>Complete threat protection across all control points</a:t>
            </a:r>
          </a:p>
        </p:txBody>
      </p:sp>
      <p:sp>
        <p:nvSpPr>
          <p:cNvPr id="24" name="Rectangle 10">
            <a:extLst>
              <a:ext uri="{FF2B5EF4-FFF2-40B4-BE49-F238E27FC236}">
                <a16:creationId xmlns:a16="http://schemas.microsoft.com/office/drawing/2014/main" id="{14BC2D27-2D97-4498-A428-E17D73314503}"/>
              </a:ext>
            </a:extLst>
          </p:cNvPr>
          <p:cNvSpPr/>
          <p:nvPr/>
        </p:nvSpPr>
        <p:spPr>
          <a:xfrm>
            <a:off x="11204294" y="2303362"/>
            <a:ext cx="0" cy="3840480"/>
          </a:xfrm>
          <a:custGeom>
            <a:avLst/>
            <a:gdLst>
              <a:gd name="connsiteX0" fmla="*/ 0 w 11658600"/>
              <a:gd name="connsiteY0" fmla="*/ 0 h 5139159"/>
              <a:gd name="connsiteX1" fmla="*/ 11658600 w 11658600"/>
              <a:gd name="connsiteY1" fmla="*/ 0 h 5139159"/>
              <a:gd name="connsiteX2" fmla="*/ 11658600 w 11658600"/>
              <a:gd name="connsiteY2" fmla="*/ 5139159 h 5139159"/>
              <a:gd name="connsiteX3" fmla="*/ 0 w 11658600"/>
              <a:gd name="connsiteY3" fmla="*/ 5139159 h 5139159"/>
              <a:gd name="connsiteX4" fmla="*/ 0 w 11658600"/>
              <a:gd name="connsiteY4" fmla="*/ 0 h 5139159"/>
              <a:gd name="connsiteX0" fmla="*/ 0 w 11658600"/>
              <a:gd name="connsiteY0" fmla="*/ 0 h 5139159"/>
              <a:gd name="connsiteX1" fmla="*/ 11658600 w 11658600"/>
              <a:gd name="connsiteY1" fmla="*/ 0 h 5139159"/>
              <a:gd name="connsiteX2" fmla="*/ 11658600 w 11658600"/>
              <a:gd name="connsiteY2" fmla="*/ 5139159 h 5139159"/>
              <a:gd name="connsiteX3" fmla="*/ 0 w 11658600"/>
              <a:gd name="connsiteY3" fmla="*/ 5139159 h 5139159"/>
              <a:gd name="connsiteX4" fmla="*/ 91440 w 11658600"/>
              <a:gd name="connsiteY4" fmla="*/ 91440 h 5139159"/>
              <a:gd name="connsiteX0" fmla="*/ 0 w 11658600"/>
              <a:gd name="connsiteY0" fmla="*/ 0 h 5139159"/>
              <a:gd name="connsiteX1" fmla="*/ 11658600 w 11658600"/>
              <a:gd name="connsiteY1" fmla="*/ 0 h 5139159"/>
              <a:gd name="connsiteX2" fmla="*/ 11658600 w 11658600"/>
              <a:gd name="connsiteY2" fmla="*/ 5139159 h 5139159"/>
              <a:gd name="connsiteX3" fmla="*/ 0 w 11658600"/>
              <a:gd name="connsiteY3" fmla="*/ 5139159 h 5139159"/>
              <a:gd name="connsiteX0" fmla="*/ 0 w 11658600"/>
              <a:gd name="connsiteY0" fmla="*/ 0 h 5139159"/>
              <a:gd name="connsiteX1" fmla="*/ 11658600 w 11658600"/>
              <a:gd name="connsiteY1" fmla="*/ 0 h 5139159"/>
              <a:gd name="connsiteX2" fmla="*/ 11658600 w 11658600"/>
              <a:gd name="connsiteY2" fmla="*/ 5139159 h 5139159"/>
              <a:gd name="connsiteX0" fmla="*/ 0 w 0"/>
              <a:gd name="connsiteY0" fmla="*/ 0 h 5139159"/>
              <a:gd name="connsiteX1" fmla="*/ 0 w 0"/>
              <a:gd name="connsiteY1" fmla="*/ 5139159 h 5139159"/>
            </a:gdLst>
            <a:ahLst/>
            <a:cxnLst>
              <a:cxn ang="0">
                <a:pos x="connsiteX0" y="connsiteY0"/>
              </a:cxn>
              <a:cxn ang="0">
                <a:pos x="connsiteX1" y="connsiteY1"/>
              </a:cxn>
            </a:cxnLst>
            <a:rect l="l" t="t" r="r" b="b"/>
            <a:pathLst>
              <a:path h="5139159">
                <a:moveTo>
                  <a:pt x="0" y="0"/>
                </a:moveTo>
                <a:lnTo>
                  <a:pt x="0" y="5139159"/>
                </a:lnTo>
              </a:path>
            </a:pathLst>
          </a:custGeom>
          <a:noFill/>
          <a:ln w="63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DCCD939C-0653-49CB-AFDD-AD6B718F539E}"/>
              </a:ext>
            </a:extLst>
          </p:cNvPr>
          <p:cNvSpPr/>
          <p:nvPr/>
        </p:nvSpPr>
        <p:spPr>
          <a:xfrm>
            <a:off x="10412694" y="1517905"/>
            <a:ext cx="1570916" cy="1570914"/>
          </a:xfrm>
          <a:prstGeom prst="ellipse">
            <a:avLst/>
          </a:prstGeom>
          <a:solidFill>
            <a:schemeClr val="bg2"/>
          </a:solidFill>
          <a:ln w="63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9" name="Straight Connector 28">
            <a:extLst>
              <a:ext uri="{FF2B5EF4-FFF2-40B4-BE49-F238E27FC236}">
                <a16:creationId xmlns:a16="http://schemas.microsoft.com/office/drawing/2014/main" id="{949FD54C-6817-495D-A53F-2008190125DF}"/>
              </a:ext>
            </a:extLst>
          </p:cNvPr>
          <p:cNvCxnSpPr>
            <a:cxnSpLocks/>
          </p:cNvCxnSpPr>
          <p:nvPr/>
        </p:nvCxnSpPr>
        <p:spPr>
          <a:xfrm>
            <a:off x="0" y="6086004"/>
            <a:ext cx="10607886"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98C6A058-B20D-4D0D-88D7-4FEA39D59976}"/>
              </a:ext>
            </a:extLst>
          </p:cNvPr>
          <p:cNvGrpSpPr/>
          <p:nvPr/>
        </p:nvGrpSpPr>
        <p:grpSpPr>
          <a:xfrm>
            <a:off x="10607886" y="5385397"/>
            <a:ext cx="697419" cy="799258"/>
            <a:chOff x="14183664" y="221508"/>
            <a:chExt cx="1531860" cy="1755547"/>
          </a:xfrm>
        </p:grpSpPr>
        <p:sp>
          <p:nvSpPr>
            <p:cNvPr id="60" name="Oval 59">
              <a:extLst>
                <a:ext uri="{FF2B5EF4-FFF2-40B4-BE49-F238E27FC236}">
                  <a16:creationId xmlns:a16="http://schemas.microsoft.com/office/drawing/2014/main" id="{0DDDFA77-9E0D-4B61-AB28-B25ED5075779}"/>
                </a:ext>
              </a:extLst>
            </p:cNvPr>
            <p:cNvSpPr/>
            <p:nvPr/>
          </p:nvSpPr>
          <p:spPr>
            <a:xfrm>
              <a:off x="14183664" y="1637009"/>
              <a:ext cx="246724" cy="246724"/>
            </a:xfrm>
            <a:prstGeom prst="ellipse">
              <a:avLst/>
            </a:prstGeom>
            <a:solidFill>
              <a:srgbClr val="74BF4B"/>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u="none" strike="noStrike" kern="0" cap="none" spc="0" normalizeH="0" baseline="0" noProof="0" dirty="0">
                <a:ln>
                  <a:noFill/>
                </a:ln>
                <a:solidFill>
                  <a:srgbClr val="1E4471"/>
                </a:solidFill>
                <a:effectLst/>
                <a:uLnTx/>
                <a:uFillTx/>
                <a:ea typeface="+mn-ea"/>
                <a:cs typeface="+mn-cs"/>
              </a:endParaRPr>
            </a:p>
          </p:txBody>
        </p:sp>
        <p:sp>
          <p:nvSpPr>
            <p:cNvPr id="61" name="Freeform: Shape 60">
              <a:extLst>
                <a:ext uri="{FF2B5EF4-FFF2-40B4-BE49-F238E27FC236}">
                  <a16:creationId xmlns:a16="http://schemas.microsoft.com/office/drawing/2014/main" id="{BDA5270A-651A-4BE4-B03C-DBF3FE795862}"/>
                </a:ext>
              </a:extLst>
            </p:cNvPr>
            <p:cNvSpPr/>
            <p:nvPr/>
          </p:nvSpPr>
          <p:spPr>
            <a:xfrm>
              <a:off x="15282156" y="221508"/>
              <a:ext cx="433368" cy="433368"/>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rgbClr val="1E4471"/>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u="none" strike="noStrike" kern="0" cap="none" spc="0" normalizeH="0" baseline="0" noProof="0" dirty="0">
                <a:ln>
                  <a:noFill/>
                </a:ln>
                <a:solidFill>
                  <a:srgbClr val="FFFFFF"/>
                </a:solidFill>
                <a:effectLst/>
                <a:uLnTx/>
                <a:uFillTx/>
              </a:endParaRPr>
            </a:p>
          </p:txBody>
        </p:sp>
        <p:sp>
          <p:nvSpPr>
            <p:cNvPr id="62" name="Rectangle: Rounded Corners 61">
              <a:extLst>
                <a:ext uri="{FF2B5EF4-FFF2-40B4-BE49-F238E27FC236}">
                  <a16:creationId xmlns:a16="http://schemas.microsoft.com/office/drawing/2014/main" id="{3CD97060-33C3-4019-8590-479F898BDC6F}"/>
                </a:ext>
              </a:extLst>
            </p:cNvPr>
            <p:cNvSpPr/>
            <p:nvPr/>
          </p:nvSpPr>
          <p:spPr>
            <a:xfrm>
              <a:off x="15434070" y="403220"/>
              <a:ext cx="129540" cy="1463040"/>
            </a:xfrm>
            <a:prstGeom prst="roundRect">
              <a:avLst>
                <a:gd name="adj" fmla="val 50000"/>
              </a:avLst>
            </a:prstGeom>
            <a:solidFill>
              <a:srgbClr val="74BF4B"/>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u="none" strike="noStrike" kern="0" cap="none" spc="0" normalizeH="0" baseline="0" noProof="0" dirty="0">
                <a:ln>
                  <a:noFill/>
                </a:ln>
                <a:solidFill>
                  <a:srgbClr val="1E4471"/>
                </a:solidFill>
                <a:effectLst/>
                <a:uLnTx/>
                <a:uFillTx/>
                <a:ea typeface="+mn-ea"/>
                <a:cs typeface="+mn-cs"/>
              </a:endParaRPr>
            </a:p>
          </p:txBody>
        </p:sp>
        <p:sp>
          <p:nvSpPr>
            <p:cNvPr id="63" name="Freeform: Shape 62">
              <a:extLst>
                <a:ext uri="{FF2B5EF4-FFF2-40B4-BE49-F238E27FC236}">
                  <a16:creationId xmlns:a16="http://schemas.microsoft.com/office/drawing/2014/main" id="{9C865221-3E96-4023-BCCC-5C88ADA046BD}"/>
                </a:ext>
              </a:extLst>
            </p:cNvPr>
            <p:cNvSpPr/>
            <p:nvPr/>
          </p:nvSpPr>
          <p:spPr>
            <a:xfrm>
              <a:off x="15282156" y="1543687"/>
              <a:ext cx="433368" cy="433368"/>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rgbClr val="74BF4B"/>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u="none" strike="noStrike" kern="0" cap="none" spc="0" normalizeH="0" baseline="0" noProof="0" dirty="0">
                <a:ln>
                  <a:noFill/>
                </a:ln>
                <a:solidFill>
                  <a:srgbClr val="FFFFFF"/>
                </a:solidFill>
                <a:effectLst/>
                <a:uLnTx/>
                <a:uFillTx/>
              </a:endParaRPr>
            </a:p>
          </p:txBody>
        </p:sp>
        <p:sp>
          <p:nvSpPr>
            <p:cNvPr id="64" name="Rectangle: Rounded Corners 63">
              <a:extLst>
                <a:ext uri="{FF2B5EF4-FFF2-40B4-BE49-F238E27FC236}">
                  <a16:creationId xmlns:a16="http://schemas.microsoft.com/office/drawing/2014/main" id="{BE5CC037-0DE7-4AD6-B2B0-50912EE1CDBC}"/>
                </a:ext>
              </a:extLst>
            </p:cNvPr>
            <p:cNvSpPr/>
            <p:nvPr/>
          </p:nvSpPr>
          <p:spPr>
            <a:xfrm>
              <a:off x="14296386" y="1696363"/>
              <a:ext cx="1184910" cy="128016"/>
            </a:xfrm>
            <a:prstGeom prst="roundRect">
              <a:avLst>
                <a:gd name="adj" fmla="val 50000"/>
              </a:avLst>
            </a:prstGeom>
            <a:solidFill>
              <a:srgbClr val="00BCEB"/>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u="none" strike="noStrike" kern="0" cap="none" spc="0" normalizeH="0" baseline="0" noProof="0" dirty="0">
                <a:ln>
                  <a:noFill/>
                </a:ln>
                <a:solidFill>
                  <a:srgbClr val="1E4471"/>
                </a:solidFill>
                <a:effectLst/>
                <a:uLnTx/>
                <a:uFillTx/>
                <a:ea typeface="+mn-ea"/>
                <a:cs typeface="+mn-cs"/>
              </a:endParaRPr>
            </a:p>
          </p:txBody>
        </p:sp>
        <p:sp>
          <p:nvSpPr>
            <p:cNvPr id="65" name="Oval 64">
              <a:extLst>
                <a:ext uri="{FF2B5EF4-FFF2-40B4-BE49-F238E27FC236}">
                  <a16:creationId xmlns:a16="http://schemas.microsoft.com/office/drawing/2014/main" id="{FF70D74E-7AE9-45DE-9852-FFA0D9DE6064}"/>
                </a:ext>
              </a:extLst>
            </p:cNvPr>
            <p:cNvSpPr/>
            <p:nvPr/>
          </p:nvSpPr>
          <p:spPr>
            <a:xfrm>
              <a:off x="15375478" y="1637009"/>
              <a:ext cx="246724" cy="246724"/>
            </a:xfrm>
            <a:prstGeom prst="ellipse">
              <a:avLst/>
            </a:prstGeom>
            <a:solidFill>
              <a:srgbClr val="74BF4B"/>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u="none" strike="noStrike" kern="0" cap="none" spc="0" normalizeH="0" baseline="0" noProof="0" dirty="0">
                <a:ln>
                  <a:noFill/>
                </a:ln>
                <a:solidFill>
                  <a:srgbClr val="1E4471"/>
                </a:solidFill>
                <a:effectLst/>
                <a:uLnTx/>
                <a:uFillTx/>
                <a:ea typeface="+mn-ea"/>
                <a:cs typeface="+mn-cs"/>
              </a:endParaRPr>
            </a:p>
          </p:txBody>
        </p:sp>
      </p:grpSp>
      <p:sp>
        <p:nvSpPr>
          <p:cNvPr id="146" name="Oval 145">
            <a:extLst>
              <a:ext uri="{FF2B5EF4-FFF2-40B4-BE49-F238E27FC236}">
                <a16:creationId xmlns:a16="http://schemas.microsoft.com/office/drawing/2014/main" id="{4F1E7BBA-BAE2-4653-BF20-DFF89AE070A9}"/>
              </a:ext>
            </a:extLst>
          </p:cNvPr>
          <p:cNvSpPr/>
          <p:nvPr/>
        </p:nvSpPr>
        <p:spPr>
          <a:xfrm>
            <a:off x="10525470" y="1630680"/>
            <a:ext cx="1345364" cy="1345364"/>
          </a:xfrm>
          <a:prstGeom prst="ellipse">
            <a:avLst/>
          </a:prstGeom>
          <a:solidFill>
            <a:schemeClr val="tx2">
              <a:lumMod val="75000"/>
              <a:alpha val="7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1" name="Group 150">
            <a:extLst>
              <a:ext uri="{FF2B5EF4-FFF2-40B4-BE49-F238E27FC236}">
                <a16:creationId xmlns:a16="http://schemas.microsoft.com/office/drawing/2014/main" id="{2316F34E-190B-457A-AC65-DEDE5A99FABC}"/>
              </a:ext>
            </a:extLst>
          </p:cNvPr>
          <p:cNvGrpSpPr/>
          <p:nvPr/>
        </p:nvGrpSpPr>
        <p:grpSpPr>
          <a:xfrm>
            <a:off x="10761508" y="1798348"/>
            <a:ext cx="873288" cy="1010028"/>
            <a:chOff x="8473444" y="-2023109"/>
            <a:chExt cx="1070612" cy="1238248"/>
          </a:xfrm>
          <a:solidFill>
            <a:schemeClr val="bg2"/>
          </a:solidFill>
        </p:grpSpPr>
        <p:sp>
          <p:nvSpPr>
            <p:cNvPr id="152" name="Freeform: Shape 151">
              <a:extLst>
                <a:ext uri="{FF2B5EF4-FFF2-40B4-BE49-F238E27FC236}">
                  <a16:creationId xmlns:a16="http://schemas.microsoft.com/office/drawing/2014/main" id="{EC2E47B7-EAEE-4B0B-8BCE-9518EC28F586}"/>
                </a:ext>
              </a:extLst>
            </p:cNvPr>
            <p:cNvSpPr/>
            <p:nvPr/>
          </p:nvSpPr>
          <p:spPr>
            <a:xfrm>
              <a:off x="8473444" y="-2023109"/>
              <a:ext cx="1070612" cy="1238248"/>
            </a:xfrm>
            <a:custGeom>
              <a:avLst/>
              <a:gdLst>
                <a:gd name="connsiteX0" fmla="*/ 533401 w 1070612"/>
                <a:gd name="connsiteY0" fmla="*/ 1238248 h 1238248"/>
                <a:gd name="connsiteX1" fmla="*/ 0 w 1070612"/>
                <a:gd name="connsiteY1" fmla="*/ 929639 h 1238248"/>
                <a:gd name="connsiteX2" fmla="*/ 0 w 1070612"/>
                <a:gd name="connsiteY2" fmla="*/ 308610 h 1238248"/>
                <a:gd name="connsiteX3" fmla="*/ 533401 w 1070612"/>
                <a:gd name="connsiteY3" fmla="*/ 0 h 1238248"/>
                <a:gd name="connsiteX4" fmla="*/ 1070612 w 1070612"/>
                <a:gd name="connsiteY4" fmla="*/ 308610 h 1238248"/>
                <a:gd name="connsiteX5" fmla="*/ 1070612 w 1070612"/>
                <a:gd name="connsiteY5" fmla="*/ 925829 h 1238248"/>
                <a:gd name="connsiteX6" fmla="*/ 533401 w 1070612"/>
                <a:gd name="connsiteY6" fmla="*/ 1238248 h 1238248"/>
                <a:gd name="connsiteX7" fmla="*/ 34290 w 1070612"/>
                <a:gd name="connsiteY7" fmla="*/ 906779 h 1238248"/>
                <a:gd name="connsiteX8" fmla="*/ 529591 w 1070612"/>
                <a:gd name="connsiteY8" fmla="*/ 1192528 h 1238248"/>
                <a:gd name="connsiteX9" fmla="*/ 1028702 w 1070612"/>
                <a:gd name="connsiteY9" fmla="*/ 906779 h 1238248"/>
                <a:gd name="connsiteX10" fmla="*/ 1028702 w 1070612"/>
                <a:gd name="connsiteY10" fmla="*/ 331470 h 1238248"/>
                <a:gd name="connsiteX11" fmla="*/ 529591 w 1070612"/>
                <a:gd name="connsiteY11" fmla="*/ 45720 h 1238248"/>
                <a:gd name="connsiteX12" fmla="*/ 34290 w 1070612"/>
                <a:gd name="connsiteY12" fmla="*/ 331470 h 1238248"/>
                <a:gd name="connsiteX13" fmla="*/ 34290 w 1070612"/>
                <a:gd name="connsiteY13" fmla="*/ 906779 h 1238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0612" h="1238248">
                  <a:moveTo>
                    <a:pt x="533401" y="1238248"/>
                  </a:moveTo>
                  <a:lnTo>
                    <a:pt x="0" y="929639"/>
                  </a:lnTo>
                  <a:lnTo>
                    <a:pt x="0" y="308610"/>
                  </a:lnTo>
                  <a:lnTo>
                    <a:pt x="533401" y="0"/>
                  </a:lnTo>
                  <a:lnTo>
                    <a:pt x="1070612" y="308610"/>
                  </a:lnTo>
                  <a:lnTo>
                    <a:pt x="1070612" y="925829"/>
                  </a:lnTo>
                  <a:lnTo>
                    <a:pt x="533401" y="1238248"/>
                  </a:lnTo>
                  <a:close/>
                  <a:moveTo>
                    <a:pt x="34290" y="906779"/>
                  </a:moveTo>
                  <a:lnTo>
                    <a:pt x="529591" y="1192528"/>
                  </a:lnTo>
                  <a:lnTo>
                    <a:pt x="1028702" y="906779"/>
                  </a:lnTo>
                  <a:lnTo>
                    <a:pt x="1028702" y="331470"/>
                  </a:lnTo>
                  <a:lnTo>
                    <a:pt x="529591" y="45720"/>
                  </a:lnTo>
                  <a:lnTo>
                    <a:pt x="34290" y="331470"/>
                  </a:lnTo>
                  <a:lnTo>
                    <a:pt x="34290" y="906779"/>
                  </a:lnTo>
                  <a:close/>
                </a:path>
              </a:pathLst>
            </a:custGeom>
            <a:grpFill/>
            <a:ln w="38100" cap="flat">
              <a:noFill/>
              <a:prstDash val="solid"/>
              <a:miter/>
            </a:ln>
          </p:spPr>
          <p:txBody>
            <a:bodyPr rtlCol="0" anchor="ctr"/>
            <a:lstStyle/>
            <a:p>
              <a:endParaRPr lang="en-IN" dirty="0"/>
            </a:p>
          </p:txBody>
        </p:sp>
        <p:sp>
          <p:nvSpPr>
            <p:cNvPr id="153" name="Freeform: Shape 152">
              <a:extLst>
                <a:ext uri="{FF2B5EF4-FFF2-40B4-BE49-F238E27FC236}">
                  <a16:creationId xmlns:a16="http://schemas.microsoft.com/office/drawing/2014/main" id="{A3A31DB6-9741-44F1-B4C5-D35EF3715126}"/>
                </a:ext>
              </a:extLst>
            </p:cNvPr>
            <p:cNvSpPr/>
            <p:nvPr/>
          </p:nvSpPr>
          <p:spPr>
            <a:xfrm>
              <a:off x="8763005" y="-1645919"/>
              <a:ext cx="487681" cy="487679"/>
            </a:xfrm>
            <a:custGeom>
              <a:avLst/>
              <a:gdLst>
                <a:gd name="connsiteX0" fmla="*/ 243840 w 487681"/>
                <a:gd name="connsiteY0" fmla="*/ 487679 h 487679"/>
                <a:gd name="connsiteX1" fmla="*/ 0 w 487681"/>
                <a:gd name="connsiteY1" fmla="*/ 243840 h 487679"/>
                <a:gd name="connsiteX2" fmla="*/ 243840 w 487681"/>
                <a:gd name="connsiteY2" fmla="*/ 0 h 487679"/>
                <a:gd name="connsiteX3" fmla="*/ 487681 w 487681"/>
                <a:gd name="connsiteY3" fmla="*/ 243840 h 487679"/>
                <a:gd name="connsiteX4" fmla="*/ 243840 w 487681"/>
                <a:gd name="connsiteY4" fmla="*/ 487679 h 487679"/>
                <a:gd name="connsiteX5" fmla="*/ 243840 w 487681"/>
                <a:gd name="connsiteY5" fmla="*/ 38100 h 487679"/>
                <a:gd name="connsiteX6" fmla="*/ 38100 w 487681"/>
                <a:gd name="connsiteY6" fmla="*/ 243840 h 487679"/>
                <a:gd name="connsiteX7" fmla="*/ 243840 w 487681"/>
                <a:gd name="connsiteY7" fmla="*/ 449579 h 487679"/>
                <a:gd name="connsiteX8" fmla="*/ 449581 w 487681"/>
                <a:gd name="connsiteY8" fmla="*/ 243840 h 487679"/>
                <a:gd name="connsiteX9" fmla="*/ 243840 w 487681"/>
                <a:gd name="connsiteY9" fmla="*/ 38100 h 48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681" h="487679">
                  <a:moveTo>
                    <a:pt x="243840" y="487679"/>
                  </a:moveTo>
                  <a:cubicBezTo>
                    <a:pt x="110490" y="487679"/>
                    <a:pt x="0" y="377189"/>
                    <a:pt x="0" y="243840"/>
                  </a:cubicBezTo>
                  <a:cubicBezTo>
                    <a:pt x="0" y="110490"/>
                    <a:pt x="110490" y="0"/>
                    <a:pt x="243840" y="0"/>
                  </a:cubicBezTo>
                  <a:cubicBezTo>
                    <a:pt x="377191" y="0"/>
                    <a:pt x="487681" y="110490"/>
                    <a:pt x="487681" y="243840"/>
                  </a:cubicBezTo>
                  <a:cubicBezTo>
                    <a:pt x="487681" y="377189"/>
                    <a:pt x="377191" y="487679"/>
                    <a:pt x="243840" y="487679"/>
                  </a:cubicBezTo>
                  <a:close/>
                  <a:moveTo>
                    <a:pt x="243840" y="38100"/>
                  </a:moveTo>
                  <a:cubicBezTo>
                    <a:pt x="129540" y="38100"/>
                    <a:pt x="38100" y="129540"/>
                    <a:pt x="38100" y="243840"/>
                  </a:cubicBezTo>
                  <a:cubicBezTo>
                    <a:pt x="38100" y="358139"/>
                    <a:pt x="129540" y="449579"/>
                    <a:pt x="243840" y="449579"/>
                  </a:cubicBezTo>
                  <a:cubicBezTo>
                    <a:pt x="358141" y="449579"/>
                    <a:pt x="449581" y="358139"/>
                    <a:pt x="449581" y="243840"/>
                  </a:cubicBezTo>
                  <a:cubicBezTo>
                    <a:pt x="449581" y="129540"/>
                    <a:pt x="358141" y="38100"/>
                    <a:pt x="243840" y="38100"/>
                  </a:cubicBezTo>
                  <a:close/>
                </a:path>
              </a:pathLst>
            </a:custGeom>
            <a:grpFill/>
            <a:ln w="38100" cap="flat">
              <a:noFill/>
              <a:prstDash val="solid"/>
              <a:miter/>
            </a:ln>
          </p:spPr>
          <p:txBody>
            <a:bodyPr rtlCol="0" anchor="ctr"/>
            <a:lstStyle/>
            <a:p>
              <a:endParaRPr lang="en-IN" dirty="0"/>
            </a:p>
          </p:txBody>
        </p:sp>
      </p:grpSp>
    </p:spTree>
    <p:extLst>
      <p:ext uri="{BB962C8B-B14F-4D97-AF65-F5344CB8AC3E}">
        <p14:creationId xmlns:p14="http://schemas.microsoft.com/office/powerpoint/2010/main" val="36917267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3" name="Straight Arrow Connector 352">
            <a:extLst>
              <a:ext uri="{FF2B5EF4-FFF2-40B4-BE49-F238E27FC236}">
                <a16:creationId xmlns:a16="http://schemas.microsoft.com/office/drawing/2014/main" id="{816CBAE2-590A-447B-9E89-F7FD0CE2A64C}"/>
              </a:ext>
            </a:extLst>
          </p:cNvPr>
          <p:cNvCxnSpPr>
            <a:cxnSpLocks/>
          </p:cNvCxnSpPr>
          <p:nvPr/>
        </p:nvCxnSpPr>
        <p:spPr>
          <a:xfrm>
            <a:off x="3735767" y="2574031"/>
            <a:ext cx="2202159" cy="16316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2" name="Straight Arrow Connector 381">
            <a:extLst>
              <a:ext uri="{FF2B5EF4-FFF2-40B4-BE49-F238E27FC236}">
                <a16:creationId xmlns:a16="http://schemas.microsoft.com/office/drawing/2014/main" id="{47E91034-6961-4CAA-8E94-02A30D99A130}"/>
              </a:ext>
            </a:extLst>
          </p:cNvPr>
          <p:cNvCxnSpPr>
            <a:cxnSpLocks/>
          </p:cNvCxnSpPr>
          <p:nvPr/>
        </p:nvCxnSpPr>
        <p:spPr>
          <a:xfrm flipH="1">
            <a:off x="7095391" y="2579149"/>
            <a:ext cx="1369650" cy="8279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ACE8A0C9-DE88-4E81-A1F0-1F4C20CE6227}"/>
              </a:ext>
            </a:extLst>
          </p:cNvPr>
          <p:cNvSpPr>
            <a:spLocks noGrp="1"/>
          </p:cNvSpPr>
          <p:nvPr>
            <p:ph type="ftr" sz="quarter" idx="10"/>
          </p:nvPr>
        </p:nvSpPr>
        <p:spPr/>
        <p:txBody>
          <a:bodyPr/>
          <a:lstStyle/>
          <a:p>
            <a:r>
              <a:rPr lang="en-US" dirty="0"/>
              <a:t>© 2020 Cisco and/or its affiliates. All rights reserved. Cisco Confidential</a:t>
            </a:r>
          </a:p>
        </p:txBody>
      </p:sp>
      <p:sp>
        <p:nvSpPr>
          <p:cNvPr id="71" name="Title 1">
            <a:extLst>
              <a:ext uri="{FF2B5EF4-FFF2-40B4-BE49-F238E27FC236}">
                <a16:creationId xmlns:a16="http://schemas.microsoft.com/office/drawing/2014/main" id="{B91A917A-A74C-4A6E-9F9D-808CD5865838}"/>
              </a:ext>
            </a:extLst>
          </p:cNvPr>
          <p:cNvSpPr>
            <a:spLocks noGrp="1"/>
          </p:cNvSpPr>
          <p:nvPr>
            <p:ph type="title"/>
          </p:nvPr>
        </p:nvSpPr>
        <p:spPr>
          <a:xfrm>
            <a:off x="533400" y="481807"/>
            <a:ext cx="11127317" cy="403828"/>
          </a:xfrm>
        </p:spPr>
        <p:txBody>
          <a:bodyPr/>
          <a:lstStyle/>
          <a:p>
            <a:r>
              <a:rPr lang="en-US" sz="3200" dirty="0"/>
              <a:t>Cisco’s integrated approach protects users everywhere</a:t>
            </a:r>
          </a:p>
        </p:txBody>
      </p:sp>
      <p:sp>
        <p:nvSpPr>
          <p:cNvPr id="110" name="Google Shape;2115;p430">
            <a:extLst>
              <a:ext uri="{FF2B5EF4-FFF2-40B4-BE49-F238E27FC236}">
                <a16:creationId xmlns:a16="http://schemas.microsoft.com/office/drawing/2014/main" id="{F81A2063-2FB8-41A2-A60C-9541D929164B}"/>
              </a:ext>
            </a:extLst>
          </p:cNvPr>
          <p:cNvSpPr txBox="1"/>
          <p:nvPr/>
        </p:nvSpPr>
        <p:spPr>
          <a:xfrm>
            <a:off x="855126" y="5664229"/>
            <a:ext cx="2201958" cy="430887"/>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AMP</a:t>
            </a:r>
            <a:br>
              <a:rPr lang="en-US" sz="1400" dirty="0">
                <a:solidFill>
                  <a:schemeClr val="bg1"/>
                </a:solidFill>
              </a:rPr>
            </a:br>
            <a:r>
              <a:rPr lang="en-US" sz="1400" dirty="0">
                <a:solidFill>
                  <a:schemeClr val="bg1"/>
                </a:solidFill>
              </a:rPr>
              <a:t>for Endpoints</a:t>
            </a:r>
          </a:p>
        </p:txBody>
      </p:sp>
      <p:sp>
        <p:nvSpPr>
          <p:cNvPr id="112" name="Rectangle 111">
            <a:extLst>
              <a:ext uri="{FF2B5EF4-FFF2-40B4-BE49-F238E27FC236}">
                <a16:creationId xmlns:a16="http://schemas.microsoft.com/office/drawing/2014/main" id="{5FF62FBD-1782-419F-9BE6-E64AE66E424A}"/>
              </a:ext>
            </a:extLst>
          </p:cNvPr>
          <p:cNvSpPr/>
          <p:nvPr/>
        </p:nvSpPr>
        <p:spPr>
          <a:xfrm>
            <a:off x="7849357" y="5476837"/>
            <a:ext cx="1177814" cy="430887"/>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AnyConnect</a:t>
            </a:r>
          </a:p>
        </p:txBody>
      </p:sp>
      <p:grpSp>
        <p:nvGrpSpPr>
          <p:cNvPr id="114" name="Group 113">
            <a:extLst>
              <a:ext uri="{FF2B5EF4-FFF2-40B4-BE49-F238E27FC236}">
                <a16:creationId xmlns:a16="http://schemas.microsoft.com/office/drawing/2014/main" id="{A320F087-C90A-4D05-A363-23D4CF718D02}"/>
              </a:ext>
            </a:extLst>
          </p:cNvPr>
          <p:cNvGrpSpPr/>
          <p:nvPr/>
        </p:nvGrpSpPr>
        <p:grpSpPr>
          <a:xfrm>
            <a:off x="4449365" y="2890068"/>
            <a:ext cx="2908253" cy="2888993"/>
            <a:chOff x="4449365" y="3061518"/>
            <a:chExt cx="2908253" cy="2888993"/>
          </a:xfrm>
        </p:grpSpPr>
        <p:pic>
          <p:nvPicPr>
            <p:cNvPr id="120" name="Picture 119">
              <a:extLst>
                <a:ext uri="{FF2B5EF4-FFF2-40B4-BE49-F238E27FC236}">
                  <a16:creationId xmlns:a16="http://schemas.microsoft.com/office/drawing/2014/main" id="{91E286F0-BEFB-41F7-926F-A5477F6FFEAA}"/>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4566659" y="3291462"/>
              <a:ext cx="2790959" cy="2659049"/>
            </a:xfrm>
            <a:custGeom>
              <a:avLst/>
              <a:gdLst>
                <a:gd name="connsiteX0" fmla="*/ 566410 w 2790959"/>
                <a:gd name="connsiteY0" fmla="*/ 0 h 2659049"/>
                <a:gd name="connsiteX1" fmla="*/ 2126516 w 2790959"/>
                <a:gd name="connsiteY1" fmla="*/ 0 h 2659049"/>
                <a:gd name="connsiteX2" fmla="*/ 2154095 w 2790959"/>
                <a:gd name="connsiteY2" fmla="*/ 16754 h 2659049"/>
                <a:gd name="connsiteX3" fmla="*/ 2790959 w 2790959"/>
                <a:gd name="connsiteY3" fmla="*/ 1214553 h 2659049"/>
                <a:gd name="connsiteX4" fmla="*/ 1346463 w 2790959"/>
                <a:gd name="connsiteY4" fmla="*/ 2659049 h 2659049"/>
                <a:gd name="connsiteX5" fmla="*/ 15483 w 2790959"/>
                <a:gd name="connsiteY5" fmla="*/ 1776816 h 2659049"/>
                <a:gd name="connsiteX6" fmla="*/ 0 w 2790959"/>
                <a:gd name="connsiteY6" fmla="*/ 1734514 h 2659049"/>
                <a:gd name="connsiteX7" fmla="*/ 0 w 2790959"/>
                <a:gd name="connsiteY7" fmla="*/ 694592 h 2659049"/>
                <a:gd name="connsiteX8" fmla="*/ 15483 w 2790959"/>
                <a:gd name="connsiteY8" fmla="*/ 652290 h 2659049"/>
                <a:gd name="connsiteX9" fmla="*/ 538832 w 2790959"/>
                <a:gd name="connsiteY9" fmla="*/ 16754 h 265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0959" h="2659049">
                  <a:moveTo>
                    <a:pt x="566410" y="0"/>
                  </a:moveTo>
                  <a:lnTo>
                    <a:pt x="2126516" y="0"/>
                  </a:lnTo>
                  <a:lnTo>
                    <a:pt x="2154095" y="16754"/>
                  </a:lnTo>
                  <a:cubicBezTo>
                    <a:pt x="2538333" y="276341"/>
                    <a:pt x="2790959" y="715945"/>
                    <a:pt x="2790959" y="1214553"/>
                  </a:cubicBezTo>
                  <a:cubicBezTo>
                    <a:pt x="2790959" y="2012326"/>
                    <a:pt x="2144236" y="2659049"/>
                    <a:pt x="1346463" y="2659049"/>
                  </a:cubicBezTo>
                  <a:cubicBezTo>
                    <a:pt x="748134" y="2659049"/>
                    <a:pt x="234769" y="2295268"/>
                    <a:pt x="15483" y="1776816"/>
                  </a:cubicBezTo>
                  <a:lnTo>
                    <a:pt x="0" y="1734514"/>
                  </a:lnTo>
                  <a:lnTo>
                    <a:pt x="0" y="694592"/>
                  </a:lnTo>
                  <a:lnTo>
                    <a:pt x="15483" y="652290"/>
                  </a:lnTo>
                  <a:cubicBezTo>
                    <a:pt x="125126" y="393065"/>
                    <a:pt x="308289" y="172506"/>
                    <a:pt x="538832" y="16754"/>
                  </a:cubicBezTo>
                  <a:close/>
                </a:path>
              </a:pathLst>
            </a:custGeom>
          </p:spPr>
        </p:pic>
        <p:sp>
          <p:nvSpPr>
            <p:cNvPr id="121" name="Oval 120">
              <a:extLst>
                <a:ext uri="{FF2B5EF4-FFF2-40B4-BE49-F238E27FC236}">
                  <a16:creationId xmlns:a16="http://schemas.microsoft.com/office/drawing/2014/main" id="{30EAD333-99AA-4DD3-B568-B06D6174896F}"/>
                </a:ext>
              </a:extLst>
            </p:cNvPr>
            <p:cNvSpPr/>
            <p:nvPr/>
          </p:nvSpPr>
          <p:spPr>
            <a:xfrm>
              <a:off x="4468625" y="3061518"/>
              <a:ext cx="2888991" cy="2888991"/>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2" name="Group 121">
              <a:extLst>
                <a:ext uri="{FF2B5EF4-FFF2-40B4-BE49-F238E27FC236}">
                  <a16:creationId xmlns:a16="http://schemas.microsoft.com/office/drawing/2014/main" id="{9435D1F1-15B2-4EAD-8ECE-62D1C2E0CDB3}"/>
                </a:ext>
              </a:extLst>
            </p:cNvPr>
            <p:cNvGrpSpPr/>
            <p:nvPr/>
          </p:nvGrpSpPr>
          <p:grpSpPr>
            <a:xfrm rot="20432285" flipH="1">
              <a:off x="4449365" y="3755498"/>
              <a:ext cx="1426045" cy="1500991"/>
              <a:chOff x="7770951" y="3977103"/>
              <a:chExt cx="1426045" cy="1500991"/>
            </a:xfrm>
          </p:grpSpPr>
          <p:sp>
            <p:nvSpPr>
              <p:cNvPr id="138" name="Freeform: Shape 137">
                <a:extLst>
                  <a:ext uri="{FF2B5EF4-FFF2-40B4-BE49-F238E27FC236}">
                    <a16:creationId xmlns:a16="http://schemas.microsoft.com/office/drawing/2014/main" id="{15341529-F13C-4237-863C-5C2EA5B14BF2}"/>
                  </a:ext>
                </a:extLst>
              </p:cNvPr>
              <p:cNvSpPr/>
              <p:nvPr/>
            </p:nvSpPr>
            <p:spPr>
              <a:xfrm rot="7966944">
                <a:off x="7979694" y="4047526"/>
                <a:ext cx="1287725" cy="1146879"/>
              </a:xfrm>
              <a:custGeom>
                <a:avLst/>
                <a:gdLst>
                  <a:gd name="connsiteX0" fmla="*/ 427744 w 915678"/>
                  <a:gd name="connsiteY0" fmla="*/ 436995 h 815526"/>
                  <a:gd name="connsiteX1" fmla="*/ 428460 w 915678"/>
                  <a:gd name="connsiteY1" fmla="*/ 424405 h 815526"/>
                  <a:gd name="connsiteX2" fmla="*/ 441050 w 915678"/>
                  <a:gd name="connsiteY2" fmla="*/ 425120 h 815526"/>
                  <a:gd name="connsiteX3" fmla="*/ 440335 w 915678"/>
                  <a:gd name="connsiteY3" fmla="*/ 437711 h 815526"/>
                  <a:gd name="connsiteX4" fmla="*/ 427744 w 915678"/>
                  <a:gd name="connsiteY4" fmla="*/ 436995 h 815526"/>
                  <a:gd name="connsiteX5" fmla="*/ 390688 w 915678"/>
                  <a:gd name="connsiteY5" fmla="*/ 469759 h 815526"/>
                  <a:gd name="connsiteX6" fmla="*/ 402423 w 915678"/>
                  <a:gd name="connsiteY6" fmla="*/ 469762 h 815526"/>
                  <a:gd name="connsiteX7" fmla="*/ 402427 w 915678"/>
                  <a:gd name="connsiteY7" fmla="*/ 458027 h 815526"/>
                  <a:gd name="connsiteX8" fmla="*/ 390691 w 915678"/>
                  <a:gd name="connsiteY8" fmla="*/ 458024 h 815526"/>
                  <a:gd name="connsiteX9" fmla="*/ 390688 w 915678"/>
                  <a:gd name="connsiteY9" fmla="*/ 458027 h 815526"/>
                  <a:gd name="connsiteX10" fmla="*/ 390688 w 915678"/>
                  <a:gd name="connsiteY10" fmla="*/ 469759 h 815526"/>
                  <a:gd name="connsiteX11" fmla="*/ 353774 w 915678"/>
                  <a:gd name="connsiteY11" fmla="*/ 502523 h 815526"/>
                  <a:gd name="connsiteX12" fmla="*/ 364648 w 915678"/>
                  <a:gd name="connsiteY12" fmla="*/ 502523 h 815526"/>
                  <a:gd name="connsiteX13" fmla="*/ 364648 w 915678"/>
                  <a:gd name="connsiteY13" fmla="*/ 491650 h 815526"/>
                  <a:gd name="connsiteX14" fmla="*/ 353774 w 915678"/>
                  <a:gd name="connsiteY14" fmla="*/ 491650 h 815526"/>
                  <a:gd name="connsiteX15" fmla="*/ 352896 w 915678"/>
                  <a:gd name="connsiteY15" fmla="*/ 502337 h 815526"/>
                  <a:gd name="connsiteX16" fmla="*/ 353059 w 915678"/>
                  <a:gd name="connsiteY16" fmla="*/ 502523 h 815526"/>
                  <a:gd name="connsiteX17" fmla="*/ 316146 w 915678"/>
                  <a:gd name="connsiteY17" fmla="*/ 535145 h 815526"/>
                  <a:gd name="connsiteX18" fmla="*/ 326059 w 915678"/>
                  <a:gd name="connsiteY18" fmla="*/ 535246 h 815526"/>
                  <a:gd name="connsiteX19" fmla="*/ 326161 w 915678"/>
                  <a:gd name="connsiteY19" fmla="*/ 535145 h 815526"/>
                  <a:gd name="connsiteX20" fmla="*/ 326161 w 915678"/>
                  <a:gd name="connsiteY20" fmla="*/ 525129 h 815526"/>
                  <a:gd name="connsiteX21" fmla="*/ 316217 w 915678"/>
                  <a:gd name="connsiteY21" fmla="*/ 524485 h 815526"/>
                  <a:gd name="connsiteX22" fmla="*/ 315573 w 915678"/>
                  <a:gd name="connsiteY22" fmla="*/ 534429 h 815526"/>
                  <a:gd name="connsiteX23" fmla="*/ 280377 w 915678"/>
                  <a:gd name="connsiteY23" fmla="*/ 567479 h 815526"/>
                  <a:gd name="connsiteX24" fmla="*/ 289534 w 915678"/>
                  <a:gd name="connsiteY24" fmla="*/ 568052 h 815526"/>
                  <a:gd name="connsiteX25" fmla="*/ 290106 w 915678"/>
                  <a:gd name="connsiteY25" fmla="*/ 558895 h 815526"/>
                  <a:gd name="connsiteX26" fmla="*/ 280949 w 915678"/>
                  <a:gd name="connsiteY26" fmla="*/ 558323 h 815526"/>
                  <a:gd name="connsiteX27" fmla="*/ 280377 w 915678"/>
                  <a:gd name="connsiteY27" fmla="*/ 567479 h 815526"/>
                  <a:gd name="connsiteX28" fmla="*/ 243464 w 915678"/>
                  <a:gd name="connsiteY28" fmla="*/ 600244 h 815526"/>
                  <a:gd name="connsiteX29" fmla="*/ 251759 w 915678"/>
                  <a:gd name="connsiteY29" fmla="*/ 600241 h 815526"/>
                  <a:gd name="connsiteX30" fmla="*/ 251758 w 915678"/>
                  <a:gd name="connsiteY30" fmla="*/ 591945 h 815526"/>
                  <a:gd name="connsiteX31" fmla="*/ 243464 w 915678"/>
                  <a:gd name="connsiteY31" fmla="*/ 591945 h 815526"/>
                  <a:gd name="connsiteX32" fmla="*/ 243461 w 915678"/>
                  <a:gd name="connsiteY32" fmla="*/ 600241 h 815526"/>
                  <a:gd name="connsiteX33" fmla="*/ 243464 w 915678"/>
                  <a:gd name="connsiteY33" fmla="*/ 600244 h 815526"/>
                  <a:gd name="connsiteX34" fmla="*/ 206551 w 915678"/>
                  <a:gd name="connsiteY34" fmla="*/ 633008 h 815526"/>
                  <a:gd name="connsiteX35" fmla="*/ 213833 w 915678"/>
                  <a:gd name="connsiteY35" fmla="*/ 633165 h 815526"/>
                  <a:gd name="connsiteX36" fmla="*/ 213990 w 915678"/>
                  <a:gd name="connsiteY36" fmla="*/ 633008 h 815526"/>
                  <a:gd name="connsiteX37" fmla="*/ 215134 w 915678"/>
                  <a:gd name="connsiteY37" fmla="*/ 625609 h 815526"/>
                  <a:gd name="connsiteX38" fmla="*/ 207735 w 915678"/>
                  <a:gd name="connsiteY38" fmla="*/ 624466 h 815526"/>
                  <a:gd name="connsiteX39" fmla="*/ 206980 w 915678"/>
                  <a:gd name="connsiteY39" fmla="*/ 625139 h 815526"/>
                  <a:gd name="connsiteX40" fmla="*/ 206980 w 915678"/>
                  <a:gd name="connsiteY40" fmla="*/ 632578 h 815526"/>
                  <a:gd name="connsiteX41" fmla="*/ 170209 w 915678"/>
                  <a:gd name="connsiteY41" fmla="*/ 666201 h 815526"/>
                  <a:gd name="connsiteX42" fmla="*/ 176885 w 915678"/>
                  <a:gd name="connsiteY42" fmla="*/ 666295 h 815526"/>
                  <a:gd name="connsiteX43" fmla="*/ 176981 w 915678"/>
                  <a:gd name="connsiteY43" fmla="*/ 659620 h 815526"/>
                  <a:gd name="connsiteX44" fmla="*/ 170304 w 915678"/>
                  <a:gd name="connsiteY44" fmla="*/ 659525 h 815526"/>
                  <a:gd name="connsiteX45" fmla="*/ 170209 w 915678"/>
                  <a:gd name="connsiteY45" fmla="*/ 659620 h 815526"/>
                  <a:gd name="connsiteX46" fmla="*/ 170209 w 915678"/>
                  <a:gd name="connsiteY46" fmla="*/ 666201 h 815526"/>
                  <a:gd name="connsiteX47" fmla="*/ 133296 w 915678"/>
                  <a:gd name="connsiteY47" fmla="*/ 698965 h 815526"/>
                  <a:gd name="connsiteX48" fmla="*/ 138962 w 915678"/>
                  <a:gd name="connsiteY48" fmla="*/ 699022 h 815526"/>
                  <a:gd name="connsiteX49" fmla="*/ 139019 w 915678"/>
                  <a:gd name="connsiteY49" fmla="*/ 698965 h 815526"/>
                  <a:gd name="connsiteX50" fmla="*/ 140228 w 915678"/>
                  <a:gd name="connsiteY50" fmla="*/ 693224 h 815526"/>
                  <a:gd name="connsiteX51" fmla="*/ 134485 w 915678"/>
                  <a:gd name="connsiteY51" fmla="*/ 692015 h 815526"/>
                  <a:gd name="connsiteX52" fmla="*/ 133582 w 915678"/>
                  <a:gd name="connsiteY52" fmla="*/ 692813 h 815526"/>
                  <a:gd name="connsiteX53" fmla="*/ 133582 w 915678"/>
                  <a:gd name="connsiteY53" fmla="*/ 698536 h 815526"/>
                  <a:gd name="connsiteX54" fmla="*/ 96669 w 915678"/>
                  <a:gd name="connsiteY54" fmla="*/ 731300 h 815526"/>
                  <a:gd name="connsiteX55" fmla="*/ 101525 w 915678"/>
                  <a:gd name="connsiteY55" fmla="*/ 731291 h 815526"/>
                  <a:gd name="connsiteX56" fmla="*/ 101516 w 915678"/>
                  <a:gd name="connsiteY56" fmla="*/ 726436 h 815526"/>
                  <a:gd name="connsiteX57" fmla="*/ 96669 w 915678"/>
                  <a:gd name="connsiteY57" fmla="*/ 726436 h 815526"/>
                  <a:gd name="connsiteX58" fmla="*/ 96660 w 915678"/>
                  <a:gd name="connsiteY58" fmla="*/ 731291 h 815526"/>
                  <a:gd name="connsiteX59" fmla="*/ 96669 w 915678"/>
                  <a:gd name="connsiteY59" fmla="*/ 731300 h 815526"/>
                  <a:gd name="connsiteX60" fmla="*/ 58611 w 915678"/>
                  <a:gd name="connsiteY60" fmla="*/ 764493 h 815526"/>
                  <a:gd name="connsiteX61" fmla="*/ 62760 w 915678"/>
                  <a:gd name="connsiteY61" fmla="*/ 764493 h 815526"/>
                  <a:gd name="connsiteX62" fmla="*/ 62760 w 915678"/>
                  <a:gd name="connsiteY62" fmla="*/ 760344 h 815526"/>
                  <a:gd name="connsiteX63" fmla="*/ 58919 w 915678"/>
                  <a:gd name="connsiteY63" fmla="*/ 760178 h 815526"/>
                  <a:gd name="connsiteX64" fmla="*/ 58754 w 915678"/>
                  <a:gd name="connsiteY64" fmla="*/ 760344 h 815526"/>
                  <a:gd name="connsiteX65" fmla="*/ 58754 w 915678"/>
                  <a:gd name="connsiteY65" fmla="*/ 764350 h 815526"/>
                  <a:gd name="connsiteX66" fmla="*/ 407428 w 915678"/>
                  <a:gd name="connsiteY66" fmla="*/ 413388 h 815526"/>
                  <a:gd name="connsiteX67" fmla="*/ 420018 w 915678"/>
                  <a:gd name="connsiteY67" fmla="*/ 414246 h 815526"/>
                  <a:gd name="connsiteX68" fmla="*/ 420064 w 915678"/>
                  <a:gd name="connsiteY68" fmla="*/ 401701 h 815526"/>
                  <a:gd name="connsiteX69" fmla="*/ 420018 w 915678"/>
                  <a:gd name="connsiteY69" fmla="*/ 401656 h 815526"/>
                  <a:gd name="connsiteX70" fmla="*/ 407511 w 915678"/>
                  <a:gd name="connsiteY70" fmla="*/ 400694 h 815526"/>
                  <a:gd name="connsiteX71" fmla="*/ 406548 w 915678"/>
                  <a:gd name="connsiteY71" fmla="*/ 413202 h 815526"/>
                  <a:gd name="connsiteX72" fmla="*/ 406712 w 915678"/>
                  <a:gd name="connsiteY72" fmla="*/ 413388 h 815526"/>
                  <a:gd name="connsiteX73" fmla="*/ 370514 w 915678"/>
                  <a:gd name="connsiteY73" fmla="*/ 446152 h 815526"/>
                  <a:gd name="connsiteX74" fmla="*/ 382249 w 915678"/>
                  <a:gd name="connsiteY74" fmla="*/ 446155 h 815526"/>
                  <a:gd name="connsiteX75" fmla="*/ 382254 w 915678"/>
                  <a:gd name="connsiteY75" fmla="*/ 434420 h 815526"/>
                  <a:gd name="connsiteX76" fmla="*/ 370517 w 915678"/>
                  <a:gd name="connsiteY76" fmla="*/ 434417 h 815526"/>
                  <a:gd name="connsiteX77" fmla="*/ 370514 w 915678"/>
                  <a:gd name="connsiteY77" fmla="*/ 434420 h 815526"/>
                  <a:gd name="connsiteX78" fmla="*/ 370514 w 915678"/>
                  <a:gd name="connsiteY78" fmla="*/ 446152 h 815526"/>
                  <a:gd name="connsiteX79" fmla="*/ 333458 w 915678"/>
                  <a:gd name="connsiteY79" fmla="*/ 478916 h 815526"/>
                  <a:gd name="connsiteX80" fmla="*/ 344332 w 915678"/>
                  <a:gd name="connsiteY80" fmla="*/ 478916 h 815526"/>
                  <a:gd name="connsiteX81" fmla="*/ 344332 w 915678"/>
                  <a:gd name="connsiteY81" fmla="*/ 468042 h 815526"/>
                  <a:gd name="connsiteX82" fmla="*/ 333511 w 915678"/>
                  <a:gd name="connsiteY82" fmla="*/ 466532 h 815526"/>
                  <a:gd name="connsiteX83" fmla="*/ 332000 w 915678"/>
                  <a:gd name="connsiteY83" fmla="*/ 477354 h 815526"/>
                  <a:gd name="connsiteX84" fmla="*/ 332742 w 915678"/>
                  <a:gd name="connsiteY84" fmla="*/ 478201 h 815526"/>
                  <a:gd name="connsiteX85" fmla="*/ 296545 w 915678"/>
                  <a:gd name="connsiteY85" fmla="*/ 511680 h 815526"/>
                  <a:gd name="connsiteX86" fmla="*/ 306458 w 915678"/>
                  <a:gd name="connsiteY86" fmla="*/ 511782 h 815526"/>
                  <a:gd name="connsiteX87" fmla="*/ 306560 w 915678"/>
                  <a:gd name="connsiteY87" fmla="*/ 511680 h 815526"/>
                  <a:gd name="connsiteX88" fmla="*/ 306661 w 915678"/>
                  <a:gd name="connsiteY88" fmla="*/ 501563 h 815526"/>
                  <a:gd name="connsiteX89" fmla="*/ 296545 w 915678"/>
                  <a:gd name="connsiteY89" fmla="*/ 501463 h 815526"/>
                  <a:gd name="connsiteX90" fmla="*/ 296443 w 915678"/>
                  <a:gd name="connsiteY90" fmla="*/ 511579 h 815526"/>
                  <a:gd name="connsiteX91" fmla="*/ 296545 w 915678"/>
                  <a:gd name="connsiteY91" fmla="*/ 511680 h 815526"/>
                  <a:gd name="connsiteX92" fmla="*/ 259631 w 915678"/>
                  <a:gd name="connsiteY92" fmla="*/ 544444 h 815526"/>
                  <a:gd name="connsiteX93" fmla="*/ 268788 w 915678"/>
                  <a:gd name="connsiteY93" fmla="*/ 544444 h 815526"/>
                  <a:gd name="connsiteX94" fmla="*/ 268788 w 915678"/>
                  <a:gd name="connsiteY94" fmla="*/ 535288 h 815526"/>
                  <a:gd name="connsiteX95" fmla="*/ 259631 w 915678"/>
                  <a:gd name="connsiteY95" fmla="*/ 534715 h 815526"/>
                  <a:gd name="connsiteX96" fmla="*/ 259059 w 915678"/>
                  <a:gd name="connsiteY96" fmla="*/ 543872 h 815526"/>
                  <a:gd name="connsiteX97" fmla="*/ 222003 w 915678"/>
                  <a:gd name="connsiteY97" fmla="*/ 576636 h 815526"/>
                  <a:gd name="connsiteX98" fmla="*/ 230298 w 915678"/>
                  <a:gd name="connsiteY98" fmla="*/ 576633 h 815526"/>
                  <a:gd name="connsiteX99" fmla="*/ 230297 w 915678"/>
                  <a:gd name="connsiteY99" fmla="*/ 568338 h 815526"/>
                  <a:gd name="connsiteX100" fmla="*/ 222003 w 915678"/>
                  <a:gd name="connsiteY100" fmla="*/ 568338 h 815526"/>
                  <a:gd name="connsiteX101" fmla="*/ 222000 w 915678"/>
                  <a:gd name="connsiteY101" fmla="*/ 576633 h 815526"/>
                  <a:gd name="connsiteX102" fmla="*/ 222003 w 915678"/>
                  <a:gd name="connsiteY102" fmla="*/ 576636 h 815526"/>
                  <a:gd name="connsiteX103" fmla="*/ 185662 w 915678"/>
                  <a:gd name="connsiteY103" fmla="*/ 610402 h 815526"/>
                  <a:gd name="connsiteX104" fmla="*/ 193147 w 915678"/>
                  <a:gd name="connsiteY104" fmla="*/ 610449 h 815526"/>
                  <a:gd name="connsiteX105" fmla="*/ 193194 w 915678"/>
                  <a:gd name="connsiteY105" fmla="*/ 602962 h 815526"/>
                  <a:gd name="connsiteX106" fmla="*/ 185707 w 915678"/>
                  <a:gd name="connsiteY106" fmla="*/ 602915 h 815526"/>
                  <a:gd name="connsiteX107" fmla="*/ 185662 w 915678"/>
                  <a:gd name="connsiteY107" fmla="*/ 602962 h 815526"/>
                  <a:gd name="connsiteX108" fmla="*/ 185662 w 915678"/>
                  <a:gd name="connsiteY108" fmla="*/ 610402 h 815526"/>
                  <a:gd name="connsiteX109" fmla="*/ 148748 w 915678"/>
                  <a:gd name="connsiteY109" fmla="*/ 642737 h 815526"/>
                  <a:gd name="connsiteX110" fmla="*/ 155330 w 915678"/>
                  <a:gd name="connsiteY110" fmla="*/ 642737 h 815526"/>
                  <a:gd name="connsiteX111" fmla="*/ 156128 w 915678"/>
                  <a:gd name="connsiteY111" fmla="*/ 636108 h 815526"/>
                  <a:gd name="connsiteX112" fmla="*/ 149498 w 915678"/>
                  <a:gd name="connsiteY112" fmla="*/ 635310 h 815526"/>
                  <a:gd name="connsiteX113" fmla="*/ 149034 w 915678"/>
                  <a:gd name="connsiteY113" fmla="*/ 635726 h 815526"/>
                  <a:gd name="connsiteX114" fmla="*/ 149034 w 915678"/>
                  <a:gd name="connsiteY114" fmla="*/ 642308 h 815526"/>
                  <a:gd name="connsiteX115" fmla="*/ 111978 w 915678"/>
                  <a:gd name="connsiteY115" fmla="*/ 675072 h 815526"/>
                  <a:gd name="connsiteX116" fmla="*/ 117844 w 915678"/>
                  <a:gd name="connsiteY116" fmla="*/ 675072 h 815526"/>
                  <a:gd name="connsiteX117" fmla="*/ 117844 w 915678"/>
                  <a:gd name="connsiteY117" fmla="*/ 669349 h 815526"/>
                  <a:gd name="connsiteX118" fmla="*/ 112178 w 915678"/>
                  <a:gd name="connsiteY118" fmla="*/ 669291 h 815526"/>
                  <a:gd name="connsiteX119" fmla="*/ 112121 w 915678"/>
                  <a:gd name="connsiteY119" fmla="*/ 669349 h 815526"/>
                  <a:gd name="connsiteX120" fmla="*/ 112064 w 915678"/>
                  <a:gd name="connsiteY120" fmla="*/ 675014 h 815526"/>
                  <a:gd name="connsiteX121" fmla="*/ 112121 w 915678"/>
                  <a:gd name="connsiteY121" fmla="*/ 675072 h 815526"/>
                  <a:gd name="connsiteX122" fmla="*/ 75208 w 915678"/>
                  <a:gd name="connsiteY122" fmla="*/ 707836 h 815526"/>
                  <a:gd name="connsiteX123" fmla="*/ 80064 w 915678"/>
                  <a:gd name="connsiteY123" fmla="*/ 707844 h 815526"/>
                  <a:gd name="connsiteX124" fmla="*/ 80072 w 915678"/>
                  <a:gd name="connsiteY124" fmla="*/ 707836 h 815526"/>
                  <a:gd name="connsiteX125" fmla="*/ 80064 w 915678"/>
                  <a:gd name="connsiteY125" fmla="*/ 702980 h 815526"/>
                  <a:gd name="connsiteX126" fmla="*/ 75208 w 915678"/>
                  <a:gd name="connsiteY126" fmla="*/ 702988 h 815526"/>
                  <a:gd name="connsiteX127" fmla="*/ 75208 w 915678"/>
                  <a:gd name="connsiteY127" fmla="*/ 707836 h 815526"/>
                  <a:gd name="connsiteX128" fmla="*/ 38295 w 915678"/>
                  <a:gd name="connsiteY128" fmla="*/ 740600 h 815526"/>
                  <a:gd name="connsiteX129" fmla="*/ 42136 w 915678"/>
                  <a:gd name="connsiteY129" fmla="*/ 740765 h 815526"/>
                  <a:gd name="connsiteX130" fmla="*/ 42301 w 915678"/>
                  <a:gd name="connsiteY130" fmla="*/ 740600 h 815526"/>
                  <a:gd name="connsiteX131" fmla="*/ 42301 w 915678"/>
                  <a:gd name="connsiteY131" fmla="*/ 736594 h 815526"/>
                  <a:gd name="connsiteX132" fmla="*/ 38151 w 915678"/>
                  <a:gd name="connsiteY132" fmla="*/ 736594 h 815526"/>
                  <a:gd name="connsiteX133" fmla="*/ 38151 w 915678"/>
                  <a:gd name="connsiteY133" fmla="*/ 740743 h 815526"/>
                  <a:gd name="connsiteX134" fmla="*/ 386539 w 915678"/>
                  <a:gd name="connsiteY134" fmla="*/ 389924 h 815526"/>
                  <a:gd name="connsiteX135" fmla="*/ 399059 w 915678"/>
                  <a:gd name="connsiteY135" fmla="*/ 390702 h 815526"/>
                  <a:gd name="connsiteX136" fmla="*/ 399837 w 915678"/>
                  <a:gd name="connsiteY136" fmla="*/ 378181 h 815526"/>
                  <a:gd name="connsiteX137" fmla="*/ 387397 w 915678"/>
                  <a:gd name="connsiteY137" fmla="*/ 377333 h 815526"/>
                  <a:gd name="connsiteX138" fmla="*/ 386539 w 915678"/>
                  <a:gd name="connsiteY138" fmla="*/ 389924 h 815526"/>
                  <a:gd name="connsiteX139" fmla="*/ 349625 w 915678"/>
                  <a:gd name="connsiteY139" fmla="*/ 422688 h 815526"/>
                  <a:gd name="connsiteX140" fmla="*/ 361340 w 915678"/>
                  <a:gd name="connsiteY140" fmla="*/ 423383 h 815526"/>
                  <a:gd name="connsiteX141" fmla="*/ 362036 w 915678"/>
                  <a:gd name="connsiteY141" fmla="*/ 411668 h 815526"/>
                  <a:gd name="connsiteX142" fmla="*/ 350341 w 915678"/>
                  <a:gd name="connsiteY142" fmla="*/ 410956 h 815526"/>
                  <a:gd name="connsiteX143" fmla="*/ 349608 w 915678"/>
                  <a:gd name="connsiteY143" fmla="*/ 422668 h 815526"/>
                  <a:gd name="connsiteX144" fmla="*/ 349625 w 915678"/>
                  <a:gd name="connsiteY144" fmla="*/ 422688 h 815526"/>
                  <a:gd name="connsiteX145" fmla="*/ 313284 w 915678"/>
                  <a:gd name="connsiteY145" fmla="*/ 455452 h 815526"/>
                  <a:gd name="connsiteX146" fmla="*/ 324211 w 915678"/>
                  <a:gd name="connsiteY146" fmla="*/ 455505 h 815526"/>
                  <a:gd name="connsiteX147" fmla="*/ 324262 w 915678"/>
                  <a:gd name="connsiteY147" fmla="*/ 444578 h 815526"/>
                  <a:gd name="connsiteX148" fmla="*/ 313337 w 915678"/>
                  <a:gd name="connsiteY148" fmla="*/ 444525 h 815526"/>
                  <a:gd name="connsiteX149" fmla="*/ 313284 w 915678"/>
                  <a:gd name="connsiteY149" fmla="*/ 444578 h 815526"/>
                  <a:gd name="connsiteX150" fmla="*/ 313284 w 915678"/>
                  <a:gd name="connsiteY150" fmla="*/ 455452 h 815526"/>
                  <a:gd name="connsiteX151" fmla="*/ 276228 w 915678"/>
                  <a:gd name="connsiteY151" fmla="*/ 488216 h 815526"/>
                  <a:gd name="connsiteX152" fmla="*/ 286243 w 915678"/>
                  <a:gd name="connsiteY152" fmla="*/ 488216 h 815526"/>
                  <a:gd name="connsiteX153" fmla="*/ 286142 w 915678"/>
                  <a:gd name="connsiteY153" fmla="*/ 478302 h 815526"/>
                  <a:gd name="connsiteX154" fmla="*/ 276228 w 915678"/>
                  <a:gd name="connsiteY154" fmla="*/ 478402 h 815526"/>
                  <a:gd name="connsiteX155" fmla="*/ 276228 w 915678"/>
                  <a:gd name="connsiteY155" fmla="*/ 488216 h 815526"/>
                  <a:gd name="connsiteX156" fmla="*/ 239315 w 915678"/>
                  <a:gd name="connsiteY156" fmla="*/ 520980 h 815526"/>
                  <a:gd name="connsiteX157" fmla="*/ 248622 w 915678"/>
                  <a:gd name="connsiteY157" fmla="*/ 521130 h 815526"/>
                  <a:gd name="connsiteX158" fmla="*/ 248770 w 915678"/>
                  <a:gd name="connsiteY158" fmla="*/ 511823 h 815526"/>
                  <a:gd name="connsiteX159" fmla="*/ 239465 w 915678"/>
                  <a:gd name="connsiteY159" fmla="*/ 511673 h 815526"/>
                  <a:gd name="connsiteX160" fmla="*/ 239315 w 915678"/>
                  <a:gd name="connsiteY160" fmla="*/ 511823 h 815526"/>
                  <a:gd name="connsiteX161" fmla="*/ 239263 w 915678"/>
                  <a:gd name="connsiteY161" fmla="*/ 520929 h 815526"/>
                  <a:gd name="connsiteX162" fmla="*/ 239315 w 915678"/>
                  <a:gd name="connsiteY162" fmla="*/ 520980 h 815526"/>
                  <a:gd name="connsiteX163" fmla="*/ 201829 w 915678"/>
                  <a:gd name="connsiteY163" fmla="*/ 553172 h 815526"/>
                  <a:gd name="connsiteX164" fmla="*/ 210123 w 915678"/>
                  <a:gd name="connsiteY164" fmla="*/ 553025 h 815526"/>
                  <a:gd name="connsiteX165" fmla="*/ 209977 w 915678"/>
                  <a:gd name="connsiteY165" fmla="*/ 544731 h 815526"/>
                  <a:gd name="connsiteX166" fmla="*/ 201829 w 915678"/>
                  <a:gd name="connsiteY166" fmla="*/ 544731 h 815526"/>
                  <a:gd name="connsiteX167" fmla="*/ 201829 w 915678"/>
                  <a:gd name="connsiteY167" fmla="*/ 553172 h 815526"/>
                  <a:gd name="connsiteX168" fmla="*/ 164773 w 915678"/>
                  <a:gd name="connsiteY168" fmla="*/ 585793 h 815526"/>
                  <a:gd name="connsiteX169" fmla="*/ 172260 w 915678"/>
                  <a:gd name="connsiteY169" fmla="*/ 585760 h 815526"/>
                  <a:gd name="connsiteX170" fmla="*/ 172785 w 915678"/>
                  <a:gd name="connsiteY170" fmla="*/ 578925 h 815526"/>
                  <a:gd name="connsiteX171" fmla="*/ 165392 w 915678"/>
                  <a:gd name="connsiteY171" fmla="*/ 577748 h 815526"/>
                  <a:gd name="connsiteX172" fmla="*/ 164215 w 915678"/>
                  <a:gd name="connsiteY172" fmla="*/ 585141 h 815526"/>
                  <a:gd name="connsiteX173" fmla="*/ 164773 w 915678"/>
                  <a:gd name="connsiteY173" fmla="*/ 585793 h 815526"/>
                  <a:gd name="connsiteX174" fmla="*/ 127287 w 915678"/>
                  <a:gd name="connsiteY174" fmla="*/ 619129 h 815526"/>
                  <a:gd name="connsiteX175" fmla="*/ 133936 w 915678"/>
                  <a:gd name="connsiteY175" fmla="*/ 618520 h 815526"/>
                  <a:gd name="connsiteX176" fmla="*/ 134298 w 915678"/>
                  <a:gd name="connsiteY176" fmla="*/ 612977 h 815526"/>
                  <a:gd name="connsiteX177" fmla="*/ 127716 w 915678"/>
                  <a:gd name="connsiteY177" fmla="*/ 612977 h 815526"/>
                  <a:gd name="connsiteX178" fmla="*/ 127609 w 915678"/>
                  <a:gd name="connsiteY178" fmla="*/ 619451 h 815526"/>
                  <a:gd name="connsiteX179" fmla="*/ 127716 w 915678"/>
                  <a:gd name="connsiteY179" fmla="*/ 619559 h 815526"/>
                  <a:gd name="connsiteX180" fmla="*/ 90946 w 915678"/>
                  <a:gd name="connsiteY180" fmla="*/ 651894 h 815526"/>
                  <a:gd name="connsiteX181" fmla="*/ 96612 w 915678"/>
                  <a:gd name="connsiteY181" fmla="*/ 651951 h 815526"/>
                  <a:gd name="connsiteX182" fmla="*/ 96669 w 915678"/>
                  <a:gd name="connsiteY182" fmla="*/ 651894 h 815526"/>
                  <a:gd name="connsiteX183" fmla="*/ 96726 w 915678"/>
                  <a:gd name="connsiteY183" fmla="*/ 646228 h 815526"/>
                  <a:gd name="connsiteX184" fmla="*/ 96669 w 915678"/>
                  <a:gd name="connsiteY184" fmla="*/ 646171 h 815526"/>
                  <a:gd name="connsiteX185" fmla="*/ 91003 w 915678"/>
                  <a:gd name="connsiteY185" fmla="*/ 646113 h 815526"/>
                  <a:gd name="connsiteX186" fmla="*/ 90946 w 915678"/>
                  <a:gd name="connsiteY186" fmla="*/ 646171 h 815526"/>
                  <a:gd name="connsiteX187" fmla="*/ 90889 w 915678"/>
                  <a:gd name="connsiteY187" fmla="*/ 651836 h 815526"/>
                  <a:gd name="connsiteX188" fmla="*/ 90946 w 915678"/>
                  <a:gd name="connsiteY188" fmla="*/ 651894 h 815526"/>
                  <a:gd name="connsiteX189" fmla="*/ 53890 w 915678"/>
                  <a:gd name="connsiteY189" fmla="*/ 684658 h 815526"/>
                  <a:gd name="connsiteX190" fmla="*/ 58746 w 915678"/>
                  <a:gd name="connsiteY190" fmla="*/ 684649 h 815526"/>
                  <a:gd name="connsiteX191" fmla="*/ 58737 w 915678"/>
                  <a:gd name="connsiteY191" fmla="*/ 679793 h 815526"/>
                  <a:gd name="connsiteX192" fmla="*/ 53890 w 915678"/>
                  <a:gd name="connsiteY192" fmla="*/ 679793 h 815526"/>
                  <a:gd name="connsiteX193" fmla="*/ 53881 w 915678"/>
                  <a:gd name="connsiteY193" fmla="*/ 684649 h 815526"/>
                  <a:gd name="connsiteX194" fmla="*/ 53890 w 915678"/>
                  <a:gd name="connsiteY194" fmla="*/ 684658 h 815526"/>
                  <a:gd name="connsiteX195" fmla="*/ 16976 w 915678"/>
                  <a:gd name="connsiteY195" fmla="*/ 717422 h 815526"/>
                  <a:gd name="connsiteX196" fmla="*/ 21023 w 915678"/>
                  <a:gd name="connsiteY196" fmla="*/ 717462 h 815526"/>
                  <a:gd name="connsiteX197" fmla="*/ 21064 w 915678"/>
                  <a:gd name="connsiteY197" fmla="*/ 713416 h 815526"/>
                  <a:gd name="connsiteX198" fmla="*/ 17016 w 915678"/>
                  <a:gd name="connsiteY198" fmla="*/ 713376 h 815526"/>
                  <a:gd name="connsiteX199" fmla="*/ 16976 w 915678"/>
                  <a:gd name="connsiteY199" fmla="*/ 713416 h 815526"/>
                  <a:gd name="connsiteX200" fmla="*/ 16812 w 915678"/>
                  <a:gd name="connsiteY200" fmla="*/ 717257 h 815526"/>
                  <a:gd name="connsiteX201" fmla="*/ 16976 w 915678"/>
                  <a:gd name="connsiteY201" fmla="*/ 717422 h 815526"/>
                  <a:gd name="connsiteX202" fmla="*/ 490840 w 915678"/>
                  <a:gd name="connsiteY202" fmla="*/ 507531 h 815526"/>
                  <a:gd name="connsiteX203" fmla="*/ 503385 w 915678"/>
                  <a:gd name="connsiteY203" fmla="*/ 507577 h 815526"/>
                  <a:gd name="connsiteX204" fmla="*/ 503431 w 915678"/>
                  <a:gd name="connsiteY204" fmla="*/ 507531 h 815526"/>
                  <a:gd name="connsiteX205" fmla="*/ 503385 w 915678"/>
                  <a:gd name="connsiteY205" fmla="*/ 494986 h 815526"/>
                  <a:gd name="connsiteX206" fmla="*/ 490840 w 915678"/>
                  <a:gd name="connsiteY206" fmla="*/ 495032 h 815526"/>
                  <a:gd name="connsiteX207" fmla="*/ 490840 w 915678"/>
                  <a:gd name="connsiteY207" fmla="*/ 507531 h 815526"/>
                  <a:gd name="connsiteX208" fmla="*/ 453927 w 915678"/>
                  <a:gd name="connsiteY208" fmla="*/ 540295 h 815526"/>
                  <a:gd name="connsiteX209" fmla="*/ 465523 w 915678"/>
                  <a:gd name="connsiteY209" fmla="*/ 542095 h 815526"/>
                  <a:gd name="connsiteX210" fmla="*/ 467323 w 915678"/>
                  <a:gd name="connsiteY210" fmla="*/ 530499 h 815526"/>
                  <a:gd name="connsiteX211" fmla="*/ 466231 w 915678"/>
                  <a:gd name="connsiteY211" fmla="*/ 529278 h 815526"/>
                  <a:gd name="connsiteX212" fmla="*/ 454635 w 915678"/>
                  <a:gd name="connsiteY212" fmla="*/ 527479 h 815526"/>
                  <a:gd name="connsiteX213" fmla="*/ 452835 w 915678"/>
                  <a:gd name="connsiteY213" fmla="*/ 539075 h 815526"/>
                  <a:gd name="connsiteX214" fmla="*/ 453927 w 915678"/>
                  <a:gd name="connsiteY214" fmla="*/ 540295 h 815526"/>
                  <a:gd name="connsiteX215" fmla="*/ 416870 w 915678"/>
                  <a:gd name="connsiteY215" fmla="*/ 573059 h 815526"/>
                  <a:gd name="connsiteX216" fmla="*/ 427744 w 915678"/>
                  <a:gd name="connsiteY216" fmla="*/ 573059 h 815526"/>
                  <a:gd name="connsiteX217" fmla="*/ 427744 w 915678"/>
                  <a:gd name="connsiteY217" fmla="*/ 562186 h 815526"/>
                  <a:gd name="connsiteX218" fmla="*/ 416870 w 915678"/>
                  <a:gd name="connsiteY218" fmla="*/ 562186 h 815526"/>
                  <a:gd name="connsiteX219" fmla="*/ 416870 w 915678"/>
                  <a:gd name="connsiteY219" fmla="*/ 573059 h 815526"/>
                  <a:gd name="connsiteX220" fmla="*/ 379957 w 915678"/>
                  <a:gd name="connsiteY220" fmla="*/ 605823 h 815526"/>
                  <a:gd name="connsiteX221" fmla="*/ 390074 w 915678"/>
                  <a:gd name="connsiteY221" fmla="*/ 605925 h 815526"/>
                  <a:gd name="connsiteX222" fmla="*/ 390174 w 915678"/>
                  <a:gd name="connsiteY222" fmla="*/ 595808 h 815526"/>
                  <a:gd name="connsiteX223" fmla="*/ 380059 w 915678"/>
                  <a:gd name="connsiteY223" fmla="*/ 595707 h 815526"/>
                  <a:gd name="connsiteX224" fmla="*/ 379957 w 915678"/>
                  <a:gd name="connsiteY224" fmla="*/ 595808 h 815526"/>
                  <a:gd name="connsiteX225" fmla="*/ 379957 w 915678"/>
                  <a:gd name="connsiteY225" fmla="*/ 605823 h 815526"/>
                  <a:gd name="connsiteX226" fmla="*/ 342901 w 915678"/>
                  <a:gd name="connsiteY226" fmla="*/ 639017 h 815526"/>
                  <a:gd name="connsiteX227" fmla="*/ 352058 w 915678"/>
                  <a:gd name="connsiteY227" fmla="*/ 639017 h 815526"/>
                  <a:gd name="connsiteX228" fmla="*/ 352630 w 915678"/>
                  <a:gd name="connsiteY228" fmla="*/ 629860 h 815526"/>
                  <a:gd name="connsiteX229" fmla="*/ 343473 w 915678"/>
                  <a:gd name="connsiteY229" fmla="*/ 629288 h 815526"/>
                  <a:gd name="connsiteX230" fmla="*/ 343473 w 915678"/>
                  <a:gd name="connsiteY230" fmla="*/ 638444 h 815526"/>
                  <a:gd name="connsiteX231" fmla="*/ 306560 w 915678"/>
                  <a:gd name="connsiteY231" fmla="*/ 671209 h 815526"/>
                  <a:gd name="connsiteX232" fmla="*/ 314930 w 915678"/>
                  <a:gd name="connsiteY232" fmla="*/ 671709 h 815526"/>
                  <a:gd name="connsiteX233" fmla="*/ 315430 w 915678"/>
                  <a:gd name="connsiteY233" fmla="*/ 663339 h 815526"/>
                  <a:gd name="connsiteX234" fmla="*/ 307340 w 915678"/>
                  <a:gd name="connsiteY234" fmla="*/ 663132 h 815526"/>
                  <a:gd name="connsiteX235" fmla="*/ 307132 w 915678"/>
                  <a:gd name="connsiteY235" fmla="*/ 663339 h 815526"/>
                  <a:gd name="connsiteX236" fmla="*/ 307129 w 915678"/>
                  <a:gd name="connsiteY236" fmla="*/ 671635 h 815526"/>
                  <a:gd name="connsiteX237" fmla="*/ 307132 w 915678"/>
                  <a:gd name="connsiteY237" fmla="*/ 671638 h 815526"/>
                  <a:gd name="connsiteX238" fmla="*/ 270219 w 915678"/>
                  <a:gd name="connsiteY238" fmla="*/ 704402 h 815526"/>
                  <a:gd name="connsiteX239" fmla="*/ 277659 w 915678"/>
                  <a:gd name="connsiteY239" fmla="*/ 704402 h 815526"/>
                  <a:gd name="connsiteX240" fmla="*/ 278159 w 915678"/>
                  <a:gd name="connsiteY240" fmla="*/ 696891 h 815526"/>
                  <a:gd name="connsiteX241" fmla="*/ 270648 w 915678"/>
                  <a:gd name="connsiteY241" fmla="*/ 696390 h 815526"/>
                  <a:gd name="connsiteX242" fmla="*/ 270648 w 915678"/>
                  <a:gd name="connsiteY242" fmla="*/ 703973 h 815526"/>
                  <a:gd name="connsiteX243" fmla="*/ 233592 w 915678"/>
                  <a:gd name="connsiteY243" fmla="*/ 736594 h 815526"/>
                  <a:gd name="connsiteX244" fmla="*/ 240269 w 915678"/>
                  <a:gd name="connsiteY244" fmla="*/ 736641 h 815526"/>
                  <a:gd name="connsiteX245" fmla="*/ 240316 w 915678"/>
                  <a:gd name="connsiteY245" fmla="*/ 736594 h 815526"/>
                  <a:gd name="connsiteX246" fmla="*/ 240269 w 915678"/>
                  <a:gd name="connsiteY246" fmla="*/ 729917 h 815526"/>
                  <a:gd name="connsiteX247" fmla="*/ 233592 w 915678"/>
                  <a:gd name="connsiteY247" fmla="*/ 729964 h 815526"/>
                  <a:gd name="connsiteX248" fmla="*/ 233592 w 915678"/>
                  <a:gd name="connsiteY248" fmla="*/ 736594 h 815526"/>
                  <a:gd name="connsiteX249" fmla="*/ 196678 w 915678"/>
                  <a:gd name="connsiteY249" fmla="*/ 769358 h 815526"/>
                  <a:gd name="connsiteX250" fmla="*/ 202344 w 915678"/>
                  <a:gd name="connsiteY250" fmla="*/ 769301 h 815526"/>
                  <a:gd name="connsiteX251" fmla="*/ 202285 w 915678"/>
                  <a:gd name="connsiteY251" fmla="*/ 763635 h 815526"/>
                  <a:gd name="connsiteX252" fmla="*/ 196678 w 915678"/>
                  <a:gd name="connsiteY252" fmla="*/ 763635 h 815526"/>
                  <a:gd name="connsiteX253" fmla="*/ 196678 w 915678"/>
                  <a:gd name="connsiteY253" fmla="*/ 769358 h 815526"/>
                  <a:gd name="connsiteX254" fmla="*/ 159765 w 915678"/>
                  <a:gd name="connsiteY254" fmla="*/ 802122 h 815526"/>
                  <a:gd name="connsiteX255" fmla="*/ 164621 w 915678"/>
                  <a:gd name="connsiteY255" fmla="*/ 802113 h 815526"/>
                  <a:gd name="connsiteX256" fmla="*/ 164612 w 915678"/>
                  <a:gd name="connsiteY256" fmla="*/ 797258 h 815526"/>
                  <a:gd name="connsiteX257" fmla="*/ 159765 w 915678"/>
                  <a:gd name="connsiteY257" fmla="*/ 797258 h 815526"/>
                  <a:gd name="connsiteX258" fmla="*/ 159756 w 915678"/>
                  <a:gd name="connsiteY258" fmla="*/ 802113 h 815526"/>
                  <a:gd name="connsiteX259" fmla="*/ 159765 w 915678"/>
                  <a:gd name="connsiteY259" fmla="*/ 802122 h 815526"/>
                  <a:gd name="connsiteX260" fmla="*/ 470667 w 915678"/>
                  <a:gd name="connsiteY260" fmla="*/ 483924 h 815526"/>
                  <a:gd name="connsiteX261" fmla="*/ 483174 w 915678"/>
                  <a:gd name="connsiteY261" fmla="*/ 484885 h 815526"/>
                  <a:gd name="connsiteX262" fmla="*/ 484137 w 915678"/>
                  <a:gd name="connsiteY262" fmla="*/ 472378 h 815526"/>
                  <a:gd name="connsiteX263" fmla="*/ 483973 w 915678"/>
                  <a:gd name="connsiteY263" fmla="*/ 472192 h 815526"/>
                  <a:gd name="connsiteX264" fmla="*/ 471442 w 915678"/>
                  <a:gd name="connsiteY264" fmla="*/ 471579 h 815526"/>
                  <a:gd name="connsiteX265" fmla="*/ 470667 w 915678"/>
                  <a:gd name="connsiteY265" fmla="*/ 483924 h 815526"/>
                  <a:gd name="connsiteX266" fmla="*/ 433753 w 915678"/>
                  <a:gd name="connsiteY266" fmla="*/ 516688 h 815526"/>
                  <a:gd name="connsiteX267" fmla="*/ 445458 w 915678"/>
                  <a:gd name="connsiteY267" fmla="*/ 517535 h 815526"/>
                  <a:gd name="connsiteX268" fmla="*/ 446305 w 915678"/>
                  <a:gd name="connsiteY268" fmla="*/ 505830 h 815526"/>
                  <a:gd name="connsiteX269" fmla="*/ 434600 w 915678"/>
                  <a:gd name="connsiteY269" fmla="*/ 504983 h 815526"/>
                  <a:gd name="connsiteX270" fmla="*/ 434469 w 915678"/>
                  <a:gd name="connsiteY270" fmla="*/ 505099 h 815526"/>
                  <a:gd name="connsiteX271" fmla="*/ 433680 w 915678"/>
                  <a:gd name="connsiteY271" fmla="*/ 516605 h 815526"/>
                  <a:gd name="connsiteX272" fmla="*/ 433753 w 915678"/>
                  <a:gd name="connsiteY272" fmla="*/ 516688 h 815526"/>
                  <a:gd name="connsiteX273" fmla="*/ 396840 w 915678"/>
                  <a:gd name="connsiteY273" fmla="*/ 549452 h 815526"/>
                  <a:gd name="connsiteX274" fmla="*/ 407359 w 915678"/>
                  <a:gd name="connsiteY274" fmla="*/ 549664 h 815526"/>
                  <a:gd name="connsiteX275" fmla="*/ 407571 w 915678"/>
                  <a:gd name="connsiteY275" fmla="*/ 549452 h 815526"/>
                  <a:gd name="connsiteX276" fmla="*/ 408449 w 915678"/>
                  <a:gd name="connsiteY276" fmla="*/ 538764 h 815526"/>
                  <a:gd name="connsiteX277" fmla="*/ 408286 w 915678"/>
                  <a:gd name="connsiteY277" fmla="*/ 538578 h 815526"/>
                  <a:gd name="connsiteX278" fmla="*/ 397412 w 915678"/>
                  <a:gd name="connsiteY278" fmla="*/ 537863 h 815526"/>
                  <a:gd name="connsiteX279" fmla="*/ 397412 w 915678"/>
                  <a:gd name="connsiteY279" fmla="*/ 548737 h 815526"/>
                  <a:gd name="connsiteX280" fmla="*/ 359068 w 915678"/>
                  <a:gd name="connsiteY280" fmla="*/ 581787 h 815526"/>
                  <a:gd name="connsiteX281" fmla="*/ 368982 w 915678"/>
                  <a:gd name="connsiteY281" fmla="*/ 581685 h 815526"/>
                  <a:gd name="connsiteX282" fmla="*/ 368882 w 915678"/>
                  <a:gd name="connsiteY282" fmla="*/ 571772 h 815526"/>
                  <a:gd name="connsiteX283" fmla="*/ 359068 w 915678"/>
                  <a:gd name="connsiteY283" fmla="*/ 571772 h 815526"/>
                  <a:gd name="connsiteX284" fmla="*/ 359068 w 915678"/>
                  <a:gd name="connsiteY284" fmla="*/ 581787 h 815526"/>
                  <a:gd name="connsiteX285" fmla="*/ 322155 w 915678"/>
                  <a:gd name="connsiteY285" fmla="*/ 614551 h 815526"/>
                  <a:gd name="connsiteX286" fmla="*/ 331260 w 915678"/>
                  <a:gd name="connsiteY286" fmla="*/ 614602 h 815526"/>
                  <a:gd name="connsiteX287" fmla="*/ 331312 w 915678"/>
                  <a:gd name="connsiteY287" fmla="*/ 614551 h 815526"/>
                  <a:gd name="connsiteX288" fmla="*/ 331884 w 915678"/>
                  <a:gd name="connsiteY288" fmla="*/ 605394 h 815526"/>
                  <a:gd name="connsiteX289" fmla="*/ 322727 w 915678"/>
                  <a:gd name="connsiteY289" fmla="*/ 604822 h 815526"/>
                  <a:gd name="connsiteX290" fmla="*/ 322676 w 915678"/>
                  <a:gd name="connsiteY290" fmla="*/ 613927 h 815526"/>
                  <a:gd name="connsiteX291" fmla="*/ 322727 w 915678"/>
                  <a:gd name="connsiteY291" fmla="*/ 613979 h 815526"/>
                  <a:gd name="connsiteX292" fmla="*/ 284669 w 915678"/>
                  <a:gd name="connsiteY292" fmla="*/ 647744 h 815526"/>
                  <a:gd name="connsiteX293" fmla="*/ 292965 w 915678"/>
                  <a:gd name="connsiteY293" fmla="*/ 647741 h 815526"/>
                  <a:gd name="connsiteX294" fmla="*/ 292963 w 915678"/>
                  <a:gd name="connsiteY294" fmla="*/ 639446 h 815526"/>
                  <a:gd name="connsiteX295" fmla="*/ 284669 w 915678"/>
                  <a:gd name="connsiteY295" fmla="*/ 639446 h 815526"/>
                  <a:gd name="connsiteX296" fmla="*/ 284666 w 915678"/>
                  <a:gd name="connsiteY296" fmla="*/ 647741 h 815526"/>
                  <a:gd name="connsiteX297" fmla="*/ 284669 w 915678"/>
                  <a:gd name="connsiteY297" fmla="*/ 647744 h 815526"/>
                  <a:gd name="connsiteX298" fmla="*/ 248185 w 915678"/>
                  <a:gd name="connsiteY298" fmla="*/ 680509 h 815526"/>
                  <a:gd name="connsiteX299" fmla="*/ 255667 w 915678"/>
                  <a:gd name="connsiteY299" fmla="*/ 680224 h 815526"/>
                  <a:gd name="connsiteX300" fmla="*/ 256054 w 915678"/>
                  <a:gd name="connsiteY300" fmla="*/ 673498 h 815526"/>
                  <a:gd name="connsiteX301" fmla="*/ 248656 w 915678"/>
                  <a:gd name="connsiteY301" fmla="*/ 672355 h 815526"/>
                  <a:gd name="connsiteX302" fmla="*/ 247513 w 915678"/>
                  <a:gd name="connsiteY302" fmla="*/ 679753 h 815526"/>
                  <a:gd name="connsiteX303" fmla="*/ 248185 w 915678"/>
                  <a:gd name="connsiteY303" fmla="*/ 680509 h 815526"/>
                  <a:gd name="connsiteX304" fmla="*/ 211272 w 915678"/>
                  <a:gd name="connsiteY304" fmla="*/ 713273 h 815526"/>
                  <a:gd name="connsiteX305" fmla="*/ 217746 w 915678"/>
                  <a:gd name="connsiteY305" fmla="*/ 713380 h 815526"/>
                  <a:gd name="connsiteX306" fmla="*/ 217853 w 915678"/>
                  <a:gd name="connsiteY306" fmla="*/ 713273 h 815526"/>
                  <a:gd name="connsiteX307" fmla="*/ 217853 w 915678"/>
                  <a:gd name="connsiteY307" fmla="*/ 706691 h 815526"/>
                  <a:gd name="connsiteX308" fmla="*/ 211339 w 915678"/>
                  <a:gd name="connsiteY308" fmla="*/ 705223 h 815526"/>
                  <a:gd name="connsiteX309" fmla="*/ 209871 w 915678"/>
                  <a:gd name="connsiteY309" fmla="*/ 711736 h 815526"/>
                  <a:gd name="connsiteX310" fmla="*/ 210843 w 915678"/>
                  <a:gd name="connsiteY310" fmla="*/ 712843 h 815526"/>
                  <a:gd name="connsiteX311" fmla="*/ 173786 w 915678"/>
                  <a:gd name="connsiteY311" fmla="*/ 745607 h 815526"/>
                  <a:gd name="connsiteX312" fmla="*/ 179652 w 915678"/>
                  <a:gd name="connsiteY312" fmla="*/ 745607 h 815526"/>
                  <a:gd name="connsiteX313" fmla="*/ 179652 w 915678"/>
                  <a:gd name="connsiteY313" fmla="*/ 739885 h 815526"/>
                  <a:gd name="connsiteX314" fmla="*/ 174196 w 915678"/>
                  <a:gd name="connsiteY314" fmla="*/ 739618 h 815526"/>
                  <a:gd name="connsiteX315" fmla="*/ 173929 w 915678"/>
                  <a:gd name="connsiteY315" fmla="*/ 739885 h 815526"/>
                  <a:gd name="connsiteX316" fmla="*/ 173872 w 915678"/>
                  <a:gd name="connsiteY316" fmla="*/ 745550 h 815526"/>
                  <a:gd name="connsiteX317" fmla="*/ 173929 w 915678"/>
                  <a:gd name="connsiteY317" fmla="*/ 745607 h 815526"/>
                  <a:gd name="connsiteX318" fmla="*/ 137302 w 915678"/>
                  <a:gd name="connsiteY318" fmla="*/ 778801 h 815526"/>
                  <a:gd name="connsiteX319" fmla="*/ 142158 w 915678"/>
                  <a:gd name="connsiteY319" fmla="*/ 778792 h 815526"/>
                  <a:gd name="connsiteX320" fmla="*/ 142150 w 915678"/>
                  <a:gd name="connsiteY320" fmla="*/ 773936 h 815526"/>
                  <a:gd name="connsiteX321" fmla="*/ 137302 w 915678"/>
                  <a:gd name="connsiteY321" fmla="*/ 773936 h 815526"/>
                  <a:gd name="connsiteX322" fmla="*/ 137294 w 915678"/>
                  <a:gd name="connsiteY322" fmla="*/ 778792 h 815526"/>
                  <a:gd name="connsiteX323" fmla="*/ 137302 w 915678"/>
                  <a:gd name="connsiteY323" fmla="*/ 778801 h 815526"/>
                  <a:gd name="connsiteX324" fmla="*/ 449205 w 915678"/>
                  <a:gd name="connsiteY324" fmla="*/ 460459 h 815526"/>
                  <a:gd name="connsiteX325" fmla="*/ 461547 w 915678"/>
                  <a:gd name="connsiteY325" fmla="*/ 460565 h 815526"/>
                  <a:gd name="connsiteX326" fmla="*/ 461653 w 915678"/>
                  <a:gd name="connsiteY326" fmla="*/ 460459 h 815526"/>
                  <a:gd name="connsiteX327" fmla="*/ 462511 w 915678"/>
                  <a:gd name="connsiteY327" fmla="*/ 448012 h 815526"/>
                  <a:gd name="connsiteX328" fmla="*/ 449921 w 915678"/>
                  <a:gd name="connsiteY328" fmla="*/ 447153 h 815526"/>
                  <a:gd name="connsiteX329" fmla="*/ 449875 w 915678"/>
                  <a:gd name="connsiteY329" fmla="*/ 459698 h 815526"/>
                  <a:gd name="connsiteX330" fmla="*/ 449921 w 915678"/>
                  <a:gd name="connsiteY330" fmla="*/ 459744 h 815526"/>
                  <a:gd name="connsiteX331" fmla="*/ 412864 w 915678"/>
                  <a:gd name="connsiteY331" fmla="*/ 492508 h 815526"/>
                  <a:gd name="connsiteX332" fmla="*/ 424512 w 915678"/>
                  <a:gd name="connsiteY332" fmla="*/ 493940 h 815526"/>
                  <a:gd name="connsiteX333" fmla="*/ 425944 w 915678"/>
                  <a:gd name="connsiteY333" fmla="*/ 482293 h 815526"/>
                  <a:gd name="connsiteX334" fmla="*/ 414297 w 915678"/>
                  <a:gd name="connsiteY334" fmla="*/ 480860 h 815526"/>
                  <a:gd name="connsiteX335" fmla="*/ 413437 w 915678"/>
                  <a:gd name="connsiteY335" fmla="*/ 481635 h 815526"/>
                  <a:gd name="connsiteX336" fmla="*/ 412704 w 915678"/>
                  <a:gd name="connsiteY336" fmla="*/ 493347 h 815526"/>
                  <a:gd name="connsiteX337" fmla="*/ 412721 w 915678"/>
                  <a:gd name="connsiteY337" fmla="*/ 493367 h 815526"/>
                  <a:gd name="connsiteX338" fmla="*/ 375236 w 915678"/>
                  <a:gd name="connsiteY338" fmla="*/ 525988 h 815526"/>
                  <a:gd name="connsiteX339" fmla="*/ 386109 w 915678"/>
                  <a:gd name="connsiteY339" fmla="*/ 525988 h 815526"/>
                  <a:gd name="connsiteX340" fmla="*/ 386109 w 915678"/>
                  <a:gd name="connsiteY340" fmla="*/ 515114 h 815526"/>
                  <a:gd name="connsiteX341" fmla="*/ 375386 w 915678"/>
                  <a:gd name="connsiteY341" fmla="*/ 514964 h 815526"/>
                  <a:gd name="connsiteX342" fmla="*/ 375236 w 915678"/>
                  <a:gd name="connsiteY342" fmla="*/ 515114 h 815526"/>
                  <a:gd name="connsiteX343" fmla="*/ 375236 w 915678"/>
                  <a:gd name="connsiteY343" fmla="*/ 525988 h 815526"/>
                  <a:gd name="connsiteX344" fmla="*/ 338179 w 915678"/>
                  <a:gd name="connsiteY344" fmla="*/ 558752 h 815526"/>
                  <a:gd name="connsiteX345" fmla="*/ 348195 w 915678"/>
                  <a:gd name="connsiteY345" fmla="*/ 558752 h 815526"/>
                  <a:gd name="connsiteX346" fmla="*/ 349027 w 915678"/>
                  <a:gd name="connsiteY346" fmla="*/ 548873 h 815526"/>
                  <a:gd name="connsiteX347" fmla="*/ 348910 w 915678"/>
                  <a:gd name="connsiteY347" fmla="*/ 548737 h 815526"/>
                  <a:gd name="connsiteX348" fmla="*/ 338895 w 915678"/>
                  <a:gd name="connsiteY348" fmla="*/ 548737 h 815526"/>
                  <a:gd name="connsiteX349" fmla="*/ 338793 w 915678"/>
                  <a:gd name="connsiteY349" fmla="*/ 558650 h 815526"/>
                  <a:gd name="connsiteX350" fmla="*/ 338895 w 915678"/>
                  <a:gd name="connsiteY350" fmla="*/ 558752 h 815526"/>
                  <a:gd name="connsiteX351" fmla="*/ 301981 w 915678"/>
                  <a:gd name="connsiteY351" fmla="*/ 591516 h 815526"/>
                  <a:gd name="connsiteX352" fmla="*/ 311138 w 915678"/>
                  <a:gd name="connsiteY352" fmla="*/ 591516 h 815526"/>
                  <a:gd name="connsiteX353" fmla="*/ 311710 w 915678"/>
                  <a:gd name="connsiteY353" fmla="*/ 582359 h 815526"/>
                  <a:gd name="connsiteX354" fmla="*/ 302554 w 915678"/>
                  <a:gd name="connsiteY354" fmla="*/ 581787 h 815526"/>
                  <a:gd name="connsiteX355" fmla="*/ 302554 w 915678"/>
                  <a:gd name="connsiteY355" fmla="*/ 590944 h 815526"/>
                  <a:gd name="connsiteX356" fmla="*/ 264353 w 915678"/>
                  <a:gd name="connsiteY356" fmla="*/ 624709 h 815526"/>
                  <a:gd name="connsiteX357" fmla="*/ 272648 w 915678"/>
                  <a:gd name="connsiteY357" fmla="*/ 624706 h 815526"/>
                  <a:gd name="connsiteX358" fmla="*/ 272647 w 915678"/>
                  <a:gd name="connsiteY358" fmla="*/ 616411 h 815526"/>
                  <a:gd name="connsiteX359" fmla="*/ 264353 w 915678"/>
                  <a:gd name="connsiteY359" fmla="*/ 616411 h 815526"/>
                  <a:gd name="connsiteX360" fmla="*/ 264350 w 915678"/>
                  <a:gd name="connsiteY360" fmla="*/ 624706 h 815526"/>
                  <a:gd name="connsiteX361" fmla="*/ 264353 w 915678"/>
                  <a:gd name="connsiteY361" fmla="*/ 624709 h 815526"/>
                  <a:gd name="connsiteX362" fmla="*/ 227439 w 915678"/>
                  <a:gd name="connsiteY362" fmla="*/ 657044 h 815526"/>
                  <a:gd name="connsiteX363" fmla="*/ 235022 w 915678"/>
                  <a:gd name="connsiteY363" fmla="*/ 657044 h 815526"/>
                  <a:gd name="connsiteX364" fmla="*/ 235022 w 915678"/>
                  <a:gd name="connsiteY364" fmla="*/ 649604 h 815526"/>
                  <a:gd name="connsiteX365" fmla="*/ 227511 w 915678"/>
                  <a:gd name="connsiteY365" fmla="*/ 649104 h 815526"/>
                  <a:gd name="connsiteX366" fmla="*/ 227010 w 915678"/>
                  <a:gd name="connsiteY366" fmla="*/ 656615 h 815526"/>
                  <a:gd name="connsiteX367" fmla="*/ 190097 w 915678"/>
                  <a:gd name="connsiteY367" fmla="*/ 689379 h 815526"/>
                  <a:gd name="connsiteX368" fmla="*/ 196678 w 915678"/>
                  <a:gd name="connsiteY368" fmla="*/ 689379 h 815526"/>
                  <a:gd name="connsiteX369" fmla="*/ 196786 w 915678"/>
                  <a:gd name="connsiteY369" fmla="*/ 682905 h 815526"/>
                  <a:gd name="connsiteX370" fmla="*/ 196678 w 915678"/>
                  <a:gd name="connsiteY370" fmla="*/ 682798 h 815526"/>
                  <a:gd name="connsiteX371" fmla="*/ 190097 w 915678"/>
                  <a:gd name="connsiteY371" fmla="*/ 682798 h 815526"/>
                  <a:gd name="connsiteX372" fmla="*/ 189990 w 915678"/>
                  <a:gd name="connsiteY372" fmla="*/ 689272 h 815526"/>
                  <a:gd name="connsiteX373" fmla="*/ 190097 w 915678"/>
                  <a:gd name="connsiteY373" fmla="*/ 689379 h 815526"/>
                  <a:gd name="connsiteX374" fmla="*/ 153184 w 915678"/>
                  <a:gd name="connsiteY374" fmla="*/ 722143 h 815526"/>
                  <a:gd name="connsiteX375" fmla="*/ 158907 w 915678"/>
                  <a:gd name="connsiteY375" fmla="*/ 722143 h 815526"/>
                  <a:gd name="connsiteX376" fmla="*/ 159173 w 915678"/>
                  <a:gd name="connsiteY376" fmla="*/ 716686 h 815526"/>
                  <a:gd name="connsiteX377" fmla="*/ 158907 w 915678"/>
                  <a:gd name="connsiteY377" fmla="*/ 716420 h 815526"/>
                  <a:gd name="connsiteX378" fmla="*/ 153241 w 915678"/>
                  <a:gd name="connsiteY378" fmla="*/ 716363 h 815526"/>
                  <a:gd name="connsiteX379" fmla="*/ 153184 w 915678"/>
                  <a:gd name="connsiteY379" fmla="*/ 716420 h 815526"/>
                  <a:gd name="connsiteX380" fmla="*/ 153184 w 915678"/>
                  <a:gd name="connsiteY380" fmla="*/ 722286 h 815526"/>
                  <a:gd name="connsiteX381" fmla="*/ 116127 w 915678"/>
                  <a:gd name="connsiteY381" fmla="*/ 755050 h 815526"/>
                  <a:gd name="connsiteX382" fmla="*/ 121185 w 915678"/>
                  <a:gd name="connsiteY382" fmla="*/ 755101 h 815526"/>
                  <a:gd name="connsiteX383" fmla="*/ 121236 w 915678"/>
                  <a:gd name="connsiteY383" fmla="*/ 750043 h 815526"/>
                  <a:gd name="connsiteX384" fmla="*/ 116177 w 915678"/>
                  <a:gd name="connsiteY384" fmla="*/ 749993 h 815526"/>
                  <a:gd name="connsiteX385" fmla="*/ 116127 w 915678"/>
                  <a:gd name="connsiteY385" fmla="*/ 750043 h 815526"/>
                  <a:gd name="connsiteX386" fmla="*/ 116127 w 915678"/>
                  <a:gd name="connsiteY386" fmla="*/ 755050 h 815526"/>
                  <a:gd name="connsiteX387" fmla="*/ 79214 w 915678"/>
                  <a:gd name="connsiteY387" fmla="*/ 787672 h 815526"/>
                  <a:gd name="connsiteX388" fmla="*/ 83055 w 915678"/>
                  <a:gd name="connsiteY388" fmla="*/ 787838 h 815526"/>
                  <a:gd name="connsiteX389" fmla="*/ 83220 w 915678"/>
                  <a:gd name="connsiteY389" fmla="*/ 787672 h 815526"/>
                  <a:gd name="connsiteX390" fmla="*/ 83385 w 915678"/>
                  <a:gd name="connsiteY390" fmla="*/ 783830 h 815526"/>
                  <a:gd name="connsiteX391" fmla="*/ 83220 w 915678"/>
                  <a:gd name="connsiteY391" fmla="*/ 783665 h 815526"/>
                  <a:gd name="connsiteX392" fmla="*/ 79214 w 915678"/>
                  <a:gd name="connsiteY392" fmla="*/ 783665 h 815526"/>
                  <a:gd name="connsiteX393" fmla="*/ 79049 w 915678"/>
                  <a:gd name="connsiteY393" fmla="*/ 787506 h 815526"/>
                  <a:gd name="connsiteX394" fmla="*/ 79214 w 915678"/>
                  <a:gd name="connsiteY394" fmla="*/ 787672 h 815526"/>
                  <a:gd name="connsiteX395" fmla="*/ 479823 w 915678"/>
                  <a:gd name="connsiteY395" fmla="*/ 391354 h 815526"/>
                  <a:gd name="connsiteX396" fmla="*/ 467233 w 915678"/>
                  <a:gd name="connsiteY396" fmla="*/ 390496 h 815526"/>
                  <a:gd name="connsiteX397" fmla="*/ 466374 w 915678"/>
                  <a:gd name="connsiteY397" fmla="*/ 403086 h 815526"/>
                  <a:gd name="connsiteX398" fmla="*/ 478965 w 915678"/>
                  <a:gd name="connsiteY398" fmla="*/ 403945 h 815526"/>
                  <a:gd name="connsiteX399" fmla="*/ 479823 w 915678"/>
                  <a:gd name="connsiteY399" fmla="*/ 391354 h 815526"/>
                  <a:gd name="connsiteX400" fmla="*/ 516737 w 915678"/>
                  <a:gd name="connsiteY400" fmla="*/ 358590 h 815526"/>
                  <a:gd name="connsiteX401" fmla="*/ 505032 w 915678"/>
                  <a:gd name="connsiteY401" fmla="*/ 357743 h 815526"/>
                  <a:gd name="connsiteX402" fmla="*/ 504185 w 915678"/>
                  <a:gd name="connsiteY402" fmla="*/ 369448 h 815526"/>
                  <a:gd name="connsiteX403" fmla="*/ 515890 w 915678"/>
                  <a:gd name="connsiteY403" fmla="*/ 370295 h 815526"/>
                  <a:gd name="connsiteX404" fmla="*/ 516021 w 915678"/>
                  <a:gd name="connsiteY404" fmla="*/ 370179 h 815526"/>
                  <a:gd name="connsiteX405" fmla="*/ 516810 w 915678"/>
                  <a:gd name="connsiteY405" fmla="*/ 358673 h 815526"/>
                  <a:gd name="connsiteX406" fmla="*/ 516737 w 915678"/>
                  <a:gd name="connsiteY406" fmla="*/ 358590 h 815526"/>
                  <a:gd name="connsiteX407" fmla="*/ 553650 w 915678"/>
                  <a:gd name="connsiteY407" fmla="*/ 325826 h 815526"/>
                  <a:gd name="connsiteX408" fmla="*/ 542848 w 915678"/>
                  <a:gd name="connsiteY408" fmla="*/ 325182 h 815526"/>
                  <a:gd name="connsiteX409" fmla="*/ 542204 w 915678"/>
                  <a:gd name="connsiteY409" fmla="*/ 335984 h 815526"/>
                  <a:gd name="connsiteX410" fmla="*/ 553078 w 915678"/>
                  <a:gd name="connsiteY410" fmla="*/ 335984 h 815526"/>
                  <a:gd name="connsiteX411" fmla="*/ 553078 w 915678"/>
                  <a:gd name="connsiteY411" fmla="*/ 325111 h 815526"/>
                  <a:gd name="connsiteX412" fmla="*/ 590134 w 915678"/>
                  <a:gd name="connsiteY412" fmla="*/ 292347 h 815526"/>
                  <a:gd name="connsiteX413" fmla="*/ 580426 w 915678"/>
                  <a:gd name="connsiteY413" fmla="*/ 292039 h 815526"/>
                  <a:gd name="connsiteX414" fmla="*/ 580119 w 915678"/>
                  <a:gd name="connsiteY414" fmla="*/ 292347 h 815526"/>
                  <a:gd name="connsiteX415" fmla="*/ 579286 w 915678"/>
                  <a:gd name="connsiteY415" fmla="*/ 302226 h 815526"/>
                  <a:gd name="connsiteX416" fmla="*/ 579403 w 915678"/>
                  <a:gd name="connsiteY416" fmla="*/ 302362 h 815526"/>
                  <a:gd name="connsiteX417" fmla="*/ 589419 w 915678"/>
                  <a:gd name="connsiteY417" fmla="*/ 302362 h 815526"/>
                  <a:gd name="connsiteX418" fmla="*/ 589520 w 915678"/>
                  <a:gd name="connsiteY418" fmla="*/ 292448 h 815526"/>
                  <a:gd name="connsiteX419" fmla="*/ 589419 w 915678"/>
                  <a:gd name="connsiteY419" fmla="*/ 292347 h 815526"/>
                  <a:gd name="connsiteX420" fmla="*/ 628049 w 915678"/>
                  <a:gd name="connsiteY420" fmla="*/ 260584 h 815526"/>
                  <a:gd name="connsiteX421" fmla="*/ 618944 w 915678"/>
                  <a:gd name="connsiteY421" fmla="*/ 260532 h 815526"/>
                  <a:gd name="connsiteX422" fmla="*/ 618892 w 915678"/>
                  <a:gd name="connsiteY422" fmla="*/ 260584 h 815526"/>
                  <a:gd name="connsiteX423" fmla="*/ 618320 w 915678"/>
                  <a:gd name="connsiteY423" fmla="*/ 269741 h 815526"/>
                  <a:gd name="connsiteX424" fmla="*/ 627477 w 915678"/>
                  <a:gd name="connsiteY424" fmla="*/ 270313 h 815526"/>
                  <a:gd name="connsiteX425" fmla="*/ 627528 w 915678"/>
                  <a:gd name="connsiteY425" fmla="*/ 261208 h 815526"/>
                  <a:gd name="connsiteX426" fmla="*/ 627477 w 915678"/>
                  <a:gd name="connsiteY426" fmla="*/ 261156 h 815526"/>
                  <a:gd name="connsiteX427" fmla="*/ 664390 w 915678"/>
                  <a:gd name="connsiteY427" fmla="*/ 228392 h 815526"/>
                  <a:gd name="connsiteX428" fmla="*/ 656094 w 915678"/>
                  <a:gd name="connsiteY428" fmla="*/ 228395 h 815526"/>
                  <a:gd name="connsiteX429" fmla="*/ 656096 w 915678"/>
                  <a:gd name="connsiteY429" fmla="*/ 236690 h 815526"/>
                  <a:gd name="connsiteX430" fmla="*/ 664390 w 915678"/>
                  <a:gd name="connsiteY430" fmla="*/ 236690 h 815526"/>
                  <a:gd name="connsiteX431" fmla="*/ 664393 w 915678"/>
                  <a:gd name="connsiteY431" fmla="*/ 228395 h 815526"/>
                  <a:gd name="connsiteX432" fmla="*/ 664390 w 915678"/>
                  <a:gd name="connsiteY432" fmla="*/ 228392 h 815526"/>
                  <a:gd name="connsiteX433" fmla="*/ 701303 w 915678"/>
                  <a:gd name="connsiteY433" fmla="*/ 195485 h 815526"/>
                  <a:gd name="connsiteX434" fmla="*/ 693792 w 915678"/>
                  <a:gd name="connsiteY434" fmla="*/ 194984 h 815526"/>
                  <a:gd name="connsiteX435" fmla="*/ 693291 w 915678"/>
                  <a:gd name="connsiteY435" fmla="*/ 202496 h 815526"/>
                  <a:gd name="connsiteX436" fmla="*/ 700802 w 915678"/>
                  <a:gd name="connsiteY436" fmla="*/ 202996 h 815526"/>
                  <a:gd name="connsiteX437" fmla="*/ 701303 w 915678"/>
                  <a:gd name="connsiteY437" fmla="*/ 195485 h 815526"/>
                  <a:gd name="connsiteX438" fmla="*/ 738216 w 915678"/>
                  <a:gd name="connsiteY438" fmla="*/ 162721 h 815526"/>
                  <a:gd name="connsiteX439" fmla="*/ 731635 w 915678"/>
                  <a:gd name="connsiteY439" fmla="*/ 162721 h 815526"/>
                  <a:gd name="connsiteX440" fmla="*/ 731541 w 915678"/>
                  <a:gd name="connsiteY440" fmla="*/ 169397 h 815526"/>
                  <a:gd name="connsiteX441" fmla="*/ 738216 w 915678"/>
                  <a:gd name="connsiteY441" fmla="*/ 169493 h 815526"/>
                  <a:gd name="connsiteX442" fmla="*/ 738311 w 915678"/>
                  <a:gd name="connsiteY442" fmla="*/ 162815 h 815526"/>
                  <a:gd name="connsiteX443" fmla="*/ 738216 w 915678"/>
                  <a:gd name="connsiteY443" fmla="*/ 162721 h 815526"/>
                  <a:gd name="connsiteX444" fmla="*/ 775130 w 915678"/>
                  <a:gd name="connsiteY444" fmla="*/ 129957 h 815526"/>
                  <a:gd name="connsiteX445" fmla="*/ 769464 w 915678"/>
                  <a:gd name="connsiteY445" fmla="*/ 130014 h 815526"/>
                  <a:gd name="connsiteX446" fmla="*/ 769523 w 915678"/>
                  <a:gd name="connsiteY446" fmla="*/ 135680 h 815526"/>
                  <a:gd name="connsiteX447" fmla="*/ 775130 w 915678"/>
                  <a:gd name="connsiteY447" fmla="*/ 135680 h 815526"/>
                  <a:gd name="connsiteX448" fmla="*/ 775396 w 915678"/>
                  <a:gd name="connsiteY448" fmla="*/ 130223 h 815526"/>
                  <a:gd name="connsiteX449" fmla="*/ 775130 w 915678"/>
                  <a:gd name="connsiteY449" fmla="*/ 129957 h 815526"/>
                  <a:gd name="connsiteX450" fmla="*/ 812186 w 915678"/>
                  <a:gd name="connsiteY450" fmla="*/ 97192 h 815526"/>
                  <a:gd name="connsiteX451" fmla="*/ 807330 w 915678"/>
                  <a:gd name="connsiteY451" fmla="*/ 97201 h 815526"/>
                  <a:gd name="connsiteX452" fmla="*/ 807339 w 915678"/>
                  <a:gd name="connsiteY452" fmla="*/ 102057 h 815526"/>
                  <a:gd name="connsiteX453" fmla="*/ 812186 w 915678"/>
                  <a:gd name="connsiteY453" fmla="*/ 102057 h 815526"/>
                  <a:gd name="connsiteX454" fmla="*/ 812195 w 915678"/>
                  <a:gd name="connsiteY454" fmla="*/ 97201 h 815526"/>
                  <a:gd name="connsiteX455" fmla="*/ 812186 w 915678"/>
                  <a:gd name="connsiteY455" fmla="*/ 97192 h 815526"/>
                  <a:gd name="connsiteX456" fmla="*/ 849099 w 915678"/>
                  <a:gd name="connsiteY456" fmla="*/ 64428 h 815526"/>
                  <a:gd name="connsiteX457" fmla="*/ 845022 w 915678"/>
                  <a:gd name="connsiteY457" fmla="*/ 64214 h 815526"/>
                  <a:gd name="connsiteX458" fmla="*/ 844807 w 915678"/>
                  <a:gd name="connsiteY458" fmla="*/ 68291 h 815526"/>
                  <a:gd name="connsiteX459" fmla="*/ 848813 w 915678"/>
                  <a:gd name="connsiteY459" fmla="*/ 68291 h 815526"/>
                  <a:gd name="connsiteX460" fmla="*/ 848813 w 915678"/>
                  <a:gd name="connsiteY460" fmla="*/ 64142 h 815526"/>
                  <a:gd name="connsiteX461" fmla="*/ 458648 w 915678"/>
                  <a:gd name="connsiteY461" fmla="*/ 368033 h 815526"/>
                  <a:gd name="connsiteX462" fmla="*/ 446058 w 915678"/>
                  <a:gd name="connsiteY462" fmla="*/ 367318 h 815526"/>
                  <a:gd name="connsiteX463" fmla="*/ 445281 w 915678"/>
                  <a:gd name="connsiteY463" fmla="*/ 379838 h 815526"/>
                  <a:gd name="connsiteX464" fmla="*/ 445342 w 915678"/>
                  <a:gd name="connsiteY464" fmla="*/ 379908 h 815526"/>
                  <a:gd name="connsiteX465" fmla="*/ 457933 w 915678"/>
                  <a:gd name="connsiteY465" fmla="*/ 380624 h 815526"/>
                  <a:gd name="connsiteX466" fmla="*/ 458648 w 915678"/>
                  <a:gd name="connsiteY466" fmla="*/ 368033 h 815526"/>
                  <a:gd name="connsiteX467" fmla="*/ 495562 w 915678"/>
                  <a:gd name="connsiteY467" fmla="*/ 335269 h 815526"/>
                  <a:gd name="connsiteX468" fmla="*/ 483847 w 915678"/>
                  <a:gd name="connsiteY468" fmla="*/ 334574 h 815526"/>
                  <a:gd name="connsiteX469" fmla="*/ 483151 w 915678"/>
                  <a:gd name="connsiteY469" fmla="*/ 346289 h 815526"/>
                  <a:gd name="connsiteX470" fmla="*/ 494846 w 915678"/>
                  <a:gd name="connsiteY470" fmla="*/ 347001 h 815526"/>
                  <a:gd name="connsiteX471" fmla="*/ 495579 w 915678"/>
                  <a:gd name="connsiteY471" fmla="*/ 335289 h 815526"/>
                  <a:gd name="connsiteX472" fmla="*/ 495562 w 915678"/>
                  <a:gd name="connsiteY472" fmla="*/ 335269 h 815526"/>
                  <a:gd name="connsiteX473" fmla="*/ 532618 w 915678"/>
                  <a:gd name="connsiteY473" fmla="*/ 302505 h 815526"/>
                  <a:gd name="connsiteX474" fmla="*/ 521744 w 915678"/>
                  <a:gd name="connsiteY474" fmla="*/ 302505 h 815526"/>
                  <a:gd name="connsiteX475" fmla="*/ 521594 w 915678"/>
                  <a:gd name="connsiteY475" fmla="*/ 313228 h 815526"/>
                  <a:gd name="connsiteX476" fmla="*/ 521744 w 915678"/>
                  <a:gd name="connsiteY476" fmla="*/ 313379 h 815526"/>
                  <a:gd name="connsiteX477" fmla="*/ 532618 w 915678"/>
                  <a:gd name="connsiteY477" fmla="*/ 313379 h 815526"/>
                  <a:gd name="connsiteX478" fmla="*/ 532618 w 915678"/>
                  <a:gd name="connsiteY478" fmla="*/ 302505 h 815526"/>
                  <a:gd name="connsiteX479" fmla="*/ 569531 w 915678"/>
                  <a:gd name="connsiteY479" fmla="*/ 269741 h 815526"/>
                  <a:gd name="connsiteX480" fmla="*/ 559516 w 915678"/>
                  <a:gd name="connsiteY480" fmla="*/ 269741 h 815526"/>
                  <a:gd name="connsiteX481" fmla="*/ 560253 w 915678"/>
                  <a:gd name="connsiteY481" fmla="*/ 279830 h 815526"/>
                  <a:gd name="connsiteX482" fmla="*/ 568959 w 915678"/>
                  <a:gd name="connsiteY482" fmla="*/ 280328 h 815526"/>
                  <a:gd name="connsiteX483" fmla="*/ 568959 w 915678"/>
                  <a:gd name="connsiteY483" fmla="*/ 270313 h 815526"/>
                  <a:gd name="connsiteX484" fmla="*/ 605872 w 915678"/>
                  <a:gd name="connsiteY484" fmla="*/ 237549 h 815526"/>
                  <a:gd name="connsiteX485" fmla="*/ 596716 w 915678"/>
                  <a:gd name="connsiteY485" fmla="*/ 237549 h 815526"/>
                  <a:gd name="connsiteX486" fmla="*/ 596716 w 915678"/>
                  <a:gd name="connsiteY486" fmla="*/ 246706 h 815526"/>
                  <a:gd name="connsiteX487" fmla="*/ 605872 w 915678"/>
                  <a:gd name="connsiteY487" fmla="*/ 246706 h 815526"/>
                  <a:gd name="connsiteX488" fmla="*/ 605924 w 915678"/>
                  <a:gd name="connsiteY488" fmla="*/ 237600 h 815526"/>
                  <a:gd name="connsiteX489" fmla="*/ 605872 w 915678"/>
                  <a:gd name="connsiteY489" fmla="*/ 237549 h 815526"/>
                  <a:gd name="connsiteX490" fmla="*/ 642929 w 915678"/>
                  <a:gd name="connsiteY490" fmla="*/ 204928 h 815526"/>
                  <a:gd name="connsiteX491" fmla="*/ 634633 w 915678"/>
                  <a:gd name="connsiteY491" fmla="*/ 204931 h 815526"/>
                  <a:gd name="connsiteX492" fmla="*/ 634635 w 915678"/>
                  <a:gd name="connsiteY492" fmla="*/ 213226 h 815526"/>
                  <a:gd name="connsiteX493" fmla="*/ 642929 w 915678"/>
                  <a:gd name="connsiteY493" fmla="*/ 213226 h 815526"/>
                  <a:gd name="connsiteX494" fmla="*/ 642932 w 915678"/>
                  <a:gd name="connsiteY494" fmla="*/ 204931 h 815526"/>
                  <a:gd name="connsiteX495" fmla="*/ 642929 w 915678"/>
                  <a:gd name="connsiteY495" fmla="*/ 204928 h 815526"/>
                  <a:gd name="connsiteX496" fmla="*/ 679842 w 915678"/>
                  <a:gd name="connsiteY496" fmla="*/ 172164 h 815526"/>
                  <a:gd name="connsiteX497" fmla="*/ 672402 w 915678"/>
                  <a:gd name="connsiteY497" fmla="*/ 172164 h 815526"/>
                  <a:gd name="connsiteX498" fmla="*/ 671901 w 915678"/>
                  <a:gd name="connsiteY498" fmla="*/ 179675 h 815526"/>
                  <a:gd name="connsiteX499" fmla="*/ 679413 w 915678"/>
                  <a:gd name="connsiteY499" fmla="*/ 180176 h 815526"/>
                  <a:gd name="connsiteX500" fmla="*/ 679413 w 915678"/>
                  <a:gd name="connsiteY500" fmla="*/ 172736 h 815526"/>
                  <a:gd name="connsiteX501" fmla="*/ 717328 w 915678"/>
                  <a:gd name="connsiteY501" fmla="*/ 138255 h 815526"/>
                  <a:gd name="connsiteX502" fmla="*/ 710853 w 915678"/>
                  <a:gd name="connsiteY502" fmla="*/ 138148 h 815526"/>
                  <a:gd name="connsiteX503" fmla="*/ 710746 w 915678"/>
                  <a:gd name="connsiteY503" fmla="*/ 138255 h 815526"/>
                  <a:gd name="connsiteX504" fmla="*/ 710746 w 915678"/>
                  <a:gd name="connsiteY504" fmla="*/ 144836 h 815526"/>
                  <a:gd name="connsiteX505" fmla="*/ 717471 w 915678"/>
                  <a:gd name="connsiteY505" fmla="*/ 144836 h 815526"/>
                  <a:gd name="connsiteX506" fmla="*/ 717471 w 915678"/>
                  <a:gd name="connsiteY506" fmla="*/ 138255 h 815526"/>
                  <a:gd name="connsiteX507" fmla="*/ 754527 w 915678"/>
                  <a:gd name="connsiteY507" fmla="*/ 105491 h 815526"/>
                  <a:gd name="connsiteX508" fmla="*/ 748661 w 915678"/>
                  <a:gd name="connsiteY508" fmla="*/ 105491 h 815526"/>
                  <a:gd name="connsiteX509" fmla="*/ 748661 w 915678"/>
                  <a:gd name="connsiteY509" fmla="*/ 111214 h 815526"/>
                  <a:gd name="connsiteX510" fmla="*/ 754384 w 915678"/>
                  <a:gd name="connsiteY510" fmla="*/ 111643 h 815526"/>
                  <a:gd name="connsiteX511" fmla="*/ 754813 w 915678"/>
                  <a:gd name="connsiteY511" fmla="*/ 105920 h 815526"/>
                  <a:gd name="connsiteX512" fmla="*/ 791726 w 915678"/>
                  <a:gd name="connsiteY512" fmla="*/ 73156 h 815526"/>
                  <a:gd name="connsiteX513" fmla="*/ 786871 w 915678"/>
                  <a:gd name="connsiteY513" fmla="*/ 73165 h 815526"/>
                  <a:gd name="connsiteX514" fmla="*/ 786879 w 915678"/>
                  <a:gd name="connsiteY514" fmla="*/ 78021 h 815526"/>
                  <a:gd name="connsiteX515" fmla="*/ 791726 w 915678"/>
                  <a:gd name="connsiteY515" fmla="*/ 78021 h 815526"/>
                  <a:gd name="connsiteX516" fmla="*/ 791735 w 915678"/>
                  <a:gd name="connsiteY516" fmla="*/ 73165 h 815526"/>
                  <a:gd name="connsiteX517" fmla="*/ 791726 w 915678"/>
                  <a:gd name="connsiteY517" fmla="*/ 73156 h 815526"/>
                  <a:gd name="connsiteX518" fmla="*/ 828354 w 915678"/>
                  <a:gd name="connsiteY518" fmla="*/ 40535 h 815526"/>
                  <a:gd name="connsiteX519" fmla="*/ 824312 w 915678"/>
                  <a:gd name="connsiteY519" fmla="*/ 40744 h 815526"/>
                  <a:gd name="connsiteX520" fmla="*/ 824061 w 915678"/>
                  <a:gd name="connsiteY520" fmla="*/ 44255 h 815526"/>
                  <a:gd name="connsiteX521" fmla="*/ 828210 w 915678"/>
                  <a:gd name="connsiteY521" fmla="*/ 44255 h 815526"/>
                  <a:gd name="connsiteX522" fmla="*/ 828375 w 915678"/>
                  <a:gd name="connsiteY522" fmla="*/ 40413 h 815526"/>
                  <a:gd name="connsiteX523" fmla="*/ 828210 w 915678"/>
                  <a:gd name="connsiteY523" fmla="*/ 40249 h 815526"/>
                  <a:gd name="connsiteX524" fmla="*/ 437759 w 915678"/>
                  <a:gd name="connsiteY524" fmla="*/ 344569 h 815526"/>
                  <a:gd name="connsiteX525" fmla="*/ 425229 w 915678"/>
                  <a:gd name="connsiteY525" fmla="*/ 343957 h 815526"/>
                  <a:gd name="connsiteX526" fmla="*/ 424453 w 915678"/>
                  <a:gd name="connsiteY526" fmla="*/ 356301 h 815526"/>
                  <a:gd name="connsiteX527" fmla="*/ 437044 w 915678"/>
                  <a:gd name="connsiteY527" fmla="*/ 357159 h 815526"/>
                  <a:gd name="connsiteX528" fmla="*/ 437821 w 915678"/>
                  <a:gd name="connsiteY528" fmla="*/ 344639 h 815526"/>
                  <a:gd name="connsiteX529" fmla="*/ 437759 w 915678"/>
                  <a:gd name="connsiteY529" fmla="*/ 344569 h 815526"/>
                  <a:gd name="connsiteX530" fmla="*/ 474816 w 915678"/>
                  <a:gd name="connsiteY530" fmla="*/ 311805 h 815526"/>
                  <a:gd name="connsiteX531" fmla="*/ 463081 w 915678"/>
                  <a:gd name="connsiteY531" fmla="*/ 311802 h 815526"/>
                  <a:gd name="connsiteX532" fmla="*/ 463076 w 915678"/>
                  <a:gd name="connsiteY532" fmla="*/ 323537 h 815526"/>
                  <a:gd name="connsiteX533" fmla="*/ 474813 w 915678"/>
                  <a:gd name="connsiteY533" fmla="*/ 323540 h 815526"/>
                  <a:gd name="connsiteX534" fmla="*/ 474816 w 915678"/>
                  <a:gd name="connsiteY534" fmla="*/ 323537 h 815526"/>
                  <a:gd name="connsiteX535" fmla="*/ 474816 w 915678"/>
                  <a:gd name="connsiteY535" fmla="*/ 311805 h 815526"/>
                  <a:gd name="connsiteX536" fmla="*/ 511729 w 915678"/>
                  <a:gd name="connsiteY536" fmla="*/ 279041 h 815526"/>
                  <a:gd name="connsiteX537" fmla="*/ 500802 w 915678"/>
                  <a:gd name="connsiteY537" fmla="*/ 278988 h 815526"/>
                  <a:gd name="connsiteX538" fmla="*/ 500751 w 915678"/>
                  <a:gd name="connsiteY538" fmla="*/ 289914 h 815526"/>
                  <a:gd name="connsiteX539" fmla="*/ 511676 w 915678"/>
                  <a:gd name="connsiteY539" fmla="*/ 289967 h 815526"/>
                  <a:gd name="connsiteX540" fmla="*/ 511729 w 915678"/>
                  <a:gd name="connsiteY540" fmla="*/ 289914 h 815526"/>
                  <a:gd name="connsiteX541" fmla="*/ 511879 w 915678"/>
                  <a:gd name="connsiteY541" fmla="*/ 279191 h 815526"/>
                  <a:gd name="connsiteX542" fmla="*/ 511729 w 915678"/>
                  <a:gd name="connsiteY542" fmla="*/ 279041 h 815526"/>
                  <a:gd name="connsiteX543" fmla="*/ 548642 w 915678"/>
                  <a:gd name="connsiteY543" fmla="*/ 246276 h 815526"/>
                  <a:gd name="connsiteX544" fmla="*/ 538526 w 915678"/>
                  <a:gd name="connsiteY544" fmla="*/ 246175 h 815526"/>
                  <a:gd name="connsiteX545" fmla="*/ 538425 w 915678"/>
                  <a:gd name="connsiteY545" fmla="*/ 256292 h 815526"/>
                  <a:gd name="connsiteX546" fmla="*/ 548541 w 915678"/>
                  <a:gd name="connsiteY546" fmla="*/ 256393 h 815526"/>
                  <a:gd name="connsiteX547" fmla="*/ 548642 w 915678"/>
                  <a:gd name="connsiteY547" fmla="*/ 256292 h 815526"/>
                  <a:gd name="connsiteX548" fmla="*/ 548642 w 915678"/>
                  <a:gd name="connsiteY548" fmla="*/ 246276 h 815526"/>
                  <a:gd name="connsiteX549" fmla="*/ 585126 w 915678"/>
                  <a:gd name="connsiteY549" fmla="*/ 213512 h 815526"/>
                  <a:gd name="connsiteX550" fmla="*/ 575970 w 915678"/>
                  <a:gd name="connsiteY550" fmla="*/ 213512 h 815526"/>
                  <a:gd name="connsiteX551" fmla="*/ 575397 w 915678"/>
                  <a:gd name="connsiteY551" fmla="*/ 222669 h 815526"/>
                  <a:gd name="connsiteX552" fmla="*/ 584554 w 915678"/>
                  <a:gd name="connsiteY552" fmla="*/ 223241 h 815526"/>
                  <a:gd name="connsiteX553" fmla="*/ 584554 w 915678"/>
                  <a:gd name="connsiteY553" fmla="*/ 214085 h 815526"/>
                  <a:gd name="connsiteX554" fmla="*/ 622612 w 915678"/>
                  <a:gd name="connsiteY554" fmla="*/ 181177 h 815526"/>
                  <a:gd name="connsiteX555" fmla="*/ 614317 w 915678"/>
                  <a:gd name="connsiteY555" fmla="*/ 181180 h 815526"/>
                  <a:gd name="connsiteX556" fmla="*/ 614318 w 915678"/>
                  <a:gd name="connsiteY556" fmla="*/ 189476 h 815526"/>
                  <a:gd name="connsiteX557" fmla="*/ 622612 w 915678"/>
                  <a:gd name="connsiteY557" fmla="*/ 189476 h 815526"/>
                  <a:gd name="connsiteX558" fmla="*/ 622615 w 915678"/>
                  <a:gd name="connsiteY558" fmla="*/ 181180 h 815526"/>
                  <a:gd name="connsiteX559" fmla="*/ 622612 w 915678"/>
                  <a:gd name="connsiteY559" fmla="*/ 181177 h 815526"/>
                  <a:gd name="connsiteX560" fmla="*/ 659525 w 915678"/>
                  <a:gd name="connsiteY560" fmla="*/ 148413 h 815526"/>
                  <a:gd name="connsiteX561" fmla="*/ 652085 w 915678"/>
                  <a:gd name="connsiteY561" fmla="*/ 148413 h 815526"/>
                  <a:gd name="connsiteX562" fmla="*/ 652085 w 915678"/>
                  <a:gd name="connsiteY562" fmla="*/ 155853 h 815526"/>
                  <a:gd name="connsiteX563" fmla="*/ 659567 w 915678"/>
                  <a:gd name="connsiteY563" fmla="*/ 155568 h 815526"/>
                  <a:gd name="connsiteX564" fmla="*/ 659955 w 915678"/>
                  <a:gd name="connsiteY564" fmla="*/ 148843 h 815526"/>
                  <a:gd name="connsiteX565" fmla="*/ 697011 w 915678"/>
                  <a:gd name="connsiteY565" fmla="*/ 116078 h 815526"/>
                  <a:gd name="connsiteX566" fmla="*/ 690382 w 915678"/>
                  <a:gd name="connsiteY566" fmla="*/ 115280 h 815526"/>
                  <a:gd name="connsiteX567" fmla="*/ 689584 w 915678"/>
                  <a:gd name="connsiteY567" fmla="*/ 121910 h 815526"/>
                  <a:gd name="connsiteX568" fmla="*/ 690000 w 915678"/>
                  <a:gd name="connsiteY568" fmla="*/ 122374 h 815526"/>
                  <a:gd name="connsiteX569" fmla="*/ 696678 w 915678"/>
                  <a:gd name="connsiteY569" fmla="*/ 122291 h 815526"/>
                  <a:gd name="connsiteX570" fmla="*/ 697011 w 915678"/>
                  <a:gd name="connsiteY570" fmla="*/ 116078 h 815526"/>
                  <a:gd name="connsiteX571" fmla="*/ 733924 w 915678"/>
                  <a:gd name="connsiteY571" fmla="*/ 83314 h 815526"/>
                  <a:gd name="connsiteX572" fmla="*/ 728077 w 915678"/>
                  <a:gd name="connsiteY572" fmla="*/ 83808 h 815526"/>
                  <a:gd name="connsiteX573" fmla="*/ 727772 w 915678"/>
                  <a:gd name="connsiteY573" fmla="*/ 88751 h 815526"/>
                  <a:gd name="connsiteX574" fmla="*/ 733638 w 915678"/>
                  <a:gd name="connsiteY574" fmla="*/ 88751 h 815526"/>
                  <a:gd name="connsiteX575" fmla="*/ 733638 w 915678"/>
                  <a:gd name="connsiteY575" fmla="*/ 83028 h 815526"/>
                  <a:gd name="connsiteX576" fmla="*/ 771124 w 915678"/>
                  <a:gd name="connsiteY576" fmla="*/ 49692 h 815526"/>
                  <a:gd name="connsiteX577" fmla="*/ 766268 w 915678"/>
                  <a:gd name="connsiteY577" fmla="*/ 49683 h 815526"/>
                  <a:gd name="connsiteX578" fmla="*/ 766259 w 915678"/>
                  <a:gd name="connsiteY578" fmla="*/ 49692 h 815526"/>
                  <a:gd name="connsiteX579" fmla="*/ 766268 w 915678"/>
                  <a:gd name="connsiteY579" fmla="*/ 54548 h 815526"/>
                  <a:gd name="connsiteX580" fmla="*/ 771124 w 915678"/>
                  <a:gd name="connsiteY580" fmla="*/ 54539 h 815526"/>
                  <a:gd name="connsiteX581" fmla="*/ 771124 w 915678"/>
                  <a:gd name="connsiteY581" fmla="*/ 49692 h 815526"/>
                  <a:gd name="connsiteX582" fmla="*/ 808180 w 915678"/>
                  <a:gd name="connsiteY582" fmla="*/ 16928 h 815526"/>
                  <a:gd name="connsiteX583" fmla="*/ 804031 w 915678"/>
                  <a:gd name="connsiteY583" fmla="*/ 16928 h 815526"/>
                  <a:gd name="connsiteX584" fmla="*/ 803865 w 915678"/>
                  <a:gd name="connsiteY584" fmla="*/ 20769 h 815526"/>
                  <a:gd name="connsiteX585" fmla="*/ 804031 w 915678"/>
                  <a:gd name="connsiteY585" fmla="*/ 20934 h 815526"/>
                  <a:gd name="connsiteX586" fmla="*/ 808037 w 915678"/>
                  <a:gd name="connsiteY586" fmla="*/ 20934 h 815526"/>
                  <a:gd name="connsiteX587" fmla="*/ 808037 w 915678"/>
                  <a:gd name="connsiteY587" fmla="*/ 16784 h 815526"/>
                  <a:gd name="connsiteX588" fmla="*/ 542204 w 915678"/>
                  <a:gd name="connsiteY588" fmla="*/ 462176 h 815526"/>
                  <a:gd name="connsiteX589" fmla="*/ 529659 w 915678"/>
                  <a:gd name="connsiteY589" fmla="*/ 462131 h 815526"/>
                  <a:gd name="connsiteX590" fmla="*/ 529613 w 915678"/>
                  <a:gd name="connsiteY590" fmla="*/ 462176 h 815526"/>
                  <a:gd name="connsiteX591" fmla="*/ 529508 w 915678"/>
                  <a:gd name="connsiteY591" fmla="*/ 474518 h 815526"/>
                  <a:gd name="connsiteX592" fmla="*/ 529613 w 915678"/>
                  <a:gd name="connsiteY592" fmla="*/ 474624 h 815526"/>
                  <a:gd name="connsiteX593" fmla="*/ 542061 w 915678"/>
                  <a:gd name="connsiteY593" fmla="*/ 475482 h 815526"/>
                  <a:gd name="connsiteX594" fmla="*/ 542919 w 915678"/>
                  <a:gd name="connsiteY594" fmla="*/ 462892 h 815526"/>
                  <a:gd name="connsiteX595" fmla="*/ 579833 w 915678"/>
                  <a:gd name="connsiteY595" fmla="*/ 430128 h 815526"/>
                  <a:gd name="connsiteX596" fmla="*/ 568098 w 915678"/>
                  <a:gd name="connsiteY596" fmla="*/ 430125 h 815526"/>
                  <a:gd name="connsiteX597" fmla="*/ 568093 w 915678"/>
                  <a:gd name="connsiteY597" fmla="*/ 441860 h 815526"/>
                  <a:gd name="connsiteX598" fmla="*/ 579830 w 915678"/>
                  <a:gd name="connsiteY598" fmla="*/ 441863 h 815526"/>
                  <a:gd name="connsiteX599" fmla="*/ 579833 w 915678"/>
                  <a:gd name="connsiteY599" fmla="*/ 441860 h 815526"/>
                  <a:gd name="connsiteX600" fmla="*/ 579833 w 915678"/>
                  <a:gd name="connsiteY600" fmla="*/ 430128 h 815526"/>
                  <a:gd name="connsiteX601" fmla="*/ 616746 w 915678"/>
                  <a:gd name="connsiteY601" fmla="*/ 397363 h 815526"/>
                  <a:gd name="connsiteX602" fmla="*/ 606022 w 915678"/>
                  <a:gd name="connsiteY602" fmla="*/ 397514 h 815526"/>
                  <a:gd name="connsiteX603" fmla="*/ 606174 w 915678"/>
                  <a:gd name="connsiteY603" fmla="*/ 408237 h 815526"/>
                  <a:gd name="connsiteX604" fmla="*/ 616746 w 915678"/>
                  <a:gd name="connsiteY604" fmla="*/ 408237 h 815526"/>
                  <a:gd name="connsiteX605" fmla="*/ 616746 w 915678"/>
                  <a:gd name="connsiteY605" fmla="*/ 397363 h 815526"/>
                  <a:gd name="connsiteX606" fmla="*/ 653802 w 915678"/>
                  <a:gd name="connsiteY606" fmla="*/ 364599 h 815526"/>
                  <a:gd name="connsiteX607" fmla="*/ 643787 w 915678"/>
                  <a:gd name="connsiteY607" fmla="*/ 364599 h 815526"/>
                  <a:gd name="connsiteX608" fmla="*/ 643479 w 915678"/>
                  <a:gd name="connsiteY608" fmla="*/ 374307 h 815526"/>
                  <a:gd name="connsiteX609" fmla="*/ 643787 w 915678"/>
                  <a:gd name="connsiteY609" fmla="*/ 374615 h 815526"/>
                  <a:gd name="connsiteX610" fmla="*/ 653728 w 915678"/>
                  <a:gd name="connsiteY610" fmla="*/ 376496 h 815526"/>
                  <a:gd name="connsiteX611" fmla="*/ 655609 w 915678"/>
                  <a:gd name="connsiteY611" fmla="*/ 366555 h 815526"/>
                  <a:gd name="connsiteX612" fmla="*/ 654375 w 915678"/>
                  <a:gd name="connsiteY612" fmla="*/ 365172 h 815526"/>
                  <a:gd name="connsiteX613" fmla="*/ 691288 w 915678"/>
                  <a:gd name="connsiteY613" fmla="*/ 332407 h 815526"/>
                  <a:gd name="connsiteX614" fmla="*/ 682131 w 915678"/>
                  <a:gd name="connsiteY614" fmla="*/ 331835 h 815526"/>
                  <a:gd name="connsiteX615" fmla="*/ 681559 w 915678"/>
                  <a:gd name="connsiteY615" fmla="*/ 340992 h 815526"/>
                  <a:gd name="connsiteX616" fmla="*/ 690716 w 915678"/>
                  <a:gd name="connsiteY616" fmla="*/ 341564 h 815526"/>
                  <a:gd name="connsiteX617" fmla="*/ 691288 w 915678"/>
                  <a:gd name="connsiteY617" fmla="*/ 332407 h 815526"/>
                  <a:gd name="connsiteX618" fmla="*/ 728201 w 915678"/>
                  <a:gd name="connsiteY618" fmla="*/ 299643 h 815526"/>
                  <a:gd name="connsiteX619" fmla="*/ 719906 w 915678"/>
                  <a:gd name="connsiteY619" fmla="*/ 299646 h 815526"/>
                  <a:gd name="connsiteX620" fmla="*/ 719907 w 915678"/>
                  <a:gd name="connsiteY620" fmla="*/ 307942 h 815526"/>
                  <a:gd name="connsiteX621" fmla="*/ 728201 w 915678"/>
                  <a:gd name="connsiteY621" fmla="*/ 307942 h 815526"/>
                  <a:gd name="connsiteX622" fmla="*/ 728204 w 915678"/>
                  <a:gd name="connsiteY622" fmla="*/ 299646 h 815526"/>
                  <a:gd name="connsiteX623" fmla="*/ 728201 w 915678"/>
                  <a:gd name="connsiteY623" fmla="*/ 299643 h 815526"/>
                  <a:gd name="connsiteX624" fmla="*/ 765258 w 915678"/>
                  <a:gd name="connsiteY624" fmla="*/ 266879 h 815526"/>
                  <a:gd name="connsiteX625" fmla="*/ 757818 w 915678"/>
                  <a:gd name="connsiteY625" fmla="*/ 266879 h 815526"/>
                  <a:gd name="connsiteX626" fmla="*/ 757660 w 915678"/>
                  <a:gd name="connsiteY626" fmla="*/ 274162 h 815526"/>
                  <a:gd name="connsiteX627" fmla="*/ 757818 w 915678"/>
                  <a:gd name="connsiteY627" fmla="*/ 274319 h 815526"/>
                  <a:gd name="connsiteX628" fmla="*/ 765258 w 915678"/>
                  <a:gd name="connsiteY628" fmla="*/ 274319 h 815526"/>
                  <a:gd name="connsiteX629" fmla="*/ 765258 w 915678"/>
                  <a:gd name="connsiteY629" fmla="*/ 266879 h 815526"/>
                  <a:gd name="connsiteX630" fmla="*/ 802171 w 915678"/>
                  <a:gd name="connsiteY630" fmla="*/ 234115 h 815526"/>
                  <a:gd name="connsiteX631" fmla="*/ 795589 w 915678"/>
                  <a:gd name="connsiteY631" fmla="*/ 234115 h 815526"/>
                  <a:gd name="connsiteX632" fmla="*/ 795482 w 915678"/>
                  <a:gd name="connsiteY632" fmla="*/ 240589 h 815526"/>
                  <a:gd name="connsiteX633" fmla="*/ 795589 w 915678"/>
                  <a:gd name="connsiteY633" fmla="*/ 240697 h 815526"/>
                  <a:gd name="connsiteX634" fmla="*/ 802171 w 915678"/>
                  <a:gd name="connsiteY634" fmla="*/ 240697 h 815526"/>
                  <a:gd name="connsiteX635" fmla="*/ 802278 w 915678"/>
                  <a:gd name="connsiteY635" fmla="*/ 234222 h 815526"/>
                  <a:gd name="connsiteX636" fmla="*/ 802171 w 915678"/>
                  <a:gd name="connsiteY636" fmla="*/ 234115 h 815526"/>
                  <a:gd name="connsiteX637" fmla="*/ 839084 w 915678"/>
                  <a:gd name="connsiteY637" fmla="*/ 201351 h 815526"/>
                  <a:gd name="connsiteX638" fmla="*/ 833418 w 915678"/>
                  <a:gd name="connsiteY638" fmla="*/ 201294 h 815526"/>
                  <a:gd name="connsiteX639" fmla="*/ 833361 w 915678"/>
                  <a:gd name="connsiteY639" fmla="*/ 201351 h 815526"/>
                  <a:gd name="connsiteX640" fmla="*/ 833095 w 915678"/>
                  <a:gd name="connsiteY640" fmla="*/ 206808 h 815526"/>
                  <a:gd name="connsiteX641" fmla="*/ 833361 w 915678"/>
                  <a:gd name="connsiteY641" fmla="*/ 207074 h 815526"/>
                  <a:gd name="connsiteX642" fmla="*/ 839027 w 915678"/>
                  <a:gd name="connsiteY642" fmla="*/ 207131 h 815526"/>
                  <a:gd name="connsiteX643" fmla="*/ 839084 w 915678"/>
                  <a:gd name="connsiteY643" fmla="*/ 207074 h 815526"/>
                  <a:gd name="connsiteX644" fmla="*/ 839084 w 915678"/>
                  <a:gd name="connsiteY644" fmla="*/ 201208 h 815526"/>
                  <a:gd name="connsiteX645" fmla="*/ 874710 w 915678"/>
                  <a:gd name="connsiteY645" fmla="*/ 166870 h 815526"/>
                  <a:gd name="connsiteX646" fmla="*/ 869854 w 915678"/>
                  <a:gd name="connsiteY646" fmla="*/ 166861 h 815526"/>
                  <a:gd name="connsiteX647" fmla="*/ 869845 w 915678"/>
                  <a:gd name="connsiteY647" fmla="*/ 166870 h 815526"/>
                  <a:gd name="connsiteX648" fmla="*/ 869845 w 915678"/>
                  <a:gd name="connsiteY648" fmla="*/ 171878 h 815526"/>
                  <a:gd name="connsiteX649" fmla="*/ 874701 w 915678"/>
                  <a:gd name="connsiteY649" fmla="*/ 171886 h 815526"/>
                  <a:gd name="connsiteX650" fmla="*/ 874710 w 915678"/>
                  <a:gd name="connsiteY650" fmla="*/ 171878 h 815526"/>
                  <a:gd name="connsiteX651" fmla="*/ 874710 w 915678"/>
                  <a:gd name="connsiteY651" fmla="*/ 166870 h 815526"/>
                  <a:gd name="connsiteX652" fmla="*/ 911623 w 915678"/>
                  <a:gd name="connsiteY652" fmla="*/ 134106 h 815526"/>
                  <a:gd name="connsiteX653" fmla="*/ 907782 w 915678"/>
                  <a:gd name="connsiteY653" fmla="*/ 133941 h 815526"/>
                  <a:gd name="connsiteX654" fmla="*/ 907617 w 915678"/>
                  <a:gd name="connsiteY654" fmla="*/ 134106 h 815526"/>
                  <a:gd name="connsiteX655" fmla="*/ 906836 w 915678"/>
                  <a:gd name="connsiteY655" fmla="*/ 138076 h 815526"/>
                  <a:gd name="connsiteX656" fmla="*/ 910808 w 915678"/>
                  <a:gd name="connsiteY656" fmla="*/ 138857 h 815526"/>
                  <a:gd name="connsiteX657" fmla="*/ 911337 w 915678"/>
                  <a:gd name="connsiteY657" fmla="*/ 138398 h 815526"/>
                  <a:gd name="connsiteX658" fmla="*/ 911440 w 915678"/>
                  <a:gd name="connsiteY658" fmla="*/ 134352 h 815526"/>
                  <a:gd name="connsiteX659" fmla="*/ 911337 w 915678"/>
                  <a:gd name="connsiteY659" fmla="*/ 134249 h 815526"/>
                  <a:gd name="connsiteX660" fmla="*/ 521172 w 915678"/>
                  <a:gd name="connsiteY660" fmla="*/ 438712 h 815526"/>
                  <a:gd name="connsiteX661" fmla="*/ 508581 w 915678"/>
                  <a:gd name="connsiteY661" fmla="*/ 437997 h 815526"/>
                  <a:gd name="connsiteX662" fmla="*/ 507866 w 915678"/>
                  <a:gd name="connsiteY662" fmla="*/ 450587 h 815526"/>
                  <a:gd name="connsiteX663" fmla="*/ 520411 w 915678"/>
                  <a:gd name="connsiteY663" fmla="*/ 450633 h 815526"/>
                  <a:gd name="connsiteX664" fmla="*/ 520457 w 915678"/>
                  <a:gd name="connsiteY664" fmla="*/ 450587 h 815526"/>
                  <a:gd name="connsiteX665" fmla="*/ 521172 w 915678"/>
                  <a:gd name="connsiteY665" fmla="*/ 437997 h 815526"/>
                  <a:gd name="connsiteX666" fmla="*/ 558085 w 915678"/>
                  <a:gd name="connsiteY666" fmla="*/ 405376 h 815526"/>
                  <a:gd name="connsiteX667" fmla="*/ 546552 w 915678"/>
                  <a:gd name="connsiteY667" fmla="*/ 405431 h 815526"/>
                  <a:gd name="connsiteX668" fmla="*/ 546608 w 915678"/>
                  <a:gd name="connsiteY668" fmla="*/ 416965 h 815526"/>
                  <a:gd name="connsiteX669" fmla="*/ 558085 w 915678"/>
                  <a:gd name="connsiteY669" fmla="*/ 416965 h 815526"/>
                  <a:gd name="connsiteX670" fmla="*/ 558347 w 915678"/>
                  <a:gd name="connsiteY670" fmla="*/ 405636 h 815526"/>
                  <a:gd name="connsiteX671" fmla="*/ 558085 w 915678"/>
                  <a:gd name="connsiteY671" fmla="*/ 405376 h 815526"/>
                  <a:gd name="connsiteX672" fmla="*/ 595142 w 915678"/>
                  <a:gd name="connsiteY672" fmla="*/ 372612 h 815526"/>
                  <a:gd name="connsiteX673" fmla="*/ 584454 w 915678"/>
                  <a:gd name="connsiteY673" fmla="*/ 371733 h 815526"/>
                  <a:gd name="connsiteX674" fmla="*/ 584268 w 915678"/>
                  <a:gd name="connsiteY674" fmla="*/ 371896 h 815526"/>
                  <a:gd name="connsiteX675" fmla="*/ 584268 w 915678"/>
                  <a:gd name="connsiteY675" fmla="*/ 382770 h 815526"/>
                  <a:gd name="connsiteX676" fmla="*/ 595195 w 915678"/>
                  <a:gd name="connsiteY676" fmla="*/ 382690 h 815526"/>
                  <a:gd name="connsiteX677" fmla="*/ 595857 w 915678"/>
                  <a:gd name="connsiteY677" fmla="*/ 372612 h 815526"/>
                  <a:gd name="connsiteX678" fmla="*/ 632770 w 915678"/>
                  <a:gd name="connsiteY678" fmla="*/ 339847 h 815526"/>
                  <a:gd name="connsiteX679" fmla="*/ 622891 w 915678"/>
                  <a:gd name="connsiteY679" fmla="*/ 339015 h 815526"/>
                  <a:gd name="connsiteX680" fmla="*/ 622755 w 915678"/>
                  <a:gd name="connsiteY680" fmla="*/ 339132 h 815526"/>
                  <a:gd name="connsiteX681" fmla="*/ 622755 w 915678"/>
                  <a:gd name="connsiteY681" fmla="*/ 349147 h 815526"/>
                  <a:gd name="connsiteX682" fmla="*/ 632669 w 915678"/>
                  <a:gd name="connsiteY682" fmla="*/ 349249 h 815526"/>
                  <a:gd name="connsiteX683" fmla="*/ 632770 w 915678"/>
                  <a:gd name="connsiteY683" fmla="*/ 349147 h 815526"/>
                  <a:gd name="connsiteX684" fmla="*/ 632770 w 915678"/>
                  <a:gd name="connsiteY684" fmla="*/ 339132 h 815526"/>
                  <a:gd name="connsiteX685" fmla="*/ 669684 w 915678"/>
                  <a:gd name="connsiteY685" fmla="*/ 306368 h 815526"/>
                  <a:gd name="connsiteX686" fmla="*/ 660578 w 915678"/>
                  <a:gd name="connsiteY686" fmla="*/ 306316 h 815526"/>
                  <a:gd name="connsiteX687" fmla="*/ 660527 w 915678"/>
                  <a:gd name="connsiteY687" fmla="*/ 306368 h 815526"/>
                  <a:gd name="connsiteX688" fmla="*/ 660377 w 915678"/>
                  <a:gd name="connsiteY688" fmla="*/ 315675 h 815526"/>
                  <a:gd name="connsiteX689" fmla="*/ 669684 w 915678"/>
                  <a:gd name="connsiteY689" fmla="*/ 315824 h 815526"/>
                  <a:gd name="connsiteX690" fmla="*/ 669834 w 915678"/>
                  <a:gd name="connsiteY690" fmla="*/ 306518 h 815526"/>
                  <a:gd name="connsiteX691" fmla="*/ 669684 w 915678"/>
                  <a:gd name="connsiteY691" fmla="*/ 306368 h 815526"/>
                  <a:gd name="connsiteX692" fmla="*/ 706740 w 915678"/>
                  <a:gd name="connsiteY692" fmla="*/ 273604 h 815526"/>
                  <a:gd name="connsiteX693" fmla="*/ 698445 w 915678"/>
                  <a:gd name="connsiteY693" fmla="*/ 273607 h 815526"/>
                  <a:gd name="connsiteX694" fmla="*/ 698446 w 915678"/>
                  <a:gd name="connsiteY694" fmla="*/ 281902 h 815526"/>
                  <a:gd name="connsiteX695" fmla="*/ 706740 w 915678"/>
                  <a:gd name="connsiteY695" fmla="*/ 281902 h 815526"/>
                  <a:gd name="connsiteX696" fmla="*/ 706743 w 915678"/>
                  <a:gd name="connsiteY696" fmla="*/ 273607 h 815526"/>
                  <a:gd name="connsiteX697" fmla="*/ 706740 w 915678"/>
                  <a:gd name="connsiteY697" fmla="*/ 273604 h 815526"/>
                  <a:gd name="connsiteX698" fmla="*/ 742509 w 915678"/>
                  <a:gd name="connsiteY698" fmla="*/ 242127 h 815526"/>
                  <a:gd name="connsiteX699" fmla="*/ 735110 w 915678"/>
                  <a:gd name="connsiteY699" fmla="*/ 240984 h 815526"/>
                  <a:gd name="connsiteX700" fmla="*/ 733967 w 915678"/>
                  <a:gd name="connsiteY700" fmla="*/ 248383 h 815526"/>
                  <a:gd name="connsiteX701" fmla="*/ 734640 w 915678"/>
                  <a:gd name="connsiteY701" fmla="*/ 249138 h 815526"/>
                  <a:gd name="connsiteX702" fmla="*/ 742080 w 915678"/>
                  <a:gd name="connsiteY702" fmla="*/ 249138 h 815526"/>
                  <a:gd name="connsiteX703" fmla="*/ 742080 w 915678"/>
                  <a:gd name="connsiteY703" fmla="*/ 241698 h 815526"/>
                  <a:gd name="connsiteX704" fmla="*/ 779851 w 915678"/>
                  <a:gd name="connsiteY704" fmla="*/ 209792 h 815526"/>
                  <a:gd name="connsiteX705" fmla="*/ 773377 w 915678"/>
                  <a:gd name="connsiteY705" fmla="*/ 209685 h 815526"/>
                  <a:gd name="connsiteX706" fmla="*/ 773270 w 915678"/>
                  <a:gd name="connsiteY706" fmla="*/ 209792 h 815526"/>
                  <a:gd name="connsiteX707" fmla="*/ 773270 w 915678"/>
                  <a:gd name="connsiteY707" fmla="*/ 216374 h 815526"/>
                  <a:gd name="connsiteX708" fmla="*/ 779744 w 915678"/>
                  <a:gd name="connsiteY708" fmla="*/ 216481 h 815526"/>
                  <a:gd name="connsiteX709" fmla="*/ 779851 w 915678"/>
                  <a:gd name="connsiteY709" fmla="*/ 216374 h 815526"/>
                  <a:gd name="connsiteX710" fmla="*/ 779851 w 915678"/>
                  <a:gd name="connsiteY710" fmla="*/ 209792 h 815526"/>
                  <a:gd name="connsiteX711" fmla="*/ 816908 w 915678"/>
                  <a:gd name="connsiteY711" fmla="*/ 177028 h 815526"/>
                  <a:gd name="connsiteX712" fmla="*/ 811242 w 915678"/>
                  <a:gd name="connsiteY712" fmla="*/ 176971 h 815526"/>
                  <a:gd name="connsiteX713" fmla="*/ 811185 w 915678"/>
                  <a:gd name="connsiteY713" fmla="*/ 177028 h 815526"/>
                  <a:gd name="connsiteX714" fmla="*/ 811127 w 915678"/>
                  <a:gd name="connsiteY714" fmla="*/ 182694 h 815526"/>
                  <a:gd name="connsiteX715" fmla="*/ 811185 w 915678"/>
                  <a:gd name="connsiteY715" fmla="*/ 182751 h 815526"/>
                  <a:gd name="connsiteX716" fmla="*/ 816850 w 915678"/>
                  <a:gd name="connsiteY716" fmla="*/ 182808 h 815526"/>
                  <a:gd name="connsiteX717" fmla="*/ 816908 w 915678"/>
                  <a:gd name="connsiteY717" fmla="*/ 182751 h 815526"/>
                  <a:gd name="connsiteX718" fmla="*/ 816965 w 915678"/>
                  <a:gd name="connsiteY718" fmla="*/ 177085 h 815526"/>
                  <a:gd name="connsiteX719" fmla="*/ 816908 w 915678"/>
                  <a:gd name="connsiteY719" fmla="*/ 177028 h 815526"/>
                  <a:gd name="connsiteX720" fmla="*/ 853821 w 915678"/>
                  <a:gd name="connsiteY720" fmla="*/ 144264 h 815526"/>
                  <a:gd name="connsiteX721" fmla="*/ 848965 w 915678"/>
                  <a:gd name="connsiteY721" fmla="*/ 144273 h 815526"/>
                  <a:gd name="connsiteX722" fmla="*/ 848974 w 915678"/>
                  <a:gd name="connsiteY722" fmla="*/ 149129 h 815526"/>
                  <a:gd name="connsiteX723" fmla="*/ 853821 w 915678"/>
                  <a:gd name="connsiteY723" fmla="*/ 149129 h 815526"/>
                  <a:gd name="connsiteX724" fmla="*/ 853830 w 915678"/>
                  <a:gd name="connsiteY724" fmla="*/ 144273 h 815526"/>
                  <a:gd name="connsiteX725" fmla="*/ 853821 w 915678"/>
                  <a:gd name="connsiteY725" fmla="*/ 144264 h 815526"/>
                  <a:gd name="connsiteX726" fmla="*/ 890734 w 915678"/>
                  <a:gd name="connsiteY726" fmla="*/ 111500 h 815526"/>
                  <a:gd name="connsiteX727" fmla="*/ 886728 w 915678"/>
                  <a:gd name="connsiteY727" fmla="*/ 111500 h 815526"/>
                  <a:gd name="connsiteX728" fmla="*/ 886728 w 915678"/>
                  <a:gd name="connsiteY728" fmla="*/ 115649 h 815526"/>
                  <a:gd name="connsiteX729" fmla="*/ 890877 w 915678"/>
                  <a:gd name="connsiteY729" fmla="*/ 115649 h 815526"/>
                  <a:gd name="connsiteX730" fmla="*/ 891043 w 915678"/>
                  <a:gd name="connsiteY730" fmla="*/ 111808 h 815526"/>
                  <a:gd name="connsiteX731" fmla="*/ 890877 w 915678"/>
                  <a:gd name="connsiteY731" fmla="*/ 111643 h 815526"/>
                  <a:gd name="connsiteX732" fmla="*/ 500283 w 915678"/>
                  <a:gd name="connsiteY732" fmla="*/ 415105 h 815526"/>
                  <a:gd name="connsiteX733" fmla="*/ 487969 w 915678"/>
                  <a:gd name="connsiteY733" fmla="*/ 414271 h 815526"/>
                  <a:gd name="connsiteX734" fmla="*/ 487836 w 915678"/>
                  <a:gd name="connsiteY734" fmla="*/ 414389 h 815526"/>
                  <a:gd name="connsiteX735" fmla="*/ 486907 w 915678"/>
                  <a:gd name="connsiteY735" fmla="*/ 426900 h 815526"/>
                  <a:gd name="connsiteX736" fmla="*/ 486977 w 915678"/>
                  <a:gd name="connsiteY736" fmla="*/ 426980 h 815526"/>
                  <a:gd name="connsiteX737" fmla="*/ 499568 w 915678"/>
                  <a:gd name="connsiteY737" fmla="*/ 426980 h 815526"/>
                  <a:gd name="connsiteX738" fmla="*/ 499613 w 915678"/>
                  <a:gd name="connsiteY738" fmla="*/ 414435 h 815526"/>
                  <a:gd name="connsiteX739" fmla="*/ 499568 w 915678"/>
                  <a:gd name="connsiteY739" fmla="*/ 414389 h 815526"/>
                  <a:gd name="connsiteX740" fmla="*/ 536624 w 915678"/>
                  <a:gd name="connsiteY740" fmla="*/ 381625 h 815526"/>
                  <a:gd name="connsiteX741" fmla="*/ 524889 w 915678"/>
                  <a:gd name="connsiteY741" fmla="*/ 381622 h 815526"/>
                  <a:gd name="connsiteX742" fmla="*/ 524885 w 915678"/>
                  <a:gd name="connsiteY742" fmla="*/ 393357 h 815526"/>
                  <a:gd name="connsiteX743" fmla="*/ 536621 w 915678"/>
                  <a:gd name="connsiteY743" fmla="*/ 393360 h 815526"/>
                  <a:gd name="connsiteX744" fmla="*/ 536624 w 915678"/>
                  <a:gd name="connsiteY744" fmla="*/ 393357 h 815526"/>
                  <a:gd name="connsiteX745" fmla="*/ 536624 w 915678"/>
                  <a:gd name="connsiteY745" fmla="*/ 381625 h 815526"/>
                  <a:gd name="connsiteX746" fmla="*/ 573537 w 915678"/>
                  <a:gd name="connsiteY746" fmla="*/ 348861 h 815526"/>
                  <a:gd name="connsiteX747" fmla="*/ 562664 w 915678"/>
                  <a:gd name="connsiteY747" fmla="*/ 348861 h 815526"/>
                  <a:gd name="connsiteX748" fmla="*/ 562657 w 915678"/>
                  <a:gd name="connsiteY748" fmla="*/ 359585 h 815526"/>
                  <a:gd name="connsiteX749" fmla="*/ 562664 w 915678"/>
                  <a:gd name="connsiteY749" fmla="*/ 359592 h 815526"/>
                  <a:gd name="connsiteX750" fmla="*/ 573144 w 915678"/>
                  <a:gd name="connsiteY750" fmla="*/ 360526 h 815526"/>
                  <a:gd name="connsiteX751" fmla="*/ 573394 w 915678"/>
                  <a:gd name="connsiteY751" fmla="*/ 360307 h 815526"/>
                  <a:gd name="connsiteX752" fmla="*/ 574273 w 915678"/>
                  <a:gd name="connsiteY752" fmla="*/ 349619 h 815526"/>
                  <a:gd name="connsiteX753" fmla="*/ 574110 w 915678"/>
                  <a:gd name="connsiteY753" fmla="*/ 349433 h 815526"/>
                  <a:gd name="connsiteX754" fmla="*/ 611023 w 915678"/>
                  <a:gd name="connsiteY754" fmla="*/ 316669 h 815526"/>
                  <a:gd name="connsiteX755" fmla="*/ 600906 w 915678"/>
                  <a:gd name="connsiteY755" fmla="*/ 316568 h 815526"/>
                  <a:gd name="connsiteX756" fmla="*/ 600806 w 915678"/>
                  <a:gd name="connsiteY756" fmla="*/ 326684 h 815526"/>
                  <a:gd name="connsiteX757" fmla="*/ 610921 w 915678"/>
                  <a:gd name="connsiteY757" fmla="*/ 326786 h 815526"/>
                  <a:gd name="connsiteX758" fmla="*/ 611023 w 915678"/>
                  <a:gd name="connsiteY758" fmla="*/ 326684 h 815526"/>
                  <a:gd name="connsiteX759" fmla="*/ 611125 w 915678"/>
                  <a:gd name="connsiteY759" fmla="*/ 316771 h 815526"/>
                  <a:gd name="connsiteX760" fmla="*/ 611023 w 915678"/>
                  <a:gd name="connsiteY760" fmla="*/ 316669 h 815526"/>
                  <a:gd name="connsiteX761" fmla="*/ 648079 w 915678"/>
                  <a:gd name="connsiteY761" fmla="*/ 283905 h 815526"/>
                  <a:gd name="connsiteX762" fmla="*/ 638923 w 915678"/>
                  <a:gd name="connsiteY762" fmla="*/ 283905 h 815526"/>
                  <a:gd name="connsiteX763" fmla="*/ 638350 w 915678"/>
                  <a:gd name="connsiteY763" fmla="*/ 293062 h 815526"/>
                  <a:gd name="connsiteX764" fmla="*/ 647507 w 915678"/>
                  <a:gd name="connsiteY764" fmla="*/ 293634 h 815526"/>
                  <a:gd name="connsiteX765" fmla="*/ 647507 w 915678"/>
                  <a:gd name="connsiteY765" fmla="*/ 284477 h 815526"/>
                  <a:gd name="connsiteX766" fmla="*/ 685279 w 915678"/>
                  <a:gd name="connsiteY766" fmla="*/ 251284 h 815526"/>
                  <a:gd name="connsiteX767" fmla="*/ 676909 w 915678"/>
                  <a:gd name="connsiteY767" fmla="*/ 250783 h 815526"/>
                  <a:gd name="connsiteX768" fmla="*/ 676408 w 915678"/>
                  <a:gd name="connsiteY768" fmla="*/ 259153 h 815526"/>
                  <a:gd name="connsiteX769" fmla="*/ 684850 w 915678"/>
                  <a:gd name="connsiteY769" fmla="*/ 259153 h 815526"/>
                  <a:gd name="connsiteX770" fmla="*/ 684852 w 915678"/>
                  <a:gd name="connsiteY770" fmla="*/ 250858 h 815526"/>
                  <a:gd name="connsiteX771" fmla="*/ 684850 w 915678"/>
                  <a:gd name="connsiteY771" fmla="*/ 250855 h 815526"/>
                  <a:gd name="connsiteX772" fmla="*/ 721763 w 915678"/>
                  <a:gd name="connsiteY772" fmla="*/ 218091 h 815526"/>
                  <a:gd name="connsiteX773" fmla="*/ 714365 w 915678"/>
                  <a:gd name="connsiteY773" fmla="*/ 216948 h 815526"/>
                  <a:gd name="connsiteX774" fmla="*/ 713221 w 915678"/>
                  <a:gd name="connsiteY774" fmla="*/ 224346 h 815526"/>
                  <a:gd name="connsiteX775" fmla="*/ 713894 w 915678"/>
                  <a:gd name="connsiteY775" fmla="*/ 225101 h 815526"/>
                  <a:gd name="connsiteX776" fmla="*/ 721292 w 915678"/>
                  <a:gd name="connsiteY776" fmla="*/ 226245 h 815526"/>
                  <a:gd name="connsiteX777" fmla="*/ 722435 w 915678"/>
                  <a:gd name="connsiteY777" fmla="*/ 218846 h 815526"/>
                  <a:gd name="connsiteX778" fmla="*/ 721763 w 915678"/>
                  <a:gd name="connsiteY778" fmla="*/ 218091 h 815526"/>
                  <a:gd name="connsiteX779" fmla="*/ 758819 w 915678"/>
                  <a:gd name="connsiteY779" fmla="*/ 185327 h 815526"/>
                  <a:gd name="connsiteX780" fmla="*/ 752238 w 915678"/>
                  <a:gd name="connsiteY780" fmla="*/ 185327 h 815526"/>
                  <a:gd name="connsiteX781" fmla="*/ 752131 w 915678"/>
                  <a:gd name="connsiteY781" fmla="*/ 191801 h 815526"/>
                  <a:gd name="connsiteX782" fmla="*/ 752238 w 915678"/>
                  <a:gd name="connsiteY782" fmla="*/ 191908 h 815526"/>
                  <a:gd name="connsiteX783" fmla="*/ 758819 w 915678"/>
                  <a:gd name="connsiteY783" fmla="*/ 191908 h 815526"/>
                  <a:gd name="connsiteX784" fmla="*/ 758819 w 915678"/>
                  <a:gd name="connsiteY784" fmla="*/ 185184 h 815526"/>
                  <a:gd name="connsiteX785" fmla="*/ 796019 w 915678"/>
                  <a:gd name="connsiteY785" fmla="*/ 152562 h 815526"/>
                  <a:gd name="connsiteX786" fmla="*/ 790296 w 915678"/>
                  <a:gd name="connsiteY786" fmla="*/ 152133 h 815526"/>
                  <a:gd name="connsiteX787" fmla="*/ 789866 w 915678"/>
                  <a:gd name="connsiteY787" fmla="*/ 157856 h 815526"/>
                  <a:gd name="connsiteX788" fmla="*/ 795733 w 915678"/>
                  <a:gd name="connsiteY788" fmla="*/ 157856 h 815526"/>
                  <a:gd name="connsiteX789" fmla="*/ 795790 w 915678"/>
                  <a:gd name="connsiteY789" fmla="*/ 152190 h 815526"/>
                  <a:gd name="connsiteX790" fmla="*/ 795733 w 915678"/>
                  <a:gd name="connsiteY790" fmla="*/ 152133 h 815526"/>
                  <a:gd name="connsiteX791" fmla="*/ 832646 w 915678"/>
                  <a:gd name="connsiteY791" fmla="*/ 119369 h 815526"/>
                  <a:gd name="connsiteX792" fmla="*/ 827790 w 915678"/>
                  <a:gd name="connsiteY792" fmla="*/ 119378 h 815526"/>
                  <a:gd name="connsiteX793" fmla="*/ 827798 w 915678"/>
                  <a:gd name="connsiteY793" fmla="*/ 124234 h 815526"/>
                  <a:gd name="connsiteX794" fmla="*/ 832646 w 915678"/>
                  <a:gd name="connsiteY794" fmla="*/ 124234 h 815526"/>
                  <a:gd name="connsiteX795" fmla="*/ 832654 w 915678"/>
                  <a:gd name="connsiteY795" fmla="*/ 119378 h 815526"/>
                  <a:gd name="connsiteX796" fmla="*/ 832646 w 915678"/>
                  <a:gd name="connsiteY796" fmla="*/ 119369 h 815526"/>
                  <a:gd name="connsiteX797" fmla="*/ 869702 w 915678"/>
                  <a:gd name="connsiteY797" fmla="*/ 86605 h 815526"/>
                  <a:gd name="connsiteX798" fmla="*/ 865553 w 915678"/>
                  <a:gd name="connsiteY798" fmla="*/ 86605 h 815526"/>
                  <a:gd name="connsiteX799" fmla="*/ 865338 w 915678"/>
                  <a:gd name="connsiteY799" fmla="*/ 90683 h 815526"/>
                  <a:gd name="connsiteX800" fmla="*/ 869416 w 915678"/>
                  <a:gd name="connsiteY800" fmla="*/ 90897 h 815526"/>
                  <a:gd name="connsiteX801" fmla="*/ 869416 w 915678"/>
                  <a:gd name="connsiteY801" fmla="*/ 86891 h 8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Lst>
                <a:rect l="l" t="t" r="r" b="b"/>
                <a:pathLst>
                  <a:path w="915678" h="815526">
                    <a:moveTo>
                      <a:pt x="427744" y="436995"/>
                    </a:moveTo>
                    <a:cubicBezTo>
                      <a:pt x="424465" y="433321"/>
                      <a:pt x="424785" y="427684"/>
                      <a:pt x="428460" y="424405"/>
                    </a:cubicBezTo>
                    <a:cubicBezTo>
                      <a:pt x="432134" y="421125"/>
                      <a:pt x="437771" y="421446"/>
                      <a:pt x="441050" y="425120"/>
                    </a:cubicBezTo>
                    <a:cubicBezTo>
                      <a:pt x="444329" y="428794"/>
                      <a:pt x="444009" y="434431"/>
                      <a:pt x="440335" y="437711"/>
                    </a:cubicBezTo>
                    <a:cubicBezTo>
                      <a:pt x="436661" y="440990"/>
                      <a:pt x="431023" y="440669"/>
                      <a:pt x="427744" y="436995"/>
                    </a:cubicBezTo>
                    <a:moveTo>
                      <a:pt x="390688" y="469759"/>
                    </a:moveTo>
                    <a:cubicBezTo>
                      <a:pt x="393927" y="473001"/>
                      <a:pt x="399182" y="473003"/>
                      <a:pt x="402423" y="469762"/>
                    </a:cubicBezTo>
                    <a:cubicBezTo>
                      <a:pt x="405665" y="466523"/>
                      <a:pt x="405666" y="461269"/>
                      <a:pt x="402427" y="458027"/>
                    </a:cubicBezTo>
                    <a:cubicBezTo>
                      <a:pt x="399188" y="454785"/>
                      <a:pt x="393933" y="454784"/>
                      <a:pt x="390691" y="458024"/>
                    </a:cubicBezTo>
                    <a:cubicBezTo>
                      <a:pt x="390691" y="458024"/>
                      <a:pt x="390689" y="458026"/>
                      <a:pt x="390688" y="458027"/>
                    </a:cubicBezTo>
                    <a:cubicBezTo>
                      <a:pt x="387450" y="461268"/>
                      <a:pt x="387450" y="466519"/>
                      <a:pt x="390688" y="469759"/>
                    </a:cubicBezTo>
                    <a:moveTo>
                      <a:pt x="353774" y="502523"/>
                    </a:moveTo>
                    <a:cubicBezTo>
                      <a:pt x="356786" y="505505"/>
                      <a:pt x="361636" y="505505"/>
                      <a:pt x="364648" y="502523"/>
                    </a:cubicBezTo>
                    <a:cubicBezTo>
                      <a:pt x="367555" y="499482"/>
                      <a:pt x="367555" y="494692"/>
                      <a:pt x="364648" y="491650"/>
                    </a:cubicBezTo>
                    <a:cubicBezTo>
                      <a:pt x="361636" y="488668"/>
                      <a:pt x="356786" y="488668"/>
                      <a:pt x="353774" y="491650"/>
                    </a:cubicBezTo>
                    <a:cubicBezTo>
                      <a:pt x="350581" y="494358"/>
                      <a:pt x="350188" y="499144"/>
                      <a:pt x="352896" y="502337"/>
                    </a:cubicBezTo>
                    <a:cubicBezTo>
                      <a:pt x="352949" y="502400"/>
                      <a:pt x="353003" y="502462"/>
                      <a:pt x="353059" y="502523"/>
                    </a:cubicBezTo>
                    <a:moveTo>
                      <a:pt x="316146" y="535145"/>
                    </a:moveTo>
                    <a:cubicBezTo>
                      <a:pt x="318856" y="537910"/>
                      <a:pt x="323294" y="537956"/>
                      <a:pt x="326059" y="535246"/>
                    </a:cubicBezTo>
                    <a:cubicBezTo>
                      <a:pt x="326094" y="535212"/>
                      <a:pt x="326128" y="535179"/>
                      <a:pt x="326161" y="535145"/>
                    </a:cubicBezTo>
                    <a:cubicBezTo>
                      <a:pt x="328888" y="532363"/>
                      <a:pt x="328888" y="527911"/>
                      <a:pt x="326161" y="525129"/>
                    </a:cubicBezTo>
                    <a:cubicBezTo>
                      <a:pt x="323593" y="522206"/>
                      <a:pt x="319140" y="521917"/>
                      <a:pt x="316217" y="524485"/>
                    </a:cubicBezTo>
                    <a:cubicBezTo>
                      <a:pt x="313294" y="527054"/>
                      <a:pt x="313005" y="531506"/>
                      <a:pt x="315573" y="534429"/>
                    </a:cubicBezTo>
                    <a:moveTo>
                      <a:pt x="280377" y="567479"/>
                    </a:moveTo>
                    <a:cubicBezTo>
                      <a:pt x="282748" y="570166"/>
                      <a:pt x="286847" y="570422"/>
                      <a:pt x="289534" y="568052"/>
                    </a:cubicBezTo>
                    <a:cubicBezTo>
                      <a:pt x="292221" y="565681"/>
                      <a:pt x="292477" y="561582"/>
                      <a:pt x="290106" y="558895"/>
                    </a:cubicBezTo>
                    <a:cubicBezTo>
                      <a:pt x="287735" y="556208"/>
                      <a:pt x="283636" y="555952"/>
                      <a:pt x="280949" y="558323"/>
                    </a:cubicBezTo>
                    <a:cubicBezTo>
                      <a:pt x="278262" y="560693"/>
                      <a:pt x="278006" y="564792"/>
                      <a:pt x="280377" y="567479"/>
                    </a:cubicBezTo>
                    <a:moveTo>
                      <a:pt x="243464" y="600244"/>
                    </a:moveTo>
                    <a:cubicBezTo>
                      <a:pt x="245756" y="602534"/>
                      <a:pt x="249470" y="602533"/>
                      <a:pt x="251759" y="600241"/>
                    </a:cubicBezTo>
                    <a:cubicBezTo>
                      <a:pt x="254050" y="597950"/>
                      <a:pt x="254048" y="594236"/>
                      <a:pt x="251758" y="591945"/>
                    </a:cubicBezTo>
                    <a:cubicBezTo>
                      <a:pt x="249467" y="589656"/>
                      <a:pt x="245754" y="589656"/>
                      <a:pt x="243464" y="591945"/>
                    </a:cubicBezTo>
                    <a:cubicBezTo>
                      <a:pt x="241172" y="594236"/>
                      <a:pt x="241172" y="597950"/>
                      <a:pt x="243461" y="600241"/>
                    </a:cubicBezTo>
                    <a:cubicBezTo>
                      <a:pt x="243462" y="600242"/>
                      <a:pt x="243462" y="600242"/>
                      <a:pt x="243464" y="600244"/>
                    </a:cubicBezTo>
                    <a:moveTo>
                      <a:pt x="206551" y="633008"/>
                    </a:moveTo>
                    <a:cubicBezTo>
                      <a:pt x="208518" y="635062"/>
                      <a:pt x="211778" y="635132"/>
                      <a:pt x="213833" y="633165"/>
                    </a:cubicBezTo>
                    <a:cubicBezTo>
                      <a:pt x="213886" y="633114"/>
                      <a:pt x="213939" y="633061"/>
                      <a:pt x="213990" y="633008"/>
                    </a:cubicBezTo>
                    <a:cubicBezTo>
                      <a:pt x="216350" y="631281"/>
                      <a:pt x="216860" y="627967"/>
                      <a:pt x="215134" y="625609"/>
                    </a:cubicBezTo>
                    <a:cubicBezTo>
                      <a:pt x="213407" y="623250"/>
                      <a:pt x="210094" y="622738"/>
                      <a:pt x="207735" y="624466"/>
                    </a:cubicBezTo>
                    <a:cubicBezTo>
                      <a:pt x="207462" y="624665"/>
                      <a:pt x="207210" y="624891"/>
                      <a:pt x="206980" y="625139"/>
                    </a:cubicBezTo>
                    <a:cubicBezTo>
                      <a:pt x="204944" y="627200"/>
                      <a:pt x="204944" y="630517"/>
                      <a:pt x="206980" y="632578"/>
                    </a:cubicBezTo>
                    <a:moveTo>
                      <a:pt x="170209" y="666201"/>
                    </a:moveTo>
                    <a:cubicBezTo>
                      <a:pt x="172027" y="668071"/>
                      <a:pt x="175015" y="668114"/>
                      <a:pt x="176885" y="666295"/>
                    </a:cubicBezTo>
                    <a:cubicBezTo>
                      <a:pt x="178755" y="664478"/>
                      <a:pt x="178798" y="661490"/>
                      <a:pt x="176981" y="659620"/>
                    </a:cubicBezTo>
                    <a:cubicBezTo>
                      <a:pt x="175164" y="657750"/>
                      <a:pt x="172174" y="657707"/>
                      <a:pt x="170304" y="659525"/>
                    </a:cubicBezTo>
                    <a:cubicBezTo>
                      <a:pt x="170272" y="659555"/>
                      <a:pt x="170241" y="659588"/>
                      <a:pt x="170209" y="659620"/>
                    </a:cubicBezTo>
                    <a:cubicBezTo>
                      <a:pt x="168428" y="661452"/>
                      <a:pt x="168428" y="664368"/>
                      <a:pt x="170209" y="666201"/>
                    </a:cubicBezTo>
                    <a:moveTo>
                      <a:pt x="133296" y="698965"/>
                    </a:moveTo>
                    <a:cubicBezTo>
                      <a:pt x="134844" y="700546"/>
                      <a:pt x="137381" y="700572"/>
                      <a:pt x="138962" y="699022"/>
                    </a:cubicBezTo>
                    <a:cubicBezTo>
                      <a:pt x="138981" y="699004"/>
                      <a:pt x="139001" y="698985"/>
                      <a:pt x="139019" y="698965"/>
                    </a:cubicBezTo>
                    <a:cubicBezTo>
                      <a:pt x="140939" y="697713"/>
                      <a:pt x="141480" y="695142"/>
                      <a:pt x="140228" y="693224"/>
                    </a:cubicBezTo>
                    <a:cubicBezTo>
                      <a:pt x="138976" y="691304"/>
                      <a:pt x="136405" y="690763"/>
                      <a:pt x="134485" y="692015"/>
                    </a:cubicBezTo>
                    <a:cubicBezTo>
                      <a:pt x="134147" y="692235"/>
                      <a:pt x="133843" y="692504"/>
                      <a:pt x="133582" y="692813"/>
                    </a:cubicBezTo>
                    <a:cubicBezTo>
                      <a:pt x="132056" y="694415"/>
                      <a:pt x="132056" y="696933"/>
                      <a:pt x="133582" y="698536"/>
                    </a:cubicBezTo>
                    <a:moveTo>
                      <a:pt x="96669" y="731300"/>
                    </a:moveTo>
                    <a:cubicBezTo>
                      <a:pt x="98013" y="732639"/>
                      <a:pt x="100186" y="732635"/>
                      <a:pt x="101525" y="731291"/>
                    </a:cubicBezTo>
                    <a:cubicBezTo>
                      <a:pt x="102864" y="729948"/>
                      <a:pt x="102860" y="727775"/>
                      <a:pt x="101516" y="726436"/>
                    </a:cubicBezTo>
                    <a:cubicBezTo>
                      <a:pt x="100177" y="725101"/>
                      <a:pt x="98010" y="725101"/>
                      <a:pt x="96669" y="726436"/>
                    </a:cubicBezTo>
                    <a:cubicBezTo>
                      <a:pt x="95326" y="727775"/>
                      <a:pt x="95321" y="729948"/>
                      <a:pt x="96660" y="731291"/>
                    </a:cubicBezTo>
                    <a:cubicBezTo>
                      <a:pt x="96663" y="731294"/>
                      <a:pt x="96666" y="731297"/>
                      <a:pt x="96669" y="731300"/>
                    </a:cubicBezTo>
                    <a:moveTo>
                      <a:pt x="58611" y="764493"/>
                    </a:moveTo>
                    <a:cubicBezTo>
                      <a:pt x="59799" y="765534"/>
                      <a:pt x="61573" y="765534"/>
                      <a:pt x="62760" y="764493"/>
                    </a:cubicBezTo>
                    <a:cubicBezTo>
                      <a:pt x="63869" y="763333"/>
                      <a:pt x="63869" y="761505"/>
                      <a:pt x="62760" y="760344"/>
                    </a:cubicBezTo>
                    <a:cubicBezTo>
                      <a:pt x="61746" y="759238"/>
                      <a:pt x="60026" y="759164"/>
                      <a:pt x="58919" y="760178"/>
                    </a:cubicBezTo>
                    <a:cubicBezTo>
                      <a:pt x="58862" y="760231"/>
                      <a:pt x="58807" y="760287"/>
                      <a:pt x="58754" y="760344"/>
                    </a:cubicBezTo>
                    <a:cubicBezTo>
                      <a:pt x="57664" y="761457"/>
                      <a:pt x="57664" y="763237"/>
                      <a:pt x="58754" y="764350"/>
                    </a:cubicBezTo>
                    <a:moveTo>
                      <a:pt x="407428" y="413388"/>
                    </a:moveTo>
                    <a:cubicBezTo>
                      <a:pt x="410691" y="417055"/>
                      <a:pt x="416288" y="417435"/>
                      <a:pt x="420018" y="414246"/>
                    </a:cubicBezTo>
                    <a:cubicBezTo>
                      <a:pt x="423495" y="410795"/>
                      <a:pt x="423515" y="405178"/>
                      <a:pt x="420064" y="401701"/>
                    </a:cubicBezTo>
                    <a:cubicBezTo>
                      <a:pt x="420048" y="401686"/>
                      <a:pt x="420034" y="401671"/>
                      <a:pt x="420018" y="401656"/>
                    </a:cubicBezTo>
                    <a:cubicBezTo>
                      <a:pt x="416830" y="397936"/>
                      <a:pt x="411229" y="397505"/>
                      <a:pt x="407511" y="400694"/>
                    </a:cubicBezTo>
                    <a:cubicBezTo>
                      <a:pt x="403791" y="403882"/>
                      <a:pt x="403360" y="409482"/>
                      <a:pt x="406548" y="413202"/>
                    </a:cubicBezTo>
                    <a:cubicBezTo>
                      <a:pt x="406602" y="413265"/>
                      <a:pt x="406656" y="413326"/>
                      <a:pt x="406712" y="413388"/>
                    </a:cubicBezTo>
                    <a:moveTo>
                      <a:pt x="370514" y="446152"/>
                    </a:moveTo>
                    <a:cubicBezTo>
                      <a:pt x="373753" y="449394"/>
                      <a:pt x="379009" y="449395"/>
                      <a:pt x="382249" y="446155"/>
                    </a:cubicBezTo>
                    <a:cubicBezTo>
                      <a:pt x="385491" y="442916"/>
                      <a:pt x="385493" y="437662"/>
                      <a:pt x="382254" y="434420"/>
                    </a:cubicBezTo>
                    <a:cubicBezTo>
                      <a:pt x="379014" y="431178"/>
                      <a:pt x="373759" y="431176"/>
                      <a:pt x="370517" y="434417"/>
                    </a:cubicBezTo>
                    <a:cubicBezTo>
                      <a:pt x="370517" y="434417"/>
                      <a:pt x="370516" y="434418"/>
                      <a:pt x="370514" y="434420"/>
                    </a:cubicBezTo>
                    <a:cubicBezTo>
                      <a:pt x="367276" y="437660"/>
                      <a:pt x="367276" y="442911"/>
                      <a:pt x="370514" y="446152"/>
                    </a:cubicBezTo>
                    <a:moveTo>
                      <a:pt x="333458" y="478916"/>
                    </a:moveTo>
                    <a:cubicBezTo>
                      <a:pt x="336500" y="481823"/>
                      <a:pt x="341290" y="481823"/>
                      <a:pt x="344332" y="478916"/>
                    </a:cubicBezTo>
                    <a:cubicBezTo>
                      <a:pt x="347313" y="475904"/>
                      <a:pt x="347313" y="471054"/>
                      <a:pt x="344332" y="468042"/>
                    </a:cubicBezTo>
                    <a:cubicBezTo>
                      <a:pt x="341760" y="464637"/>
                      <a:pt x="336916" y="463961"/>
                      <a:pt x="333511" y="466532"/>
                    </a:cubicBezTo>
                    <a:cubicBezTo>
                      <a:pt x="330104" y="469104"/>
                      <a:pt x="329429" y="473949"/>
                      <a:pt x="332000" y="477354"/>
                    </a:cubicBezTo>
                    <a:cubicBezTo>
                      <a:pt x="332226" y="477654"/>
                      <a:pt x="332475" y="477937"/>
                      <a:pt x="332742" y="478201"/>
                    </a:cubicBezTo>
                    <a:moveTo>
                      <a:pt x="296545" y="511680"/>
                    </a:moveTo>
                    <a:cubicBezTo>
                      <a:pt x="299254" y="514446"/>
                      <a:pt x="303693" y="514492"/>
                      <a:pt x="306458" y="511782"/>
                    </a:cubicBezTo>
                    <a:cubicBezTo>
                      <a:pt x="306493" y="511747"/>
                      <a:pt x="306527" y="511715"/>
                      <a:pt x="306560" y="511680"/>
                    </a:cubicBezTo>
                    <a:cubicBezTo>
                      <a:pt x="309381" y="508915"/>
                      <a:pt x="309427" y="504385"/>
                      <a:pt x="306661" y="501563"/>
                    </a:cubicBezTo>
                    <a:cubicBezTo>
                      <a:pt x="303896" y="498742"/>
                      <a:pt x="299366" y="498698"/>
                      <a:pt x="296545" y="501463"/>
                    </a:cubicBezTo>
                    <a:cubicBezTo>
                      <a:pt x="293723" y="504229"/>
                      <a:pt x="293677" y="508757"/>
                      <a:pt x="296443" y="511579"/>
                    </a:cubicBezTo>
                    <a:cubicBezTo>
                      <a:pt x="296477" y="511613"/>
                      <a:pt x="296510" y="511647"/>
                      <a:pt x="296545" y="511680"/>
                    </a:cubicBezTo>
                    <a:moveTo>
                      <a:pt x="259631" y="544444"/>
                    </a:moveTo>
                    <a:cubicBezTo>
                      <a:pt x="262184" y="546915"/>
                      <a:pt x="266236" y="546915"/>
                      <a:pt x="268788" y="544444"/>
                    </a:cubicBezTo>
                    <a:cubicBezTo>
                      <a:pt x="271187" y="541863"/>
                      <a:pt x="271187" y="537869"/>
                      <a:pt x="268788" y="535288"/>
                    </a:cubicBezTo>
                    <a:cubicBezTo>
                      <a:pt x="266417" y="532601"/>
                      <a:pt x="262318" y="532345"/>
                      <a:pt x="259631" y="534715"/>
                    </a:cubicBezTo>
                    <a:cubicBezTo>
                      <a:pt x="256944" y="537086"/>
                      <a:pt x="256688" y="541185"/>
                      <a:pt x="259059" y="543872"/>
                    </a:cubicBezTo>
                    <a:moveTo>
                      <a:pt x="222003" y="576636"/>
                    </a:moveTo>
                    <a:cubicBezTo>
                      <a:pt x="224295" y="578927"/>
                      <a:pt x="228009" y="578925"/>
                      <a:pt x="230298" y="576633"/>
                    </a:cubicBezTo>
                    <a:cubicBezTo>
                      <a:pt x="232589" y="574343"/>
                      <a:pt x="232587" y="570628"/>
                      <a:pt x="230297" y="568338"/>
                    </a:cubicBezTo>
                    <a:cubicBezTo>
                      <a:pt x="228006" y="566049"/>
                      <a:pt x="224293" y="566049"/>
                      <a:pt x="222003" y="568338"/>
                    </a:cubicBezTo>
                    <a:cubicBezTo>
                      <a:pt x="219711" y="570628"/>
                      <a:pt x="219711" y="574343"/>
                      <a:pt x="222000" y="576633"/>
                    </a:cubicBezTo>
                    <a:cubicBezTo>
                      <a:pt x="222001" y="576635"/>
                      <a:pt x="222001" y="576635"/>
                      <a:pt x="222003" y="576636"/>
                    </a:cubicBezTo>
                    <a:moveTo>
                      <a:pt x="185662" y="610402"/>
                    </a:moveTo>
                    <a:cubicBezTo>
                      <a:pt x="187716" y="612482"/>
                      <a:pt x="191068" y="612502"/>
                      <a:pt x="193147" y="610449"/>
                    </a:cubicBezTo>
                    <a:cubicBezTo>
                      <a:pt x="195228" y="608394"/>
                      <a:pt x="195249" y="605042"/>
                      <a:pt x="193194" y="602962"/>
                    </a:cubicBezTo>
                    <a:cubicBezTo>
                      <a:pt x="191140" y="600882"/>
                      <a:pt x="187788" y="600862"/>
                      <a:pt x="185707" y="602915"/>
                    </a:cubicBezTo>
                    <a:cubicBezTo>
                      <a:pt x="185693" y="602930"/>
                      <a:pt x="185677" y="602946"/>
                      <a:pt x="185662" y="602962"/>
                    </a:cubicBezTo>
                    <a:cubicBezTo>
                      <a:pt x="183626" y="605024"/>
                      <a:pt x="183626" y="608340"/>
                      <a:pt x="185662" y="610402"/>
                    </a:cubicBezTo>
                    <a:moveTo>
                      <a:pt x="148748" y="642737"/>
                    </a:moveTo>
                    <a:cubicBezTo>
                      <a:pt x="150581" y="644518"/>
                      <a:pt x="153497" y="644518"/>
                      <a:pt x="155330" y="642737"/>
                    </a:cubicBezTo>
                    <a:cubicBezTo>
                      <a:pt x="157381" y="641127"/>
                      <a:pt x="157738" y="638158"/>
                      <a:pt x="156128" y="636108"/>
                    </a:cubicBezTo>
                    <a:cubicBezTo>
                      <a:pt x="154517" y="634056"/>
                      <a:pt x="151550" y="633699"/>
                      <a:pt x="149498" y="635310"/>
                    </a:cubicBezTo>
                    <a:cubicBezTo>
                      <a:pt x="149335" y="635439"/>
                      <a:pt x="149180" y="635577"/>
                      <a:pt x="149034" y="635726"/>
                    </a:cubicBezTo>
                    <a:cubicBezTo>
                      <a:pt x="147253" y="637559"/>
                      <a:pt x="147253" y="640475"/>
                      <a:pt x="149034" y="642308"/>
                    </a:cubicBezTo>
                    <a:moveTo>
                      <a:pt x="111978" y="675072"/>
                    </a:moveTo>
                    <a:cubicBezTo>
                      <a:pt x="113598" y="676691"/>
                      <a:pt x="116225" y="676691"/>
                      <a:pt x="117844" y="675072"/>
                    </a:cubicBezTo>
                    <a:cubicBezTo>
                      <a:pt x="119371" y="673469"/>
                      <a:pt x="119371" y="670951"/>
                      <a:pt x="117844" y="669349"/>
                    </a:cubicBezTo>
                    <a:cubicBezTo>
                      <a:pt x="116296" y="667768"/>
                      <a:pt x="113759" y="667742"/>
                      <a:pt x="112178" y="669291"/>
                    </a:cubicBezTo>
                    <a:cubicBezTo>
                      <a:pt x="112160" y="669310"/>
                      <a:pt x="112140" y="669329"/>
                      <a:pt x="112121" y="669349"/>
                    </a:cubicBezTo>
                    <a:cubicBezTo>
                      <a:pt x="110540" y="670897"/>
                      <a:pt x="110514" y="673433"/>
                      <a:pt x="112064" y="675014"/>
                    </a:cubicBezTo>
                    <a:cubicBezTo>
                      <a:pt x="112082" y="675033"/>
                      <a:pt x="112101" y="675053"/>
                      <a:pt x="112121" y="675072"/>
                    </a:cubicBezTo>
                    <a:moveTo>
                      <a:pt x="75208" y="707836"/>
                    </a:moveTo>
                    <a:cubicBezTo>
                      <a:pt x="76547" y="709179"/>
                      <a:pt x="78720" y="709184"/>
                      <a:pt x="80064" y="707844"/>
                    </a:cubicBezTo>
                    <a:cubicBezTo>
                      <a:pt x="80067" y="707842"/>
                      <a:pt x="80070" y="707839"/>
                      <a:pt x="80072" y="707836"/>
                    </a:cubicBezTo>
                    <a:cubicBezTo>
                      <a:pt x="81412" y="706492"/>
                      <a:pt x="81407" y="704318"/>
                      <a:pt x="80064" y="702980"/>
                    </a:cubicBezTo>
                    <a:cubicBezTo>
                      <a:pt x="78720" y="701641"/>
                      <a:pt x="76547" y="701645"/>
                      <a:pt x="75208" y="702988"/>
                    </a:cubicBezTo>
                    <a:cubicBezTo>
                      <a:pt x="73873" y="704328"/>
                      <a:pt x="73873" y="706495"/>
                      <a:pt x="75208" y="707836"/>
                    </a:cubicBezTo>
                    <a:moveTo>
                      <a:pt x="38295" y="740600"/>
                    </a:moveTo>
                    <a:cubicBezTo>
                      <a:pt x="39309" y="741706"/>
                      <a:pt x="41029" y="741780"/>
                      <a:pt x="42136" y="740765"/>
                    </a:cubicBezTo>
                    <a:cubicBezTo>
                      <a:pt x="42193" y="740713"/>
                      <a:pt x="42248" y="740657"/>
                      <a:pt x="42301" y="740600"/>
                    </a:cubicBezTo>
                    <a:cubicBezTo>
                      <a:pt x="43391" y="739487"/>
                      <a:pt x="43391" y="737707"/>
                      <a:pt x="42301" y="736594"/>
                    </a:cubicBezTo>
                    <a:cubicBezTo>
                      <a:pt x="41113" y="735554"/>
                      <a:pt x="39339" y="735554"/>
                      <a:pt x="38151" y="736594"/>
                    </a:cubicBezTo>
                    <a:cubicBezTo>
                      <a:pt x="37043" y="737754"/>
                      <a:pt x="37043" y="739583"/>
                      <a:pt x="38151" y="740743"/>
                    </a:cubicBezTo>
                    <a:moveTo>
                      <a:pt x="386539" y="389924"/>
                    </a:moveTo>
                    <a:cubicBezTo>
                      <a:pt x="389781" y="393596"/>
                      <a:pt x="395386" y="393944"/>
                      <a:pt x="399059" y="390702"/>
                    </a:cubicBezTo>
                    <a:cubicBezTo>
                      <a:pt x="402732" y="387460"/>
                      <a:pt x="403081" y="381854"/>
                      <a:pt x="399837" y="378181"/>
                    </a:cubicBezTo>
                    <a:cubicBezTo>
                      <a:pt x="396622" y="374540"/>
                      <a:pt x="391077" y="374161"/>
                      <a:pt x="387397" y="377333"/>
                    </a:cubicBezTo>
                    <a:cubicBezTo>
                      <a:pt x="383730" y="380597"/>
                      <a:pt x="383349" y="386194"/>
                      <a:pt x="386539" y="389924"/>
                    </a:cubicBezTo>
                    <a:moveTo>
                      <a:pt x="349625" y="422688"/>
                    </a:moveTo>
                    <a:cubicBezTo>
                      <a:pt x="352669" y="426114"/>
                      <a:pt x="357914" y="426426"/>
                      <a:pt x="361340" y="423383"/>
                    </a:cubicBezTo>
                    <a:cubicBezTo>
                      <a:pt x="364767" y="420341"/>
                      <a:pt x="365079" y="415096"/>
                      <a:pt x="362036" y="411668"/>
                    </a:cubicBezTo>
                    <a:cubicBezTo>
                      <a:pt x="359000" y="408249"/>
                      <a:pt x="353770" y="407930"/>
                      <a:pt x="350341" y="410956"/>
                    </a:cubicBezTo>
                    <a:cubicBezTo>
                      <a:pt x="346904" y="413987"/>
                      <a:pt x="346576" y="419231"/>
                      <a:pt x="349608" y="422668"/>
                    </a:cubicBezTo>
                    <a:cubicBezTo>
                      <a:pt x="349614" y="422675"/>
                      <a:pt x="349620" y="422682"/>
                      <a:pt x="349625" y="422688"/>
                    </a:cubicBezTo>
                    <a:moveTo>
                      <a:pt x="313284" y="455452"/>
                    </a:moveTo>
                    <a:cubicBezTo>
                      <a:pt x="316287" y="458484"/>
                      <a:pt x="321179" y="458506"/>
                      <a:pt x="324211" y="455505"/>
                    </a:cubicBezTo>
                    <a:cubicBezTo>
                      <a:pt x="327243" y="452502"/>
                      <a:pt x="327266" y="447610"/>
                      <a:pt x="324262" y="444578"/>
                    </a:cubicBezTo>
                    <a:cubicBezTo>
                      <a:pt x="321261" y="441546"/>
                      <a:pt x="316369" y="441523"/>
                      <a:pt x="313337" y="444525"/>
                    </a:cubicBezTo>
                    <a:cubicBezTo>
                      <a:pt x="313319" y="444542"/>
                      <a:pt x="313301" y="444561"/>
                      <a:pt x="313284" y="444578"/>
                    </a:cubicBezTo>
                    <a:cubicBezTo>
                      <a:pt x="310303" y="447590"/>
                      <a:pt x="310303" y="452440"/>
                      <a:pt x="313284" y="455452"/>
                    </a:cubicBezTo>
                    <a:moveTo>
                      <a:pt x="276228" y="488216"/>
                    </a:moveTo>
                    <a:cubicBezTo>
                      <a:pt x="279009" y="490943"/>
                      <a:pt x="283462" y="490943"/>
                      <a:pt x="286243" y="488216"/>
                    </a:cubicBezTo>
                    <a:cubicBezTo>
                      <a:pt x="288953" y="485450"/>
                      <a:pt x="288907" y="481012"/>
                      <a:pt x="286142" y="478302"/>
                    </a:cubicBezTo>
                    <a:cubicBezTo>
                      <a:pt x="283376" y="475592"/>
                      <a:pt x="278938" y="475637"/>
                      <a:pt x="276228" y="478402"/>
                    </a:cubicBezTo>
                    <a:cubicBezTo>
                      <a:pt x="273557" y="481129"/>
                      <a:pt x="273557" y="485490"/>
                      <a:pt x="276228" y="488216"/>
                    </a:cubicBezTo>
                    <a:moveTo>
                      <a:pt x="239315" y="520980"/>
                    </a:moveTo>
                    <a:cubicBezTo>
                      <a:pt x="241843" y="523591"/>
                      <a:pt x="246009" y="523658"/>
                      <a:pt x="248622" y="521130"/>
                    </a:cubicBezTo>
                    <a:cubicBezTo>
                      <a:pt x="251233" y="518601"/>
                      <a:pt x="251299" y="514434"/>
                      <a:pt x="248770" y="511823"/>
                    </a:cubicBezTo>
                    <a:cubicBezTo>
                      <a:pt x="246242" y="509212"/>
                      <a:pt x="242076" y="509145"/>
                      <a:pt x="239465" y="511673"/>
                    </a:cubicBezTo>
                    <a:cubicBezTo>
                      <a:pt x="239413" y="511723"/>
                      <a:pt x="239363" y="511773"/>
                      <a:pt x="239315" y="511823"/>
                    </a:cubicBezTo>
                    <a:cubicBezTo>
                      <a:pt x="236786" y="514323"/>
                      <a:pt x="236764" y="518400"/>
                      <a:pt x="239263" y="520929"/>
                    </a:cubicBezTo>
                    <a:cubicBezTo>
                      <a:pt x="239280" y="520946"/>
                      <a:pt x="239297" y="520963"/>
                      <a:pt x="239315" y="520980"/>
                    </a:cubicBezTo>
                    <a:moveTo>
                      <a:pt x="201829" y="553172"/>
                    </a:moveTo>
                    <a:cubicBezTo>
                      <a:pt x="204160" y="555422"/>
                      <a:pt x="207874" y="555357"/>
                      <a:pt x="210123" y="553025"/>
                    </a:cubicBezTo>
                    <a:cubicBezTo>
                      <a:pt x="212374" y="550694"/>
                      <a:pt x="212308" y="546981"/>
                      <a:pt x="209977" y="544731"/>
                    </a:cubicBezTo>
                    <a:cubicBezTo>
                      <a:pt x="207704" y="542537"/>
                      <a:pt x="204102" y="542537"/>
                      <a:pt x="201829" y="544731"/>
                    </a:cubicBezTo>
                    <a:cubicBezTo>
                      <a:pt x="199520" y="547071"/>
                      <a:pt x="199520" y="550831"/>
                      <a:pt x="201829" y="553172"/>
                    </a:cubicBezTo>
                    <a:moveTo>
                      <a:pt x="164773" y="585793"/>
                    </a:moveTo>
                    <a:cubicBezTo>
                      <a:pt x="166849" y="587852"/>
                      <a:pt x="170201" y="587836"/>
                      <a:pt x="172260" y="585760"/>
                    </a:cubicBezTo>
                    <a:cubicBezTo>
                      <a:pt x="174085" y="583919"/>
                      <a:pt x="174307" y="581024"/>
                      <a:pt x="172785" y="578925"/>
                    </a:cubicBezTo>
                    <a:cubicBezTo>
                      <a:pt x="171068" y="576559"/>
                      <a:pt x="167759" y="576031"/>
                      <a:pt x="165392" y="577748"/>
                    </a:cubicBezTo>
                    <a:cubicBezTo>
                      <a:pt x="163024" y="579465"/>
                      <a:pt x="162498" y="582774"/>
                      <a:pt x="164215" y="585141"/>
                    </a:cubicBezTo>
                    <a:cubicBezTo>
                      <a:pt x="164382" y="585374"/>
                      <a:pt x="164569" y="585591"/>
                      <a:pt x="164773" y="585793"/>
                    </a:cubicBezTo>
                    <a:moveTo>
                      <a:pt x="127287" y="619129"/>
                    </a:moveTo>
                    <a:cubicBezTo>
                      <a:pt x="129292" y="620798"/>
                      <a:pt x="132269" y="620524"/>
                      <a:pt x="133936" y="618520"/>
                    </a:cubicBezTo>
                    <a:cubicBezTo>
                      <a:pt x="135245" y="616946"/>
                      <a:pt x="135391" y="614707"/>
                      <a:pt x="134298" y="612977"/>
                    </a:cubicBezTo>
                    <a:cubicBezTo>
                      <a:pt x="132465" y="611196"/>
                      <a:pt x="129549" y="611196"/>
                      <a:pt x="127716" y="612977"/>
                    </a:cubicBezTo>
                    <a:cubicBezTo>
                      <a:pt x="125899" y="614736"/>
                      <a:pt x="125851" y="617634"/>
                      <a:pt x="127609" y="619451"/>
                    </a:cubicBezTo>
                    <a:cubicBezTo>
                      <a:pt x="127643" y="619487"/>
                      <a:pt x="127681" y="619523"/>
                      <a:pt x="127716" y="619559"/>
                    </a:cubicBezTo>
                    <a:moveTo>
                      <a:pt x="90946" y="651894"/>
                    </a:moveTo>
                    <a:cubicBezTo>
                      <a:pt x="92494" y="653474"/>
                      <a:pt x="95031" y="653500"/>
                      <a:pt x="96612" y="651951"/>
                    </a:cubicBezTo>
                    <a:cubicBezTo>
                      <a:pt x="96630" y="651932"/>
                      <a:pt x="96650" y="651914"/>
                      <a:pt x="96669" y="651894"/>
                    </a:cubicBezTo>
                    <a:cubicBezTo>
                      <a:pt x="98250" y="650345"/>
                      <a:pt x="98276" y="647809"/>
                      <a:pt x="96726" y="646228"/>
                    </a:cubicBezTo>
                    <a:cubicBezTo>
                      <a:pt x="96708" y="646209"/>
                      <a:pt x="96689" y="646189"/>
                      <a:pt x="96669" y="646171"/>
                    </a:cubicBezTo>
                    <a:cubicBezTo>
                      <a:pt x="95121" y="644590"/>
                      <a:pt x="92584" y="644564"/>
                      <a:pt x="91003" y="646113"/>
                    </a:cubicBezTo>
                    <a:cubicBezTo>
                      <a:pt x="90985" y="646132"/>
                      <a:pt x="90965" y="646151"/>
                      <a:pt x="90946" y="646171"/>
                    </a:cubicBezTo>
                    <a:cubicBezTo>
                      <a:pt x="89365" y="647719"/>
                      <a:pt x="89339" y="650255"/>
                      <a:pt x="90889" y="651836"/>
                    </a:cubicBezTo>
                    <a:cubicBezTo>
                      <a:pt x="90907" y="651855"/>
                      <a:pt x="90926" y="651875"/>
                      <a:pt x="90946" y="651894"/>
                    </a:cubicBezTo>
                    <a:moveTo>
                      <a:pt x="53890" y="684658"/>
                    </a:moveTo>
                    <a:cubicBezTo>
                      <a:pt x="55233" y="685997"/>
                      <a:pt x="57406" y="685993"/>
                      <a:pt x="58746" y="684649"/>
                    </a:cubicBezTo>
                    <a:cubicBezTo>
                      <a:pt x="60085" y="683306"/>
                      <a:pt x="60081" y="681132"/>
                      <a:pt x="58737" y="679793"/>
                    </a:cubicBezTo>
                    <a:cubicBezTo>
                      <a:pt x="57398" y="678458"/>
                      <a:pt x="55230" y="678458"/>
                      <a:pt x="53890" y="679793"/>
                    </a:cubicBezTo>
                    <a:cubicBezTo>
                      <a:pt x="52546" y="681132"/>
                      <a:pt x="52542" y="683306"/>
                      <a:pt x="53881" y="684649"/>
                    </a:cubicBezTo>
                    <a:cubicBezTo>
                      <a:pt x="53884" y="684652"/>
                      <a:pt x="53887" y="684655"/>
                      <a:pt x="53890" y="684658"/>
                    </a:cubicBezTo>
                    <a:moveTo>
                      <a:pt x="16976" y="717422"/>
                    </a:moveTo>
                    <a:cubicBezTo>
                      <a:pt x="18082" y="718551"/>
                      <a:pt x="19894" y="718569"/>
                      <a:pt x="21023" y="717462"/>
                    </a:cubicBezTo>
                    <a:cubicBezTo>
                      <a:pt x="22151" y="716356"/>
                      <a:pt x="22170" y="714545"/>
                      <a:pt x="21064" y="713416"/>
                    </a:cubicBezTo>
                    <a:cubicBezTo>
                      <a:pt x="19957" y="712287"/>
                      <a:pt x="18145" y="712270"/>
                      <a:pt x="17016" y="713376"/>
                    </a:cubicBezTo>
                    <a:cubicBezTo>
                      <a:pt x="17004" y="713388"/>
                      <a:pt x="16989" y="713403"/>
                      <a:pt x="16976" y="713416"/>
                    </a:cubicBezTo>
                    <a:cubicBezTo>
                      <a:pt x="15870" y="714432"/>
                      <a:pt x="15796" y="716150"/>
                      <a:pt x="16812" y="717257"/>
                    </a:cubicBezTo>
                    <a:cubicBezTo>
                      <a:pt x="16863" y="717315"/>
                      <a:pt x="16919" y="717369"/>
                      <a:pt x="16976" y="717422"/>
                    </a:cubicBezTo>
                    <a:moveTo>
                      <a:pt x="490840" y="507531"/>
                    </a:moveTo>
                    <a:cubicBezTo>
                      <a:pt x="494291" y="511008"/>
                      <a:pt x="499908" y="511028"/>
                      <a:pt x="503385" y="507577"/>
                    </a:cubicBezTo>
                    <a:cubicBezTo>
                      <a:pt x="503401" y="507561"/>
                      <a:pt x="503415" y="507547"/>
                      <a:pt x="503431" y="507531"/>
                    </a:cubicBezTo>
                    <a:cubicBezTo>
                      <a:pt x="506882" y="504054"/>
                      <a:pt x="506862" y="498437"/>
                      <a:pt x="503385" y="494986"/>
                    </a:cubicBezTo>
                    <a:cubicBezTo>
                      <a:pt x="499908" y="491535"/>
                      <a:pt x="494291" y="491555"/>
                      <a:pt x="490840" y="495032"/>
                    </a:cubicBezTo>
                    <a:cubicBezTo>
                      <a:pt x="487406" y="498490"/>
                      <a:pt x="487406" y="504071"/>
                      <a:pt x="490840" y="507531"/>
                    </a:cubicBezTo>
                    <a:moveTo>
                      <a:pt x="453927" y="540295"/>
                    </a:moveTo>
                    <a:cubicBezTo>
                      <a:pt x="456632" y="543995"/>
                      <a:pt x="461825" y="544801"/>
                      <a:pt x="465523" y="542095"/>
                    </a:cubicBezTo>
                    <a:cubicBezTo>
                      <a:pt x="469223" y="539390"/>
                      <a:pt x="470028" y="534197"/>
                      <a:pt x="467323" y="530499"/>
                    </a:cubicBezTo>
                    <a:cubicBezTo>
                      <a:pt x="467001" y="530057"/>
                      <a:pt x="466635" y="529648"/>
                      <a:pt x="466231" y="529278"/>
                    </a:cubicBezTo>
                    <a:cubicBezTo>
                      <a:pt x="463526" y="525579"/>
                      <a:pt x="458334" y="524773"/>
                      <a:pt x="454635" y="527479"/>
                    </a:cubicBezTo>
                    <a:cubicBezTo>
                      <a:pt x="450935" y="530184"/>
                      <a:pt x="450130" y="535376"/>
                      <a:pt x="452835" y="539075"/>
                    </a:cubicBezTo>
                    <a:cubicBezTo>
                      <a:pt x="453157" y="539517"/>
                      <a:pt x="453523" y="539926"/>
                      <a:pt x="453927" y="540295"/>
                    </a:cubicBezTo>
                    <a:moveTo>
                      <a:pt x="416870" y="573059"/>
                    </a:moveTo>
                    <a:cubicBezTo>
                      <a:pt x="419882" y="576041"/>
                      <a:pt x="424732" y="576041"/>
                      <a:pt x="427744" y="573059"/>
                    </a:cubicBezTo>
                    <a:cubicBezTo>
                      <a:pt x="430651" y="570018"/>
                      <a:pt x="430651" y="565227"/>
                      <a:pt x="427744" y="562186"/>
                    </a:cubicBezTo>
                    <a:cubicBezTo>
                      <a:pt x="424732" y="559204"/>
                      <a:pt x="419882" y="559204"/>
                      <a:pt x="416870" y="562186"/>
                    </a:cubicBezTo>
                    <a:cubicBezTo>
                      <a:pt x="413963" y="565227"/>
                      <a:pt x="413963" y="570018"/>
                      <a:pt x="416870" y="573059"/>
                    </a:cubicBezTo>
                    <a:moveTo>
                      <a:pt x="379957" y="605823"/>
                    </a:moveTo>
                    <a:cubicBezTo>
                      <a:pt x="382723" y="608645"/>
                      <a:pt x="387253" y="608691"/>
                      <a:pt x="390074" y="605925"/>
                    </a:cubicBezTo>
                    <a:cubicBezTo>
                      <a:pt x="392895" y="603159"/>
                      <a:pt x="392940" y="598630"/>
                      <a:pt x="390174" y="595808"/>
                    </a:cubicBezTo>
                    <a:cubicBezTo>
                      <a:pt x="387409" y="592987"/>
                      <a:pt x="382880" y="592941"/>
                      <a:pt x="380059" y="595707"/>
                    </a:cubicBezTo>
                    <a:cubicBezTo>
                      <a:pt x="380024" y="595741"/>
                      <a:pt x="379990" y="595774"/>
                      <a:pt x="379957" y="595808"/>
                    </a:cubicBezTo>
                    <a:cubicBezTo>
                      <a:pt x="377230" y="598590"/>
                      <a:pt x="377230" y="603042"/>
                      <a:pt x="379957" y="605823"/>
                    </a:cubicBezTo>
                    <a:moveTo>
                      <a:pt x="342901" y="639017"/>
                    </a:moveTo>
                    <a:cubicBezTo>
                      <a:pt x="345482" y="641416"/>
                      <a:pt x="349476" y="641416"/>
                      <a:pt x="352058" y="639017"/>
                    </a:cubicBezTo>
                    <a:cubicBezTo>
                      <a:pt x="354745" y="636646"/>
                      <a:pt x="355001" y="632547"/>
                      <a:pt x="352630" y="629860"/>
                    </a:cubicBezTo>
                    <a:cubicBezTo>
                      <a:pt x="350259" y="627173"/>
                      <a:pt x="346160" y="626917"/>
                      <a:pt x="343473" y="629288"/>
                    </a:cubicBezTo>
                    <a:cubicBezTo>
                      <a:pt x="341074" y="631869"/>
                      <a:pt x="341074" y="635863"/>
                      <a:pt x="343473" y="638444"/>
                    </a:cubicBezTo>
                    <a:moveTo>
                      <a:pt x="306560" y="671209"/>
                    </a:moveTo>
                    <a:cubicBezTo>
                      <a:pt x="308733" y="673658"/>
                      <a:pt x="312480" y="673883"/>
                      <a:pt x="314930" y="671709"/>
                    </a:cubicBezTo>
                    <a:cubicBezTo>
                      <a:pt x="317379" y="669536"/>
                      <a:pt x="317604" y="665789"/>
                      <a:pt x="315430" y="663339"/>
                    </a:cubicBezTo>
                    <a:cubicBezTo>
                      <a:pt x="313253" y="661048"/>
                      <a:pt x="309632" y="660954"/>
                      <a:pt x="307340" y="663132"/>
                    </a:cubicBezTo>
                    <a:cubicBezTo>
                      <a:pt x="307268" y="663199"/>
                      <a:pt x="307199" y="663268"/>
                      <a:pt x="307132" y="663339"/>
                    </a:cubicBezTo>
                    <a:cubicBezTo>
                      <a:pt x="304840" y="665630"/>
                      <a:pt x="304840" y="669344"/>
                      <a:pt x="307129" y="671635"/>
                    </a:cubicBezTo>
                    <a:cubicBezTo>
                      <a:pt x="307131" y="671636"/>
                      <a:pt x="307131" y="671636"/>
                      <a:pt x="307132" y="671638"/>
                    </a:cubicBezTo>
                    <a:moveTo>
                      <a:pt x="270219" y="704402"/>
                    </a:moveTo>
                    <a:cubicBezTo>
                      <a:pt x="272280" y="706438"/>
                      <a:pt x="275597" y="706438"/>
                      <a:pt x="277659" y="704402"/>
                    </a:cubicBezTo>
                    <a:cubicBezTo>
                      <a:pt x="279871" y="702466"/>
                      <a:pt x="280095" y="699103"/>
                      <a:pt x="278159" y="696891"/>
                    </a:cubicBezTo>
                    <a:cubicBezTo>
                      <a:pt x="276224" y="694679"/>
                      <a:pt x="272860" y="694454"/>
                      <a:pt x="270648" y="696390"/>
                    </a:cubicBezTo>
                    <a:cubicBezTo>
                      <a:pt x="268595" y="698500"/>
                      <a:pt x="268595" y="701862"/>
                      <a:pt x="270648" y="703973"/>
                    </a:cubicBezTo>
                    <a:moveTo>
                      <a:pt x="233592" y="736594"/>
                    </a:moveTo>
                    <a:cubicBezTo>
                      <a:pt x="235423" y="738451"/>
                      <a:pt x="238412" y="738472"/>
                      <a:pt x="240269" y="736641"/>
                    </a:cubicBezTo>
                    <a:cubicBezTo>
                      <a:pt x="240285" y="736625"/>
                      <a:pt x="240300" y="736610"/>
                      <a:pt x="240316" y="736594"/>
                    </a:cubicBezTo>
                    <a:cubicBezTo>
                      <a:pt x="242148" y="734737"/>
                      <a:pt x="242126" y="731748"/>
                      <a:pt x="240269" y="729917"/>
                    </a:cubicBezTo>
                    <a:cubicBezTo>
                      <a:pt x="238412" y="728087"/>
                      <a:pt x="235423" y="728108"/>
                      <a:pt x="233592" y="729964"/>
                    </a:cubicBezTo>
                    <a:cubicBezTo>
                      <a:pt x="231779" y="731802"/>
                      <a:pt x="231779" y="734755"/>
                      <a:pt x="233592" y="736594"/>
                    </a:cubicBezTo>
                    <a:moveTo>
                      <a:pt x="196678" y="769358"/>
                    </a:moveTo>
                    <a:cubicBezTo>
                      <a:pt x="198259" y="770906"/>
                      <a:pt x="200795" y="770880"/>
                      <a:pt x="202344" y="769301"/>
                    </a:cubicBezTo>
                    <a:cubicBezTo>
                      <a:pt x="203892" y="767720"/>
                      <a:pt x="203866" y="765183"/>
                      <a:pt x="202285" y="763635"/>
                    </a:cubicBezTo>
                    <a:cubicBezTo>
                      <a:pt x="200729" y="762108"/>
                      <a:pt x="198236" y="762108"/>
                      <a:pt x="196678" y="763635"/>
                    </a:cubicBezTo>
                    <a:cubicBezTo>
                      <a:pt x="195152" y="765237"/>
                      <a:pt x="195152" y="767756"/>
                      <a:pt x="196678" y="769358"/>
                    </a:cubicBezTo>
                    <a:moveTo>
                      <a:pt x="159765" y="802122"/>
                    </a:moveTo>
                    <a:cubicBezTo>
                      <a:pt x="161108" y="803461"/>
                      <a:pt x="163282" y="803457"/>
                      <a:pt x="164621" y="802113"/>
                    </a:cubicBezTo>
                    <a:cubicBezTo>
                      <a:pt x="165960" y="800770"/>
                      <a:pt x="165956" y="798597"/>
                      <a:pt x="164612" y="797258"/>
                    </a:cubicBezTo>
                    <a:cubicBezTo>
                      <a:pt x="163273" y="795923"/>
                      <a:pt x="161106" y="795923"/>
                      <a:pt x="159765" y="797258"/>
                    </a:cubicBezTo>
                    <a:cubicBezTo>
                      <a:pt x="158422" y="798597"/>
                      <a:pt x="158417" y="800770"/>
                      <a:pt x="159756" y="802113"/>
                    </a:cubicBezTo>
                    <a:cubicBezTo>
                      <a:pt x="159759" y="802116"/>
                      <a:pt x="159762" y="802119"/>
                      <a:pt x="159765" y="802122"/>
                    </a:cubicBezTo>
                    <a:moveTo>
                      <a:pt x="470667" y="483924"/>
                    </a:moveTo>
                    <a:cubicBezTo>
                      <a:pt x="473856" y="487644"/>
                      <a:pt x="479456" y="488074"/>
                      <a:pt x="483174" y="484885"/>
                    </a:cubicBezTo>
                    <a:cubicBezTo>
                      <a:pt x="486894" y="481697"/>
                      <a:pt x="487325" y="476098"/>
                      <a:pt x="484137" y="472378"/>
                    </a:cubicBezTo>
                    <a:cubicBezTo>
                      <a:pt x="484083" y="472315"/>
                      <a:pt x="484028" y="472253"/>
                      <a:pt x="483973" y="472192"/>
                    </a:cubicBezTo>
                    <a:cubicBezTo>
                      <a:pt x="480682" y="468562"/>
                      <a:pt x="475072" y="468288"/>
                      <a:pt x="471442" y="471579"/>
                    </a:cubicBezTo>
                    <a:cubicBezTo>
                      <a:pt x="467885" y="474806"/>
                      <a:pt x="467540" y="480277"/>
                      <a:pt x="470667" y="483924"/>
                    </a:cubicBezTo>
                    <a:moveTo>
                      <a:pt x="433753" y="516688"/>
                    </a:moveTo>
                    <a:cubicBezTo>
                      <a:pt x="436752" y="520155"/>
                      <a:pt x="441992" y="520532"/>
                      <a:pt x="445458" y="517535"/>
                    </a:cubicBezTo>
                    <a:cubicBezTo>
                      <a:pt x="448925" y="514536"/>
                      <a:pt x="449304" y="509295"/>
                      <a:pt x="446305" y="505830"/>
                    </a:cubicBezTo>
                    <a:cubicBezTo>
                      <a:pt x="443306" y="502363"/>
                      <a:pt x="438066" y="501984"/>
                      <a:pt x="434600" y="504983"/>
                    </a:cubicBezTo>
                    <a:cubicBezTo>
                      <a:pt x="434556" y="505022"/>
                      <a:pt x="434512" y="505060"/>
                      <a:pt x="434469" y="505099"/>
                    </a:cubicBezTo>
                    <a:cubicBezTo>
                      <a:pt x="431073" y="508059"/>
                      <a:pt x="430720" y="513210"/>
                      <a:pt x="433680" y="516605"/>
                    </a:cubicBezTo>
                    <a:cubicBezTo>
                      <a:pt x="433705" y="516633"/>
                      <a:pt x="433729" y="516661"/>
                      <a:pt x="433753" y="516688"/>
                    </a:cubicBezTo>
                    <a:moveTo>
                      <a:pt x="396840" y="549452"/>
                    </a:moveTo>
                    <a:cubicBezTo>
                      <a:pt x="399687" y="552415"/>
                      <a:pt x="404396" y="552510"/>
                      <a:pt x="407359" y="549664"/>
                    </a:cubicBezTo>
                    <a:cubicBezTo>
                      <a:pt x="407432" y="549594"/>
                      <a:pt x="407502" y="549524"/>
                      <a:pt x="407571" y="549452"/>
                    </a:cubicBezTo>
                    <a:cubicBezTo>
                      <a:pt x="410764" y="546744"/>
                      <a:pt x="411157" y="541958"/>
                      <a:pt x="408449" y="538764"/>
                    </a:cubicBezTo>
                    <a:cubicBezTo>
                      <a:pt x="408396" y="538701"/>
                      <a:pt x="408342" y="538640"/>
                      <a:pt x="408286" y="538578"/>
                    </a:cubicBezTo>
                    <a:cubicBezTo>
                      <a:pt x="405440" y="535462"/>
                      <a:pt x="400643" y="535147"/>
                      <a:pt x="397412" y="537863"/>
                    </a:cubicBezTo>
                    <a:cubicBezTo>
                      <a:pt x="394431" y="540875"/>
                      <a:pt x="394431" y="545725"/>
                      <a:pt x="397412" y="548737"/>
                    </a:cubicBezTo>
                    <a:moveTo>
                      <a:pt x="359068" y="581787"/>
                    </a:moveTo>
                    <a:cubicBezTo>
                      <a:pt x="361834" y="584497"/>
                      <a:pt x="366272" y="584451"/>
                      <a:pt x="368982" y="581685"/>
                    </a:cubicBezTo>
                    <a:cubicBezTo>
                      <a:pt x="371692" y="578920"/>
                      <a:pt x="371647" y="574481"/>
                      <a:pt x="368882" y="571772"/>
                    </a:cubicBezTo>
                    <a:cubicBezTo>
                      <a:pt x="366155" y="569100"/>
                      <a:pt x="361794" y="569100"/>
                      <a:pt x="359068" y="571772"/>
                    </a:cubicBezTo>
                    <a:cubicBezTo>
                      <a:pt x="356341" y="574553"/>
                      <a:pt x="356341" y="579006"/>
                      <a:pt x="359068" y="581787"/>
                    </a:cubicBezTo>
                    <a:moveTo>
                      <a:pt x="322155" y="614551"/>
                    </a:moveTo>
                    <a:cubicBezTo>
                      <a:pt x="324654" y="617079"/>
                      <a:pt x="328732" y="617102"/>
                      <a:pt x="331260" y="614602"/>
                    </a:cubicBezTo>
                    <a:cubicBezTo>
                      <a:pt x="331277" y="614585"/>
                      <a:pt x="331295" y="614568"/>
                      <a:pt x="331312" y="614551"/>
                    </a:cubicBezTo>
                    <a:cubicBezTo>
                      <a:pt x="333999" y="612180"/>
                      <a:pt x="334255" y="608081"/>
                      <a:pt x="331884" y="605394"/>
                    </a:cubicBezTo>
                    <a:cubicBezTo>
                      <a:pt x="329513" y="602707"/>
                      <a:pt x="325414" y="602451"/>
                      <a:pt x="322727" y="604822"/>
                    </a:cubicBezTo>
                    <a:cubicBezTo>
                      <a:pt x="320199" y="607321"/>
                      <a:pt x="320176" y="611399"/>
                      <a:pt x="322676" y="613927"/>
                    </a:cubicBezTo>
                    <a:cubicBezTo>
                      <a:pt x="322693" y="613944"/>
                      <a:pt x="322710" y="613962"/>
                      <a:pt x="322727" y="613979"/>
                    </a:cubicBezTo>
                    <a:moveTo>
                      <a:pt x="284669" y="647744"/>
                    </a:moveTo>
                    <a:cubicBezTo>
                      <a:pt x="286961" y="650035"/>
                      <a:pt x="290676" y="650034"/>
                      <a:pt x="292965" y="647741"/>
                    </a:cubicBezTo>
                    <a:cubicBezTo>
                      <a:pt x="295255" y="645451"/>
                      <a:pt x="295254" y="641737"/>
                      <a:pt x="292963" y="639446"/>
                    </a:cubicBezTo>
                    <a:cubicBezTo>
                      <a:pt x="290673" y="637157"/>
                      <a:pt x="286960" y="637157"/>
                      <a:pt x="284669" y="639446"/>
                    </a:cubicBezTo>
                    <a:cubicBezTo>
                      <a:pt x="282377" y="641737"/>
                      <a:pt x="282377" y="645451"/>
                      <a:pt x="284666" y="647741"/>
                    </a:cubicBezTo>
                    <a:cubicBezTo>
                      <a:pt x="284668" y="647743"/>
                      <a:pt x="284668" y="647743"/>
                      <a:pt x="284669" y="647744"/>
                    </a:cubicBezTo>
                    <a:moveTo>
                      <a:pt x="248185" y="680509"/>
                    </a:moveTo>
                    <a:cubicBezTo>
                      <a:pt x="250330" y="682496"/>
                      <a:pt x="253679" y="682368"/>
                      <a:pt x="255667" y="680224"/>
                    </a:cubicBezTo>
                    <a:cubicBezTo>
                      <a:pt x="257389" y="678364"/>
                      <a:pt x="257552" y="675544"/>
                      <a:pt x="256054" y="673498"/>
                    </a:cubicBezTo>
                    <a:cubicBezTo>
                      <a:pt x="254327" y="671139"/>
                      <a:pt x="251014" y="670628"/>
                      <a:pt x="248656" y="672355"/>
                    </a:cubicBezTo>
                    <a:cubicBezTo>
                      <a:pt x="246297" y="674082"/>
                      <a:pt x="245784" y="677394"/>
                      <a:pt x="247513" y="679753"/>
                    </a:cubicBezTo>
                    <a:cubicBezTo>
                      <a:pt x="247712" y="680026"/>
                      <a:pt x="247938" y="680278"/>
                      <a:pt x="248185" y="680509"/>
                    </a:cubicBezTo>
                    <a:moveTo>
                      <a:pt x="211272" y="713273"/>
                    </a:moveTo>
                    <a:cubicBezTo>
                      <a:pt x="213030" y="715090"/>
                      <a:pt x="215929" y="715138"/>
                      <a:pt x="217746" y="713380"/>
                    </a:cubicBezTo>
                    <a:cubicBezTo>
                      <a:pt x="217782" y="713346"/>
                      <a:pt x="217818" y="713310"/>
                      <a:pt x="217853" y="713273"/>
                    </a:cubicBezTo>
                    <a:cubicBezTo>
                      <a:pt x="219635" y="711440"/>
                      <a:pt x="219635" y="708524"/>
                      <a:pt x="217853" y="706691"/>
                    </a:cubicBezTo>
                    <a:cubicBezTo>
                      <a:pt x="216460" y="704486"/>
                      <a:pt x="213544" y="703830"/>
                      <a:pt x="211339" y="705223"/>
                    </a:cubicBezTo>
                    <a:cubicBezTo>
                      <a:pt x="209136" y="706615"/>
                      <a:pt x="208478" y="709533"/>
                      <a:pt x="209871" y="711736"/>
                    </a:cubicBezTo>
                    <a:cubicBezTo>
                      <a:pt x="210135" y="712154"/>
                      <a:pt x="210464" y="712527"/>
                      <a:pt x="210843" y="712843"/>
                    </a:cubicBezTo>
                    <a:moveTo>
                      <a:pt x="173786" y="745607"/>
                    </a:moveTo>
                    <a:cubicBezTo>
                      <a:pt x="175406" y="747227"/>
                      <a:pt x="178033" y="747227"/>
                      <a:pt x="179652" y="745607"/>
                    </a:cubicBezTo>
                    <a:cubicBezTo>
                      <a:pt x="181179" y="744005"/>
                      <a:pt x="181179" y="741487"/>
                      <a:pt x="179652" y="739885"/>
                    </a:cubicBezTo>
                    <a:cubicBezTo>
                      <a:pt x="178219" y="738304"/>
                      <a:pt x="175777" y="738185"/>
                      <a:pt x="174196" y="739618"/>
                    </a:cubicBezTo>
                    <a:cubicBezTo>
                      <a:pt x="174103" y="739703"/>
                      <a:pt x="174014" y="739792"/>
                      <a:pt x="173929" y="739885"/>
                    </a:cubicBezTo>
                    <a:cubicBezTo>
                      <a:pt x="172348" y="741433"/>
                      <a:pt x="172323" y="743969"/>
                      <a:pt x="173872" y="745550"/>
                    </a:cubicBezTo>
                    <a:cubicBezTo>
                      <a:pt x="173891" y="745569"/>
                      <a:pt x="173909" y="745589"/>
                      <a:pt x="173929" y="745607"/>
                    </a:cubicBezTo>
                    <a:moveTo>
                      <a:pt x="137302" y="778801"/>
                    </a:moveTo>
                    <a:cubicBezTo>
                      <a:pt x="138646" y="780140"/>
                      <a:pt x="140819" y="780136"/>
                      <a:pt x="142158" y="778792"/>
                    </a:cubicBezTo>
                    <a:cubicBezTo>
                      <a:pt x="143497" y="777449"/>
                      <a:pt x="143493" y="775275"/>
                      <a:pt x="142150" y="773936"/>
                    </a:cubicBezTo>
                    <a:cubicBezTo>
                      <a:pt x="140810" y="772601"/>
                      <a:pt x="138643" y="772601"/>
                      <a:pt x="137302" y="773936"/>
                    </a:cubicBezTo>
                    <a:cubicBezTo>
                      <a:pt x="135959" y="775275"/>
                      <a:pt x="135955" y="777449"/>
                      <a:pt x="137294" y="778792"/>
                    </a:cubicBezTo>
                    <a:cubicBezTo>
                      <a:pt x="137297" y="778795"/>
                      <a:pt x="137299" y="778798"/>
                      <a:pt x="137302" y="778801"/>
                    </a:cubicBezTo>
                    <a:moveTo>
                      <a:pt x="449205" y="460459"/>
                    </a:moveTo>
                    <a:cubicBezTo>
                      <a:pt x="452585" y="463896"/>
                      <a:pt x="458110" y="463943"/>
                      <a:pt x="461547" y="460565"/>
                    </a:cubicBezTo>
                    <a:cubicBezTo>
                      <a:pt x="461583" y="460530"/>
                      <a:pt x="461619" y="460495"/>
                      <a:pt x="461653" y="460459"/>
                    </a:cubicBezTo>
                    <a:cubicBezTo>
                      <a:pt x="465301" y="457246"/>
                      <a:pt x="465685" y="451695"/>
                      <a:pt x="462511" y="448012"/>
                    </a:cubicBezTo>
                    <a:cubicBezTo>
                      <a:pt x="459248" y="444345"/>
                      <a:pt x="453651" y="443964"/>
                      <a:pt x="449921" y="447153"/>
                    </a:cubicBezTo>
                    <a:cubicBezTo>
                      <a:pt x="446444" y="450604"/>
                      <a:pt x="446424" y="456222"/>
                      <a:pt x="449875" y="459698"/>
                    </a:cubicBezTo>
                    <a:cubicBezTo>
                      <a:pt x="449891" y="459714"/>
                      <a:pt x="449905" y="459728"/>
                      <a:pt x="449921" y="459744"/>
                    </a:cubicBezTo>
                    <a:moveTo>
                      <a:pt x="412864" y="492508"/>
                    </a:moveTo>
                    <a:cubicBezTo>
                      <a:pt x="415686" y="496121"/>
                      <a:pt x="420901" y="496762"/>
                      <a:pt x="424512" y="493940"/>
                    </a:cubicBezTo>
                    <a:cubicBezTo>
                      <a:pt x="428125" y="491120"/>
                      <a:pt x="428766" y="485905"/>
                      <a:pt x="425944" y="482293"/>
                    </a:cubicBezTo>
                    <a:cubicBezTo>
                      <a:pt x="423124" y="478681"/>
                      <a:pt x="417909" y="478039"/>
                      <a:pt x="414297" y="480860"/>
                    </a:cubicBezTo>
                    <a:cubicBezTo>
                      <a:pt x="413992" y="481098"/>
                      <a:pt x="413706" y="481357"/>
                      <a:pt x="413437" y="481635"/>
                    </a:cubicBezTo>
                    <a:cubicBezTo>
                      <a:pt x="410000" y="484666"/>
                      <a:pt x="409672" y="489910"/>
                      <a:pt x="412704" y="493347"/>
                    </a:cubicBezTo>
                    <a:cubicBezTo>
                      <a:pt x="412710" y="493354"/>
                      <a:pt x="412716" y="493359"/>
                      <a:pt x="412721" y="493367"/>
                    </a:cubicBezTo>
                    <a:moveTo>
                      <a:pt x="375236" y="525988"/>
                    </a:moveTo>
                    <a:cubicBezTo>
                      <a:pt x="378277" y="528895"/>
                      <a:pt x="383068" y="528895"/>
                      <a:pt x="386109" y="525988"/>
                    </a:cubicBezTo>
                    <a:cubicBezTo>
                      <a:pt x="389091" y="522976"/>
                      <a:pt x="389091" y="518126"/>
                      <a:pt x="386109" y="515114"/>
                    </a:cubicBezTo>
                    <a:cubicBezTo>
                      <a:pt x="383191" y="512111"/>
                      <a:pt x="378389" y="512044"/>
                      <a:pt x="375386" y="514964"/>
                    </a:cubicBezTo>
                    <a:cubicBezTo>
                      <a:pt x="375336" y="515012"/>
                      <a:pt x="375286" y="515062"/>
                      <a:pt x="375236" y="515114"/>
                    </a:cubicBezTo>
                    <a:cubicBezTo>
                      <a:pt x="372254" y="518126"/>
                      <a:pt x="372254" y="522976"/>
                      <a:pt x="375236" y="525988"/>
                    </a:cubicBezTo>
                    <a:moveTo>
                      <a:pt x="338179" y="558752"/>
                    </a:moveTo>
                    <a:cubicBezTo>
                      <a:pt x="340961" y="561479"/>
                      <a:pt x="345413" y="561479"/>
                      <a:pt x="348195" y="558752"/>
                    </a:cubicBezTo>
                    <a:cubicBezTo>
                      <a:pt x="351153" y="556254"/>
                      <a:pt x="351525" y="551830"/>
                      <a:pt x="349027" y="548873"/>
                    </a:cubicBezTo>
                    <a:cubicBezTo>
                      <a:pt x="348989" y="548827"/>
                      <a:pt x="348950" y="548781"/>
                      <a:pt x="348910" y="548737"/>
                    </a:cubicBezTo>
                    <a:cubicBezTo>
                      <a:pt x="346129" y="546010"/>
                      <a:pt x="341676" y="546010"/>
                      <a:pt x="338895" y="548737"/>
                    </a:cubicBezTo>
                    <a:cubicBezTo>
                      <a:pt x="336129" y="551446"/>
                      <a:pt x="336083" y="555885"/>
                      <a:pt x="338793" y="558650"/>
                    </a:cubicBezTo>
                    <a:cubicBezTo>
                      <a:pt x="338827" y="558685"/>
                      <a:pt x="338860" y="558719"/>
                      <a:pt x="338895" y="558752"/>
                    </a:cubicBezTo>
                    <a:moveTo>
                      <a:pt x="301981" y="591516"/>
                    </a:moveTo>
                    <a:cubicBezTo>
                      <a:pt x="304534" y="593987"/>
                      <a:pt x="308586" y="593987"/>
                      <a:pt x="311138" y="591516"/>
                    </a:cubicBezTo>
                    <a:cubicBezTo>
                      <a:pt x="313825" y="589145"/>
                      <a:pt x="314081" y="585046"/>
                      <a:pt x="311710" y="582359"/>
                    </a:cubicBezTo>
                    <a:cubicBezTo>
                      <a:pt x="309340" y="579672"/>
                      <a:pt x="305241" y="579416"/>
                      <a:pt x="302554" y="581787"/>
                    </a:cubicBezTo>
                    <a:cubicBezTo>
                      <a:pt x="300083" y="584339"/>
                      <a:pt x="300083" y="588391"/>
                      <a:pt x="302554" y="590944"/>
                    </a:cubicBezTo>
                    <a:moveTo>
                      <a:pt x="264353" y="624709"/>
                    </a:moveTo>
                    <a:cubicBezTo>
                      <a:pt x="266645" y="627000"/>
                      <a:pt x="270359" y="626999"/>
                      <a:pt x="272648" y="624706"/>
                    </a:cubicBezTo>
                    <a:cubicBezTo>
                      <a:pt x="274939" y="622416"/>
                      <a:pt x="274937" y="618702"/>
                      <a:pt x="272647" y="616411"/>
                    </a:cubicBezTo>
                    <a:cubicBezTo>
                      <a:pt x="270356" y="614122"/>
                      <a:pt x="266643" y="614122"/>
                      <a:pt x="264353" y="616411"/>
                    </a:cubicBezTo>
                    <a:cubicBezTo>
                      <a:pt x="262061" y="618702"/>
                      <a:pt x="262061" y="622416"/>
                      <a:pt x="264350" y="624706"/>
                    </a:cubicBezTo>
                    <a:cubicBezTo>
                      <a:pt x="264351" y="624708"/>
                      <a:pt x="264351" y="624708"/>
                      <a:pt x="264353" y="624709"/>
                    </a:cubicBezTo>
                    <a:moveTo>
                      <a:pt x="227439" y="657044"/>
                    </a:moveTo>
                    <a:cubicBezTo>
                      <a:pt x="229578" y="659026"/>
                      <a:pt x="232883" y="659026"/>
                      <a:pt x="235022" y="657044"/>
                    </a:cubicBezTo>
                    <a:cubicBezTo>
                      <a:pt x="236985" y="654952"/>
                      <a:pt x="236985" y="651696"/>
                      <a:pt x="235022" y="649604"/>
                    </a:cubicBezTo>
                    <a:cubicBezTo>
                      <a:pt x="233087" y="647392"/>
                      <a:pt x="229723" y="647168"/>
                      <a:pt x="227511" y="649104"/>
                    </a:cubicBezTo>
                    <a:cubicBezTo>
                      <a:pt x="225299" y="651039"/>
                      <a:pt x="225074" y="654403"/>
                      <a:pt x="227010" y="656615"/>
                    </a:cubicBezTo>
                    <a:moveTo>
                      <a:pt x="190097" y="689379"/>
                    </a:moveTo>
                    <a:cubicBezTo>
                      <a:pt x="191930" y="691160"/>
                      <a:pt x="194846" y="691160"/>
                      <a:pt x="196678" y="689379"/>
                    </a:cubicBezTo>
                    <a:cubicBezTo>
                      <a:pt x="198495" y="687621"/>
                      <a:pt x="198544" y="684722"/>
                      <a:pt x="196786" y="682905"/>
                    </a:cubicBezTo>
                    <a:cubicBezTo>
                      <a:pt x="196751" y="682869"/>
                      <a:pt x="196714" y="682833"/>
                      <a:pt x="196678" y="682798"/>
                    </a:cubicBezTo>
                    <a:cubicBezTo>
                      <a:pt x="194846" y="681016"/>
                      <a:pt x="191930" y="681016"/>
                      <a:pt x="190097" y="682798"/>
                    </a:cubicBezTo>
                    <a:cubicBezTo>
                      <a:pt x="188280" y="684556"/>
                      <a:pt x="188231" y="687455"/>
                      <a:pt x="189990" y="689272"/>
                    </a:cubicBezTo>
                    <a:cubicBezTo>
                      <a:pt x="190024" y="689308"/>
                      <a:pt x="190061" y="689343"/>
                      <a:pt x="190097" y="689379"/>
                    </a:cubicBezTo>
                    <a:moveTo>
                      <a:pt x="153184" y="722143"/>
                    </a:moveTo>
                    <a:cubicBezTo>
                      <a:pt x="154786" y="723670"/>
                      <a:pt x="157304" y="723670"/>
                      <a:pt x="158907" y="722143"/>
                    </a:cubicBezTo>
                    <a:cubicBezTo>
                      <a:pt x="160488" y="720710"/>
                      <a:pt x="160606" y="718267"/>
                      <a:pt x="159173" y="716686"/>
                    </a:cubicBezTo>
                    <a:cubicBezTo>
                      <a:pt x="159088" y="716593"/>
                      <a:pt x="159000" y="716505"/>
                      <a:pt x="158907" y="716420"/>
                    </a:cubicBezTo>
                    <a:cubicBezTo>
                      <a:pt x="157359" y="714839"/>
                      <a:pt x="154822" y="714814"/>
                      <a:pt x="153241" y="716363"/>
                    </a:cubicBezTo>
                    <a:cubicBezTo>
                      <a:pt x="153222" y="716382"/>
                      <a:pt x="153202" y="716400"/>
                      <a:pt x="153184" y="716420"/>
                    </a:cubicBezTo>
                    <a:cubicBezTo>
                      <a:pt x="151564" y="718040"/>
                      <a:pt x="151564" y="720667"/>
                      <a:pt x="153184" y="722286"/>
                    </a:cubicBezTo>
                    <a:moveTo>
                      <a:pt x="116127" y="755050"/>
                    </a:moveTo>
                    <a:cubicBezTo>
                      <a:pt x="117509" y="756461"/>
                      <a:pt x="119774" y="756484"/>
                      <a:pt x="121185" y="755101"/>
                    </a:cubicBezTo>
                    <a:cubicBezTo>
                      <a:pt x="122596" y="753718"/>
                      <a:pt x="122619" y="751454"/>
                      <a:pt x="121236" y="750043"/>
                    </a:cubicBezTo>
                    <a:cubicBezTo>
                      <a:pt x="119853" y="748632"/>
                      <a:pt x="117588" y="748609"/>
                      <a:pt x="116177" y="749993"/>
                    </a:cubicBezTo>
                    <a:cubicBezTo>
                      <a:pt x="116160" y="750008"/>
                      <a:pt x="116144" y="750026"/>
                      <a:pt x="116127" y="750043"/>
                    </a:cubicBezTo>
                    <a:cubicBezTo>
                      <a:pt x="114764" y="751434"/>
                      <a:pt x="114764" y="753660"/>
                      <a:pt x="116127" y="755050"/>
                    </a:cubicBezTo>
                    <a:moveTo>
                      <a:pt x="79214" y="787672"/>
                    </a:moveTo>
                    <a:cubicBezTo>
                      <a:pt x="80228" y="788777"/>
                      <a:pt x="81948" y="788852"/>
                      <a:pt x="83055" y="787838"/>
                    </a:cubicBezTo>
                    <a:cubicBezTo>
                      <a:pt x="83113" y="787785"/>
                      <a:pt x="83167" y="787729"/>
                      <a:pt x="83220" y="787672"/>
                    </a:cubicBezTo>
                    <a:cubicBezTo>
                      <a:pt x="84326" y="786657"/>
                      <a:pt x="84400" y="784937"/>
                      <a:pt x="83385" y="783830"/>
                    </a:cubicBezTo>
                    <a:cubicBezTo>
                      <a:pt x="83333" y="783773"/>
                      <a:pt x="83277" y="783718"/>
                      <a:pt x="83220" y="783665"/>
                    </a:cubicBezTo>
                    <a:cubicBezTo>
                      <a:pt x="82107" y="782575"/>
                      <a:pt x="80327" y="782575"/>
                      <a:pt x="79214" y="783665"/>
                    </a:cubicBezTo>
                    <a:cubicBezTo>
                      <a:pt x="78108" y="784680"/>
                      <a:pt x="78034" y="786400"/>
                      <a:pt x="79049" y="787506"/>
                    </a:cubicBezTo>
                    <a:cubicBezTo>
                      <a:pt x="79101" y="787564"/>
                      <a:pt x="79157" y="787619"/>
                      <a:pt x="79214" y="787672"/>
                    </a:cubicBezTo>
                    <a:moveTo>
                      <a:pt x="479823" y="391354"/>
                    </a:moveTo>
                    <a:cubicBezTo>
                      <a:pt x="476584" y="387640"/>
                      <a:pt x="470947" y="387257"/>
                      <a:pt x="467233" y="390496"/>
                    </a:cubicBezTo>
                    <a:cubicBezTo>
                      <a:pt x="463519" y="393735"/>
                      <a:pt x="463135" y="399372"/>
                      <a:pt x="466374" y="403086"/>
                    </a:cubicBezTo>
                    <a:cubicBezTo>
                      <a:pt x="469614" y="406801"/>
                      <a:pt x="475251" y="407184"/>
                      <a:pt x="478965" y="403945"/>
                    </a:cubicBezTo>
                    <a:cubicBezTo>
                      <a:pt x="482679" y="400706"/>
                      <a:pt x="483063" y="395069"/>
                      <a:pt x="479823" y="391354"/>
                    </a:cubicBezTo>
                    <a:moveTo>
                      <a:pt x="516737" y="358590"/>
                    </a:moveTo>
                    <a:cubicBezTo>
                      <a:pt x="513738" y="355123"/>
                      <a:pt x="508497" y="354746"/>
                      <a:pt x="505032" y="357743"/>
                    </a:cubicBezTo>
                    <a:cubicBezTo>
                      <a:pt x="501565" y="360742"/>
                      <a:pt x="501186" y="365983"/>
                      <a:pt x="504185" y="369448"/>
                    </a:cubicBezTo>
                    <a:cubicBezTo>
                      <a:pt x="507184" y="372915"/>
                      <a:pt x="512424" y="373294"/>
                      <a:pt x="515890" y="370295"/>
                    </a:cubicBezTo>
                    <a:cubicBezTo>
                      <a:pt x="515934" y="370257"/>
                      <a:pt x="515978" y="370218"/>
                      <a:pt x="516021" y="370179"/>
                    </a:cubicBezTo>
                    <a:cubicBezTo>
                      <a:pt x="519416" y="367219"/>
                      <a:pt x="519770" y="362068"/>
                      <a:pt x="516810" y="358673"/>
                    </a:cubicBezTo>
                    <a:cubicBezTo>
                      <a:pt x="516785" y="358646"/>
                      <a:pt x="516761" y="358617"/>
                      <a:pt x="516737" y="358590"/>
                    </a:cubicBezTo>
                    <a:moveTo>
                      <a:pt x="553650" y="325826"/>
                    </a:moveTo>
                    <a:cubicBezTo>
                      <a:pt x="550844" y="322666"/>
                      <a:pt x="546008" y="322377"/>
                      <a:pt x="542848" y="325182"/>
                    </a:cubicBezTo>
                    <a:cubicBezTo>
                      <a:pt x="539687" y="327988"/>
                      <a:pt x="539398" y="332824"/>
                      <a:pt x="542204" y="335984"/>
                    </a:cubicBezTo>
                    <a:cubicBezTo>
                      <a:pt x="545246" y="338892"/>
                      <a:pt x="550036" y="338892"/>
                      <a:pt x="553078" y="335984"/>
                    </a:cubicBezTo>
                    <a:cubicBezTo>
                      <a:pt x="556059" y="332973"/>
                      <a:pt x="556059" y="328122"/>
                      <a:pt x="553078" y="325111"/>
                    </a:cubicBezTo>
                    <a:moveTo>
                      <a:pt x="590134" y="292347"/>
                    </a:moveTo>
                    <a:cubicBezTo>
                      <a:pt x="587539" y="289581"/>
                      <a:pt x="583192" y="289444"/>
                      <a:pt x="580426" y="292039"/>
                    </a:cubicBezTo>
                    <a:cubicBezTo>
                      <a:pt x="580321" y="292138"/>
                      <a:pt x="580218" y="292241"/>
                      <a:pt x="580119" y="292347"/>
                    </a:cubicBezTo>
                    <a:cubicBezTo>
                      <a:pt x="577160" y="294845"/>
                      <a:pt x="576788" y="299269"/>
                      <a:pt x="579286" y="302226"/>
                    </a:cubicBezTo>
                    <a:cubicBezTo>
                      <a:pt x="579325" y="302272"/>
                      <a:pt x="579363" y="302317"/>
                      <a:pt x="579403" y="302362"/>
                    </a:cubicBezTo>
                    <a:cubicBezTo>
                      <a:pt x="582185" y="305089"/>
                      <a:pt x="586637" y="305089"/>
                      <a:pt x="589419" y="302362"/>
                    </a:cubicBezTo>
                    <a:cubicBezTo>
                      <a:pt x="592184" y="299652"/>
                      <a:pt x="592230" y="295214"/>
                      <a:pt x="589520" y="292448"/>
                    </a:cubicBezTo>
                    <a:cubicBezTo>
                      <a:pt x="589486" y="292414"/>
                      <a:pt x="589453" y="292379"/>
                      <a:pt x="589419" y="292347"/>
                    </a:cubicBezTo>
                    <a:moveTo>
                      <a:pt x="628049" y="260584"/>
                    </a:moveTo>
                    <a:cubicBezTo>
                      <a:pt x="625549" y="258056"/>
                      <a:pt x="621472" y="258033"/>
                      <a:pt x="618944" y="260532"/>
                    </a:cubicBezTo>
                    <a:cubicBezTo>
                      <a:pt x="618926" y="260550"/>
                      <a:pt x="618909" y="260567"/>
                      <a:pt x="618892" y="260584"/>
                    </a:cubicBezTo>
                    <a:cubicBezTo>
                      <a:pt x="616205" y="262955"/>
                      <a:pt x="615949" y="267054"/>
                      <a:pt x="618320" y="269741"/>
                    </a:cubicBezTo>
                    <a:cubicBezTo>
                      <a:pt x="620691" y="272428"/>
                      <a:pt x="624790" y="272684"/>
                      <a:pt x="627477" y="270313"/>
                    </a:cubicBezTo>
                    <a:cubicBezTo>
                      <a:pt x="630005" y="267814"/>
                      <a:pt x="630028" y="263736"/>
                      <a:pt x="627528" y="261208"/>
                    </a:cubicBezTo>
                    <a:cubicBezTo>
                      <a:pt x="627511" y="261191"/>
                      <a:pt x="627494" y="261173"/>
                      <a:pt x="627477" y="261156"/>
                    </a:cubicBezTo>
                    <a:moveTo>
                      <a:pt x="664390" y="228392"/>
                    </a:moveTo>
                    <a:cubicBezTo>
                      <a:pt x="662098" y="226101"/>
                      <a:pt x="658384" y="226103"/>
                      <a:pt x="656094" y="228395"/>
                    </a:cubicBezTo>
                    <a:cubicBezTo>
                      <a:pt x="653804" y="230686"/>
                      <a:pt x="653805" y="234400"/>
                      <a:pt x="656096" y="236690"/>
                    </a:cubicBezTo>
                    <a:cubicBezTo>
                      <a:pt x="658386" y="238980"/>
                      <a:pt x="662099" y="238980"/>
                      <a:pt x="664390" y="236690"/>
                    </a:cubicBezTo>
                    <a:cubicBezTo>
                      <a:pt x="666682" y="234400"/>
                      <a:pt x="666682" y="230686"/>
                      <a:pt x="664393" y="228395"/>
                    </a:cubicBezTo>
                    <a:cubicBezTo>
                      <a:pt x="664391" y="228394"/>
                      <a:pt x="664391" y="228394"/>
                      <a:pt x="664390" y="228392"/>
                    </a:cubicBezTo>
                    <a:moveTo>
                      <a:pt x="701303" y="195485"/>
                    </a:moveTo>
                    <a:cubicBezTo>
                      <a:pt x="699367" y="193273"/>
                      <a:pt x="696004" y="193048"/>
                      <a:pt x="693792" y="194984"/>
                    </a:cubicBezTo>
                    <a:cubicBezTo>
                      <a:pt x="691580" y="196920"/>
                      <a:pt x="691355" y="200284"/>
                      <a:pt x="693291" y="202496"/>
                    </a:cubicBezTo>
                    <a:cubicBezTo>
                      <a:pt x="695227" y="204708"/>
                      <a:pt x="698590" y="204932"/>
                      <a:pt x="700802" y="202996"/>
                    </a:cubicBezTo>
                    <a:cubicBezTo>
                      <a:pt x="703014" y="201061"/>
                      <a:pt x="703239" y="197697"/>
                      <a:pt x="701303" y="195485"/>
                    </a:cubicBezTo>
                    <a:moveTo>
                      <a:pt x="738216" y="162721"/>
                    </a:moveTo>
                    <a:cubicBezTo>
                      <a:pt x="736384" y="160940"/>
                      <a:pt x="733468" y="160940"/>
                      <a:pt x="731635" y="162721"/>
                    </a:cubicBezTo>
                    <a:cubicBezTo>
                      <a:pt x="729765" y="164538"/>
                      <a:pt x="729722" y="167527"/>
                      <a:pt x="731541" y="169397"/>
                    </a:cubicBezTo>
                    <a:cubicBezTo>
                      <a:pt x="733358" y="171267"/>
                      <a:pt x="736347" y="171310"/>
                      <a:pt x="738216" y="169493"/>
                    </a:cubicBezTo>
                    <a:cubicBezTo>
                      <a:pt x="740086" y="167675"/>
                      <a:pt x="740129" y="164685"/>
                      <a:pt x="738311" y="162815"/>
                    </a:cubicBezTo>
                    <a:cubicBezTo>
                      <a:pt x="738281" y="162784"/>
                      <a:pt x="738248" y="162752"/>
                      <a:pt x="738216" y="162721"/>
                    </a:cubicBezTo>
                    <a:moveTo>
                      <a:pt x="775130" y="129957"/>
                    </a:moveTo>
                    <a:cubicBezTo>
                      <a:pt x="773549" y="128409"/>
                      <a:pt x="771013" y="128434"/>
                      <a:pt x="769464" y="130014"/>
                    </a:cubicBezTo>
                    <a:cubicBezTo>
                      <a:pt x="767916" y="131595"/>
                      <a:pt x="767942" y="134132"/>
                      <a:pt x="769523" y="135680"/>
                    </a:cubicBezTo>
                    <a:cubicBezTo>
                      <a:pt x="771079" y="137206"/>
                      <a:pt x="773572" y="137206"/>
                      <a:pt x="775130" y="135680"/>
                    </a:cubicBezTo>
                    <a:cubicBezTo>
                      <a:pt x="776711" y="134246"/>
                      <a:pt x="776830" y="131804"/>
                      <a:pt x="775396" y="130223"/>
                    </a:cubicBezTo>
                    <a:cubicBezTo>
                      <a:pt x="775312" y="130130"/>
                      <a:pt x="775223" y="130041"/>
                      <a:pt x="775130" y="129957"/>
                    </a:cubicBezTo>
                    <a:moveTo>
                      <a:pt x="812186" y="97192"/>
                    </a:moveTo>
                    <a:cubicBezTo>
                      <a:pt x="810843" y="95853"/>
                      <a:pt x="808669" y="95858"/>
                      <a:pt x="807330" y="97201"/>
                    </a:cubicBezTo>
                    <a:cubicBezTo>
                      <a:pt x="805991" y="98545"/>
                      <a:pt x="805995" y="100718"/>
                      <a:pt x="807339" y="102057"/>
                    </a:cubicBezTo>
                    <a:cubicBezTo>
                      <a:pt x="808678" y="103392"/>
                      <a:pt x="810846" y="103392"/>
                      <a:pt x="812186" y="102057"/>
                    </a:cubicBezTo>
                    <a:cubicBezTo>
                      <a:pt x="813530" y="100718"/>
                      <a:pt x="813534" y="98545"/>
                      <a:pt x="812195" y="97201"/>
                    </a:cubicBezTo>
                    <a:cubicBezTo>
                      <a:pt x="812192" y="97198"/>
                      <a:pt x="812189" y="97195"/>
                      <a:pt x="812186" y="97192"/>
                    </a:cubicBezTo>
                    <a:moveTo>
                      <a:pt x="849099" y="64428"/>
                    </a:moveTo>
                    <a:cubicBezTo>
                      <a:pt x="848032" y="63244"/>
                      <a:pt x="846207" y="63146"/>
                      <a:pt x="845022" y="64214"/>
                    </a:cubicBezTo>
                    <a:cubicBezTo>
                      <a:pt x="843837" y="65281"/>
                      <a:pt x="843740" y="67107"/>
                      <a:pt x="844807" y="68291"/>
                    </a:cubicBezTo>
                    <a:cubicBezTo>
                      <a:pt x="845920" y="69382"/>
                      <a:pt x="847700" y="69382"/>
                      <a:pt x="848813" y="68291"/>
                    </a:cubicBezTo>
                    <a:cubicBezTo>
                      <a:pt x="849922" y="67131"/>
                      <a:pt x="849922" y="65303"/>
                      <a:pt x="848813" y="64142"/>
                    </a:cubicBezTo>
                    <a:moveTo>
                      <a:pt x="458648" y="368033"/>
                    </a:moveTo>
                    <a:cubicBezTo>
                      <a:pt x="455345" y="364410"/>
                      <a:pt x="449750" y="364091"/>
                      <a:pt x="446058" y="367318"/>
                    </a:cubicBezTo>
                    <a:cubicBezTo>
                      <a:pt x="442385" y="370561"/>
                      <a:pt x="442037" y="376167"/>
                      <a:pt x="445281" y="379838"/>
                    </a:cubicBezTo>
                    <a:cubicBezTo>
                      <a:pt x="445301" y="379863"/>
                      <a:pt x="445321" y="379885"/>
                      <a:pt x="445342" y="379908"/>
                    </a:cubicBezTo>
                    <a:cubicBezTo>
                      <a:pt x="448622" y="383583"/>
                      <a:pt x="454259" y="383903"/>
                      <a:pt x="457933" y="380624"/>
                    </a:cubicBezTo>
                    <a:cubicBezTo>
                      <a:pt x="461607" y="377344"/>
                      <a:pt x="461928" y="371707"/>
                      <a:pt x="458648" y="368033"/>
                    </a:cubicBezTo>
                    <a:moveTo>
                      <a:pt x="495562" y="335269"/>
                    </a:moveTo>
                    <a:cubicBezTo>
                      <a:pt x="492518" y="331842"/>
                      <a:pt x="487273" y="331530"/>
                      <a:pt x="483847" y="334574"/>
                    </a:cubicBezTo>
                    <a:cubicBezTo>
                      <a:pt x="480420" y="337615"/>
                      <a:pt x="480108" y="342861"/>
                      <a:pt x="483151" y="346289"/>
                    </a:cubicBezTo>
                    <a:cubicBezTo>
                      <a:pt x="486187" y="349708"/>
                      <a:pt x="491417" y="350027"/>
                      <a:pt x="494846" y="347001"/>
                    </a:cubicBezTo>
                    <a:cubicBezTo>
                      <a:pt x="498283" y="343969"/>
                      <a:pt x="498610" y="338726"/>
                      <a:pt x="495579" y="335289"/>
                    </a:cubicBezTo>
                    <a:cubicBezTo>
                      <a:pt x="495573" y="335282"/>
                      <a:pt x="495567" y="335276"/>
                      <a:pt x="495562" y="335269"/>
                    </a:cubicBezTo>
                    <a:moveTo>
                      <a:pt x="532618" y="302505"/>
                    </a:moveTo>
                    <a:cubicBezTo>
                      <a:pt x="529606" y="299523"/>
                      <a:pt x="524756" y="299523"/>
                      <a:pt x="521744" y="302505"/>
                    </a:cubicBezTo>
                    <a:cubicBezTo>
                      <a:pt x="518741" y="305424"/>
                      <a:pt x="518674" y="310225"/>
                      <a:pt x="521594" y="313228"/>
                    </a:cubicBezTo>
                    <a:cubicBezTo>
                      <a:pt x="521643" y="313278"/>
                      <a:pt x="521693" y="313328"/>
                      <a:pt x="521744" y="313379"/>
                    </a:cubicBezTo>
                    <a:cubicBezTo>
                      <a:pt x="524756" y="316360"/>
                      <a:pt x="529606" y="316360"/>
                      <a:pt x="532618" y="313379"/>
                    </a:cubicBezTo>
                    <a:cubicBezTo>
                      <a:pt x="535525" y="310337"/>
                      <a:pt x="535525" y="305547"/>
                      <a:pt x="532618" y="302505"/>
                    </a:cubicBezTo>
                    <a:moveTo>
                      <a:pt x="569531" y="269741"/>
                    </a:moveTo>
                    <a:cubicBezTo>
                      <a:pt x="566750" y="267014"/>
                      <a:pt x="562297" y="267014"/>
                      <a:pt x="559516" y="269741"/>
                    </a:cubicBezTo>
                    <a:cubicBezTo>
                      <a:pt x="556934" y="272731"/>
                      <a:pt x="557263" y="277248"/>
                      <a:pt x="560253" y="279830"/>
                    </a:cubicBezTo>
                    <a:cubicBezTo>
                      <a:pt x="562707" y="281951"/>
                      <a:pt x="566279" y="282155"/>
                      <a:pt x="568959" y="280328"/>
                    </a:cubicBezTo>
                    <a:cubicBezTo>
                      <a:pt x="571686" y="277547"/>
                      <a:pt x="571686" y="273094"/>
                      <a:pt x="568959" y="270313"/>
                    </a:cubicBezTo>
                    <a:moveTo>
                      <a:pt x="605872" y="237549"/>
                    </a:moveTo>
                    <a:cubicBezTo>
                      <a:pt x="603320" y="235078"/>
                      <a:pt x="599268" y="235078"/>
                      <a:pt x="596716" y="237549"/>
                    </a:cubicBezTo>
                    <a:cubicBezTo>
                      <a:pt x="594316" y="240130"/>
                      <a:pt x="594316" y="244125"/>
                      <a:pt x="596716" y="246706"/>
                    </a:cubicBezTo>
                    <a:cubicBezTo>
                      <a:pt x="599268" y="249177"/>
                      <a:pt x="603320" y="249177"/>
                      <a:pt x="605872" y="246706"/>
                    </a:cubicBezTo>
                    <a:cubicBezTo>
                      <a:pt x="608400" y="244206"/>
                      <a:pt x="608423" y="240129"/>
                      <a:pt x="605924" y="237600"/>
                    </a:cubicBezTo>
                    <a:cubicBezTo>
                      <a:pt x="605907" y="237583"/>
                      <a:pt x="605889" y="237566"/>
                      <a:pt x="605872" y="237549"/>
                    </a:cubicBezTo>
                    <a:moveTo>
                      <a:pt x="642929" y="204928"/>
                    </a:moveTo>
                    <a:cubicBezTo>
                      <a:pt x="640637" y="202637"/>
                      <a:pt x="636922" y="202639"/>
                      <a:pt x="634633" y="204931"/>
                    </a:cubicBezTo>
                    <a:cubicBezTo>
                      <a:pt x="632343" y="207221"/>
                      <a:pt x="632344" y="210936"/>
                      <a:pt x="634635" y="213226"/>
                    </a:cubicBezTo>
                    <a:cubicBezTo>
                      <a:pt x="636925" y="215515"/>
                      <a:pt x="640638" y="215515"/>
                      <a:pt x="642929" y="213226"/>
                    </a:cubicBezTo>
                    <a:cubicBezTo>
                      <a:pt x="645221" y="210936"/>
                      <a:pt x="645221" y="207221"/>
                      <a:pt x="642932" y="204931"/>
                    </a:cubicBezTo>
                    <a:cubicBezTo>
                      <a:pt x="642930" y="204929"/>
                      <a:pt x="642930" y="204929"/>
                      <a:pt x="642929" y="204928"/>
                    </a:cubicBezTo>
                    <a:moveTo>
                      <a:pt x="679842" y="172164"/>
                    </a:moveTo>
                    <a:cubicBezTo>
                      <a:pt x="677780" y="170128"/>
                      <a:pt x="674464" y="170128"/>
                      <a:pt x="672402" y="172164"/>
                    </a:cubicBezTo>
                    <a:cubicBezTo>
                      <a:pt x="670190" y="174100"/>
                      <a:pt x="669965" y="177463"/>
                      <a:pt x="671901" y="179675"/>
                    </a:cubicBezTo>
                    <a:cubicBezTo>
                      <a:pt x="673837" y="181887"/>
                      <a:pt x="677201" y="182112"/>
                      <a:pt x="679413" y="180176"/>
                    </a:cubicBezTo>
                    <a:cubicBezTo>
                      <a:pt x="681449" y="178114"/>
                      <a:pt x="681449" y="174798"/>
                      <a:pt x="679413" y="172736"/>
                    </a:cubicBezTo>
                    <a:moveTo>
                      <a:pt x="717328" y="138255"/>
                    </a:moveTo>
                    <a:cubicBezTo>
                      <a:pt x="715569" y="136438"/>
                      <a:pt x="712670" y="136389"/>
                      <a:pt x="710853" y="138148"/>
                    </a:cubicBezTo>
                    <a:cubicBezTo>
                      <a:pt x="710818" y="138182"/>
                      <a:pt x="710782" y="138219"/>
                      <a:pt x="710746" y="138255"/>
                    </a:cubicBezTo>
                    <a:cubicBezTo>
                      <a:pt x="708965" y="140088"/>
                      <a:pt x="708965" y="143004"/>
                      <a:pt x="710746" y="144836"/>
                    </a:cubicBezTo>
                    <a:cubicBezTo>
                      <a:pt x="712626" y="146635"/>
                      <a:pt x="715591" y="146635"/>
                      <a:pt x="717471" y="144836"/>
                    </a:cubicBezTo>
                    <a:cubicBezTo>
                      <a:pt x="719252" y="143004"/>
                      <a:pt x="719252" y="140088"/>
                      <a:pt x="717471" y="138255"/>
                    </a:cubicBezTo>
                    <a:moveTo>
                      <a:pt x="754527" y="105491"/>
                    </a:moveTo>
                    <a:cubicBezTo>
                      <a:pt x="752877" y="103946"/>
                      <a:pt x="750311" y="103946"/>
                      <a:pt x="748661" y="105491"/>
                    </a:cubicBezTo>
                    <a:cubicBezTo>
                      <a:pt x="747134" y="107093"/>
                      <a:pt x="747134" y="109611"/>
                      <a:pt x="748661" y="111214"/>
                    </a:cubicBezTo>
                    <a:cubicBezTo>
                      <a:pt x="750123" y="112912"/>
                      <a:pt x="752686" y="113105"/>
                      <a:pt x="754384" y="111643"/>
                    </a:cubicBezTo>
                    <a:cubicBezTo>
                      <a:pt x="756082" y="110181"/>
                      <a:pt x="756275" y="107618"/>
                      <a:pt x="754813" y="105920"/>
                    </a:cubicBezTo>
                    <a:moveTo>
                      <a:pt x="791726" y="73156"/>
                    </a:moveTo>
                    <a:cubicBezTo>
                      <a:pt x="790383" y="71817"/>
                      <a:pt x="788210" y="71821"/>
                      <a:pt x="786871" y="73165"/>
                    </a:cubicBezTo>
                    <a:cubicBezTo>
                      <a:pt x="785531" y="74508"/>
                      <a:pt x="785536" y="76681"/>
                      <a:pt x="786879" y="78021"/>
                    </a:cubicBezTo>
                    <a:cubicBezTo>
                      <a:pt x="788218" y="79355"/>
                      <a:pt x="790386" y="79355"/>
                      <a:pt x="791726" y="78021"/>
                    </a:cubicBezTo>
                    <a:cubicBezTo>
                      <a:pt x="793070" y="76681"/>
                      <a:pt x="793074" y="74508"/>
                      <a:pt x="791735" y="73165"/>
                    </a:cubicBezTo>
                    <a:cubicBezTo>
                      <a:pt x="791732" y="73162"/>
                      <a:pt x="791729" y="73159"/>
                      <a:pt x="791726" y="73156"/>
                    </a:cubicBezTo>
                    <a:moveTo>
                      <a:pt x="828354" y="40535"/>
                    </a:moveTo>
                    <a:cubicBezTo>
                      <a:pt x="827180" y="39476"/>
                      <a:pt x="825370" y="39569"/>
                      <a:pt x="824312" y="40744"/>
                    </a:cubicBezTo>
                    <a:cubicBezTo>
                      <a:pt x="823433" y="41718"/>
                      <a:pt x="823330" y="43165"/>
                      <a:pt x="824061" y="44255"/>
                    </a:cubicBezTo>
                    <a:cubicBezTo>
                      <a:pt x="825222" y="45364"/>
                      <a:pt x="827050" y="45364"/>
                      <a:pt x="828210" y="44255"/>
                    </a:cubicBezTo>
                    <a:cubicBezTo>
                      <a:pt x="829316" y="43240"/>
                      <a:pt x="829391" y="41521"/>
                      <a:pt x="828375" y="40413"/>
                    </a:cubicBezTo>
                    <a:cubicBezTo>
                      <a:pt x="828324" y="40356"/>
                      <a:pt x="828268" y="40302"/>
                      <a:pt x="828210" y="40249"/>
                    </a:cubicBezTo>
                    <a:moveTo>
                      <a:pt x="437759" y="344569"/>
                    </a:moveTo>
                    <a:cubicBezTo>
                      <a:pt x="434469" y="340939"/>
                      <a:pt x="428859" y="340666"/>
                      <a:pt x="425229" y="343957"/>
                    </a:cubicBezTo>
                    <a:cubicBezTo>
                      <a:pt x="421672" y="347183"/>
                      <a:pt x="421327" y="352654"/>
                      <a:pt x="424453" y="356301"/>
                    </a:cubicBezTo>
                    <a:cubicBezTo>
                      <a:pt x="427717" y="359968"/>
                      <a:pt x="433314" y="360349"/>
                      <a:pt x="437044" y="357159"/>
                    </a:cubicBezTo>
                    <a:cubicBezTo>
                      <a:pt x="440717" y="353916"/>
                      <a:pt x="441064" y="348310"/>
                      <a:pt x="437821" y="344639"/>
                    </a:cubicBezTo>
                    <a:cubicBezTo>
                      <a:pt x="437801" y="344615"/>
                      <a:pt x="437781" y="344592"/>
                      <a:pt x="437759" y="344569"/>
                    </a:cubicBezTo>
                    <a:moveTo>
                      <a:pt x="474816" y="311805"/>
                    </a:moveTo>
                    <a:cubicBezTo>
                      <a:pt x="471577" y="308563"/>
                      <a:pt x="466321" y="308561"/>
                      <a:pt x="463081" y="311802"/>
                    </a:cubicBezTo>
                    <a:cubicBezTo>
                      <a:pt x="459839" y="315041"/>
                      <a:pt x="459837" y="320295"/>
                      <a:pt x="463076" y="323537"/>
                    </a:cubicBezTo>
                    <a:cubicBezTo>
                      <a:pt x="466316" y="326779"/>
                      <a:pt x="471571" y="326780"/>
                      <a:pt x="474813" y="323540"/>
                    </a:cubicBezTo>
                    <a:cubicBezTo>
                      <a:pt x="474813" y="323540"/>
                      <a:pt x="474814" y="323538"/>
                      <a:pt x="474816" y="323537"/>
                    </a:cubicBezTo>
                    <a:cubicBezTo>
                      <a:pt x="478054" y="320296"/>
                      <a:pt x="478054" y="315045"/>
                      <a:pt x="474816" y="311805"/>
                    </a:cubicBezTo>
                    <a:moveTo>
                      <a:pt x="511729" y="279041"/>
                    </a:moveTo>
                    <a:cubicBezTo>
                      <a:pt x="508726" y="276009"/>
                      <a:pt x="503834" y="275986"/>
                      <a:pt x="500802" y="278988"/>
                    </a:cubicBezTo>
                    <a:cubicBezTo>
                      <a:pt x="497771" y="281991"/>
                      <a:pt x="497748" y="286883"/>
                      <a:pt x="500751" y="289914"/>
                    </a:cubicBezTo>
                    <a:cubicBezTo>
                      <a:pt x="503753" y="292946"/>
                      <a:pt x="508644" y="292969"/>
                      <a:pt x="511676" y="289967"/>
                    </a:cubicBezTo>
                    <a:cubicBezTo>
                      <a:pt x="511695" y="289950"/>
                      <a:pt x="511712" y="289931"/>
                      <a:pt x="511729" y="289914"/>
                    </a:cubicBezTo>
                    <a:cubicBezTo>
                      <a:pt x="514732" y="286996"/>
                      <a:pt x="514799" y="282194"/>
                      <a:pt x="511879" y="279191"/>
                    </a:cubicBezTo>
                    <a:cubicBezTo>
                      <a:pt x="511831" y="279141"/>
                      <a:pt x="511781" y="279091"/>
                      <a:pt x="511729" y="279041"/>
                    </a:cubicBezTo>
                    <a:moveTo>
                      <a:pt x="548642" y="246276"/>
                    </a:moveTo>
                    <a:cubicBezTo>
                      <a:pt x="545877" y="243455"/>
                      <a:pt x="541347" y="243409"/>
                      <a:pt x="538526" y="246175"/>
                    </a:cubicBezTo>
                    <a:cubicBezTo>
                      <a:pt x="535704" y="248940"/>
                      <a:pt x="535660" y="253470"/>
                      <a:pt x="538425" y="256292"/>
                    </a:cubicBezTo>
                    <a:cubicBezTo>
                      <a:pt x="541191" y="259113"/>
                      <a:pt x="545719" y="259159"/>
                      <a:pt x="548541" y="256393"/>
                    </a:cubicBezTo>
                    <a:cubicBezTo>
                      <a:pt x="548575" y="256359"/>
                      <a:pt x="548609" y="256326"/>
                      <a:pt x="548642" y="256292"/>
                    </a:cubicBezTo>
                    <a:cubicBezTo>
                      <a:pt x="551369" y="253510"/>
                      <a:pt x="551369" y="249058"/>
                      <a:pt x="548642" y="246276"/>
                    </a:cubicBezTo>
                    <a:moveTo>
                      <a:pt x="585126" y="213512"/>
                    </a:moveTo>
                    <a:cubicBezTo>
                      <a:pt x="582574" y="211041"/>
                      <a:pt x="578522" y="211041"/>
                      <a:pt x="575970" y="213512"/>
                    </a:cubicBezTo>
                    <a:cubicBezTo>
                      <a:pt x="573283" y="215883"/>
                      <a:pt x="573027" y="219982"/>
                      <a:pt x="575397" y="222669"/>
                    </a:cubicBezTo>
                    <a:cubicBezTo>
                      <a:pt x="577768" y="225356"/>
                      <a:pt x="581867" y="225612"/>
                      <a:pt x="584554" y="223241"/>
                    </a:cubicBezTo>
                    <a:cubicBezTo>
                      <a:pt x="586954" y="220660"/>
                      <a:pt x="586954" y="216666"/>
                      <a:pt x="584554" y="214085"/>
                    </a:cubicBezTo>
                    <a:moveTo>
                      <a:pt x="622612" y="181177"/>
                    </a:moveTo>
                    <a:cubicBezTo>
                      <a:pt x="620320" y="178887"/>
                      <a:pt x="616606" y="178888"/>
                      <a:pt x="614317" y="181180"/>
                    </a:cubicBezTo>
                    <a:cubicBezTo>
                      <a:pt x="612026" y="183471"/>
                      <a:pt x="612027" y="187185"/>
                      <a:pt x="614318" y="189476"/>
                    </a:cubicBezTo>
                    <a:cubicBezTo>
                      <a:pt x="616609" y="191765"/>
                      <a:pt x="620321" y="191765"/>
                      <a:pt x="622612" y="189476"/>
                    </a:cubicBezTo>
                    <a:cubicBezTo>
                      <a:pt x="624904" y="187185"/>
                      <a:pt x="624904" y="183471"/>
                      <a:pt x="622615" y="181180"/>
                    </a:cubicBezTo>
                    <a:cubicBezTo>
                      <a:pt x="622613" y="181179"/>
                      <a:pt x="622613" y="181179"/>
                      <a:pt x="622612" y="181177"/>
                    </a:cubicBezTo>
                    <a:moveTo>
                      <a:pt x="659525" y="148413"/>
                    </a:moveTo>
                    <a:cubicBezTo>
                      <a:pt x="657464" y="146377"/>
                      <a:pt x="654147" y="146377"/>
                      <a:pt x="652085" y="148413"/>
                    </a:cubicBezTo>
                    <a:cubicBezTo>
                      <a:pt x="650122" y="150505"/>
                      <a:pt x="650122" y="153761"/>
                      <a:pt x="652085" y="155853"/>
                    </a:cubicBezTo>
                    <a:cubicBezTo>
                      <a:pt x="654230" y="157840"/>
                      <a:pt x="657580" y="157713"/>
                      <a:pt x="659567" y="155568"/>
                    </a:cubicBezTo>
                    <a:cubicBezTo>
                      <a:pt x="661289" y="153708"/>
                      <a:pt x="661453" y="150888"/>
                      <a:pt x="659955" y="148843"/>
                    </a:cubicBezTo>
                    <a:moveTo>
                      <a:pt x="697011" y="116078"/>
                    </a:moveTo>
                    <a:cubicBezTo>
                      <a:pt x="695401" y="114027"/>
                      <a:pt x="692433" y="113670"/>
                      <a:pt x="690382" y="115280"/>
                    </a:cubicBezTo>
                    <a:cubicBezTo>
                      <a:pt x="688331" y="116891"/>
                      <a:pt x="687973" y="119858"/>
                      <a:pt x="689584" y="121910"/>
                    </a:cubicBezTo>
                    <a:cubicBezTo>
                      <a:pt x="689713" y="122073"/>
                      <a:pt x="689851" y="122228"/>
                      <a:pt x="690000" y="122374"/>
                    </a:cubicBezTo>
                    <a:cubicBezTo>
                      <a:pt x="691867" y="124195"/>
                      <a:pt x="694856" y="124158"/>
                      <a:pt x="696678" y="122291"/>
                    </a:cubicBezTo>
                    <a:cubicBezTo>
                      <a:pt x="698330" y="120597"/>
                      <a:pt x="698473" y="117940"/>
                      <a:pt x="697011" y="116078"/>
                    </a:cubicBezTo>
                    <a:moveTo>
                      <a:pt x="733924" y="83314"/>
                    </a:moveTo>
                    <a:cubicBezTo>
                      <a:pt x="732173" y="81836"/>
                      <a:pt x="729556" y="82057"/>
                      <a:pt x="728077" y="83808"/>
                    </a:cubicBezTo>
                    <a:cubicBezTo>
                      <a:pt x="726895" y="85207"/>
                      <a:pt x="726771" y="87216"/>
                      <a:pt x="727772" y="88751"/>
                    </a:cubicBezTo>
                    <a:cubicBezTo>
                      <a:pt x="729392" y="90371"/>
                      <a:pt x="732018" y="90371"/>
                      <a:pt x="733638" y="88751"/>
                    </a:cubicBezTo>
                    <a:cubicBezTo>
                      <a:pt x="735165" y="87149"/>
                      <a:pt x="735165" y="84631"/>
                      <a:pt x="733638" y="83028"/>
                    </a:cubicBezTo>
                    <a:moveTo>
                      <a:pt x="771124" y="49692"/>
                    </a:moveTo>
                    <a:cubicBezTo>
                      <a:pt x="769784" y="48348"/>
                      <a:pt x="767611" y="48344"/>
                      <a:pt x="766268" y="49683"/>
                    </a:cubicBezTo>
                    <a:cubicBezTo>
                      <a:pt x="766265" y="49686"/>
                      <a:pt x="766262" y="49689"/>
                      <a:pt x="766259" y="49692"/>
                    </a:cubicBezTo>
                    <a:cubicBezTo>
                      <a:pt x="764920" y="51035"/>
                      <a:pt x="764924" y="53208"/>
                      <a:pt x="766268" y="54548"/>
                    </a:cubicBezTo>
                    <a:cubicBezTo>
                      <a:pt x="767611" y="55887"/>
                      <a:pt x="769784" y="55883"/>
                      <a:pt x="771124" y="54539"/>
                    </a:cubicBezTo>
                    <a:cubicBezTo>
                      <a:pt x="772459" y="53200"/>
                      <a:pt x="772459" y="51032"/>
                      <a:pt x="771124" y="49692"/>
                    </a:cubicBezTo>
                    <a:moveTo>
                      <a:pt x="808180" y="16928"/>
                    </a:moveTo>
                    <a:cubicBezTo>
                      <a:pt x="807020" y="15819"/>
                      <a:pt x="805191" y="15819"/>
                      <a:pt x="804031" y="16928"/>
                    </a:cubicBezTo>
                    <a:cubicBezTo>
                      <a:pt x="802925" y="17942"/>
                      <a:pt x="802850" y="19662"/>
                      <a:pt x="803865" y="20769"/>
                    </a:cubicBezTo>
                    <a:cubicBezTo>
                      <a:pt x="803918" y="20826"/>
                      <a:pt x="803974" y="20881"/>
                      <a:pt x="804031" y="20934"/>
                    </a:cubicBezTo>
                    <a:cubicBezTo>
                      <a:pt x="805144" y="22024"/>
                      <a:pt x="806924" y="22024"/>
                      <a:pt x="808037" y="20934"/>
                    </a:cubicBezTo>
                    <a:cubicBezTo>
                      <a:pt x="809077" y="19746"/>
                      <a:pt x="809077" y="17972"/>
                      <a:pt x="808037" y="16784"/>
                    </a:cubicBezTo>
                    <a:moveTo>
                      <a:pt x="542204" y="462176"/>
                    </a:moveTo>
                    <a:cubicBezTo>
                      <a:pt x="538753" y="458700"/>
                      <a:pt x="533136" y="458680"/>
                      <a:pt x="529659" y="462131"/>
                    </a:cubicBezTo>
                    <a:cubicBezTo>
                      <a:pt x="529643" y="462146"/>
                      <a:pt x="529629" y="462161"/>
                      <a:pt x="529613" y="462176"/>
                    </a:cubicBezTo>
                    <a:cubicBezTo>
                      <a:pt x="526177" y="465556"/>
                      <a:pt x="526130" y="471081"/>
                      <a:pt x="529508" y="474518"/>
                    </a:cubicBezTo>
                    <a:cubicBezTo>
                      <a:pt x="529543" y="474554"/>
                      <a:pt x="529578" y="474589"/>
                      <a:pt x="529613" y="474624"/>
                    </a:cubicBezTo>
                    <a:cubicBezTo>
                      <a:pt x="532827" y="478272"/>
                      <a:pt x="538378" y="478656"/>
                      <a:pt x="542061" y="475482"/>
                    </a:cubicBezTo>
                    <a:cubicBezTo>
                      <a:pt x="545728" y="472219"/>
                      <a:pt x="546109" y="466622"/>
                      <a:pt x="542919" y="462892"/>
                    </a:cubicBezTo>
                    <a:moveTo>
                      <a:pt x="579833" y="430128"/>
                    </a:moveTo>
                    <a:cubicBezTo>
                      <a:pt x="576593" y="426886"/>
                      <a:pt x="571338" y="426884"/>
                      <a:pt x="568098" y="430125"/>
                    </a:cubicBezTo>
                    <a:cubicBezTo>
                      <a:pt x="564856" y="433364"/>
                      <a:pt x="564854" y="438618"/>
                      <a:pt x="568093" y="441860"/>
                    </a:cubicBezTo>
                    <a:cubicBezTo>
                      <a:pt x="571333" y="445102"/>
                      <a:pt x="576588" y="445103"/>
                      <a:pt x="579830" y="441863"/>
                    </a:cubicBezTo>
                    <a:cubicBezTo>
                      <a:pt x="579830" y="441863"/>
                      <a:pt x="579831" y="441861"/>
                      <a:pt x="579833" y="441860"/>
                    </a:cubicBezTo>
                    <a:cubicBezTo>
                      <a:pt x="583070" y="438619"/>
                      <a:pt x="583070" y="433368"/>
                      <a:pt x="579833" y="430128"/>
                    </a:cubicBezTo>
                    <a:moveTo>
                      <a:pt x="616746" y="397363"/>
                    </a:moveTo>
                    <a:cubicBezTo>
                      <a:pt x="613743" y="394445"/>
                      <a:pt x="608943" y="394512"/>
                      <a:pt x="606022" y="397514"/>
                    </a:cubicBezTo>
                    <a:cubicBezTo>
                      <a:pt x="603104" y="400517"/>
                      <a:pt x="603171" y="405318"/>
                      <a:pt x="606174" y="408237"/>
                    </a:cubicBezTo>
                    <a:cubicBezTo>
                      <a:pt x="609117" y="411099"/>
                      <a:pt x="613803" y="411099"/>
                      <a:pt x="616746" y="408237"/>
                    </a:cubicBezTo>
                    <a:cubicBezTo>
                      <a:pt x="619728" y="405225"/>
                      <a:pt x="619728" y="400375"/>
                      <a:pt x="616746" y="397363"/>
                    </a:cubicBezTo>
                    <a:moveTo>
                      <a:pt x="653802" y="364599"/>
                    </a:moveTo>
                    <a:cubicBezTo>
                      <a:pt x="651021" y="361872"/>
                      <a:pt x="646568" y="361872"/>
                      <a:pt x="643787" y="364599"/>
                    </a:cubicBezTo>
                    <a:cubicBezTo>
                      <a:pt x="641021" y="367195"/>
                      <a:pt x="640884" y="371541"/>
                      <a:pt x="643479" y="374307"/>
                    </a:cubicBezTo>
                    <a:cubicBezTo>
                      <a:pt x="643578" y="374413"/>
                      <a:pt x="643681" y="374516"/>
                      <a:pt x="643787" y="374615"/>
                    </a:cubicBezTo>
                    <a:cubicBezTo>
                      <a:pt x="646012" y="377880"/>
                      <a:pt x="650463" y="378721"/>
                      <a:pt x="653728" y="376496"/>
                    </a:cubicBezTo>
                    <a:cubicBezTo>
                      <a:pt x="656991" y="374271"/>
                      <a:pt x="657834" y="369820"/>
                      <a:pt x="655609" y="366555"/>
                    </a:cubicBezTo>
                    <a:cubicBezTo>
                      <a:pt x="655259" y="366043"/>
                      <a:pt x="654844" y="365578"/>
                      <a:pt x="654375" y="365172"/>
                    </a:cubicBezTo>
                    <a:moveTo>
                      <a:pt x="691288" y="332407"/>
                    </a:moveTo>
                    <a:cubicBezTo>
                      <a:pt x="688917" y="329721"/>
                      <a:pt x="684818" y="329464"/>
                      <a:pt x="682131" y="331835"/>
                    </a:cubicBezTo>
                    <a:cubicBezTo>
                      <a:pt x="679444" y="334206"/>
                      <a:pt x="679188" y="338305"/>
                      <a:pt x="681559" y="340992"/>
                    </a:cubicBezTo>
                    <a:cubicBezTo>
                      <a:pt x="683930" y="343679"/>
                      <a:pt x="688029" y="343935"/>
                      <a:pt x="690716" y="341564"/>
                    </a:cubicBezTo>
                    <a:cubicBezTo>
                      <a:pt x="693403" y="339194"/>
                      <a:pt x="693659" y="335094"/>
                      <a:pt x="691288" y="332407"/>
                    </a:cubicBezTo>
                    <a:moveTo>
                      <a:pt x="728201" y="299643"/>
                    </a:moveTo>
                    <a:cubicBezTo>
                      <a:pt x="725909" y="297353"/>
                      <a:pt x="722195" y="297354"/>
                      <a:pt x="719906" y="299646"/>
                    </a:cubicBezTo>
                    <a:cubicBezTo>
                      <a:pt x="717615" y="301937"/>
                      <a:pt x="717617" y="305651"/>
                      <a:pt x="719907" y="307942"/>
                    </a:cubicBezTo>
                    <a:cubicBezTo>
                      <a:pt x="722198" y="310231"/>
                      <a:pt x="725911" y="310231"/>
                      <a:pt x="728201" y="307942"/>
                    </a:cubicBezTo>
                    <a:cubicBezTo>
                      <a:pt x="730493" y="305651"/>
                      <a:pt x="730493" y="301937"/>
                      <a:pt x="728204" y="299646"/>
                    </a:cubicBezTo>
                    <a:cubicBezTo>
                      <a:pt x="728203" y="299645"/>
                      <a:pt x="728203" y="299645"/>
                      <a:pt x="728201" y="299643"/>
                    </a:cubicBezTo>
                    <a:moveTo>
                      <a:pt x="765258" y="266879"/>
                    </a:moveTo>
                    <a:cubicBezTo>
                      <a:pt x="763166" y="264916"/>
                      <a:pt x="759910" y="264916"/>
                      <a:pt x="757818" y="266879"/>
                    </a:cubicBezTo>
                    <a:cubicBezTo>
                      <a:pt x="755763" y="268846"/>
                      <a:pt x="755693" y="272107"/>
                      <a:pt x="757660" y="274162"/>
                    </a:cubicBezTo>
                    <a:cubicBezTo>
                      <a:pt x="757712" y="274215"/>
                      <a:pt x="757765" y="274268"/>
                      <a:pt x="757818" y="274319"/>
                    </a:cubicBezTo>
                    <a:cubicBezTo>
                      <a:pt x="759879" y="276355"/>
                      <a:pt x="763196" y="276355"/>
                      <a:pt x="765258" y="274319"/>
                    </a:cubicBezTo>
                    <a:cubicBezTo>
                      <a:pt x="767294" y="272257"/>
                      <a:pt x="767294" y="268941"/>
                      <a:pt x="765258" y="266879"/>
                    </a:cubicBezTo>
                    <a:moveTo>
                      <a:pt x="802171" y="234115"/>
                    </a:moveTo>
                    <a:cubicBezTo>
                      <a:pt x="800338" y="232334"/>
                      <a:pt x="797422" y="232334"/>
                      <a:pt x="795589" y="234115"/>
                    </a:cubicBezTo>
                    <a:cubicBezTo>
                      <a:pt x="793772" y="235873"/>
                      <a:pt x="793724" y="238772"/>
                      <a:pt x="795482" y="240589"/>
                    </a:cubicBezTo>
                    <a:cubicBezTo>
                      <a:pt x="795517" y="240625"/>
                      <a:pt x="795554" y="240661"/>
                      <a:pt x="795589" y="240697"/>
                    </a:cubicBezTo>
                    <a:cubicBezTo>
                      <a:pt x="797422" y="242478"/>
                      <a:pt x="800338" y="242478"/>
                      <a:pt x="802171" y="240697"/>
                    </a:cubicBezTo>
                    <a:cubicBezTo>
                      <a:pt x="803988" y="238938"/>
                      <a:pt x="804037" y="236039"/>
                      <a:pt x="802278" y="234222"/>
                    </a:cubicBezTo>
                    <a:cubicBezTo>
                      <a:pt x="802242" y="234187"/>
                      <a:pt x="802207" y="234151"/>
                      <a:pt x="802171" y="234115"/>
                    </a:cubicBezTo>
                    <a:moveTo>
                      <a:pt x="839084" y="201351"/>
                    </a:moveTo>
                    <a:cubicBezTo>
                      <a:pt x="837536" y="199770"/>
                      <a:pt x="834999" y="199744"/>
                      <a:pt x="833418" y="201294"/>
                    </a:cubicBezTo>
                    <a:cubicBezTo>
                      <a:pt x="833400" y="201312"/>
                      <a:pt x="833380" y="201331"/>
                      <a:pt x="833361" y="201351"/>
                    </a:cubicBezTo>
                    <a:cubicBezTo>
                      <a:pt x="831780" y="202785"/>
                      <a:pt x="831662" y="205227"/>
                      <a:pt x="833095" y="206808"/>
                    </a:cubicBezTo>
                    <a:cubicBezTo>
                      <a:pt x="833180" y="206901"/>
                      <a:pt x="833268" y="206990"/>
                      <a:pt x="833361" y="207074"/>
                    </a:cubicBezTo>
                    <a:cubicBezTo>
                      <a:pt x="834909" y="208655"/>
                      <a:pt x="837446" y="208681"/>
                      <a:pt x="839027" y="207131"/>
                    </a:cubicBezTo>
                    <a:cubicBezTo>
                      <a:pt x="839046" y="207113"/>
                      <a:pt x="839066" y="207094"/>
                      <a:pt x="839084" y="207074"/>
                    </a:cubicBezTo>
                    <a:cubicBezTo>
                      <a:pt x="840704" y="205454"/>
                      <a:pt x="840704" y="202827"/>
                      <a:pt x="839084" y="201208"/>
                    </a:cubicBezTo>
                    <a:moveTo>
                      <a:pt x="874710" y="166870"/>
                    </a:moveTo>
                    <a:cubicBezTo>
                      <a:pt x="873371" y="165526"/>
                      <a:pt x="871197" y="165522"/>
                      <a:pt x="869854" y="166861"/>
                    </a:cubicBezTo>
                    <a:cubicBezTo>
                      <a:pt x="869851" y="166864"/>
                      <a:pt x="869848" y="166867"/>
                      <a:pt x="869845" y="166870"/>
                    </a:cubicBezTo>
                    <a:cubicBezTo>
                      <a:pt x="868482" y="168261"/>
                      <a:pt x="868482" y="170487"/>
                      <a:pt x="869845" y="171878"/>
                    </a:cubicBezTo>
                    <a:cubicBezTo>
                      <a:pt x="871184" y="173221"/>
                      <a:pt x="873358" y="173225"/>
                      <a:pt x="874701" y="171886"/>
                    </a:cubicBezTo>
                    <a:cubicBezTo>
                      <a:pt x="874704" y="171883"/>
                      <a:pt x="874707" y="171880"/>
                      <a:pt x="874710" y="171878"/>
                    </a:cubicBezTo>
                    <a:cubicBezTo>
                      <a:pt x="876073" y="170487"/>
                      <a:pt x="876073" y="168261"/>
                      <a:pt x="874710" y="166870"/>
                    </a:cubicBezTo>
                    <a:moveTo>
                      <a:pt x="911623" y="134106"/>
                    </a:moveTo>
                    <a:cubicBezTo>
                      <a:pt x="910609" y="133000"/>
                      <a:pt x="908889" y="132925"/>
                      <a:pt x="907782" y="133941"/>
                    </a:cubicBezTo>
                    <a:cubicBezTo>
                      <a:pt x="907724" y="133993"/>
                      <a:pt x="907670" y="134049"/>
                      <a:pt x="907617" y="134106"/>
                    </a:cubicBezTo>
                    <a:cubicBezTo>
                      <a:pt x="906305" y="134987"/>
                      <a:pt x="905956" y="136764"/>
                      <a:pt x="906836" y="138076"/>
                    </a:cubicBezTo>
                    <a:cubicBezTo>
                      <a:pt x="907717" y="139388"/>
                      <a:pt x="909496" y="139739"/>
                      <a:pt x="910808" y="138857"/>
                    </a:cubicBezTo>
                    <a:cubicBezTo>
                      <a:pt x="911002" y="138726"/>
                      <a:pt x="911180" y="138573"/>
                      <a:pt x="911337" y="138398"/>
                    </a:cubicBezTo>
                    <a:cubicBezTo>
                      <a:pt x="912483" y="137309"/>
                      <a:pt x="912529" y="135498"/>
                      <a:pt x="911440" y="134352"/>
                    </a:cubicBezTo>
                    <a:cubicBezTo>
                      <a:pt x="911407" y="134318"/>
                      <a:pt x="911373" y="134283"/>
                      <a:pt x="911337" y="134249"/>
                    </a:cubicBezTo>
                    <a:moveTo>
                      <a:pt x="521172" y="438712"/>
                    </a:moveTo>
                    <a:cubicBezTo>
                      <a:pt x="517893" y="435038"/>
                      <a:pt x="512256" y="434717"/>
                      <a:pt x="508581" y="437997"/>
                    </a:cubicBezTo>
                    <a:cubicBezTo>
                      <a:pt x="504907" y="441276"/>
                      <a:pt x="504587" y="446913"/>
                      <a:pt x="507866" y="450587"/>
                    </a:cubicBezTo>
                    <a:cubicBezTo>
                      <a:pt x="511317" y="454064"/>
                      <a:pt x="516934" y="454084"/>
                      <a:pt x="520411" y="450633"/>
                    </a:cubicBezTo>
                    <a:cubicBezTo>
                      <a:pt x="520427" y="450617"/>
                      <a:pt x="520441" y="450603"/>
                      <a:pt x="520457" y="450587"/>
                    </a:cubicBezTo>
                    <a:cubicBezTo>
                      <a:pt x="524079" y="447284"/>
                      <a:pt x="524398" y="441689"/>
                      <a:pt x="521172" y="437997"/>
                    </a:cubicBezTo>
                    <a:moveTo>
                      <a:pt x="558085" y="405376"/>
                    </a:moveTo>
                    <a:cubicBezTo>
                      <a:pt x="554885" y="402207"/>
                      <a:pt x="549721" y="402231"/>
                      <a:pt x="546552" y="405431"/>
                    </a:cubicBezTo>
                    <a:cubicBezTo>
                      <a:pt x="543383" y="408632"/>
                      <a:pt x="543407" y="413796"/>
                      <a:pt x="546608" y="416965"/>
                    </a:cubicBezTo>
                    <a:cubicBezTo>
                      <a:pt x="549787" y="420112"/>
                      <a:pt x="554908" y="420112"/>
                      <a:pt x="558085" y="416965"/>
                    </a:cubicBezTo>
                    <a:cubicBezTo>
                      <a:pt x="561286" y="413909"/>
                      <a:pt x="561402" y="408837"/>
                      <a:pt x="558347" y="405636"/>
                    </a:cubicBezTo>
                    <a:cubicBezTo>
                      <a:pt x="558261" y="405547"/>
                      <a:pt x="558174" y="405460"/>
                      <a:pt x="558085" y="405376"/>
                    </a:cubicBezTo>
                    <a:moveTo>
                      <a:pt x="595142" y="372612"/>
                    </a:moveTo>
                    <a:cubicBezTo>
                      <a:pt x="592433" y="369418"/>
                      <a:pt x="587647" y="369025"/>
                      <a:pt x="584454" y="371733"/>
                    </a:cubicBezTo>
                    <a:cubicBezTo>
                      <a:pt x="584391" y="371786"/>
                      <a:pt x="584330" y="371840"/>
                      <a:pt x="584268" y="371896"/>
                    </a:cubicBezTo>
                    <a:cubicBezTo>
                      <a:pt x="581361" y="374938"/>
                      <a:pt x="581361" y="379728"/>
                      <a:pt x="584268" y="382770"/>
                    </a:cubicBezTo>
                    <a:cubicBezTo>
                      <a:pt x="587307" y="385764"/>
                      <a:pt x="592199" y="385730"/>
                      <a:pt x="595195" y="382690"/>
                    </a:cubicBezTo>
                    <a:cubicBezTo>
                      <a:pt x="597884" y="379960"/>
                      <a:pt x="598166" y="375670"/>
                      <a:pt x="595857" y="372612"/>
                    </a:cubicBezTo>
                    <a:moveTo>
                      <a:pt x="632770" y="339847"/>
                    </a:moveTo>
                    <a:cubicBezTo>
                      <a:pt x="630272" y="336889"/>
                      <a:pt x="625848" y="336517"/>
                      <a:pt x="622891" y="339015"/>
                    </a:cubicBezTo>
                    <a:cubicBezTo>
                      <a:pt x="622845" y="339053"/>
                      <a:pt x="622799" y="339092"/>
                      <a:pt x="622755" y="339132"/>
                    </a:cubicBezTo>
                    <a:cubicBezTo>
                      <a:pt x="620028" y="341913"/>
                      <a:pt x="620028" y="346366"/>
                      <a:pt x="622755" y="349147"/>
                    </a:cubicBezTo>
                    <a:cubicBezTo>
                      <a:pt x="625465" y="351913"/>
                      <a:pt x="629903" y="351959"/>
                      <a:pt x="632669" y="349249"/>
                    </a:cubicBezTo>
                    <a:cubicBezTo>
                      <a:pt x="632703" y="349215"/>
                      <a:pt x="632737" y="349182"/>
                      <a:pt x="632770" y="349147"/>
                    </a:cubicBezTo>
                    <a:cubicBezTo>
                      <a:pt x="635497" y="346366"/>
                      <a:pt x="635497" y="341913"/>
                      <a:pt x="632770" y="339132"/>
                    </a:cubicBezTo>
                    <a:moveTo>
                      <a:pt x="669684" y="306368"/>
                    </a:moveTo>
                    <a:cubicBezTo>
                      <a:pt x="667184" y="303840"/>
                      <a:pt x="663106" y="303817"/>
                      <a:pt x="660578" y="306316"/>
                    </a:cubicBezTo>
                    <a:cubicBezTo>
                      <a:pt x="660561" y="306334"/>
                      <a:pt x="660544" y="306351"/>
                      <a:pt x="660527" y="306368"/>
                    </a:cubicBezTo>
                    <a:cubicBezTo>
                      <a:pt x="657916" y="308896"/>
                      <a:pt x="657849" y="313062"/>
                      <a:pt x="660377" y="315675"/>
                    </a:cubicBezTo>
                    <a:cubicBezTo>
                      <a:pt x="662906" y="318286"/>
                      <a:pt x="667073" y="318352"/>
                      <a:pt x="669684" y="315824"/>
                    </a:cubicBezTo>
                    <a:cubicBezTo>
                      <a:pt x="672295" y="313296"/>
                      <a:pt x="672362" y="309129"/>
                      <a:pt x="669834" y="306518"/>
                    </a:cubicBezTo>
                    <a:cubicBezTo>
                      <a:pt x="669784" y="306467"/>
                      <a:pt x="669734" y="306417"/>
                      <a:pt x="669684" y="306368"/>
                    </a:cubicBezTo>
                    <a:moveTo>
                      <a:pt x="706740" y="273604"/>
                    </a:moveTo>
                    <a:cubicBezTo>
                      <a:pt x="704448" y="271313"/>
                      <a:pt x="700734" y="271315"/>
                      <a:pt x="698445" y="273607"/>
                    </a:cubicBezTo>
                    <a:cubicBezTo>
                      <a:pt x="696154" y="275897"/>
                      <a:pt x="696155" y="279611"/>
                      <a:pt x="698446" y="281902"/>
                    </a:cubicBezTo>
                    <a:cubicBezTo>
                      <a:pt x="700737" y="284191"/>
                      <a:pt x="704449" y="284191"/>
                      <a:pt x="706740" y="281902"/>
                    </a:cubicBezTo>
                    <a:cubicBezTo>
                      <a:pt x="709032" y="279611"/>
                      <a:pt x="709032" y="275897"/>
                      <a:pt x="706743" y="273607"/>
                    </a:cubicBezTo>
                    <a:cubicBezTo>
                      <a:pt x="706741" y="273605"/>
                      <a:pt x="706741" y="273605"/>
                      <a:pt x="706740" y="273604"/>
                    </a:cubicBezTo>
                    <a:moveTo>
                      <a:pt x="742509" y="242127"/>
                    </a:moveTo>
                    <a:cubicBezTo>
                      <a:pt x="740782" y="239768"/>
                      <a:pt x="737468" y="239257"/>
                      <a:pt x="735110" y="240984"/>
                    </a:cubicBezTo>
                    <a:cubicBezTo>
                      <a:pt x="732751" y="242711"/>
                      <a:pt x="732239" y="246023"/>
                      <a:pt x="733967" y="248383"/>
                    </a:cubicBezTo>
                    <a:cubicBezTo>
                      <a:pt x="734166" y="248656"/>
                      <a:pt x="734392" y="248908"/>
                      <a:pt x="734640" y="249138"/>
                    </a:cubicBezTo>
                    <a:cubicBezTo>
                      <a:pt x="736701" y="251174"/>
                      <a:pt x="740018" y="251174"/>
                      <a:pt x="742080" y="249138"/>
                    </a:cubicBezTo>
                    <a:cubicBezTo>
                      <a:pt x="744115" y="247076"/>
                      <a:pt x="744115" y="243760"/>
                      <a:pt x="742080" y="241698"/>
                    </a:cubicBezTo>
                    <a:moveTo>
                      <a:pt x="779851" y="209792"/>
                    </a:moveTo>
                    <a:cubicBezTo>
                      <a:pt x="778093" y="207975"/>
                      <a:pt x="775194" y="207927"/>
                      <a:pt x="773377" y="209685"/>
                    </a:cubicBezTo>
                    <a:cubicBezTo>
                      <a:pt x="773341" y="209719"/>
                      <a:pt x="773306" y="209757"/>
                      <a:pt x="773270" y="209792"/>
                    </a:cubicBezTo>
                    <a:cubicBezTo>
                      <a:pt x="771489" y="211625"/>
                      <a:pt x="771489" y="214541"/>
                      <a:pt x="773270" y="216374"/>
                    </a:cubicBezTo>
                    <a:cubicBezTo>
                      <a:pt x="775028" y="218191"/>
                      <a:pt x="777927" y="218240"/>
                      <a:pt x="779744" y="216481"/>
                    </a:cubicBezTo>
                    <a:cubicBezTo>
                      <a:pt x="779780" y="216445"/>
                      <a:pt x="779815" y="216410"/>
                      <a:pt x="779851" y="216374"/>
                    </a:cubicBezTo>
                    <a:cubicBezTo>
                      <a:pt x="781633" y="214541"/>
                      <a:pt x="781633" y="211625"/>
                      <a:pt x="779851" y="209792"/>
                    </a:cubicBezTo>
                    <a:moveTo>
                      <a:pt x="816908" y="177028"/>
                    </a:moveTo>
                    <a:cubicBezTo>
                      <a:pt x="815360" y="175447"/>
                      <a:pt x="812823" y="175422"/>
                      <a:pt x="811242" y="176971"/>
                    </a:cubicBezTo>
                    <a:cubicBezTo>
                      <a:pt x="811223" y="176990"/>
                      <a:pt x="811203" y="177008"/>
                      <a:pt x="811185" y="177028"/>
                    </a:cubicBezTo>
                    <a:cubicBezTo>
                      <a:pt x="809604" y="178576"/>
                      <a:pt x="809578" y="181113"/>
                      <a:pt x="811127" y="182694"/>
                    </a:cubicBezTo>
                    <a:cubicBezTo>
                      <a:pt x="811146" y="182713"/>
                      <a:pt x="811165" y="182733"/>
                      <a:pt x="811185" y="182751"/>
                    </a:cubicBezTo>
                    <a:cubicBezTo>
                      <a:pt x="812733" y="184332"/>
                      <a:pt x="815269" y="184358"/>
                      <a:pt x="816850" y="182808"/>
                    </a:cubicBezTo>
                    <a:cubicBezTo>
                      <a:pt x="816869" y="182790"/>
                      <a:pt x="816889" y="182771"/>
                      <a:pt x="816908" y="182751"/>
                    </a:cubicBezTo>
                    <a:cubicBezTo>
                      <a:pt x="818489" y="181203"/>
                      <a:pt x="818514" y="178666"/>
                      <a:pt x="816965" y="177085"/>
                    </a:cubicBezTo>
                    <a:cubicBezTo>
                      <a:pt x="816946" y="177067"/>
                      <a:pt x="816928" y="177047"/>
                      <a:pt x="816908" y="177028"/>
                    </a:cubicBezTo>
                    <a:moveTo>
                      <a:pt x="853821" y="144264"/>
                    </a:moveTo>
                    <a:cubicBezTo>
                      <a:pt x="852477" y="142925"/>
                      <a:pt x="850303" y="142929"/>
                      <a:pt x="848965" y="144273"/>
                    </a:cubicBezTo>
                    <a:cubicBezTo>
                      <a:pt x="847626" y="145616"/>
                      <a:pt x="847630" y="147790"/>
                      <a:pt x="848974" y="149129"/>
                    </a:cubicBezTo>
                    <a:cubicBezTo>
                      <a:pt x="850313" y="150464"/>
                      <a:pt x="852480" y="150464"/>
                      <a:pt x="853821" y="149129"/>
                    </a:cubicBezTo>
                    <a:cubicBezTo>
                      <a:pt x="855164" y="147790"/>
                      <a:pt x="855169" y="145616"/>
                      <a:pt x="853830" y="144273"/>
                    </a:cubicBezTo>
                    <a:cubicBezTo>
                      <a:pt x="853827" y="144270"/>
                      <a:pt x="853824" y="144267"/>
                      <a:pt x="853821" y="144264"/>
                    </a:cubicBezTo>
                    <a:moveTo>
                      <a:pt x="890734" y="111500"/>
                    </a:moveTo>
                    <a:cubicBezTo>
                      <a:pt x="889621" y="110410"/>
                      <a:pt x="887841" y="110410"/>
                      <a:pt x="886728" y="111500"/>
                    </a:cubicBezTo>
                    <a:cubicBezTo>
                      <a:pt x="885688" y="112688"/>
                      <a:pt x="885688" y="114462"/>
                      <a:pt x="886728" y="115649"/>
                    </a:cubicBezTo>
                    <a:cubicBezTo>
                      <a:pt x="887888" y="116758"/>
                      <a:pt x="889717" y="116758"/>
                      <a:pt x="890877" y="115649"/>
                    </a:cubicBezTo>
                    <a:cubicBezTo>
                      <a:pt x="891983" y="114635"/>
                      <a:pt x="892058" y="112915"/>
                      <a:pt x="891043" y="111808"/>
                    </a:cubicBezTo>
                    <a:cubicBezTo>
                      <a:pt x="890990" y="111750"/>
                      <a:pt x="890935" y="111696"/>
                      <a:pt x="890877" y="111643"/>
                    </a:cubicBezTo>
                    <a:moveTo>
                      <a:pt x="500283" y="415105"/>
                    </a:moveTo>
                    <a:cubicBezTo>
                      <a:pt x="497113" y="411473"/>
                      <a:pt x="491600" y="411100"/>
                      <a:pt x="487969" y="414271"/>
                    </a:cubicBezTo>
                    <a:cubicBezTo>
                      <a:pt x="487924" y="414309"/>
                      <a:pt x="487880" y="414349"/>
                      <a:pt x="487836" y="414389"/>
                    </a:cubicBezTo>
                    <a:cubicBezTo>
                      <a:pt x="484124" y="417587"/>
                      <a:pt x="483709" y="423188"/>
                      <a:pt x="486907" y="426900"/>
                    </a:cubicBezTo>
                    <a:cubicBezTo>
                      <a:pt x="486930" y="426927"/>
                      <a:pt x="486954" y="426953"/>
                      <a:pt x="486977" y="426980"/>
                    </a:cubicBezTo>
                    <a:cubicBezTo>
                      <a:pt x="490478" y="430397"/>
                      <a:pt x="496067" y="430397"/>
                      <a:pt x="499568" y="426980"/>
                    </a:cubicBezTo>
                    <a:cubicBezTo>
                      <a:pt x="503044" y="423529"/>
                      <a:pt x="503064" y="417912"/>
                      <a:pt x="499613" y="414435"/>
                    </a:cubicBezTo>
                    <a:cubicBezTo>
                      <a:pt x="499598" y="414419"/>
                      <a:pt x="499583" y="414405"/>
                      <a:pt x="499568" y="414389"/>
                    </a:cubicBezTo>
                    <a:moveTo>
                      <a:pt x="536624" y="381625"/>
                    </a:moveTo>
                    <a:cubicBezTo>
                      <a:pt x="533385" y="378383"/>
                      <a:pt x="528130" y="378382"/>
                      <a:pt x="524889" y="381622"/>
                    </a:cubicBezTo>
                    <a:cubicBezTo>
                      <a:pt x="521647" y="384862"/>
                      <a:pt x="521646" y="390115"/>
                      <a:pt x="524885" y="393357"/>
                    </a:cubicBezTo>
                    <a:cubicBezTo>
                      <a:pt x="528124" y="396599"/>
                      <a:pt x="533379" y="396601"/>
                      <a:pt x="536621" y="393360"/>
                    </a:cubicBezTo>
                    <a:cubicBezTo>
                      <a:pt x="536621" y="393360"/>
                      <a:pt x="536623" y="393359"/>
                      <a:pt x="536624" y="393357"/>
                    </a:cubicBezTo>
                    <a:cubicBezTo>
                      <a:pt x="539862" y="390117"/>
                      <a:pt x="539862" y="384866"/>
                      <a:pt x="536624" y="381625"/>
                    </a:cubicBezTo>
                    <a:moveTo>
                      <a:pt x="573537" y="348861"/>
                    </a:moveTo>
                    <a:cubicBezTo>
                      <a:pt x="570526" y="345879"/>
                      <a:pt x="565675" y="345879"/>
                      <a:pt x="562664" y="348861"/>
                    </a:cubicBezTo>
                    <a:cubicBezTo>
                      <a:pt x="559701" y="351820"/>
                      <a:pt x="559698" y="356621"/>
                      <a:pt x="562657" y="359585"/>
                    </a:cubicBezTo>
                    <a:cubicBezTo>
                      <a:pt x="562659" y="359587"/>
                      <a:pt x="562661" y="359589"/>
                      <a:pt x="562664" y="359592"/>
                    </a:cubicBezTo>
                    <a:cubicBezTo>
                      <a:pt x="565299" y="362744"/>
                      <a:pt x="569992" y="363163"/>
                      <a:pt x="573144" y="360526"/>
                    </a:cubicBezTo>
                    <a:cubicBezTo>
                      <a:pt x="573228" y="360454"/>
                      <a:pt x="573313" y="360381"/>
                      <a:pt x="573394" y="360307"/>
                    </a:cubicBezTo>
                    <a:cubicBezTo>
                      <a:pt x="576588" y="357599"/>
                      <a:pt x="576981" y="352813"/>
                      <a:pt x="574273" y="349619"/>
                    </a:cubicBezTo>
                    <a:cubicBezTo>
                      <a:pt x="574220" y="349556"/>
                      <a:pt x="574165" y="349495"/>
                      <a:pt x="574110" y="349433"/>
                    </a:cubicBezTo>
                    <a:moveTo>
                      <a:pt x="611023" y="316669"/>
                    </a:moveTo>
                    <a:cubicBezTo>
                      <a:pt x="608257" y="313848"/>
                      <a:pt x="603728" y="313802"/>
                      <a:pt x="600906" y="316568"/>
                    </a:cubicBezTo>
                    <a:cubicBezTo>
                      <a:pt x="598085" y="319333"/>
                      <a:pt x="598040" y="323863"/>
                      <a:pt x="600806" y="326684"/>
                    </a:cubicBezTo>
                    <a:cubicBezTo>
                      <a:pt x="603572" y="329506"/>
                      <a:pt x="608100" y="329552"/>
                      <a:pt x="610921" y="326786"/>
                    </a:cubicBezTo>
                    <a:cubicBezTo>
                      <a:pt x="610956" y="326752"/>
                      <a:pt x="610990" y="326719"/>
                      <a:pt x="611023" y="326684"/>
                    </a:cubicBezTo>
                    <a:cubicBezTo>
                      <a:pt x="613789" y="323975"/>
                      <a:pt x="613834" y="319536"/>
                      <a:pt x="611125" y="316771"/>
                    </a:cubicBezTo>
                    <a:cubicBezTo>
                      <a:pt x="611090" y="316737"/>
                      <a:pt x="611057" y="316702"/>
                      <a:pt x="611023" y="316669"/>
                    </a:cubicBezTo>
                    <a:moveTo>
                      <a:pt x="648079" y="283905"/>
                    </a:moveTo>
                    <a:cubicBezTo>
                      <a:pt x="645498" y="281506"/>
                      <a:pt x="641504" y="281506"/>
                      <a:pt x="638923" y="283905"/>
                    </a:cubicBezTo>
                    <a:cubicBezTo>
                      <a:pt x="636236" y="286276"/>
                      <a:pt x="635979" y="290375"/>
                      <a:pt x="638350" y="293062"/>
                    </a:cubicBezTo>
                    <a:cubicBezTo>
                      <a:pt x="640721" y="295749"/>
                      <a:pt x="644820" y="296005"/>
                      <a:pt x="647507" y="293634"/>
                    </a:cubicBezTo>
                    <a:cubicBezTo>
                      <a:pt x="649978" y="291082"/>
                      <a:pt x="649978" y="287030"/>
                      <a:pt x="647507" y="284477"/>
                    </a:cubicBezTo>
                    <a:moveTo>
                      <a:pt x="685279" y="251284"/>
                    </a:moveTo>
                    <a:cubicBezTo>
                      <a:pt x="683105" y="248835"/>
                      <a:pt x="679358" y="248610"/>
                      <a:pt x="676909" y="250783"/>
                    </a:cubicBezTo>
                    <a:cubicBezTo>
                      <a:pt x="674459" y="252957"/>
                      <a:pt x="674235" y="256704"/>
                      <a:pt x="676408" y="259153"/>
                    </a:cubicBezTo>
                    <a:cubicBezTo>
                      <a:pt x="678749" y="261462"/>
                      <a:pt x="682509" y="261462"/>
                      <a:pt x="684850" y="259153"/>
                    </a:cubicBezTo>
                    <a:cubicBezTo>
                      <a:pt x="687142" y="256863"/>
                      <a:pt x="687142" y="253148"/>
                      <a:pt x="684852" y="250858"/>
                    </a:cubicBezTo>
                    <a:cubicBezTo>
                      <a:pt x="684851" y="250856"/>
                      <a:pt x="684851" y="250856"/>
                      <a:pt x="684850" y="250855"/>
                    </a:cubicBezTo>
                    <a:moveTo>
                      <a:pt x="721763" y="218091"/>
                    </a:moveTo>
                    <a:cubicBezTo>
                      <a:pt x="720036" y="215731"/>
                      <a:pt x="716722" y="215221"/>
                      <a:pt x="714365" y="216948"/>
                    </a:cubicBezTo>
                    <a:cubicBezTo>
                      <a:pt x="712005" y="218674"/>
                      <a:pt x="711493" y="221987"/>
                      <a:pt x="713221" y="224346"/>
                    </a:cubicBezTo>
                    <a:cubicBezTo>
                      <a:pt x="713420" y="224619"/>
                      <a:pt x="713646" y="224871"/>
                      <a:pt x="713894" y="225101"/>
                    </a:cubicBezTo>
                    <a:cubicBezTo>
                      <a:pt x="715621" y="227461"/>
                      <a:pt x="718934" y="227971"/>
                      <a:pt x="721292" y="226245"/>
                    </a:cubicBezTo>
                    <a:cubicBezTo>
                      <a:pt x="723651" y="224518"/>
                      <a:pt x="724164" y="221205"/>
                      <a:pt x="722435" y="218846"/>
                    </a:cubicBezTo>
                    <a:cubicBezTo>
                      <a:pt x="722236" y="218573"/>
                      <a:pt x="722010" y="218321"/>
                      <a:pt x="721763" y="218091"/>
                    </a:cubicBezTo>
                    <a:moveTo>
                      <a:pt x="758819" y="185327"/>
                    </a:moveTo>
                    <a:cubicBezTo>
                      <a:pt x="756986" y="183545"/>
                      <a:pt x="754071" y="183545"/>
                      <a:pt x="752238" y="185327"/>
                    </a:cubicBezTo>
                    <a:cubicBezTo>
                      <a:pt x="750421" y="187085"/>
                      <a:pt x="750372" y="189984"/>
                      <a:pt x="752131" y="191801"/>
                    </a:cubicBezTo>
                    <a:cubicBezTo>
                      <a:pt x="752165" y="191837"/>
                      <a:pt x="752202" y="191872"/>
                      <a:pt x="752238" y="191908"/>
                    </a:cubicBezTo>
                    <a:cubicBezTo>
                      <a:pt x="754071" y="193689"/>
                      <a:pt x="756986" y="193689"/>
                      <a:pt x="758819" y="191908"/>
                    </a:cubicBezTo>
                    <a:cubicBezTo>
                      <a:pt x="760618" y="190028"/>
                      <a:pt x="760618" y="187064"/>
                      <a:pt x="758819" y="185184"/>
                    </a:cubicBezTo>
                    <a:moveTo>
                      <a:pt x="796019" y="152562"/>
                    </a:moveTo>
                    <a:cubicBezTo>
                      <a:pt x="794557" y="150864"/>
                      <a:pt x="791994" y="150671"/>
                      <a:pt x="790296" y="152133"/>
                    </a:cubicBezTo>
                    <a:cubicBezTo>
                      <a:pt x="788597" y="153595"/>
                      <a:pt x="788404" y="156158"/>
                      <a:pt x="789866" y="157856"/>
                    </a:cubicBezTo>
                    <a:cubicBezTo>
                      <a:pt x="791516" y="159401"/>
                      <a:pt x="794083" y="159401"/>
                      <a:pt x="795733" y="157856"/>
                    </a:cubicBezTo>
                    <a:cubicBezTo>
                      <a:pt x="797313" y="156308"/>
                      <a:pt x="797339" y="153771"/>
                      <a:pt x="795790" y="152190"/>
                    </a:cubicBezTo>
                    <a:cubicBezTo>
                      <a:pt x="795771" y="152172"/>
                      <a:pt x="795753" y="152152"/>
                      <a:pt x="795733" y="152133"/>
                    </a:cubicBezTo>
                    <a:moveTo>
                      <a:pt x="832646" y="119369"/>
                    </a:moveTo>
                    <a:cubicBezTo>
                      <a:pt x="831302" y="118030"/>
                      <a:pt x="829129" y="118034"/>
                      <a:pt x="827790" y="119378"/>
                    </a:cubicBezTo>
                    <a:cubicBezTo>
                      <a:pt x="826451" y="120721"/>
                      <a:pt x="826455" y="122894"/>
                      <a:pt x="827798" y="124234"/>
                    </a:cubicBezTo>
                    <a:cubicBezTo>
                      <a:pt x="829138" y="125569"/>
                      <a:pt x="831305" y="125569"/>
                      <a:pt x="832646" y="124234"/>
                    </a:cubicBezTo>
                    <a:cubicBezTo>
                      <a:pt x="833989" y="122894"/>
                      <a:pt x="833994" y="120721"/>
                      <a:pt x="832654" y="119378"/>
                    </a:cubicBezTo>
                    <a:cubicBezTo>
                      <a:pt x="832652" y="119375"/>
                      <a:pt x="832649" y="119372"/>
                      <a:pt x="832646" y="119369"/>
                    </a:cubicBezTo>
                    <a:moveTo>
                      <a:pt x="869702" y="86605"/>
                    </a:moveTo>
                    <a:cubicBezTo>
                      <a:pt x="868542" y="85496"/>
                      <a:pt x="866713" y="85496"/>
                      <a:pt x="865553" y="86605"/>
                    </a:cubicBezTo>
                    <a:cubicBezTo>
                      <a:pt x="864368" y="87672"/>
                      <a:pt x="864271" y="89498"/>
                      <a:pt x="865338" y="90683"/>
                    </a:cubicBezTo>
                    <a:cubicBezTo>
                      <a:pt x="866406" y="91867"/>
                      <a:pt x="868231" y="91965"/>
                      <a:pt x="869416" y="90897"/>
                    </a:cubicBezTo>
                    <a:cubicBezTo>
                      <a:pt x="870506" y="89784"/>
                      <a:pt x="870506" y="88004"/>
                      <a:pt x="869416" y="86891"/>
                    </a:cubicBezTo>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9" name="Freeform: Shape 138">
                <a:extLst>
                  <a:ext uri="{FF2B5EF4-FFF2-40B4-BE49-F238E27FC236}">
                    <a16:creationId xmlns:a16="http://schemas.microsoft.com/office/drawing/2014/main" id="{14AFA2DE-34CF-4239-B377-861E7186CCCC}"/>
                  </a:ext>
                </a:extLst>
              </p:cNvPr>
              <p:cNvSpPr/>
              <p:nvPr/>
            </p:nvSpPr>
            <p:spPr>
              <a:xfrm rot="8043926">
                <a:off x="7720650" y="4421757"/>
                <a:ext cx="1106638" cy="1006035"/>
              </a:xfrm>
              <a:custGeom>
                <a:avLst/>
                <a:gdLst>
                  <a:gd name="connsiteX0" fmla="*/ 412818 w 786911"/>
                  <a:gd name="connsiteY0" fmla="*/ 383011 h 715374"/>
                  <a:gd name="connsiteX1" fmla="*/ 412818 w 786911"/>
                  <a:gd name="connsiteY1" fmla="*/ 394457 h 715374"/>
                  <a:gd name="connsiteX2" fmla="*/ 401515 w 786911"/>
                  <a:gd name="connsiteY2" fmla="*/ 394457 h 715374"/>
                  <a:gd name="connsiteX3" fmla="*/ 401515 w 786911"/>
                  <a:gd name="connsiteY3" fmla="*/ 383154 h 715374"/>
                  <a:gd name="connsiteX4" fmla="*/ 412961 w 786911"/>
                  <a:gd name="connsiteY4" fmla="*/ 383154 h 715374"/>
                  <a:gd name="connsiteX5" fmla="*/ 445439 w 786911"/>
                  <a:gd name="connsiteY5" fmla="*/ 352679 h 715374"/>
                  <a:gd name="connsiteX6" fmla="*/ 434918 w 786911"/>
                  <a:gd name="connsiteY6" fmla="*/ 352745 h 715374"/>
                  <a:gd name="connsiteX7" fmla="*/ 434984 w 786911"/>
                  <a:gd name="connsiteY7" fmla="*/ 363267 h 715374"/>
                  <a:gd name="connsiteX8" fmla="*/ 445439 w 786911"/>
                  <a:gd name="connsiteY8" fmla="*/ 363267 h 715374"/>
                  <a:gd name="connsiteX9" fmla="*/ 445505 w 786911"/>
                  <a:gd name="connsiteY9" fmla="*/ 352745 h 715374"/>
                  <a:gd name="connsiteX10" fmla="*/ 445439 w 786911"/>
                  <a:gd name="connsiteY10" fmla="*/ 352679 h 715374"/>
                  <a:gd name="connsiteX11" fmla="*/ 477917 w 786911"/>
                  <a:gd name="connsiteY11" fmla="*/ 322205 h 715374"/>
                  <a:gd name="connsiteX12" fmla="*/ 468019 w 786911"/>
                  <a:gd name="connsiteY12" fmla="*/ 322788 h 715374"/>
                  <a:gd name="connsiteX13" fmla="*/ 467759 w 786911"/>
                  <a:gd name="connsiteY13" fmla="*/ 331791 h 715374"/>
                  <a:gd name="connsiteX14" fmla="*/ 477631 w 786911"/>
                  <a:gd name="connsiteY14" fmla="*/ 331791 h 715374"/>
                  <a:gd name="connsiteX15" fmla="*/ 477793 w 786911"/>
                  <a:gd name="connsiteY15" fmla="*/ 322080 h 715374"/>
                  <a:gd name="connsiteX16" fmla="*/ 477631 w 786911"/>
                  <a:gd name="connsiteY16" fmla="*/ 321918 h 715374"/>
                  <a:gd name="connsiteX17" fmla="*/ 510252 w 786911"/>
                  <a:gd name="connsiteY17" fmla="*/ 291587 h 715374"/>
                  <a:gd name="connsiteX18" fmla="*/ 501147 w 786911"/>
                  <a:gd name="connsiteY18" fmla="*/ 291495 h 715374"/>
                  <a:gd name="connsiteX19" fmla="*/ 501057 w 786911"/>
                  <a:gd name="connsiteY19" fmla="*/ 300600 h 715374"/>
                  <a:gd name="connsiteX20" fmla="*/ 510161 w 786911"/>
                  <a:gd name="connsiteY20" fmla="*/ 300692 h 715374"/>
                  <a:gd name="connsiteX21" fmla="*/ 510252 w 786911"/>
                  <a:gd name="connsiteY21" fmla="*/ 300600 h 715374"/>
                  <a:gd name="connsiteX22" fmla="*/ 510364 w 786911"/>
                  <a:gd name="connsiteY22" fmla="*/ 291698 h 715374"/>
                  <a:gd name="connsiteX23" fmla="*/ 510252 w 786911"/>
                  <a:gd name="connsiteY23" fmla="*/ 291587 h 715374"/>
                  <a:gd name="connsiteX24" fmla="*/ 542873 w 786911"/>
                  <a:gd name="connsiteY24" fmla="*/ 261112 h 715374"/>
                  <a:gd name="connsiteX25" fmla="*/ 534575 w 786911"/>
                  <a:gd name="connsiteY25" fmla="*/ 261112 h 715374"/>
                  <a:gd name="connsiteX26" fmla="*/ 534289 w 786911"/>
                  <a:gd name="connsiteY26" fmla="*/ 269410 h 715374"/>
                  <a:gd name="connsiteX27" fmla="*/ 542587 w 786911"/>
                  <a:gd name="connsiteY27" fmla="*/ 269696 h 715374"/>
                  <a:gd name="connsiteX28" fmla="*/ 542587 w 786911"/>
                  <a:gd name="connsiteY28" fmla="*/ 261398 h 715374"/>
                  <a:gd name="connsiteX29" fmla="*/ 575065 w 786911"/>
                  <a:gd name="connsiteY29" fmla="*/ 230923 h 715374"/>
                  <a:gd name="connsiteX30" fmla="*/ 567625 w 786911"/>
                  <a:gd name="connsiteY30" fmla="*/ 230923 h 715374"/>
                  <a:gd name="connsiteX31" fmla="*/ 567625 w 786911"/>
                  <a:gd name="connsiteY31" fmla="*/ 238506 h 715374"/>
                  <a:gd name="connsiteX32" fmla="*/ 575065 w 786911"/>
                  <a:gd name="connsiteY32" fmla="*/ 238506 h 715374"/>
                  <a:gd name="connsiteX33" fmla="*/ 575065 w 786911"/>
                  <a:gd name="connsiteY33" fmla="*/ 230923 h 715374"/>
                  <a:gd name="connsiteX34" fmla="*/ 607543 w 786911"/>
                  <a:gd name="connsiteY34" fmla="*/ 200162 h 715374"/>
                  <a:gd name="connsiteX35" fmla="*/ 600819 w 786911"/>
                  <a:gd name="connsiteY35" fmla="*/ 200019 h 715374"/>
                  <a:gd name="connsiteX36" fmla="*/ 600676 w 786911"/>
                  <a:gd name="connsiteY36" fmla="*/ 206743 h 715374"/>
                  <a:gd name="connsiteX37" fmla="*/ 607400 w 786911"/>
                  <a:gd name="connsiteY37" fmla="*/ 206886 h 715374"/>
                  <a:gd name="connsiteX38" fmla="*/ 607543 w 786911"/>
                  <a:gd name="connsiteY38" fmla="*/ 200162 h 715374"/>
                  <a:gd name="connsiteX39" fmla="*/ 640164 w 786911"/>
                  <a:gd name="connsiteY39" fmla="*/ 169687 h 715374"/>
                  <a:gd name="connsiteX40" fmla="*/ 634298 w 786911"/>
                  <a:gd name="connsiteY40" fmla="*/ 169544 h 715374"/>
                  <a:gd name="connsiteX41" fmla="*/ 634155 w 786911"/>
                  <a:gd name="connsiteY41" fmla="*/ 169687 h 715374"/>
                  <a:gd name="connsiteX42" fmla="*/ 633951 w 786911"/>
                  <a:gd name="connsiteY42" fmla="*/ 175348 h 715374"/>
                  <a:gd name="connsiteX43" fmla="*/ 634155 w 786911"/>
                  <a:gd name="connsiteY43" fmla="*/ 175553 h 715374"/>
                  <a:gd name="connsiteX44" fmla="*/ 640021 w 786911"/>
                  <a:gd name="connsiteY44" fmla="*/ 175553 h 715374"/>
                  <a:gd name="connsiteX45" fmla="*/ 640021 w 786911"/>
                  <a:gd name="connsiteY45" fmla="*/ 169544 h 715374"/>
                  <a:gd name="connsiteX46" fmla="*/ 672499 w 786911"/>
                  <a:gd name="connsiteY46" fmla="*/ 139069 h 715374"/>
                  <a:gd name="connsiteX47" fmla="*/ 667253 w 786911"/>
                  <a:gd name="connsiteY47" fmla="*/ 139452 h 715374"/>
                  <a:gd name="connsiteX48" fmla="*/ 667062 w 786911"/>
                  <a:gd name="connsiteY48" fmla="*/ 144076 h 715374"/>
                  <a:gd name="connsiteX49" fmla="*/ 672356 w 786911"/>
                  <a:gd name="connsiteY49" fmla="*/ 144076 h 715374"/>
                  <a:gd name="connsiteX50" fmla="*/ 672449 w 786911"/>
                  <a:gd name="connsiteY50" fmla="*/ 139019 h 715374"/>
                  <a:gd name="connsiteX51" fmla="*/ 672356 w 786911"/>
                  <a:gd name="connsiteY51" fmla="*/ 138926 h 715374"/>
                  <a:gd name="connsiteX52" fmla="*/ 704834 w 786911"/>
                  <a:gd name="connsiteY52" fmla="*/ 108451 h 715374"/>
                  <a:gd name="connsiteX53" fmla="*/ 700383 w 786911"/>
                  <a:gd name="connsiteY53" fmla="*/ 108435 h 715374"/>
                  <a:gd name="connsiteX54" fmla="*/ 700367 w 786911"/>
                  <a:gd name="connsiteY54" fmla="*/ 112886 h 715374"/>
                  <a:gd name="connsiteX55" fmla="*/ 704818 w 786911"/>
                  <a:gd name="connsiteY55" fmla="*/ 112902 h 715374"/>
                  <a:gd name="connsiteX56" fmla="*/ 704834 w 786911"/>
                  <a:gd name="connsiteY56" fmla="*/ 112886 h 715374"/>
                  <a:gd name="connsiteX57" fmla="*/ 704834 w 786911"/>
                  <a:gd name="connsiteY57" fmla="*/ 108451 h 715374"/>
                  <a:gd name="connsiteX58" fmla="*/ 737312 w 786911"/>
                  <a:gd name="connsiteY58" fmla="*/ 77976 h 715374"/>
                  <a:gd name="connsiteX59" fmla="*/ 733735 w 786911"/>
                  <a:gd name="connsiteY59" fmla="*/ 77976 h 715374"/>
                  <a:gd name="connsiteX60" fmla="*/ 733664 w 786911"/>
                  <a:gd name="connsiteY60" fmla="*/ 81624 h 715374"/>
                  <a:gd name="connsiteX61" fmla="*/ 737312 w 786911"/>
                  <a:gd name="connsiteY61" fmla="*/ 81696 h 715374"/>
                  <a:gd name="connsiteX62" fmla="*/ 737452 w 786911"/>
                  <a:gd name="connsiteY62" fmla="*/ 78259 h 715374"/>
                  <a:gd name="connsiteX63" fmla="*/ 737312 w 786911"/>
                  <a:gd name="connsiteY63" fmla="*/ 78119 h 715374"/>
                  <a:gd name="connsiteX64" fmla="*/ 432133 w 786911"/>
                  <a:gd name="connsiteY64" fmla="*/ 403185 h 715374"/>
                  <a:gd name="connsiteX65" fmla="*/ 421546 w 786911"/>
                  <a:gd name="connsiteY65" fmla="*/ 403185 h 715374"/>
                  <a:gd name="connsiteX66" fmla="*/ 421546 w 786911"/>
                  <a:gd name="connsiteY66" fmla="*/ 414631 h 715374"/>
                  <a:gd name="connsiteX67" fmla="*/ 432992 w 786911"/>
                  <a:gd name="connsiteY67" fmla="*/ 414631 h 715374"/>
                  <a:gd name="connsiteX68" fmla="*/ 432992 w 786911"/>
                  <a:gd name="connsiteY68" fmla="*/ 403328 h 715374"/>
                  <a:gd name="connsiteX69" fmla="*/ 464468 w 786911"/>
                  <a:gd name="connsiteY69" fmla="*/ 373282 h 715374"/>
                  <a:gd name="connsiteX70" fmla="*/ 453947 w 786911"/>
                  <a:gd name="connsiteY70" fmla="*/ 373216 h 715374"/>
                  <a:gd name="connsiteX71" fmla="*/ 453881 w 786911"/>
                  <a:gd name="connsiteY71" fmla="*/ 373282 h 715374"/>
                  <a:gd name="connsiteX72" fmla="*/ 453755 w 786911"/>
                  <a:gd name="connsiteY72" fmla="*/ 383601 h 715374"/>
                  <a:gd name="connsiteX73" fmla="*/ 453881 w 786911"/>
                  <a:gd name="connsiteY73" fmla="*/ 383727 h 715374"/>
                  <a:gd name="connsiteX74" fmla="*/ 464403 w 786911"/>
                  <a:gd name="connsiteY74" fmla="*/ 383793 h 715374"/>
                  <a:gd name="connsiteX75" fmla="*/ 464468 w 786911"/>
                  <a:gd name="connsiteY75" fmla="*/ 383727 h 715374"/>
                  <a:gd name="connsiteX76" fmla="*/ 464468 w 786911"/>
                  <a:gd name="connsiteY76" fmla="*/ 373139 h 715374"/>
                  <a:gd name="connsiteX77" fmla="*/ 496946 w 786911"/>
                  <a:gd name="connsiteY77" fmla="*/ 342664 h 715374"/>
                  <a:gd name="connsiteX78" fmla="*/ 487236 w 786911"/>
                  <a:gd name="connsiteY78" fmla="*/ 342503 h 715374"/>
                  <a:gd name="connsiteX79" fmla="*/ 487074 w 786911"/>
                  <a:gd name="connsiteY79" fmla="*/ 342664 h 715374"/>
                  <a:gd name="connsiteX80" fmla="*/ 487074 w 786911"/>
                  <a:gd name="connsiteY80" fmla="*/ 352393 h 715374"/>
                  <a:gd name="connsiteX81" fmla="*/ 496785 w 786911"/>
                  <a:gd name="connsiteY81" fmla="*/ 352555 h 715374"/>
                  <a:gd name="connsiteX82" fmla="*/ 496946 w 786911"/>
                  <a:gd name="connsiteY82" fmla="*/ 352393 h 715374"/>
                  <a:gd name="connsiteX83" fmla="*/ 496946 w 786911"/>
                  <a:gd name="connsiteY83" fmla="*/ 342664 h 715374"/>
                  <a:gd name="connsiteX84" fmla="*/ 529424 w 786911"/>
                  <a:gd name="connsiteY84" fmla="*/ 312189 h 715374"/>
                  <a:gd name="connsiteX85" fmla="*/ 520319 w 786911"/>
                  <a:gd name="connsiteY85" fmla="*/ 312098 h 715374"/>
                  <a:gd name="connsiteX86" fmla="*/ 520229 w 786911"/>
                  <a:gd name="connsiteY86" fmla="*/ 321203 h 715374"/>
                  <a:gd name="connsiteX87" fmla="*/ 529333 w 786911"/>
                  <a:gd name="connsiteY87" fmla="*/ 321295 h 715374"/>
                  <a:gd name="connsiteX88" fmla="*/ 529424 w 786911"/>
                  <a:gd name="connsiteY88" fmla="*/ 321203 h 715374"/>
                  <a:gd name="connsiteX89" fmla="*/ 529536 w 786911"/>
                  <a:gd name="connsiteY89" fmla="*/ 312301 h 715374"/>
                  <a:gd name="connsiteX90" fmla="*/ 529424 w 786911"/>
                  <a:gd name="connsiteY90" fmla="*/ 312189 h 715374"/>
                  <a:gd name="connsiteX91" fmla="*/ 561902 w 786911"/>
                  <a:gd name="connsiteY91" fmla="*/ 281714 h 715374"/>
                  <a:gd name="connsiteX92" fmla="*/ 554016 w 786911"/>
                  <a:gd name="connsiteY92" fmla="*/ 281445 h 715374"/>
                  <a:gd name="connsiteX93" fmla="*/ 553747 w 786911"/>
                  <a:gd name="connsiteY93" fmla="*/ 281714 h 715374"/>
                  <a:gd name="connsiteX94" fmla="*/ 553540 w 786911"/>
                  <a:gd name="connsiteY94" fmla="*/ 289805 h 715374"/>
                  <a:gd name="connsiteX95" fmla="*/ 553747 w 786911"/>
                  <a:gd name="connsiteY95" fmla="*/ 290013 h 715374"/>
                  <a:gd name="connsiteX96" fmla="*/ 561902 w 786911"/>
                  <a:gd name="connsiteY96" fmla="*/ 290013 h 715374"/>
                  <a:gd name="connsiteX97" fmla="*/ 562110 w 786911"/>
                  <a:gd name="connsiteY97" fmla="*/ 281922 h 715374"/>
                  <a:gd name="connsiteX98" fmla="*/ 561902 w 786911"/>
                  <a:gd name="connsiteY98" fmla="*/ 281714 h 715374"/>
                  <a:gd name="connsiteX99" fmla="*/ 594523 w 786911"/>
                  <a:gd name="connsiteY99" fmla="*/ 251239 h 715374"/>
                  <a:gd name="connsiteX100" fmla="*/ 586940 w 786911"/>
                  <a:gd name="connsiteY100" fmla="*/ 251239 h 715374"/>
                  <a:gd name="connsiteX101" fmla="*/ 586940 w 786911"/>
                  <a:gd name="connsiteY101" fmla="*/ 258679 h 715374"/>
                  <a:gd name="connsiteX102" fmla="*/ 594523 w 786911"/>
                  <a:gd name="connsiteY102" fmla="*/ 258679 h 715374"/>
                  <a:gd name="connsiteX103" fmla="*/ 594523 w 786911"/>
                  <a:gd name="connsiteY103" fmla="*/ 251239 h 715374"/>
                  <a:gd name="connsiteX104" fmla="*/ 627001 w 786911"/>
                  <a:gd name="connsiteY104" fmla="*/ 220764 h 715374"/>
                  <a:gd name="connsiteX105" fmla="*/ 620324 w 786911"/>
                  <a:gd name="connsiteY105" fmla="*/ 220812 h 715374"/>
                  <a:gd name="connsiteX106" fmla="*/ 620371 w 786911"/>
                  <a:gd name="connsiteY106" fmla="*/ 227489 h 715374"/>
                  <a:gd name="connsiteX107" fmla="*/ 627001 w 786911"/>
                  <a:gd name="connsiteY107" fmla="*/ 227489 h 715374"/>
                  <a:gd name="connsiteX108" fmla="*/ 627049 w 786911"/>
                  <a:gd name="connsiteY108" fmla="*/ 220812 h 715374"/>
                  <a:gd name="connsiteX109" fmla="*/ 627001 w 786911"/>
                  <a:gd name="connsiteY109" fmla="*/ 220764 h 715374"/>
                  <a:gd name="connsiteX110" fmla="*/ 659479 w 786911"/>
                  <a:gd name="connsiteY110" fmla="*/ 190290 h 715374"/>
                  <a:gd name="connsiteX111" fmla="*/ 653470 w 786911"/>
                  <a:gd name="connsiteY111" fmla="*/ 190290 h 715374"/>
                  <a:gd name="connsiteX112" fmla="*/ 653470 w 786911"/>
                  <a:gd name="connsiteY112" fmla="*/ 196299 h 715374"/>
                  <a:gd name="connsiteX113" fmla="*/ 659479 w 786911"/>
                  <a:gd name="connsiteY113" fmla="*/ 196299 h 715374"/>
                  <a:gd name="connsiteX114" fmla="*/ 659479 w 786911"/>
                  <a:gd name="connsiteY114" fmla="*/ 190433 h 715374"/>
                  <a:gd name="connsiteX115" fmla="*/ 692243 w 786911"/>
                  <a:gd name="connsiteY115" fmla="*/ 159958 h 715374"/>
                  <a:gd name="connsiteX116" fmla="*/ 687186 w 786911"/>
                  <a:gd name="connsiteY116" fmla="*/ 159865 h 715374"/>
                  <a:gd name="connsiteX117" fmla="*/ 687093 w 786911"/>
                  <a:gd name="connsiteY117" fmla="*/ 159958 h 715374"/>
                  <a:gd name="connsiteX118" fmla="*/ 687093 w 786911"/>
                  <a:gd name="connsiteY118" fmla="*/ 165251 h 715374"/>
                  <a:gd name="connsiteX119" fmla="*/ 692150 w 786911"/>
                  <a:gd name="connsiteY119" fmla="*/ 165344 h 715374"/>
                  <a:gd name="connsiteX120" fmla="*/ 692243 w 786911"/>
                  <a:gd name="connsiteY120" fmla="*/ 165251 h 715374"/>
                  <a:gd name="connsiteX121" fmla="*/ 692336 w 786911"/>
                  <a:gd name="connsiteY121" fmla="*/ 160194 h 715374"/>
                  <a:gd name="connsiteX122" fmla="*/ 692243 w 786911"/>
                  <a:gd name="connsiteY122" fmla="*/ 160101 h 715374"/>
                  <a:gd name="connsiteX123" fmla="*/ 724864 w 786911"/>
                  <a:gd name="connsiteY123" fmla="*/ 129483 h 715374"/>
                  <a:gd name="connsiteX124" fmla="*/ 720429 w 786911"/>
                  <a:gd name="connsiteY124" fmla="*/ 129483 h 715374"/>
                  <a:gd name="connsiteX125" fmla="*/ 720176 w 786911"/>
                  <a:gd name="connsiteY125" fmla="*/ 133522 h 715374"/>
                  <a:gd name="connsiteX126" fmla="*/ 720429 w 786911"/>
                  <a:gd name="connsiteY126" fmla="*/ 133775 h 715374"/>
                  <a:gd name="connsiteX127" fmla="*/ 724674 w 786911"/>
                  <a:gd name="connsiteY127" fmla="*/ 133965 h 715374"/>
                  <a:gd name="connsiteX128" fmla="*/ 724864 w 786911"/>
                  <a:gd name="connsiteY128" fmla="*/ 133775 h 715374"/>
                  <a:gd name="connsiteX129" fmla="*/ 724864 w 786911"/>
                  <a:gd name="connsiteY129" fmla="*/ 129340 h 715374"/>
                  <a:gd name="connsiteX130" fmla="*/ 757343 w 786911"/>
                  <a:gd name="connsiteY130" fmla="*/ 98865 h 715374"/>
                  <a:gd name="connsiteX131" fmla="*/ 753623 w 786911"/>
                  <a:gd name="connsiteY131" fmla="*/ 98865 h 715374"/>
                  <a:gd name="connsiteX132" fmla="*/ 753551 w 786911"/>
                  <a:gd name="connsiteY132" fmla="*/ 102513 h 715374"/>
                  <a:gd name="connsiteX133" fmla="*/ 757199 w 786911"/>
                  <a:gd name="connsiteY133" fmla="*/ 102585 h 715374"/>
                  <a:gd name="connsiteX134" fmla="*/ 757199 w 786911"/>
                  <a:gd name="connsiteY134" fmla="*/ 98865 h 715374"/>
                  <a:gd name="connsiteX135" fmla="*/ 451592 w 786911"/>
                  <a:gd name="connsiteY135" fmla="*/ 424503 h 715374"/>
                  <a:gd name="connsiteX136" fmla="*/ 440260 w 786911"/>
                  <a:gd name="connsiteY136" fmla="*/ 424474 h 715374"/>
                  <a:gd name="connsiteX137" fmla="*/ 440233 w 786911"/>
                  <a:gd name="connsiteY137" fmla="*/ 435806 h 715374"/>
                  <a:gd name="connsiteX138" fmla="*/ 451563 w 786911"/>
                  <a:gd name="connsiteY138" fmla="*/ 435835 h 715374"/>
                  <a:gd name="connsiteX139" fmla="*/ 451592 w 786911"/>
                  <a:gd name="connsiteY139" fmla="*/ 435806 h 715374"/>
                  <a:gd name="connsiteX140" fmla="*/ 451592 w 786911"/>
                  <a:gd name="connsiteY140" fmla="*/ 424503 h 715374"/>
                  <a:gd name="connsiteX141" fmla="*/ 484070 w 786911"/>
                  <a:gd name="connsiteY141" fmla="*/ 394028 h 715374"/>
                  <a:gd name="connsiteX142" fmla="*/ 473754 w 786911"/>
                  <a:gd name="connsiteY142" fmla="*/ 393756 h 715374"/>
                  <a:gd name="connsiteX143" fmla="*/ 473482 w 786911"/>
                  <a:gd name="connsiteY143" fmla="*/ 394028 h 715374"/>
                  <a:gd name="connsiteX144" fmla="*/ 473196 w 786911"/>
                  <a:gd name="connsiteY144" fmla="*/ 404616 h 715374"/>
                  <a:gd name="connsiteX145" fmla="*/ 483783 w 786911"/>
                  <a:gd name="connsiteY145" fmla="*/ 404902 h 715374"/>
                  <a:gd name="connsiteX146" fmla="*/ 483909 w 786911"/>
                  <a:gd name="connsiteY146" fmla="*/ 394583 h 715374"/>
                  <a:gd name="connsiteX147" fmla="*/ 483783 w 786911"/>
                  <a:gd name="connsiteY147" fmla="*/ 394457 h 715374"/>
                  <a:gd name="connsiteX148" fmla="*/ 516261 w 786911"/>
                  <a:gd name="connsiteY148" fmla="*/ 363839 h 715374"/>
                  <a:gd name="connsiteX149" fmla="*/ 506532 w 786911"/>
                  <a:gd name="connsiteY149" fmla="*/ 363839 h 715374"/>
                  <a:gd name="connsiteX150" fmla="*/ 506371 w 786911"/>
                  <a:gd name="connsiteY150" fmla="*/ 373550 h 715374"/>
                  <a:gd name="connsiteX151" fmla="*/ 506532 w 786911"/>
                  <a:gd name="connsiteY151" fmla="*/ 373711 h 715374"/>
                  <a:gd name="connsiteX152" fmla="*/ 516261 w 786911"/>
                  <a:gd name="connsiteY152" fmla="*/ 373711 h 715374"/>
                  <a:gd name="connsiteX153" fmla="*/ 516423 w 786911"/>
                  <a:gd name="connsiteY153" fmla="*/ 364001 h 715374"/>
                  <a:gd name="connsiteX154" fmla="*/ 516261 w 786911"/>
                  <a:gd name="connsiteY154" fmla="*/ 363839 h 715374"/>
                  <a:gd name="connsiteX155" fmla="*/ 548883 w 786911"/>
                  <a:gd name="connsiteY155" fmla="*/ 333364 h 715374"/>
                  <a:gd name="connsiteX156" fmla="*/ 539726 w 786911"/>
                  <a:gd name="connsiteY156" fmla="*/ 333364 h 715374"/>
                  <a:gd name="connsiteX157" fmla="*/ 539726 w 786911"/>
                  <a:gd name="connsiteY157" fmla="*/ 342521 h 715374"/>
                  <a:gd name="connsiteX158" fmla="*/ 548883 w 786911"/>
                  <a:gd name="connsiteY158" fmla="*/ 342521 h 715374"/>
                  <a:gd name="connsiteX159" fmla="*/ 548883 w 786911"/>
                  <a:gd name="connsiteY159" fmla="*/ 333364 h 715374"/>
                  <a:gd name="connsiteX160" fmla="*/ 581647 w 786911"/>
                  <a:gd name="connsiteY160" fmla="*/ 303033 h 715374"/>
                  <a:gd name="connsiteX161" fmla="*/ 573348 w 786911"/>
                  <a:gd name="connsiteY161" fmla="*/ 302746 h 715374"/>
                  <a:gd name="connsiteX162" fmla="*/ 573062 w 786911"/>
                  <a:gd name="connsiteY162" fmla="*/ 311045 h 715374"/>
                  <a:gd name="connsiteX163" fmla="*/ 581153 w 786911"/>
                  <a:gd name="connsiteY163" fmla="*/ 311252 h 715374"/>
                  <a:gd name="connsiteX164" fmla="*/ 581360 w 786911"/>
                  <a:gd name="connsiteY164" fmla="*/ 311045 h 715374"/>
                  <a:gd name="connsiteX165" fmla="*/ 581363 w 786911"/>
                  <a:gd name="connsiteY165" fmla="*/ 302749 h 715374"/>
                  <a:gd name="connsiteX166" fmla="*/ 581360 w 786911"/>
                  <a:gd name="connsiteY166" fmla="*/ 302746 h 715374"/>
                  <a:gd name="connsiteX167" fmla="*/ 613839 w 786911"/>
                  <a:gd name="connsiteY167" fmla="*/ 272271 h 715374"/>
                  <a:gd name="connsiteX168" fmla="*/ 606353 w 786911"/>
                  <a:gd name="connsiteY168" fmla="*/ 272369 h 715374"/>
                  <a:gd name="connsiteX169" fmla="*/ 606450 w 786911"/>
                  <a:gd name="connsiteY169" fmla="*/ 279854 h 715374"/>
                  <a:gd name="connsiteX170" fmla="*/ 613839 w 786911"/>
                  <a:gd name="connsiteY170" fmla="*/ 279854 h 715374"/>
                  <a:gd name="connsiteX171" fmla="*/ 613839 w 786911"/>
                  <a:gd name="connsiteY171" fmla="*/ 272271 h 715374"/>
                  <a:gd name="connsiteX172" fmla="*/ 646316 w 786911"/>
                  <a:gd name="connsiteY172" fmla="*/ 241797 h 715374"/>
                  <a:gd name="connsiteX173" fmla="*/ 639639 w 786911"/>
                  <a:gd name="connsiteY173" fmla="*/ 241844 h 715374"/>
                  <a:gd name="connsiteX174" fmla="*/ 639686 w 786911"/>
                  <a:gd name="connsiteY174" fmla="*/ 248521 h 715374"/>
                  <a:gd name="connsiteX175" fmla="*/ 646316 w 786911"/>
                  <a:gd name="connsiteY175" fmla="*/ 248521 h 715374"/>
                  <a:gd name="connsiteX176" fmla="*/ 646364 w 786911"/>
                  <a:gd name="connsiteY176" fmla="*/ 241844 h 715374"/>
                  <a:gd name="connsiteX177" fmla="*/ 646316 w 786911"/>
                  <a:gd name="connsiteY177" fmla="*/ 241797 h 715374"/>
                  <a:gd name="connsiteX178" fmla="*/ 679081 w 786911"/>
                  <a:gd name="connsiteY178" fmla="*/ 211035 h 715374"/>
                  <a:gd name="connsiteX179" fmla="*/ 673011 w 786911"/>
                  <a:gd name="connsiteY179" fmla="*/ 211118 h 715374"/>
                  <a:gd name="connsiteX180" fmla="*/ 673094 w 786911"/>
                  <a:gd name="connsiteY180" fmla="*/ 217188 h 715374"/>
                  <a:gd name="connsiteX181" fmla="*/ 679081 w 786911"/>
                  <a:gd name="connsiteY181" fmla="*/ 217188 h 715374"/>
                  <a:gd name="connsiteX182" fmla="*/ 679081 w 786911"/>
                  <a:gd name="connsiteY182" fmla="*/ 211179 h 715374"/>
                  <a:gd name="connsiteX183" fmla="*/ 711559 w 786911"/>
                  <a:gd name="connsiteY183" fmla="*/ 180704 h 715374"/>
                  <a:gd name="connsiteX184" fmla="*/ 706501 w 786911"/>
                  <a:gd name="connsiteY184" fmla="*/ 180611 h 715374"/>
                  <a:gd name="connsiteX185" fmla="*/ 706408 w 786911"/>
                  <a:gd name="connsiteY185" fmla="*/ 180704 h 715374"/>
                  <a:gd name="connsiteX186" fmla="*/ 706315 w 786911"/>
                  <a:gd name="connsiteY186" fmla="*/ 185761 h 715374"/>
                  <a:gd name="connsiteX187" fmla="*/ 706408 w 786911"/>
                  <a:gd name="connsiteY187" fmla="*/ 185854 h 715374"/>
                  <a:gd name="connsiteX188" fmla="*/ 711466 w 786911"/>
                  <a:gd name="connsiteY188" fmla="*/ 185947 h 715374"/>
                  <a:gd name="connsiteX189" fmla="*/ 711559 w 786911"/>
                  <a:gd name="connsiteY189" fmla="*/ 185854 h 715374"/>
                  <a:gd name="connsiteX190" fmla="*/ 711559 w 786911"/>
                  <a:gd name="connsiteY190" fmla="*/ 180560 h 715374"/>
                  <a:gd name="connsiteX191" fmla="*/ 744037 w 786911"/>
                  <a:gd name="connsiteY191" fmla="*/ 150086 h 715374"/>
                  <a:gd name="connsiteX192" fmla="*/ 739601 w 786911"/>
                  <a:gd name="connsiteY192" fmla="*/ 150086 h 715374"/>
                  <a:gd name="connsiteX193" fmla="*/ 739601 w 786911"/>
                  <a:gd name="connsiteY193" fmla="*/ 154521 h 715374"/>
                  <a:gd name="connsiteX194" fmla="*/ 744037 w 786911"/>
                  <a:gd name="connsiteY194" fmla="*/ 154521 h 715374"/>
                  <a:gd name="connsiteX195" fmla="*/ 744227 w 786911"/>
                  <a:gd name="connsiteY195" fmla="*/ 150276 h 715374"/>
                  <a:gd name="connsiteX196" fmla="*/ 744037 w 786911"/>
                  <a:gd name="connsiteY196" fmla="*/ 150086 h 715374"/>
                  <a:gd name="connsiteX197" fmla="*/ 776658 w 786911"/>
                  <a:gd name="connsiteY197" fmla="*/ 119611 h 715374"/>
                  <a:gd name="connsiteX198" fmla="*/ 773016 w 786911"/>
                  <a:gd name="connsiteY198" fmla="*/ 119689 h 715374"/>
                  <a:gd name="connsiteX199" fmla="*/ 773095 w 786911"/>
                  <a:gd name="connsiteY199" fmla="*/ 123331 h 715374"/>
                  <a:gd name="connsiteX200" fmla="*/ 776658 w 786911"/>
                  <a:gd name="connsiteY200" fmla="*/ 123331 h 715374"/>
                  <a:gd name="connsiteX201" fmla="*/ 776658 w 786911"/>
                  <a:gd name="connsiteY201" fmla="*/ 119611 h 715374"/>
                  <a:gd name="connsiteX202" fmla="*/ 354587 w 786911"/>
                  <a:gd name="connsiteY202" fmla="*/ 320917 h 715374"/>
                  <a:gd name="connsiteX203" fmla="*/ 343284 w 786911"/>
                  <a:gd name="connsiteY203" fmla="*/ 320917 h 715374"/>
                  <a:gd name="connsiteX204" fmla="*/ 343526 w 786911"/>
                  <a:gd name="connsiteY204" fmla="*/ 332246 h 715374"/>
                  <a:gd name="connsiteX205" fmla="*/ 354158 w 786911"/>
                  <a:gd name="connsiteY205" fmla="*/ 332649 h 715374"/>
                  <a:gd name="connsiteX206" fmla="*/ 354158 w 786911"/>
                  <a:gd name="connsiteY206" fmla="*/ 321203 h 715374"/>
                  <a:gd name="connsiteX207" fmla="*/ 386636 w 786911"/>
                  <a:gd name="connsiteY207" fmla="*/ 290728 h 715374"/>
                  <a:gd name="connsiteX208" fmla="*/ 376114 w 786911"/>
                  <a:gd name="connsiteY208" fmla="*/ 290794 h 715374"/>
                  <a:gd name="connsiteX209" fmla="*/ 376180 w 786911"/>
                  <a:gd name="connsiteY209" fmla="*/ 301316 h 715374"/>
                  <a:gd name="connsiteX210" fmla="*/ 386636 w 786911"/>
                  <a:gd name="connsiteY210" fmla="*/ 301316 h 715374"/>
                  <a:gd name="connsiteX211" fmla="*/ 386702 w 786911"/>
                  <a:gd name="connsiteY211" fmla="*/ 290794 h 715374"/>
                  <a:gd name="connsiteX212" fmla="*/ 386636 w 786911"/>
                  <a:gd name="connsiteY212" fmla="*/ 290728 h 715374"/>
                  <a:gd name="connsiteX213" fmla="*/ 419543 w 786911"/>
                  <a:gd name="connsiteY213" fmla="*/ 260110 h 715374"/>
                  <a:gd name="connsiteX214" fmla="*/ 409814 w 786911"/>
                  <a:gd name="connsiteY214" fmla="*/ 260110 h 715374"/>
                  <a:gd name="connsiteX215" fmla="*/ 409652 w 786911"/>
                  <a:gd name="connsiteY215" fmla="*/ 269821 h 715374"/>
                  <a:gd name="connsiteX216" fmla="*/ 409814 w 786911"/>
                  <a:gd name="connsiteY216" fmla="*/ 269982 h 715374"/>
                  <a:gd name="connsiteX217" fmla="*/ 419543 w 786911"/>
                  <a:gd name="connsiteY217" fmla="*/ 269982 h 715374"/>
                  <a:gd name="connsiteX218" fmla="*/ 419705 w 786911"/>
                  <a:gd name="connsiteY218" fmla="*/ 260272 h 715374"/>
                  <a:gd name="connsiteX219" fmla="*/ 419543 w 786911"/>
                  <a:gd name="connsiteY219" fmla="*/ 260110 h 715374"/>
                  <a:gd name="connsiteX220" fmla="*/ 452164 w 786911"/>
                  <a:gd name="connsiteY220" fmla="*/ 229635 h 715374"/>
                  <a:gd name="connsiteX221" fmla="*/ 443060 w 786911"/>
                  <a:gd name="connsiteY221" fmla="*/ 229762 h 715374"/>
                  <a:gd name="connsiteX222" fmla="*/ 442721 w 786911"/>
                  <a:gd name="connsiteY222" fmla="*/ 238363 h 715374"/>
                  <a:gd name="connsiteX223" fmla="*/ 451878 w 786911"/>
                  <a:gd name="connsiteY223" fmla="*/ 238363 h 715374"/>
                  <a:gd name="connsiteX224" fmla="*/ 451989 w 786911"/>
                  <a:gd name="connsiteY224" fmla="*/ 229461 h 715374"/>
                  <a:gd name="connsiteX225" fmla="*/ 451878 w 786911"/>
                  <a:gd name="connsiteY225" fmla="*/ 229349 h 715374"/>
                  <a:gd name="connsiteX226" fmla="*/ 484356 w 786911"/>
                  <a:gd name="connsiteY226" fmla="*/ 198874 h 715374"/>
                  <a:gd name="connsiteX227" fmla="*/ 476057 w 786911"/>
                  <a:gd name="connsiteY227" fmla="*/ 198588 h 715374"/>
                  <a:gd name="connsiteX228" fmla="*/ 475771 w 786911"/>
                  <a:gd name="connsiteY228" fmla="*/ 206886 h 715374"/>
                  <a:gd name="connsiteX229" fmla="*/ 484070 w 786911"/>
                  <a:gd name="connsiteY229" fmla="*/ 207172 h 715374"/>
                  <a:gd name="connsiteX230" fmla="*/ 484356 w 786911"/>
                  <a:gd name="connsiteY230" fmla="*/ 198874 h 715374"/>
                  <a:gd name="connsiteX231" fmla="*/ 516834 w 786911"/>
                  <a:gd name="connsiteY231" fmla="*/ 168399 h 715374"/>
                  <a:gd name="connsiteX232" fmla="*/ 509394 w 786911"/>
                  <a:gd name="connsiteY232" fmla="*/ 168399 h 715374"/>
                  <a:gd name="connsiteX233" fmla="*/ 509149 w 786911"/>
                  <a:gd name="connsiteY233" fmla="*/ 176084 h 715374"/>
                  <a:gd name="connsiteX234" fmla="*/ 516834 w 786911"/>
                  <a:gd name="connsiteY234" fmla="*/ 176330 h 715374"/>
                  <a:gd name="connsiteX235" fmla="*/ 517078 w 786911"/>
                  <a:gd name="connsiteY235" fmla="*/ 168644 h 715374"/>
                  <a:gd name="connsiteX236" fmla="*/ 516834 w 786911"/>
                  <a:gd name="connsiteY236" fmla="*/ 168399 h 715374"/>
                  <a:gd name="connsiteX237" fmla="*/ 550313 w 786911"/>
                  <a:gd name="connsiteY237" fmla="*/ 138067 h 715374"/>
                  <a:gd name="connsiteX238" fmla="*/ 543446 w 786911"/>
                  <a:gd name="connsiteY238" fmla="*/ 138067 h 715374"/>
                  <a:gd name="connsiteX239" fmla="*/ 543303 w 786911"/>
                  <a:gd name="connsiteY239" fmla="*/ 144792 h 715374"/>
                  <a:gd name="connsiteX240" fmla="*/ 550027 w 786911"/>
                  <a:gd name="connsiteY240" fmla="*/ 144935 h 715374"/>
                  <a:gd name="connsiteX241" fmla="*/ 550027 w 786911"/>
                  <a:gd name="connsiteY241" fmla="*/ 138210 h 715374"/>
                  <a:gd name="connsiteX242" fmla="*/ 582505 w 786911"/>
                  <a:gd name="connsiteY242" fmla="*/ 107735 h 715374"/>
                  <a:gd name="connsiteX243" fmla="*/ 576496 w 786911"/>
                  <a:gd name="connsiteY243" fmla="*/ 107735 h 715374"/>
                  <a:gd name="connsiteX244" fmla="*/ 576281 w 786911"/>
                  <a:gd name="connsiteY244" fmla="*/ 113673 h 715374"/>
                  <a:gd name="connsiteX245" fmla="*/ 582219 w 786911"/>
                  <a:gd name="connsiteY245" fmla="*/ 113888 h 715374"/>
                  <a:gd name="connsiteX246" fmla="*/ 582219 w 786911"/>
                  <a:gd name="connsiteY246" fmla="*/ 107878 h 715374"/>
                  <a:gd name="connsiteX247" fmla="*/ 614697 w 786911"/>
                  <a:gd name="connsiteY247" fmla="*/ 77404 h 715374"/>
                  <a:gd name="connsiteX248" fmla="*/ 609639 w 786911"/>
                  <a:gd name="connsiteY248" fmla="*/ 77311 h 715374"/>
                  <a:gd name="connsiteX249" fmla="*/ 609546 w 786911"/>
                  <a:gd name="connsiteY249" fmla="*/ 77404 h 715374"/>
                  <a:gd name="connsiteX250" fmla="*/ 609403 w 786911"/>
                  <a:gd name="connsiteY250" fmla="*/ 82554 h 715374"/>
                  <a:gd name="connsiteX251" fmla="*/ 614554 w 786911"/>
                  <a:gd name="connsiteY251" fmla="*/ 82697 h 715374"/>
                  <a:gd name="connsiteX252" fmla="*/ 614647 w 786911"/>
                  <a:gd name="connsiteY252" fmla="*/ 77640 h 715374"/>
                  <a:gd name="connsiteX253" fmla="*/ 614554 w 786911"/>
                  <a:gd name="connsiteY253" fmla="*/ 77547 h 715374"/>
                  <a:gd name="connsiteX254" fmla="*/ 647032 w 786911"/>
                  <a:gd name="connsiteY254" fmla="*/ 47072 h 715374"/>
                  <a:gd name="connsiteX255" fmla="*/ 642596 w 786911"/>
                  <a:gd name="connsiteY255" fmla="*/ 47072 h 715374"/>
                  <a:gd name="connsiteX256" fmla="*/ 642596 w 786911"/>
                  <a:gd name="connsiteY256" fmla="*/ 51507 h 715374"/>
                  <a:gd name="connsiteX257" fmla="*/ 647032 w 786911"/>
                  <a:gd name="connsiteY257" fmla="*/ 51507 h 715374"/>
                  <a:gd name="connsiteX258" fmla="*/ 647222 w 786911"/>
                  <a:gd name="connsiteY258" fmla="*/ 47262 h 715374"/>
                  <a:gd name="connsiteX259" fmla="*/ 647032 w 786911"/>
                  <a:gd name="connsiteY259" fmla="*/ 47072 h 715374"/>
                  <a:gd name="connsiteX260" fmla="*/ 679796 w 786911"/>
                  <a:gd name="connsiteY260" fmla="*/ 16883 h 715374"/>
                  <a:gd name="connsiteX261" fmla="*/ 676155 w 786911"/>
                  <a:gd name="connsiteY261" fmla="*/ 16819 h 715374"/>
                  <a:gd name="connsiteX262" fmla="*/ 676090 w 786911"/>
                  <a:gd name="connsiteY262" fmla="*/ 20460 h 715374"/>
                  <a:gd name="connsiteX263" fmla="*/ 679732 w 786911"/>
                  <a:gd name="connsiteY263" fmla="*/ 20524 h 715374"/>
                  <a:gd name="connsiteX264" fmla="*/ 679796 w 786911"/>
                  <a:gd name="connsiteY264" fmla="*/ 20460 h 715374"/>
                  <a:gd name="connsiteX265" fmla="*/ 679796 w 786911"/>
                  <a:gd name="connsiteY265" fmla="*/ 16883 h 715374"/>
                  <a:gd name="connsiteX266" fmla="*/ 373902 w 786911"/>
                  <a:gd name="connsiteY266" fmla="*/ 341663 h 715374"/>
                  <a:gd name="connsiteX267" fmla="*/ 362599 w 786911"/>
                  <a:gd name="connsiteY267" fmla="*/ 341663 h 715374"/>
                  <a:gd name="connsiteX268" fmla="*/ 362241 w 786911"/>
                  <a:gd name="connsiteY268" fmla="*/ 353037 h 715374"/>
                  <a:gd name="connsiteX269" fmla="*/ 373616 w 786911"/>
                  <a:gd name="connsiteY269" fmla="*/ 353395 h 715374"/>
                  <a:gd name="connsiteX270" fmla="*/ 373616 w 786911"/>
                  <a:gd name="connsiteY270" fmla="*/ 342092 h 715374"/>
                  <a:gd name="connsiteX271" fmla="*/ 407238 w 786911"/>
                  <a:gd name="connsiteY271" fmla="*/ 311188 h 715374"/>
                  <a:gd name="connsiteX272" fmla="*/ 396651 w 786911"/>
                  <a:gd name="connsiteY272" fmla="*/ 310759 h 715374"/>
                  <a:gd name="connsiteX273" fmla="*/ 396222 w 786911"/>
                  <a:gd name="connsiteY273" fmla="*/ 321346 h 715374"/>
                  <a:gd name="connsiteX274" fmla="*/ 406537 w 786911"/>
                  <a:gd name="connsiteY274" fmla="*/ 321618 h 715374"/>
                  <a:gd name="connsiteX275" fmla="*/ 406809 w 786911"/>
                  <a:gd name="connsiteY275" fmla="*/ 321346 h 715374"/>
                  <a:gd name="connsiteX276" fmla="*/ 406809 w 786911"/>
                  <a:gd name="connsiteY276" fmla="*/ 310759 h 715374"/>
                  <a:gd name="connsiteX277" fmla="*/ 439287 w 786911"/>
                  <a:gd name="connsiteY277" fmla="*/ 280284 h 715374"/>
                  <a:gd name="connsiteX278" fmla="*/ 429577 w 786911"/>
                  <a:gd name="connsiteY278" fmla="*/ 280122 h 715374"/>
                  <a:gd name="connsiteX279" fmla="*/ 429415 w 786911"/>
                  <a:gd name="connsiteY279" fmla="*/ 280284 h 715374"/>
                  <a:gd name="connsiteX280" fmla="*/ 429415 w 786911"/>
                  <a:gd name="connsiteY280" fmla="*/ 290013 h 715374"/>
                  <a:gd name="connsiteX281" fmla="*/ 439126 w 786911"/>
                  <a:gd name="connsiteY281" fmla="*/ 290174 h 715374"/>
                  <a:gd name="connsiteX282" fmla="*/ 439287 w 786911"/>
                  <a:gd name="connsiteY282" fmla="*/ 290013 h 715374"/>
                  <a:gd name="connsiteX283" fmla="*/ 439287 w 786911"/>
                  <a:gd name="connsiteY283" fmla="*/ 280284 h 715374"/>
                  <a:gd name="connsiteX284" fmla="*/ 471765 w 786911"/>
                  <a:gd name="connsiteY284" fmla="*/ 249809 h 715374"/>
                  <a:gd name="connsiteX285" fmla="*/ 462660 w 786911"/>
                  <a:gd name="connsiteY285" fmla="*/ 249717 h 715374"/>
                  <a:gd name="connsiteX286" fmla="*/ 462570 w 786911"/>
                  <a:gd name="connsiteY286" fmla="*/ 258822 h 715374"/>
                  <a:gd name="connsiteX287" fmla="*/ 471674 w 786911"/>
                  <a:gd name="connsiteY287" fmla="*/ 258914 h 715374"/>
                  <a:gd name="connsiteX288" fmla="*/ 471765 w 786911"/>
                  <a:gd name="connsiteY288" fmla="*/ 258822 h 715374"/>
                  <a:gd name="connsiteX289" fmla="*/ 471877 w 786911"/>
                  <a:gd name="connsiteY289" fmla="*/ 249920 h 715374"/>
                  <a:gd name="connsiteX290" fmla="*/ 471765 w 786911"/>
                  <a:gd name="connsiteY290" fmla="*/ 249809 h 715374"/>
                  <a:gd name="connsiteX291" fmla="*/ 504386 w 786911"/>
                  <a:gd name="connsiteY291" fmla="*/ 219334 h 715374"/>
                  <a:gd name="connsiteX292" fmla="*/ 496088 w 786911"/>
                  <a:gd name="connsiteY292" fmla="*/ 219048 h 715374"/>
                  <a:gd name="connsiteX293" fmla="*/ 495802 w 786911"/>
                  <a:gd name="connsiteY293" fmla="*/ 227346 h 715374"/>
                  <a:gd name="connsiteX294" fmla="*/ 504100 w 786911"/>
                  <a:gd name="connsiteY294" fmla="*/ 227632 h 715374"/>
                  <a:gd name="connsiteX295" fmla="*/ 504386 w 786911"/>
                  <a:gd name="connsiteY295" fmla="*/ 219334 h 715374"/>
                  <a:gd name="connsiteX296" fmla="*/ 536006 w 786911"/>
                  <a:gd name="connsiteY296" fmla="*/ 189288 h 715374"/>
                  <a:gd name="connsiteX297" fmla="*/ 528520 w 786911"/>
                  <a:gd name="connsiteY297" fmla="*/ 189241 h 715374"/>
                  <a:gd name="connsiteX298" fmla="*/ 528473 w 786911"/>
                  <a:gd name="connsiteY298" fmla="*/ 196728 h 715374"/>
                  <a:gd name="connsiteX299" fmla="*/ 535959 w 786911"/>
                  <a:gd name="connsiteY299" fmla="*/ 196774 h 715374"/>
                  <a:gd name="connsiteX300" fmla="*/ 536006 w 786911"/>
                  <a:gd name="connsiteY300" fmla="*/ 196728 h 715374"/>
                  <a:gd name="connsiteX301" fmla="*/ 536006 w 786911"/>
                  <a:gd name="connsiteY301" fmla="*/ 189288 h 715374"/>
                  <a:gd name="connsiteX302" fmla="*/ 568484 w 786911"/>
                  <a:gd name="connsiteY302" fmla="*/ 158813 h 715374"/>
                  <a:gd name="connsiteX303" fmla="*/ 561806 w 786911"/>
                  <a:gd name="connsiteY303" fmla="*/ 158860 h 715374"/>
                  <a:gd name="connsiteX304" fmla="*/ 561854 w 786911"/>
                  <a:gd name="connsiteY304" fmla="*/ 165538 h 715374"/>
                  <a:gd name="connsiteX305" fmla="*/ 568484 w 786911"/>
                  <a:gd name="connsiteY305" fmla="*/ 165538 h 715374"/>
                  <a:gd name="connsiteX306" fmla="*/ 568531 w 786911"/>
                  <a:gd name="connsiteY306" fmla="*/ 158860 h 715374"/>
                  <a:gd name="connsiteX307" fmla="*/ 568484 w 786911"/>
                  <a:gd name="connsiteY307" fmla="*/ 158813 h 715374"/>
                  <a:gd name="connsiteX308" fmla="*/ 600962 w 786911"/>
                  <a:gd name="connsiteY308" fmla="*/ 128338 h 715374"/>
                  <a:gd name="connsiteX309" fmla="*/ 595096 w 786911"/>
                  <a:gd name="connsiteY309" fmla="*/ 128338 h 715374"/>
                  <a:gd name="connsiteX310" fmla="*/ 595096 w 786911"/>
                  <a:gd name="connsiteY310" fmla="*/ 134347 h 715374"/>
                  <a:gd name="connsiteX311" fmla="*/ 600962 w 786911"/>
                  <a:gd name="connsiteY311" fmla="*/ 134490 h 715374"/>
                  <a:gd name="connsiteX312" fmla="*/ 601105 w 786911"/>
                  <a:gd name="connsiteY312" fmla="*/ 134347 h 715374"/>
                  <a:gd name="connsiteX313" fmla="*/ 601309 w 786911"/>
                  <a:gd name="connsiteY313" fmla="*/ 128686 h 715374"/>
                  <a:gd name="connsiteX314" fmla="*/ 601105 w 786911"/>
                  <a:gd name="connsiteY314" fmla="*/ 128481 h 715374"/>
                  <a:gd name="connsiteX315" fmla="*/ 633726 w 786911"/>
                  <a:gd name="connsiteY315" fmla="*/ 98006 h 715374"/>
                  <a:gd name="connsiteX316" fmla="*/ 628466 w 786911"/>
                  <a:gd name="connsiteY316" fmla="*/ 97898 h 715374"/>
                  <a:gd name="connsiteX317" fmla="*/ 628358 w 786911"/>
                  <a:gd name="connsiteY317" fmla="*/ 103157 h 715374"/>
                  <a:gd name="connsiteX318" fmla="*/ 633617 w 786911"/>
                  <a:gd name="connsiteY318" fmla="*/ 103266 h 715374"/>
                  <a:gd name="connsiteX319" fmla="*/ 633726 w 786911"/>
                  <a:gd name="connsiteY319" fmla="*/ 103157 h 715374"/>
                  <a:gd name="connsiteX320" fmla="*/ 633726 w 786911"/>
                  <a:gd name="connsiteY320" fmla="*/ 98006 h 715374"/>
                  <a:gd name="connsiteX321" fmla="*/ 666204 w 786911"/>
                  <a:gd name="connsiteY321" fmla="*/ 67531 h 715374"/>
                  <a:gd name="connsiteX322" fmla="*/ 661959 w 786911"/>
                  <a:gd name="connsiteY322" fmla="*/ 67341 h 715374"/>
                  <a:gd name="connsiteX323" fmla="*/ 661769 w 786911"/>
                  <a:gd name="connsiteY323" fmla="*/ 67531 h 715374"/>
                  <a:gd name="connsiteX324" fmla="*/ 661769 w 786911"/>
                  <a:gd name="connsiteY324" fmla="*/ 71967 h 715374"/>
                  <a:gd name="connsiteX325" fmla="*/ 666204 w 786911"/>
                  <a:gd name="connsiteY325" fmla="*/ 71967 h 715374"/>
                  <a:gd name="connsiteX326" fmla="*/ 666204 w 786911"/>
                  <a:gd name="connsiteY326" fmla="*/ 67531 h 715374"/>
                  <a:gd name="connsiteX327" fmla="*/ 699111 w 786911"/>
                  <a:gd name="connsiteY327" fmla="*/ 36913 h 715374"/>
                  <a:gd name="connsiteX328" fmla="*/ 695470 w 786911"/>
                  <a:gd name="connsiteY328" fmla="*/ 36849 h 715374"/>
                  <a:gd name="connsiteX329" fmla="*/ 695405 w 786911"/>
                  <a:gd name="connsiteY329" fmla="*/ 40490 h 715374"/>
                  <a:gd name="connsiteX330" fmla="*/ 699047 w 786911"/>
                  <a:gd name="connsiteY330" fmla="*/ 40555 h 715374"/>
                  <a:gd name="connsiteX331" fmla="*/ 699111 w 786911"/>
                  <a:gd name="connsiteY331" fmla="*/ 40490 h 715374"/>
                  <a:gd name="connsiteX332" fmla="*/ 699251 w 786911"/>
                  <a:gd name="connsiteY332" fmla="*/ 37054 h 715374"/>
                  <a:gd name="connsiteX333" fmla="*/ 699111 w 786911"/>
                  <a:gd name="connsiteY333" fmla="*/ 36913 h 715374"/>
                  <a:gd name="connsiteX334" fmla="*/ 392931 w 786911"/>
                  <a:gd name="connsiteY334" fmla="*/ 362409 h 715374"/>
                  <a:gd name="connsiteX335" fmla="*/ 381599 w 786911"/>
                  <a:gd name="connsiteY335" fmla="*/ 362380 h 715374"/>
                  <a:gd name="connsiteX336" fmla="*/ 381572 w 786911"/>
                  <a:gd name="connsiteY336" fmla="*/ 373711 h 715374"/>
                  <a:gd name="connsiteX337" fmla="*/ 392902 w 786911"/>
                  <a:gd name="connsiteY337" fmla="*/ 373740 h 715374"/>
                  <a:gd name="connsiteX338" fmla="*/ 392931 w 786911"/>
                  <a:gd name="connsiteY338" fmla="*/ 373711 h 715374"/>
                  <a:gd name="connsiteX339" fmla="*/ 392931 w 786911"/>
                  <a:gd name="connsiteY339" fmla="*/ 362409 h 715374"/>
                  <a:gd name="connsiteX340" fmla="*/ 425838 w 786911"/>
                  <a:gd name="connsiteY340" fmla="*/ 331647 h 715374"/>
                  <a:gd name="connsiteX341" fmla="*/ 415322 w 786911"/>
                  <a:gd name="connsiteY341" fmla="*/ 331290 h 715374"/>
                  <a:gd name="connsiteX342" fmla="*/ 414965 w 786911"/>
                  <a:gd name="connsiteY342" fmla="*/ 341806 h 715374"/>
                  <a:gd name="connsiteX343" fmla="*/ 425552 w 786911"/>
                  <a:gd name="connsiteY343" fmla="*/ 341806 h 715374"/>
                  <a:gd name="connsiteX344" fmla="*/ 425618 w 786911"/>
                  <a:gd name="connsiteY344" fmla="*/ 331284 h 715374"/>
                  <a:gd name="connsiteX345" fmla="*/ 425552 w 786911"/>
                  <a:gd name="connsiteY345" fmla="*/ 331218 h 715374"/>
                  <a:gd name="connsiteX346" fmla="*/ 458173 w 786911"/>
                  <a:gd name="connsiteY346" fmla="*/ 300743 h 715374"/>
                  <a:gd name="connsiteX347" fmla="*/ 448461 w 786911"/>
                  <a:gd name="connsiteY347" fmla="*/ 300761 h 715374"/>
                  <a:gd name="connsiteX348" fmla="*/ 448478 w 786911"/>
                  <a:gd name="connsiteY348" fmla="*/ 310472 h 715374"/>
                  <a:gd name="connsiteX349" fmla="*/ 458173 w 786911"/>
                  <a:gd name="connsiteY349" fmla="*/ 310472 h 715374"/>
                  <a:gd name="connsiteX350" fmla="*/ 458190 w 786911"/>
                  <a:gd name="connsiteY350" fmla="*/ 300761 h 715374"/>
                  <a:gd name="connsiteX351" fmla="*/ 458173 w 786911"/>
                  <a:gd name="connsiteY351" fmla="*/ 300743 h 715374"/>
                  <a:gd name="connsiteX352" fmla="*/ 490651 w 786911"/>
                  <a:gd name="connsiteY352" fmla="*/ 270268 h 715374"/>
                  <a:gd name="connsiteX353" fmla="*/ 481677 w 786911"/>
                  <a:gd name="connsiteY353" fmla="*/ 268727 h 715374"/>
                  <a:gd name="connsiteX354" fmla="*/ 480137 w 786911"/>
                  <a:gd name="connsiteY354" fmla="*/ 277701 h 715374"/>
                  <a:gd name="connsiteX355" fmla="*/ 481351 w 786911"/>
                  <a:gd name="connsiteY355" fmla="*/ 278996 h 715374"/>
                  <a:gd name="connsiteX356" fmla="*/ 490405 w 786911"/>
                  <a:gd name="connsiteY356" fmla="*/ 278027 h 715374"/>
                  <a:gd name="connsiteX357" fmla="*/ 490651 w 786911"/>
                  <a:gd name="connsiteY357" fmla="*/ 270268 h 715374"/>
                  <a:gd name="connsiteX358" fmla="*/ 523129 w 786911"/>
                  <a:gd name="connsiteY358" fmla="*/ 239650 h 715374"/>
                  <a:gd name="connsiteX359" fmla="*/ 514831 w 786911"/>
                  <a:gd name="connsiteY359" fmla="*/ 239364 h 715374"/>
                  <a:gd name="connsiteX360" fmla="*/ 514545 w 786911"/>
                  <a:gd name="connsiteY360" fmla="*/ 247663 h 715374"/>
                  <a:gd name="connsiteX361" fmla="*/ 522843 w 786911"/>
                  <a:gd name="connsiteY361" fmla="*/ 247949 h 715374"/>
                  <a:gd name="connsiteX362" fmla="*/ 523129 w 786911"/>
                  <a:gd name="connsiteY362" fmla="*/ 239650 h 715374"/>
                  <a:gd name="connsiteX363" fmla="*/ 555607 w 786911"/>
                  <a:gd name="connsiteY363" fmla="*/ 209175 h 715374"/>
                  <a:gd name="connsiteX364" fmla="*/ 548096 w 786911"/>
                  <a:gd name="connsiteY364" fmla="*/ 208961 h 715374"/>
                  <a:gd name="connsiteX365" fmla="*/ 547881 w 786911"/>
                  <a:gd name="connsiteY365" fmla="*/ 216472 h 715374"/>
                  <a:gd name="connsiteX366" fmla="*/ 555392 w 786911"/>
                  <a:gd name="connsiteY366" fmla="*/ 216687 h 715374"/>
                  <a:gd name="connsiteX367" fmla="*/ 555607 w 786911"/>
                  <a:gd name="connsiteY367" fmla="*/ 209175 h 715374"/>
                  <a:gd name="connsiteX368" fmla="*/ 588228 w 786911"/>
                  <a:gd name="connsiteY368" fmla="*/ 178701 h 715374"/>
                  <a:gd name="connsiteX369" fmla="*/ 581350 w 786911"/>
                  <a:gd name="connsiteY369" fmla="*/ 178547 h 715374"/>
                  <a:gd name="connsiteX370" fmla="*/ 581197 w 786911"/>
                  <a:gd name="connsiteY370" fmla="*/ 185425 h 715374"/>
                  <a:gd name="connsiteX371" fmla="*/ 588075 w 786911"/>
                  <a:gd name="connsiteY371" fmla="*/ 185578 h 715374"/>
                  <a:gd name="connsiteX372" fmla="*/ 588228 w 786911"/>
                  <a:gd name="connsiteY372" fmla="*/ 185425 h 715374"/>
                  <a:gd name="connsiteX373" fmla="*/ 588275 w 786911"/>
                  <a:gd name="connsiteY373" fmla="*/ 178748 h 715374"/>
                  <a:gd name="connsiteX374" fmla="*/ 588228 w 786911"/>
                  <a:gd name="connsiteY374" fmla="*/ 178701 h 715374"/>
                  <a:gd name="connsiteX375" fmla="*/ 620706 w 786911"/>
                  <a:gd name="connsiteY375" fmla="*/ 148226 h 715374"/>
                  <a:gd name="connsiteX376" fmla="*/ 614637 w 786911"/>
                  <a:gd name="connsiteY376" fmla="*/ 148165 h 715374"/>
                  <a:gd name="connsiteX377" fmla="*/ 614575 w 786911"/>
                  <a:gd name="connsiteY377" fmla="*/ 154235 h 715374"/>
                  <a:gd name="connsiteX378" fmla="*/ 620646 w 786911"/>
                  <a:gd name="connsiteY378" fmla="*/ 154295 h 715374"/>
                  <a:gd name="connsiteX379" fmla="*/ 620706 w 786911"/>
                  <a:gd name="connsiteY379" fmla="*/ 154235 h 715374"/>
                  <a:gd name="connsiteX380" fmla="*/ 620706 w 786911"/>
                  <a:gd name="connsiteY380" fmla="*/ 148226 h 715374"/>
                  <a:gd name="connsiteX381" fmla="*/ 653184 w 786911"/>
                  <a:gd name="connsiteY381" fmla="*/ 117751 h 715374"/>
                  <a:gd name="connsiteX382" fmla="*/ 648132 w 786911"/>
                  <a:gd name="connsiteY382" fmla="*/ 117991 h 715374"/>
                  <a:gd name="connsiteX383" fmla="*/ 648372 w 786911"/>
                  <a:gd name="connsiteY383" fmla="*/ 123044 h 715374"/>
                  <a:gd name="connsiteX384" fmla="*/ 653184 w 786911"/>
                  <a:gd name="connsiteY384" fmla="*/ 123044 h 715374"/>
                  <a:gd name="connsiteX385" fmla="*/ 653184 w 786911"/>
                  <a:gd name="connsiteY385" fmla="*/ 117751 h 715374"/>
                  <a:gd name="connsiteX386" fmla="*/ 686091 w 786911"/>
                  <a:gd name="connsiteY386" fmla="*/ 88420 h 715374"/>
                  <a:gd name="connsiteX387" fmla="*/ 681656 w 786911"/>
                  <a:gd name="connsiteY387" fmla="*/ 88420 h 715374"/>
                  <a:gd name="connsiteX388" fmla="*/ 681466 w 786911"/>
                  <a:gd name="connsiteY388" fmla="*/ 92665 h 715374"/>
                  <a:gd name="connsiteX389" fmla="*/ 681656 w 786911"/>
                  <a:gd name="connsiteY389" fmla="*/ 92856 h 715374"/>
                  <a:gd name="connsiteX390" fmla="*/ 686091 w 786911"/>
                  <a:gd name="connsiteY390" fmla="*/ 92856 h 715374"/>
                  <a:gd name="connsiteX391" fmla="*/ 686091 w 786911"/>
                  <a:gd name="connsiteY391" fmla="*/ 88420 h 715374"/>
                  <a:gd name="connsiteX392" fmla="*/ 718569 w 786911"/>
                  <a:gd name="connsiteY392" fmla="*/ 57945 h 715374"/>
                  <a:gd name="connsiteX393" fmla="*/ 714849 w 786911"/>
                  <a:gd name="connsiteY393" fmla="*/ 57945 h 715374"/>
                  <a:gd name="connsiteX394" fmla="*/ 714849 w 786911"/>
                  <a:gd name="connsiteY394" fmla="*/ 61665 h 715374"/>
                  <a:gd name="connsiteX395" fmla="*/ 718569 w 786911"/>
                  <a:gd name="connsiteY395" fmla="*/ 61808 h 715374"/>
                  <a:gd name="connsiteX396" fmla="*/ 718712 w 786911"/>
                  <a:gd name="connsiteY396" fmla="*/ 58088 h 715374"/>
                  <a:gd name="connsiteX397" fmla="*/ 367750 w 786911"/>
                  <a:gd name="connsiteY397" fmla="*/ 425218 h 715374"/>
                  <a:gd name="connsiteX398" fmla="*/ 379081 w 786911"/>
                  <a:gd name="connsiteY398" fmla="*/ 425247 h 715374"/>
                  <a:gd name="connsiteX399" fmla="*/ 379109 w 786911"/>
                  <a:gd name="connsiteY399" fmla="*/ 413915 h 715374"/>
                  <a:gd name="connsiteX400" fmla="*/ 367778 w 786911"/>
                  <a:gd name="connsiteY400" fmla="*/ 413887 h 715374"/>
                  <a:gd name="connsiteX401" fmla="*/ 367750 w 786911"/>
                  <a:gd name="connsiteY401" fmla="*/ 413915 h 715374"/>
                  <a:gd name="connsiteX402" fmla="*/ 367750 w 786911"/>
                  <a:gd name="connsiteY402" fmla="*/ 425218 h 715374"/>
                  <a:gd name="connsiteX403" fmla="*/ 335701 w 786911"/>
                  <a:gd name="connsiteY403" fmla="*/ 455693 h 715374"/>
                  <a:gd name="connsiteX404" fmla="*/ 346217 w 786911"/>
                  <a:gd name="connsiteY404" fmla="*/ 456051 h 715374"/>
                  <a:gd name="connsiteX405" fmla="*/ 346575 w 786911"/>
                  <a:gd name="connsiteY405" fmla="*/ 445535 h 715374"/>
                  <a:gd name="connsiteX406" fmla="*/ 335987 w 786911"/>
                  <a:gd name="connsiteY406" fmla="*/ 445535 h 715374"/>
                  <a:gd name="connsiteX407" fmla="*/ 335921 w 786911"/>
                  <a:gd name="connsiteY407" fmla="*/ 456057 h 715374"/>
                  <a:gd name="connsiteX408" fmla="*/ 335987 w 786911"/>
                  <a:gd name="connsiteY408" fmla="*/ 456123 h 715374"/>
                  <a:gd name="connsiteX409" fmla="*/ 302651 w 786911"/>
                  <a:gd name="connsiteY409" fmla="*/ 486168 h 715374"/>
                  <a:gd name="connsiteX410" fmla="*/ 312523 w 786911"/>
                  <a:gd name="connsiteY410" fmla="*/ 486168 h 715374"/>
                  <a:gd name="connsiteX411" fmla="*/ 312523 w 786911"/>
                  <a:gd name="connsiteY411" fmla="*/ 476296 h 715374"/>
                  <a:gd name="connsiteX412" fmla="*/ 302794 w 786911"/>
                  <a:gd name="connsiteY412" fmla="*/ 476296 h 715374"/>
                  <a:gd name="connsiteX413" fmla="*/ 302777 w 786911"/>
                  <a:gd name="connsiteY413" fmla="*/ 486008 h 715374"/>
                  <a:gd name="connsiteX414" fmla="*/ 302794 w 786911"/>
                  <a:gd name="connsiteY414" fmla="*/ 486025 h 715374"/>
                  <a:gd name="connsiteX415" fmla="*/ 270316 w 786911"/>
                  <a:gd name="connsiteY415" fmla="*/ 516500 h 715374"/>
                  <a:gd name="connsiteX416" fmla="*/ 279290 w 786911"/>
                  <a:gd name="connsiteY416" fmla="*/ 518041 h 715374"/>
                  <a:gd name="connsiteX417" fmla="*/ 280830 w 786911"/>
                  <a:gd name="connsiteY417" fmla="*/ 509067 h 715374"/>
                  <a:gd name="connsiteX418" fmla="*/ 279616 w 786911"/>
                  <a:gd name="connsiteY418" fmla="*/ 507773 h 715374"/>
                  <a:gd name="connsiteX419" fmla="*/ 270642 w 786911"/>
                  <a:gd name="connsiteY419" fmla="*/ 506232 h 715374"/>
                  <a:gd name="connsiteX420" fmla="*/ 269101 w 786911"/>
                  <a:gd name="connsiteY420" fmla="*/ 515205 h 715374"/>
                  <a:gd name="connsiteX421" fmla="*/ 270316 w 786911"/>
                  <a:gd name="connsiteY421" fmla="*/ 516500 h 715374"/>
                  <a:gd name="connsiteX422" fmla="*/ 237838 w 786911"/>
                  <a:gd name="connsiteY422" fmla="*/ 547118 h 715374"/>
                  <a:gd name="connsiteX423" fmla="*/ 246136 w 786911"/>
                  <a:gd name="connsiteY423" fmla="*/ 547404 h 715374"/>
                  <a:gd name="connsiteX424" fmla="*/ 246422 w 786911"/>
                  <a:gd name="connsiteY424" fmla="*/ 539106 h 715374"/>
                  <a:gd name="connsiteX425" fmla="*/ 238124 w 786911"/>
                  <a:gd name="connsiteY425" fmla="*/ 538820 h 715374"/>
                  <a:gd name="connsiteX426" fmla="*/ 237838 w 786911"/>
                  <a:gd name="connsiteY426" fmla="*/ 547118 h 715374"/>
                  <a:gd name="connsiteX427" fmla="*/ 205217 w 786911"/>
                  <a:gd name="connsiteY427" fmla="*/ 577736 h 715374"/>
                  <a:gd name="connsiteX428" fmla="*/ 212728 w 786911"/>
                  <a:gd name="connsiteY428" fmla="*/ 577951 h 715374"/>
                  <a:gd name="connsiteX429" fmla="*/ 212943 w 786911"/>
                  <a:gd name="connsiteY429" fmla="*/ 570439 h 715374"/>
                  <a:gd name="connsiteX430" fmla="*/ 205431 w 786911"/>
                  <a:gd name="connsiteY430" fmla="*/ 570225 h 715374"/>
                  <a:gd name="connsiteX431" fmla="*/ 205217 w 786911"/>
                  <a:gd name="connsiteY431" fmla="*/ 577736 h 715374"/>
                  <a:gd name="connsiteX432" fmla="*/ 172596 w 786911"/>
                  <a:gd name="connsiteY432" fmla="*/ 608211 h 715374"/>
                  <a:gd name="connsiteX433" fmla="*/ 179473 w 786911"/>
                  <a:gd name="connsiteY433" fmla="*/ 608364 h 715374"/>
                  <a:gd name="connsiteX434" fmla="*/ 179626 w 786911"/>
                  <a:gd name="connsiteY434" fmla="*/ 601487 h 715374"/>
                  <a:gd name="connsiteX435" fmla="*/ 172749 w 786911"/>
                  <a:gd name="connsiteY435" fmla="*/ 601333 h 715374"/>
                  <a:gd name="connsiteX436" fmla="*/ 172596 w 786911"/>
                  <a:gd name="connsiteY436" fmla="*/ 601487 h 715374"/>
                  <a:gd name="connsiteX437" fmla="*/ 172549 w 786911"/>
                  <a:gd name="connsiteY437" fmla="*/ 608164 h 715374"/>
                  <a:gd name="connsiteX438" fmla="*/ 172596 w 786911"/>
                  <a:gd name="connsiteY438" fmla="*/ 608211 h 715374"/>
                  <a:gd name="connsiteX439" fmla="*/ 140118 w 786911"/>
                  <a:gd name="connsiteY439" fmla="*/ 638686 h 715374"/>
                  <a:gd name="connsiteX440" fmla="*/ 146187 w 786911"/>
                  <a:gd name="connsiteY440" fmla="*/ 638746 h 715374"/>
                  <a:gd name="connsiteX441" fmla="*/ 146249 w 786911"/>
                  <a:gd name="connsiteY441" fmla="*/ 632677 h 715374"/>
                  <a:gd name="connsiteX442" fmla="*/ 140178 w 786911"/>
                  <a:gd name="connsiteY442" fmla="*/ 632617 h 715374"/>
                  <a:gd name="connsiteX443" fmla="*/ 140118 w 786911"/>
                  <a:gd name="connsiteY443" fmla="*/ 632677 h 715374"/>
                  <a:gd name="connsiteX444" fmla="*/ 140118 w 786911"/>
                  <a:gd name="connsiteY444" fmla="*/ 638686 h 715374"/>
                  <a:gd name="connsiteX445" fmla="*/ 107640 w 786911"/>
                  <a:gd name="connsiteY445" fmla="*/ 669161 h 715374"/>
                  <a:gd name="connsiteX446" fmla="*/ 112693 w 786911"/>
                  <a:gd name="connsiteY446" fmla="*/ 668921 h 715374"/>
                  <a:gd name="connsiteX447" fmla="*/ 112451 w 786911"/>
                  <a:gd name="connsiteY447" fmla="*/ 663867 h 715374"/>
                  <a:gd name="connsiteX448" fmla="*/ 107640 w 786911"/>
                  <a:gd name="connsiteY448" fmla="*/ 663867 h 715374"/>
                  <a:gd name="connsiteX449" fmla="*/ 107640 w 786911"/>
                  <a:gd name="connsiteY449" fmla="*/ 669161 h 715374"/>
                  <a:gd name="connsiteX450" fmla="*/ 387208 w 786911"/>
                  <a:gd name="connsiteY450" fmla="*/ 446107 h 715374"/>
                  <a:gd name="connsiteX451" fmla="*/ 398511 w 786911"/>
                  <a:gd name="connsiteY451" fmla="*/ 446107 h 715374"/>
                  <a:gd name="connsiteX452" fmla="*/ 398511 w 786911"/>
                  <a:gd name="connsiteY452" fmla="*/ 434661 h 715374"/>
                  <a:gd name="connsiteX453" fmla="*/ 387208 w 786911"/>
                  <a:gd name="connsiteY453" fmla="*/ 434661 h 715374"/>
                  <a:gd name="connsiteX454" fmla="*/ 387032 w 786911"/>
                  <a:gd name="connsiteY454" fmla="*/ 445788 h 715374"/>
                  <a:gd name="connsiteX455" fmla="*/ 387208 w 786911"/>
                  <a:gd name="connsiteY455" fmla="*/ 445964 h 715374"/>
                  <a:gd name="connsiteX456" fmla="*/ 354587 w 786911"/>
                  <a:gd name="connsiteY456" fmla="*/ 476439 h 715374"/>
                  <a:gd name="connsiteX457" fmla="*/ 365109 w 786911"/>
                  <a:gd name="connsiteY457" fmla="*/ 476505 h 715374"/>
                  <a:gd name="connsiteX458" fmla="*/ 365174 w 786911"/>
                  <a:gd name="connsiteY458" fmla="*/ 476439 h 715374"/>
                  <a:gd name="connsiteX459" fmla="*/ 365174 w 786911"/>
                  <a:gd name="connsiteY459" fmla="*/ 465852 h 715374"/>
                  <a:gd name="connsiteX460" fmla="*/ 354478 w 786911"/>
                  <a:gd name="connsiteY460" fmla="*/ 466616 h 715374"/>
                  <a:gd name="connsiteX461" fmla="*/ 354158 w 786911"/>
                  <a:gd name="connsiteY461" fmla="*/ 476153 h 715374"/>
                  <a:gd name="connsiteX462" fmla="*/ 321680 w 786911"/>
                  <a:gd name="connsiteY462" fmla="*/ 506628 h 715374"/>
                  <a:gd name="connsiteX463" fmla="*/ 331390 w 786911"/>
                  <a:gd name="connsiteY463" fmla="*/ 506790 h 715374"/>
                  <a:gd name="connsiteX464" fmla="*/ 331552 w 786911"/>
                  <a:gd name="connsiteY464" fmla="*/ 506628 h 715374"/>
                  <a:gd name="connsiteX465" fmla="*/ 330968 w 786911"/>
                  <a:gd name="connsiteY465" fmla="*/ 496730 h 715374"/>
                  <a:gd name="connsiteX466" fmla="*/ 321966 w 786911"/>
                  <a:gd name="connsiteY466" fmla="*/ 496470 h 715374"/>
                  <a:gd name="connsiteX467" fmla="*/ 321966 w 786911"/>
                  <a:gd name="connsiteY467" fmla="*/ 506342 h 715374"/>
                  <a:gd name="connsiteX468" fmla="*/ 289488 w 786911"/>
                  <a:gd name="connsiteY468" fmla="*/ 536817 h 715374"/>
                  <a:gd name="connsiteX469" fmla="*/ 298593 w 786911"/>
                  <a:gd name="connsiteY469" fmla="*/ 536908 h 715374"/>
                  <a:gd name="connsiteX470" fmla="*/ 298683 w 786911"/>
                  <a:gd name="connsiteY470" fmla="*/ 527803 h 715374"/>
                  <a:gd name="connsiteX471" fmla="*/ 289579 w 786911"/>
                  <a:gd name="connsiteY471" fmla="*/ 527711 h 715374"/>
                  <a:gd name="connsiteX472" fmla="*/ 289488 w 786911"/>
                  <a:gd name="connsiteY472" fmla="*/ 527803 h 715374"/>
                  <a:gd name="connsiteX473" fmla="*/ 289376 w 786911"/>
                  <a:gd name="connsiteY473" fmla="*/ 536705 h 715374"/>
                  <a:gd name="connsiteX474" fmla="*/ 289488 w 786911"/>
                  <a:gd name="connsiteY474" fmla="*/ 536817 h 715374"/>
                  <a:gd name="connsiteX475" fmla="*/ 257010 w 786911"/>
                  <a:gd name="connsiteY475" fmla="*/ 567864 h 715374"/>
                  <a:gd name="connsiteX476" fmla="*/ 265305 w 786911"/>
                  <a:gd name="connsiteY476" fmla="*/ 567867 h 715374"/>
                  <a:gd name="connsiteX477" fmla="*/ 265308 w 786911"/>
                  <a:gd name="connsiteY477" fmla="*/ 567864 h 715374"/>
                  <a:gd name="connsiteX478" fmla="*/ 265516 w 786911"/>
                  <a:gd name="connsiteY478" fmla="*/ 559773 h 715374"/>
                  <a:gd name="connsiteX479" fmla="*/ 265308 w 786911"/>
                  <a:gd name="connsiteY479" fmla="*/ 559566 h 715374"/>
                  <a:gd name="connsiteX480" fmla="*/ 257010 w 786911"/>
                  <a:gd name="connsiteY480" fmla="*/ 559279 h 715374"/>
                  <a:gd name="connsiteX481" fmla="*/ 256724 w 786911"/>
                  <a:gd name="connsiteY481" fmla="*/ 567578 h 715374"/>
                  <a:gd name="connsiteX482" fmla="*/ 224246 w 786911"/>
                  <a:gd name="connsiteY482" fmla="*/ 598053 h 715374"/>
                  <a:gd name="connsiteX483" fmla="*/ 231731 w 786911"/>
                  <a:gd name="connsiteY483" fmla="*/ 598100 h 715374"/>
                  <a:gd name="connsiteX484" fmla="*/ 231779 w 786911"/>
                  <a:gd name="connsiteY484" fmla="*/ 590613 h 715374"/>
                  <a:gd name="connsiteX485" fmla="*/ 224292 w 786911"/>
                  <a:gd name="connsiteY485" fmla="*/ 590567 h 715374"/>
                  <a:gd name="connsiteX486" fmla="*/ 224246 w 786911"/>
                  <a:gd name="connsiteY486" fmla="*/ 590613 h 715374"/>
                  <a:gd name="connsiteX487" fmla="*/ 224246 w 786911"/>
                  <a:gd name="connsiteY487" fmla="*/ 598053 h 715374"/>
                  <a:gd name="connsiteX488" fmla="*/ 192626 w 786911"/>
                  <a:gd name="connsiteY488" fmla="*/ 628814 h 715374"/>
                  <a:gd name="connsiteX489" fmla="*/ 199304 w 786911"/>
                  <a:gd name="connsiteY489" fmla="*/ 628767 h 715374"/>
                  <a:gd name="connsiteX490" fmla="*/ 199256 w 786911"/>
                  <a:gd name="connsiteY490" fmla="*/ 622089 h 715374"/>
                  <a:gd name="connsiteX491" fmla="*/ 192626 w 786911"/>
                  <a:gd name="connsiteY491" fmla="*/ 622089 h 715374"/>
                  <a:gd name="connsiteX492" fmla="*/ 192579 w 786911"/>
                  <a:gd name="connsiteY492" fmla="*/ 628767 h 715374"/>
                  <a:gd name="connsiteX493" fmla="*/ 192626 w 786911"/>
                  <a:gd name="connsiteY493" fmla="*/ 628814 h 715374"/>
                  <a:gd name="connsiteX494" fmla="*/ 159576 w 786911"/>
                  <a:gd name="connsiteY494" fmla="*/ 659289 h 715374"/>
                  <a:gd name="connsiteX495" fmla="*/ 165442 w 786911"/>
                  <a:gd name="connsiteY495" fmla="*/ 659289 h 715374"/>
                  <a:gd name="connsiteX496" fmla="*/ 165442 w 786911"/>
                  <a:gd name="connsiteY496" fmla="*/ 653280 h 715374"/>
                  <a:gd name="connsiteX497" fmla="*/ 159576 w 786911"/>
                  <a:gd name="connsiteY497" fmla="*/ 653137 h 715374"/>
                  <a:gd name="connsiteX498" fmla="*/ 159433 w 786911"/>
                  <a:gd name="connsiteY498" fmla="*/ 653280 h 715374"/>
                  <a:gd name="connsiteX499" fmla="*/ 159228 w 786911"/>
                  <a:gd name="connsiteY499" fmla="*/ 658941 h 715374"/>
                  <a:gd name="connsiteX500" fmla="*/ 159433 w 786911"/>
                  <a:gd name="connsiteY500" fmla="*/ 659146 h 715374"/>
                  <a:gd name="connsiteX501" fmla="*/ 126955 w 786911"/>
                  <a:gd name="connsiteY501" fmla="*/ 689334 h 715374"/>
                  <a:gd name="connsiteX502" fmla="*/ 132214 w 786911"/>
                  <a:gd name="connsiteY502" fmla="*/ 689443 h 715374"/>
                  <a:gd name="connsiteX503" fmla="*/ 132323 w 786911"/>
                  <a:gd name="connsiteY503" fmla="*/ 684184 h 715374"/>
                  <a:gd name="connsiteX504" fmla="*/ 127064 w 786911"/>
                  <a:gd name="connsiteY504" fmla="*/ 684075 h 715374"/>
                  <a:gd name="connsiteX505" fmla="*/ 126955 w 786911"/>
                  <a:gd name="connsiteY505" fmla="*/ 684184 h 715374"/>
                  <a:gd name="connsiteX506" fmla="*/ 126955 w 786911"/>
                  <a:gd name="connsiteY506" fmla="*/ 689334 h 715374"/>
                  <a:gd name="connsiteX507" fmla="*/ 407238 w 786911"/>
                  <a:gd name="connsiteY507" fmla="*/ 466710 h 715374"/>
                  <a:gd name="connsiteX508" fmla="*/ 418541 w 786911"/>
                  <a:gd name="connsiteY508" fmla="*/ 466710 h 715374"/>
                  <a:gd name="connsiteX509" fmla="*/ 418300 w 786911"/>
                  <a:gd name="connsiteY509" fmla="*/ 455381 h 715374"/>
                  <a:gd name="connsiteX510" fmla="*/ 407668 w 786911"/>
                  <a:gd name="connsiteY510" fmla="*/ 454978 h 715374"/>
                  <a:gd name="connsiteX511" fmla="*/ 407668 w 786911"/>
                  <a:gd name="connsiteY511" fmla="*/ 466424 h 715374"/>
                  <a:gd name="connsiteX512" fmla="*/ 375190 w 786911"/>
                  <a:gd name="connsiteY512" fmla="*/ 496899 h 715374"/>
                  <a:gd name="connsiteX513" fmla="*/ 385711 w 786911"/>
                  <a:gd name="connsiteY513" fmla="*/ 496833 h 715374"/>
                  <a:gd name="connsiteX514" fmla="*/ 385646 w 786911"/>
                  <a:gd name="connsiteY514" fmla="*/ 486311 h 715374"/>
                  <a:gd name="connsiteX515" fmla="*/ 375190 w 786911"/>
                  <a:gd name="connsiteY515" fmla="*/ 486311 h 715374"/>
                  <a:gd name="connsiteX516" fmla="*/ 375124 w 786911"/>
                  <a:gd name="connsiteY516" fmla="*/ 496833 h 715374"/>
                  <a:gd name="connsiteX517" fmla="*/ 375190 w 786911"/>
                  <a:gd name="connsiteY517" fmla="*/ 496899 h 715374"/>
                  <a:gd name="connsiteX518" fmla="*/ 341567 w 786911"/>
                  <a:gd name="connsiteY518" fmla="*/ 527660 h 715374"/>
                  <a:gd name="connsiteX519" fmla="*/ 351296 w 786911"/>
                  <a:gd name="connsiteY519" fmla="*/ 527660 h 715374"/>
                  <a:gd name="connsiteX520" fmla="*/ 351458 w 786911"/>
                  <a:gd name="connsiteY520" fmla="*/ 517949 h 715374"/>
                  <a:gd name="connsiteX521" fmla="*/ 351296 w 786911"/>
                  <a:gd name="connsiteY521" fmla="*/ 517788 h 715374"/>
                  <a:gd name="connsiteX522" fmla="*/ 341567 w 786911"/>
                  <a:gd name="connsiteY522" fmla="*/ 517788 h 715374"/>
                  <a:gd name="connsiteX523" fmla="*/ 341405 w 786911"/>
                  <a:gd name="connsiteY523" fmla="*/ 527498 h 715374"/>
                  <a:gd name="connsiteX524" fmla="*/ 341567 w 786911"/>
                  <a:gd name="connsiteY524" fmla="*/ 527660 h 715374"/>
                  <a:gd name="connsiteX525" fmla="*/ 308946 w 786911"/>
                  <a:gd name="connsiteY525" fmla="*/ 558135 h 715374"/>
                  <a:gd name="connsiteX526" fmla="*/ 317848 w 786911"/>
                  <a:gd name="connsiteY526" fmla="*/ 558246 h 715374"/>
                  <a:gd name="connsiteX527" fmla="*/ 317960 w 786911"/>
                  <a:gd name="connsiteY527" fmla="*/ 558135 h 715374"/>
                  <a:gd name="connsiteX528" fmla="*/ 319501 w 786911"/>
                  <a:gd name="connsiteY528" fmla="*/ 549161 h 715374"/>
                  <a:gd name="connsiteX529" fmla="*/ 310527 w 786911"/>
                  <a:gd name="connsiteY529" fmla="*/ 547620 h 715374"/>
                  <a:gd name="connsiteX530" fmla="*/ 309232 w 786911"/>
                  <a:gd name="connsiteY530" fmla="*/ 548835 h 715374"/>
                  <a:gd name="connsiteX531" fmla="*/ 309121 w 786911"/>
                  <a:gd name="connsiteY531" fmla="*/ 557737 h 715374"/>
                  <a:gd name="connsiteX532" fmla="*/ 309232 w 786911"/>
                  <a:gd name="connsiteY532" fmla="*/ 557849 h 715374"/>
                  <a:gd name="connsiteX533" fmla="*/ 276468 w 786911"/>
                  <a:gd name="connsiteY533" fmla="*/ 589182 h 715374"/>
                  <a:gd name="connsiteX534" fmla="*/ 284766 w 786911"/>
                  <a:gd name="connsiteY534" fmla="*/ 589468 h 715374"/>
                  <a:gd name="connsiteX535" fmla="*/ 285053 w 786911"/>
                  <a:gd name="connsiteY535" fmla="*/ 581170 h 715374"/>
                  <a:gd name="connsiteX536" fmla="*/ 276754 w 786911"/>
                  <a:gd name="connsiteY536" fmla="*/ 580884 h 715374"/>
                  <a:gd name="connsiteX537" fmla="*/ 276468 w 786911"/>
                  <a:gd name="connsiteY537" fmla="*/ 589182 h 715374"/>
                  <a:gd name="connsiteX538" fmla="*/ 243990 w 786911"/>
                  <a:gd name="connsiteY538" fmla="*/ 619657 h 715374"/>
                  <a:gd name="connsiteX539" fmla="*/ 251430 w 786911"/>
                  <a:gd name="connsiteY539" fmla="*/ 619657 h 715374"/>
                  <a:gd name="connsiteX540" fmla="*/ 251675 w 786911"/>
                  <a:gd name="connsiteY540" fmla="*/ 611973 h 715374"/>
                  <a:gd name="connsiteX541" fmla="*/ 243990 w 786911"/>
                  <a:gd name="connsiteY541" fmla="*/ 611726 h 715374"/>
                  <a:gd name="connsiteX542" fmla="*/ 243745 w 786911"/>
                  <a:gd name="connsiteY542" fmla="*/ 619412 h 715374"/>
                  <a:gd name="connsiteX543" fmla="*/ 243990 w 786911"/>
                  <a:gd name="connsiteY543" fmla="*/ 619657 h 715374"/>
                  <a:gd name="connsiteX544" fmla="*/ 211369 w 786911"/>
                  <a:gd name="connsiteY544" fmla="*/ 650132 h 715374"/>
                  <a:gd name="connsiteX545" fmla="*/ 218237 w 786911"/>
                  <a:gd name="connsiteY545" fmla="*/ 650132 h 715374"/>
                  <a:gd name="connsiteX546" fmla="*/ 218380 w 786911"/>
                  <a:gd name="connsiteY546" fmla="*/ 643407 h 715374"/>
                  <a:gd name="connsiteX547" fmla="*/ 211655 w 786911"/>
                  <a:gd name="connsiteY547" fmla="*/ 643264 h 715374"/>
                  <a:gd name="connsiteX548" fmla="*/ 211655 w 786911"/>
                  <a:gd name="connsiteY548" fmla="*/ 649989 h 715374"/>
                  <a:gd name="connsiteX549" fmla="*/ 178319 w 786911"/>
                  <a:gd name="connsiteY549" fmla="*/ 680035 h 715374"/>
                  <a:gd name="connsiteX550" fmla="*/ 184328 w 786911"/>
                  <a:gd name="connsiteY550" fmla="*/ 680035 h 715374"/>
                  <a:gd name="connsiteX551" fmla="*/ 184328 w 786911"/>
                  <a:gd name="connsiteY551" fmla="*/ 674169 h 715374"/>
                  <a:gd name="connsiteX552" fmla="*/ 178319 w 786911"/>
                  <a:gd name="connsiteY552" fmla="*/ 674169 h 715374"/>
                  <a:gd name="connsiteX553" fmla="*/ 178319 w 786911"/>
                  <a:gd name="connsiteY553" fmla="*/ 680178 h 715374"/>
                  <a:gd name="connsiteX554" fmla="*/ 145841 w 786911"/>
                  <a:gd name="connsiteY554" fmla="*/ 710653 h 715374"/>
                  <a:gd name="connsiteX555" fmla="*/ 150898 w 786911"/>
                  <a:gd name="connsiteY555" fmla="*/ 710746 h 715374"/>
                  <a:gd name="connsiteX556" fmla="*/ 150991 w 786911"/>
                  <a:gd name="connsiteY556" fmla="*/ 710653 h 715374"/>
                  <a:gd name="connsiteX557" fmla="*/ 151135 w 786911"/>
                  <a:gd name="connsiteY557" fmla="*/ 705502 h 715374"/>
                  <a:gd name="connsiteX558" fmla="*/ 145984 w 786911"/>
                  <a:gd name="connsiteY558" fmla="*/ 705359 h 715374"/>
                  <a:gd name="connsiteX559" fmla="*/ 145891 w 786911"/>
                  <a:gd name="connsiteY559" fmla="*/ 710417 h 715374"/>
                  <a:gd name="connsiteX560" fmla="*/ 145984 w 786911"/>
                  <a:gd name="connsiteY560" fmla="*/ 710510 h 715374"/>
                  <a:gd name="connsiteX561" fmla="*/ 309518 w 786911"/>
                  <a:gd name="connsiteY561" fmla="*/ 363124 h 715374"/>
                  <a:gd name="connsiteX562" fmla="*/ 320850 w 786911"/>
                  <a:gd name="connsiteY562" fmla="*/ 363153 h 715374"/>
                  <a:gd name="connsiteX563" fmla="*/ 320877 w 786911"/>
                  <a:gd name="connsiteY563" fmla="*/ 351821 h 715374"/>
                  <a:gd name="connsiteX564" fmla="*/ 309547 w 786911"/>
                  <a:gd name="connsiteY564" fmla="*/ 351792 h 715374"/>
                  <a:gd name="connsiteX565" fmla="*/ 309518 w 786911"/>
                  <a:gd name="connsiteY565" fmla="*/ 351821 h 715374"/>
                  <a:gd name="connsiteX566" fmla="*/ 309518 w 786911"/>
                  <a:gd name="connsiteY566" fmla="*/ 363124 h 715374"/>
                  <a:gd name="connsiteX567" fmla="*/ 277040 w 786911"/>
                  <a:gd name="connsiteY567" fmla="*/ 393599 h 715374"/>
                  <a:gd name="connsiteX568" fmla="*/ 287356 w 786911"/>
                  <a:gd name="connsiteY568" fmla="*/ 393871 h 715374"/>
                  <a:gd name="connsiteX569" fmla="*/ 287628 w 786911"/>
                  <a:gd name="connsiteY569" fmla="*/ 393599 h 715374"/>
                  <a:gd name="connsiteX570" fmla="*/ 287914 w 786911"/>
                  <a:gd name="connsiteY570" fmla="*/ 383011 h 715374"/>
                  <a:gd name="connsiteX571" fmla="*/ 277327 w 786911"/>
                  <a:gd name="connsiteY571" fmla="*/ 382725 h 715374"/>
                  <a:gd name="connsiteX572" fmla="*/ 277201 w 786911"/>
                  <a:gd name="connsiteY572" fmla="*/ 393044 h 715374"/>
                  <a:gd name="connsiteX573" fmla="*/ 277327 w 786911"/>
                  <a:gd name="connsiteY573" fmla="*/ 393170 h 715374"/>
                  <a:gd name="connsiteX574" fmla="*/ 244849 w 786911"/>
                  <a:gd name="connsiteY574" fmla="*/ 423788 h 715374"/>
                  <a:gd name="connsiteX575" fmla="*/ 254578 w 786911"/>
                  <a:gd name="connsiteY575" fmla="*/ 423788 h 715374"/>
                  <a:gd name="connsiteX576" fmla="*/ 254739 w 786911"/>
                  <a:gd name="connsiteY576" fmla="*/ 414077 h 715374"/>
                  <a:gd name="connsiteX577" fmla="*/ 254578 w 786911"/>
                  <a:gd name="connsiteY577" fmla="*/ 413915 h 715374"/>
                  <a:gd name="connsiteX578" fmla="*/ 244849 w 786911"/>
                  <a:gd name="connsiteY578" fmla="*/ 413915 h 715374"/>
                  <a:gd name="connsiteX579" fmla="*/ 244687 w 786911"/>
                  <a:gd name="connsiteY579" fmla="*/ 423626 h 715374"/>
                  <a:gd name="connsiteX580" fmla="*/ 244849 w 786911"/>
                  <a:gd name="connsiteY580" fmla="*/ 423788 h 715374"/>
                  <a:gd name="connsiteX581" fmla="*/ 211941 w 786911"/>
                  <a:gd name="connsiteY581" fmla="*/ 454692 h 715374"/>
                  <a:gd name="connsiteX582" fmla="*/ 220816 w 786911"/>
                  <a:gd name="connsiteY582" fmla="*/ 456726 h 715374"/>
                  <a:gd name="connsiteX583" fmla="*/ 222851 w 786911"/>
                  <a:gd name="connsiteY583" fmla="*/ 447851 h 715374"/>
                  <a:gd name="connsiteX584" fmla="*/ 221241 w 786911"/>
                  <a:gd name="connsiteY584" fmla="*/ 446107 h 715374"/>
                  <a:gd name="connsiteX585" fmla="*/ 212084 w 786911"/>
                  <a:gd name="connsiteY585" fmla="*/ 445821 h 715374"/>
                  <a:gd name="connsiteX586" fmla="*/ 211798 w 786911"/>
                  <a:gd name="connsiteY586" fmla="*/ 454978 h 715374"/>
                  <a:gd name="connsiteX587" fmla="*/ 179320 w 786911"/>
                  <a:gd name="connsiteY587" fmla="*/ 485453 h 715374"/>
                  <a:gd name="connsiteX588" fmla="*/ 187619 w 786911"/>
                  <a:gd name="connsiteY588" fmla="*/ 485739 h 715374"/>
                  <a:gd name="connsiteX589" fmla="*/ 187905 w 786911"/>
                  <a:gd name="connsiteY589" fmla="*/ 477441 h 715374"/>
                  <a:gd name="connsiteX590" fmla="*/ 179814 w 786911"/>
                  <a:gd name="connsiteY590" fmla="*/ 477233 h 715374"/>
                  <a:gd name="connsiteX591" fmla="*/ 179606 w 786911"/>
                  <a:gd name="connsiteY591" fmla="*/ 477441 h 715374"/>
                  <a:gd name="connsiteX592" fmla="*/ 179604 w 786911"/>
                  <a:gd name="connsiteY592" fmla="*/ 485736 h 715374"/>
                  <a:gd name="connsiteX593" fmla="*/ 179606 w 786911"/>
                  <a:gd name="connsiteY593" fmla="*/ 485739 h 715374"/>
                  <a:gd name="connsiteX594" fmla="*/ 147128 w 786911"/>
                  <a:gd name="connsiteY594" fmla="*/ 516214 h 715374"/>
                  <a:gd name="connsiteX595" fmla="*/ 154640 w 786911"/>
                  <a:gd name="connsiteY595" fmla="*/ 516429 h 715374"/>
                  <a:gd name="connsiteX596" fmla="*/ 154855 w 786911"/>
                  <a:gd name="connsiteY596" fmla="*/ 508917 h 715374"/>
                  <a:gd name="connsiteX597" fmla="*/ 147272 w 786911"/>
                  <a:gd name="connsiteY597" fmla="*/ 508917 h 715374"/>
                  <a:gd name="connsiteX598" fmla="*/ 147272 w 786911"/>
                  <a:gd name="connsiteY598" fmla="*/ 516500 h 715374"/>
                  <a:gd name="connsiteX599" fmla="*/ 114507 w 786911"/>
                  <a:gd name="connsiteY599" fmla="*/ 546260 h 715374"/>
                  <a:gd name="connsiteX600" fmla="*/ 121185 w 786911"/>
                  <a:gd name="connsiteY600" fmla="*/ 546212 h 715374"/>
                  <a:gd name="connsiteX601" fmla="*/ 121137 w 786911"/>
                  <a:gd name="connsiteY601" fmla="*/ 539535 h 715374"/>
                  <a:gd name="connsiteX602" fmla="*/ 114507 w 786911"/>
                  <a:gd name="connsiteY602" fmla="*/ 539535 h 715374"/>
                  <a:gd name="connsiteX603" fmla="*/ 114460 w 786911"/>
                  <a:gd name="connsiteY603" fmla="*/ 546212 h 715374"/>
                  <a:gd name="connsiteX604" fmla="*/ 114507 w 786911"/>
                  <a:gd name="connsiteY604" fmla="*/ 546260 h 715374"/>
                  <a:gd name="connsiteX605" fmla="*/ 81886 w 786911"/>
                  <a:gd name="connsiteY605" fmla="*/ 576735 h 715374"/>
                  <a:gd name="connsiteX606" fmla="*/ 87956 w 786911"/>
                  <a:gd name="connsiteY606" fmla="*/ 576795 h 715374"/>
                  <a:gd name="connsiteX607" fmla="*/ 88017 w 786911"/>
                  <a:gd name="connsiteY607" fmla="*/ 570725 h 715374"/>
                  <a:gd name="connsiteX608" fmla="*/ 81946 w 786911"/>
                  <a:gd name="connsiteY608" fmla="*/ 570665 h 715374"/>
                  <a:gd name="connsiteX609" fmla="*/ 81886 w 786911"/>
                  <a:gd name="connsiteY609" fmla="*/ 570725 h 715374"/>
                  <a:gd name="connsiteX610" fmla="*/ 81886 w 786911"/>
                  <a:gd name="connsiteY610" fmla="*/ 576735 h 715374"/>
                  <a:gd name="connsiteX611" fmla="*/ 49551 w 786911"/>
                  <a:gd name="connsiteY611" fmla="*/ 607066 h 715374"/>
                  <a:gd name="connsiteX612" fmla="*/ 54609 w 786911"/>
                  <a:gd name="connsiteY612" fmla="*/ 607159 h 715374"/>
                  <a:gd name="connsiteX613" fmla="*/ 54702 w 786911"/>
                  <a:gd name="connsiteY613" fmla="*/ 607066 h 715374"/>
                  <a:gd name="connsiteX614" fmla="*/ 54795 w 786911"/>
                  <a:gd name="connsiteY614" fmla="*/ 602009 h 715374"/>
                  <a:gd name="connsiteX615" fmla="*/ 54702 w 786911"/>
                  <a:gd name="connsiteY615" fmla="*/ 601916 h 715374"/>
                  <a:gd name="connsiteX616" fmla="*/ 49644 w 786911"/>
                  <a:gd name="connsiteY616" fmla="*/ 601823 h 715374"/>
                  <a:gd name="connsiteX617" fmla="*/ 49551 w 786911"/>
                  <a:gd name="connsiteY617" fmla="*/ 601916 h 715374"/>
                  <a:gd name="connsiteX618" fmla="*/ 49551 w 786911"/>
                  <a:gd name="connsiteY618" fmla="*/ 607210 h 715374"/>
                  <a:gd name="connsiteX619" fmla="*/ 17073 w 786911"/>
                  <a:gd name="connsiteY619" fmla="*/ 637684 h 715374"/>
                  <a:gd name="connsiteX620" fmla="*/ 21509 w 786911"/>
                  <a:gd name="connsiteY620" fmla="*/ 637684 h 715374"/>
                  <a:gd name="connsiteX621" fmla="*/ 21509 w 786911"/>
                  <a:gd name="connsiteY621" fmla="*/ 633249 h 715374"/>
                  <a:gd name="connsiteX622" fmla="*/ 17073 w 786911"/>
                  <a:gd name="connsiteY622" fmla="*/ 633249 h 715374"/>
                  <a:gd name="connsiteX623" fmla="*/ 16883 w 786911"/>
                  <a:gd name="connsiteY623" fmla="*/ 637494 h 715374"/>
                  <a:gd name="connsiteX624" fmla="*/ 17073 w 786911"/>
                  <a:gd name="connsiteY624" fmla="*/ 637684 h 715374"/>
                  <a:gd name="connsiteX625" fmla="*/ 328977 w 786911"/>
                  <a:gd name="connsiteY625" fmla="*/ 383870 h 715374"/>
                  <a:gd name="connsiteX626" fmla="*/ 340279 w 786911"/>
                  <a:gd name="connsiteY626" fmla="*/ 383870 h 715374"/>
                  <a:gd name="connsiteX627" fmla="*/ 340279 w 786911"/>
                  <a:gd name="connsiteY627" fmla="*/ 372424 h 715374"/>
                  <a:gd name="connsiteX628" fmla="*/ 328833 w 786911"/>
                  <a:gd name="connsiteY628" fmla="*/ 372424 h 715374"/>
                  <a:gd name="connsiteX629" fmla="*/ 328833 w 786911"/>
                  <a:gd name="connsiteY629" fmla="*/ 383727 h 715374"/>
                  <a:gd name="connsiteX630" fmla="*/ 296212 w 786911"/>
                  <a:gd name="connsiteY630" fmla="*/ 414202 h 715374"/>
                  <a:gd name="connsiteX631" fmla="*/ 306734 w 786911"/>
                  <a:gd name="connsiteY631" fmla="*/ 414267 h 715374"/>
                  <a:gd name="connsiteX632" fmla="*/ 306800 w 786911"/>
                  <a:gd name="connsiteY632" fmla="*/ 414202 h 715374"/>
                  <a:gd name="connsiteX633" fmla="*/ 307158 w 786911"/>
                  <a:gd name="connsiteY633" fmla="*/ 403686 h 715374"/>
                  <a:gd name="connsiteX634" fmla="*/ 296642 w 786911"/>
                  <a:gd name="connsiteY634" fmla="*/ 403328 h 715374"/>
                  <a:gd name="connsiteX635" fmla="*/ 296642 w 786911"/>
                  <a:gd name="connsiteY635" fmla="*/ 413915 h 715374"/>
                  <a:gd name="connsiteX636" fmla="*/ 264164 w 786911"/>
                  <a:gd name="connsiteY636" fmla="*/ 444820 h 715374"/>
                  <a:gd name="connsiteX637" fmla="*/ 273874 w 786911"/>
                  <a:gd name="connsiteY637" fmla="*/ 444981 h 715374"/>
                  <a:gd name="connsiteX638" fmla="*/ 274036 w 786911"/>
                  <a:gd name="connsiteY638" fmla="*/ 444820 h 715374"/>
                  <a:gd name="connsiteX639" fmla="*/ 274036 w 786911"/>
                  <a:gd name="connsiteY639" fmla="*/ 435091 h 715374"/>
                  <a:gd name="connsiteX640" fmla="*/ 264325 w 786911"/>
                  <a:gd name="connsiteY640" fmla="*/ 434929 h 715374"/>
                  <a:gd name="connsiteX641" fmla="*/ 264164 w 786911"/>
                  <a:gd name="connsiteY641" fmla="*/ 435091 h 715374"/>
                  <a:gd name="connsiteX642" fmla="*/ 264164 w 786911"/>
                  <a:gd name="connsiteY642" fmla="*/ 444820 h 715374"/>
                  <a:gd name="connsiteX643" fmla="*/ 231400 w 786911"/>
                  <a:gd name="connsiteY643" fmla="*/ 474722 h 715374"/>
                  <a:gd name="connsiteX644" fmla="*/ 240505 w 786911"/>
                  <a:gd name="connsiteY644" fmla="*/ 474814 h 715374"/>
                  <a:gd name="connsiteX645" fmla="*/ 240595 w 786911"/>
                  <a:gd name="connsiteY645" fmla="*/ 465709 h 715374"/>
                  <a:gd name="connsiteX646" fmla="*/ 231491 w 786911"/>
                  <a:gd name="connsiteY646" fmla="*/ 465617 h 715374"/>
                  <a:gd name="connsiteX647" fmla="*/ 231400 w 786911"/>
                  <a:gd name="connsiteY647" fmla="*/ 465709 h 715374"/>
                  <a:gd name="connsiteX648" fmla="*/ 231288 w 786911"/>
                  <a:gd name="connsiteY648" fmla="*/ 474611 h 715374"/>
                  <a:gd name="connsiteX649" fmla="*/ 231400 w 786911"/>
                  <a:gd name="connsiteY649" fmla="*/ 474722 h 715374"/>
                  <a:gd name="connsiteX650" fmla="*/ 198922 w 786911"/>
                  <a:gd name="connsiteY650" fmla="*/ 505197 h 715374"/>
                  <a:gd name="connsiteX651" fmla="*/ 206808 w 786911"/>
                  <a:gd name="connsiteY651" fmla="*/ 505466 h 715374"/>
                  <a:gd name="connsiteX652" fmla="*/ 207077 w 786911"/>
                  <a:gd name="connsiteY652" fmla="*/ 505197 h 715374"/>
                  <a:gd name="connsiteX653" fmla="*/ 207284 w 786911"/>
                  <a:gd name="connsiteY653" fmla="*/ 497106 h 715374"/>
                  <a:gd name="connsiteX654" fmla="*/ 207077 w 786911"/>
                  <a:gd name="connsiteY654" fmla="*/ 496899 h 715374"/>
                  <a:gd name="connsiteX655" fmla="*/ 198922 w 786911"/>
                  <a:gd name="connsiteY655" fmla="*/ 496899 h 715374"/>
                  <a:gd name="connsiteX656" fmla="*/ 198714 w 786911"/>
                  <a:gd name="connsiteY656" fmla="*/ 504990 h 715374"/>
                  <a:gd name="connsiteX657" fmla="*/ 198922 w 786911"/>
                  <a:gd name="connsiteY657" fmla="*/ 505197 h 715374"/>
                  <a:gd name="connsiteX658" fmla="*/ 166300 w 786911"/>
                  <a:gd name="connsiteY658" fmla="*/ 536244 h 715374"/>
                  <a:gd name="connsiteX659" fmla="*/ 173883 w 786911"/>
                  <a:gd name="connsiteY659" fmla="*/ 536244 h 715374"/>
                  <a:gd name="connsiteX660" fmla="*/ 173883 w 786911"/>
                  <a:gd name="connsiteY660" fmla="*/ 528805 h 715374"/>
                  <a:gd name="connsiteX661" fmla="*/ 166300 w 786911"/>
                  <a:gd name="connsiteY661" fmla="*/ 528805 h 715374"/>
                  <a:gd name="connsiteX662" fmla="*/ 166300 w 786911"/>
                  <a:gd name="connsiteY662" fmla="*/ 536244 h 715374"/>
                  <a:gd name="connsiteX663" fmla="*/ 133822 w 786911"/>
                  <a:gd name="connsiteY663" fmla="*/ 566719 h 715374"/>
                  <a:gd name="connsiteX664" fmla="*/ 140500 w 786911"/>
                  <a:gd name="connsiteY664" fmla="*/ 566672 h 715374"/>
                  <a:gd name="connsiteX665" fmla="*/ 140453 w 786911"/>
                  <a:gd name="connsiteY665" fmla="*/ 559995 h 715374"/>
                  <a:gd name="connsiteX666" fmla="*/ 133822 w 786911"/>
                  <a:gd name="connsiteY666" fmla="*/ 559995 h 715374"/>
                  <a:gd name="connsiteX667" fmla="*/ 133775 w 786911"/>
                  <a:gd name="connsiteY667" fmla="*/ 566672 h 715374"/>
                  <a:gd name="connsiteX668" fmla="*/ 133822 w 786911"/>
                  <a:gd name="connsiteY668" fmla="*/ 566719 h 715374"/>
                  <a:gd name="connsiteX669" fmla="*/ 101345 w 786911"/>
                  <a:gd name="connsiteY669" fmla="*/ 597194 h 715374"/>
                  <a:gd name="connsiteX670" fmla="*/ 107354 w 786911"/>
                  <a:gd name="connsiteY670" fmla="*/ 597194 h 715374"/>
                  <a:gd name="connsiteX671" fmla="*/ 107354 w 786911"/>
                  <a:gd name="connsiteY671" fmla="*/ 591185 h 715374"/>
                  <a:gd name="connsiteX672" fmla="*/ 101345 w 786911"/>
                  <a:gd name="connsiteY672" fmla="*/ 591185 h 715374"/>
                  <a:gd name="connsiteX673" fmla="*/ 101345 w 786911"/>
                  <a:gd name="connsiteY673" fmla="*/ 597051 h 715374"/>
                  <a:gd name="connsiteX674" fmla="*/ 68867 w 786911"/>
                  <a:gd name="connsiteY674" fmla="*/ 627526 h 715374"/>
                  <a:gd name="connsiteX675" fmla="*/ 73924 w 786911"/>
                  <a:gd name="connsiteY675" fmla="*/ 627619 h 715374"/>
                  <a:gd name="connsiteX676" fmla="*/ 74017 w 786911"/>
                  <a:gd name="connsiteY676" fmla="*/ 627526 h 715374"/>
                  <a:gd name="connsiteX677" fmla="*/ 74017 w 786911"/>
                  <a:gd name="connsiteY677" fmla="*/ 622232 h 715374"/>
                  <a:gd name="connsiteX678" fmla="*/ 68960 w 786911"/>
                  <a:gd name="connsiteY678" fmla="*/ 622139 h 715374"/>
                  <a:gd name="connsiteX679" fmla="*/ 68867 w 786911"/>
                  <a:gd name="connsiteY679" fmla="*/ 622232 h 715374"/>
                  <a:gd name="connsiteX680" fmla="*/ 68774 w 786911"/>
                  <a:gd name="connsiteY680" fmla="*/ 627290 h 715374"/>
                  <a:gd name="connsiteX681" fmla="*/ 68867 w 786911"/>
                  <a:gd name="connsiteY681" fmla="*/ 627383 h 715374"/>
                  <a:gd name="connsiteX682" fmla="*/ 36245 w 786911"/>
                  <a:gd name="connsiteY682" fmla="*/ 658001 h 715374"/>
                  <a:gd name="connsiteX683" fmla="*/ 40681 w 786911"/>
                  <a:gd name="connsiteY683" fmla="*/ 658001 h 715374"/>
                  <a:gd name="connsiteX684" fmla="*/ 40724 w 786911"/>
                  <a:gd name="connsiteY684" fmla="*/ 653752 h 715374"/>
                  <a:gd name="connsiteX685" fmla="*/ 40681 w 786911"/>
                  <a:gd name="connsiteY685" fmla="*/ 653709 h 715374"/>
                  <a:gd name="connsiteX686" fmla="*/ 36436 w 786911"/>
                  <a:gd name="connsiteY686" fmla="*/ 653519 h 715374"/>
                  <a:gd name="connsiteX687" fmla="*/ 36245 w 786911"/>
                  <a:gd name="connsiteY687" fmla="*/ 653709 h 715374"/>
                  <a:gd name="connsiteX688" fmla="*/ 36245 w 786911"/>
                  <a:gd name="connsiteY688" fmla="*/ 658144 h 715374"/>
                  <a:gd name="connsiteX689" fmla="*/ 348292 w 786911"/>
                  <a:gd name="connsiteY689" fmla="*/ 404616 h 715374"/>
                  <a:gd name="connsiteX690" fmla="*/ 359738 w 786911"/>
                  <a:gd name="connsiteY690" fmla="*/ 404616 h 715374"/>
                  <a:gd name="connsiteX691" fmla="*/ 359738 w 786911"/>
                  <a:gd name="connsiteY691" fmla="*/ 393313 h 715374"/>
                  <a:gd name="connsiteX692" fmla="*/ 348435 w 786911"/>
                  <a:gd name="connsiteY692" fmla="*/ 393313 h 715374"/>
                  <a:gd name="connsiteX693" fmla="*/ 348435 w 786911"/>
                  <a:gd name="connsiteY693" fmla="*/ 404759 h 715374"/>
                  <a:gd name="connsiteX694" fmla="*/ 315957 w 786911"/>
                  <a:gd name="connsiteY694" fmla="*/ 435234 h 715374"/>
                  <a:gd name="connsiteX695" fmla="*/ 326478 w 786911"/>
                  <a:gd name="connsiteY695" fmla="*/ 435168 h 715374"/>
                  <a:gd name="connsiteX696" fmla="*/ 326413 w 786911"/>
                  <a:gd name="connsiteY696" fmla="*/ 424646 h 715374"/>
                  <a:gd name="connsiteX697" fmla="*/ 315957 w 786911"/>
                  <a:gd name="connsiteY697" fmla="*/ 424646 h 715374"/>
                  <a:gd name="connsiteX698" fmla="*/ 315891 w 786911"/>
                  <a:gd name="connsiteY698" fmla="*/ 435168 h 715374"/>
                  <a:gd name="connsiteX699" fmla="*/ 315957 w 786911"/>
                  <a:gd name="connsiteY699" fmla="*/ 435234 h 715374"/>
                  <a:gd name="connsiteX700" fmla="*/ 283479 w 786911"/>
                  <a:gd name="connsiteY700" fmla="*/ 465709 h 715374"/>
                  <a:gd name="connsiteX701" fmla="*/ 293377 w 786911"/>
                  <a:gd name="connsiteY701" fmla="*/ 465125 h 715374"/>
                  <a:gd name="connsiteX702" fmla="*/ 293637 w 786911"/>
                  <a:gd name="connsiteY702" fmla="*/ 456123 h 715374"/>
                  <a:gd name="connsiteX703" fmla="*/ 283765 w 786911"/>
                  <a:gd name="connsiteY703" fmla="*/ 456123 h 715374"/>
                  <a:gd name="connsiteX704" fmla="*/ 283603 w 786911"/>
                  <a:gd name="connsiteY704" fmla="*/ 465833 h 715374"/>
                  <a:gd name="connsiteX705" fmla="*/ 283765 w 786911"/>
                  <a:gd name="connsiteY705" fmla="*/ 465995 h 715374"/>
                  <a:gd name="connsiteX706" fmla="*/ 251287 w 786911"/>
                  <a:gd name="connsiteY706" fmla="*/ 496470 h 715374"/>
                  <a:gd name="connsiteX707" fmla="*/ 260392 w 786911"/>
                  <a:gd name="connsiteY707" fmla="*/ 496561 h 715374"/>
                  <a:gd name="connsiteX708" fmla="*/ 260482 w 786911"/>
                  <a:gd name="connsiteY708" fmla="*/ 487456 h 715374"/>
                  <a:gd name="connsiteX709" fmla="*/ 251378 w 786911"/>
                  <a:gd name="connsiteY709" fmla="*/ 487364 h 715374"/>
                  <a:gd name="connsiteX710" fmla="*/ 251287 w 786911"/>
                  <a:gd name="connsiteY710" fmla="*/ 487456 h 715374"/>
                  <a:gd name="connsiteX711" fmla="*/ 251175 w 786911"/>
                  <a:gd name="connsiteY711" fmla="*/ 496358 h 715374"/>
                  <a:gd name="connsiteX712" fmla="*/ 251287 w 786911"/>
                  <a:gd name="connsiteY712" fmla="*/ 496470 h 715374"/>
                  <a:gd name="connsiteX713" fmla="*/ 218666 w 786911"/>
                  <a:gd name="connsiteY713" fmla="*/ 526945 h 715374"/>
                  <a:gd name="connsiteX714" fmla="*/ 226964 w 786911"/>
                  <a:gd name="connsiteY714" fmla="*/ 526945 h 715374"/>
                  <a:gd name="connsiteX715" fmla="*/ 227250 w 786911"/>
                  <a:gd name="connsiteY715" fmla="*/ 518646 h 715374"/>
                  <a:gd name="connsiteX716" fmla="*/ 218952 w 786911"/>
                  <a:gd name="connsiteY716" fmla="*/ 518360 h 715374"/>
                  <a:gd name="connsiteX717" fmla="*/ 218952 w 786911"/>
                  <a:gd name="connsiteY717" fmla="*/ 526658 h 715374"/>
                  <a:gd name="connsiteX718" fmla="*/ 186474 w 786911"/>
                  <a:gd name="connsiteY718" fmla="*/ 557133 h 715374"/>
                  <a:gd name="connsiteX719" fmla="*/ 193914 w 786911"/>
                  <a:gd name="connsiteY719" fmla="*/ 557133 h 715374"/>
                  <a:gd name="connsiteX720" fmla="*/ 193914 w 786911"/>
                  <a:gd name="connsiteY720" fmla="*/ 549550 h 715374"/>
                  <a:gd name="connsiteX721" fmla="*/ 186474 w 786911"/>
                  <a:gd name="connsiteY721" fmla="*/ 549550 h 715374"/>
                  <a:gd name="connsiteX722" fmla="*/ 186474 w 786911"/>
                  <a:gd name="connsiteY722" fmla="*/ 557133 h 715374"/>
                  <a:gd name="connsiteX723" fmla="*/ 153996 w 786911"/>
                  <a:gd name="connsiteY723" fmla="*/ 587608 h 715374"/>
                  <a:gd name="connsiteX724" fmla="*/ 160673 w 786911"/>
                  <a:gd name="connsiteY724" fmla="*/ 587561 h 715374"/>
                  <a:gd name="connsiteX725" fmla="*/ 160626 w 786911"/>
                  <a:gd name="connsiteY725" fmla="*/ 580884 h 715374"/>
                  <a:gd name="connsiteX726" fmla="*/ 153996 w 786911"/>
                  <a:gd name="connsiteY726" fmla="*/ 580884 h 715374"/>
                  <a:gd name="connsiteX727" fmla="*/ 153949 w 786911"/>
                  <a:gd name="connsiteY727" fmla="*/ 587561 h 715374"/>
                  <a:gd name="connsiteX728" fmla="*/ 153996 w 786911"/>
                  <a:gd name="connsiteY728" fmla="*/ 587608 h 715374"/>
                  <a:gd name="connsiteX729" fmla="*/ 121089 w 786911"/>
                  <a:gd name="connsiteY729" fmla="*/ 617797 h 715374"/>
                  <a:gd name="connsiteX730" fmla="*/ 126955 w 786911"/>
                  <a:gd name="connsiteY730" fmla="*/ 617940 h 715374"/>
                  <a:gd name="connsiteX731" fmla="*/ 127098 w 786911"/>
                  <a:gd name="connsiteY731" fmla="*/ 617797 h 715374"/>
                  <a:gd name="connsiteX732" fmla="*/ 127303 w 786911"/>
                  <a:gd name="connsiteY732" fmla="*/ 612136 h 715374"/>
                  <a:gd name="connsiteX733" fmla="*/ 127098 w 786911"/>
                  <a:gd name="connsiteY733" fmla="*/ 611931 h 715374"/>
                  <a:gd name="connsiteX734" fmla="*/ 121232 w 786911"/>
                  <a:gd name="connsiteY734" fmla="*/ 611931 h 715374"/>
                  <a:gd name="connsiteX735" fmla="*/ 121089 w 786911"/>
                  <a:gd name="connsiteY735" fmla="*/ 617797 h 715374"/>
                  <a:gd name="connsiteX736" fmla="*/ 88182 w 786911"/>
                  <a:gd name="connsiteY736" fmla="*/ 648415 h 715374"/>
                  <a:gd name="connsiteX737" fmla="*/ 93428 w 786911"/>
                  <a:gd name="connsiteY737" fmla="*/ 648032 h 715374"/>
                  <a:gd name="connsiteX738" fmla="*/ 93619 w 786911"/>
                  <a:gd name="connsiteY738" fmla="*/ 643407 h 715374"/>
                  <a:gd name="connsiteX739" fmla="*/ 88325 w 786911"/>
                  <a:gd name="connsiteY739" fmla="*/ 643407 h 715374"/>
                  <a:gd name="connsiteX740" fmla="*/ 88232 w 786911"/>
                  <a:gd name="connsiteY740" fmla="*/ 648465 h 715374"/>
                  <a:gd name="connsiteX741" fmla="*/ 88325 w 786911"/>
                  <a:gd name="connsiteY741" fmla="*/ 648558 h 7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Lst>
                <a:rect l="l" t="t" r="r" b="b"/>
                <a:pathLst>
                  <a:path w="786911" h="715374">
                    <a:moveTo>
                      <a:pt x="412818" y="383011"/>
                    </a:moveTo>
                    <a:cubicBezTo>
                      <a:pt x="415946" y="386186"/>
                      <a:pt x="415946" y="391282"/>
                      <a:pt x="412818" y="394457"/>
                    </a:cubicBezTo>
                    <a:cubicBezTo>
                      <a:pt x="409692" y="397568"/>
                      <a:pt x="404642" y="397568"/>
                      <a:pt x="401515" y="394457"/>
                    </a:cubicBezTo>
                    <a:cubicBezTo>
                      <a:pt x="398405" y="391331"/>
                      <a:pt x="398405" y="386281"/>
                      <a:pt x="401515" y="383154"/>
                    </a:cubicBezTo>
                    <a:cubicBezTo>
                      <a:pt x="404720" y="380103"/>
                      <a:pt x="409757" y="380103"/>
                      <a:pt x="412961" y="383154"/>
                    </a:cubicBezTo>
                    <a:moveTo>
                      <a:pt x="445439" y="352679"/>
                    </a:moveTo>
                    <a:cubicBezTo>
                      <a:pt x="442516" y="349792"/>
                      <a:pt x="437805" y="349822"/>
                      <a:pt x="434918" y="352745"/>
                    </a:cubicBezTo>
                    <a:cubicBezTo>
                      <a:pt x="432031" y="355670"/>
                      <a:pt x="432061" y="360380"/>
                      <a:pt x="434984" y="363267"/>
                    </a:cubicBezTo>
                    <a:cubicBezTo>
                      <a:pt x="437882" y="366128"/>
                      <a:pt x="442542" y="366128"/>
                      <a:pt x="445439" y="363267"/>
                    </a:cubicBezTo>
                    <a:cubicBezTo>
                      <a:pt x="448362" y="360380"/>
                      <a:pt x="448393" y="355670"/>
                      <a:pt x="445505" y="352745"/>
                    </a:cubicBezTo>
                    <a:cubicBezTo>
                      <a:pt x="445484" y="352724"/>
                      <a:pt x="445461" y="352701"/>
                      <a:pt x="445439" y="352679"/>
                    </a:cubicBezTo>
                    <a:moveTo>
                      <a:pt x="477917" y="322205"/>
                    </a:moveTo>
                    <a:cubicBezTo>
                      <a:pt x="475023" y="319632"/>
                      <a:pt x="470592" y="319894"/>
                      <a:pt x="468019" y="322788"/>
                    </a:cubicBezTo>
                    <a:cubicBezTo>
                      <a:pt x="465762" y="325329"/>
                      <a:pt x="465652" y="329124"/>
                      <a:pt x="467759" y="331791"/>
                    </a:cubicBezTo>
                    <a:cubicBezTo>
                      <a:pt x="470522" y="334425"/>
                      <a:pt x="474868" y="334425"/>
                      <a:pt x="477631" y="331791"/>
                    </a:cubicBezTo>
                    <a:cubicBezTo>
                      <a:pt x="480357" y="329154"/>
                      <a:pt x="480430" y="324806"/>
                      <a:pt x="477793" y="322080"/>
                    </a:cubicBezTo>
                    <a:cubicBezTo>
                      <a:pt x="477740" y="322024"/>
                      <a:pt x="477686" y="321971"/>
                      <a:pt x="477631" y="321918"/>
                    </a:cubicBezTo>
                    <a:moveTo>
                      <a:pt x="510252" y="291587"/>
                    </a:moveTo>
                    <a:cubicBezTo>
                      <a:pt x="507763" y="289047"/>
                      <a:pt x="503687" y="289007"/>
                      <a:pt x="501147" y="291495"/>
                    </a:cubicBezTo>
                    <a:cubicBezTo>
                      <a:pt x="498607" y="293984"/>
                      <a:pt x="498567" y="298061"/>
                      <a:pt x="501057" y="300600"/>
                    </a:cubicBezTo>
                    <a:cubicBezTo>
                      <a:pt x="503545" y="303140"/>
                      <a:pt x="507621" y="303180"/>
                      <a:pt x="510161" y="300692"/>
                    </a:cubicBezTo>
                    <a:cubicBezTo>
                      <a:pt x="510192" y="300662"/>
                      <a:pt x="510222" y="300630"/>
                      <a:pt x="510252" y="300600"/>
                    </a:cubicBezTo>
                    <a:cubicBezTo>
                      <a:pt x="512742" y="298172"/>
                      <a:pt x="512792" y="294188"/>
                      <a:pt x="510364" y="291698"/>
                    </a:cubicBezTo>
                    <a:cubicBezTo>
                      <a:pt x="510327" y="291661"/>
                      <a:pt x="510289" y="291624"/>
                      <a:pt x="510252" y="291587"/>
                    </a:cubicBezTo>
                    <a:moveTo>
                      <a:pt x="542873" y="261112"/>
                    </a:moveTo>
                    <a:cubicBezTo>
                      <a:pt x="540551" y="258895"/>
                      <a:pt x="536897" y="258895"/>
                      <a:pt x="534575" y="261112"/>
                    </a:cubicBezTo>
                    <a:cubicBezTo>
                      <a:pt x="532204" y="263324"/>
                      <a:pt x="532077" y="267039"/>
                      <a:pt x="534289" y="269410"/>
                    </a:cubicBezTo>
                    <a:cubicBezTo>
                      <a:pt x="536501" y="271781"/>
                      <a:pt x="540216" y="271908"/>
                      <a:pt x="542587" y="269696"/>
                    </a:cubicBezTo>
                    <a:cubicBezTo>
                      <a:pt x="544803" y="267374"/>
                      <a:pt x="544803" y="263720"/>
                      <a:pt x="542587" y="261398"/>
                    </a:cubicBezTo>
                    <a:moveTo>
                      <a:pt x="575065" y="230923"/>
                    </a:moveTo>
                    <a:cubicBezTo>
                      <a:pt x="573003" y="228887"/>
                      <a:pt x="569687" y="228887"/>
                      <a:pt x="567625" y="230923"/>
                    </a:cubicBezTo>
                    <a:cubicBezTo>
                      <a:pt x="565572" y="233033"/>
                      <a:pt x="565572" y="236395"/>
                      <a:pt x="567625" y="238506"/>
                    </a:cubicBezTo>
                    <a:cubicBezTo>
                      <a:pt x="569687" y="240542"/>
                      <a:pt x="573003" y="240542"/>
                      <a:pt x="575065" y="238506"/>
                    </a:cubicBezTo>
                    <a:cubicBezTo>
                      <a:pt x="577118" y="236395"/>
                      <a:pt x="577118" y="233033"/>
                      <a:pt x="575065" y="230923"/>
                    </a:cubicBezTo>
                    <a:moveTo>
                      <a:pt x="607543" y="200162"/>
                    </a:moveTo>
                    <a:cubicBezTo>
                      <a:pt x="605726" y="198266"/>
                      <a:pt x="602716" y="198202"/>
                      <a:pt x="600819" y="200019"/>
                    </a:cubicBezTo>
                    <a:cubicBezTo>
                      <a:pt x="598923" y="201836"/>
                      <a:pt x="598859" y="204847"/>
                      <a:pt x="600676" y="206743"/>
                    </a:cubicBezTo>
                    <a:cubicBezTo>
                      <a:pt x="602493" y="208640"/>
                      <a:pt x="605503" y="208703"/>
                      <a:pt x="607400" y="206886"/>
                    </a:cubicBezTo>
                    <a:cubicBezTo>
                      <a:pt x="609296" y="205069"/>
                      <a:pt x="609360" y="202059"/>
                      <a:pt x="607543" y="200162"/>
                    </a:cubicBezTo>
                    <a:moveTo>
                      <a:pt x="640164" y="169687"/>
                    </a:moveTo>
                    <a:cubicBezTo>
                      <a:pt x="638583" y="168027"/>
                      <a:pt x="635958" y="167963"/>
                      <a:pt x="634298" y="169544"/>
                    </a:cubicBezTo>
                    <a:cubicBezTo>
                      <a:pt x="634250" y="169591"/>
                      <a:pt x="634201" y="169638"/>
                      <a:pt x="634155" y="169687"/>
                    </a:cubicBezTo>
                    <a:cubicBezTo>
                      <a:pt x="632536" y="171193"/>
                      <a:pt x="632444" y="173729"/>
                      <a:pt x="633951" y="175348"/>
                    </a:cubicBezTo>
                    <a:cubicBezTo>
                      <a:pt x="634016" y="175420"/>
                      <a:pt x="634085" y="175487"/>
                      <a:pt x="634155" y="175553"/>
                    </a:cubicBezTo>
                    <a:cubicBezTo>
                      <a:pt x="635775" y="177172"/>
                      <a:pt x="638402" y="177172"/>
                      <a:pt x="640021" y="175553"/>
                    </a:cubicBezTo>
                    <a:cubicBezTo>
                      <a:pt x="641657" y="173883"/>
                      <a:pt x="641657" y="171213"/>
                      <a:pt x="640021" y="169544"/>
                    </a:cubicBezTo>
                    <a:moveTo>
                      <a:pt x="672499" y="139069"/>
                    </a:moveTo>
                    <a:cubicBezTo>
                      <a:pt x="670944" y="137725"/>
                      <a:pt x="668596" y="137897"/>
                      <a:pt x="667253" y="139452"/>
                    </a:cubicBezTo>
                    <a:cubicBezTo>
                      <a:pt x="666121" y="140761"/>
                      <a:pt x="666042" y="142679"/>
                      <a:pt x="667062" y="144076"/>
                    </a:cubicBezTo>
                    <a:cubicBezTo>
                      <a:pt x="668550" y="145476"/>
                      <a:pt x="670870" y="145476"/>
                      <a:pt x="672356" y="144076"/>
                    </a:cubicBezTo>
                    <a:cubicBezTo>
                      <a:pt x="673778" y="142706"/>
                      <a:pt x="673820" y="140441"/>
                      <a:pt x="672449" y="139019"/>
                    </a:cubicBezTo>
                    <a:cubicBezTo>
                      <a:pt x="672419" y="138987"/>
                      <a:pt x="672388" y="138956"/>
                      <a:pt x="672356" y="138926"/>
                    </a:cubicBezTo>
                    <a:moveTo>
                      <a:pt x="704834" y="108451"/>
                    </a:moveTo>
                    <a:cubicBezTo>
                      <a:pt x="703609" y="107217"/>
                      <a:pt x="701616" y="107210"/>
                      <a:pt x="700383" y="108435"/>
                    </a:cubicBezTo>
                    <a:cubicBezTo>
                      <a:pt x="699148" y="109660"/>
                      <a:pt x="699141" y="111653"/>
                      <a:pt x="700367" y="112886"/>
                    </a:cubicBezTo>
                    <a:cubicBezTo>
                      <a:pt x="701592" y="114119"/>
                      <a:pt x="703585" y="114127"/>
                      <a:pt x="704818" y="112902"/>
                    </a:cubicBezTo>
                    <a:cubicBezTo>
                      <a:pt x="704824" y="112898"/>
                      <a:pt x="704828" y="112892"/>
                      <a:pt x="704834" y="112886"/>
                    </a:cubicBezTo>
                    <a:cubicBezTo>
                      <a:pt x="706053" y="111659"/>
                      <a:pt x="706053" y="109678"/>
                      <a:pt x="704834" y="108451"/>
                    </a:cubicBezTo>
                    <a:moveTo>
                      <a:pt x="737312" y="77976"/>
                    </a:moveTo>
                    <a:cubicBezTo>
                      <a:pt x="736315" y="77013"/>
                      <a:pt x="734732" y="77013"/>
                      <a:pt x="733735" y="77976"/>
                    </a:cubicBezTo>
                    <a:cubicBezTo>
                      <a:pt x="732708" y="78963"/>
                      <a:pt x="732676" y="80597"/>
                      <a:pt x="733664" y="81624"/>
                    </a:cubicBezTo>
                    <a:cubicBezTo>
                      <a:pt x="734651" y="82652"/>
                      <a:pt x="736285" y="82683"/>
                      <a:pt x="737312" y="81696"/>
                    </a:cubicBezTo>
                    <a:cubicBezTo>
                      <a:pt x="738299" y="80786"/>
                      <a:pt x="738362" y="79246"/>
                      <a:pt x="737452" y="78259"/>
                    </a:cubicBezTo>
                    <a:cubicBezTo>
                      <a:pt x="737408" y="78210"/>
                      <a:pt x="737361" y="78163"/>
                      <a:pt x="737312" y="78119"/>
                    </a:cubicBezTo>
                    <a:moveTo>
                      <a:pt x="432133" y="403185"/>
                    </a:moveTo>
                    <a:cubicBezTo>
                      <a:pt x="429107" y="400521"/>
                      <a:pt x="424572" y="400521"/>
                      <a:pt x="421546" y="403185"/>
                    </a:cubicBezTo>
                    <a:cubicBezTo>
                      <a:pt x="418418" y="406360"/>
                      <a:pt x="418418" y="411456"/>
                      <a:pt x="421546" y="414631"/>
                    </a:cubicBezTo>
                    <a:cubicBezTo>
                      <a:pt x="424751" y="417683"/>
                      <a:pt x="429787" y="417683"/>
                      <a:pt x="432992" y="414631"/>
                    </a:cubicBezTo>
                    <a:cubicBezTo>
                      <a:pt x="436102" y="411505"/>
                      <a:pt x="436102" y="406454"/>
                      <a:pt x="432992" y="403328"/>
                    </a:cubicBezTo>
                    <a:moveTo>
                      <a:pt x="464468" y="373282"/>
                    </a:moveTo>
                    <a:cubicBezTo>
                      <a:pt x="461581" y="370359"/>
                      <a:pt x="456871" y="370329"/>
                      <a:pt x="453947" y="373216"/>
                    </a:cubicBezTo>
                    <a:cubicBezTo>
                      <a:pt x="453925" y="373238"/>
                      <a:pt x="453902" y="373259"/>
                      <a:pt x="453881" y="373282"/>
                    </a:cubicBezTo>
                    <a:cubicBezTo>
                      <a:pt x="450996" y="376097"/>
                      <a:pt x="450941" y="380716"/>
                      <a:pt x="453755" y="383601"/>
                    </a:cubicBezTo>
                    <a:cubicBezTo>
                      <a:pt x="453796" y="383644"/>
                      <a:pt x="453838" y="383685"/>
                      <a:pt x="453881" y="383727"/>
                    </a:cubicBezTo>
                    <a:cubicBezTo>
                      <a:pt x="456768" y="386650"/>
                      <a:pt x="461478" y="386680"/>
                      <a:pt x="464403" y="383793"/>
                    </a:cubicBezTo>
                    <a:cubicBezTo>
                      <a:pt x="464424" y="383771"/>
                      <a:pt x="464447" y="383750"/>
                      <a:pt x="464468" y="383727"/>
                    </a:cubicBezTo>
                    <a:cubicBezTo>
                      <a:pt x="467340" y="380782"/>
                      <a:pt x="467340" y="376084"/>
                      <a:pt x="464468" y="373139"/>
                    </a:cubicBezTo>
                    <a:moveTo>
                      <a:pt x="496946" y="342664"/>
                    </a:moveTo>
                    <a:cubicBezTo>
                      <a:pt x="494310" y="339939"/>
                      <a:pt x="489961" y="339866"/>
                      <a:pt x="487236" y="342503"/>
                    </a:cubicBezTo>
                    <a:cubicBezTo>
                      <a:pt x="487180" y="342556"/>
                      <a:pt x="487127" y="342610"/>
                      <a:pt x="487074" y="342664"/>
                    </a:cubicBezTo>
                    <a:cubicBezTo>
                      <a:pt x="484457" y="345380"/>
                      <a:pt x="484457" y="349678"/>
                      <a:pt x="487074" y="352393"/>
                    </a:cubicBezTo>
                    <a:cubicBezTo>
                      <a:pt x="489711" y="355119"/>
                      <a:pt x="494059" y="355192"/>
                      <a:pt x="496785" y="352555"/>
                    </a:cubicBezTo>
                    <a:cubicBezTo>
                      <a:pt x="496841" y="352502"/>
                      <a:pt x="496893" y="352448"/>
                      <a:pt x="496946" y="352393"/>
                    </a:cubicBezTo>
                    <a:cubicBezTo>
                      <a:pt x="499563" y="349678"/>
                      <a:pt x="499563" y="345380"/>
                      <a:pt x="496946" y="342664"/>
                    </a:cubicBezTo>
                    <a:moveTo>
                      <a:pt x="529424" y="312189"/>
                    </a:moveTo>
                    <a:cubicBezTo>
                      <a:pt x="526935" y="309650"/>
                      <a:pt x="522859" y="309610"/>
                      <a:pt x="520319" y="312098"/>
                    </a:cubicBezTo>
                    <a:cubicBezTo>
                      <a:pt x="517781" y="314587"/>
                      <a:pt x="517739" y="318663"/>
                      <a:pt x="520229" y="321203"/>
                    </a:cubicBezTo>
                    <a:cubicBezTo>
                      <a:pt x="522717" y="323743"/>
                      <a:pt x="526793" y="323783"/>
                      <a:pt x="529333" y="321295"/>
                    </a:cubicBezTo>
                    <a:cubicBezTo>
                      <a:pt x="529364" y="321265"/>
                      <a:pt x="529394" y="321233"/>
                      <a:pt x="529424" y="321203"/>
                    </a:cubicBezTo>
                    <a:cubicBezTo>
                      <a:pt x="531914" y="318775"/>
                      <a:pt x="531964" y="314790"/>
                      <a:pt x="529536" y="312301"/>
                    </a:cubicBezTo>
                    <a:cubicBezTo>
                      <a:pt x="529499" y="312264"/>
                      <a:pt x="529462" y="312227"/>
                      <a:pt x="529424" y="312189"/>
                    </a:cubicBezTo>
                    <a:moveTo>
                      <a:pt x="561902" y="281714"/>
                    </a:moveTo>
                    <a:cubicBezTo>
                      <a:pt x="559799" y="279462"/>
                      <a:pt x="556268" y="279342"/>
                      <a:pt x="554016" y="281445"/>
                    </a:cubicBezTo>
                    <a:cubicBezTo>
                      <a:pt x="553923" y="281533"/>
                      <a:pt x="553833" y="281621"/>
                      <a:pt x="553747" y="281714"/>
                    </a:cubicBezTo>
                    <a:cubicBezTo>
                      <a:pt x="551455" y="283892"/>
                      <a:pt x="551362" y="287513"/>
                      <a:pt x="553540" y="289805"/>
                    </a:cubicBezTo>
                    <a:cubicBezTo>
                      <a:pt x="553607" y="289877"/>
                      <a:pt x="553676" y="289945"/>
                      <a:pt x="553747" y="290013"/>
                    </a:cubicBezTo>
                    <a:cubicBezTo>
                      <a:pt x="556021" y="292212"/>
                      <a:pt x="559629" y="292212"/>
                      <a:pt x="561902" y="290013"/>
                    </a:cubicBezTo>
                    <a:cubicBezTo>
                      <a:pt x="564194" y="287835"/>
                      <a:pt x="564287" y="284214"/>
                      <a:pt x="562110" y="281922"/>
                    </a:cubicBezTo>
                    <a:cubicBezTo>
                      <a:pt x="562043" y="281850"/>
                      <a:pt x="561974" y="281782"/>
                      <a:pt x="561902" y="281714"/>
                    </a:cubicBezTo>
                    <a:moveTo>
                      <a:pt x="594523" y="251239"/>
                    </a:moveTo>
                    <a:cubicBezTo>
                      <a:pt x="592413" y="249186"/>
                      <a:pt x="589051" y="249186"/>
                      <a:pt x="586940" y="251239"/>
                    </a:cubicBezTo>
                    <a:cubicBezTo>
                      <a:pt x="584904" y="253301"/>
                      <a:pt x="584904" y="256618"/>
                      <a:pt x="586940" y="258679"/>
                    </a:cubicBezTo>
                    <a:cubicBezTo>
                      <a:pt x="589051" y="260732"/>
                      <a:pt x="592413" y="260732"/>
                      <a:pt x="594523" y="258679"/>
                    </a:cubicBezTo>
                    <a:cubicBezTo>
                      <a:pt x="596559" y="256618"/>
                      <a:pt x="596559" y="253301"/>
                      <a:pt x="594523" y="251239"/>
                    </a:cubicBezTo>
                    <a:moveTo>
                      <a:pt x="627001" y="220764"/>
                    </a:moveTo>
                    <a:cubicBezTo>
                      <a:pt x="625144" y="218933"/>
                      <a:pt x="622155" y="218955"/>
                      <a:pt x="620324" y="220812"/>
                    </a:cubicBezTo>
                    <a:cubicBezTo>
                      <a:pt x="618494" y="222669"/>
                      <a:pt x="618516" y="225658"/>
                      <a:pt x="620371" y="227489"/>
                    </a:cubicBezTo>
                    <a:cubicBezTo>
                      <a:pt x="622210" y="229302"/>
                      <a:pt x="625163" y="229302"/>
                      <a:pt x="627001" y="227489"/>
                    </a:cubicBezTo>
                    <a:cubicBezTo>
                      <a:pt x="628858" y="225658"/>
                      <a:pt x="628880" y="222669"/>
                      <a:pt x="627049" y="220812"/>
                    </a:cubicBezTo>
                    <a:cubicBezTo>
                      <a:pt x="627033" y="220796"/>
                      <a:pt x="627017" y="220780"/>
                      <a:pt x="627001" y="220764"/>
                    </a:cubicBezTo>
                    <a:moveTo>
                      <a:pt x="659479" y="190290"/>
                    </a:moveTo>
                    <a:cubicBezTo>
                      <a:pt x="657810" y="188654"/>
                      <a:pt x="655140" y="188654"/>
                      <a:pt x="653470" y="190290"/>
                    </a:cubicBezTo>
                    <a:cubicBezTo>
                      <a:pt x="651906" y="191988"/>
                      <a:pt x="651906" y="194600"/>
                      <a:pt x="653470" y="196299"/>
                    </a:cubicBezTo>
                    <a:cubicBezTo>
                      <a:pt x="655140" y="197934"/>
                      <a:pt x="657810" y="197934"/>
                      <a:pt x="659479" y="196299"/>
                    </a:cubicBezTo>
                    <a:cubicBezTo>
                      <a:pt x="661099" y="194679"/>
                      <a:pt x="661099" y="192052"/>
                      <a:pt x="659479" y="190433"/>
                    </a:cubicBezTo>
                    <a:moveTo>
                      <a:pt x="692243" y="159958"/>
                    </a:moveTo>
                    <a:cubicBezTo>
                      <a:pt x="690873" y="158536"/>
                      <a:pt x="688608" y="158494"/>
                      <a:pt x="687186" y="159865"/>
                    </a:cubicBezTo>
                    <a:cubicBezTo>
                      <a:pt x="687154" y="159895"/>
                      <a:pt x="687123" y="159926"/>
                      <a:pt x="687093" y="159958"/>
                    </a:cubicBezTo>
                    <a:cubicBezTo>
                      <a:pt x="685693" y="161446"/>
                      <a:pt x="685693" y="163763"/>
                      <a:pt x="687093" y="165251"/>
                    </a:cubicBezTo>
                    <a:cubicBezTo>
                      <a:pt x="688463" y="166674"/>
                      <a:pt x="690728" y="166715"/>
                      <a:pt x="692150" y="165344"/>
                    </a:cubicBezTo>
                    <a:cubicBezTo>
                      <a:pt x="692182" y="165314"/>
                      <a:pt x="692213" y="165283"/>
                      <a:pt x="692243" y="165251"/>
                    </a:cubicBezTo>
                    <a:cubicBezTo>
                      <a:pt x="693666" y="163881"/>
                      <a:pt x="693707" y="161616"/>
                      <a:pt x="692336" y="160194"/>
                    </a:cubicBezTo>
                    <a:cubicBezTo>
                      <a:pt x="692306" y="160162"/>
                      <a:pt x="692275" y="160131"/>
                      <a:pt x="692243" y="160101"/>
                    </a:cubicBezTo>
                    <a:moveTo>
                      <a:pt x="724864" y="129483"/>
                    </a:moveTo>
                    <a:cubicBezTo>
                      <a:pt x="723637" y="128264"/>
                      <a:pt x="721657" y="128264"/>
                      <a:pt x="720429" y="129483"/>
                    </a:cubicBezTo>
                    <a:cubicBezTo>
                      <a:pt x="719245" y="130529"/>
                      <a:pt x="719130" y="132336"/>
                      <a:pt x="720176" y="133522"/>
                    </a:cubicBezTo>
                    <a:cubicBezTo>
                      <a:pt x="720255" y="133612"/>
                      <a:pt x="720339" y="133696"/>
                      <a:pt x="720429" y="133775"/>
                    </a:cubicBezTo>
                    <a:cubicBezTo>
                      <a:pt x="721549" y="135000"/>
                      <a:pt x="723449" y="135086"/>
                      <a:pt x="724674" y="133965"/>
                    </a:cubicBezTo>
                    <a:cubicBezTo>
                      <a:pt x="724740" y="133905"/>
                      <a:pt x="724804" y="133841"/>
                      <a:pt x="724864" y="133775"/>
                    </a:cubicBezTo>
                    <a:cubicBezTo>
                      <a:pt x="726084" y="132547"/>
                      <a:pt x="726084" y="130567"/>
                      <a:pt x="724864" y="129340"/>
                    </a:cubicBezTo>
                    <a:moveTo>
                      <a:pt x="757343" y="98865"/>
                    </a:moveTo>
                    <a:cubicBezTo>
                      <a:pt x="756297" y="97883"/>
                      <a:pt x="754668" y="97883"/>
                      <a:pt x="753623" y="98865"/>
                    </a:cubicBezTo>
                    <a:cubicBezTo>
                      <a:pt x="752595" y="99852"/>
                      <a:pt x="752564" y="101486"/>
                      <a:pt x="753551" y="102513"/>
                    </a:cubicBezTo>
                    <a:cubicBezTo>
                      <a:pt x="754538" y="103540"/>
                      <a:pt x="756172" y="103572"/>
                      <a:pt x="757199" y="102585"/>
                    </a:cubicBezTo>
                    <a:cubicBezTo>
                      <a:pt x="758181" y="101539"/>
                      <a:pt x="758181" y="99911"/>
                      <a:pt x="757199" y="98865"/>
                    </a:cubicBezTo>
                    <a:moveTo>
                      <a:pt x="451592" y="424503"/>
                    </a:moveTo>
                    <a:cubicBezTo>
                      <a:pt x="448470" y="421367"/>
                      <a:pt x="443398" y="421354"/>
                      <a:pt x="440260" y="424474"/>
                    </a:cubicBezTo>
                    <a:cubicBezTo>
                      <a:pt x="437124" y="427596"/>
                      <a:pt x="437111" y="432670"/>
                      <a:pt x="440233" y="435806"/>
                    </a:cubicBezTo>
                    <a:cubicBezTo>
                      <a:pt x="443353" y="438942"/>
                      <a:pt x="448427" y="438955"/>
                      <a:pt x="451563" y="435835"/>
                    </a:cubicBezTo>
                    <a:cubicBezTo>
                      <a:pt x="451573" y="435825"/>
                      <a:pt x="451582" y="435816"/>
                      <a:pt x="451592" y="435806"/>
                    </a:cubicBezTo>
                    <a:cubicBezTo>
                      <a:pt x="454702" y="432680"/>
                      <a:pt x="454702" y="427629"/>
                      <a:pt x="451592" y="424503"/>
                    </a:cubicBezTo>
                    <a:moveTo>
                      <a:pt x="484070" y="394028"/>
                    </a:moveTo>
                    <a:cubicBezTo>
                      <a:pt x="481297" y="391105"/>
                      <a:pt x="476677" y="390982"/>
                      <a:pt x="473754" y="393756"/>
                    </a:cubicBezTo>
                    <a:cubicBezTo>
                      <a:pt x="473661" y="393845"/>
                      <a:pt x="473571" y="393935"/>
                      <a:pt x="473482" y="394028"/>
                    </a:cubicBezTo>
                    <a:cubicBezTo>
                      <a:pt x="470479" y="396872"/>
                      <a:pt x="470352" y="401612"/>
                      <a:pt x="473196" y="404616"/>
                    </a:cubicBezTo>
                    <a:cubicBezTo>
                      <a:pt x="476040" y="407619"/>
                      <a:pt x="480780" y="407746"/>
                      <a:pt x="483783" y="404902"/>
                    </a:cubicBezTo>
                    <a:cubicBezTo>
                      <a:pt x="486668" y="402088"/>
                      <a:pt x="486724" y="397468"/>
                      <a:pt x="483909" y="394583"/>
                    </a:cubicBezTo>
                    <a:cubicBezTo>
                      <a:pt x="483868" y="394540"/>
                      <a:pt x="483826" y="394499"/>
                      <a:pt x="483783" y="394457"/>
                    </a:cubicBezTo>
                    <a:moveTo>
                      <a:pt x="516261" y="363839"/>
                    </a:moveTo>
                    <a:cubicBezTo>
                      <a:pt x="513546" y="361222"/>
                      <a:pt x="509248" y="361222"/>
                      <a:pt x="506532" y="363839"/>
                    </a:cubicBezTo>
                    <a:cubicBezTo>
                      <a:pt x="503807" y="366476"/>
                      <a:pt x="503734" y="370824"/>
                      <a:pt x="506371" y="373550"/>
                    </a:cubicBezTo>
                    <a:cubicBezTo>
                      <a:pt x="506424" y="373604"/>
                      <a:pt x="506478" y="373658"/>
                      <a:pt x="506532" y="373711"/>
                    </a:cubicBezTo>
                    <a:cubicBezTo>
                      <a:pt x="509248" y="376328"/>
                      <a:pt x="513546" y="376328"/>
                      <a:pt x="516261" y="373711"/>
                    </a:cubicBezTo>
                    <a:cubicBezTo>
                      <a:pt x="518987" y="371075"/>
                      <a:pt x="519060" y="366727"/>
                      <a:pt x="516423" y="364001"/>
                    </a:cubicBezTo>
                    <a:cubicBezTo>
                      <a:pt x="516370" y="363947"/>
                      <a:pt x="516316" y="363892"/>
                      <a:pt x="516261" y="363839"/>
                    </a:cubicBezTo>
                    <a:moveTo>
                      <a:pt x="548883" y="333364"/>
                    </a:moveTo>
                    <a:cubicBezTo>
                      <a:pt x="546330" y="330893"/>
                      <a:pt x="542278" y="330893"/>
                      <a:pt x="539726" y="333364"/>
                    </a:cubicBezTo>
                    <a:cubicBezTo>
                      <a:pt x="537326" y="335945"/>
                      <a:pt x="537326" y="339940"/>
                      <a:pt x="539726" y="342521"/>
                    </a:cubicBezTo>
                    <a:cubicBezTo>
                      <a:pt x="542278" y="344992"/>
                      <a:pt x="546330" y="344992"/>
                      <a:pt x="548883" y="342521"/>
                    </a:cubicBezTo>
                    <a:cubicBezTo>
                      <a:pt x="551282" y="339940"/>
                      <a:pt x="551282" y="335945"/>
                      <a:pt x="548883" y="333364"/>
                    </a:cubicBezTo>
                    <a:moveTo>
                      <a:pt x="581647" y="303033"/>
                    </a:moveTo>
                    <a:cubicBezTo>
                      <a:pt x="579435" y="300662"/>
                      <a:pt x="575719" y="300534"/>
                      <a:pt x="573348" y="302746"/>
                    </a:cubicBezTo>
                    <a:cubicBezTo>
                      <a:pt x="570978" y="304958"/>
                      <a:pt x="570850" y="308674"/>
                      <a:pt x="573062" y="311045"/>
                    </a:cubicBezTo>
                    <a:cubicBezTo>
                      <a:pt x="575240" y="313337"/>
                      <a:pt x="578861" y="313430"/>
                      <a:pt x="581153" y="311252"/>
                    </a:cubicBezTo>
                    <a:cubicBezTo>
                      <a:pt x="581225" y="311185"/>
                      <a:pt x="581293" y="311116"/>
                      <a:pt x="581360" y="311045"/>
                    </a:cubicBezTo>
                    <a:cubicBezTo>
                      <a:pt x="583653" y="308754"/>
                      <a:pt x="583653" y="305040"/>
                      <a:pt x="581363" y="302749"/>
                    </a:cubicBezTo>
                    <a:cubicBezTo>
                      <a:pt x="581362" y="302748"/>
                      <a:pt x="581362" y="302748"/>
                      <a:pt x="581360" y="302746"/>
                    </a:cubicBezTo>
                    <a:moveTo>
                      <a:pt x="613839" y="272271"/>
                    </a:moveTo>
                    <a:cubicBezTo>
                      <a:pt x="611744" y="270231"/>
                      <a:pt x="608393" y="270274"/>
                      <a:pt x="606353" y="272369"/>
                    </a:cubicBezTo>
                    <a:cubicBezTo>
                      <a:pt x="604313" y="274462"/>
                      <a:pt x="604355" y="277814"/>
                      <a:pt x="606450" y="279854"/>
                    </a:cubicBezTo>
                    <a:cubicBezTo>
                      <a:pt x="608505" y="281857"/>
                      <a:pt x="611783" y="281857"/>
                      <a:pt x="613839" y="279854"/>
                    </a:cubicBezTo>
                    <a:cubicBezTo>
                      <a:pt x="615892" y="277744"/>
                      <a:pt x="615892" y="274382"/>
                      <a:pt x="613839" y="272271"/>
                    </a:cubicBezTo>
                    <a:moveTo>
                      <a:pt x="646316" y="241797"/>
                    </a:moveTo>
                    <a:cubicBezTo>
                      <a:pt x="644459" y="239965"/>
                      <a:pt x="641471" y="239987"/>
                      <a:pt x="639639" y="241844"/>
                    </a:cubicBezTo>
                    <a:cubicBezTo>
                      <a:pt x="637809" y="243701"/>
                      <a:pt x="637831" y="246690"/>
                      <a:pt x="639686" y="248521"/>
                    </a:cubicBezTo>
                    <a:cubicBezTo>
                      <a:pt x="641525" y="250334"/>
                      <a:pt x="644478" y="250334"/>
                      <a:pt x="646316" y="248521"/>
                    </a:cubicBezTo>
                    <a:cubicBezTo>
                      <a:pt x="648174" y="246690"/>
                      <a:pt x="648195" y="243701"/>
                      <a:pt x="646364" y="241844"/>
                    </a:cubicBezTo>
                    <a:cubicBezTo>
                      <a:pt x="646348" y="241828"/>
                      <a:pt x="646332" y="241812"/>
                      <a:pt x="646316" y="241797"/>
                    </a:cubicBezTo>
                    <a:moveTo>
                      <a:pt x="679081" y="211035"/>
                    </a:moveTo>
                    <a:cubicBezTo>
                      <a:pt x="677382" y="209381"/>
                      <a:pt x="674664" y="209419"/>
                      <a:pt x="673011" y="211118"/>
                    </a:cubicBezTo>
                    <a:cubicBezTo>
                      <a:pt x="671357" y="212817"/>
                      <a:pt x="671395" y="215534"/>
                      <a:pt x="673094" y="217188"/>
                    </a:cubicBezTo>
                    <a:cubicBezTo>
                      <a:pt x="674760" y="218809"/>
                      <a:pt x="677414" y="218809"/>
                      <a:pt x="679081" y="217188"/>
                    </a:cubicBezTo>
                    <a:cubicBezTo>
                      <a:pt x="680716" y="215518"/>
                      <a:pt x="680716" y="212848"/>
                      <a:pt x="679081" y="211179"/>
                    </a:cubicBezTo>
                    <a:moveTo>
                      <a:pt x="711559" y="180704"/>
                    </a:moveTo>
                    <a:cubicBezTo>
                      <a:pt x="710188" y="179281"/>
                      <a:pt x="707923" y="179240"/>
                      <a:pt x="706501" y="180611"/>
                    </a:cubicBezTo>
                    <a:cubicBezTo>
                      <a:pt x="706469" y="180641"/>
                      <a:pt x="706438" y="180672"/>
                      <a:pt x="706408" y="180704"/>
                    </a:cubicBezTo>
                    <a:cubicBezTo>
                      <a:pt x="704986" y="182074"/>
                      <a:pt x="704944" y="184339"/>
                      <a:pt x="706315" y="185761"/>
                    </a:cubicBezTo>
                    <a:cubicBezTo>
                      <a:pt x="706345" y="185793"/>
                      <a:pt x="706376" y="185824"/>
                      <a:pt x="706408" y="185854"/>
                    </a:cubicBezTo>
                    <a:cubicBezTo>
                      <a:pt x="707779" y="187276"/>
                      <a:pt x="710043" y="187318"/>
                      <a:pt x="711466" y="185947"/>
                    </a:cubicBezTo>
                    <a:cubicBezTo>
                      <a:pt x="711497" y="185917"/>
                      <a:pt x="711529" y="185886"/>
                      <a:pt x="711559" y="185854"/>
                    </a:cubicBezTo>
                    <a:cubicBezTo>
                      <a:pt x="712958" y="184368"/>
                      <a:pt x="712958" y="182048"/>
                      <a:pt x="711559" y="180560"/>
                    </a:cubicBezTo>
                    <a:moveTo>
                      <a:pt x="744037" y="150086"/>
                    </a:moveTo>
                    <a:cubicBezTo>
                      <a:pt x="742809" y="148867"/>
                      <a:pt x="740829" y="148867"/>
                      <a:pt x="739601" y="150086"/>
                    </a:cubicBezTo>
                    <a:cubicBezTo>
                      <a:pt x="738455" y="151342"/>
                      <a:pt x="738455" y="153265"/>
                      <a:pt x="739601" y="154521"/>
                    </a:cubicBezTo>
                    <a:cubicBezTo>
                      <a:pt x="740829" y="155740"/>
                      <a:pt x="742809" y="155740"/>
                      <a:pt x="744037" y="154521"/>
                    </a:cubicBezTo>
                    <a:cubicBezTo>
                      <a:pt x="745261" y="153402"/>
                      <a:pt x="745347" y="151501"/>
                      <a:pt x="744227" y="150276"/>
                    </a:cubicBezTo>
                    <a:cubicBezTo>
                      <a:pt x="744167" y="150210"/>
                      <a:pt x="744102" y="150146"/>
                      <a:pt x="744037" y="150086"/>
                    </a:cubicBezTo>
                    <a:moveTo>
                      <a:pt x="776658" y="119611"/>
                    </a:moveTo>
                    <a:cubicBezTo>
                      <a:pt x="775630" y="118626"/>
                      <a:pt x="774001" y="118662"/>
                      <a:pt x="773016" y="119689"/>
                    </a:cubicBezTo>
                    <a:cubicBezTo>
                      <a:pt x="772032" y="120717"/>
                      <a:pt x="772068" y="122346"/>
                      <a:pt x="773095" y="123331"/>
                    </a:cubicBezTo>
                    <a:cubicBezTo>
                      <a:pt x="774091" y="124285"/>
                      <a:pt x="775662" y="124285"/>
                      <a:pt x="776658" y="123331"/>
                    </a:cubicBezTo>
                    <a:cubicBezTo>
                      <a:pt x="777573" y="122260"/>
                      <a:pt x="777573" y="120681"/>
                      <a:pt x="776658" y="119611"/>
                    </a:cubicBezTo>
                    <a:moveTo>
                      <a:pt x="354587" y="320917"/>
                    </a:moveTo>
                    <a:cubicBezTo>
                      <a:pt x="351461" y="317806"/>
                      <a:pt x="346410" y="317806"/>
                      <a:pt x="343284" y="320917"/>
                    </a:cubicBezTo>
                    <a:cubicBezTo>
                      <a:pt x="340222" y="324112"/>
                      <a:pt x="340331" y="329184"/>
                      <a:pt x="343526" y="332246"/>
                    </a:cubicBezTo>
                    <a:cubicBezTo>
                      <a:pt x="346456" y="335053"/>
                      <a:pt x="351023" y="335227"/>
                      <a:pt x="354158" y="332649"/>
                    </a:cubicBezTo>
                    <a:cubicBezTo>
                      <a:pt x="357285" y="329474"/>
                      <a:pt x="357285" y="324378"/>
                      <a:pt x="354158" y="321203"/>
                    </a:cubicBezTo>
                    <a:moveTo>
                      <a:pt x="386636" y="290728"/>
                    </a:moveTo>
                    <a:cubicBezTo>
                      <a:pt x="383713" y="287841"/>
                      <a:pt x="379001" y="287871"/>
                      <a:pt x="376114" y="290794"/>
                    </a:cubicBezTo>
                    <a:cubicBezTo>
                      <a:pt x="373227" y="293718"/>
                      <a:pt x="373257" y="298428"/>
                      <a:pt x="376180" y="301316"/>
                    </a:cubicBezTo>
                    <a:cubicBezTo>
                      <a:pt x="379078" y="304177"/>
                      <a:pt x="383738" y="304177"/>
                      <a:pt x="386636" y="301316"/>
                    </a:cubicBezTo>
                    <a:cubicBezTo>
                      <a:pt x="389559" y="298428"/>
                      <a:pt x="389589" y="293718"/>
                      <a:pt x="386702" y="290794"/>
                    </a:cubicBezTo>
                    <a:cubicBezTo>
                      <a:pt x="386680" y="290772"/>
                      <a:pt x="386659" y="290750"/>
                      <a:pt x="386636" y="290728"/>
                    </a:cubicBezTo>
                    <a:moveTo>
                      <a:pt x="419543" y="260110"/>
                    </a:moveTo>
                    <a:cubicBezTo>
                      <a:pt x="416827" y="257493"/>
                      <a:pt x="412529" y="257493"/>
                      <a:pt x="409814" y="260110"/>
                    </a:cubicBezTo>
                    <a:cubicBezTo>
                      <a:pt x="407088" y="262747"/>
                      <a:pt x="407015" y="267095"/>
                      <a:pt x="409652" y="269821"/>
                    </a:cubicBezTo>
                    <a:cubicBezTo>
                      <a:pt x="409705" y="269875"/>
                      <a:pt x="409759" y="269929"/>
                      <a:pt x="409814" y="269982"/>
                    </a:cubicBezTo>
                    <a:cubicBezTo>
                      <a:pt x="412529" y="272599"/>
                      <a:pt x="416827" y="272599"/>
                      <a:pt x="419543" y="269982"/>
                    </a:cubicBezTo>
                    <a:cubicBezTo>
                      <a:pt x="422268" y="267345"/>
                      <a:pt x="422341" y="262997"/>
                      <a:pt x="419705" y="260272"/>
                    </a:cubicBezTo>
                    <a:cubicBezTo>
                      <a:pt x="419652" y="260217"/>
                      <a:pt x="419597" y="260163"/>
                      <a:pt x="419543" y="260110"/>
                    </a:cubicBezTo>
                    <a:moveTo>
                      <a:pt x="452164" y="229635"/>
                    </a:moveTo>
                    <a:cubicBezTo>
                      <a:pt x="449614" y="227156"/>
                      <a:pt x="445538" y="227213"/>
                      <a:pt x="443060" y="229762"/>
                    </a:cubicBezTo>
                    <a:cubicBezTo>
                      <a:pt x="440765" y="232122"/>
                      <a:pt x="440619" y="235830"/>
                      <a:pt x="442721" y="238363"/>
                    </a:cubicBezTo>
                    <a:cubicBezTo>
                      <a:pt x="445273" y="240834"/>
                      <a:pt x="449325" y="240834"/>
                      <a:pt x="451878" y="238363"/>
                    </a:cubicBezTo>
                    <a:cubicBezTo>
                      <a:pt x="454367" y="235935"/>
                      <a:pt x="454417" y="231950"/>
                      <a:pt x="451989" y="229461"/>
                    </a:cubicBezTo>
                    <a:cubicBezTo>
                      <a:pt x="451952" y="229423"/>
                      <a:pt x="451915" y="229386"/>
                      <a:pt x="451878" y="229349"/>
                    </a:cubicBezTo>
                    <a:moveTo>
                      <a:pt x="484356" y="198874"/>
                    </a:moveTo>
                    <a:cubicBezTo>
                      <a:pt x="482144" y="196503"/>
                      <a:pt x="478428" y="196376"/>
                      <a:pt x="476057" y="198588"/>
                    </a:cubicBezTo>
                    <a:cubicBezTo>
                      <a:pt x="473687" y="200800"/>
                      <a:pt x="473559" y="204515"/>
                      <a:pt x="475771" y="206886"/>
                    </a:cubicBezTo>
                    <a:cubicBezTo>
                      <a:pt x="477983" y="209257"/>
                      <a:pt x="481699" y="209384"/>
                      <a:pt x="484070" y="207172"/>
                    </a:cubicBezTo>
                    <a:cubicBezTo>
                      <a:pt x="486440" y="204960"/>
                      <a:pt x="486568" y="201245"/>
                      <a:pt x="484356" y="198874"/>
                    </a:cubicBezTo>
                    <a:moveTo>
                      <a:pt x="516834" y="168399"/>
                    </a:moveTo>
                    <a:cubicBezTo>
                      <a:pt x="514772" y="166363"/>
                      <a:pt x="511456" y="166363"/>
                      <a:pt x="509394" y="168399"/>
                    </a:cubicBezTo>
                    <a:cubicBezTo>
                      <a:pt x="507205" y="170454"/>
                      <a:pt x="507095" y="173895"/>
                      <a:pt x="509149" y="176084"/>
                    </a:cubicBezTo>
                    <a:cubicBezTo>
                      <a:pt x="511204" y="178274"/>
                      <a:pt x="514645" y="178383"/>
                      <a:pt x="516834" y="176330"/>
                    </a:cubicBezTo>
                    <a:cubicBezTo>
                      <a:pt x="519024" y="174275"/>
                      <a:pt x="519133" y="170834"/>
                      <a:pt x="517078" y="168644"/>
                    </a:cubicBezTo>
                    <a:cubicBezTo>
                      <a:pt x="517000" y="168559"/>
                      <a:pt x="516918" y="168478"/>
                      <a:pt x="516834" y="168399"/>
                    </a:cubicBezTo>
                    <a:moveTo>
                      <a:pt x="550313" y="138067"/>
                    </a:moveTo>
                    <a:cubicBezTo>
                      <a:pt x="548415" y="136176"/>
                      <a:pt x="545344" y="136176"/>
                      <a:pt x="543446" y="138067"/>
                    </a:cubicBezTo>
                    <a:cubicBezTo>
                      <a:pt x="541550" y="139884"/>
                      <a:pt x="541486" y="142896"/>
                      <a:pt x="543303" y="144792"/>
                    </a:cubicBezTo>
                    <a:cubicBezTo>
                      <a:pt x="545120" y="146689"/>
                      <a:pt x="548130" y="146752"/>
                      <a:pt x="550027" y="144935"/>
                    </a:cubicBezTo>
                    <a:cubicBezTo>
                      <a:pt x="551826" y="143055"/>
                      <a:pt x="551826" y="140090"/>
                      <a:pt x="550027" y="138210"/>
                    </a:cubicBezTo>
                    <a:moveTo>
                      <a:pt x="582505" y="107735"/>
                    </a:moveTo>
                    <a:cubicBezTo>
                      <a:pt x="580835" y="106100"/>
                      <a:pt x="578166" y="106100"/>
                      <a:pt x="576496" y="107735"/>
                    </a:cubicBezTo>
                    <a:cubicBezTo>
                      <a:pt x="574798" y="109316"/>
                      <a:pt x="574700" y="111975"/>
                      <a:pt x="576281" y="113673"/>
                    </a:cubicBezTo>
                    <a:cubicBezTo>
                      <a:pt x="577862" y="115371"/>
                      <a:pt x="580521" y="115469"/>
                      <a:pt x="582219" y="113888"/>
                    </a:cubicBezTo>
                    <a:cubicBezTo>
                      <a:pt x="583854" y="112218"/>
                      <a:pt x="583854" y="109548"/>
                      <a:pt x="582219" y="107878"/>
                    </a:cubicBezTo>
                    <a:moveTo>
                      <a:pt x="614697" y="77404"/>
                    </a:moveTo>
                    <a:cubicBezTo>
                      <a:pt x="613326" y="75981"/>
                      <a:pt x="611061" y="75940"/>
                      <a:pt x="609639" y="77311"/>
                    </a:cubicBezTo>
                    <a:cubicBezTo>
                      <a:pt x="609608" y="77341"/>
                      <a:pt x="609576" y="77372"/>
                      <a:pt x="609546" y="77404"/>
                    </a:cubicBezTo>
                    <a:cubicBezTo>
                      <a:pt x="608084" y="78786"/>
                      <a:pt x="608020" y="81092"/>
                      <a:pt x="609403" y="82554"/>
                    </a:cubicBezTo>
                    <a:cubicBezTo>
                      <a:pt x="610785" y="84016"/>
                      <a:pt x="613092" y="84079"/>
                      <a:pt x="614554" y="82697"/>
                    </a:cubicBezTo>
                    <a:cubicBezTo>
                      <a:pt x="615976" y="81327"/>
                      <a:pt x="616018" y="79062"/>
                      <a:pt x="614647" y="77640"/>
                    </a:cubicBezTo>
                    <a:cubicBezTo>
                      <a:pt x="614617" y="77608"/>
                      <a:pt x="614585" y="77577"/>
                      <a:pt x="614554" y="77547"/>
                    </a:cubicBezTo>
                    <a:moveTo>
                      <a:pt x="647032" y="47072"/>
                    </a:moveTo>
                    <a:cubicBezTo>
                      <a:pt x="645804" y="45853"/>
                      <a:pt x="643824" y="45853"/>
                      <a:pt x="642596" y="47072"/>
                    </a:cubicBezTo>
                    <a:cubicBezTo>
                      <a:pt x="641451" y="48328"/>
                      <a:pt x="641451" y="50251"/>
                      <a:pt x="642596" y="51507"/>
                    </a:cubicBezTo>
                    <a:cubicBezTo>
                      <a:pt x="643824" y="52726"/>
                      <a:pt x="645804" y="52726"/>
                      <a:pt x="647032" y="51507"/>
                    </a:cubicBezTo>
                    <a:cubicBezTo>
                      <a:pt x="648257" y="50387"/>
                      <a:pt x="648342" y="48487"/>
                      <a:pt x="647222" y="47262"/>
                    </a:cubicBezTo>
                    <a:cubicBezTo>
                      <a:pt x="647162" y="47196"/>
                      <a:pt x="647098" y="47132"/>
                      <a:pt x="647032" y="47072"/>
                    </a:cubicBezTo>
                    <a:moveTo>
                      <a:pt x="679796" y="16883"/>
                    </a:moveTo>
                    <a:cubicBezTo>
                      <a:pt x="678809" y="15860"/>
                      <a:pt x="677178" y="15830"/>
                      <a:pt x="676155" y="16819"/>
                    </a:cubicBezTo>
                    <a:cubicBezTo>
                      <a:pt x="675132" y="17806"/>
                      <a:pt x="675102" y="19437"/>
                      <a:pt x="676090" y="20460"/>
                    </a:cubicBezTo>
                    <a:cubicBezTo>
                      <a:pt x="677078" y="21483"/>
                      <a:pt x="678709" y="21513"/>
                      <a:pt x="679732" y="20524"/>
                    </a:cubicBezTo>
                    <a:cubicBezTo>
                      <a:pt x="679753" y="20503"/>
                      <a:pt x="679775" y="20481"/>
                      <a:pt x="679796" y="20460"/>
                    </a:cubicBezTo>
                    <a:cubicBezTo>
                      <a:pt x="680759" y="19463"/>
                      <a:pt x="680759" y="17880"/>
                      <a:pt x="679796" y="16883"/>
                    </a:cubicBezTo>
                    <a:moveTo>
                      <a:pt x="373902" y="341663"/>
                    </a:moveTo>
                    <a:cubicBezTo>
                      <a:pt x="370776" y="338552"/>
                      <a:pt x="365725" y="338552"/>
                      <a:pt x="362599" y="341663"/>
                    </a:cubicBezTo>
                    <a:cubicBezTo>
                      <a:pt x="359360" y="344704"/>
                      <a:pt x="359200" y="349798"/>
                      <a:pt x="362241" y="353037"/>
                    </a:cubicBezTo>
                    <a:cubicBezTo>
                      <a:pt x="365283" y="356276"/>
                      <a:pt x="370377" y="356437"/>
                      <a:pt x="373616" y="353395"/>
                    </a:cubicBezTo>
                    <a:cubicBezTo>
                      <a:pt x="376726" y="350269"/>
                      <a:pt x="376726" y="345218"/>
                      <a:pt x="373616" y="342092"/>
                    </a:cubicBezTo>
                    <a:moveTo>
                      <a:pt x="407238" y="311188"/>
                    </a:moveTo>
                    <a:cubicBezTo>
                      <a:pt x="404433" y="308146"/>
                      <a:pt x="399693" y="307953"/>
                      <a:pt x="396651" y="310759"/>
                    </a:cubicBezTo>
                    <a:cubicBezTo>
                      <a:pt x="393609" y="313564"/>
                      <a:pt x="393416" y="318304"/>
                      <a:pt x="396222" y="321346"/>
                    </a:cubicBezTo>
                    <a:cubicBezTo>
                      <a:pt x="398996" y="324269"/>
                      <a:pt x="403614" y="324392"/>
                      <a:pt x="406537" y="321618"/>
                    </a:cubicBezTo>
                    <a:cubicBezTo>
                      <a:pt x="406630" y="321529"/>
                      <a:pt x="406721" y="321439"/>
                      <a:pt x="406809" y="321346"/>
                    </a:cubicBezTo>
                    <a:cubicBezTo>
                      <a:pt x="409681" y="318402"/>
                      <a:pt x="409681" y="313703"/>
                      <a:pt x="406809" y="310759"/>
                    </a:cubicBezTo>
                    <a:moveTo>
                      <a:pt x="439287" y="280284"/>
                    </a:moveTo>
                    <a:cubicBezTo>
                      <a:pt x="436650" y="277558"/>
                      <a:pt x="432302" y="277485"/>
                      <a:pt x="429577" y="280122"/>
                    </a:cubicBezTo>
                    <a:cubicBezTo>
                      <a:pt x="429521" y="280175"/>
                      <a:pt x="429468" y="280229"/>
                      <a:pt x="429415" y="280284"/>
                    </a:cubicBezTo>
                    <a:cubicBezTo>
                      <a:pt x="426798" y="282999"/>
                      <a:pt x="426798" y="287297"/>
                      <a:pt x="429415" y="290013"/>
                    </a:cubicBezTo>
                    <a:cubicBezTo>
                      <a:pt x="432052" y="292738"/>
                      <a:pt x="436400" y="292811"/>
                      <a:pt x="439126" y="290174"/>
                    </a:cubicBezTo>
                    <a:cubicBezTo>
                      <a:pt x="439181" y="290121"/>
                      <a:pt x="439234" y="290067"/>
                      <a:pt x="439287" y="290013"/>
                    </a:cubicBezTo>
                    <a:cubicBezTo>
                      <a:pt x="441904" y="287297"/>
                      <a:pt x="441904" y="282999"/>
                      <a:pt x="439287" y="280284"/>
                    </a:cubicBezTo>
                    <a:moveTo>
                      <a:pt x="471765" y="249809"/>
                    </a:moveTo>
                    <a:cubicBezTo>
                      <a:pt x="469276" y="247269"/>
                      <a:pt x="465200" y="247229"/>
                      <a:pt x="462660" y="249717"/>
                    </a:cubicBezTo>
                    <a:cubicBezTo>
                      <a:pt x="460122" y="252207"/>
                      <a:pt x="460080" y="256283"/>
                      <a:pt x="462570" y="258822"/>
                    </a:cubicBezTo>
                    <a:cubicBezTo>
                      <a:pt x="465058" y="261362"/>
                      <a:pt x="469134" y="261402"/>
                      <a:pt x="471674" y="258914"/>
                    </a:cubicBezTo>
                    <a:cubicBezTo>
                      <a:pt x="471705" y="258884"/>
                      <a:pt x="471735" y="258852"/>
                      <a:pt x="471765" y="258822"/>
                    </a:cubicBezTo>
                    <a:cubicBezTo>
                      <a:pt x="474255" y="256394"/>
                      <a:pt x="474305" y="252410"/>
                      <a:pt x="471877" y="249920"/>
                    </a:cubicBezTo>
                    <a:cubicBezTo>
                      <a:pt x="471840" y="249883"/>
                      <a:pt x="471802" y="249846"/>
                      <a:pt x="471765" y="249809"/>
                    </a:cubicBezTo>
                    <a:moveTo>
                      <a:pt x="504386" y="219334"/>
                    </a:moveTo>
                    <a:cubicBezTo>
                      <a:pt x="502174" y="216963"/>
                      <a:pt x="498459" y="216836"/>
                      <a:pt x="496088" y="219048"/>
                    </a:cubicBezTo>
                    <a:cubicBezTo>
                      <a:pt x="493717" y="221260"/>
                      <a:pt x="493590" y="224975"/>
                      <a:pt x="495802" y="227346"/>
                    </a:cubicBezTo>
                    <a:cubicBezTo>
                      <a:pt x="498014" y="229717"/>
                      <a:pt x="501729" y="229844"/>
                      <a:pt x="504100" y="227632"/>
                    </a:cubicBezTo>
                    <a:cubicBezTo>
                      <a:pt x="506471" y="225420"/>
                      <a:pt x="506598" y="221704"/>
                      <a:pt x="504386" y="219334"/>
                    </a:cubicBezTo>
                    <a:moveTo>
                      <a:pt x="536006" y="189288"/>
                    </a:moveTo>
                    <a:cubicBezTo>
                      <a:pt x="533951" y="187208"/>
                      <a:pt x="530599" y="187188"/>
                      <a:pt x="528520" y="189241"/>
                    </a:cubicBezTo>
                    <a:cubicBezTo>
                      <a:pt x="526440" y="191295"/>
                      <a:pt x="526418" y="194648"/>
                      <a:pt x="528473" y="196728"/>
                    </a:cubicBezTo>
                    <a:cubicBezTo>
                      <a:pt x="530528" y="198808"/>
                      <a:pt x="533880" y="198828"/>
                      <a:pt x="535959" y="196774"/>
                    </a:cubicBezTo>
                    <a:cubicBezTo>
                      <a:pt x="535974" y="196759"/>
                      <a:pt x="535990" y="196744"/>
                      <a:pt x="536006" y="196728"/>
                    </a:cubicBezTo>
                    <a:cubicBezTo>
                      <a:pt x="538042" y="194666"/>
                      <a:pt x="538042" y="191350"/>
                      <a:pt x="536006" y="189288"/>
                    </a:cubicBezTo>
                    <a:moveTo>
                      <a:pt x="568484" y="158813"/>
                    </a:moveTo>
                    <a:cubicBezTo>
                      <a:pt x="566627" y="156982"/>
                      <a:pt x="563638" y="157003"/>
                      <a:pt x="561806" y="158860"/>
                    </a:cubicBezTo>
                    <a:cubicBezTo>
                      <a:pt x="559977" y="160717"/>
                      <a:pt x="559997" y="163706"/>
                      <a:pt x="561854" y="165538"/>
                    </a:cubicBezTo>
                    <a:cubicBezTo>
                      <a:pt x="563692" y="167350"/>
                      <a:pt x="566645" y="167350"/>
                      <a:pt x="568484" y="165538"/>
                    </a:cubicBezTo>
                    <a:cubicBezTo>
                      <a:pt x="570341" y="163706"/>
                      <a:pt x="570362" y="160717"/>
                      <a:pt x="568531" y="158860"/>
                    </a:cubicBezTo>
                    <a:cubicBezTo>
                      <a:pt x="568515" y="158845"/>
                      <a:pt x="568500" y="158829"/>
                      <a:pt x="568484" y="158813"/>
                    </a:cubicBezTo>
                    <a:moveTo>
                      <a:pt x="600962" y="128338"/>
                    </a:moveTo>
                    <a:cubicBezTo>
                      <a:pt x="599342" y="126719"/>
                      <a:pt x="596715" y="126719"/>
                      <a:pt x="595096" y="128338"/>
                    </a:cubicBezTo>
                    <a:cubicBezTo>
                      <a:pt x="593460" y="130008"/>
                      <a:pt x="593460" y="132678"/>
                      <a:pt x="595096" y="134347"/>
                    </a:cubicBezTo>
                    <a:cubicBezTo>
                      <a:pt x="596677" y="136007"/>
                      <a:pt x="599302" y="136071"/>
                      <a:pt x="600962" y="134490"/>
                    </a:cubicBezTo>
                    <a:cubicBezTo>
                      <a:pt x="601010" y="134443"/>
                      <a:pt x="601059" y="134396"/>
                      <a:pt x="601105" y="134347"/>
                    </a:cubicBezTo>
                    <a:cubicBezTo>
                      <a:pt x="602724" y="132841"/>
                      <a:pt x="602816" y="130305"/>
                      <a:pt x="601309" y="128686"/>
                    </a:cubicBezTo>
                    <a:cubicBezTo>
                      <a:pt x="601244" y="128614"/>
                      <a:pt x="601175" y="128547"/>
                      <a:pt x="601105" y="128481"/>
                    </a:cubicBezTo>
                    <a:moveTo>
                      <a:pt x="633726" y="98006"/>
                    </a:moveTo>
                    <a:cubicBezTo>
                      <a:pt x="632304" y="96524"/>
                      <a:pt x="629949" y="96475"/>
                      <a:pt x="628466" y="97898"/>
                    </a:cubicBezTo>
                    <a:cubicBezTo>
                      <a:pt x="626984" y="99320"/>
                      <a:pt x="626936" y="101675"/>
                      <a:pt x="628358" y="103157"/>
                    </a:cubicBezTo>
                    <a:cubicBezTo>
                      <a:pt x="629780" y="104639"/>
                      <a:pt x="632135" y="104688"/>
                      <a:pt x="633617" y="103266"/>
                    </a:cubicBezTo>
                    <a:cubicBezTo>
                      <a:pt x="633654" y="103230"/>
                      <a:pt x="633690" y="103194"/>
                      <a:pt x="633726" y="103157"/>
                    </a:cubicBezTo>
                    <a:cubicBezTo>
                      <a:pt x="635107" y="101718"/>
                      <a:pt x="635107" y="99446"/>
                      <a:pt x="633726" y="98006"/>
                    </a:cubicBezTo>
                    <a:moveTo>
                      <a:pt x="666204" y="67531"/>
                    </a:moveTo>
                    <a:cubicBezTo>
                      <a:pt x="665084" y="66307"/>
                      <a:pt x="663184" y="66221"/>
                      <a:pt x="661959" y="67341"/>
                    </a:cubicBezTo>
                    <a:cubicBezTo>
                      <a:pt x="661893" y="67401"/>
                      <a:pt x="661829" y="67466"/>
                      <a:pt x="661769" y="67531"/>
                    </a:cubicBezTo>
                    <a:cubicBezTo>
                      <a:pt x="660550" y="68759"/>
                      <a:pt x="660550" y="70739"/>
                      <a:pt x="661769" y="71967"/>
                    </a:cubicBezTo>
                    <a:cubicBezTo>
                      <a:pt x="663025" y="73113"/>
                      <a:pt x="664948" y="73113"/>
                      <a:pt x="666204" y="71967"/>
                    </a:cubicBezTo>
                    <a:cubicBezTo>
                      <a:pt x="667423" y="70739"/>
                      <a:pt x="667423" y="68759"/>
                      <a:pt x="666204" y="67531"/>
                    </a:cubicBezTo>
                    <a:moveTo>
                      <a:pt x="699111" y="36913"/>
                    </a:moveTo>
                    <a:cubicBezTo>
                      <a:pt x="698124" y="35890"/>
                      <a:pt x="696493" y="35860"/>
                      <a:pt x="695470" y="36849"/>
                    </a:cubicBezTo>
                    <a:cubicBezTo>
                      <a:pt x="694447" y="37836"/>
                      <a:pt x="694417" y="39467"/>
                      <a:pt x="695405" y="40490"/>
                    </a:cubicBezTo>
                    <a:cubicBezTo>
                      <a:pt x="696393" y="41513"/>
                      <a:pt x="698024" y="41543"/>
                      <a:pt x="699047" y="40555"/>
                    </a:cubicBezTo>
                    <a:cubicBezTo>
                      <a:pt x="699068" y="40533"/>
                      <a:pt x="699090" y="40512"/>
                      <a:pt x="699111" y="40490"/>
                    </a:cubicBezTo>
                    <a:cubicBezTo>
                      <a:pt x="700098" y="39580"/>
                      <a:pt x="700161" y="38041"/>
                      <a:pt x="699251" y="37054"/>
                    </a:cubicBezTo>
                    <a:cubicBezTo>
                      <a:pt x="699207" y="37005"/>
                      <a:pt x="699160" y="36958"/>
                      <a:pt x="699111" y="36913"/>
                    </a:cubicBezTo>
                    <a:moveTo>
                      <a:pt x="392931" y="362409"/>
                    </a:moveTo>
                    <a:cubicBezTo>
                      <a:pt x="389809" y="359272"/>
                      <a:pt x="384737" y="359259"/>
                      <a:pt x="381599" y="362380"/>
                    </a:cubicBezTo>
                    <a:cubicBezTo>
                      <a:pt x="378463" y="365502"/>
                      <a:pt x="378450" y="370575"/>
                      <a:pt x="381572" y="373711"/>
                    </a:cubicBezTo>
                    <a:cubicBezTo>
                      <a:pt x="384693" y="376848"/>
                      <a:pt x="389766" y="376861"/>
                      <a:pt x="392902" y="373740"/>
                    </a:cubicBezTo>
                    <a:cubicBezTo>
                      <a:pt x="392912" y="373730"/>
                      <a:pt x="392921" y="373721"/>
                      <a:pt x="392931" y="373711"/>
                    </a:cubicBezTo>
                    <a:cubicBezTo>
                      <a:pt x="396041" y="370585"/>
                      <a:pt x="396041" y="365535"/>
                      <a:pt x="392931" y="362409"/>
                    </a:cubicBezTo>
                    <a:moveTo>
                      <a:pt x="425838" y="331647"/>
                    </a:moveTo>
                    <a:cubicBezTo>
                      <a:pt x="423032" y="328644"/>
                      <a:pt x="418325" y="328484"/>
                      <a:pt x="415322" y="331290"/>
                    </a:cubicBezTo>
                    <a:cubicBezTo>
                      <a:pt x="412319" y="334095"/>
                      <a:pt x="412159" y="338803"/>
                      <a:pt x="414965" y="341806"/>
                    </a:cubicBezTo>
                    <a:cubicBezTo>
                      <a:pt x="417909" y="344677"/>
                      <a:pt x="422608" y="344677"/>
                      <a:pt x="425552" y="341806"/>
                    </a:cubicBezTo>
                    <a:cubicBezTo>
                      <a:pt x="428475" y="338919"/>
                      <a:pt x="428505" y="334209"/>
                      <a:pt x="425618" y="331284"/>
                    </a:cubicBezTo>
                    <a:cubicBezTo>
                      <a:pt x="425596" y="331263"/>
                      <a:pt x="425574" y="331240"/>
                      <a:pt x="425552" y="331218"/>
                    </a:cubicBezTo>
                    <a:moveTo>
                      <a:pt x="458173" y="300743"/>
                    </a:moveTo>
                    <a:cubicBezTo>
                      <a:pt x="455486" y="298066"/>
                      <a:pt x="451138" y="298074"/>
                      <a:pt x="448461" y="300761"/>
                    </a:cubicBezTo>
                    <a:cubicBezTo>
                      <a:pt x="445784" y="303447"/>
                      <a:pt x="445791" y="307795"/>
                      <a:pt x="448478" y="310472"/>
                    </a:cubicBezTo>
                    <a:cubicBezTo>
                      <a:pt x="451158" y="313144"/>
                      <a:pt x="455493" y="313144"/>
                      <a:pt x="458173" y="310472"/>
                    </a:cubicBezTo>
                    <a:cubicBezTo>
                      <a:pt x="460860" y="307795"/>
                      <a:pt x="460867" y="303447"/>
                      <a:pt x="458190" y="300761"/>
                    </a:cubicBezTo>
                    <a:cubicBezTo>
                      <a:pt x="458185" y="300755"/>
                      <a:pt x="458179" y="300749"/>
                      <a:pt x="458173" y="300743"/>
                    </a:cubicBezTo>
                    <a:moveTo>
                      <a:pt x="490651" y="270268"/>
                    </a:moveTo>
                    <a:cubicBezTo>
                      <a:pt x="488598" y="267365"/>
                      <a:pt x="484580" y="266674"/>
                      <a:pt x="481677" y="268727"/>
                    </a:cubicBezTo>
                    <a:cubicBezTo>
                      <a:pt x="478773" y="270781"/>
                      <a:pt x="478083" y="274798"/>
                      <a:pt x="480137" y="277701"/>
                    </a:cubicBezTo>
                    <a:cubicBezTo>
                      <a:pt x="480480" y="278188"/>
                      <a:pt x="480889" y="278623"/>
                      <a:pt x="481351" y="278996"/>
                    </a:cubicBezTo>
                    <a:cubicBezTo>
                      <a:pt x="484118" y="281228"/>
                      <a:pt x="488173" y="280794"/>
                      <a:pt x="490405" y="278027"/>
                    </a:cubicBezTo>
                    <a:cubicBezTo>
                      <a:pt x="492212" y="275787"/>
                      <a:pt x="492312" y="272619"/>
                      <a:pt x="490651" y="270268"/>
                    </a:cubicBezTo>
                    <a:moveTo>
                      <a:pt x="523129" y="239650"/>
                    </a:moveTo>
                    <a:cubicBezTo>
                      <a:pt x="520917" y="237280"/>
                      <a:pt x="517201" y="237152"/>
                      <a:pt x="514831" y="239364"/>
                    </a:cubicBezTo>
                    <a:cubicBezTo>
                      <a:pt x="512460" y="241576"/>
                      <a:pt x="512333" y="245292"/>
                      <a:pt x="514545" y="247663"/>
                    </a:cubicBezTo>
                    <a:cubicBezTo>
                      <a:pt x="516757" y="250033"/>
                      <a:pt x="520472" y="250161"/>
                      <a:pt x="522843" y="247949"/>
                    </a:cubicBezTo>
                    <a:cubicBezTo>
                      <a:pt x="525214" y="245737"/>
                      <a:pt x="525341" y="242021"/>
                      <a:pt x="523129" y="239650"/>
                    </a:cubicBezTo>
                    <a:moveTo>
                      <a:pt x="555607" y="209175"/>
                    </a:moveTo>
                    <a:cubicBezTo>
                      <a:pt x="553593" y="207042"/>
                      <a:pt x="550229" y="206946"/>
                      <a:pt x="548096" y="208961"/>
                    </a:cubicBezTo>
                    <a:cubicBezTo>
                      <a:pt x="545962" y="210975"/>
                      <a:pt x="545867" y="214339"/>
                      <a:pt x="547881" y="216472"/>
                    </a:cubicBezTo>
                    <a:cubicBezTo>
                      <a:pt x="549896" y="218605"/>
                      <a:pt x="553259" y="218701"/>
                      <a:pt x="555392" y="216687"/>
                    </a:cubicBezTo>
                    <a:cubicBezTo>
                      <a:pt x="557526" y="214672"/>
                      <a:pt x="557622" y="211309"/>
                      <a:pt x="555607" y="209175"/>
                    </a:cubicBezTo>
                    <a:moveTo>
                      <a:pt x="588228" y="178701"/>
                    </a:moveTo>
                    <a:cubicBezTo>
                      <a:pt x="586371" y="176759"/>
                      <a:pt x="583292" y="176690"/>
                      <a:pt x="581350" y="178547"/>
                    </a:cubicBezTo>
                    <a:cubicBezTo>
                      <a:pt x="579409" y="180405"/>
                      <a:pt x="579340" y="183483"/>
                      <a:pt x="581197" y="185425"/>
                    </a:cubicBezTo>
                    <a:cubicBezTo>
                      <a:pt x="583054" y="187367"/>
                      <a:pt x="586133" y="187435"/>
                      <a:pt x="588075" y="185578"/>
                    </a:cubicBezTo>
                    <a:cubicBezTo>
                      <a:pt x="588126" y="185528"/>
                      <a:pt x="588178" y="185477"/>
                      <a:pt x="588228" y="185425"/>
                    </a:cubicBezTo>
                    <a:cubicBezTo>
                      <a:pt x="590085" y="183595"/>
                      <a:pt x="590107" y="180605"/>
                      <a:pt x="588275" y="178748"/>
                    </a:cubicBezTo>
                    <a:cubicBezTo>
                      <a:pt x="588260" y="178732"/>
                      <a:pt x="588244" y="178716"/>
                      <a:pt x="588228" y="178701"/>
                    </a:cubicBezTo>
                    <a:moveTo>
                      <a:pt x="620706" y="148226"/>
                    </a:moveTo>
                    <a:cubicBezTo>
                      <a:pt x="619046" y="146533"/>
                      <a:pt x="616329" y="146506"/>
                      <a:pt x="614637" y="148165"/>
                    </a:cubicBezTo>
                    <a:cubicBezTo>
                      <a:pt x="612943" y="149824"/>
                      <a:pt x="612916" y="152542"/>
                      <a:pt x="614575" y="154235"/>
                    </a:cubicBezTo>
                    <a:cubicBezTo>
                      <a:pt x="616235" y="155927"/>
                      <a:pt x="618952" y="155954"/>
                      <a:pt x="620646" y="154295"/>
                    </a:cubicBezTo>
                    <a:cubicBezTo>
                      <a:pt x="620666" y="154275"/>
                      <a:pt x="620686" y="154255"/>
                      <a:pt x="620706" y="154235"/>
                    </a:cubicBezTo>
                    <a:cubicBezTo>
                      <a:pt x="622341" y="152565"/>
                      <a:pt x="622341" y="149895"/>
                      <a:pt x="620706" y="148226"/>
                    </a:cubicBezTo>
                    <a:moveTo>
                      <a:pt x="653184" y="117751"/>
                    </a:moveTo>
                    <a:cubicBezTo>
                      <a:pt x="651722" y="116421"/>
                      <a:pt x="649460" y="116530"/>
                      <a:pt x="648132" y="117991"/>
                    </a:cubicBezTo>
                    <a:cubicBezTo>
                      <a:pt x="646803" y="119453"/>
                      <a:pt x="646910" y="121715"/>
                      <a:pt x="648372" y="123044"/>
                    </a:cubicBezTo>
                    <a:cubicBezTo>
                      <a:pt x="649737" y="124285"/>
                      <a:pt x="651821" y="124285"/>
                      <a:pt x="653184" y="123044"/>
                    </a:cubicBezTo>
                    <a:cubicBezTo>
                      <a:pt x="654583" y="121558"/>
                      <a:pt x="654583" y="119239"/>
                      <a:pt x="653184" y="117751"/>
                    </a:cubicBezTo>
                    <a:moveTo>
                      <a:pt x="686091" y="88420"/>
                    </a:moveTo>
                    <a:cubicBezTo>
                      <a:pt x="684864" y="87201"/>
                      <a:pt x="682884" y="87201"/>
                      <a:pt x="681656" y="88420"/>
                    </a:cubicBezTo>
                    <a:cubicBezTo>
                      <a:pt x="680431" y="89541"/>
                      <a:pt x="680345" y="91441"/>
                      <a:pt x="681466" y="92665"/>
                    </a:cubicBezTo>
                    <a:cubicBezTo>
                      <a:pt x="681526" y="92731"/>
                      <a:pt x="681590" y="92796"/>
                      <a:pt x="681656" y="92856"/>
                    </a:cubicBezTo>
                    <a:cubicBezTo>
                      <a:pt x="682884" y="94075"/>
                      <a:pt x="684864" y="94075"/>
                      <a:pt x="686091" y="92856"/>
                    </a:cubicBezTo>
                    <a:cubicBezTo>
                      <a:pt x="687237" y="91599"/>
                      <a:pt x="687237" y="89676"/>
                      <a:pt x="686091" y="88420"/>
                    </a:cubicBezTo>
                    <a:moveTo>
                      <a:pt x="718569" y="57945"/>
                    </a:moveTo>
                    <a:cubicBezTo>
                      <a:pt x="717523" y="56964"/>
                      <a:pt x="715895" y="56964"/>
                      <a:pt x="714849" y="57945"/>
                    </a:cubicBezTo>
                    <a:cubicBezTo>
                      <a:pt x="713934" y="59016"/>
                      <a:pt x="713934" y="60595"/>
                      <a:pt x="714849" y="61665"/>
                    </a:cubicBezTo>
                    <a:cubicBezTo>
                      <a:pt x="715837" y="62733"/>
                      <a:pt x="717502" y="62796"/>
                      <a:pt x="718569" y="61808"/>
                    </a:cubicBezTo>
                    <a:cubicBezTo>
                      <a:pt x="719637" y="60821"/>
                      <a:pt x="719699" y="59156"/>
                      <a:pt x="718712" y="58088"/>
                    </a:cubicBezTo>
                    <a:moveTo>
                      <a:pt x="367750" y="425218"/>
                    </a:moveTo>
                    <a:cubicBezTo>
                      <a:pt x="370872" y="428355"/>
                      <a:pt x="375944" y="428367"/>
                      <a:pt x="379081" y="425247"/>
                    </a:cubicBezTo>
                    <a:cubicBezTo>
                      <a:pt x="382218" y="422125"/>
                      <a:pt x="382230" y="417052"/>
                      <a:pt x="379109" y="413915"/>
                    </a:cubicBezTo>
                    <a:cubicBezTo>
                      <a:pt x="375988" y="410779"/>
                      <a:pt x="370915" y="410766"/>
                      <a:pt x="367778" y="413887"/>
                    </a:cubicBezTo>
                    <a:cubicBezTo>
                      <a:pt x="367768" y="413897"/>
                      <a:pt x="367760" y="413905"/>
                      <a:pt x="367750" y="413915"/>
                    </a:cubicBezTo>
                    <a:cubicBezTo>
                      <a:pt x="364639" y="417042"/>
                      <a:pt x="364639" y="422092"/>
                      <a:pt x="367750" y="425218"/>
                    </a:cubicBezTo>
                    <a:moveTo>
                      <a:pt x="335701" y="455693"/>
                    </a:moveTo>
                    <a:cubicBezTo>
                      <a:pt x="338507" y="458696"/>
                      <a:pt x="343214" y="458857"/>
                      <a:pt x="346217" y="456051"/>
                    </a:cubicBezTo>
                    <a:cubicBezTo>
                      <a:pt x="349220" y="453245"/>
                      <a:pt x="349380" y="448538"/>
                      <a:pt x="346575" y="445535"/>
                    </a:cubicBezTo>
                    <a:cubicBezTo>
                      <a:pt x="343630" y="442663"/>
                      <a:pt x="338932" y="442663"/>
                      <a:pt x="335987" y="445535"/>
                    </a:cubicBezTo>
                    <a:cubicBezTo>
                      <a:pt x="333064" y="448422"/>
                      <a:pt x="333034" y="453132"/>
                      <a:pt x="335921" y="456057"/>
                    </a:cubicBezTo>
                    <a:cubicBezTo>
                      <a:pt x="335943" y="456078"/>
                      <a:pt x="335964" y="456101"/>
                      <a:pt x="335987" y="456123"/>
                    </a:cubicBezTo>
                    <a:moveTo>
                      <a:pt x="302651" y="486168"/>
                    </a:moveTo>
                    <a:cubicBezTo>
                      <a:pt x="305384" y="488878"/>
                      <a:pt x="309790" y="488878"/>
                      <a:pt x="312523" y="486168"/>
                    </a:cubicBezTo>
                    <a:cubicBezTo>
                      <a:pt x="315157" y="483404"/>
                      <a:pt x="315157" y="479060"/>
                      <a:pt x="312523" y="476296"/>
                    </a:cubicBezTo>
                    <a:cubicBezTo>
                      <a:pt x="309807" y="473679"/>
                      <a:pt x="305509" y="473679"/>
                      <a:pt x="302794" y="476296"/>
                    </a:cubicBezTo>
                    <a:cubicBezTo>
                      <a:pt x="300107" y="478973"/>
                      <a:pt x="300100" y="483321"/>
                      <a:pt x="302777" y="486008"/>
                    </a:cubicBezTo>
                    <a:cubicBezTo>
                      <a:pt x="302782" y="486014"/>
                      <a:pt x="302788" y="486019"/>
                      <a:pt x="302794" y="486025"/>
                    </a:cubicBezTo>
                    <a:moveTo>
                      <a:pt x="270316" y="516500"/>
                    </a:moveTo>
                    <a:cubicBezTo>
                      <a:pt x="272369" y="519403"/>
                      <a:pt x="276387" y="520094"/>
                      <a:pt x="279290" y="518041"/>
                    </a:cubicBezTo>
                    <a:cubicBezTo>
                      <a:pt x="282194" y="515988"/>
                      <a:pt x="282884" y="511970"/>
                      <a:pt x="280830" y="509067"/>
                    </a:cubicBezTo>
                    <a:cubicBezTo>
                      <a:pt x="280487" y="508581"/>
                      <a:pt x="280079" y="508146"/>
                      <a:pt x="279616" y="507773"/>
                    </a:cubicBezTo>
                    <a:cubicBezTo>
                      <a:pt x="277563" y="504870"/>
                      <a:pt x="273545" y="504179"/>
                      <a:pt x="270642" y="506232"/>
                    </a:cubicBezTo>
                    <a:cubicBezTo>
                      <a:pt x="267738" y="508285"/>
                      <a:pt x="267048" y="512302"/>
                      <a:pt x="269101" y="515205"/>
                    </a:cubicBezTo>
                    <a:cubicBezTo>
                      <a:pt x="269445" y="515690"/>
                      <a:pt x="269852" y="516127"/>
                      <a:pt x="270316" y="516500"/>
                    </a:cubicBezTo>
                    <a:moveTo>
                      <a:pt x="237838" y="547118"/>
                    </a:moveTo>
                    <a:cubicBezTo>
                      <a:pt x="240050" y="549489"/>
                      <a:pt x="243765" y="549616"/>
                      <a:pt x="246136" y="547404"/>
                    </a:cubicBezTo>
                    <a:cubicBezTo>
                      <a:pt x="248507" y="545192"/>
                      <a:pt x="248634" y="541477"/>
                      <a:pt x="246422" y="539106"/>
                    </a:cubicBezTo>
                    <a:cubicBezTo>
                      <a:pt x="244210" y="536735"/>
                      <a:pt x="240495" y="536608"/>
                      <a:pt x="238124" y="538820"/>
                    </a:cubicBezTo>
                    <a:cubicBezTo>
                      <a:pt x="235753" y="541032"/>
                      <a:pt x="235626" y="544747"/>
                      <a:pt x="237838" y="547118"/>
                    </a:cubicBezTo>
                    <a:moveTo>
                      <a:pt x="205217" y="577736"/>
                    </a:moveTo>
                    <a:cubicBezTo>
                      <a:pt x="207231" y="579869"/>
                      <a:pt x="210595" y="579965"/>
                      <a:pt x="212728" y="577951"/>
                    </a:cubicBezTo>
                    <a:cubicBezTo>
                      <a:pt x="214862" y="575936"/>
                      <a:pt x="214957" y="572573"/>
                      <a:pt x="212943" y="570439"/>
                    </a:cubicBezTo>
                    <a:cubicBezTo>
                      <a:pt x="210928" y="568306"/>
                      <a:pt x="207565" y="568210"/>
                      <a:pt x="205431" y="570225"/>
                    </a:cubicBezTo>
                    <a:cubicBezTo>
                      <a:pt x="203298" y="572239"/>
                      <a:pt x="203202" y="575603"/>
                      <a:pt x="205217" y="577736"/>
                    </a:cubicBezTo>
                    <a:moveTo>
                      <a:pt x="172596" y="608211"/>
                    </a:moveTo>
                    <a:cubicBezTo>
                      <a:pt x="174453" y="610153"/>
                      <a:pt x="177532" y="610221"/>
                      <a:pt x="179473" y="608364"/>
                    </a:cubicBezTo>
                    <a:cubicBezTo>
                      <a:pt x="181415" y="606507"/>
                      <a:pt x="181484" y="603428"/>
                      <a:pt x="179626" y="601487"/>
                    </a:cubicBezTo>
                    <a:cubicBezTo>
                      <a:pt x="177769" y="599545"/>
                      <a:pt x="174690" y="599476"/>
                      <a:pt x="172749" y="601333"/>
                    </a:cubicBezTo>
                    <a:cubicBezTo>
                      <a:pt x="172697" y="601384"/>
                      <a:pt x="172646" y="601435"/>
                      <a:pt x="172596" y="601487"/>
                    </a:cubicBezTo>
                    <a:cubicBezTo>
                      <a:pt x="170739" y="603318"/>
                      <a:pt x="170717" y="606307"/>
                      <a:pt x="172549" y="608164"/>
                    </a:cubicBezTo>
                    <a:cubicBezTo>
                      <a:pt x="172564" y="608180"/>
                      <a:pt x="172580" y="608195"/>
                      <a:pt x="172596" y="608211"/>
                    </a:cubicBezTo>
                    <a:moveTo>
                      <a:pt x="140118" y="638686"/>
                    </a:moveTo>
                    <a:cubicBezTo>
                      <a:pt x="141777" y="640379"/>
                      <a:pt x="144494" y="640406"/>
                      <a:pt x="146187" y="638746"/>
                    </a:cubicBezTo>
                    <a:cubicBezTo>
                      <a:pt x="147881" y="637088"/>
                      <a:pt x="147908" y="634369"/>
                      <a:pt x="146249" y="632677"/>
                    </a:cubicBezTo>
                    <a:cubicBezTo>
                      <a:pt x="144589" y="630984"/>
                      <a:pt x="141872" y="630957"/>
                      <a:pt x="140178" y="632617"/>
                    </a:cubicBezTo>
                    <a:cubicBezTo>
                      <a:pt x="140158" y="632637"/>
                      <a:pt x="140138" y="632657"/>
                      <a:pt x="140118" y="632677"/>
                    </a:cubicBezTo>
                    <a:cubicBezTo>
                      <a:pt x="138482" y="634347"/>
                      <a:pt x="138482" y="637016"/>
                      <a:pt x="140118" y="638686"/>
                    </a:cubicBezTo>
                    <a:moveTo>
                      <a:pt x="107640" y="669161"/>
                    </a:moveTo>
                    <a:cubicBezTo>
                      <a:pt x="109102" y="670490"/>
                      <a:pt x="111364" y="670381"/>
                      <a:pt x="112693" y="668921"/>
                    </a:cubicBezTo>
                    <a:cubicBezTo>
                      <a:pt x="114021" y="667458"/>
                      <a:pt x="113914" y="665196"/>
                      <a:pt x="112451" y="663867"/>
                    </a:cubicBezTo>
                    <a:cubicBezTo>
                      <a:pt x="111088" y="662627"/>
                      <a:pt x="109005" y="662627"/>
                      <a:pt x="107640" y="663867"/>
                    </a:cubicBezTo>
                    <a:cubicBezTo>
                      <a:pt x="106241" y="665355"/>
                      <a:pt x="106241" y="667674"/>
                      <a:pt x="107640" y="669161"/>
                    </a:cubicBezTo>
                    <a:moveTo>
                      <a:pt x="387208" y="446107"/>
                    </a:moveTo>
                    <a:cubicBezTo>
                      <a:pt x="390334" y="449218"/>
                      <a:pt x="395385" y="449218"/>
                      <a:pt x="398511" y="446107"/>
                    </a:cubicBezTo>
                    <a:cubicBezTo>
                      <a:pt x="401638" y="442932"/>
                      <a:pt x="401638" y="437836"/>
                      <a:pt x="398511" y="434661"/>
                    </a:cubicBezTo>
                    <a:cubicBezTo>
                      <a:pt x="395385" y="431551"/>
                      <a:pt x="390334" y="431551"/>
                      <a:pt x="387208" y="434661"/>
                    </a:cubicBezTo>
                    <a:cubicBezTo>
                      <a:pt x="384086" y="437686"/>
                      <a:pt x="384007" y="442668"/>
                      <a:pt x="387032" y="445788"/>
                    </a:cubicBezTo>
                    <a:cubicBezTo>
                      <a:pt x="387089" y="445848"/>
                      <a:pt x="387148" y="445907"/>
                      <a:pt x="387208" y="445964"/>
                    </a:cubicBezTo>
                    <a:moveTo>
                      <a:pt x="354587" y="476439"/>
                    </a:moveTo>
                    <a:cubicBezTo>
                      <a:pt x="357474" y="479362"/>
                      <a:pt x="362184" y="479392"/>
                      <a:pt x="365109" y="476505"/>
                    </a:cubicBezTo>
                    <a:cubicBezTo>
                      <a:pt x="365130" y="476484"/>
                      <a:pt x="365153" y="476462"/>
                      <a:pt x="365174" y="476439"/>
                    </a:cubicBezTo>
                    <a:cubicBezTo>
                      <a:pt x="368046" y="473495"/>
                      <a:pt x="368046" y="468796"/>
                      <a:pt x="365174" y="465852"/>
                    </a:cubicBezTo>
                    <a:cubicBezTo>
                      <a:pt x="362010" y="463109"/>
                      <a:pt x="357221" y="463451"/>
                      <a:pt x="354478" y="466616"/>
                    </a:cubicBezTo>
                    <a:cubicBezTo>
                      <a:pt x="352133" y="469320"/>
                      <a:pt x="352000" y="473297"/>
                      <a:pt x="354158" y="476153"/>
                    </a:cubicBezTo>
                    <a:moveTo>
                      <a:pt x="321680" y="506628"/>
                    </a:moveTo>
                    <a:cubicBezTo>
                      <a:pt x="324317" y="509354"/>
                      <a:pt x="328665" y="509426"/>
                      <a:pt x="331390" y="506790"/>
                    </a:cubicBezTo>
                    <a:cubicBezTo>
                      <a:pt x="331445" y="506737"/>
                      <a:pt x="331499" y="506682"/>
                      <a:pt x="331552" y="506628"/>
                    </a:cubicBezTo>
                    <a:cubicBezTo>
                      <a:pt x="334124" y="503734"/>
                      <a:pt x="333863" y="499302"/>
                      <a:pt x="330968" y="496730"/>
                    </a:cubicBezTo>
                    <a:cubicBezTo>
                      <a:pt x="328427" y="494472"/>
                      <a:pt x="324633" y="494364"/>
                      <a:pt x="321966" y="496470"/>
                    </a:cubicBezTo>
                    <a:cubicBezTo>
                      <a:pt x="319332" y="499234"/>
                      <a:pt x="319332" y="503578"/>
                      <a:pt x="321966" y="506342"/>
                    </a:cubicBezTo>
                    <a:moveTo>
                      <a:pt x="289488" y="536817"/>
                    </a:moveTo>
                    <a:cubicBezTo>
                      <a:pt x="291977" y="539356"/>
                      <a:pt x="296054" y="539396"/>
                      <a:pt x="298593" y="536908"/>
                    </a:cubicBezTo>
                    <a:cubicBezTo>
                      <a:pt x="301133" y="534419"/>
                      <a:pt x="301173" y="530343"/>
                      <a:pt x="298683" y="527803"/>
                    </a:cubicBezTo>
                    <a:cubicBezTo>
                      <a:pt x="296195" y="525263"/>
                      <a:pt x="292118" y="525223"/>
                      <a:pt x="289579" y="527711"/>
                    </a:cubicBezTo>
                    <a:cubicBezTo>
                      <a:pt x="289548" y="527742"/>
                      <a:pt x="289518" y="527773"/>
                      <a:pt x="289488" y="527803"/>
                    </a:cubicBezTo>
                    <a:cubicBezTo>
                      <a:pt x="286998" y="530231"/>
                      <a:pt x="286948" y="534216"/>
                      <a:pt x="289376" y="536705"/>
                    </a:cubicBezTo>
                    <a:cubicBezTo>
                      <a:pt x="289414" y="536742"/>
                      <a:pt x="289451" y="536780"/>
                      <a:pt x="289488" y="536817"/>
                    </a:cubicBezTo>
                    <a:moveTo>
                      <a:pt x="257010" y="567864"/>
                    </a:moveTo>
                    <a:cubicBezTo>
                      <a:pt x="259301" y="570156"/>
                      <a:pt x="263015" y="570156"/>
                      <a:pt x="265305" y="567867"/>
                    </a:cubicBezTo>
                    <a:cubicBezTo>
                      <a:pt x="265307" y="567865"/>
                      <a:pt x="265307" y="567865"/>
                      <a:pt x="265308" y="567864"/>
                    </a:cubicBezTo>
                    <a:cubicBezTo>
                      <a:pt x="267600" y="565686"/>
                      <a:pt x="267693" y="562065"/>
                      <a:pt x="265516" y="559773"/>
                    </a:cubicBezTo>
                    <a:cubicBezTo>
                      <a:pt x="265448" y="559702"/>
                      <a:pt x="265380" y="559633"/>
                      <a:pt x="265308" y="559566"/>
                    </a:cubicBezTo>
                    <a:cubicBezTo>
                      <a:pt x="263096" y="557195"/>
                      <a:pt x="259381" y="557068"/>
                      <a:pt x="257010" y="559279"/>
                    </a:cubicBezTo>
                    <a:cubicBezTo>
                      <a:pt x="254639" y="561491"/>
                      <a:pt x="254512" y="565207"/>
                      <a:pt x="256724" y="567578"/>
                    </a:cubicBezTo>
                    <a:moveTo>
                      <a:pt x="224246" y="598053"/>
                    </a:moveTo>
                    <a:cubicBezTo>
                      <a:pt x="226300" y="600133"/>
                      <a:pt x="229653" y="600153"/>
                      <a:pt x="231731" y="598100"/>
                    </a:cubicBezTo>
                    <a:cubicBezTo>
                      <a:pt x="233812" y="596045"/>
                      <a:pt x="233833" y="592693"/>
                      <a:pt x="231779" y="590613"/>
                    </a:cubicBezTo>
                    <a:cubicBezTo>
                      <a:pt x="229724" y="588533"/>
                      <a:pt x="226372" y="588513"/>
                      <a:pt x="224292" y="590567"/>
                    </a:cubicBezTo>
                    <a:cubicBezTo>
                      <a:pt x="224277" y="590581"/>
                      <a:pt x="224262" y="590597"/>
                      <a:pt x="224246" y="590613"/>
                    </a:cubicBezTo>
                    <a:cubicBezTo>
                      <a:pt x="222210" y="592675"/>
                      <a:pt x="222210" y="595991"/>
                      <a:pt x="224246" y="598053"/>
                    </a:cubicBezTo>
                    <a:moveTo>
                      <a:pt x="192626" y="628814"/>
                    </a:moveTo>
                    <a:cubicBezTo>
                      <a:pt x="194483" y="630644"/>
                      <a:pt x="197472" y="630624"/>
                      <a:pt x="199304" y="628767"/>
                    </a:cubicBezTo>
                    <a:cubicBezTo>
                      <a:pt x="201133" y="626910"/>
                      <a:pt x="201112" y="623919"/>
                      <a:pt x="199256" y="622089"/>
                    </a:cubicBezTo>
                    <a:cubicBezTo>
                      <a:pt x="197418" y="620277"/>
                      <a:pt x="194465" y="620277"/>
                      <a:pt x="192626" y="622089"/>
                    </a:cubicBezTo>
                    <a:cubicBezTo>
                      <a:pt x="190769" y="623919"/>
                      <a:pt x="190748" y="626910"/>
                      <a:pt x="192579" y="628767"/>
                    </a:cubicBezTo>
                    <a:cubicBezTo>
                      <a:pt x="192595" y="628782"/>
                      <a:pt x="192611" y="628798"/>
                      <a:pt x="192626" y="628814"/>
                    </a:cubicBezTo>
                    <a:moveTo>
                      <a:pt x="159576" y="659289"/>
                    </a:moveTo>
                    <a:cubicBezTo>
                      <a:pt x="161196" y="660908"/>
                      <a:pt x="163822" y="660908"/>
                      <a:pt x="165442" y="659289"/>
                    </a:cubicBezTo>
                    <a:cubicBezTo>
                      <a:pt x="167077" y="657619"/>
                      <a:pt x="167077" y="654949"/>
                      <a:pt x="165442" y="653280"/>
                    </a:cubicBezTo>
                    <a:cubicBezTo>
                      <a:pt x="163861" y="651620"/>
                      <a:pt x="161236" y="651556"/>
                      <a:pt x="159576" y="653137"/>
                    </a:cubicBezTo>
                    <a:cubicBezTo>
                      <a:pt x="159527" y="653184"/>
                      <a:pt x="159480" y="653231"/>
                      <a:pt x="159433" y="653280"/>
                    </a:cubicBezTo>
                    <a:cubicBezTo>
                      <a:pt x="157813" y="654786"/>
                      <a:pt x="157722" y="657321"/>
                      <a:pt x="159228" y="658941"/>
                    </a:cubicBezTo>
                    <a:cubicBezTo>
                      <a:pt x="159294" y="659013"/>
                      <a:pt x="159363" y="659080"/>
                      <a:pt x="159433" y="659146"/>
                    </a:cubicBezTo>
                    <a:moveTo>
                      <a:pt x="126955" y="689334"/>
                    </a:moveTo>
                    <a:cubicBezTo>
                      <a:pt x="128377" y="690817"/>
                      <a:pt x="130732" y="690865"/>
                      <a:pt x="132214" y="689443"/>
                    </a:cubicBezTo>
                    <a:cubicBezTo>
                      <a:pt x="133697" y="688021"/>
                      <a:pt x="133745" y="685666"/>
                      <a:pt x="132323" y="684184"/>
                    </a:cubicBezTo>
                    <a:cubicBezTo>
                      <a:pt x="130901" y="682702"/>
                      <a:pt x="128546" y="682653"/>
                      <a:pt x="127064" y="684075"/>
                    </a:cubicBezTo>
                    <a:cubicBezTo>
                      <a:pt x="127026" y="684111"/>
                      <a:pt x="126991" y="684147"/>
                      <a:pt x="126955" y="684184"/>
                    </a:cubicBezTo>
                    <a:cubicBezTo>
                      <a:pt x="125574" y="685623"/>
                      <a:pt x="125574" y="687895"/>
                      <a:pt x="126955" y="689334"/>
                    </a:cubicBezTo>
                    <a:moveTo>
                      <a:pt x="407238" y="466710"/>
                    </a:moveTo>
                    <a:cubicBezTo>
                      <a:pt x="410365" y="469820"/>
                      <a:pt x="415415" y="469820"/>
                      <a:pt x="418541" y="466710"/>
                    </a:cubicBezTo>
                    <a:cubicBezTo>
                      <a:pt x="421603" y="463515"/>
                      <a:pt x="421494" y="458443"/>
                      <a:pt x="418300" y="455381"/>
                    </a:cubicBezTo>
                    <a:cubicBezTo>
                      <a:pt x="415369" y="452574"/>
                      <a:pt x="410802" y="452400"/>
                      <a:pt x="407668" y="454978"/>
                    </a:cubicBezTo>
                    <a:cubicBezTo>
                      <a:pt x="404540" y="458153"/>
                      <a:pt x="404540" y="463249"/>
                      <a:pt x="407668" y="466424"/>
                    </a:cubicBezTo>
                    <a:moveTo>
                      <a:pt x="375190" y="496899"/>
                    </a:moveTo>
                    <a:cubicBezTo>
                      <a:pt x="378113" y="499786"/>
                      <a:pt x="382824" y="499756"/>
                      <a:pt x="385711" y="496833"/>
                    </a:cubicBezTo>
                    <a:cubicBezTo>
                      <a:pt x="388599" y="493909"/>
                      <a:pt x="388569" y="489199"/>
                      <a:pt x="385646" y="486311"/>
                    </a:cubicBezTo>
                    <a:cubicBezTo>
                      <a:pt x="382747" y="483450"/>
                      <a:pt x="378087" y="483450"/>
                      <a:pt x="375190" y="486311"/>
                    </a:cubicBezTo>
                    <a:cubicBezTo>
                      <a:pt x="372267" y="489199"/>
                      <a:pt x="372237" y="493909"/>
                      <a:pt x="375124" y="496833"/>
                    </a:cubicBezTo>
                    <a:cubicBezTo>
                      <a:pt x="375145" y="496855"/>
                      <a:pt x="375167" y="496877"/>
                      <a:pt x="375190" y="496899"/>
                    </a:cubicBezTo>
                    <a:moveTo>
                      <a:pt x="341567" y="527660"/>
                    </a:moveTo>
                    <a:cubicBezTo>
                      <a:pt x="344283" y="530277"/>
                      <a:pt x="348581" y="530277"/>
                      <a:pt x="351296" y="527660"/>
                    </a:cubicBezTo>
                    <a:cubicBezTo>
                      <a:pt x="354022" y="525023"/>
                      <a:pt x="354095" y="520675"/>
                      <a:pt x="351458" y="517949"/>
                    </a:cubicBezTo>
                    <a:cubicBezTo>
                      <a:pt x="351405" y="517895"/>
                      <a:pt x="351351" y="517841"/>
                      <a:pt x="351296" y="517788"/>
                    </a:cubicBezTo>
                    <a:cubicBezTo>
                      <a:pt x="348581" y="515171"/>
                      <a:pt x="344283" y="515171"/>
                      <a:pt x="341567" y="517788"/>
                    </a:cubicBezTo>
                    <a:cubicBezTo>
                      <a:pt x="338842" y="520425"/>
                      <a:pt x="338769" y="524773"/>
                      <a:pt x="341405" y="527498"/>
                    </a:cubicBezTo>
                    <a:cubicBezTo>
                      <a:pt x="341458" y="527553"/>
                      <a:pt x="341513" y="527607"/>
                      <a:pt x="341567" y="527660"/>
                    </a:cubicBezTo>
                    <a:moveTo>
                      <a:pt x="308946" y="558135"/>
                    </a:moveTo>
                    <a:cubicBezTo>
                      <a:pt x="311374" y="560624"/>
                      <a:pt x="315359" y="560674"/>
                      <a:pt x="317848" y="558246"/>
                    </a:cubicBezTo>
                    <a:cubicBezTo>
                      <a:pt x="317885" y="558209"/>
                      <a:pt x="317923" y="558172"/>
                      <a:pt x="317960" y="558135"/>
                    </a:cubicBezTo>
                    <a:cubicBezTo>
                      <a:pt x="320863" y="556082"/>
                      <a:pt x="321554" y="552064"/>
                      <a:pt x="319501" y="549161"/>
                    </a:cubicBezTo>
                    <a:cubicBezTo>
                      <a:pt x="317448" y="546257"/>
                      <a:pt x="313430" y="545567"/>
                      <a:pt x="310527" y="547620"/>
                    </a:cubicBezTo>
                    <a:cubicBezTo>
                      <a:pt x="310041" y="547964"/>
                      <a:pt x="309606" y="548373"/>
                      <a:pt x="309232" y="548835"/>
                    </a:cubicBezTo>
                    <a:cubicBezTo>
                      <a:pt x="306743" y="551263"/>
                      <a:pt x="306693" y="555248"/>
                      <a:pt x="309121" y="557737"/>
                    </a:cubicBezTo>
                    <a:cubicBezTo>
                      <a:pt x="309158" y="557774"/>
                      <a:pt x="309195" y="557812"/>
                      <a:pt x="309232" y="557849"/>
                    </a:cubicBezTo>
                    <a:moveTo>
                      <a:pt x="276468" y="589182"/>
                    </a:moveTo>
                    <a:cubicBezTo>
                      <a:pt x="278680" y="591553"/>
                      <a:pt x="282396" y="591680"/>
                      <a:pt x="284766" y="589468"/>
                    </a:cubicBezTo>
                    <a:cubicBezTo>
                      <a:pt x="287137" y="587256"/>
                      <a:pt x="287265" y="583541"/>
                      <a:pt x="285053" y="581170"/>
                    </a:cubicBezTo>
                    <a:cubicBezTo>
                      <a:pt x="282841" y="578799"/>
                      <a:pt x="279125" y="578672"/>
                      <a:pt x="276754" y="580884"/>
                    </a:cubicBezTo>
                    <a:cubicBezTo>
                      <a:pt x="274383" y="583096"/>
                      <a:pt x="274256" y="586811"/>
                      <a:pt x="276468" y="589182"/>
                    </a:cubicBezTo>
                    <a:moveTo>
                      <a:pt x="243990" y="619657"/>
                    </a:moveTo>
                    <a:cubicBezTo>
                      <a:pt x="246052" y="621693"/>
                      <a:pt x="249368" y="621693"/>
                      <a:pt x="251430" y="619657"/>
                    </a:cubicBezTo>
                    <a:cubicBezTo>
                      <a:pt x="253620" y="617602"/>
                      <a:pt x="253729" y="614162"/>
                      <a:pt x="251675" y="611973"/>
                    </a:cubicBezTo>
                    <a:cubicBezTo>
                      <a:pt x="249620" y="609782"/>
                      <a:pt x="246181" y="609673"/>
                      <a:pt x="243990" y="611726"/>
                    </a:cubicBezTo>
                    <a:cubicBezTo>
                      <a:pt x="241800" y="613781"/>
                      <a:pt x="241691" y="617222"/>
                      <a:pt x="243745" y="619412"/>
                    </a:cubicBezTo>
                    <a:cubicBezTo>
                      <a:pt x="243824" y="619497"/>
                      <a:pt x="243906" y="619578"/>
                      <a:pt x="243990" y="619657"/>
                    </a:cubicBezTo>
                    <a:moveTo>
                      <a:pt x="211369" y="650132"/>
                    </a:moveTo>
                    <a:cubicBezTo>
                      <a:pt x="213268" y="652023"/>
                      <a:pt x="216338" y="652023"/>
                      <a:pt x="218237" y="650132"/>
                    </a:cubicBezTo>
                    <a:cubicBezTo>
                      <a:pt x="220134" y="648315"/>
                      <a:pt x="220197" y="645305"/>
                      <a:pt x="218380" y="643407"/>
                    </a:cubicBezTo>
                    <a:cubicBezTo>
                      <a:pt x="216563" y="641512"/>
                      <a:pt x="213551" y="641447"/>
                      <a:pt x="211655" y="643264"/>
                    </a:cubicBezTo>
                    <a:cubicBezTo>
                      <a:pt x="209857" y="645144"/>
                      <a:pt x="209857" y="648109"/>
                      <a:pt x="211655" y="649989"/>
                    </a:cubicBezTo>
                    <a:moveTo>
                      <a:pt x="178319" y="680035"/>
                    </a:moveTo>
                    <a:cubicBezTo>
                      <a:pt x="179988" y="681670"/>
                      <a:pt x="182658" y="681670"/>
                      <a:pt x="184328" y="680035"/>
                    </a:cubicBezTo>
                    <a:cubicBezTo>
                      <a:pt x="185948" y="678415"/>
                      <a:pt x="185948" y="675788"/>
                      <a:pt x="184328" y="674169"/>
                    </a:cubicBezTo>
                    <a:cubicBezTo>
                      <a:pt x="182658" y="672533"/>
                      <a:pt x="179987" y="672533"/>
                      <a:pt x="178319" y="674169"/>
                    </a:cubicBezTo>
                    <a:cubicBezTo>
                      <a:pt x="176755" y="675867"/>
                      <a:pt x="176755" y="678479"/>
                      <a:pt x="178319" y="680178"/>
                    </a:cubicBezTo>
                    <a:moveTo>
                      <a:pt x="145841" y="710653"/>
                    </a:moveTo>
                    <a:cubicBezTo>
                      <a:pt x="147211" y="712075"/>
                      <a:pt x="149476" y="712116"/>
                      <a:pt x="150898" y="710746"/>
                    </a:cubicBezTo>
                    <a:cubicBezTo>
                      <a:pt x="150930" y="710716"/>
                      <a:pt x="150961" y="710684"/>
                      <a:pt x="150991" y="710653"/>
                    </a:cubicBezTo>
                    <a:cubicBezTo>
                      <a:pt x="152454" y="709269"/>
                      <a:pt x="152518" y="706964"/>
                      <a:pt x="151135" y="705502"/>
                    </a:cubicBezTo>
                    <a:cubicBezTo>
                      <a:pt x="149751" y="704040"/>
                      <a:pt x="147446" y="703975"/>
                      <a:pt x="145984" y="705359"/>
                    </a:cubicBezTo>
                    <a:cubicBezTo>
                      <a:pt x="144562" y="706729"/>
                      <a:pt x="144520" y="708994"/>
                      <a:pt x="145891" y="710417"/>
                    </a:cubicBezTo>
                    <a:cubicBezTo>
                      <a:pt x="145921" y="710448"/>
                      <a:pt x="145952" y="710479"/>
                      <a:pt x="145984" y="710510"/>
                    </a:cubicBezTo>
                    <a:moveTo>
                      <a:pt x="309518" y="363124"/>
                    </a:moveTo>
                    <a:cubicBezTo>
                      <a:pt x="312639" y="366260"/>
                      <a:pt x="317712" y="366273"/>
                      <a:pt x="320850" y="363153"/>
                    </a:cubicBezTo>
                    <a:cubicBezTo>
                      <a:pt x="323986" y="360031"/>
                      <a:pt x="323999" y="354957"/>
                      <a:pt x="320877" y="351821"/>
                    </a:cubicBezTo>
                    <a:cubicBezTo>
                      <a:pt x="317757" y="348685"/>
                      <a:pt x="312683" y="348672"/>
                      <a:pt x="309547" y="351792"/>
                    </a:cubicBezTo>
                    <a:cubicBezTo>
                      <a:pt x="309537" y="351802"/>
                      <a:pt x="309528" y="351811"/>
                      <a:pt x="309518" y="351821"/>
                    </a:cubicBezTo>
                    <a:cubicBezTo>
                      <a:pt x="306408" y="354947"/>
                      <a:pt x="306408" y="359998"/>
                      <a:pt x="309518" y="363124"/>
                    </a:cubicBezTo>
                    <a:moveTo>
                      <a:pt x="277040" y="393599"/>
                    </a:moveTo>
                    <a:cubicBezTo>
                      <a:pt x="279815" y="396522"/>
                      <a:pt x="284433" y="396645"/>
                      <a:pt x="287356" y="393871"/>
                    </a:cubicBezTo>
                    <a:cubicBezTo>
                      <a:pt x="287449" y="393782"/>
                      <a:pt x="287539" y="393692"/>
                      <a:pt x="287628" y="393599"/>
                    </a:cubicBezTo>
                    <a:cubicBezTo>
                      <a:pt x="290631" y="390755"/>
                      <a:pt x="290758" y="386014"/>
                      <a:pt x="287914" y="383011"/>
                    </a:cubicBezTo>
                    <a:cubicBezTo>
                      <a:pt x="285070" y="380008"/>
                      <a:pt x="280330" y="379881"/>
                      <a:pt x="277327" y="382725"/>
                    </a:cubicBezTo>
                    <a:cubicBezTo>
                      <a:pt x="274442" y="385539"/>
                      <a:pt x="274386" y="390159"/>
                      <a:pt x="277201" y="393044"/>
                    </a:cubicBezTo>
                    <a:cubicBezTo>
                      <a:pt x="277242" y="393087"/>
                      <a:pt x="277284" y="393128"/>
                      <a:pt x="277327" y="393170"/>
                    </a:cubicBezTo>
                    <a:moveTo>
                      <a:pt x="244849" y="423788"/>
                    </a:moveTo>
                    <a:cubicBezTo>
                      <a:pt x="247564" y="426404"/>
                      <a:pt x="251862" y="426404"/>
                      <a:pt x="254578" y="423788"/>
                    </a:cubicBezTo>
                    <a:cubicBezTo>
                      <a:pt x="257303" y="421151"/>
                      <a:pt x="257376" y="416803"/>
                      <a:pt x="254739" y="414077"/>
                    </a:cubicBezTo>
                    <a:cubicBezTo>
                      <a:pt x="254686" y="414023"/>
                      <a:pt x="254632" y="413968"/>
                      <a:pt x="254578" y="413915"/>
                    </a:cubicBezTo>
                    <a:cubicBezTo>
                      <a:pt x="251862" y="411299"/>
                      <a:pt x="247564" y="411299"/>
                      <a:pt x="244849" y="413915"/>
                    </a:cubicBezTo>
                    <a:cubicBezTo>
                      <a:pt x="242123" y="416552"/>
                      <a:pt x="242050" y="420900"/>
                      <a:pt x="244687" y="423626"/>
                    </a:cubicBezTo>
                    <a:cubicBezTo>
                      <a:pt x="244740" y="423680"/>
                      <a:pt x="244794" y="423735"/>
                      <a:pt x="244849" y="423788"/>
                    </a:cubicBezTo>
                    <a:moveTo>
                      <a:pt x="211941" y="454692"/>
                    </a:moveTo>
                    <a:cubicBezTo>
                      <a:pt x="213830" y="457705"/>
                      <a:pt x="217805" y="458615"/>
                      <a:pt x="220816" y="456726"/>
                    </a:cubicBezTo>
                    <a:cubicBezTo>
                      <a:pt x="223829" y="454836"/>
                      <a:pt x="224739" y="450863"/>
                      <a:pt x="222851" y="447851"/>
                    </a:cubicBezTo>
                    <a:cubicBezTo>
                      <a:pt x="222427" y="447175"/>
                      <a:pt x="221881" y="446584"/>
                      <a:pt x="221241" y="446107"/>
                    </a:cubicBezTo>
                    <a:cubicBezTo>
                      <a:pt x="218792" y="443499"/>
                      <a:pt x="214693" y="443372"/>
                      <a:pt x="212084" y="445821"/>
                    </a:cubicBezTo>
                    <a:cubicBezTo>
                      <a:pt x="209476" y="448271"/>
                      <a:pt x="209349" y="452370"/>
                      <a:pt x="211798" y="454978"/>
                    </a:cubicBezTo>
                    <a:moveTo>
                      <a:pt x="179320" y="485453"/>
                    </a:moveTo>
                    <a:cubicBezTo>
                      <a:pt x="181532" y="487824"/>
                      <a:pt x="185248" y="487951"/>
                      <a:pt x="187619" y="485739"/>
                    </a:cubicBezTo>
                    <a:cubicBezTo>
                      <a:pt x="189989" y="483527"/>
                      <a:pt x="190117" y="479811"/>
                      <a:pt x="187905" y="477441"/>
                    </a:cubicBezTo>
                    <a:cubicBezTo>
                      <a:pt x="185727" y="475149"/>
                      <a:pt x="182106" y="475056"/>
                      <a:pt x="179814" y="477233"/>
                    </a:cubicBezTo>
                    <a:cubicBezTo>
                      <a:pt x="179742" y="477300"/>
                      <a:pt x="179674" y="477369"/>
                      <a:pt x="179606" y="477441"/>
                    </a:cubicBezTo>
                    <a:cubicBezTo>
                      <a:pt x="177314" y="479731"/>
                      <a:pt x="177314" y="483446"/>
                      <a:pt x="179604" y="485736"/>
                    </a:cubicBezTo>
                    <a:cubicBezTo>
                      <a:pt x="179605" y="485738"/>
                      <a:pt x="179605" y="485738"/>
                      <a:pt x="179606" y="485739"/>
                    </a:cubicBezTo>
                    <a:moveTo>
                      <a:pt x="147128" y="516214"/>
                    </a:moveTo>
                    <a:cubicBezTo>
                      <a:pt x="149143" y="518347"/>
                      <a:pt x="152507" y="518443"/>
                      <a:pt x="154640" y="516429"/>
                    </a:cubicBezTo>
                    <a:cubicBezTo>
                      <a:pt x="156773" y="514414"/>
                      <a:pt x="156869" y="511050"/>
                      <a:pt x="154855" y="508917"/>
                    </a:cubicBezTo>
                    <a:cubicBezTo>
                      <a:pt x="152744" y="506864"/>
                      <a:pt x="149382" y="506864"/>
                      <a:pt x="147272" y="508917"/>
                    </a:cubicBezTo>
                    <a:cubicBezTo>
                      <a:pt x="145290" y="511056"/>
                      <a:pt x="145290" y="514361"/>
                      <a:pt x="147272" y="516500"/>
                    </a:cubicBezTo>
                    <a:moveTo>
                      <a:pt x="114507" y="546260"/>
                    </a:moveTo>
                    <a:cubicBezTo>
                      <a:pt x="116365" y="548091"/>
                      <a:pt x="119353" y="548070"/>
                      <a:pt x="121185" y="546212"/>
                    </a:cubicBezTo>
                    <a:cubicBezTo>
                      <a:pt x="123015" y="544355"/>
                      <a:pt x="122993" y="541367"/>
                      <a:pt x="121137" y="539535"/>
                    </a:cubicBezTo>
                    <a:cubicBezTo>
                      <a:pt x="119299" y="537722"/>
                      <a:pt x="116346" y="537722"/>
                      <a:pt x="114507" y="539535"/>
                    </a:cubicBezTo>
                    <a:cubicBezTo>
                      <a:pt x="112650" y="541367"/>
                      <a:pt x="112629" y="544355"/>
                      <a:pt x="114460" y="546212"/>
                    </a:cubicBezTo>
                    <a:cubicBezTo>
                      <a:pt x="114476" y="546228"/>
                      <a:pt x="114492" y="546244"/>
                      <a:pt x="114507" y="546260"/>
                    </a:cubicBezTo>
                    <a:moveTo>
                      <a:pt x="81886" y="576735"/>
                    </a:moveTo>
                    <a:cubicBezTo>
                      <a:pt x="83546" y="578427"/>
                      <a:pt x="86263" y="578454"/>
                      <a:pt x="87956" y="576795"/>
                    </a:cubicBezTo>
                    <a:cubicBezTo>
                      <a:pt x="89650" y="575137"/>
                      <a:pt x="89677" y="572418"/>
                      <a:pt x="88017" y="570725"/>
                    </a:cubicBezTo>
                    <a:cubicBezTo>
                      <a:pt x="86357" y="569033"/>
                      <a:pt x="83640" y="569006"/>
                      <a:pt x="81946" y="570665"/>
                    </a:cubicBezTo>
                    <a:cubicBezTo>
                      <a:pt x="81926" y="570685"/>
                      <a:pt x="81906" y="570705"/>
                      <a:pt x="81886" y="570725"/>
                    </a:cubicBezTo>
                    <a:cubicBezTo>
                      <a:pt x="80251" y="572394"/>
                      <a:pt x="80251" y="575065"/>
                      <a:pt x="81886" y="576735"/>
                    </a:cubicBezTo>
                    <a:moveTo>
                      <a:pt x="49551" y="607066"/>
                    </a:moveTo>
                    <a:cubicBezTo>
                      <a:pt x="50922" y="608489"/>
                      <a:pt x="53187" y="608530"/>
                      <a:pt x="54609" y="607159"/>
                    </a:cubicBezTo>
                    <a:cubicBezTo>
                      <a:pt x="54641" y="607129"/>
                      <a:pt x="54672" y="607098"/>
                      <a:pt x="54702" y="607066"/>
                    </a:cubicBezTo>
                    <a:cubicBezTo>
                      <a:pt x="56124" y="605696"/>
                      <a:pt x="56166" y="603431"/>
                      <a:pt x="54795" y="602009"/>
                    </a:cubicBezTo>
                    <a:cubicBezTo>
                      <a:pt x="54765" y="601977"/>
                      <a:pt x="54734" y="601946"/>
                      <a:pt x="54702" y="601916"/>
                    </a:cubicBezTo>
                    <a:cubicBezTo>
                      <a:pt x="53331" y="600494"/>
                      <a:pt x="51067" y="600452"/>
                      <a:pt x="49644" y="601823"/>
                    </a:cubicBezTo>
                    <a:cubicBezTo>
                      <a:pt x="49613" y="601853"/>
                      <a:pt x="49582" y="601884"/>
                      <a:pt x="49551" y="601916"/>
                    </a:cubicBezTo>
                    <a:cubicBezTo>
                      <a:pt x="48152" y="603402"/>
                      <a:pt x="48152" y="605723"/>
                      <a:pt x="49551" y="607210"/>
                    </a:cubicBezTo>
                    <a:moveTo>
                      <a:pt x="17073" y="637684"/>
                    </a:moveTo>
                    <a:cubicBezTo>
                      <a:pt x="18301" y="638903"/>
                      <a:pt x="20281" y="638903"/>
                      <a:pt x="21509" y="637684"/>
                    </a:cubicBezTo>
                    <a:cubicBezTo>
                      <a:pt x="22655" y="636428"/>
                      <a:pt x="22655" y="634505"/>
                      <a:pt x="21509" y="633249"/>
                    </a:cubicBezTo>
                    <a:cubicBezTo>
                      <a:pt x="20281" y="632030"/>
                      <a:pt x="18301" y="632030"/>
                      <a:pt x="17073" y="633249"/>
                    </a:cubicBezTo>
                    <a:cubicBezTo>
                      <a:pt x="15849" y="634369"/>
                      <a:pt x="15763" y="636269"/>
                      <a:pt x="16883" y="637494"/>
                    </a:cubicBezTo>
                    <a:cubicBezTo>
                      <a:pt x="16943" y="637560"/>
                      <a:pt x="17008" y="637624"/>
                      <a:pt x="17073" y="637684"/>
                    </a:cubicBezTo>
                    <a:moveTo>
                      <a:pt x="328977" y="383870"/>
                    </a:moveTo>
                    <a:cubicBezTo>
                      <a:pt x="332103" y="386980"/>
                      <a:pt x="337153" y="386980"/>
                      <a:pt x="340279" y="383870"/>
                    </a:cubicBezTo>
                    <a:cubicBezTo>
                      <a:pt x="343407" y="380695"/>
                      <a:pt x="343407" y="375599"/>
                      <a:pt x="340279" y="372424"/>
                    </a:cubicBezTo>
                    <a:cubicBezTo>
                      <a:pt x="337075" y="369372"/>
                      <a:pt x="332038" y="369372"/>
                      <a:pt x="328833" y="372424"/>
                    </a:cubicBezTo>
                    <a:cubicBezTo>
                      <a:pt x="325723" y="375550"/>
                      <a:pt x="325723" y="380601"/>
                      <a:pt x="328833" y="383727"/>
                    </a:cubicBezTo>
                    <a:moveTo>
                      <a:pt x="296212" y="414202"/>
                    </a:moveTo>
                    <a:cubicBezTo>
                      <a:pt x="299100" y="417125"/>
                      <a:pt x="303810" y="417155"/>
                      <a:pt x="306734" y="414267"/>
                    </a:cubicBezTo>
                    <a:cubicBezTo>
                      <a:pt x="306756" y="414246"/>
                      <a:pt x="306778" y="414225"/>
                      <a:pt x="306800" y="414202"/>
                    </a:cubicBezTo>
                    <a:cubicBezTo>
                      <a:pt x="309803" y="411396"/>
                      <a:pt x="309963" y="406689"/>
                      <a:pt x="307158" y="403686"/>
                    </a:cubicBezTo>
                    <a:cubicBezTo>
                      <a:pt x="304352" y="400682"/>
                      <a:pt x="299645" y="400522"/>
                      <a:pt x="296642" y="403328"/>
                    </a:cubicBezTo>
                    <a:cubicBezTo>
                      <a:pt x="293770" y="406272"/>
                      <a:pt x="293770" y="410971"/>
                      <a:pt x="296642" y="413915"/>
                    </a:cubicBezTo>
                    <a:moveTo>
                      <a:pt x="264164" y="444820"/>
                    </a:moveTo>
                    <a:cubicBezTo>
                      <a:pt x="266801" y="447545"/>
                      <a:pt x="271149" y="447618"/>
                      <a:pt x="273874" y="444981"/>
                    </a:cubicBezTo>
                    <a:cubicBezTo>
                      <a:pt x="273928" y="444928"/>
                      <a:pt x="273983" y="444874"/>
                      <a:pt x="274036" y="444820"/>
                    </a:cubicBezTo>
                    <a:cubicBezTo>
                      <a:pt x="276653" y="442104"/>
                      <a:pt x="276653" y="437806"/>
                      <a:pt x="274036" y="435091"/>
                    </a:cubicBezTo>
                    <a:cubicBezTo>
                      <a:pt x="271399" y="432365"/>
                      <a:pt x="267051" y="432292"/>
                      <a:pt x="264325" y="434929"/>
                    </a:cubicBezTo>
                    <a:cubicBezTo>
                      <a:pt x="264271" y="434982"/>
                      <a:pt x="264217" y="435036"/>
                      <a:pt x="264164" y="435091"/>
                    </a:cubicBezTo>
                    <a:cubicBezTo>
                      <a:pt x="261547" y="437806"/>
                      <a:pt x="261547" y="442104"/>
                      <a:pt x="264164" y="444820"/>
                    </a:cubicBezTo>
                    <a:moveTo>
                      <a:pt x="231400" y="474722"/>
                    </a:moveTo>
                    <a:cubicBezTo>
                      <a:pt x="233889" y="477262"/>
                      <a:pt x="237965" y="477302"/>
                      <a:pt x="240505" y="474814"/>
                    </a:cubicBezTo>
                    <a:cubicBezTo>
                      <a:pt x="243043" y="472324"/>
                      <a:pt x="243084" y="468248"/>
                      <a:pt x="240595" y="465709"/>
                    </a:cubicBezTo>
                    <a:cubicBezTo>
                      <a:pt x="238107" y="463169"/>
                      <a:pt x="234029" y="463129"/>
                      <a:pt x="231491" y="465617"/>
                    </a:cubicBezTo>
                    <a:cubicBezTo>
                      <a:pt x="231460" y="465647"/>
                      <a:pt x="231430" y="465679"/>
                      <a:pt x="231400" y="465709"/>
                    </a:cubicBezTo>
                    <a:cubicBezTo>
                      <a:pt x="228910" y="468137"/>
                      <a:pt x="228860" y="472121"/>
                      <a:pt x="231288" y="474611"/>
                    </a:cubicBezTo>
                    <a:cubicBezTo>
                      <a:pt x="231325" y="474648"/>
                      <a:pt x="231362" y="474685"/>
                      <a:pt x="231400" y="474722"/>
                    </a:cubicBezTo>
                    <a:moveTo>
                      <a:pt x="198922" y="505197"/>
                    </a:moveTo>
                    <a:cubicBezTo>
                      <a:pt x="201025" y="507449"/>
                      <a:pt x="204556" y="507569"/>
                      <a:pt x="206808" y="505466"/>
                    </a:cubicBezTo>
                    <a:cubicBezTo>
                      <a:pt x="206901" y="505379"/>
                      <a:pt x="206991" y="505290"/>
                      <a:pt x="207077" y="505197"/>
                    </a:cubicBezTo>
                    <a:cubicBezTo>
                      <a:pt x="209369" y="503020"/>
                      <a:pt x="209462" y="499398"/>
                      <a:pt x="207284" y="497106"/>
                    </a:cubicBezTo>
                    <a:cubicBezTo>
                      <a:pt x="207217" y="497035"/>
                      <a:pt x="207148" y="496966"/>
                      <a:pt x="207077" y="496899"/>
                    </a:cubicBezTo>
                    <a:cubicBezTo>
                      <a:pt x="204803" y="494700"/>
                      <a:pt x="201195" y="494700"/>
                      <a:pt x="198922" y="496899"/>
                    </a:cubicBezTo>
                    <a:cubicBezTo>
                      <a:pt x="196629" y="499076"/>
                      <a:pt x="196536" y="502698"/>
                      <a:pt x="198714" y="504990"/>
                    </a:cubicBezTo>
                    <a:cubicBezTo>
                      <a:pt x="198781" y="505061"/>
                      <a:pt x="198850" y="505130"/>
                      <a:pt x="198922" y="505197"/>
                    </a:cubicBezTo>
                    <a:moveTo>
                      <a:pt x="166300" y="536244"/>
                    </a:moveTo>
                    <a:cubicBezTo>
                      <a:pt x="168411" y="538298"/>
                      <a:pt x="171773" y="538298"/>
                      <a:pt x="173883" y="536244"/>
                    </a:cubicBezTo>
                    <a:cubicBezTo>
                      <a:pt x="175919" y="534183"/>
                      <a:pt x="175919" y="530866"/>
                      <a:pt x="173883" y="528805"/>
                    </a:cubicBezTo>
                    <a:cubicBezTo>
                      <a:pt x="171773" y="526751"/>
                      <a:pt x="168411" y="526751"/>
                      <a:pt x="166300" y="528805"/>
                    </a:cubicBezTo>
                    <a:cubicBezTo>
                      <a:pt x="164265" y="530866"/>
                      <a:pt x="164265" y="534183"/>
                      <a:pt x="166300" y="536244"/>
                    </a:cubicBezTo>
                    <a:moveTo>
                      <a:pt x="133822" y="566719"/>
                    </a:moveTo>
                    <a:cubicBezTo>
                      <a:pt x="135680" y="568551"/>
                      <a:pt x="138668" y="568529"/>
                      <a:pt x="140500" y="566672"/>
                    </a:cubicBezTo>
                    <a:cubicBezTo>
                      <a:pt x="142330" y="564815"/>
                      <a:pt x="142308" y="561826"/>
                      <a:pt x="140453" y="559995"/>
                    </a:cubicBezTo>
                    <a:cubicBezTo>
                      <a:pt x="138614" y="558182"/>
                      <a:pt x="135661" y="558182"/>
                      <a:pt x="133822" y="559995"/>
                    </a:cubicBezTo>
                    <a:cubicBezTo>
                      <a:pt x="131965" y="561826"/>
                      <a:pt x="131944" y="564815"/>
                      <a:pt x="133775" y="566672"/>
                    </a:cubicBezTo>
                    <a:cubicBezTo>
                      <a:pt x="133791" y="566688"/>
                      <a:pt x="133807" y="566704"/>
                      <a:pt x="133822" y="566719"/>
                    </a:cubicBezTo>
                    <a:moveTo>
                      <a:pt x="101345" y="597194"/>
                    </a:moveTo>
                    <a:cubicBezTo>
                      <a:pt x="103014" y="598830"/>
                      <a:pt x="105684" y="598830"/>
                      <a:pt x="107354" y="597194"/>
                    </a:cubicBezTo>
                    <a:cubicBezTo>
                      <a:pt x="108917" y="595496"/>
                      <a:pt x="108917" y="592883"/>
                      <a:pt x="107354" y="591185"/>
                    </a:cubicBezTo>
                    <a:cubicBezTo>
                      <a:pt x="105684" y="589550"/>
                      <a:pt x="103013" y="589550"/>
                      <a:pt x="101345" y="591185"/>
                    </a:cubicBezTo>
                    <a:cubicBezTo>
                      <a:pt x="99725" y="592805"/>
                      <a:pt x="99725" y="595432"/>
                      <a:pt x="101345" y="597051"/>
                    </a:cubicBezTo>
                    <a:moveTo>
                      <a:pt x="68867" y="627526"/>
                    </a:moveTo>
                    <a:cubicBezTo>
                      <a:pt x="70237" y="628948"/>
                      <a:pt x="72502" y="628990"/>
                      <a:pt x="73924" y="627619"/>
                    </a:cubicBezTo>
                    <a:cubicBezTo>
                      <a:pt x="73956" y="627589"/>
                      <a:pt x="73987" y="627558"/>
                      <a:pt x="74017" y="627526"/>
                    </a:cubicBezTo>
                    <a:cubicBezTo>
                      <a:pt x="75417" y="626038"/>
                      <a:pt x="75417" y="623719"/>
                      <a:pt x="74017" y="622232"/>
                    </a:cubicBezTo>
                    <a:cubicBezTo>
                      <a:pt x="72647" y="620810"/>
                      <a:pt x="70382" y="620769"/>
                      <a:pt x="68960" y="622139"/>
                    </a:cubicBezTo>
                    <a:cubicBezTo>
                      <a:pt x="68928" y="622169"/>
                      <a:pt x="68897" y="622201"/>
                      <a:pt x="68867" y="622232"/>
                    </a:cubicBezTo>
                    <a:cubicBezTo>
                      <a:pt x="67444" y="623603"/>
                      <a:pt x="67403" y="625868"/>
                      <a:pt x="68774" y="627290"/>
                    </a:cubicBezTo>
                    <a:cubicBezTo>
                      <a:pt x="68804" y="627322"/>
                      <a:pt x="68835" y="627353"/>
                      <a:pt x="68867" y="627383"/>
                    </a:cubicBezTo>
                    <a:moveTo>
                      <a:pt x="36245" y="658001"/>
                    </a:moveTo>
                    <a:cubicBezTo>
                      <a:pt x="37473" y="659220"/>
                      <a:pt x="39453" y="659220"/>
                      <a:pt x="40681" y="658001"/>
                    </a:cubicBezTo>
                    <a:cubicBezTo>
                      <a:pt x="41865" y="656839"/>
                      <a:pt x="41885" y="654938"/>
                      <a:pt x="40724" y="653752"/>
                    </a:cubicBezTo>
                    <a:cubicBezTo>
                      <a:pt x="40709" y="653737"/>
                      <a:pt x="40695" y="653723"/>
                      <a:pt x="40681" y="653709"/>
                    </a:cubicBezTo>
                    <a:cubicBezTo>
                      <a:pt x="39562" y="652484"/>
                      <a:pt x="37660" y="652398"/>
                      <a:pt x="36436" y="653519"/>
                    </a:cubicBezTo>
                    <a:cubicBezTo>
                      <a:pt x="36370" y="653579"/>
                      <a:pt x="36306" y="653643"/>
                      <a:pt x="36245" y="653709"/>
                    </a:cubicBezTo>
                    <a:cubicBezTo>
                      <a:pt x="35026" y="654936"/>
                      <a:pt x="35026" y="656917"/>
                      <a:pt x="36245" y="658144"/>
                    </a:cubicBezTo>
                    <a:moveTo>
                      <a:pt x="348292" y="404616"/>
                    </a:moveTo>
                    <a:cubicBezTo>
                      <a:pt x="351497" y="407667"/>
                      <a:pt x="356533" y="407667"/>
                      <a:pt x="359738" y="404616"/>
                    </a:cubicBezTo>
                    <a:cubicBezTo>
                      <a:pt x="362848" y="401489"/>
                      <a:pt x="362848" y="396439"/>
                      <a:pt x="359738" y="393313"/>
                    </a:cubicBezTo>
                    <a:cubicBezTo>
                      <a:pt x="356611" y="390202"/>
                      <a:pt x="351561" y="390202"/>
                      <a:pt x="348435" y="393313"/>
                    </a:cubicBezTo>
                    <a:cubicBezTo>
                      <a:pt x="345307" y="396488"/>
                      <a:pt x="345307" y="401584"/>
                      <a:pt x="348435" y="404759"/>
                    </a:cubicBezTo>
                    <a:moveTo>
                      <a:pt x="315957" y="435234"/>
                    </a:moveTo>
                    <a:cubicBezTo>
                      <a:pt x="318880" y="438121"/>
                      <a:pt x="323591" y="438091"/>
                      <a:pt x="326478" y="435168"/>
                    </a:cubicBezTo>
                    <a:cubicBezTo>
                      <a:pt x="329366" y="432243"/>
                      <a:pt x="329336" y="427533"/>
                      <a:pt x="326413" y="424646"/>
                    </a:cubicBezTo>
                    <a:cubicBezTo>
                      <a:pt x="323514" y="421785"/>
                      <a:pt x="318854" y="421785"/>
                      <a:pt x="315957" y="424646"/>
                    </a:cubicBezTo>
                    <a:cubicBezTo>
                      <a:pt x="313034" y="427533"/>
                      <a:pt x="313004" y="432243"/>
                      <a:pt x="315891" y="435168"/>
                    </a:cubicBezTo>
                    <a:cubicBezTo>
                      <a:pt x="315912" y="435189"/>
                      <a:pt x="315934" y="435212"/>
                      <a:pt x="315957" y="435234"/>
                    </a:cubicBezTo>
                    <a:moveTo>
                      <a:pt x="283479" y="465709"/>
                    </a:moveTo>
                    <a:cubicBezTo>
                      <a:pt x="286373" y="468281"/>
                      <a:pt x="290804" y="468019"/>
                      <a:pt x="293377" y="465125"/>
                    </a:cubicBezTo>
                    <a:cubicBezTo>
                      <a:pt x="295634" y="462584"/>
                      <a:pt x="295743" y="458789"/>
                      <a:pt x="293637" y="456123"/>
                    </a:cubicBezTo>
                    <a:cubicBezTo>
                      <a:pt x="290873" y="453489"/>
                      <a:pt x="286528" y="453489"/>
                      <a:pt x="283765" y="456123"/>
                    </a:cubicBezTo>
                    <a:cubicBezTo>
                      <a:pt x="281039" y="458759"/>
                      <a:pt x="280966" y="463107"/>
                      <a:pt x="283603" y="465833"/>
                    </a:cubicBezTo>
                    <a:cubicBezTo>
                      <a:pt x="283656" y="465887"/>
                      <a:pt x="283711" y="465942"/>
                      <a:pt x="283765" y="465995"/>
                    </a:cubicBezTo>
                    <a:moveTo>
                      <a:pt x="251287" y="496470"/>
                    </a:moveTo>
                    <a:cubicBezTo>
                      <a:pt x="253776" y="499009"/>
                      <a:pt x="257853" y="499049"/>
                      <a:pt x="260392" y="496561"/>
                    </a:cubicBezTo>
                    <a:cubicBezTo>
                      <a:pt x="262930" y="494072"/>
                      <a:pt x="262972" y="489996"/>
                      <a:pt x="260482" y="487456"/>
                    </a:cubicBezTo>
                    <a:cubicBezTo>
                      <a:pt x="257994" y="484916"/>
                      <a:pt x="253917" y="484876"/>
                      <a:pt x="251378" y="487364"/>
                    </a:cubicBezTo>
                    <a:cubicBezTo>
                      <a:pt x="251347" y="487394"/>
                      <a:pt x="251317" y="487426"/>
                      <a:pt x="251287" y="487456"/>
                    </a:cubicBezTo>
                    <a:cubicBezTo>
                      <a:pt x="248797" y="489884"/>
                      <a:pt x="248747" y="493869"/>
                      <a:pt x="251175" y="496358"/>
                    </a:cubicBezTo>
                    <a:cubicBezTo>
                      <a:pt x="251213" y="496395"/>
                      <a:pt x="251250" y="496432"/>
                      <a:pt x="251287" y="496470"/>
                    </a:cubicBezTo>
                    <a:moveTo>
                      <a:pt x="218666" y="526945"/>
                    </a:moveTo>
                    <a:cubicBezTo>
                      <a:pt x="220988" y="529161"/>
                      <a:pt x="224642" y="529161"/>
                      <a:pt x="226964" y="526945"/>
                    </a:cubicBezTo>
                    <a:cubicBezTo>
                      <a:pt x="229335" y="524733"/>
                      <a:pt x="229462" y="521017"/>
                      <a:pt x="227250" y="518646"/>
                    </a:cubicBezTo>
                    <a:cubicBezTo>
                      <a:pt x="225038" y="516275"/>
                      <a:pt x="221323" y="516148"/>
                      <a:pt x="218952" y="518360"/>
                    </a:cubicBezTo>
                    <a:cubicBezTo>
                      <a:pt x="216736" y="520682"/>
                      <a:pt x="216736" y="524336"/>
                      <a:pt x="218952" y="526658"/>
                    </a:cubicBezTo>
                    <a:moveTo>
                      <a:pt x="186474" y="557133"/>
                    </a:moveTo>
                    <a:cubicBezTo>
                      <a:pt x="188536" y="559169"/>
                      <a:pt x="191852" y="559169"/>
                      <a:pt x="193914" y="557133"/>
                    </a:cubicBezTo>
                    <a:cubicBezTo>
                      <a:pt x="195967" y="555023"/>
                      <a:pt x="195967" y="551661"/>
                      <a:pt x="193914" y="549550"/>
                    </a:cubicBezTo>
                    <a:cubicBezTo>
                      <a:pt x="191852" y="547514"/>
                      <a:pt x="188536" y="547514"/>
                      <a:pt x="186474" y="549550"/>
                    </a:cubicBezTo>
                    <a:cubicBezTo>
                      <a:pt x="184421" y="551661"/>
                      <a:pt x="184421" y="555023"/>
                      <a:pt x="186474" y="557133"/>
                    </a:cubicBezTo>
                    <a:moveTo>
                      <a:pt x="153996" y="587608"/>
                    </a:moveTo>
                    <a:cubicBezTo>
                      <a:pt x="155853" y="589440"/>
                      <a:pt x="158842" y="589418"/>
                      <a:pt x="160673" y="587561"/>
                    </a:cubicBezTo>
                    <a:cubicBezTo>
                      <a:pt x="162503" y="585704"/>
                      <a:pt x="162482" y="582715"/>
                      <a:pt x="160626" y="580884"/>
                    </a:cubicBezTo>
                    <a:cubicBezTo>
                      <a:pt x="158788" y="579071"/>
                      <a:pt x="155835" y="579071"/>
                      <a:pt x="153996" y="580884"/>
                    </a:cubicBezTo>
                    <a:cubicBezTo>
                      <a:pt x="152139" y="582715"/>
                      <a:pt x="152117" y="585704"/>
                      <a:pt x="153949" y="587561"/>
                    </a:cubicBezTo>
                    <a:cubicBezTo>
                      <a:pt x="153965" y="587577"/>
                      <a:pt x="153980" y="587593"/>
                      <a:pt x="153996" y="587608"/>
                    </a:cubicBezTo>
                    <a:moveTo>
                      <a:pt x="121089" y="617797"/>
                    </a:moveTo>
                    <a:cubicBezTo>
                      <a:pt x="122670" y="619457"/>
                      <a:pt x="125295" y="619521"/>
                      <a:pt x="126955" y="617940"/>
                    </a:cubicBezTo>
                    <a:cubicBezTo>
                      <a:pt x="127004" y="617894"/>
                      <a:pt x="127051" y="617846"/>
                      <a:pt x="127098" y="617797"/>
                    </a:cubicBezTo>
                    <a:cubicBezTo>
                      <a:pt x="128718" y="616290"/>
                      <a:pt x="128809" y="613755"/>
                      <a:pt x="127303" y="612136"/>
                    </a:cubicBezTo>
                    <a:cubicBezTo>
                      <a:pt x="127237" y="612064"/>
                      <a:pt x="127168" y="611997"/>
                      <a:pt x="127098" y="611931"/>
                    </a:cubicBezTo>
                    <a:cubicBezTo>
                      <a:pt x="125478" y="610311"/>
                      <a:pt x="122852" y="610311"/>
                      <a:pt x="121232" y="611931"/>
                    </a:cubicBezTo>
                    <a:cubicBezTo>
                      <a:pt x="119647" y="613543"/>
                      <a:pt x="119584" y="616109"/>
                      <a:pt x="121089" y="617797"/>
                    </a:cubicBezTo>
                    <a:moveTo>
                      <a:pt x="88182" y="648415"/>
                    </a:moveTo>
                    <a:cubicBezTo>
                      <a:pt x="89737" y="649759"/>
                      <a:pt x="92086" y="649587"/>
                      <a:pt x="93428" y="648032"/>
                    </a:cubicBezTo>
                    <a:cubicBezTo>
                      <a:pt x="94560" y="646722"/>
                      <a:pt x="94639" y="644805"/>
                      <a:pt x="93619" y="643407"/>
                    </a:cubicBezTo>
                    <a:cubicBezTo>
                      <a:pt x="92132" y="642008"/>
                      <a:pt x="89813" y="642008"/>
                      <a:pt x="88325" y="643407"/>
                    </a:cubicBezTo>
                    <a:cubicBezTo>
                      <a:pt x="86903" y="644778"/>
                      <a:pt x="86861" y="647043"/>
                      <a:pt x="88232" y="648465"/>
                    </a:cubicBezTo>
                    <a:cubicBezTo>
                      <a:pt x="88262" y="648497"/>
                      <a:pt x="88293" y="648528"/>
                      <a:pt x="88325" y="648558"/>
                    </a:cubicBezTo>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23" name="Group 122">
              <a:extLst>
                <a:ext uri="{FF2B5EF4-FFF2-40B4-BE49-F238E27FC236}">
                  <a16:creationId xmlns:a16="http://schemas.microsoft.com/office/drawing/2014/main" id="{0B4DF7C2-EDE5-4A8A-97D0-9FFE1339DAC0}"/>
                </a:ext>
              </a:extLst>
            </p:cNvPr>
            <p:cNvGrpSpPr/>
            <p:nvPr/>
          </p:nvGrpSpPr>
          <p:grpSpPr>
            <a:xfrm>
              <a:off x="4920252" y="4617286"/>
              <a:ext cx="2244758" cy="840924"/>
              <a:chOff x="4832317" y="4492648"/>
              <a:chExt cx="2424911" cy="908412"/>
            </a:xfrm>
          </p:grpSpPr>
          <p:grpSp>
            <p:nvGrpSpPr>
              <p:cNvPr id="124" name="Group 123">
                <a:extLst>
                  <a:ext uri="{FF2B5EF4-FFF2-40B4-BE49-F238E27FC236}">
                    <a16:creationId xmlns:a16="http://schemas.microsoft.com/office/drawing/2014/main" id="{75C3D90E-4C77-4E8F-8F30-C0511E02CC71}"/>
                  </a:ext>
                </a:extLst>
              </p:cNvPr>
              <p:cNvGrpSpPr/>
              <p:nvPr/>
            </p:nvGrpSpPr>
            <p:grpSpPr>
              <a:xfrm flipH="1">
                <a:off x="4875721" y="4652916"/>
                <a:ext cx="1955997" cy="740542"/>
                <a:chOff x="3440113" y="5662613"/>
                <a:chExt cx="769938" cy="292100"/>
              </a:xfrm>
            </p:grpSpPr>
            <p:sp>
              <p:nvSpPr>
                <p:cNvPr id="129" name="Freeform 84">
                  <a:extLst>
                    <a:ext uri="{FF2B5EF4-FFF2-40B4-BE49-F238E27FC236}">
                      <a16:creationId xmlns:a16="http://schemas.microsoft.com/office/drawing/2014/main" id="{5D9E82B8-734E-4BCD-B257-FF5A8BC03123}"/>
                    </a:ext>
                  </a:extLst>
                </p:cNvPr>
                <p:cNvSpPr>
                  <a:spLocks/>
                </p:cNvSpPr>
                <p:nvPr/>
              </p:nvSpPr>
              <p:spPr bwMode="auto">
                <a:xfrm>
                  <a:off x="3440113" y="566261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4 h 46"/>
                    <a:gd name="T46" fmla="*/ 355 w 358"/>
                    <a:gd name="T47" fmla="*/ 41 h 46"/>
                    <a:gd name="T48" fmla="*/ 342 w 358"/>
                    <a:gd name="T49" fmla="*/ 36 h 46"/>
                    <a:gd name="T50" fmla="*/ 327 w 358"/>
                    <a:gd name="T51" fmla="*/ 14 h 46"/>
                    <a:gd name="T52" fmla="*/ 305 w 358"/>
                    <a:gd name="T53" fmla="*/ 1 h 46"/>
                    <a:gd name="T54" fmla="*/ 288 w 358"/>
                    <a:gd name="T55" fmla="*/ 8 h 46"/>
                    <a:gd name="T56" fmla="*/ 273 w 358"/>
                    <a:gd name="T57" fmla="*/ 30 h 46"/>
                    <a:gd name="T58" fmla="*/ 254 w 358"/>
                    <a:gd name="T59" fmla="*/ 41 h 46"/>
                    <a:gd name="T60" fmla="*/ 241 w 358"/>
                    <a:gd name="T61" fmla="*/ 36 h 46"/>
                    <a:gd name="T62" fmla="*/ 226 w 358"/>
                    <a:gd name="T63" fmla="*/ 14 h 46"/>
                    <a:gd name="T64" fmla="*/ 204 w 358"/>
                    <a:gd name="T65" fmla="*/ 1 h 46"/>
                    <a:gd name="T66" fmla="*/ 187 w 358"/>
                    <a:gd name="T67" fmla="*/ 8 h 46"/>
                    <a:gd name="T68" fmla="*/ 172 w 358"/>
                    <a:gd name="T69" fmla="*/ 30 h 46"/>
                    <a:gd name="T70" fmla="*/ 154 w 358"/>
                    <a:gd name="T71" fmla="*/ 41 h 46"/>
                    <a:gd name="T72" fmla="*/ 140 w 358"/>
                    <a:gd name="T73" fmla="*/ 36 h 46"/>
                    <a:gd name="T74" fmla="*/ 126 w 358"/>
                    <a:gd name="T75" fmla="*/ 14 h 46"/>
                    <a:gd name="T76" fmla="*/ 103 w 358"/>
                    <a:gd name="T77" fmla="*/ 1 h 46"/>
                    <a:gd name="T78" fmla="*/ 87 w 358"/>
                    <a:gd name="T79" fmla="*/ 8 h 46"/>
                    <a:gd name="T80" fmla="*/ 72 w 358"/>
                    <a:gd name="T81" fmla="*/ 30 h 46"/>
                    <a:gd name="T82" fmla="*/ 53 w 358"/>
                    <a:gd name="T83" fmla="*/ 41 h 46"/>
                    <a:gd name="T84" fmla="*/ 40 w 358"/>
                    <a:gd name="T85" fmla="*/ 36 h 46"/>
                    <a:gd name="T86" fmla="*/ 25 w 358"/>
                    <a:gd name="T87" fmla="*/ 14 h 46"/>
                    <a:gd name="T88" fmla="*/ 3 w 358"/>
                    <a:gd name="T89" fmla="*/ 1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5"/>
                        <a:pt x="31" y="32"/>
                      </a:cubicBezTo>
                      <a:cubicBezTo>
                        <a:pt x="36" y="40"/>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5"/>
                        <a:pt x="131" y="32"/>
                      </a:cubicBezTo>
                      <a:cubicBezTo>
                        <a:pt x="137" y="40"/>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5"/>
                        <a:pt x="232" y="32"/>
                      </a:cubicBezTo>
                      <a:cubicBezTo>
                        <a:pt x="237" y="40"/>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5"/>
                        <a:pt x="333" y="32"/>
                      </a:cubicBezTo>
                      <a:cubicBezTo>
                        <a:pt x="338" y="40"/>
                        <a:pt x="345" y="46"/>
                        <a:pt x="355" y="46"/>
                      </a:cubicBezTo>
                      <a:cubicBezTo>
                        <a:pt x="356" y="46"/>
                        <a:pt x="358" y="45"/>
                        <a:pt x="358" y="44"/>
                      </a:cubicBezTo>
                      <a:cubicBezTo>
                        <a:pt x="358" y="43"/>
                        <a:pt x="356" y="41"/>
                        <a:pt x="355" y="41"/>
                      </a:cubicBezTo>
                      <a:cubicBezTo>
                        <a:pt x="350" y="41"/>
                        <a:pt x="346" y="39"/>
                        <a:pt x="342" y="36"/>
                      </a:cubicBezTo>
                      <a:cubicBezTo>
                        <a:pt x="336" y="30"/>
                        <a:pt x="332" y="22"/>
                        <a:pt x="327" y="14"/>
                      </a:cubicBezTo>
                      <a:cubicBezTo>
                        <a:pt x="322" y="7"/>
                        <a:pt x="315" y="0"/>
                        <a:pt x="305" y="1"/>
                      </a:cubicBezTo>
                      <a:cubicBezTo>
                        <a:pt x="298" y="0"/>
                        <a:pt x="292" y="3"/>
                        <a:pt x="288" y="8"/>
                      </a:cubicBezTo>
                      <a:cubicBezTo>
                        <a:pt x="282" y="14"/>
                        <a:pt x="278" y="23"/>
                        <a:pt x="273" y="30"/>
                      </a:cubicBezTo>
                      <a:cubicBezTo>
                        <a:pt x="268" y="37"/>
                        <a:pt x="263" y="41"/>
                        <a:pt x="254" y="41"/>
                      </a:cubicBezTo>
                      <a:cubicBezTo>
                        <a:pt x="249" y="41"/>
                        <a:pt x="245" y="39"/>
                        <a:pt x="241" y="36"/>
                      </a:cubicBezTo>
                      <a:cubicBezTo>
                        <a:pt x="236" y="30"/>
                        <a:pt x="232" y="22"/>
                        <a:pt x="226" y="14"/>
                      </a:cubicBezTo>
                      <a:cubicBezTo>
                        <a:pt x="221" y="7"/>
                        <a:pt x="215" y="0"/>
                        <a:pt x="204" y="1"/>
                      </a:cubicBezTo>
                      <a:cubicBezTo>
                        <a:pt x="197" y="0"/>
                        <a:pt x="192" y="3"/>
                        <a:pt x="187" y="8"/>
                      </a:cubicBezTo>
                      <a:cubicBezTo>
                        <a:pt x="181" y="14"/>
                        <a:pt x="177" y="23"/>
                        <a:pt x="172" y="30"/>
                      </a:cubicBezTo>
                      <a:cubicBezTo>
                        <a:pt x="167" y="37"/>
                        <a:pt x="162" y="41"/>
                        <a:pt x="154" y="41"/>
                      </a:cubicBezTo>
                      <a:cubicBezTo>
                        <a:pt x="148" y="41"/>
                        <a:pt x="144" y="39"/>
                        <a:pt x="140" y="36"/>
                      </a:cubicBezTo>
                      <a:cubicBezTo>
                        <a:pt x="135" y="30"/>
                        <a:pt x="131" y="22"/>
                        <a:pt x="126" y="14"/>
                      </a:cubicBezTo>
                      <a:cubicBezTo>
                        <a:pt x="121" y="7"/>
                        <a:pt x="114" y="0"/>
                        <a:pt x="103" y="1"/>
                      </a:cubicBezTo>
                      <a:cubicBezTo>
                        <a:pt x="96" y="0"/>
                        <a:pt x="91" y="3"/>
                        <a:pt x="87" y="8"/>
                      </a:cubicBezTo>
                      <a:cubicBezTo>
                        <a:pt x="81" y="14"/>
                        <a:pt x="76" y="23"/>
                        <a:pt x="72" y="30"/>
                      </a:cubicBezTo>
                      <a:cubicBezTo>
                        <a:pt x="67" y="37"/>
                        <a:pt x="61" y="41"/>
                        <a:pt x="53" y="41"/>
                      </a:cubicBezTo>
                      <a:cubicBezTo>
                        <a:pt x="48" y="41"/>
                        <a:pt x="44" y="39"/>
                        <a:pt x="40" y="36"/>
                      </a:cubicBezTo>
                      <a:cubicBezTo>
                        <a:pt x="34" y="30"/>
                        <a:pt x="30" y="22"/>
                        <a:pt x="25" y="14"/>
                      </a:cubicBezTo>
                      <a:cubicBezTo>
                        <a:pt x="20" y="7"/>
                        <a:pt x="13" y="0"/>
                        <a:pt x="3" y="1"/>
                      </a:cubicBezTo>
                      <a:cubicBezTo>
                        <a:pt x="2" y="1"/>
                        <a:pt x="0" y="2"/>
                        <a:pt x="0" y="3"/>
                      </a:cubicBezTo>
                      <a:cubicBezTo>
                        <a:pt x="0" y="4"/>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85">
                  <a:extLst>
                    <a:ext uri="{FF2B5EF4-FFF2-40B4-BE49-F238E27FC236}">
                      <a16:creationId xmlns:a16="http://schemas.microsoft.com/office/drawing/2014/main" id="{63242957-5BEA-4614-8574-CB6D1B6F4CEF}"/>
                    </a:ext>
                  </a:extLst>
                </p:cNvPr>
                <p:cNvSpPr>
                  <a:spLocks/>
                </p:cNvSpPr>
                <p:nvPr/>
              </p:nvSpPr>
              <p:spPr bwMode="auto">
                <a:xfrm>
                  <a:off x="3440113" y="575786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4"/>
                        <a:pt x="31" y="32"/>
                      </a:cubicBezTo>
                      <a:cubicBezTo>
                        <a:pt x="36" y="39"/>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4"/>
                        <a:pt x="131" y="32"/>
                      </a:cubicBezTo>
                      <a:cubicBezTo>
                        <a:pt x="137" y="39"/>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4"/>
                        <a:pt x="232" y="32"/>
                      </a:cubicBezTo>
                      <a:cubicBezTo>
                        <a:pt x="237" y="39"/>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4"/>
                        <a:pt x="333" y="32"/>
                      </a:cubicBezTo>
                      <a:cubicBezTo>
                        <a:pt x="338" y="39"/>
                        <a:pt x="345" y="46"/>
                        <a:pt x="355" y="46"/>
                      </a:cubicBezTo>
                      <a:cubicBezTo>
                        <a:pt x="356" y="46"/>
                        <a:pt x="358" y="45"/>
                        <a:pt x="358" y="43"/>
                      </a:cubicBezTo>
                      <a:cubicBezTo>
                        <a:pt x="358" y="42"/>
                        <a:pt x="356" y="41"/>
                        <a:pt x="355" y="41"/>
                      </a:cubicBezTo>
                      <a:cubicBezTo>
                        <a:pt x="350" y="41"/>
                        <a:pt x="346" y="39"/>
                        <a:pt x="342" y="35"/>
                      </a:cubicBezTo>
                      <a:cubicBezTo>
                        <a:pt x="336" y="30"/>
                        <a:pt x="332" y="22"/>
                        <a:pt x="327" y="14"/>
                      </a:cubicBezTo>
                      <a:cubicBezTo>
                        <a:pt x="322" y="7"/>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2"/>
                        <a:pt x="226" y="14"/>
                      </a:cubicBezTo>
                      <a:cubicBezTo>
                        <a:pt x="221" y="7"/>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2"/>
                        <a:pt x="126" y="14"/>
                      </a:cubicBezTo>
                      <a:cubicBezTo>
                        <a:pt x="121" y="7"/>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2"/>
                        <a:pt x="25" y="14"/>
                      </a:cubicBezTo>
                      <a:cubicBezTo>
                        <a:pt x="20" y="7"/>
                        <a:pt x="13" y="0"/>
                        <a:pt x="3" y="0"/>
                      </a:cubicBezTo>
                      <a:cubicBezTo>
                        <a:pt x="2" y="0"/>
                        <a:pt x="0" y="1"/>
                        <a:pt x="0" y="3"/>
                      </a:cubicBezTo>
                      <a:cubicBezTo>
                        <a:pt x="0" y="4"/>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86">
                  <a:extLst>
                    <a:ext uri="{FF2B5EF4-FFF2-40B4-BE49-F238E27FC236}">
                      <a16:creationId xmlns:a16="http://schemas.microsoft.com/office/drawing/2014/main" id="{05111B9F-9901-4E85-BFDE-6724F004F8F2}"/>
                    </a:ext>
                  </a:extLst>
                </p:cNvPr>
                <p:cNvSpPr>
                  <a:spLocks/>
                </p:cNvSpPr>
                <p:nvPr/>
              </p:nvSpPr>
              <p:spPr bwMode="auto">
                <a:xfrm>
                  <a:off x="3440113" y="5853113"/>
                  <a:ext cx="769938" cy="101600"/>
                </a:xfrm>
                <a:custGeom>
                  <a:avLst/>
                  <a:gdLst>
                    <a:gd name="T0" fmla="*/ 3 w 358"/>
                    <a:gd name="T1" fmla="*/ 5 h 46"/>
                    <a:gd name="T2" fmla="*/ 16 w 358"/>
                    <a:gd name="T3" fmla="*/ 10 h 46"/>
                    <a:gd name="T4" fmla="*/ 31 w 358"/>
                    <a:gd name="T5" fmla="*/ 32 h 46"/>
                    <a:gd name="T6" fmla="*/ 53 w 358"/>
                    <a:gd name="T7" fmla="*/ 45 h 46"/>
                    <a:gd name="T8" fmla="*/ 70 w 358"/>
                    <a:gd name="T9" fmla="*/ 38 h 46"/>
                    <a:gd name="T10" fmla="*/ 85 w 358"/>
                    <a:gd name="T11" fmla="*/ 16 h 46"/>
                    <a:gd name="T12" fmla="*/ 103 w 358"/>
                    <a:gd name="T13" fmla="*/ 5 h 46"/>
                    <a:gd name="T14" fmla="*/ 117 w 358"/>
                    <a:gd name="T15" fmla="*/ 10 h 46"/>
                    <a:gd name="T16" fmla="*/ 131 w 358"/>
                    <a:gd name="T17" fmla="*/ 32 h 46"/>
                    <a:gd name="T18" fmla="*/ 154 w 358"/>
                    <a:gd name="T19" fmla="*/ 45 h 46"/>
                    <a:gd name="T20" fmla="*/ 170 w 358"/>
                    <a:gd name="T21" fmla="*/ 38 h 46"/>
                    <a:gd name="T22" fmla="*/ 186 w 358"/>
                    <a:gd name="T23" fmla="*/ 16 h 46"/>
                    <a:gd name="T24" fmla="*/ 204 w 358"/>
                    <a:gd name="T25" fmla="*/ 5 h 46"/>
                    <a:gd name="T26" fmla="*/ 217 w 358"/>
                    <a:gd name="T27" fmla="*/ 10 h 46"/>
                    <a:gd name="T28" fmla="*/ 232 w 358"/>
                    <a:gd name="T29" fmla="*/ 32 h 46"/>
                    <a:gd name="T30" fmla="*/ 254 w 358"/>
                    <a:gd name="T31" fmla="*/ 45 h 46"/>
                    <a:gd name="T32" fmla="*/ 271 w 358"/>
                    <a:gd name="T33" fmla="*/ 38 h 46"/>
                    <a:gd name="T34" fmla="*/ 286 w 358"/>
                    <a:gd name="T35" fmla="*/ 16 h 46"/>
                    <a:gd name="T36" fmla="*/ 305 w 358"/>
                    <a:gd name="T37" fmla="*/ 5 h 46"/>
                    <a:gd name="T38" fmla="*/ 318 w 358"/>
                    <a:gd name="T39" fmla="*/ 10 h 46"/>
                    <a:gd name="T40" fmla="*/ 333 w 358"/>
                    <a:gd name="T41" fmla="*/ 32 h 46"/>
                    <a:gd name="T42" fmla="*/ 355 w 358"/>
                    <a:gd name="T43" fmla="*/ 45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2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0"/>
                      </a:cubicBezTo>
                      <a:cubicBezTo>
                        <a:pt x="22" y="16"/>
                        <a:pt x="26" y="24"/>
                        <a:pt x="31" y="32"/>
                      </a:cubicBezTo>
                      <a:cubicBezTo>
                        <a:pt x="36" y="39"/>
                        <a:pt x="43" y="46"/>
                        <a:pt x="53" y="45"/>
                      </a:cubicBezTo>
                      <a:cubicBezTo>
                        <a:pt x="60" y="46"/>
                        <a:pt x="66" y="43"/>
                        <a:pt x="70" y="38"/>
                      </a:cubicBezTo>
                      <a:cubicBezTo>
                        <a:pt x="76" y="32"/>
                        <a:pt x="80" y="23"/>
                        <a:pt x="85" y="16"/>
                      </a:cubicBezTo>
                      <a:cubicBezTo>
                        <a:pt x="90" y="9"/>
                        <a:pt x="95" y="5"/>
                        <a:pt x="103" y="5"/>
                      </a:cubicBezTo>
                      <a:cubicBezTo>
                        <a:pt x="109" y="5"/>
                        <a:pt x="113" y="7"/>
                        <a:pt x="117" y="10"/>
                      </a:cubicBezTo>
                      <a:cubicBezTo>
                        <a:pt x="122" y="16"/>
                        <a:pt x="126" y="24"/>
                        <a:pt x="131" y="32"/>
                      </a:cubicBezTo>
                      <a:cubicBezTo>
                        <a:pt x="137" y="39"/>
                        <a:pt x="143" y="46"/>
                        <a:pt x="154" y="45"/>
                      </a:cubicBezTo>
                      <a:cubicBezTo>
                        <a:pt x="161" y="46"/>
                        <a:pt x="166" y="43"/>
                        <a:pt x="170" y="38"/>
                      </a:cubicBezTo>
                      <a:cubicBezTo>
                        <a:pt x="177" y="32"/>
                        <a:pt x="181" y="23"/>
                        <a:pt x="186" y="16"/>
                      </a:cubicBezTo>
                      <a:cubicBezTo>
                        <a:pt x="191" y="9"/>
                        <a:pt x="196" y="5"/>
                        <a:pt x="204" y="5"/>
                      </a:cubicBezTo>
                      <a:cubicBezTo>
                        <a:pt x="210" y="5"/>
                        <a:pt x="214" y="7"/>
                        <a:pt x="217" y="10"/>
                      </a:cubicBezTo>
                      <a:cubicBezTo>
                        <a:pt x="223" y="16"/>
                        <a:pt x="227" y="24"/>
                        <a:pt x="232" y="32"/>
                      </a:cubicBezTo>
                      <a:cubicBezTo>
                        <a:pt x="237" y="39"/>
                        <a:pt x="244" y="46"/>
                        <a:pt x="254" y="45"/>
                      </a:cubicBezTo>
                      <a:cubicBezTo>
                        <a:pt x="261" y="46"/>
                        <a:pt x="267" y="43"/>
                        <a:pt x="271" y="38"/>
                      </a:cubicBezTo>
                      <a:cubicBezTo>
                        <a:pt x="277" y="32"/>
                        <a:pt x="281" y="23"/>
                        <a:pt x="286" y="16"/>
                      </a:cubicBezTo>
                      <a:cubicBezTo>
                        <a:pt x="291" y="9"/>
                        <a:pt x="296" y="5"/>
                        <a:pt x="305" y="5"/>
                      </a:cubicBezTo>
                      <a:cubicBezTo>
                        <a:pt x="310" y="5"/>
                        <a:pt x="314" y="7"/>
                        <a:pt x="318" y="10"/>
                      </a:cubicBezTo>
                      <a:cubicBezTo>
                        <a:pt x="324" y="16"/>
                        <a:pt x="328" y="24"/>
                        <a:pt x="333" y="32"/>
                      </a:cubicBezTo>
                      <a:cubicBezTo>
                        <a:pt x="338" y="39"/>
                        <a:pt x="345" y="46"/>
                        <a:pt x="355" y="45"/>
                      </a:cubicBezTo>
                      <a:cubicBezTo>
                        <a:pt x="356" y="45"/>
                        <a:pt x="358" y="44"/>
                        <a:pt x="358" y="43"/>
                      </a:cubicBezTo>
                      <a:cubicBezTo>
                        <a:pt x="358" y="42"/>
                        <a:pt x="356" y="41"/>
                        <a:pt x="355" y="41"/>
                      </a:cubicBezTo>
                      <a:cubicBezTo>
                        <a:pt x="350" y="41"/>
                        <a:pt x="346" y="39"/>
                        <a:pt x="342" y="35"/>
                      </a:cubicBezTo>
                      <a:cubicBezTo>
                        <a:pt x="336" y="30"/>
                        <a:pt x="332" y="21"/>
                        <a:pt x="327" y="14"/>
                      </a:cubicBezTo>
                      <a:cubicBezTo>
                        <a:pt x="322" y="6"/>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1"/>
                        <a:pt x="226" y="14"/>
                      </a:cubicBezTo>
                      <a:cubicBezTo>
                        <a:pt x="221" y="6"/>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1"/>
                        <a:pt x="126" y="14"/>
                      </a:cubicBezTo>
                      <a:cubicBezTo>
                        <a:pt x="121" y="6"/>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1"/>
                        <a:pt x="25" y="14"/>
                      </a:cubicBezTo>
                      <a:cubicBezTo>
                        <a:pt x="20" y="6"/>
                        <a:pt x="13" y="0"/>
                        <a:pt x="3" y="0"/>
                      </a:cubicBezTo>
                      <a:cubicBezTo>
                        <a:pt x="2" y="0"/>
                        <a:pt x="0" y="1"/>
                        <a:pt x="0" y="2"/>
                      </a:cubicBezTo>
                      <a:cubicBezTo>
                        <a:pt x="0" y="3"/>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5" name="Freeform: Shape 124">
                <a:extLst>
                  <a:ext uri="{FF2B5EF4-FFF2-40B4-BE49-F238E27FC236}">
                    <a16:creationId xmlns:a16="http://schemas.microsoft.com/office/drawing/2014/main" id="{3F4D19C1-FAC2-4F50-96E4-B444C1E12B7E}"/>
                  </a:ext>
                </a:extLst>
              </p:cNvPr>
              <p:cNvSpPr/>
              <p:nvPr/>
            </p:nvSpPr>
            <p:spPr>
              <a:xfrm flipH="1">
                <a:off x="4832317" y="4517997"/>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chemeClr val="accent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6" name="Freeform: Shape 125">
                <a:extLst>
                  <a:ext uri="{FF2B5EF4-FFF2-40B4-BE49-F238E27FC236}">
                    <a16:creationId xmlns:a16="http://schemas.microsoft.com/office/drawing/2014/main" id="{A41E7C6A-742A-49D5-A676-DBF9827A3DF2}"/>
                  </a:ext>
                </a:extLst>
              </p:cNvPr>
              <p:cNvSpPr/>
              <p:nvPr/>
            </p:nvSpPr>
            <p:spPr>
              <a:xfrm flipH="1">
                <a:off x="4886241" y="4492648"/>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7" name="Freeform: Shape 126">
                <a:extLst>
                  <a:ext uri="{FF2B5EF4-FFF2-40B4-BE49-F238E27FC236}">
                    <a16:creationId xmlns:a16="http://schemas.microsoft.com/office/drawing/2014/main" id="{C3228499-0B88-4247-A8FE-2DECEEBBC286}"/>
                  </a:ext>
                </a:extLst>
              </p:cNvPr>
              <p:cNvSpPr/>
              <p:nvPr/>
            </p:nvSpPr>
            <p:spPr>
              <a:xfrm flipH="1">
                <a:off x="6680167" y="4877923"/>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8" name="Freeform: Shape 127">
                <a:extLst>
                  <a:ext uri="{FF2B5EF4-FFF2-40B4-BE49-F238E27FC236}">
                    <a16:creationId xmlns:a16="http://schemas.microsoft.com/office/drawing/2014/main" id="{0ADC21F8-3F00-4F8B-A59F-DFD086548AEA}"/>
                  </a:ext>
                </a:extLst>
              </p:cNvPr>
              <p:cNvSpPr/>
              <p:nvPr/>
            </p:nvSpPr>
            <p:spPr>
              <a:xfrm flipH="1">
                <a:off x="6734091" y="4852574"/>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chemeClr val="accent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sp>
        <p:nvSpPr>
          <p:cNvPr id="140" name="Rectangle 139">
            <a:extLst>
              <a:ext uri="{FF2B5EF4-FFF2-40B4-BE49-F238E27FC236}">
                <a16:creationId xmlns:a16="http://schemas.microsoft.com/office/drawing/2014/main" id="{BCA5382D-4B79-445B-8F72-A893464F2517}"/>
              </a:ext>
            </a:extLst>
          </p:cNvPr>
          <p:cNvSpPr/>
          <p:nvPr/>
        </p:nvSpPr>
        <p:spPr>
          <a:xfrm>
            <a:off x="6780155" y="4502392"/>
            <a:ext cx="3675278" cy="18466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dirty="0">
                <a:solidFill>
                  <a:schemeClr val="accent1"/>
                </a:solidFill>
              </a:rPr>
              <a:t>001101 001101 10010101010100 100110010</a:t>
            </a:r>
          </a:p>
        </p:txBody>
      </p:sp>
      <p:sp>
        <p:nvSpPr>
          <p:cNvPr id="142" name="Google Shape;2115;p430">
            <a:extLst>
              <a:ext uri="{FF2B5EF4-FFF2-40B4-BE49-F238E27FC236}">
                <a16:creationId xmlns:a16="http://schemas.microsoft.com/office/drawing/2014/main" id="{B6AFC778-E4A0-492D-9B3E-CAB4E0919C9C}"/>
              </a:ext>
            </a:extLst>
          </p:cNvPr>
          <p:cNvSpPr txBox="1"/>
          <p:nvPr/>
        </p:nvSpPr>
        <p:spPr>
          <a:xfrm>
            <a:off x="4687997" y="5818583"/>
            <a:ext cx="2450246" cy="246221"/>
          </a:xfrm>
          <a:prstGeom prst="rect">
            <a:avLst/>
          </a:prstGeom>
          <a:noFill/>
          <a:ln>
            <a:noFill/>
          </a:ln>
        </p:spPr>
        <p:txBody>
          <a:bodyPr spcFirstLastPara="1" wrap="square" lIns="0" tIns="0" rIns="0" bIns="0" anchor="t" anchorCtr="0">
            <a:spAutoFit/>
          </a:bodyPr>
          <a:lstStyle/>
          <a:p>
            <a:pPr marR="0" indent="0" algn="ctr">
              <a:lnSpc>
                <a:spcPct val="100000"/>
              </a:lnSpc>
              <a:spcBef>
                <a:spcPts val="0"/>
              </a:spcBef>
              <a:spcAft>
                <a:spcPts val="0"/>
              </a:spcAft>
              <a:buClr>
                <a:srgbClr val="000000"/>
              </a:buClr>
              <a:buSzPts val="1400"/>
              <a:buFont typeface="Arial"/>
              <a:buNone/>
            </a:pPr>
            <a:r>
              <a:rPr lang="en" sz="1600" dirty="0">
                <a:solidFill>
                  <a:schemeClr val="tx2"/>
                </a:solidFill>
                <a:sym typeface="Helvetica Neue"/>
              </a:rPr>
              <a:t>Remote </a:t>
            </a:r>
            <a:r>
              <a:rPr lang="en-US" sz="1600" dirty="0">
                <a:solidFill>
                  <a:schemeClr val="tx2"/>
                </a:solidFill>
                <a:sym typeface="Helvetica Neue"/>
              </a:rPr>
              <a:t>workers</a:t>
            </a:r>
            <a:endParaRPr sz="1600" dirty="0">
              <a:solidFill>
                <a:schemeClr val="tx2"/>
              </a:solidFill>
              <a:sym typeface="Helvetica Neue"/>
            </a:endParaRPr>
          </a:p>
        </p:txBody>
      </p:sp>
      <p:grpSp>
        <p:nvGrpSpPr>
          <p:cNvPr id="143" name="Group 142">
            <a:extLst>
              <a:ext uri="{FF2B5EF4-FFF2-40B4-BE49-F238E27FC236}">
                <a16:creationId xmlns:a16="http://schemas.microsoft.com/office/drawing/2014/main" id="{A4AF5348-54CB-40E5-BC07-B35AF48D2293}"/>
              </a:ext>
            </a:extLst>
          </p:cNvPr>
          <p:cNvGrpSpPr/>
          <p:nvPr/>
        </p:nvGrpSpPr>
        <p:grpSpPr>
          <a:xfrm>
            <a:off x="5244929" y="1180151"/>
            <a:ext cx="1336383" cy="1086594"/>
            <a:chOff x="5427809" y="1327217"/>
            <a:chExt cx="1336383" cy="1086594"/>
          </a:xfrm>
        </p:grpSpPr>
        <p:grpSp>
          <p:nvGrpSpPr>
            <p:cNvPr id="144" name="Group 143">
              <a:extLst>
                <a:ext uri="{FF2B5EF4-FFF2-40B4-BE49-F238E27FC236}">
                  <a16:creationId xmlns:a16="http://schemas.microsoft.com/office/drawing/2014/main" id="{B6D26DF9-79D0-4DA0-864D-A094318B25CF}"/>
                </a:ext>
              </a:extLst>
            </p:cNvPr>
            <p:cNvGrpSpPr/>
            <p:nvPr/>
          </p:nvGrpSpPr>
          <p:grpSpPr>
            <a:xfrm>
              <a:off x="5427809" y="1327217"/>
              <a:ext cx="1336383" cy="1086594"/>
              <a:chOff x="3759440" y="1151356"/>
              <a:chExt cx="1568209" cy="1275088"/>
            </a:xfrm>
          </p:grpSpPr>
          <p:grpSp>
            <p:nvGrpSpPr>
              <p:cNvPr id="146" name="Group 145">
                <a:extLst>
                  <a:ext uri="{FF2B5EF4-FFF2-40B4-BE49-F238E27FC236}">
                    <a16:creationId xmlns:a16="http://schemas.microsoft.com/office/drawing/2014/main" id="{4C49019B-6C5E-434E-AEEF-BFE1B94A03A5}"/>
                  </a:ext>
                </a:extLst>
              </p:cNvPr>
              <p:cNvGrpSpPr/>
              <p:nvPr/>
            </p:nvGrpSpPr>
            <p:grpSpPr>
              <a:xfrm>
                <a:off x="3759440" y="1276552"/>
                <a:ext cx="1517617" cy="1065498"/>
                <a:chOff x="4152412" y="1648888"/>
                <a:chExt cx="1015503" cy="712971"/>
              </a:xfrm>
            </p:grpSpPr>
            <p:sp>
              <p:nvSpPr>
                <p:cNvPr id="150" name="Freeform: Shape 149">
                  <a:extLst>
                    <a:ext uri="{FF2B5EF4-FFF2-40B4-BE49-F238E27FC236}">
                      <a16:creationId xmlns:a16="http://schemas.microsoft.com/office/drawing/2014/main" id="{B2EA2BB2-E30B-4312-9E7D-65B10BDA3F47}"/>
                    </a:ext>
                  </a:extLst>
                </p:cNvPr>
                <p:cNvSpPr/>
                <p:nvPr/>
              </p:nvSpPr>
              <p:spPr>
                <a:xfrm>
                  <a:off x="4215997" y="1684114"/>
                  <a:ext cx="951918" cy="677745"/>
                </a:xfrm>
                <a:custGeom>
                  <a:avLst/>
                  <a:gdLst>
                    <a:gd name="connsiteX0" fmla="*/ 520466 w 951918"/>
                    <a:gd name="connsiteY0" fmla="*/ 0 h 677745"/>
                    <a:gd name="connsiteX1" fmla="*/ 761261 w 951918"/>
                    <a:gd name="connsiteY1" fmla="*/ 160530 h 677745"/>
                    <a:gd name="connsiteX2" fmla="*/ 761261 w 951918"/>
                    <a:gd name="connsiteY2" fmla="*/ 162676 h 677745"/>
                    <a:gd name="connsiteX3" fmla="*/ 791020 w 951918"/>
                    <a:gd name="connsiteY3" fmla="*/ 171976 h 677745"/>
                    <a:gd name="connsiteX4" fmla="*/ 931106 w 951918"/>
                    <a:gd name="connsiteY4" fmla="*/ 516918 h 677745"/>
                    <a:gd name="connsiteX5" fmla="*/ 689723 w 951918"/>
                    <a:gd name="connsiteY5" fmla="*/ 677745 h 677745"/>
                    <a:gd name="connsiteX6" fmla="*/ 489419 w 951918"/>
                    <a:gd name="connsiteY6" fmla="*/ 582171 h 677745"/>
                    <a:gd name="connsiteX7" fmla="*/ 476828 w 951918"/>
                    <a:gd name="connsiteY7" fmla="*/ 561426 h 677745"/>
                    <a:gd name="connsiteX8" fmla="*/ 476828 w 951918"/>
                    <a:gd name="connsiteY8" fmla="*/ 561426 h 677745"/>
                    <a:gd name="connsiteX9" fmla="*/ 113338 w 951918"/>
                    <a:gd name="connsiteY9" fmla="*/ 628748 h 677745"/>
                    <a:gd name="connsiteX10" fmla="*/ 46016 w 951918"/>
                    <a:gd name="connsiteY10" fmla="*/ 265258 h 677745"/>
                    <a:gd name="connsiteX11" fmla="*/ 260499 w 951918"/>
                    <a:gd name="connsiteY11" fmla="*/ 151946 h 677745"/>
                    <a:gd name="connsiteX12" fmla="*/ 284249 w 951918"/>
                    <a:gd name="connsiteY12" fmla="*/ 154378 h 677745"/>
                    <a:gd name="connsiteX13" fmla="*/ 304995 w 951918"/>
                    <a:gd name="connsiteY13" fmla="*/ 115891 h 677745"/>
                    <a:gd name="connsiteX14" fmla="*/ 520466 w 951918"/>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918" h="677745">
                      <a:moveTo>
                        <a:pt x="520466" y="0"/>
                      </a:moveTo>
                      <a:cubicBezTo>
                        <a:pt x="625802" y="-87"/>
                        <a:pt x="720826" y="63263"/>
                        <a:pt x="761261" y="160530"/>
                      </a:cubicBezTo>
                      <a:lnTo>
                        <a:pt x="761261" y="162676"/>
                      </a:lnTo>
                      <a:lnTo>
                        <a:pt x="791020" y="171976"/>
                      </a:lnTo>
                      <a:cubicBezTo>
                        <a:pt x="924957" y="228545"/>
                        <a:pt x="987677" y="382981"/>
                        <a:pt x="931106" y="516918"/>
                      </a:cubicBezTo>
                      <a:cubicBezTo>
                        <a:pt x="890097" y="614016"/>
                        <a:pt x="795125" y="677293"/>
                        <a:pt x="689723" y="677745"/>
                      </a:cubicBezTo>
                      <a:cubicBezTo>
                        <a:pt x="612000" y="677542"/>
                        <a:pt x="538473" y="642459"/>
                        <a:pt x="489419" y="582171"/>
                      </a:cubicBezTo>
                      <a:lnTo>
                        <a:pt x="476828" y="561426"/>
                      </a:lnTo>
                      <a:lnTo>
                        <a:pt x="476828" y="561426"/>
                      </a:lnTo>
                      <a:cubicBezTo>
                        <a:pt x="395044" y="680391"/>
                        <a:pt x="232303" y="710532"/>
                        <a:pt x="113338" y="628748"/>
                      </a:cubicBezTo>
                      <a:cubicBezTo>
                        <a:pt x="-5627" y="546964"/>
                        <a:pt x="-35769" y="384223"/>
                        <a:pt x="46016" y="265258"/>
                      </a:cubicBezTo>
                      <a:cubicBezTo>
                        <a:pt x="94595" y="194592"/>
                        <a:pt x="174746" y="152249"/>
                        <a:pt x="260499" y="151946"/>
                      </a:cubicBezTo>
                      <a:lnTo>
                        <a:pt x="284249" y="154378"/>
                      </a:lnTo>
                      <a:lnTo>
                        <a:pt x="304995" y="115891"/>
                      </a:lnTo>
                      <a:cubicBezTo>
                        <a:pt x="353000" y="43745"/>
                        <a:pt x="433810" y="282"/>
                        <a:pt x="520466" y="0"/>
                      </a:cubicBezTo>
                      <a:close/>
                    </a:path>
                  </a:pathLst>
                </a:custGeom>
                <a:solidFill>
                  <a:srgbClr val="B8B8BB"/>
                </a:solidFill>
                <a:ln w="14288" cap="flat">
                  <a:noFill/>
                  <a:prstDash val="solid"/>
                  <a:miter/>
                </a:ln>
              </p:spPr>
              <p:txBody>
                <a:bodyPr rtlCol="0" anchor="ctr"/>
                <a:lstStyle/>
                <a:p>
                  <a:endParaRPr lang="en-IN" dirty="0"/>
                </a:p>
              </p:txBody>
            </p:sp>
            <p:sp>
              <p:nvSpPr>
                <p:cNvPr id="151" name="Freeform: Shape 150">
                  <a:extLst>
                    <a:ext uri="{FF2B5EF4-FFF2-40B4-BE49-F238E27FC236}">
                      <a16:creationId xmlns:a16="http://schemas.microsoft.com/office/drawing/2014/main" id="{F03A82AC-F0CC-466B-8C0D-E6C6E996808F}"/>
                    </a:ext>
                  </a:extLst>
                </p:cNvPr>
                <p:cNvSpPr/>
                <p:nvPr/>
              </p:nvSpPr>
              <p:spPr>
                <a:xfrm>
                  <a:off x="4152412" y="1648888"/>
                  <a:ext cx="951307" cy="677745"/>
                </a:xfrm>
                <a:custGeom>
                  <a:avLst/>
                  <a:gdLst>
                    <a:gd name="connsiteX0" fmla="*/ 520664 w 951307"/>
                    <a:gd name="connsiteY0" fmla="*/ 0 h 677745"/>
                    <a:gd name="connsiteX1" fmla="*/ 761459 w 951307"/>
                    <a:gd name="connsiteY1" fmla="*/ 160530 h 677745"/>
                    <a:gd name="connsiteX2" fmla="*/ 762317 w 951307"/>
                    <a:gd name="connsiteY2" fmla="*/ 163391 h 677745"/>
                    <a:gd name="connsiteX3" fmla="*/ 792077 w 951307"/>
                    <a:gd name="connsiteY3" fmla="*/ 172691 h 677745"/>
                    <a:gd name="connsiteX4" fmla="*/ 929786 w 951307"/>
                    <a:gd name="connsiteY4" fmla="*/ 518589 h 677745"/>
                    <a:gd name="connsiteX5" fmla="*/ 689921 w 951307"/>
                    <a:gd name="connsiteY5" fmla="*/ 677745 h 677745"/>
                    <a:gd name="connsiteX6" fmla="*/ 489616 w 951307"/>
                    <a:gd name="connsiteY6" fmla="*/ 582028 h 677745"/>
                    <a:gd name="connsiteX7" fmla="*/ 477026 w 951307"/>
                    <a:gd name="connsiteY7" fmla="*/ 561282 h 677745"/>
                    <a:gd name="connsiteX8" fmla="*/ 477026 w 951307"/>
                    <a:gd name="connsiteY8" fmla="*/ 561282 h 677745"/>
                    <a:gd name="connsiteX9" fmla="*/ 113626 w 951307"/>
                    <a:gd name="connsiteY9" fmla="*/ 629089 h 677745"/>
                    <a:gd name="connsiteX10" fmla="*/ 45820 w 951307"/>
                    <a:gd name="connsiteY10" fmla="*/ 265688 h 677745"/>
                    <a:gd name="connsiteX11" fmla="*/ 260697 w 951307"/>
                    <a:gd name="connsiteY11" fmla="*/ 152089 h 677745"/>
                    <a:gd name="connsiteX12" fmla="*/ 284447 w 951307"/>
                    <a:gd name="connsiteY12" fmla="*/ 154521 h 677745"/>
                    <a:gd name="connsiteX13" fmla="*/ 305193 w 951307"/>
                    <a:gd name="connsiteY13" fmla="*/ 115891 h 677745"/>
                    <a:gd name="connsiteX14" fmla="*/ 520664 w 951307"/>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307" h="677745">
                      <a:moveTo>
                        <a:pt x="520664" y="0"/>
                      </a:moveTo>
                      <a:cubicBezTo>
                        <a:pt x="625977" y="-10"/>
                        <a:pt x="720963" y="63314"/>
                        <a:pt x="761459" y="160530"/>
                      </a:cubicBezTo>
                      <a:lnTo>
                        <a:pt x="762317" y="163391"/>
                      </a:lnTo>
                      <a:lnTo>
                        <a:pt x="792077" y="172691"/>
                      </a:lnTo>
                      <a:cubicBezTo>
                        <a:pt x="925621" y="230182"/>
                        <a:pt x="987275" y="385044"/>
                        <a:pt x="929786" y="518589"/>
                      </a:cubicBezTo>
                      <a:cubicBezTo>
                        <a:pt x="888485" y="614528"/>
                        <a:pt x="794370" y="676976"/>
                        <a:pt x="689921" y="677745"/>
                      </a:cubicBezTo>
                      <a:cubicBezTo>
                        <a:pt x="612179" y="677486"/>
                        <a:pt x="538655" y="642353"/>
                        <a:pt x="489616" y="582028"/>
                      </a:cubicBezTo>
                      <a:lnTo>
                        <a:pt x="477026" y="561282"/>
                      </a:lnTo>
                      <a:lnTo>
                        <a:pt x="477026" y="561282"/>
                      </a:lnTo>
                      <a:cubicBezTo>
                        <a:pt x="395400" y="680356"/>
                        <a:pt x="232700" y="710714"/>
                        <a:pt x="113626" y="629089"/>
                      </a:cubicBezTo>
                      <a:cubicBezTo>
                        <a:pt x="-5450" y="547463"/>
                        <a:pt x="-35807" y="384762"/>
                        <a:pt x="45820" y="265688"/>
                      </a:cubicBezTo>
                      <a:cubicBezTo>
                        <a:pt x="94414" y="194799"/>
                        <a:pt x="174752" y="152327"/>
                        <a:pt x="260697" y="152089"/>
                      </a:cubicBezTo>
                      <a:lnTo>
                        <a:pt x="284447" y="154521"/>
                      </a:lnTo>
                      <a:lnTo>
                        <a:pt x="305193" y="115891"/>
                      </a:lnTo>
                      <a:cubicBezTo>
                        <a:pt x="353250" y="43804"/>
                        <a:pt x="434028" y="358"/>
                        <a:pt x="520664" y="0"/>
                      </a:cubicBezTo>
                      <a:close/>
                    </a:path>
                  </a:pathLst>
                </a:custGeom>
                <a:solidFill>
                  <a:srgbClr val="0D274D"/>
                </a:solidFill>
                <a:ln w="14288" cap="flat">
                  <a:noFill/>
                  <a:prstDash val="solid"/>
                  <a:miter/>
                </a:ln>
              </p:spPr>
              <p:txBody>
                <a:bodyPr rtlCol="0" anchor="ctr"/>
                <a:lstStyle/>
                <a:p>
                  <a:endParaRPr lang="en-IN" dirty="0"/>
                </a:p>
              </p:txBody>
            </p:sp>
          </p:grpSp>
          <p:sp>
            <p:nvSpPr>
              <p:cNvPr id="147" name="Freeform: Shape 146">
                <a:extLst>
                  <a:ext uri="{FF2B5EF4-FFF2-40B4-BE49-F238E27FC236}">
                    <a16:creationId xmlns:a16="http://schemas.microsoft.com/office/drawing/2014/main" id="{825BB742-2777-4A98-B0F4-E0CFC65560A5}"/>
                  </a:ext>
                </a:extLst>
              </p:cNvPr>
              <p:cNvSpPr/>
              <p:nvPr/>
            </p:nvSpPr>
            <p:spPr>
              <a:xfrm>
                <a:off x="4351709" y="1151356"/>
                <a:ext cx="245802" cy="245802"/>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148" name="Freeform: Shape 147">
                <a:extLst>
                  <a:ext uri="{FF2B5EF4-FFF2-40B4-BE49-F238E27FC236}">
                    <a16:creationId xmlns:a16="http://schemas.microsoft.com/office/drawing/2014/main" id="{7EFEA743-89B5-4D28-8AC8-B77F85DB43FB}"/>
                  </a:ext>
                </a:extLst>
              </p:cNvPr>
              <p:cNvSpPr/>
              <p:nvPr/>
            </p:nvSpPr>
            <p:spPr>
              <a:xfrm>
                <a:off x="3771600" y="2018825"/>
                <a:ext cx="178275" cy="178275"/>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149" name="Freeform: Shape 148">
                <a:extLst>
                  <a:ext uri="{FF2B5EF4-FFF2-40B4-BE49-F238E27FC236}">
                    <a16:creationId xmlns:a16="http://schemas.microsoft.com/office/drawing/2014/main" id="{086A2253-5F58-4933-8F51-749BA6E24816}"/>
                  </a:ext>
                </a:extLst>
              </p:cNvPr>
              <p:cNvSpPr/>
              <p:nvPr/>
            </p:nvSpPr>
            <p:spPr>
              <a:xfrm>
                <a:off x="5025218" y="2124013"/>
                <a:ext cx="302431" cy="302431"/>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grpSp>
        <p:sp>
          <p:nvSpPr>
            <p:cNvPr id="145" name="Freeform 752">
              <a:extLst>
                <a:ext uri="{FF2B5EF4-FFF2-40B4-BE49-F238E27FC236}">
                  <a16:creationId xmlns:a16="http://schemas.microsoft.com/office/drawing/2014/main" id="{2153595B-74BB-44CC-AA8E-587EA7895875}"/>
                </a:ext>
              </a:extLst>
            </p:cNvPr>
            <p:cNvSpPr>
              <a:spLocks/>
            </p:cNvSpPr>
            <p:nvPr/>
          </p:nvSpPr>
          <p:spPr bwMode="auto">
            <a:xfrm>
              <a:off x="5559471" y="1746035"/>
              <a:ext cx="949094" cy="287453"/>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noFill/>
            <a:ln>
              <a:noFill/>
            </a:ln>
          </p:spPr>
          <p:txBody>
            <a:bodyPr vert="horz" wrap="square" lIns="91440" tIns="45720" rIns="91440" bIns="45720" numCol="1" anchor="t" anchorCtr="0" compatLnSpc="1">
              <a:prstTxWarp prst="textNoShape">
                <a:avLst/>
              </a:prstTxWarp>
            </a:bodyPr>
            <a:lstStyle/>
            <a:p>
              <a:pPr algn="ctr"/>
              <a:r>
                <a:rPr lang="en-US" sz="1400" dirty="0">
                  <a:solidFill>
                    <a:schemeClr val="bg2"/>
                  </a:solidFill>
                </a:rPr>
                <a:t>Internet</a:t>
              </a:r>
              <a:endParaRPr lang="en-US" sz="1600" dirty="0">
                <a:solidFill>
                  <a:schemeClr val="bg2"/>
                </a:solidFill>
              </a:endParaRPr>
            </a:p>
          </p:txBody>
        </p:sp>
      </p:grpSp>
      <p:grpSp>
        <p:nvGrpSpPr>
          <p:cNvPr id="152" name="Group 151">
            <a:extLst>
              <a:ext uri="{FF2B5EF4-FFF2-40B4-BE49-F238E27FC236}">
                <a16:creationId xmlns:a16="http://schemas.microsoft.com/office/drawing/2014/main" id="{5BA0D6A7-B7D5-440A-83C0-99F1E4846AD8}"/>
              </a:ext>
            </a:extLst>
          </p:cNvPr>
          <p:cNvGrpSpPr/>
          <p:nvPr/>
        </p:nvGrpSpPr>
        <p:grpSpPr>
          <a:xfrm>
            <a:off x="1023811" y="1389617"/>
            <a:ext cx="1336383" cy="1086594"/>
            <a:chOff x="1109937" y="1612791"/>
            <a:chExt cx="1336383" cy="1086594"/>
          </a:xfrm>
        </p:grpSpPr>
        <p:grpSp>
          <p:nvGrpSpPr>
            <p:cNvPr id="153" name="Group 152">
              <a:extLst>
                <a:ext uri="{FF2B5EF4-FFF2-40B4-BE49-F238E27FC236}">
                  <a16:creationId xmlns:a16="http://schemas.microsoft.com/office/drawing/2014/main" id="{5CB89BB9-365F-4D5E-8B56-AD3DF3864A27}"/>
                </a:ext>
              </a:extLst>
            </p:cNvPr>
            <p:cNvGrpSpPr/>
            <p:nvPr/>
          </p:nvGrpSpPr>
          <p:grpSpPr>
            <a:xfrm>
              <a:off x="1109937" y="1612791"/>
              <a:ext cx="1336383" cy="1086594"/>
              <a:chOff x="3759440" y="1151356"/>
              <a:chExt cx="1568209" cy="1275088"/>
            </a:xfrm>
          </p:grpSpPr>
          <p:grpSp>
            <p:nvGrpSpPr>
              <p:cNvPr id="155" name="Group 154">
                <a:extLst>
                  <a:ext uri="{FF2B5EF4-FFF2-40B4-BE49-F238E27FC236}">
                    <a16:creationId xmlns:a16="http://schemas.microsoft.com/office/drawing/2014/main" id="{71A6F15C-7A90-4127-A82E-FB74E3914D55}"/>
                  </a:ext>
                </a:extLst>
              </p:cNvPr>
              <p:cNvGrpSpPr/>
              <p:nvPr/>
            </p:nvGrpSpPr>
            <p:grpSpPr>
              <a:xfrm>
                <a:off x="3759440" y="1276552"/>
                <a:ext cx="1517617" cy="1065498"/>
                <a:chOff x="4152412" y="1648888"/>
                <a:chExt cx="1015503" cy="712971"/>
              </a:xfrm>
            </p:grpSpPr>
            <p:sp>
              <p:nvSpPr>
                <p:cNvPr id="159" name="Freeform: Shape 158">
                  <a:extLst>
                    <a:ext uri="{FF2B5EF4-FFF2-40B4-BE49-F238E27FC236}">
                      <a16:creationId xmlns:a16="http://schemas.microsoft.com/office/drawing/2014/main" id="{8770F550-CA77-4A81-9FEE-B543E4531892}"/>
                    </a:ext>
                  </a:extLst>
                </p:cNvPr>
                <p:cNvSpPr/>
                <p:nvPr/>
              </p:nvSpPr>
              <p:spPr>
                <a:xfrm>
                  <a:off x="4215997" y="1684114"/>
                  <a:ext cx="951918" cy="677745"/>
                </a:xfrm>
                <a:custGeom>
                  <a:avLst/>
                  <a:gdLst>
                    <a:gd name="connsiteX0" fmla="*/ 520466 w 951918"/>
                    <a:gd name="connsiteY0" fmla="*/ 0 h 677745"/>
                    <a:gd name="connsiteX1" fmla="*/ 761261 w 951918"/>
                    <a:gd name="connsiteY1" fmla="*/ 160530 h 677745"/>
                    <a:gd name="connsiteX2" fmla="*/ 761261 w 951918"/>
                    <a:gd name="connsiteY2" fmla="*/ 162676 h 677745"/>
                    <a:gd name="connsiteX3" fmla="*/ 791020 w 951918"/>
                    <a:gd name="connsiteY3" fmla="*/ 171976 h 677745"/>
                    <a:gd name="connsiteX4" fmla="*/ 931106 w 951918"/>
                    <a:gd name="connsiteY4" fmla="*/ 516918 h 677745"/>
                    <a:gd name="connsiteX5" fmla="*/ 689723 w 951918"/>
                    <a:gd name="connsiteY5" fmla="*/ 677745 h 677745"/>
                    <a:gd name="connsiteX6" fmla="*/ 489419 w 951918"/>
                    <a:gd name="connsiteY6" fmla="*/ 582171 h 677745"/>
                    <a:gd name="connsiteX7" fmla="*/ 476828 w 951918"/>
                    <a:gd name="connsiteY7" fmla="*/ 561426 h 677745"/>
                    <a:gd name="connsiteX8" fmla="*/ 476828 w 951918"/>
                    <a:gd name="connsiteY8" fmla="*/ 561426 h 677745"/>
                    <a:gd name="connsiteX9" fmla="*/ 113338 w 951918"/>
                    <a:gd name="connsiteY9" fmla="*/ 628748 h 677745"/>
                    <a:gd name="connsiteX10" fmla="*/ 46016 w 951918"/>
                    <a:gd name="connsiteY10" fmla="*/ 265258 h 677745"/>
                    <a:gd name="connsiteX11" fmla="*/ 260499 w 951918"/>
                    <a:gd name="connsiteY11" fmla="*/ 151946 h 677745"/>
                    <a:gd name="connsiteX12" fmla="*/ 284249 w 951918"/>
                    <a:gd name="connsiteY12" fmla="*/ 154378 h 677745"/>
                    <a:gd name="connsiteX13" fmla="*/ 304995 w 951918"/>
                    <a:gd name="connsiteY13" fmla="*/ 115891 h 677745"/>
                    <a:gd name="connsiteX14" fmla="*/ 520466 w 951918"/>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918" h="677745">
                      <a:moveTo>
                        <a:pt x="520466" y="0"/>
                      </a:moveTo>
                      <a:cubicBezTo>
                        <a:pt x="625802" y="-87"/>
                        <a:pt x="720826" y="63263"/>
                        <a:pt x="761261" y="160530"/>
                      </a:cubicBezTo>
                      <a:lnTo>
                        <a:pt x="761261" y="162676"/>
                      </a:lnTo>
                      <a:lnTo>
                        <a:pt x="791020" y="171976"/>
                      </a:lnTo>
                      <a:cubicBezTo>
                        <a:pt x="924957" y="228545"/>
                        <a:pt x="987677" y="382981"/>
                        <a:pt x="931106" y="516918"/>
                      </a:cubicBezTo>
                      <a:cubicBezTo>
                        <a:pt x="890097" y="614016"/>
                        <a:pt x="795125" y="677293"/>
                        <a:pt x="689723" y="677745"/>
                      </a:cubicBezTo>
                      <a:cubicBezTo>
                        <a:pt x="612000" y="677542"/>
                        <a:pt x="538473" y="642459"/>
                        <a:pt x="489419" y="582171"/>
                      </a:cubicBezTo>
                      <a:lnTo>
                        <a:pt x="476828" y="561426"/>
                      </a:lnTo>
                      <a:lnTo>
                        <a:pt x="476828" y="561426"/>
                      </a:lnTo>
                      <a:cubicBezTo>
                        <a:pt x="395044" y="680391"/>
                        <a:pt x="232303" y="710532"/>
                        <a:pt x="113338" y="628748"/>
                      </a:cubicBezTo>
                      <a:cubicBezTo>
                        <a:pt x="-5627" y="546964"/>
                        <a:pt x="-35769" y="384223"/>
                        <a:pt x="46016" y="265258"/>
                      </a:cubicBezTo>
                      <a:cubicBezTo>
                        <a:pt x="94595" y="194592"/>
                        <a:pt x="174746" y="152249"/>
                        <a:pt x="260499" y="151946"/>
                      </a:cubicBezTo>
                      <a:lnTo>
                        <a:pt x="284249" y="154378"/>
                      </a:lnTo>
                      <a:lnTo>
                        <a:pt x="304995" y="115891"/>
                      </a:lnTo>
                      <a:cubicBezTo>
                        <a:pt x="353000" y="43745"/>
                        <a:pt x="433810" y="282"/>
                        <a:pt x="520466" y="0"/>
                      </a:cubicBezTo>
                      <a:close/>
                    </a:path>
                  </a:pathLst>
                </a:custGeom>
                <a:solidFill>
                  <a:srgbClr val="B8B8BB"/>
                </a:solidFill>
                <a:ln w="14288" cap="flat">
                  <a:noFill/>
                  <a:prstDash val="solid"/>
                  <a:miter/>
                </a:ln>
              </p:spPr>
              <p:txBody>
                <a:bodyPr rtlCol="0" anchor="ctr"/>
                <a:lstStyle/>
                <a:p>
                  <a:endParaRPr lang="en-IN" dirty="0"/>
                </a:p>
              </p:txBody>
            </p:sp>
            <p:sp>
              <p:nvSpPr>
                <p:cNvPr id="160" name="Freeform: Shape 159">
                  <a:extLst>
                    <a:ext uri="{FF2B5EF4-FFF2-40B4-BE49-F238E27FC236}">
                      <a16:creationId xmlns:a16="http://schemas.microsoft.com/office/drawing/2014/main" id="{6F67CE3D-E2FA-499D-BEC3-FA540955CAE5}"/>
                    </a:ext>
                  </a:extLst>
                </p:cNvPr>
                <p:cNvSpPr/>
                <p:nvPr/>
              </p:nvSpPr>
              <p:spPr>
                <a:xfrm>
                  <a:off x="4152412" y="1648888"/>
                  <a:ext cx="951307" cy="677745"/>
                </a:xfrm>
                <a:custGeom>
                  <a:avLst/>
                  <a:gdLst>
                    <a:gd name="connsiteX0" fmla="*/ 520664 w 951307"/>
                    <a:gd name="connsiteY0" fmla="*/ 0 h 677745"/>
                    <a:gd name="connsiteX1" fmla="*/ 761459 w 951307"/>
                    <a:gd name="connsiteY1" fmla="*/ 160530 h 677745"/>
                    <a:gd name="connsiteX2" fmla="*/ 762317 w 951307"/>
                    <a:gd name="connsiteY2" fmla="*/ 163391 h 677745"/>
                    <a:gd name="connsiteX3" fmla="*/ 792077 w 951307"/>
                    <a:gd name="connsiteY3" fmla="*/ 172691 h 677745"/>
                    <a:gd name="connsiteX4" fmla="*/ 929786 w 951307"/>
                    <a:gd name="connsiteY4" fmla="*/ 518589 h 677745"/>
                    <a:gd name="connsiteX5" fmla="*/ 689921 w 951307"/>
                    <a:gd name="connsiteY5" fmla="*/ 677745 h 677745"/>
                    <a:gd name="connsiteX6" fmla="*/ 489616 w 951307"/>
                    <a:gd name="connsiteY6" fmla="*/ 582028 h 677745"/>
                    <a:gd name="connsiteX7" fmla="*/ 477026 w 951307"/>
                    <a:gd name="connsiteY7" fmla="*/ 561282 h 677745"/>
                    <a:gd name="connsiteX8" fmla="*/ 477026 w 951307"/>
                    <a:gd name="connsiteY8" fmla="*/ 561282 h 677745"/>
                    <a:gd name="connsiteX9" fmla="*/ 113626 w 951307"/>
                    <a:gd name="connsiteY9" fmla="*/ 629089 h 677745"/>
                    <a:gd name="connsiteX10" fmla="*/ 45820 w 951307"/>
                    <a:gd name="connsiteY10" fmla="*/ 265688 h 677745"/>
                    <a:gd name="connsiteX11" fmla="*/ 260697 w 951307"/>
                    <a:gd name="connsiteY11" fmla="*/ 152089 h 677745"/>
                    <a:gd name="connsiteX12" fmla="*/ 284447 w 951307"/>
                    <a:gd name="connsiteY12" fmla="*/ 154521 h 677745"/>
                    <a:gd name="connsiteX13" fmla="*/ 305193 w 951307"/>
                    <a:gd name="connsiteY13" fmla="*/ 115891 h 677745"/>
                    <a:gd name="connsiteX14" fmla="*/ 520664 w 951307"/>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307" h="677745">
                      <a:moveTo>
                        <a:pt x="520664" y="0"/>
                      </a:moveTo>
                      <a:cubicBezTo>
                        <a:pt x="625977" y="-10"/>
                        <a:pt x="720963" y="63314"/>
                        <a:pt x="761459" y="160530"/>
                      </a:cubicBezTo>
                      <a:lnTo>
                        <a:pt x="762317" y="163391"/>
                      </a:lnTo>
                      <a:lnTo>
                        <a:pt x="792077" y="172691"/>
                      </a:lnTo>
                      <a:cubicBezTo>
                        <a:pt x="925621" y="230182"/>
                        <a:pt x="987275" y="385044"/>
                        <a:pt x="929786" y="518589"/>
                      </a:cubicBezTo>
                      <a:cubicBezTo>
                        <a:pt x="888485" y="614528"/>
                        <a:pt x="794370" y="676976"/>
                        <a:pt x="689921" y="677745"/>
                      </a:cubicBezTo>
                      <a:cubicBezTo>
                        <a:pt x="612179" y="677486"/>
                        <a:pt x="538655" y="642353"/>
                        <a:pt x="489616" y="582028"/>
                      </a:cubicBezTo>
                      <a:lnTo>
                        <a:pt x="477026" y="561282"/>
                      </a:lnTo>
                      <a:lnTo>
                        <a:pt x="477026" y="561282"/>
                      </a:lnTo>
                      <a:cubicBezTo>
                        <a:pt x="395400" y="680356"/>
                        <a:pt x="232700" y="710714"/>
                        <a:pt x="113626" y="629089"/>
                      </a:cubicBezTo>
                      <a:cubicBezTo>
                        <a:pt x="-5450" y="547463"/>
                        <a:pt x="-35807" y="384762"/>
                        <a:pt x="45820" y="265688"/>
                      </a:cubicBezTo>
                      <a:cubicBezTo>
                        <a:pt x="94414" y="194799"/>
                        <a:pt x="174752" y="152327"/>
                        <a:pt x="260697" y="152089"/>
                      </a:cubicBezTo>
                      <a:lnTo>
                        <a:pt x="284447" y="154521"/>
                      </a:lnTo>
                      <a:lnTo>
                        <a:pt x="305193" y="115891"/>
                      </a:lnTo>
                      <a:cubicBezTo>
                        <a:pt x="353250" y="43804"/>
                        <a:pt x="434028" y="358"/>
                        <a:pt x="520664" y="0"/>
                      </a:cubicBezTo>
                      <a:close/>
                    </a:path>
                  </a:pathLst>
                </a:custGeom>
                <a:solidFill>
                  <a:srgbClr val="0D274D"/>
                </a:solidFill>
                <a:ln w="14288" cap="flat">
                  <a:noFill/>
                  <a:prstDash val="solid"/>
                  <a:miter/>
                </a:ln>
              </p:spPr>
              <p:txBody>
                <a:bodyPr rtlCol="0" anchor="ctr"/>
                <a:lstStyle/>
                <a:p>
                  <a:endParaRPr lang="en-IN" dirty="0"/>
                </a:p>
              </p:txBody>
            </p:sp>
          </p:grpSp>
          <p:sp>
            <p:nvSpPr>
              <p:cNvPr id="156" name="Freeform: Shape 155">
                <a:extLst>
                  <a:ext uri="{FF2B5EF4-FFF2-40B4-BE49-F238E27FC236}">
                    <a16:creationId xmlns:a16="http://schemas.microsoft.com/office/drawing/2014/main" id="{0694A9AE-977B-49E4-9644-9C7E9C576A8A}"/>
                  </a:ext>
                </a:extLst>
              </p:cNvPr>
              <p:cNvSpPr/>
              <p:nvPr/>
            </p:nvSpPr>
            <p:spPr>
              <a:xfrm>
                <a:off x="4351709" y="1151356"/>
                <a:ext cx="245802" cy="245802"/>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157" name="Freeform: Shape 156">
                <a:extLst>
                  <a:ext uri="{FF2B5EF4-FFF2-40B4-BE49-F238E27FC236}">
                    <a16:creationId xmlns:a16="http://schemas.microsoft.com/office/drawing/2014/main" id="{04E6E782-3B51-4F4B-B102-C4C0F0B0E035}"/>
                  </a:ext>
                </a:extLst>
              </p:cNvPr>
              <p:cNvSpPr/>
              <p:nvPr/>
            </p:nvSpPr>
            <p:spPr>
              <a:xfrm>
                <a:off x="3771600" y="2018825"/>
                <a:ext cx="178275" cy="178275"/>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158" name="Freeform: Shape 157">
                <a:extLst>
                  <a:ext uri="{FF2B5EF4-FFF2-40B4-BE49-F238E27FC236}">
                    <a16:creationId xmlns:a16="http://schemas.microsoft.com/office/drawing/2014/main" id="{5BB5BFDA-812A-4455-9808-362CB71F2E39}"/>
                  </a:ext>
                </a:extLst>
              </p:cNvPr>
              <p:cNvSpPr/>
              <p:nvPr/>
            </p:nvSpPr>
            <p:spPr>
              <a:xfrm>
                <a:off x="5025218" y="2124013"/>
                <a:ext cx="302431" cy="302431"/>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grpSp>
        <p:sp>
          <p:nvSpPr>
            <p:cNvPr id="154" name="Freeform 752">
              <a:extLst>
                <a:ext uri="{FF2B5EF4-FFF2-40B4-BE49-F238E27FC236}">
                  <a16:creationId xmlns:a16="http://schemas.microsoft.com/office/drawing/2014/main" id="{4B311049-613B-4015-8AA7-151845A8CF43}"/>
                </a:ext>
              </a:extLst>
            </p:cNvPr>
            <p:cNvSpPr>
              <a:spLocks/>
            </p:cNvSpPr>
            <p:nvPr/>
          </p:nvSpPr>
          <p:spPr bwMode="auto">
            <a:xfrm>
              <a:off x="1132004" y="2031609"/>
              <a:ext cx="1168284" cy="287453"/>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noFill/>
            <a:ln>
              <a:noFill/>
            </a:ln>
          </p:spPr>
          <p:txBody>
            <a:bodyPr vert="horz" wrap="square" lIns="91440" tIns="45720" rIns="91440" bIns="45720" numCol="1" anchor="t" anchorCtr="0" compatLnSpc="1">
              <a:prstTxWarp prst="textNoShape">
                <a:avLst/>
              </a:prstTxWarp>
            </a:bodyPr>
            <a:lstStyle/>
            <a:p>
              <a:pPr algn="ctr"/>
              <a:r>
                <a:rPr lang="en-US" sz="1400" dirty="0">
                  <a:solidFill>
                    <a:schemeClr val="bg2"/>
                  </a:solidFill>
                </a:rPr>
                <a:t>Cloud Apps</a:t>
              </a:r>
            </a:p>
          </p:txBody>
        </p:sp>
      </p:grpSp>
      <p:sp>
        <p:nvSpPr>
          <p:cNvPr id="161" name="Rectangle 160">
            <a:extLst>
              <a:ext uri="{FF2B5EF4-FFF2-40B4-BE49-F238E27FC236}">
                <a16:creationId xmlns:a16="http://schemas.microsoft.com/office/drawing/2014/main" id="{46943FD3-F695-4BBB-BD4A-8F68E69B9791}"/>
              </a:ext>
            </a:extLst>
          </p:cNvPr>
          <p:cNvSpPr/>
          <p:nvPr/>
        </p:nvSpPr>
        <p:spPr>
          <a:xfrm rot="5400000">
            <a:off x="5163213" y="2716472"/>
            <a:ext cx="1499815" cy="3693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dirty="0">
                <a:solidFill>
                  <a:schemeClr val="accent1"/>
                </a:solidFill>
              </a:rPr>
              <a:t>00101 001 1011 1010 </a:t>
            </a:r>
          </a:p>
        </p:txBody>
      </p:sp>
      <p:sp>
        <p:nvSpPr>
          <p:cNvPr id="162" name="Freeform: Shape 161">
            <a:extLst>
              <a:ext uri="{FF2B5EF4-FFF2-40B4-BE49-F238E27FC236}">
                <a16:creationId xmlns:a16="http://schemas.microsoft.com/office/drawing/2014/main" id="{49269246-8C62-4437-98E1-4388738BA0F6}"/>
              </a:ext>
            </a:extLst>
          </p:cNvPr>
          <p:cNvSpPr/>
          <p:nvPr/>
        </p:nvSpPr>
        <p:spPr>
          <a:xfrm>
            <a:off x="7013805" y="2972431"/>
            <a:ext cx="353279" cy="921994"/>
          </a:xfrm>
          <a:custGeom>
            <a:avLst/>
            <a:gdLst>
              <a:gd name="connsiteX0" fmla="*/ 255 w 859512"/>
              <a:gd name="connsiteY0" fmla="*/ 0 h 2243174"/>
              <a:gd name="connsiteX1" fmla="*/ 78812 w 859512"/>
              <a:gd name="connsiteY1" fmla="*/ 22637 h 2243174"/>
              <a:gd name="connsiteX2" fmla="*/ 722687 w 859512"/>
              <a:gd name="connsiteY2" fmla="*/ 282200 h 2243174"/>
              <a:gd name="connsiteX3" fmla="*/ 859512 w 859512"/>
              <a:gd name="connsiteY3" fmla="*/ 443170 h 2243174"/>
              <a:gd name="connsiteX4" fmla="*/ 859512 w 859512"/>
              <a:gd name="connsiteY4" fmla="*/ 1180273 h 2243174"/>
              <a:gd name="connsiteX5" fmla="*/ 677080 w 859512"/>
              <a:gd name="connsiteY5" fmla="*/ 1665864 h 2243174"/>
              <a:gd name="connsiteX6" fmla="*/ 141856 w 859512"/>
              <a:gd name="connsiteY6" fmla="*/ 2190358 h 2243174"/>
              <a:gd name="connsiteX7" fmla="*/ 3 w 859512"/>
              <a:gd name="connsiteY7" fmla="*/ 2243174 h 2243174"/>
              <a:gd name="connsiteX8" fmla="*/ 0 w 859512"/>
              <a:gd name="connsiteY8" fmla="*/ 2243174 h 2243174"/>
              <a:gd name="connsiteX9" fmla="*/ 0 w 859512"/>
              <a:gd name="connsiteY9" fmla="*/ 36 h 2243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9512" h="2243174">
                <a:moveTo>
                  <a:pt x="255" y="0"/>
                </a:moveTo>
                <a:cubicBezTo>
                  <a:pt x="27670" y="0"/>
                  <a:pt x="55001" y="7546"/>
                  <a:pt x="78812" y="22637"/>
                </a:cubicBezTo>
                <a:cubicBezTo>
                  <a:pt x="278010" y="150742"/>
                  <a:pt x="491964" y="239944"/>
                  <a:pt x="722687" y="282200"/>
                </a:cubicBezTo>
                <a:cubicBezTo>
                  <a:pt x="801160" y="296956"/>
                  <a:pt x="859512" y="363354"/>
                  <a:pt x="859512" y="443170"/>
                </a:cubicBezTo>
                <a:lnTo>
                  <a:pt x="859512" y="1180273"/>
                </a:lnTo>
                <a:cubicBezTo>
                  <a:pt x="859512" y="1359351"/>
                  <a:pt x="795122" y="1531723"/>
                  <a:pt x="677080" y="1665864"/>
                </a:cubicBezTo>
                <a:cubicBezTo>
                  <a:pt x="521475" y="1842932"/>
                  <a:pt x="341057" y="2017314"/>
                  <a:pt x="141856" y="2190358"/>
                </a:cubicBezTo>
                <a:cubicBezTo>
                  <a:pt x="101280" y="2225569"/>
                  <a:pt x="50642" y="2243174"/>
                  <a:pt x="3" y="2243174"/>
                </a:cubicBezTo>
                <a:lnTo>
                  <a:pt x="0" y="2243174"/>
                </a:lnTo>
                <a:lnTo>
                  <a:pt x="0" y="36"/>
                </a:lnTo>
                <a:close/>
              </a:path>
            </a:pathLst>
          </a:custGeom>
          <a:noFill/>
          <a:ln w="7144" cap="flat">
            <a:solidFill>
              <a:srgbClr val="0D274D"/>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82828"/>
              </a:solidFill>
              <a:effectLst/>
              <a:uLnTx/>
              <a:uFillTx/>
            </a:endParaRPr>
          </a:p>
        </p:txBody>
      </p:sp>
      <p:sp>
        <p:nvSpPr>
          <p:cNvPr id="163" name="Freeform: Shape 162">
            <a:extLst>
              <a:ext uri="{FF2B5EF4-FFF2-40B4-BE49-F238E27FC236}">
                <a16:creationId xmlns:a16="http://schemas.microsoft.com/office/drawing/2014/main" id="{360E3715-8D90-4531-AF4E-533C677C58D3}"/>
              </a:ext>
            </a:extLst>
          </p:cNvPr>
          <p:cNvSpPr/>
          <p:nvPr/>
        </p:nvSpPr>
        <p:spPr>
          <a:xfrm>
            <a:off x="6732452" y="3064496"/>
            <a:ext cx="565446" cy="737863"/>
          </a:xfrm>
          <a:custGeom>
            <a:avLst/>
            <a:gdLst>
              <a:gd name="connsiteX0" fmla="*/ 565726 w 614648"/>
              <a:gd name="connsiteY0" fmla="*/ 100903 h 802065"/>
              <a:gd name="connsiteX1" fmla="*/ 335503 w 614648"/>
              <a:gd name="connsiteY1" fmla="*/ 8094 h 802065"/>
              <a:gd name="connsiteX2" fmla="*/ 279146 w 614648"/>
              <a:gd name="connsiteY2" fmla="*/ 8094 h 802065"/>
              <a:gd name="connsiteX3" fmla="*/ 48922 w 614648"/>
              <a:gd name="connsiteY3" fmla="*/ 100903 h 802065"/>
              <a:gd name="connsiteX4" fmla="*/ 0 w 614648"/>
              <a:gd name="connsiteY4" fmla="*/ 158459 h 802065"/>
              <a:gd name="connsiteX5" fmla="*/ 0 w 614648"/>
              <a:gd name="connsiteY5" fmla="*/ 422016 h 802065"/>
              <a:gd name="connsiteX6" fmla="*/ 65230 w 614648"/>
              <a:gd name="connsiteY6" fmla="*/ 595643 h 802065"/>
              <a:gd name="connsiteX7" fmla="*/ 256603 w 614648"/>
              <a:gd name="connsiteY7" fmla="*/ 783180 h 802065"/>
              <a:gd name="connsiteX8" fmla="*/ 358045 w 614648"/>
              <a:gd name="connsiteY8" fmla="*/ 783180 h 802065"/>
              <a:gd name="connsiteX9" fmla="*/ 549419 w 614648"/>
              <a:gd name="connsiteY9" fmla="*/ 595643 h 802065"/>
              <a:gd name="connsiteX10" fmla="*/ 614649 w 614648"/>
              <a:gd name="connsiteY10" fmla="*/ 422016 h 802065"/>
              <a:gd name="connsiteX11" fmla="*/ 614649 w 614648"/>
              <a:gd name="connsiteY11" fmla="*/ 158459 h 802065"/>
              <a:gd name="connsiteX12" fmla="*/ 565726 w 614648"/>
              <a:gd name="connsiteY12" fmla="*/ 100903 h 802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4648" h="802065">
                <a:moveTo>
                  <a:pt x="565726" y="100903"/>
                </a:moveTo>
                <a:cubicBezTo>
                  <a:pt x="483229" y="85794"/>
                  <a:pt x="406728" y="53899"/>
                  <a:pt x="335503" y="8094"/>
                </a:cubicBezTo>
                <a:cubicBezTo>
                  <a:pt x="318476" y="-2698"/>
                  <a:pt x="296413" y="-2698"/>
                  <a:pt x="279146" y="8094"/>
                </a:cubicBezTo>
                <a:cubicBezTo>
                  <a:pt x="207921" y="53659"/>
                  <a:pt x="131419" y="85794"/>
                  <a:pt x="48922" y="100903"/>
                </a:cubicBezTo>
                <a:cubicBezTo>
                  <a:pt x="20864" y="105939"/>
                  <a:pt x="0" y="129920"/>
                  <a:pt x="0" y="158459"/>
                </a:cubicBezTo>
                <a:lnTo>
                  <a:pt x="0" y="422016"/>
                </a:lnTo>
                <a:cubicBezTo>
                  <a:pt x="0" y="485807"/>
                  <a:pt x="23022" y="547680"/>
                  <a:pt x="65230" y="595643"/>
                </a:cubicBezTo>
                <a:cubicBezTo>
                  <a:pt x="120867" y="658715"/>
                  <a:pt x="185378" y="721067"/>
                  <a:pt x="256603" y="783180"/>
                </a:cubicBezTo>
                <a:cubicBezTo>
                  <a:pt x="285621" y="808360"/>
                  <a:pt x="329028" y="808360"/>
                  <a:pt x="358045" y="783180"/>
                </a:cubicBezTo>
                <a:cubicBezTo>
                  <a:pt x="429271" y="721307"/>
                  <a:pt x="493781" y="658955"/>
                  <a:pt x="549419" y="595643"/>
                </a:cubicBezTo>
                <a:cubicBezTo>
                  <a:pt x="591626" y="547680"/>
                  <a:pt x="614649" y="486047"/>
                  <a:pt x="614649" y="422016"/>
                </a:cubicBezTo>
                <a:lnTo>
                  <a:pt x="614649" y="158459"/>
                </a:lnTo>
                <a:cubicBezTo>
                  <a:pt x="614649" y="129920"/>
                  <a:pt x="593785" y="106179"/>
                  <a:pt x="565726" y="100903"/>
                </a:cubicBezTo>
                <a:close/>
              </a:path>
            </a:pathLst>
          </a:custGeom>
          <a:solidFill>
            <a:srgbClr val="1E4471"/>
          </a:solidFill>
          <a:ln w="1428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82828"/>
              </a:solidFill>
              <a:effectLst/>
              <a:uLnTx/>
              <a:uFillTx/>
            </a:endParaRPr>
          </a:p>
        </p:txBody>
      </p:sp>
      <p:sp>
        <p:nvSpPr>
          <p:cNvPr id="164" name="Freeform: Shape 163">
            <a:extLst>
              <a:ext uri="{FF2B5EF4-FFF2-40B4-BE49-F238E27FC236}">
                <a16:creationId xmlns:a16="http://schemas.microsoft.com/office/drawing/2014/main" id="{2B472880-B21F-44CA-B870-DACAE8D563A6}"/>
              </a:ext>
            </a:extLst>
          </p:cNvPr>
          <p:cNvSpPr/>
          <p:nvPr/>
        </p:nvSpPr>
        <p:spPr>
          <a:xfrm rot="5400000">
            <a:off x="6784818" y="3605220"/>
            <a:ext cx="268729" cy="238928"/>
          </a:xfrm>
          <a:custGeom>
            <a:avLst/>
            <a:gdLst>
              <a:gd name="connsiteX0" fmla="*/ 93595 w 929392"/>
              <a:gd name="connsiteY0" fmla="*/ 826261 h 826323"/>
              <a:gd name="connsiteX1" fmla="*/ 20197 w 929392"/>
              <a:gd name="connsiteY1" fmla="*/ 712946 h 826323"/>
              <a:gd name="connsiteX2" fmla="*/ 395769 w 929392"/>
              <a:gd name="connsiteY2" fmla="*/ 69109 h 826323"/>
              <a:gd name="connsiteX3" fmla="*/ 539845 w 929392"/>
              <a:gd name="connsiteY3" fmla="*/ 69109 h 826323"/>
              <a:gd name="connsiteX4" fmla="*/ 904257 w 929392"/>
              <a:gd name="connsiteY4" fmla="*/ 704361 h 826323"/>
              <a:gd name="connsiteX5" fmla="*/ 847027 w 929392"/>
              <a:gd name="connsiteY5" fmla="*/ 823543 h 826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9392" h="826323">
                <a:moveTo>
                  <a:pt x="93595" y="826261"/>
                </a:moveTo>
                <a:cubicBezTo>
                  <a:pt x="4173" y="828264"/>
                  <a:pt x="-23154" y="781908"/>
                  <a:pt x="20197" y="712946"/>
                </a:cubicBezTo>
                <a:lnTo>
                  <a:pt x="395769" y="69109"/>
                </a:lnTo>
                <a:cubicBezTo>
                  <a:pt x="443842" y="-24462"/>
                  <a:pt x="494633" y="-21600"/>
                  <a:pt x="539845" y="69109"/>
                </a:cubicBezTo>
                <a:lnTo>
                  <a:pt x="904257" y="704361"/>
                </a:lnTo>
                <a:cubicBezTo>
                  <a:pt x="958911" y="772465"/>
                  <a:pt x="917420" y="823543"/>
                  <a:pt x="847027" y="823543"/>
                </a:cubicBezTo>
                <a:close/>
              </a:path>
            </a:pathLst>
          </a:custGeom>
          <a:solidFill>
            <a:srgbClr val="00BCE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nvGrpSpPr>
          <p:cNvPr id="165" name="Group 164">
            <a:extLst>
              <a:ext uri="{FF2B5EF4-FFF2-40B4-BE49-F238E27FC236}">
                <a16:creationId xmlns:a16="http://schemas.microsoft.com/office/drawing/2014/main" id="{9C33C6C4-3FA8-49CE-B659-3C0936F28C3A}"/>
              </a:ext>
            </a:extLst>
          </p:cNvPr>
          <p:cNvGrpSpPr/>
          <p:nvPr/>
        </p:nvGrpSpPr>
        <p:grpSpPr>
          <a:xfrm>
            <a:off x="6511505" y="3620426"/>
            <a:ext cx="270655" cy="208516"/>
            <a:chOff x="3442578" y="3133255"/>
            <a:chExt cx="406928" cy="313502"/>
          </a:xfrm>
          <a:solidFill>
            <a:srgbClr val="00BCEB"/>
          </a:solidFill>
        </p:grpSpPr>
        <p:grpSp>
          <p:nvGrpSpPr>
            <p:cNvPr id="166" name="Graphic 3">
              <a:extLst>
                <a:ext uri="{FF2B5EF4-FFF2-40B4-BE49-F238E27FC236}">
                  <a16:creationId xmlns:a16="http://schemas.microsoft.com/office/drawing/2014/main" id="{799F2065-0ED4-4699-880A-751C6846776D}"/>
                </a:ext>
              </a:extLst>
            </p:cNvPr>
            <p:cNvGrpSpPr/>
            <p:nvPr/>
          </p:nvGrpSpPr>
          <p:grpSpPr>
            <a:xfrm>
              <a:off x="3442578" y="3133255"/>
              <a:ext cx="406928" cy="26971"/>
              <a:chOff x="9280892" y="2080036"/>
              <a:chExt cx="2259045" cy="149726"/>
            </a:xfrm>
            <a:grpFill/>
          </p:grpSpPr>
          <p:sp>
            <p:nvSpPr>
              <p:cNvPr id="222" name="Freeform: Shape 221">
                <a:extLst>
                  <a:ext uri="{FF2B5EF4-FFF2-40B4-BE49-F238E27FC236}">
                    <a16:creationId xmlns:a16="http://schemas.microsoft.com/office/drawing/2014/main" id="{093D2B62-D2CC-494A-B5B0-3A140164B2C4}"/>
                  </a:ext>
                </a:extLst>
              </p:cNvPr>
              <p:cNvSpPr/>
              <p:nvPr/>
            </p:nvSpPr>
            <p:spPr>
              <a:xfrm>
                <a:off x="11390211" y="2080036"/>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3" name="Freeform: Shape 222">
                <a:extLst>
                  <a:ext uri="{FF2B5EF4-FFF2-40B4-BE49-F238E27FC236}">
                    <a16:creationId xmlns:a16="http://schemas.microsoft.com/office/drawing/2014/main" id="{6ECD4F3D-10D9-420F-A657-F2E197B7FA2B}"/>
                  </a:ext>
                </a:extLst>
              </p:cNvPr>
              <p:cNvSpPr/>
              <p:nvPr/>
            </p:nvSpPr>
            <p:spPr>
              <a:xfrm>
                <a:off x="11155798" y="2084948"/>
                <a:ext cx="139903" cy="139902"/>
              </a:xfrm>
              <a:custGeom>
                <a:avLst/>
                <a:gdLst>
                  <a:gd name="connsiteX0" fmla="*/ 139903 w 139903"/>
                  <a:gd name="connsiteY0" fmla="*/ 69951 h 139902"/>
                  <a:gd name="connsiteX1" fmla="*/ 69952 w 139903"/>
                  <a:gd name="connsiteY1" fmla="*/ 139903 h 139902"/>
                  <a:gd name="connsiteX2" fmla="*/ 1 w 139903"/>
                  <a:gd name="connsiteY2" fmla="*/ 69951 h 139902"/>
                  <a:gd name="connsiteX3" fmla="*/ 69952 w 139903"/>
                  <a:gd name="connsiteY3" fmla="*/ 0 h 139902"/>
                  <a:gd name="connsiteX4" fmla="*/ 139903 w 139903"/>
                  <a:gd name="connsiteY4" fmla="*/ 69951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1"/>
                    </a:moveTo>
                    <a:cubicBezTo>
                      <a:pt x="139903" y="108585"/>
                      <a:pt x="108584" y="139903"/>
                      <a:pt x="69952" y="139903"/>
                    </a:cubicBezTo>
                    <a:cubicBezTo>
                      <a:pt x="31318" y="139903"/>
                      <a:pt x="1" y="108585"/>
                      <a:pt x="1" y="69951"/>
                    </a:cubicBezTo>
                    <a:cubicBezTo>
                      <a:pt x="1" y="31318"/>
                      <a:pt x="31319" y="0"/>
                      <a:pt x="69952" y="0"/>
                    </a:cubicBezTo>
                    <a:cubicBezTo>
                      <a:pt x="108585" y="0"/>
                      <a:pt x="139903" y="31318"/>
                      <a:pt x="139903" y="6995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4" name="Freeform: Shape 223">
                <a:extLst>
                  <a:ext uri="{FF2B5EF4-FFF2-40B4-BE49-F238E27FC236}">
                    <a16:creationId xmlns:a16="http://schemas.microsoft.com/office/drawing/2014/main" id="{F3D786FB-70BB-4BB3-ADC0-E7B1FEFFD44D}"/>
                  </a:ext>
                </a:extLst>
              </p:cNvPr>
              <p:cNvSpPr/>
              <p:nvPr/>
            </p:nvSpPr>
            <p:spPr>
              <a:xfrm>
                <a:off x="10920989" y="2089384"/>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5" name="Freeform: Shape 224">
                <a:extLst>
                  <a:ext uri="{FF2B5EF4-FFF2-40B4-BE49-F238E27FC236}">
                    <a16:creationId xmlns:a16="http://schemas.microsoft.com/office/drawing/2014/main" id="{B68C5020-D2DD-4905-AE74-356C876C13F4}"/>
                  </a:ext>
                </a:extLst>
              </p:cNvPr>
              <p:cNvSpPr/>
              <p:nvPr/>
            </p:nvSpPr>
            <p:spPr>
              <a:xfrm>
                <a:off x="10686894" y="2094613"/>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6" name="Freeform: Shape 225">
                <a:extLst>
                  <a:ext uri="{FF2B5EF4-FFF2-40B4-BE49-F238E27FC236}">
                    <a16:creationId xmlns:a16="http://schemas.microsoft.com/office/drawing/2014/main" id="{04622DFD-EBBD-4B78-9E15-DDCC961303E9}"/>
                  </a:ext>
                </a:extLst>
              </p:cNvPr>
              <p:cNvSpPr/>
              <p:nvPr/>
            </p:nvSpPr>
            <p:spPr>
              <a:xfrm>
                <a:off x="10452005" y="2099049"/>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7" name="Freeform: Shape 226">
                <a:extLst>
                  <a:ext uri="{FF2B5EF4-FFF2-40B4-BE49-F238E27FC236}">
                    <a16:creationId xmlns:a16="http://schemas.microsoft.com/office/drawing/2014/main" id="{0B7FFD3E-8553-44DB-83E9-00BCF32B3708}"/>
                  </a:ext>
                </a:extLst>
              </p:cNvPr>
              <p:cNvSpPr/>
              <p:nvPr/>
            </p:nvSpPr>
            <p:spPr>
              <a:xfrm>
                <a:off x="10217513" y="2103882"/>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8" name="Freeform: Shape 227">
                <a:extLst>
                  <a:ext uri="{FF2B5EF4-FFF2-40B4-BE49-F238E27FC236}">
                    <a16:creationId xmlns:a16="http://schemas.microsoft.com/office/drawing/2014/main" id="{23BD9CA0-FF72-43F1-A280-1A5A733CC658}"/>
                  </a:ext>
                </a:extLst>
              </p:cNvPr>
              <p:cNvSpPr/>
              <p:nvPr/>
            </p:nvSpPr>
            <p:spPr>
              <a:xfrm>
                <a:off x="9983021" y="2108714"/>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9" name="Freeform: Shape 228">
                <a:extLst>
                  <a:ext uri="{FF2B5EF4-FFF2-40B4-BE49-F238E27FC236}">
                    <a16:creationId xmlns:a16="http://schemas.microsoft.com/office/drawing/2014/main" id="{5974C977-D075-491E-8779-5BD85C778929}"/>
                  </a:ext>
                </a:extLst>
              </p:cNvPr>
              <p:cNvSpPr/>
              <p:nvPr/>
            </p:nvSpPr>
            <p:spPr>
              <a:xfrm>
                <a:off x="9749401" y="2114339"/>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30" name="Freeform: Shape 229">
                <a:extLst>
                  <a:ext uri="{FF2B5EF4-FFF2-40B4-BE49-F238E27FC236}">
                    <a16:creationId xmlns:a16="http://schemas.microsoft.com/office/drawing/2014/main" id="{162E5D00-4E4F-4C70-B0DC-AA3C73CA7460}"/>
                  </a:ext>
                </a:extLst>
              </p:cNvPr>
              <p:cNvSpPr/>
              <p:nvPr/>
            </p:nvSpPr>
            <p:spPr>
              <a:xfrm>
                <a:off x="9514830" y="2119092"/>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31" name="Freeform: Shape 230">
                <a:extLst>
                  <a:ext uri="{FF2B5EF4-FFF2-40B4-BE49-F238E27FC236}">
                    <a16:creationId xmlns:a16="http://schemas.microsoft.com/office/drawing/2014/main" id="{E7974FF2-7B4B-439C-A101-5D6EB0789B78}"/>
                  </a:ext>
                </a:extLst>
              </p:cNvPr>
              <p:cNvSpPr/>
              <p:nvPr/>
            </p:nvSpPr>
            <p:spPr>
              <a:xfrm>
                <a:off x="9280892" y="2124479"/>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167" name="Graphic 3">
              <a:extLst>
                <a:ext uri="{FF2B5EF4-FFF2-40B4-BE49-F238E27FC236}">
                  <a16:creationId xmlns:a16="http://schemas.microsoft.com/office/drawing/2014/main" id="{1F3C83A0-1A55-4E86-9643-6A7909BF38CD}"/>
                </a:ext>
              </a:extLst>
            </p:cNvPr>
            <p:cNvGrpSpPr/>
            <p:nvPr/>
          </p:nvGrpSpPr>
          <p:grpSpPr>
            <a:xfrm>
              <a:off x="3442578" y="3190564"/>
              <a:ext cx="406928" cy="26971"/>
              <a:chOff x="9280892" y="2398185"/>
              <a:chExt cx="2259045" cy="149726"/>
            </a:xfrm>
            <a:grpFill/>
          </p:grpSpPr>
          <p:sp>
            <p:nvSpPr>
              <p:cNvPr id="212" name="Freeform: Shape 211">
                <a:extLst>
                  <a:ext uri="{FF2B5EF4-FFF2-40B4-BE49-F238E27FC236}">
                    <a16:creationId xmlns:a16="http://schemas.microsoft.com/office/drawing/2014/main" id="{0DA7503F-3A6F-433E-9EEF-A74322E1963B}"/>
                  </a:ext>
                </a:extLst>
              </p:cNvPr>
              <p:cNvSpPr/>
              <p:nvPr/>
            </p:nvSpPr>
            <p:spPr>
              <a:xfrm>
                <a:off x="11390211" y="2398185"/>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3" name="Freeform: Shape 212">
                <a:extLst>
                  <a:ext uri="{FF2B5EF4-FFF2-40B4-BE49-F238E27FC236}">
                    <a16:creationId xmlns:a16="http://schemas.microsoft.com/office/drawing/2014/main" id="{2712F5A3-7F05-4D5B-BAA6-05D395B524AD}"/>
                  </a:ext>
                </a:extLst>
              </p:cNvPr>
              <p:cNvSpPr/>
              <p:nvPr/>
            </p:nvSpPr>
            <p:spPr>
              <a:xfrm>
                <a:off x="11155798" y="2403097"/>
                <a:ext cx="139903" cy="139902"/>
              </a:xfrm>
              <a:custGeom>
                <a:avLst/>
                <a:gdLst>
                  <a:gd name="connsiteX0" fmla="*/ 139903 w 139903"/>
                  <a:gd name="connsiteY0" fmla="*/ 69952 h 139902"/>
                  <a:gd name="connsiteX1" fmla="*/ 69952 w 139903"/>
                  <a:gd name="connsiteY1" fmla="*/ 139903 h 139902"/>
                  <a:gd name="connsiteX2" fmla="*/ 1 w 139903"/>
                  <a:gd name="connsiteY2" fmla="*/ 69952 h 139902"/>
                  <a:gd name="connsiteX3" fmla="*/ 69952 w 139903"/>
                  <a:gd name="connsiteY3" fmla="*/ 0 h 139902"/>
                  <a:gd name="connsiteX4" fmla="*/ 139903 w 139903"/>
                  <a:gd name="connsiteY4" fmla="*/ 69952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2"/>
                    </a:moveTo>
                    <a:cubicBezTo>
                      <a:pt x="139903" y="108585"/>
                      <a:pt x="108584" y="139903"/>
                      <a:pt x="69952" y="139903"/>
                    </a:cubicBezTo>
                    <a:cubicBezTo>
                      <a:pt x="31318" y="139903"/>
                      <a:pt x="1" y="108585"/>
                      <a:pt x="1" y="69952"/>
                    </a:cubicBezTo>
                    <a:cubicBezTo>
                      <a:pt x="1" y="31318"/>
                      <a:pt x="31319" y="0"/>
                      <a:pt x="69952" y="0"/>
                    </a:cubicBezTo>
                    <a:cubicBezTo>
                      <a:pt x="108585" y="0"/>
                      <a:pt x="139903" y="31318"/>
                      <a:pt x="139903" y="69952"/>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4" name="Freeform: Shape 213">
                <a:extLst>
                  <a:ext uri="{FF2B5EF4-FFF2-40B4-BE49-F238E27FC236}">
                    <a16:creationId xmlns:a16="http://schemas.microsoft.com/office/drawing/2014/main" id="{971DF2B9-F1DD-4CEE-8EE1-A8063E6E0630}"/>
                  </a:ext>
                </a:extLst>
              </p:cNvPr>
              <p:cNvSpPr/>
              <p:nvPr/>
            </p:nvSpPr>
            <p:spPr>
              <a:xfrm>
                <a:off x="10920989" y="2407533"/>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5" name="Freeform: Shape 214">
                <a:extLst>
                  <a:ext uri="{FF2B5EF4-FFF2-40B4-BE49-F238E27FC236}">
                    <a16:creationId xmlns:a16="http://schemas.microsoft.com/office/drawing/2014/main" id="{EC9BC1A1-E000-4B96-807F-7CD5BFB8D914}"/>
                  </a:ext>
                </a:extLst>
              </p:cNvPr>
              <p:cNvSpPr/>
              <p:nvPr/>
            </p:nvSpPr>
            <p:spPr>
              <a:xfrm>
                <a:off x="10686894" y="2412761"/>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6" name="Freeform: Shape 215">
                <a:extLst>
                  <a:ext uri="{FF2B5EF4-FFF2-40B4-BE49-F238E27FC236}">
                    <a16:creationId xmlns:a16="http://schemas.microsoft.com/office/drawing/2014/main" id="{968DF2CA-7234-4630-92CE-53A819305BB6}"/>
                  </a:ext>
                </a:extLst>
              </p:cNvPr>
              <p:cNvSpPr/>
              <p:nvPr/>
            </p:nvSpPr>
            <p:spPr>
              <a:xfrm>
                <a:off x="10452005" y="2417198"/>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7" name="Freeform: Shape 216">
                <a:extLst>
                  <a:ext uri="{FF2B5EF4-FFF2-40B4-BE49-F238E27FC236}">
                    <a16:creationId xmlns:a16="http://schemas.microsoft.com/office/drawing/2014/main" id="{FA78F35E-1095-4188-8D1B-C8DFF7AE41CA}"/>
                  </a:ext>
                </a:extLst>
              </p:cNvPr>
              <p:cNvSpPr/>
              <p:nvPr/>
            </p:nvSpPr>
            <p:spPr>
              <a:xfrm>
                <a:off x="10217513" y="2422030"/>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8" name="Freeform: Shape 217">
                <a:extLst>
                  <a:ext uri="{FF2B5EF4-FFF2-40B4-BE49-F238E27FC236}">
                    <a16:creationId xmlns:a16="http://schemas.microsoft.com/office/drawing/2014/main" id="{81490B29-8A05-4F7C-8F1D-A00542B4EB81}"/>
                  </a:ext>
                </a:extLst>
              </p:cNvPr>
              <p:cNvSpPr/>
              <p:nvPr/>
            </p:nvSpPr>
            <p:spPr>
              <a:xfrm>
                <a:off x="9983021" y="2426863"/>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9" name="Freeform: Shape 218">
                <a:extLst>
                  <a:ext uri="{FF2B5EF4-FFF2-40B4-BE49-F238E27FC236}">
                    <a16:creationId xmlns:a16="http://schemas.microsoft.com/office/drawing/2014/main" id="{37017CD2-2286-4A21-818E-787CCBA19D96}"/>
                  </a:ext>
                </a:extLst>
              </p:cNvPr>
              <p:cNvSpPr/>
              <p:nvPr/>
            </p:nvSpPr>
            <p:spPr>
              <a:xfrm>
                <a:off x="9749401" y="2432487"/>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0" name="Freeform: Shape 219">
                <a:extLst>
                  <a:ext uri="{FF2B5EF4-FFF2-40B4-BE49-F238E27FC236}">
                    <a16:creationId xmlns:a16="http://schemas.microsoft.com/office/drawing/2014/main" id="{BF9E3D77-EA72-4253-9E23-E31C8D79D290}"/>
                  </a:ext>
                </a:extLst>
              </p:cNvPr>
              <p:cNvSpPr/>
              <p:nvPr/>
            </p:nvSpPr>
            <p:spPr>
              <a:xfrm>
                <a:off x="9514830" y="2437241"/>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1" name="Freeform: Shape 220">
                <a:extLst>
                  <a:ext uri="{FF2B5EF4-FFF2-40B4-BE49-F238E27FC236}">
                    <a16:creationId xmlns:a16="http://schemas.microsoft.com/office/drawing/2014/main" id="{A41AA0DE-16EB-4FFD-9526-E30E01294CD7}"/>
                  </a:ext>
                </a:extLst>
              </p:cNvPr>
              <p:cNvSpPr/>
              <p:nvPr/>
            </p:nvSpPr>
            <p:spPr>
              <a:xfrm>
                <a:off x="9280892" y="2442627"/>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168" name="Graphic 3">
              <a:extLst>
                <a:ext uri="{FF2B5EF4-FFF2-40B4-BE49-F238E27FC236}">
                  <a16:creationId xmlns:a16="http://schemas.microsoft.com/office/drawing/2014/main" id="{F22692E8-423F-41B2-8004-8287E8448B7F}"/>
                </a:ext>
              </a:extLst>
            </p:cNvPr>
            <p:cNvGrpSpPr/>
            <p:nvPr/>
          </p:nvGrpSpPr>
          <p:grpSpPr>
            <a:xfrm>
              <a:off x="3442578" y="3247873"/>
              <a:ext cx="406928" cy="26971"/>
              <a:chOff x="9280892" y="2716333"/>
              <a:chExt cx="2259045" cy="149726"/>
            </a:xfrm>
            <a:grpFill/>
          </p:grpSpPr>
          <p:sp>
            <p:nvSpPr>
              <p:cNvPr id="202" name="Freeform: Shape 201">
                <a:extLst>
                  <a:ext uri="{FF2B5EF4-FFF2-40B4-BE49-F238E27FC236}">
                    <a16:creationId xmlns:a16="http://schemas.microsoft.com/office/drawing/2014/main" id="{8209525A-085C-49ED-97FB-192ED83FA6C4}"/>
                  </a:ext>
                </a:extLst>
              </p:cNvPr>
              <p:cNvSpPr/>
              <p:nvPr/>
            </p:nvSpPr>
            <p:spPr>
              <a:xfrm>
                <a:off x="11390211" y="2716333"/>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3" name="Freeform: Shape 202">
                <a:extLst>
                  <a:ext uri="{FF2B5EF4-FFF2-40B4-BE49-F238E27FC236}">
                    <a16:creationId xmlns:a16="http://schemas.microsoft.com/office/drawing/2014/main" id="{FBF77791-E973-44CA-9FD2-4FA779BAF3B6}"/>
                  </a:ext>
                </a:extLst>
              </p:cNvPr>
              <p:cNvSpPr/>
              <p:nvPr/>
            </p:nvSpPr>
            <p:spPr>
              <a:xfrm>
                <a:off x="11155798" y="2721245"/>
                <a:ext cx="139903" cy="139902"/>
              </a:xfrm>
              <a:custGeom>
                <a:avLst/>
                <a:gdLst>
                  <a:gd name="connsiteX0" fmla="*/ 139903 w 139903"/>
                  <a:gd name="connsiteY0" fmla="*/ 69951 h 139902"/>
                  <a:gd name="connsiteX1" fmla="*/ 69952 w 139903"/>
                  <a:gd name="connsiteY1" fmla="*/ 139903 h 139902"/>
                  <a:gd name="connsiteX2" fmla="*/ 1 w 139903"/>
                  <a:gd name="connsiteY2" fmla="*/ 69951 h 139902"/>
                  <a:gd name="connsiteX3" fmla="*/ 69952 w 139903"/>
                  <a:gd name="connsiteY3" fmla="*/ 0 h 139902"/>
                  <a:gd name="connsiteX4" fmla="*/ 139903 w 139903"/>
                  <a:gd name="connsiteY4" fmla="*/ 69951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1"/>
                    </a:moveTo>
                    <a:cubicBezTo>
                      <a:pt x="139903" y="108585"/>
                      <a:pt x="108584" y="139903"/>
                      <a:pt x="69952" y="139903"/>
                    </a:cubicBezTo>
                    <a:cubicBezTo>
                      <a:pt x="31318" y="139903"/>
                      <a:pt x="1" y="108585"/>
                      <a:pt x="1" y="69951"/>
                    </a:cubicBezTo>
                    <a:cubicBezTo>
                      <a:pt x="1" y="31318"/>
                      <a:pt x="31319" y="0"/>
                      <a:pt x="69952" y="0"/>
                    </a:cubicBezTo>
                    <a:cubicBezTo>
                      <a:pt x="108585" y="0"/>
                      <a:pt x="139903" y="31318"/>
                      <a:pt x="139903" y="6995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4" name="Freeform: Shape 203">
                <a:extLst>
                  <a:ext uri="{FF2B5EF4-FFF2-40B4-BE49-F238E27FC236}">
                    <a16:creationId xmlns:a16="http://schemas.microsoft.com/office/drawing/2014/main" id="{3C3E5255-C1E7-4C34-8AE4-FBA6C7BF51B0}"/>
                  </a:ext>
                </a:extLst>
              </p:cNvPr>
              <p:cNvSpPr/>
              <p:nvPr/>
            </p:nvSpPr>
            <p:spPr>
              <a:xfrm>
                <a:off x="10920989" y="2725681"/>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5" name="Freeform: Shape 204">
                <a:extLst>
                  <a:ext uri="{FF2B5EF4-FFF2-40B4-BE49-F238E27FC236}">
                    <a16:creationId xmlns:a16="http://schemas.microsoft.com/office/drawing/2014/main" id="{05DB4CD8-7429-4A43-9FF6-FD36F7CC7180}"/>
                  </a:ext>
                </a:extLst>
              </p:cNvPr>
              <p:cNvSpPr/>
              <p:nvPr/>
            </p:nvSpPr>
            <p:spPr>
              <a:xfrm>
                <a:off x="10686894" y="2730910"/>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6" name="Freeform: Shape 205">
                <a:extLst>
                  <a:ext uri="{FF2B5EF4-FFF2-40B4-BE49-F238E27FC236}">
                    <a16:creationId xmlns:a16="http://schemas.microsoft.com/office/drawing/2014/main" id="{4729FA61-1A17-4102-A604-07B400A84E9E}"/>
                  </a:ext>
                </a:extLst>
              </p:cNvPr>
              <p:cNvSpPr/>
              <p:nvPr/>
            </p:nvSpPr>
            <p:spPr>
              <a:xfrm>
                <a:off x="10452005" y="2735346"/>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7" name="Freeform: Shape 206">
                <a:extLst>
                  <a:ext uri="{FF2B5EF4-FFF2-40B4-BE49-F238E27FC236}">
                    <a16:creationId xmlns:a16="http://schemas.microsoft.com/office/drawing/2014/main" id="{ACA52513-BDC9-4CEE-B408-9129DE7118D7}"/>
                  </a:ext>
                </a:extLst>
              </p:cNvPr>
              <p:cNvSpPr/>
              <p:nvPr/>
            </p:nvSpPr>
            <p:spPr>
              <a:xfrm>
                <a:off x="10217513" y="2740179"/>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8" name="Freeform: Shape 207">
                <a:extLst>
                  <a:ext uri="{FF2B5EF4-FFF2-40B4-BE49-F238E27FC236}">
                    <a16:creationId xmlns:a16="http://schemas.microsoft.com/office/drawing/2014/main" id="{96750BED-A600-4249-8CC3-776D5E311DEC}"/>
                  </a:ext>
                </a:extLst>
              </p:cNvPr>
              <p:cNvSpPr/>
              <p:nvPr/>
            </p:nvSpPr>
            <p:spPr>
              <a:xfrm>
                <a:off x="9983021" y="2745011"/>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9" name="Freeform: Shape 208">
                <a:extLst>
                  <a:ext uri="{FF2B5EF4-FFF2-40B4-BE49-F238E27FC236}">
                    <a16:creationId xmlns:a16="http://schemas.microsoft.com/office/drawing/2014/main" id="{B8093A24-FCB6-4F03-94CB-A7FABAC7FBE7}"/>
                  </a:ext>
                </a:extLst>
              </p:cNvPr>
              <p:cNvSpPr/>
              <p:nvPr/>
            </p:nvSpPr>
            <p:spPr>
              <a:xfrm>
                <a:off x="9749401" y="2750636"/>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0" name="Freeform: Shape 209">
                <a:extLst>
                  <a:ext uri="{FF2B5EF4-FFF2-40B4-BE49-F238E27FC236}">
                    <a16:creationId xmlns:a16="http://schemas.microsoft.com/office/drawing/2014/main" id="{BB0A8404-31E1-4D04-8ABA-071DB4599385}"/>
                  </a:ext>
                </a:extLst>
              </p:cNvPr>
              <p:cNvSpPr/>
              <p:nvPr/>
            </p:nvSpPr>
            <p:spPr>
              <a:xfrm>
                <a:off x="9514830" y="2755389"/>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1" name="Freeform: Shape 210">
                <a:extLst>
                  <a:ext uri="{FF2B5EF4-FFF2-40B4-BE49-F238E27FC236}">
                    <a16:creationId xmlns:a16="http://schemas.microsoft.com/office/drawing/2014/main" id="{E033E05F-D11D-411B-8971-65714BC3BA27}"/>
                  </a:ext>
                </a:extLst>
              </p:cNvPr>
              <p:cNvSpPr/>
              <p:nvPr/>
            </p:nvSpPr>
            <p:spPr>
              <a:xfrm>
                <a:off x="9280892" y="2760776"/>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169" name="Graphic 3">
              <a:extLst>
                <a:ext uri="{FF2B5EF4-FFF2-40B4-BE49-F238E27FC236}">
                  <a16:creationId xmlns:a16="http://schemas.microsoft.com/office/drawing/2014/main" id="{7BC586E0-A636-4241-A578-655AD193E930}"/>
                </a:ext>
              </a:extLst>
            </p:cNvPr>
            <p:cNvGrpSpPr/>
            <p:nvPr/>
          </p:nvGrpSpPr>
          <p:grpSpPr>
            <a:xfrm>
              <a:off x="3442578" y="3305168"/>
              <a:ext cx="406928" cy="26971"/>
              <a:chOff x="9280892" y="3034403"/>
              <a:chExt cx="2259045" cy="149726"/>
            </a:xfrm>
            <a:grpFill/>
          </p:grpSpPr>
          <p:sp>
            <p:nvSpPr>
              <p:cNvPr id="192" name="Freeform: Shape 191">
                <a:extLst>
                  <a:ext uri="{FF2B5EF4-FFF2-40B4-BE49-F238E27FC236}">
                    <a16:creationId xmlns:a16="http://schemas.microsoft.com/office/drawing/2014/main" id="{E4F60F59-70EB-453F-A06B-25B31BF0E467}"/>
                  </a:ext>
                </a:extLst>
              </p:cNvPr>
              <p:cNvSpPr/>
              <p:nvPr/>
            </p:nvSpPr>
            <p:spPr>
              <a:xfrm>
                <a:off x="11390211" y="3034403"/>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3" name="Freeform: Shape 192">
                <a:extLst>
                  <a:ext uri="{FF2B5EF4-FFF2-40B4-BE49-F238E27FC236}">
                    <a16:creationId xmlns:a16="http://schemas.microsoft.com/office/drawing/2014/main" id="{F12DFA3A-F99F-4A4B-8F8D-8866881286C7}"/>
                  </a:ext>
                </a:extLst>
              </p:cNvPr>
              <p:cNvSpPr/>
              <p:nvPr/>
            </p:nvSpPr>
            <p:spPr>
              <a:xfrm>
                <a:off x="11155798" y="3039315"/>
                <a:ext cx="139903" cy="139902"/>
              </a:xfrm>
              <a:custGeom>
                <a:avLst/>
                <a:gdLst>
                  <a:gd name="connsiteX0" fmla="*/ 139903 w 139903"/>
                  <a:gd name="connsiteY0" fmla="*/ 69951 h 139902"/>
                  <a:gd name="connsiteX1" fmla="*/ 69952 w 139903"/>
                  <a:gd name="connsiteY1" fmla="*/ 139903 h 139902"/>
                  <a:gd name="connsiteX2" fmla="*/ 1 w 139903"/>
                  <a:gd name="connsiteY2" fmla="*/ 69951 h 139902"/>
                  <a:gd name="connsiteX3" fmla="*/ 69952 w 139903"/>
                  <a:gd name="connsiteY3" fmla="*/ 0 h 139902"/>
                  <a:gd name="connsiteX4" fmla="*/ 139903 w 139903"/>
                  <a:gd name="connsiteY4" fmla="*/ 69951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1"/>
                    </a:moveTo>
                    <a:cubicBezTo>
                      <a:pt x="139903" y="108585"/>
                      <a:pt x="108584" y="139903"/>
                      <a:pt x="69952" y="139903"/>
                    </a:cubicBezTo>
                    <a:cubicBezTo>
                      <a:pt x="31318" y="139903"/>
                      <a:pt x="1" y="108585"/>
                      <a:pt x="1" y="69951"/>
                    </a:cubicBezTo>
                    <a:cubicBezTo>
                      <a:pt x="1" y="31318"/>
                      <a:pt x="31319" y="0"/>
                      <a:pt x="69952" y="0"/>
                    </a:cubicBezTo>
                    <a:cubicBezTo>
                      <a:pt x="108585" y="0"/>
                      <a:pt x="139903" y="31318"/>
                      <a:pt x="139903" y="6995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4" name="Freeform: Shape 193">
                <a:extLst>
                  <a:ext uri="{FF2B5EF4-FFF2-40B4-BE49-F238E27FC236}">
                    <a16:creationId xmlns:a16="http://schemas.microsoft.com/office/drawing/2014/main" id="{8AE3E7B8-505F-4871-9B17-4C8DCDF816E0}"/>
                  </a:ext>
                </a:extLst>
              </p:cNvPr>
              <p:cNvSpPr/>
              <p:nvPr/>
            </p:nvSpPr>
            <p:spPr>
              <a:xfrm>
                <a:off x="10920989" y="3043751"/>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5" name="Freeform: Shape 194">
                <a:extLst>
                  <a:ext uri="{FF2B5EF4-FFF2-40B4-BE49-F238E27FC236}">
                    <a16:creationId xmlns:a16="http://schemas.microsoft.com/office/drawing/2014/main" id="{0ED04B0B-4CF4-4763-BB07-83DC764A1959}"/>
                  </a:ext>
                </a:extLst>
              </p:cNvPr>
              <p:cNvSpPr/>
              <p:nvPr/>
            </p:nvSpPr>
            <p:spPr>
              <a:xfrm>
                <a:off x="10686894" y="3048979"/>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6" name="Freeform: Shape 195">
                <a:extLst>
                  <a:ext uri="{FF2B5EF4-FFF2-40B4-BE49-F238E27FC236}">
                    <a16:creationId xmlns:a16="http://schemas.microsoft.com/office/drawing/2014/main" id="{F06AADB2-A4F5-4034-B51C-9056FD0493FC}"/>
                  </a:ext>
                </a:extLst>
              </p:cNvPr>
              <p:cNvSpPr/>
              <p:nvPr/>
            </p:nvSpPr>
            <p:spPr>
              <a:xfrm>
                <a:off x="10452005" y="3053416"/>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5"/>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7" name="Freeform: Shape 196">
                <a:extLst>
                  <a:ext uri="{FF2B5EF4-FFF2-40B4-BE49-F238E27FC236}">
                    <a16:creationId xmlns:a16="http://schemas.microsoft.com/office/drawing/2014/main" id="{276F22B9-9164-4CDA-AD7F-D38A102A1499}"/>
                  </a:ext>
                </a:extLst>
              </p:cNvPr>
              <p:cNvSpPr/>
              <p:nvPr/>
            </p:nvSpPr>
            <p:spPr>
              <a:xfrm>
                <a:off x="10217513" y="3058248"/>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8" name="Freeform: Shape 197">
                <a:extLst>
                  <a:ext uri="{FF2B5EF4-FFF2-40B4-BE49-F238E27FC236}">
                    <a16:creationId xmlns:a16="http://schemas.microsoft.com/office/drawing/2014/main" id="{2D18CD4F-E785-404F-A207-E8A4DE248486}"/>
                  </a:ext>
                </a:extLst>
              </p:cNvPr>
              <p:cNvSpPr/>
              <p:nvPr/>
            </p:nvSpPr>
            <p:spPr>
              <a:xfrm>
                <a:off x="9983021" y="3063081"/>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9" name="Freeform: Shape 198">
                <a:extLst>
                  <a:ext uri="{FF2B5EF4-FFF2-40B4-BE49-F238E27FC236}">
                    <a16:creationId xmlns:a16="http://schemas.microsoft.com/office/drawing/2014/main" id="{3E22898A-6833-4240-9EA7-2AF74953E2E3}"/>
                  </a:ext>
                </a:extLst>
              </p:cNvPr>
              <p:cNvSpPr/>
              <p:nvPr/>
            </p:nvSpPr>
            <p:spPr>
              <a:xfrm>
                <a:off x="9749401" y="3068705"/>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0" name="Freeform: Shape 199">
                <a:extLst>
                  <a:ext uri="{FF2B5EF4-FFF2-40B4-BE49-F238E27FC236}">
                    <a16:creationId xmlns:a16="http://schemas.microsoft.com/office/drawing/2014/main" id="{8C4767AB-F3B8-45B7-B42B-D601D459F876}"/>
                  </a:ext>
                </a:extLst>
              </p:cNvPr>
              <p:cNvSpPr/>
              <p:nvPr/>
            </p:nvSpPr>
            <p:spPr>
              <a:xfrm>
                <a:off x="9514830" y="3073458"/>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3"/>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1" name="Freeform: Shape 200">
                <a:extLst>
                  <a:ext uri="{FF2B5EF4-FFF2-40B4-BE49-F238E27FC236}">
                    <a16:creationId xmlns:a16="http://schemas.microsoft.com/office/drawing/2014/main" id="{44AED561-1EB7-4C41-8D22-CC97CD2CB4CB}"/>
                  </a:ext>
                </a:extLst>
              </p:cNvPr>
              <p:cNvSpPr/>
              <p:nvPr/>
            </p:nvSpPr>
            <p:spPr>
              <a:xfrm>
                <a:off x="9280892" y="3078845"/>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170" name="Graphic 3">
              <a:extLst>
                <a:ext uri="{FF2B5EF4-FFF2-40B4-BE49-F238E27FC236}">
                  <a16:creationId xmlns:a16="http://schemas.microsoft.com/office/drawing/2014/main" id="{79309FE3-A610-45F5-A88A-6244C687C540}"/>
                </a:ext>
              </a:extLst>
            </p:cNvPr>
            <p:cNvGrpSpPr/>
            <p:nvPr/>
          </p:nvGrpSpPr>
          <p:grpSpPr>
            <a:xfrm>
              <a:off x="3442578" y="3362477"/>
              <a:ext cx="406928" cy="26971"/>
              <a:chOff x="9280892" y="3352551"/>
              <a:chExt cx="2259045" cy="149726"/>
            </a:xfrm>
            <a:grpFill/>
          </p:grpSpPr>
          <p:sp>
            <p:nvSpPr>
              <p:cNvPr id="182" name="Freeform: Shape 181">
                <a:extLst>
                  <a:ext uri="{FF2B5EF4-FFF2-40B4-BE49-F238E27FC236}">
                    <a16:creationId xmlns:a16="http://schemas.microsoft.com/office/drawing/2014/main" id="{417531B8-542E-42A6-92AF-AB167E07AE74}"/>
                  </a:ext>
                </a:extLst>
              </p:cNvPr>
              <p:cNvSpPr/>
              <p:nvPr/>
            </p:nvSpPr>
            <p:spPr>
              <a:xfrm>
                <a:off x="11390211" y="3352551"/>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3" name="Freeform: Shape 182">
                <a:extLst>
                  <a:ext uri="{FF2B5EF4-FFF2-40B4-BE49-F238E27FC236}">
                    <a16:creationId xmlns:a16="http://schemas.microsoft.com/office/drawing/2014/main" id="{19FF44E1-0247-4A8C-A1D7-6CB297AE6EC8}"/>
                  </a:ext>
                </a:extLst>
              </p:cNvPr>
              <p:cNvSpPr/>
              <p:nvPr/>
            </p:nvSpPr>
            <p:spPr>
              <a:xfrm>
                <a:off x="11155798" y="3357463"/>
                <a:ext cx="139903" cy="139902"/>
              </a:xfrm>
              <a:custGeom>
                <a:avLst/>
                <a:gdLst>
                  <a:gd name="connsiteX0" fmla="*/ 139903 w 139903"/>
                  <a:gd name="connsiteY0" fmla="*/ 69952 h 139902"/>
                  <a:gd name="connsiteX1" fmla="*/ 69952 w 139903"/>
                  <a:gd name="connsiteY1" fmla="*/ 139903 h 139902"/>
                  <a:gd name="connsiteX2" fmla="*/ 1 w 139903"/>
                  <a:gd name="connsiteY2" fmla="*/ 69952 h 139902"/>
                  <a:gd name="connsiteX3" fmla="*/ 69952 w 139903"/>
                  <a:gd name="connsiteY3" fmla="*/ 0 h 139902"/>
                  <a:gd name="connsiteX4" fmla="*/ 139903 w 139903"/>
                  <a:gd name="connsiteY4" fmla="*/ 69952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2"/>
                    </a:moveTo>
                    <a:cubicBezTo>
                      <a:pt x="139903" y="108585"/>
                      <a:pt x="108584" y="139903"/>
                      <a:pt x="69952" y="139903"/>
                    </a:cubicBezTo>
                    <a:cubicBezTo>
                      <a:pt x="31318" y="139903"/>
                      <a:pt x="1" y="108585"/>
                      <a:pt x="1" y="69952"/>
                    </a:cubicBezTo>
                    <a:cubicBezTo>
                      <a:pt x="1" y="31318"/>
                      <a:pt x="31319" y="0"/>
                      <a:pt x="69952" y="0"/>
                    </a:cubicBezTo>
                    <a:cubicBezTo>
                      <a:pt x="108585" y="0"/>
                      <a:pt x="139903" y="31318"/>
                      <a:pt x="139903" y="69952"/>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4" name="Freeform: Shape 183">
                <a:extLst>
                  <a:ext uri="{FF2B5EF4-FFF2-40B4-BE49-F238E27FC236}">
                    <a16:creationId xmlns:a16="http://schemas.microsoft.com/office/drawing/2014/main" id="{DE6D7F3D-E029-4817-A37B-1BE330880F19}"/>
                  </a:ext>
                </a:extLst>
              </p:cNvPr>
              <p:cNvSpPr/>
              <p:nvPr/>
            </p:nvSpPr>
            <p:spPr>
              <a:xfrm>
                <a:off x="10920989" y="3361899"/>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5" name="Freeform: Shape 184">
                <a:extLst>
                  <a:ext uri="{FF2B5EF4-FFF2-40B4-BE49-F238E27FC236}">
                    <a16:creationId xmlns:a16="http://schemas.microsoft.com/office/drawing/2014/main" id="{80048481-4B94-409D-88F8-2431048AFFED}"/>
                  </a:ext>
                </a:extLst>
              </p:cNvPr>
              <p:cNvSpPr/>
              <p:nvPr/>
            </p:nvSpPr>
            <p:spPr>
              <a:xfrm>
                <a:off x="10686894" y="3367128"/>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6" name="Freeform: Shape 185">
                <a:extLst>
                  <a:ext uri="{FF2B5EF4-FFF2-40B4-BE49-F238E27FC236}">
                    <a16:creationId xmlns:a16="http://schemas.microsoft.com/office/drawing/2014/main" id="{4EA48EB7-CDE6-408E-99DD-354397E42078}"/>
                  </a:ext>
                </a:extLst>
              </p:cNvPr>
              <p:cNvSpPr/>
              <p:nvPr/>
            </p:nvSpPr>
            <p:spPr>
              <a:xfrm>
                <a:off x="10452005" y="3371564"/>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7" name="Freeform: Shape 186">
                <a:extLst>
                  <a:ext uri="{FF2B5EF4-FFF2-40B4-BE49-F238E27FC236}">
                    <a16:creationId xmlns:a16="http://schemas.microsoft.com/office/drawing/2014/main" id="{70D42239-8F28-4562-889A-A360567CF44A}"/>
                  </a:ext>
                </a:extLst>
              </p:cNvPr>
              <p:cNvSpPr/>
              <p:nvPr/>
            </p:nvSpPr>
            <p:spPr>
              <a:xfrm>
                <a:off x="10217513" y="3376397"/>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8" name="Freeform: Shape 187">
                <a:extLst>
                  <a:ext uri="{FF2B5EF4-FFF2-40B4-BE49-F238E27FC236}">
                    <a16:creationId xmlns:a16="http://schemas.microsoft.com/office/drawing/2014/main" id="{A4BB6648-2B2C-4DDE-8ED1-216B12E4AF91}"/>
                  </a:ext>
                </a:extLst>
              </p:cNvPr>
              <p:cNvSpPr/>
              <p:nvPr/>
            </p:nvSpPr>
            <p:spPr>
              <a:xfrm>
                <a:off x="9983021" y="3381229"/>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9" name="Freeform: Shape 188">
                <a:extLst>
                  <a:ext uri="{FF2B5EF4-FFF2-40B4-BE49-F238E27FC236}">
                    <a16:creationId xmlns:a16="http://schemas.microsoft.com/office/drawing/2014/main" id="{35039F62-A78E-449B-9412-E1ACAD6423BA}"/>
                  </a:ext>
                </a:extLst>
              </p:cNvPr>
              <p:cNvSpPr/>
              <p:nvPr/>
            </p:nvSpPr>
            <p:spPr>
              <a:xfrm>
                <a:off x="9749401" y="3386854"/>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0" name="Freeform: Shape 189">
                <a:extLst>
                  <a:ext uri="{FF2B5EF4-FFF2-40B4-BE49-F238E27FC236}">
                    <a16:creationId xmlns:a16="http://schemas.microsoft.com/office/drawing/2014/main" id="{E703D0DB-EB2B-483B-8FD0-10D7245E7E03}"/>
                  </a:ext>
                </a:extLst>
              </p:cNvPr>
              <p:cNvSpPr/>
              <p:nvPr/>
            </p:nvSpPr>
            <p:spPr>
              <a:xfrm>
                <a:off x="9514830" y="3391607"/>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1" name="Freeform: Shape 190">
                <a:extLst>
                  <a:ext uri="{FF2B5EF4-FFF2-40B4-BE49-F238E27FC236}">
                    <a16:creationId xmlns:a16="http://schemas.microsoft.com/office/drawing/2014/main" id="{B345ADE2-6B5C-41FD-925C-91B1EA0C932F}"/>
                  </a:ext>
                </a:extLst>
              </p:cNvPr>
              <p:cNvSpPr/>
              <p:nvPr/>
            </p:nvSpPr>
            <p:spPr>
              <a:xfrm>
                <a:off x="9280892" y="3396994"/>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171" name="Graphic 3">
              <a:extLst>
                <a:ext uri="{FF2B5EF4-FFF2-40B4-BE49-F238E27FC236}">
                  <a16:creationId xmlns:a16="http://schemas.microsoft.com/office/drawing/2014/main" id="{E97371E8-E800-46D3-A597-417693E5E389}"/>
                </a:ext>
              </a:extLst>
            </p:cNvPr>
            <p:cNvGrpSpPr/>
            <p:nvPr/>
          </p:nvGrpSpPr>
          <p:grpSpPr>
            <a:xfrm>
              <a:off x="3442578" y="3419786"/>
              <a:ext cx="406928" cy="26971"/>
              <a:chOff x="9280892" y="3670700"/>
              <a:chExt cx="2259045" cy="149726"/>
            </a:xfrm>
            <a:grpFill/>
          </p:grpSpPr>
          <p:sp>
            <p:nvSpPr>
              <p:cNvPr id="172" name="Freeform: Shape 171">
                <a:extLst>
                  <a:ext uri="{FF2B5EF4-FFF2-40B4-BE49-F238E27FC236}">
                    <a16:creationId xmlns:a16="http://schemas.microsoft.com/office/drawing/2014/main" id="{7841015A-62F0-4C1C-BF67-AD7DC02BB64F}"/>
                  </a:ext>
                </a:extLst>
              </p:cNvPr>
              <p:cNvSpPr/>
              <p:nvPr/>
            </p:nvSpPr>
            <p:spPr>
              <a:xfrm>
                <a:off x="11390211" y="3670700"/>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73" name="Freeform: Shape 172">
                <a:extLst>
                  <a:ext uri="{FF2B5EF4-FFF2-40B4-BE49-F238E27FC236}">
                    <a16:creationId xmlns:a16="http://schemas.microsoft.com/office/drawing/2014/main" id="{6E165B00-D0CD-4B71-9CB6-07376E2FC0E1}"/>
                  </a:ext>
                </a:extLst>
              </p:cNvPr>
              <p:cNvSpPr/>
              <p:nvPr/>
            </p:nvSpPr>
            <p:spPr>
              <a:xfrm>
                <a:off x="11155798" y="3675612"/>
                <a:ext cx="139903" cy="139902"/>
              </a:xfrm>
              <a:custGeom>
                <a:avLst/>
                <a:gdLst>
                  <a:gd name="connsiteX0" fmla="*/ 139903 w 139903"/>
                  <a:gd name="connsiteY0" fmla="*/ 69952 h 139902"/>
                  <a:gd name="connsiteX1" fmla="*/ 69952 w 139903"/>
                  <a:gd name="connsiteY1" fmla="*/ 139903 h 139902"/>
                  <a:gd name="connsiteX2" fmla="*/ 1 w 139903"/>
                  <a:gd name="connsiteY2" fmla="*/ 69952 h 139902"/>
                  <a:gd name="connsiteX3" fmla="*/ 69952 w 139903"/>
                  <a:gd name="connsiteY3" fmla="*/ 0 h 139902"/>
                  <a:gd name="connsiteX4" fmla="*/ 139903 w 139903"/>
                  <a:gd name="connsiteY4" fmla="*/ 69952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2"/>
                    </a:moveTo>
                    <a:cubicBezTo>
                      <a:pt x="139903" y="108585"/>
                      <a:pt x="108584" y="139903"/>
                      <a:pt x="69952" y="139903"/>
                    </a:cubicBezTo>
                    <a:cubicBezTo>
                      <a:pt x="31318" y="139903"/>
                      <a:pt x="1" y="108585"/>
                      <a:pt x="1" y="69952"/>
                    </a:cubicBezTo>
                    <a:cubicBezTo>
                      <a:pt x="1" y="31318"/>
                      <a:pt x="31319" y="0"/>
                      <a:pt x="69952" y="0"/>
                    </a:cubicBezTo>
                    <a:cubicBezTo>
                      <a:pt x="108585" y="0"/>
                      <a:pt x="139903" y="31318"/>
                      <a:pt x="139903" y="69952"/>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74" name="Freeform: Shape 173">
                <a:extLst>
                  <a:ext uri="{FF2B5EF4-FFF2-40B4-BE49-F238E27FC236}">
                    <a16:creationId xmlns:a16="http://schemas.microsoft.com/office/drawing/2014/main" id="{805F8290-3C94-42E8-9F6A-AEEA4081774A}"/>
                  </a:ext>
                </a:extLst>
              </p:cNvPr>
              <p:cNvSpPr/>
              <p:nvPr/>
            </p:nvSpPr>
            <p:spPr>
              <a:xfrm>
                <a:off x="10920989" y="3680048"/>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75" name="Freeform: Shape 174">
                <a:extLst>
                  <a:ext uri="{FF2B5EF4-FFF2-40B4-BE49-F238E27FC236}">
                    <a16:creationId xmlns:a16="http://schemas.microsoft.com/office/drawing/2014/main" id="{BDD900C1-A1C5-482C-AFF4-869FA34929BB}"/>
                  </a:ext>
                </a:extLst>
              </p:cNvPr>
              <p:cNvSpPr/>
              <p:nvPr/>
            </p:nvSpPr>
            <p:spPr>
              <a:xfrm>
                <a:off x="10686894" y="3685277"/>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76" name="Freeform: Shape 175">
                <a:extLst>
                  <a:ext uri="{FF2B5EF4-FFF2-40B4-BE49-F238E27FC236}">
                    <a16:creationId xmlns:a16="http://schemas.microsoft.com/office/drawing/2014/main" id="{6DA13213-4467-41FC-9882-4AFB43E0F0D6}"/>
                  </a:ext>
                </a:extLst>
              </p:cNvPr>
              <p:cNvSpPr/>
              <p:nvPr/>
            </p:nvSpPr>
            <p:spPr>
              <a:xfrm>
                <a:off x="10452005" y="3689713"/>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77" name="Freeform: Shape 176">
                <a:extLst>
                  <a:ext uri="{FF2B5EF4-FFF2-40B4-BE49-F238E27FC236}">
                    <a16:creationId xmlns:a16="http://schemas.microsoft.com/office/drawing/2014/main" id="{22B1C99D-DC9C-4A94-928E-225629061AB0}"/>
                  </a:ext>
                </a:extLst>
              </p:cNvPr>
              <p:cNvSpPr/>
              <p:nvPr/>
            </p:nvSpPr>
            <p:spPr>
              <a:xfrm>
                <a:off x="10217513" y="3694545"/>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78" name="Freeform: Shape 177">
                <a:extLst>
                  <a:ext uri="{FF2B5EF4-FFF2-40B4-BE49-F238E27FC236}">
                    <a16:creationId xmlns:a16="http://schemas.microsoft.com/office/drawing/2014/main" id="{6A880C70-3D19-418B-B538-B5009A8B852B}"/>
                  </a:ext>
                </a:extLst>
              </p:cNvPr>
              <p:cNvSpPr/>
              <p:nvPr/>
            </p:nvSpPr>
            <p:spPr>
              <a:xfrm>
                <a:off x="9983021" y="3699378"/>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79" name="Freeform: Shape 178">
                <a:extLst>
                  <a:ext uri="{FF2B5EF4-FFF2-40B4-BE49-F238E27FC236}">
                    <a16:creationId xmlns:a16="http://schemas.microsoft.com/office/drawing/2014/main" id="{111BC342-4338-4808-ABD3-25ECE241F016}"/>
                  </a:ext>
                </a:extLst>
              </p:cNvPr>
              <p:cNvSpPr/>
              <p:nvPr/>
            </p:nvSpPr>
            <p:spPr>
              <a:xfrm>
                <a:off x="9749401" y="3705002"/>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0" name="Freeform: Shape 179">
                <a:extLst>
                  <a:ext uri="{FF2B5EF4-FFF2-40B4-BE49-F238E27FC236}">
                    <a16:creationId xmlns:a16="http://schemas.microsoft.com/office/drawing/2014/main" id="{6FD6EFDF-1340-4E68-835E-1B2A7BC53774}"/>
                  </a:ext>
                </a:extLst>
              </p:cNvPr>
              <p:cNvSpPr/>
              <p:nvPr/>
            </p:nvSpPr>
            <p:spPr>
              <a:xfrm>
                <a:off x="9514830" y="3709756"/>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1" name="Freeform: Shape 180">
                <a:extLst>
                  <a:ext uri="{FF2B5EF4-FFF2-40B4-BE49-F238E27FC236}">
                    <a16:creationId xmlns:a16="http://schemas.microsoft.com/office/drawing/2014/main" id="{E2E57D24-42EA-466F-A7DE-AEB203301F10}"/>
                  </a:ext>
                </a:extLst>
              </p:cNvPr>
              <p:cNvSpPr/>
              <p:nvPr/>
            </p:nvSpPr>
            <p:spPr>
              <a:xfrm>
                <a:off x="9280892" y="3715143"/>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sp>
        <p:nvSpPr>
          <p:cNvPr id="232" name="Freeform: Shape 231">
            <a:extLst>
              <a:ext uri="{FF2B5EF4-FFF2-40B4-BE49-F238E27FC236}">
                <a16:creationId xmlns:a16="http://schemas.microsoft.com/office/drawing/2014/main" id="{BFEE5CED-A10A-4AB1-AEC7-6FC4BF015B22}"/>
              </a:ext>
            </a:extLst>
          </p:cNvPr>
          <p:cNvSpPr/>
          <p:nvPr/>
        </p:nvSpPr>
        <p:spPr>
          <a:xfrm>
            <a:off x="7177000" y="3603383"/>
            <a:ext cx="164023" cy="163975"/>
          </a:xfrm>
          <a:custGeom>
            <a:avLst/>
            <a:gdLst>
              <a:gd name="connsiteX0" fmla="*/ 0 w 4948808"/>
              <a:gd name="connsiteY0" fmla="*/ 412242 h 3203828"/>
              <a:gd name="connsiteX1" fmla="*/ 413385 w 4948808"/>
              <a:gd name="connsiteY1" fmla="*/ 0 h 3203828"/>
              <a:gd name="connsiteX2" fmla="*/ 4535519 w 4948808"/>
              <a:gd name="connsiteY2" fmla="*/ 0 h 3203828"/>
              <a:gd name="connsiteX3" fmla="*/ 4948809 w 4948808"/>
              <a:gd name="connsiteY3" fmla="*/ 412242 h 3203828"/>
              <a:gd name="connsiteX4" fmla="*/ 4948809 w 4948808"/>
              <a:gd name="connsiteY4" fmla="*/ 2791587 h 3203828"/>
              <a:gd name="connsiteX5" fmla="*/ 4535519 w 4948808"/>
              <a:gd name="connsiteY5" fmla="*/ 3203829 h 3203828"/>
              <a:gd name="connsiteX6" fmla="*/ 413385 w 4948808"/>
              <a:gd name="connsiteY6" fmla="*/ 3203829 h 3203828"/>
              <a:gd name="connsiteX7" fmla="*/ 95 w 4948808"/>
              <a:gd name="connsiteY7" fmla="*/ 2791587 h 3203828"/>
              <a:gd name="connsiteX8" fmla="*/ 95 w 4948808"/>
              <a:gd name="connsiteY8" fmla="*/ 412242 h 320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8808" h="3203828">
                <a:moveTo>
                  <a:pt x="0" y="412242"/>
                </a:moveTo>
                <a:cubicBezTo>
                  <a:pt x="0" y="184594"/>
                  <a:pt x="185071" y="0"/>
                  <a:pt x="413385" y="0"/>
                </a:cubicBezTo>
                <a:lnTo>
                  <a:pt x="4535519" y="0"/>
                </a:lnTo>
                <a:cubicBezTo>
                  <a:pt x="4763738" y="0"/>
                  <a:pt x="4948809" y="184594"/>
                  <a:pt x="4948809" y="412242"/>
                </a:cubicBezTo>
                <a:lnTo>
                  <a:pt x="4948809" y="2791587"/>
                </a:lnTo>
                <a:cubicBezTo>
                  <a:pt x="4948809" y="3019235"/>
                  <a:pt x="4763738" y="3203829"/>
                  <a:pt x="4535519" y="3203829"/>
                </a:cubicBezTo>
                <a:lnTo>
                  <a:pt x="413385" y="3203829"/>
                </a:lnTo>
                <a:cubicBezTo>
                  <a:pt x="185166" y="3203829"/>
                  <a:pt x="95" y="3019235"/>
                  <a:pt x="95" y="2791587"/>
                </a:cubicBezTo>
                <a:lnTo>
                  <a:pt x="95" y="412242"/>
                </a:lnTo>
                <a:close/>
              </a:path>
            </a:pathLst>
          </a:custGeom>
          <a:noFill/>
          <a:ln w="7144" cap="flat">
            <a:solidFill>
              <a:srgbClr val="6EBE4A"/>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33" name="Freeform: Shape 232">
            <a:extLst>
              <a:ext uri="{FF2B5EF4-FFF2-40B4-BE49-F238E27FC236}">
                <a16:creationId xmlns:a16="http://schemas.microsoft.com/office/drawing/2014/main" id="{9FA34526-357E-4499-9FF0-CC3C2D79A0F8}"/>
              </a:ext>
            </a:extLst>
          </p:cNvPr>
          <p:cNvSpPr/>
          <p:nvPr/>
        </p:nvSpPr>
        <p:spPr>
          <a:xfrm>
            <a:off x="7273825" y="3676480"/>
            <a:ext cx="139342" cy="139303"/>
          </a:xfrm>
          <a:custGeom>
            <a:avLst/>
            <a:gdLst>
              <a:gd name="connsiteX0" fmla="*/ 0 w 4948808"/>
              <a:gd name="connsiteY0" fmla="*/ 412242 h 3203828"/>
              <a:gd name="connsiteX1" fmla="*/ 413385 w 4948808"/>
              <a:gd name="connsiteY1" fmla="*/ 0 h 3203828"/>
              <a:gd name="connsiteX2" fmla="*/ 4535519 w 4948808"/>
              <a:gd name="connsiteY2" fmla="*/ 0 h 3203828"/>
              <a:gd name="connsiteX3" fmla="*/ 4948809 w 4948808"/>
              <a:gd name="connsiteY3" fmla="*/ 412242 h 3203828"/>
              <a:gd name="connsiteX4" fmla="*/ 4948809 w 4948808"/>
              <a:gd name="connsiteY4" fmla="*/ 2791587 h 3203828"/>
              <a:gd name="connsiteX5" fmla="*/ 4535519 w 4948808"/>
              <a:gd name="connsiteY5" fmla="*/ 3203829 h 3203828"/>
              <a:gd name="connsiteX6" fmla="*/ 413385 w 4948808"/>
              <a:gd name="connsiteY6" fmla="*/ 3203829 h 3203828"/>
              <a:gd name="connsiteX7" fmla="*/ 95 w 4948808"/>
              <a:gd name="connsiteY7" fmla="*/ 2791587 h 3203828"/>
              <a:gd name="connsiteX8" fmla="*/ 95 w 4948808"/>
              <a:gd name="connsiteY8" fmla="*/ 412242 h 320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8808" h="3203828">
                <a:moveTo>
                  <a:pt x="0" y="412242"/>
                </a:moveTo>
                <a:cubicBezTo>
                  <a:pt x="0" y="184594"/>
                  <a:pt x="185071" y="0"/>
                  <a:pt x="413385" y="0"/>
                </a:cubicBezTo>
                <a:lnTo>
                  <a:pt x="4535519" y="0"/>
                </a:lnTo>
                <a:cubicBezTo>
                  <a:pt x="4763738" y="0"/>
                  <a:pt x="4948809" y="184594"/>
                  <a:pt x="4948809" y="412242"/>
                </a:cubicBezTo>
                <a:lnTo>
                  <a:pt x="4948809" y="2791587"/>
                </a:lnTo>
                <a:cubicBezTo>
                  <a:pt x="4948809" y="3019235"/>
                  <a:pt x="4763738" y="3203829"/>
                  <a:pt x="4535519" y="3203829"/>
                </a:cubicBezTo>
                <a:lnTo>
                  <a:pt x="413385" y="3203829"/>
                </a:lnTo>
                <a:cubicBezTo>
                  <a:pt x="185166" y="3203829"/>
                  <a:pt x="95" y="3019235"/>
                  <a:pt x="95" y="2791587"/>
                </a:cubicBezTo>
                <a:lnTo>
                  <a:pt x="95" y="412242"/>
                </a:lnTo>
                <a:close/>
              </a:path>
            </a:pathLst>
          </a:custGeom>
          <a:noFill/>
          <a:ln w="7144" cap="flat">
            <a:solidFill>
              <a:srgbClr val="6EBE4A"/>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nvGrpSpPr>
          <p:cNvPr id="234" name="Group 233">
            <a:extLst>
              <a:ext uri="{FF2B5EF4-FFF2-40B4-BE49-F238E27FC236}">
                <a16:creationId xmlns:a16="http://schemas.microsoft.com/office/drawing/2014/main" id="{DA8E8EE4-7C57-4756-A67F-2948C04D819E}"/>
              </a:ext>
            </a:extLst>
          </p:cNvPr>
          <p:cNvGrpSpPr/>
          <p:nvPr/>
        </p:nvGrpSpPr>
        <p:grpSpPr>
          <a:xfrm rot="2678579">
            <a:off x="6976596" y="3002530"/>
            <a:ext cx="322553" cy="571727"/>
            <a:chOff x="8288242" y="2488354"/>
            <a:chExt cx="1927860" cy="3417146"/>
          </a:xfrm>
          <a:solidFill>
            <a:srgbClr val="6EBE4A"/>
          </a:solidFill>
        </p:grpSpPr>
        <p:sp>
          <p:nvSpPr>
            <p:cNvPr id="235" name="Oval 234">
              <a:extLst>
                <a:ext uri="{FF2B5EF4-FFF2-40B4-BE49-F238E27FC236}">
                  <a16:creationId xmlns:a16="http://schemas.microsoft.com/office/drawing/2014/main" id="{3BFCC60C-2780-4BEC-B600-8EF2D321564A}"/>
                </a:ext>
              </a:extLst>
            </p:cNvPr>
            <p:cNvSpPr/>
            <p:nvPr/>
          </p:nvSpPr>
          <p:spPr>
            <a:xfrm>
              <a:off x="879116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36" name="Oval 235">
              <a:extLst>
                <a:ext uri="{FF2B5EF4-FFF2-40B4-BE49-F238E27FC236}">
                  <a16:creationId xmlns:a16="http://schemas.microsoft.com/office/drawing/2014/main" id="{8066CD71-94E2-41DC-86FC-FECA48D23232}"/>
                </a:ext>
              </a:extLst>
            </p:cNvPr>
            <p:cNvSpPr/>
            <p:nvPr/>
          </p:nvSpPr>
          <p:spPr>
            <a:xfrm>
              <a:off x="904262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37" name="Oval 236">
              <a:extLst>
                <a:ext uri="{FF2B5EF4-FFF2-40B4-BE49-F238E27FC236}">
                  <a16:creationId xmlns:a16="http://schemas.microsoft.com/office/drawing/2014/main" id="{003DE0D5-18FD-48D9-A54D-3CE81E0CA2B7}"/>
                </a:ext>
              </a:extLst>
            </p:cNvPr>
            <p:cNvSpPr/>
            <p:nvPr/>
          </p:nvSpPr>
          <p:spPr>
            <a:xfrm>
              <a:off x="929408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38" name="Oval 237">
              <a:extLst>
                <a:ext uri="{FF2B5EF4-FFF2-40B4-BE49-F238E27FC236}">
                  <a16:creationId xmlns:a16="http://schemas.microsoft.com/office/drawing/2014/main" id="{ED723821-1424-4716-8754-3EED108FCCF4}"/>
                </a:ext>
              </a:extLst>
            </p:cNvPr>
            <p:cNvSpPr/>
            <p:nvPr/>
          </p:nvSpPr>
          <p:spPr>
            <a:xfrm>
              <a:off x="879116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39" name="Oval 238">
              <a:extLst>
                <a:ext uri="{FF2B5EF4-FFF2-40B4-BE49-F238E27FC236}">
                  <a16:creationId xmlns:a16="http://schemas.microsoft.com/office/drawing/2014/main" id="{31949715-8E17-425C-92A9-1AA4451FFE99}"/>
                </a:ext>
              </a:extLst>
            </p:cNvPr>
            <p:cNvSpPr/>
            <p:nvPr/>
          </p:nvSpPr>
          <p:spPr>
            <a:xfrm>
              <a:off x="904262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40" name="Oval 239">
              <a:extLst>
                <a:ext uri="{FF2B5EF4-FFF2-40B4-BE49-F238E27FC236}">
                  <a16:creationId xmlns:a16="http://schemas.microsoft.com/office/drawing/2014/main" id="{B07FABDE-6D13-4B3E-AF80-2C254322C725}"/>
                </a:ext>
              </a:extLst>
            </p:cNvPr>
            <p:cNvSpPr/>
            <p:nvPr/>
          </p:nvSpPr>
          <p:spPr>
            <a:xfrm>
              <a:off x="929408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41" name="Oval 240">
              <a:extLst>
                <a:ext uri="{FF2B5EF4-FFF2-40B4-BE49-F238E27FC236}">
                  <a16:creationId xmlns:a16="http://schemas.microsoft.com/office/drawing/2014/main" id="{321A740C-6116-424C-829D-900F07516D6B}"/>
                </a:ext>
              </a:extLst>
            </p:cNvPr>
            <p:cNvSpPr/>
            <p:nvPr/>
          </p:nvSpPr>
          <p:spPr>
            <a:xfrm>
              <a:off x="879116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42" name="Oval 241">
              <a:extLst>
                <a:ext uri="{FF2B5EF4-FFF2-40B4-BE49-F238E27FC236}">
                  <a16:creationId xmlns:a16="http://schemas.microsoft.com/office/drawing/2014/main" id="{B5375509-120B-4E10-BF5D-AAAEAB5EB8CE}"/>
                </a:ext>
              </a:extLst>
            </p:cNvPr>
            <p:cNvSpPr/>
            <p:nvPr/>
          </p:nvSpPr>
          <p:spPr>
            <a:xfrm>
              <a:off x="904262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43" name="Oval 242">
              <a:extLst>
                <a:ext uri="{FF2B5EF4-FFF2-40B4-BE49-F238E27FC236}">
                  <a16:creationId xmlns:a16="http://schemas.microsoft.com/office/drawing/2014/main" id="{AA6A8E84-8E27-494E-B72F-F77531B963D2}"/>
                </a:ext>
              </a:extLst>
            </p:cNvPr>
            <p:cNvSpPr/>
            <p:nvPr/>
          </p:nvSpPr>
          <p:spPr>
            <a:xfrm>
              <a:off x="929408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nvGrpSpPr>
            <p:cNvPr id="244" name="Group 243">
              <a:extLst>
                <a:ext uri="{FF2B5EF4-FFF2-40B4-BE49-F238E27FC236}">
                  <a16:creationId xmlns:a16="http://schemas.microsoft.com/office/drawing/2014/main" id="{99CF19CD-6E48-4D66-9440-56DBE3821A5B}"/>
                </a:ext>
              </a:extLst>
            </p:cNvPr>
            <p:cNvGrpSpPr/>
            <p:nvPr/>
          </p:nvGrpSpPr>
          <p:grpSpPr>
            <a:xfrm>
              <a:off x="9545542" y="5234940"/>
              <a:ext cx="670560" cy="670560"/>
              <a:chOff x="3208242" y="4511040"/>
              <a:chExt cx="670560" cy="670560"/>
            </a:xfrm>
            <a:grpFill/>
          </p:grpSpPr>
          <p:sp>
            <p:nvSpPr>
              <p:cNvPr id="286" name="Oval 285">
                <a:extLst>
                  <a:ext uri="{FF2B5EF4-FFF2-40B4-BE49-F238E27FC236}">
                    <a16:creationId xmlns:a16="http://schemas.microsoft.com/office/drawing/2014/main" id="{D17589EC-D117-4B1F-BF29-C0E525E0242C}"/>
                  </a:ext>
                </a:extLst>
              </p:cNvPr>
              <p:cNvSpPr/>
              <p:nvPr/>
            </p:nvSpPr>
            <p:spPr>
              <a:xfrm>
                <a:off x="320824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7" name="Oval 286">
                <a:extLst>
                  <a:ext uri="{FF2B5EF4-FFF2-40B4-BE49-F238E27FC236}">
                    <a16:creationId xmlns:a16="http://schemas.microsoft.com/office/drawing/2014/main" id="{2518E86D-9E62-4AC2-B2CF-BA65332BB6E6}"/>
                  </a:ext>
                </a:extLst>
              </p:cNvPr>
              <p:cNvSpPr/>
              <p:nvPr/>
            </p:nvSpPr>
            <p:spPr>
              <a:xfrm>
                <a:off x="345970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8" name="Oval 287">
                <a:extLst>
                  <a:ext uri="{FF2B5EF4-FFF2-40B4-BE49-F238E27FC236}">
                    <a16:creationId xmlns:a16="http://schemas.microsoft.com/office/drawing/2014/main" id="{CB63D5CA-386D-4B4A-B6B9-9895A9B3079C}"/>
                  </a:ext>
                </a:extLst>
              </p:cNvPr>
              <p:cNvSpPr/>
              <p:nvPr/>
            </p:nvSpPr>
            <p:spPr>
              <a:xfrm>
                <a:off x="371116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9" name="Oval 288">
                <a:extLst>
                  <a:ext uri="{FF2B5EF4-FFF2-40B4-BE49-F238E27FC236}">
                    <a16:creationId xmlns:a16="http://schemas.microsoft.com/office/drawing/2014/main" id="{E70AA367-AC71-49AB-8693-EE5418B0B63B}"/>
                  </a:ext>
                </a:extLst>
              </p:cNvPr>
              <p:cNvSpPr/>
              <p:nvPr/>
            </p:nvSpPr>
            <p:spPr>
              <a:xfrm>
                <a:off x="320824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0" name="Oval 289">
                <a:extLst>
                  <a:ext uri="{FF2B5EF4-FFF2-40B4-BE49-F238E27FC236}">
                    <a16:creationId xmlns:a16="http://schemas.microsoft.com/office/drawing/2014/main" id="{077D4D08-C638-44A0-AFA4-868C6603FD21}"/>
                  </a:ext>
                </a:extLst>
              </p:cNvPr>
              <p:cNvSpPr/>
              <p:nvPr/>
            </p:nvSpPr>
            <p:spPr>
              <a:xfrm>
                <a:off x="345970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1" name="Oval 290">
                <a:extLst>
                  <a:ext uri="{FF2B5EF4-FFF2-40B4-BE49-F238E27FC236}">
                    <a16:creationId xmlns:a16="http://schemas.microsoft.com/office/drawing/2014/main" id="{A3A70BDD-C98A-44D9-AC18-ADE71483046E}"/>
                  </a:ext>
                </a:extLst>
              </p:cNvPr>
              <p:cNvSpPr/>
              <p:nvPr/>
            </p:nvSpPr>
            <p:spPr>
              <a:xfrm>
                <a:off x="371116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2" name="Oval 291">
                <a:extLst>
                  <a:ext uri="{FF2B5EF4-FFF2-40B4-BE49-F238E27FC236}">
                    <a16:creationId xmlns:a16="http://schemas.microsoft.com/office/drawing/2014/main" id="{440738A0-0DAA-427B-A1C1-789EA3DD3B62}"/>
                  </a:ext>
                </a:extLst>
              </p:cNvPr>
              <p:cNvSpPr/>
              <p:nvPr/>
            </p:nvSpPr>
            <p:spPr>
              <a:xfrm>
                <a:off x="320824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3" name="Oval 292">
                <a:extLst>
                  <a:ext uri="{FF2B5EF4-FFF2-40B4-BE49-F238E27FC236}">
                    <a16:creationId xmlns:a16="http://schemas.microsoft.com/office/drawing/2014/main" id="{2C864FB6-29CF-41F8-AA65-E330EAC69815}"/>
                  </a:ext>
                </a:extLst>
              </p:cNvPr>
              <p:cNvSpPr/>
              <p:nvPr/>
            </p:nvSpPr>
            <p:spPr>
              <a:xfrm>
                <a:off x="345970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4" name="Oval 293">
                <a:extLst>
                  <a:ext uri="{FF2B5EF4-FFF2-40B4-BE49-F238E27FC236}">
                    <a16:creationId xmlns:a16="http://schemas.microsoft.com/office/drawing/2014/main" id="{6CF687DE-57D7-4BEA-A2CA-18B75B954FA7}"/>
                  </a:ext>
                </a:extLst>
              </p:cNvPr>
              <p:cNvSpPr/>
              <p:nvPr/>
            </p:nvSpPr>
            <p:spPr>
              <a:xfrm>
                <a:off x="371116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grpSp>
          <p:nvGrpSpPr>
            <p:cNvPr id="245" name="Group 244">
              <a:extLst>
                <a:ext uri="{FF2B5EF4-FFF2-40B4-BE49-F238E27FC236}">
                  <a16:creationId xmlns:a16="http://schemas.microsoft.com/office/drawing/2014/main" id="{B1869022-B2F5-4A33-8B77-3B9F96FDB40A}"/>
                </a:ext>
              </a:extLst>
            </p:cNvPr>
            <p:cNvGrpSpPr/>
            <p:nvPr/>
          </p:nvGrpSpPr>
          <p:grpSpPr>
            <a:xfrm>
              <a:off x="9545542" y="4485640"/>
              <a:ext cx="670560" cy="670560"/>
              <a:chOff x="3208242" y="4511040"/>
              <a:chExt cx="670560" cy="670560"/>
            </a:xfrm>
            <a:grpFill/>
          </p:grpSpPr>
          <p:sp>
            <p:nvSpPr>
              <p:cNvPr id="277" name="Oval 276">
                <a:extLst>
                  <a:ext uri="{FF2B5EF4-FFF2-40B4-BE49-F238E27FC236}">
                    <a16:creationId xmlns:a16="http://schemas.microsoft.com/office/drawing/2014/main" id="{4E43FA31-1F4E-4E17-A4D5-0CA25A1BF647}"/>
                  </a:ext>
                </a:extLst>
              </p:cNvPr>
              <p:cNvSpPr/>
              <p:nvPr/>
            </p:nvSpPr>
            <p:spPr>
              <a:xfrm>
                <a:off x="320824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8" name="Oval 277">
                <a:extLst>
                  <a:ext uri="{FF2B5EF4-FFF2-40B4-BE49-F238E27FC236}">
                    <a16:creationId xmlns:a16="http://schemas.microsoft.com/office/drawing/2014/main" id="{2EB16DA0-402B-4E2C-ADB2-37C502736F00}"/>
                  </a:ext>
                </a:extLst>
              </p:cNvPr>
              <p:cNvSpPr/>
              <p:nvPr/>
            </p:nvSpPr>
            <p:spPr>
              <a:xfrm>
                <a:off x="345970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9" name="Oval 278">
                <a:extLst>
                  <a:ext uri="{FF2B5EF4-FFF2-40B4-BE49-F238E27FC236}">
                    <a16:creationId xmlns:a16="http://schemas.microsoft.com/office/drawing/2014/main" id="{DCB6244F-EC17-4A14-9400-C3D0D0A03D3A}"/>
                  </a:ext>
                </a:extLst>
              </p:cNvPr>
              <p:cNvSpPr/>
              <p:nvPr/>
            </p:nvSpPr>
            <p:spPr>
              <a:xfrm>
                <a:off x="371116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0" name="Oval 279">
                <a:extLst>
                  <a:ext uri="{FF2B5EF4-FFF2-40B4-BE49-F238E27FC236}">
                    <a16:creationId xmlns:a16="http://schemas.microsoft.com/office/drawing/2014/main" id="{B219DA28-2554-4292-A44D-99ED99C69676}"/>
                  </a:ext>
                </a:extLst>
              </p:cNvPr>
              <p:cNvSpPr/>
              <p:nvPr/>
            </p:nvSpPr>
            <p:spPr>
              <a:xfrm>
                <a:off x="320824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1" name="Oval 280">
                <a:extLst>
                  <a:ext uri="{FF2B5EF4-FFF2-40B4-BE49-F238E27FC236}">
                    <a16:creationId xmlns:a16="http://schemas.microsoft.com/office/drawing/2014/main" id="{686C9E3B-5AA7-46F1-B75A-D51ADC2C4E75}"/>
                  </a:ext>
                </a:extLst>
              </p:cNvPr>
              <p:cNvSpPr/>
              <p:nvPr/>
            </p:nvSpPr>
            <p:spPr>
              <a:xfrm>
                <a:off x="345970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2" name="Oval 281">
                <a:extLst>
                  <a:ext uri="{FF2B5EF4-FFF2-40B4-BE49-F238E27FC236}">
                    <a16:creationId xmlns:a16="http://schemas.microsoft.com/office/drawing/2014/main" id="{51276D78-C2BB-4E6E-8DF1-257F65286B49}"/>
                  </a:ext>
                </a:extLst>
              </p:cNvPr>
              <p:cNvSpPr/>
              <p:nvPr/>
            </p:nvSpPr>
            <p:spPr>
              <a:xfrm>
                <a:off x="371116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3" name="Oval 282">
                <a:extLst>
                  <a:ext uri="{FF2B5EF4-FFF2-40B4-BE49-F238E27FC236}">
                    <a16:creationId xmlns:a16="http://schemas.microsoft.com/office/drawing/2014/main" id="{D7869FBD-5C65-442A-984F-D3D9E37FADFF}"/>
                  </a:ext>
                </a:extLst>
              </p:cNvPr>
              <p:cNvSpPr/>
              <p:nvPr/>
            </p:nvSpPr>
            <p:spPr>
              <a:xfrm>
                <a:off x="320824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4" name="Oval 283">
                <a:extLst>
                  <a:ext uri="{FF2B5EF4-FFF2-40B4-BE49-F238E27FC236}">
                    <a16:creationId xmlns:a16="http://schemas.microsoft.com/office/drawing/2014/main" id="{72265811-E739-46BF-A71A-750FABD0694E}"/>
                  </a:ext>
                </a:extLst>
              </p:cNvPr>
              <p:cNvSpPr/>
              <p:nvPr/>
            </p:nvSpPr>
            <p:spPr>
              <a:xfrm>
                <a:off x="345970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5" name="Oval 284">
                <a:extLst>
                  <a:ext uri="{FF2B5EF4-FFF2-40B4-BE49-F238E27FC236}">
                    <a16:creationId xmlns:a16="http://schemas.microsoft.com/office/drawing/2014/main" id="{2FCC72DB-E6FF-4017-9C05-888656D0EB46}"/>
                  </a:ext>
                </a:extLst>
              </p:cNvPr>
              <p:cNvSpPr/>
              <p:nvPr/>
            </p:nvSpPr>
            <p:spPr>
              <a:xfrm>
                <a:off x="371116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grpSp>
          <p:nvGrpSpPr>
            <p:cNvPr id="246" name="Group 245">
              <a:extLst>
                <a:ext uri="{FF2B5EF4-FFF2-40B4-BE49-F238E27FC236}">
                  <a16:creationId xmlns:a16="http://schemas.microsoft.com/office/drawing/2014/main" id="{4D185880-1FC0-4A3B-807A-0B1962BF5DCB}"/>
                </a:ext>
              </a:extLst>
            </p:cNvPr>
            <p:cNvGrpSpPr/>
            <p:nvPr/>
          </p:nvGrpSpPr>
          <p:grpSpPr>
            <a:xfrm>
              <a:off x="9545542" y="3736340"/>
              <a:ext cx="670560" cy="670560"/>
              <a:chOff x="3208242" y="4511040"/>
              <a:chExt cx="670560" cy="670560"/>
            </a:xfrm>
            <a:grpFill/>
          </p:grpSpPr>
          <p:sp>
            <p:nvSpPr>
              <p:cNvPr id="268" name="Oval 267">
                <a:extLst>
                  <a:ext uri="{FF2B5EF4-FFF2-40B4-BE49-F238E27FC236}">
                    <a16:creationId xmlns:a16="http://schemas.microsoft.com/office/drawing/2014/main" id="{5DC40509-A257-4D43-827E-274647460817}"/>
                  </a:ext>
                </a:extLst>
              </p:cNvPr>
              <p:cNvSpPr/>
              <p:nvPr/>
            </p:nvSpPr>
            <p:spPr>
              <a:xfrm>
                <a:off x="320824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9" name="Oval 268">
                <a:extLst>
                  <a:ext uri="{FF2B5EF4-FFF2-40B4-BE49-F238E27FC236}">
                    <a16:creationId xmlns:a16="http://schemas.microsoft.com/office/drawing/2014/main" id="{1EAF7957-E2CC-4900-9C71-2F336CE2AA88}"/>
                  </a:ext>
                </a:extLst>
              </p:cNvPr>
              <p:cNvSpPr/>
              <p:nvPr/>
            </p:nvSpPr>
            <p:spPr>
              <a:xfrm>
                <a:off x="345970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0" name="Oval 269">
                <a:extLst>
                  <a:ext uri="{FF2B5EF4-FFF2-40B4-BE49-F238E27FC236}">
                    <a16:creationId xmlns:a16="http://schemas.microsoft.com/office/drawing/2014/main" id="{8B5E37AF-8EE2-4B83-B80E-80D3AAE523EA}"/>
                  </a:ext>
                </a:extLst>
              </p:cNvPr>
              <p:cNvSpPr/>
              <p:nvPr/>
            </p:nvSpPr>
            <p:spPr>
              <a:xfrm>
                <a:off x="371116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1" name="Oval 270">
                <a:extLst>
                  <a:ext uri="{FF2B5EF4-FFF2-40B4-BE49-F238E27FC236}">
                    <a16:creationId xmlns:a16="http://schemas.microsoft.com/office/drawing/2014/main" id="{9142F231-4F01-46A5-9C81-A5D575DDC05C}"/>
                  </a:ext>
                </a:extLst>
              </p:cNvPr>
              <p:cNvSpPr/>
              <p:nvPr/>
            </p:nvSpPr>
            <p:spPr>
              <a:xfrm>
                <a:off x="320824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2" name="Oval 271">
                <a:extLst>
                  <a:ext uri="{FF2B5EF4-FFF2-40B4-BE49-F238E27FC236}">
                    <a16:creationId xmlns:a16="http://schemas.microsoft.com/office/drawing/2014/main" id="{2F7EB444-04AB-414B-B60D-46684C850C72}"/>
                  </a:ext>
                </a:extLst>
              </p:cNvPr>
              <p:cNvSpPr/>
              <p:nvPr/>
            </p:nvSpPr>
            <p:spPr>
              <a:xfrm>
                <a:off x="345970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3" name="Oval 272">
                <a:extLst>
                  <a:ext uri="{FF2B5EF4-FFF2-40B4-BE49-F238E27FC236}">
                    <a16:creationId xmlns:a16="http://schemas.microsoft.com/office/drawing/2014/main" id="{2FD02F29-A0A7-48AD-B9C3-2D4E72ADC3E6}"/>
                  </a:ext>
                </a:extLst>
              </p:cNvPr>
              <p:cNvSpPr/>
              <p:nvPr/>
            </p:nvSpPr>
            <p:spPr>
              <a:xfrm>
                <a:off x="371116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4" name="Oval 273">
                <a:extLst>
                  <a:ext uri="{FF2B5EF4-FFF2-40B4-BE49-F238E27FC236}">
                    <a16:creationId xmlns:a16="http://schemas.microsoft.com/office/drawing/2014/main" id="{07EA9D5C-5EE0-47F4-A552-F221DCBFE731}"/>
                  </a:ext>
                </a:extLst>
              </p:cNvPr>
              <p:cNvSpPr/>
              <p:nvPr/>
            </p:nvSpPr>
            <p:spPr>
              <a:xfrm>
                <a:off x="320824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5" name="Oval 274">
                <a:extLst>
                  <a:ext uri="{FF2B5EF4-FFF2-40B4-BE49-F238E27FC236}">
                    <a16:creationId xmlns:a16="http://schemas.microsoft.com/office/drawing/2014/main" id="{4D24CAE6-C16D-4632-A43B-F0E215397A88}"/>
                  </a:ext>
                </a:extLst>
              </p:cNvPr>
              <p:cNvSpPr/>
              <p:nvPr/>
            </p:nvSpPr>
            <p:spPr>
              <a:xfrm>
                <a:off x="345970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6" name="Oval 275">
                <a:extLst>
                  <a:ext uri="{FF2B5EF4-FFF2-40B4-BE49-F238E27FC236}">
                    <a16:creationId xmlns:a16="http://schemas.microsoft.com/office/drawing/2014/main" id="{3E188FA2-B791-4FF1-922C-2F5401E901A3}"/>
                  </a:ext>
                </a:extLst>
              </p:cNvPr>
              <p:cNvSpPr/>
              <p:nvPr/>
            </p:nvSpPr>
            <p:spPr>
              <a:xfrm>
                <a:off x="371116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sp>
          <p:nvSpPr>
            <p:cNvPr id="247" name="Oval 246">
              <a:extLst>
                <a:ext uri="{FF2B5EF4-FFF2-40B4-BE49-F238E27FC236}">
                  <a16:creationId xmlns:a16="http://schemas.microsoft.com/office/drawing/2014/main" id="{43293197-2E82-4A49-A1B1-0A52C613CF14}"/>
                </a:ext>
              </a:extLst>
            </p:cNvPr>
            <p:cNvSpPr/>
            <p:nvPr/>
          </p:nvSpPr>
          <p:spPr>
            <a:xfrm>
              <a:off x="9545542" y="2987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48" name="Oval 247">
              <a:extLst>
                <a:ext uri="{FF2B5EF4-FFF2-40B4-BE49-F238E27FC236}">
                  <a16:creationId xmlns:a16="http://schemas.microsoft.com/office/drawing/2014/main" id="{847C233A-1CA8-461A-8D57-4AC48B70567C}"/>
                </a:ext>
              </a:extLst>
            </p:cNvPr>
            <p:cNvSpPr/>
            <p:nvPr/>
          </p:nvSpPr>
          <p:spPr>
            <a:xfrm>
              <a:off x="9797002" y="2987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49" name="Oval 248">
              <a:extLst>
                <a:ext uri="{FF2B5EF4-FFF2-40B4-BE49-F238E27FC236}">
                  <a16:creationId xmlns:a16="http://schemas.microsoft.com/office/drawing/2014/main" id="{DCDB5AA1-98FA-446B-9546-7ECD01D0E24A}"/>
                </a:ext>
              </a:extLst>
            </p:cNvPr>
            <p:cNvSpPr/>
            <p:nvPr/>
          </p:nvSpPr>
          <p:spPr>
            <a:xfrm>
              <a:off x="10048462" y="2987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0" name="Oval 249">
              <a:extLst>
                <a:ext uri="{FF2B5EF4-FFF2-40B4-BE49-F238E27FC236}">
                  <a16:creationId xmlns:a16="http://schemas.microsoft.com/office/drawing/2014/main" id="{76C8FD7E-DBB0-4180-9775-6BFEC012F0A3}"/>
                </a:ext>
              </a:extLst>
            </p:cNvPr>
            <p:cNvSpPr/>
            <p:nvPr/>
          </p:nvSpPr>
          <p:spPr>
            <a:xfrm>
              <a:off x="9545542" y="3238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1" name="Oval 250">
              <a:extLst>
                <a:ext uri="{FF2B5EF4-FFF2-40B4-BE49-F238E27FC236}">
                  <a16:creationId xmlns:a16="http://schemas.microsoft.com/office/drawing/2014/main" id="{CD310FB0-1A10-4372-B45A-19491F8B6407}"/>
                </a:ext>
              </a:extLst>
            </p:cNvPr>
            <p:cNvSpPr/>
            <p:nvPr/>
          </p:nvSpPr>
          <p:spPr>
            <a:xfrm>
              <a:off x="9797002" y="3238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2" name="Oval 251">
              <a:extLst>
                <a:ext uri="{FF2B5EF4-FFF2-40B4-BE49-F238E27FC236}">
                  <a16:creationId xmlns:a16="http://schemas.microsoft.com/office/drawing/2014/main" id="{F34C7476-2963-4A38-B10C-70793C9FF916}"/>
                </a:ext>
              </a:extLst>
            </p:cNvPr>
            <p:cNvSpPr/>
            <p:nvPr/>
          </p:nvSpPr>
          <p:spPr>
            <a:xfrm>
              <a:off x="10048462" y="3238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3" name="Oval 252">
              <a:extLst>
                <a:ext uri="{FF2B5EF4-FFF2-40B4-BE49-F238E27FC236}">
                  <a16:creationId xmlns:a16="http://schemas.microsoft.com/office/drawing/2014/main" id="{C860282D-AF52-46AE-954F-37B305F8B459}"/>
                </a:ext>
              </a:extLst>
            </p:cNvPr>
            <p:cNvSpPr/>
            <p:nvPr/>
          </p:nvSpPr>
          <p:spPr>
            <a:xfrm>
              <a:off x="9545542" y="3489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4" name="Oval 253">
              <a:extLst>
                <a:ext uri="{FF2B5EF4-FFF2-40B4-BE49-F238E27FC236}">
                  <a16:creationId xmlns:a16="http://schemas.microsoft.com/office/drawing/2014/main" id="{3837DBF6-2BBA-40D8-9C4E-CBA22BF25A73}"/>
                </a:ext>
              </a:extLst>
            </p:cNvPr>
            <p:cNvSpPr/>
            <p:nvPr/>
          </p:nvSpPr>
          <p:spPr>
            <a:xfrm>
              <a:off x="9797002" y="3489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5" name="Oval 254">
              <a:extLst>
                <a:ext uri="{FF2B5EF4-FFF2-40B4-BE49-F238E27FC236}">
                  <a16:creationId xmlns:a16="http://schemas.microsoft.com/office/drawing/2014/main" id="{6D584822-9D7E-49E9-A003-EF34F8D58B5E}"/>
                </a:ext>
              </a:extLst>
            </p:cNvPr>
            <p:cNvSpPr/>
            <p:nvPr/>
          </p:nvSpPr>
          <p:spPr>
            <a:xfrm>
              <a:off x="10048462" y="3489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6" name="Oval 255">
              <a:extLst>
                <a:ext uri="{FF2B5EF4-FFF2-40B4-BE49-F238E27FC236}">
                  <a16:creationId xmlns:a16="http://schemas.microsoft.com/office/drawing/2014/main" id="{C4C927F0-0E36-44BE-A319-45548C6233C4}"/>
                </a:ext>
              </a:extLst>
            </p:cNvPr>
            <p:cNvSpPr/>
            <p:nvPr/>
          </p:nvSpPr>
          <p:spPr>
            <a:xfrm>
              <a:off x="853970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7" name="Oval 256">
              <a:extLst>
                <a:ext uri="{FF2B5EF4-FFF2-40B4-BE49-F238E27FC236}">
                  <a16:creationId xmlns:a16="http://schemas.microsoft.com/office/drawing/2014/main" id="{976A9942-18A5-4316-9729-98E6615B848F}"/>
                </a:ext>
              </a:extLst>
            </p:cNvPr>
            <p:cNvSpPr/>
            <p:nvPr/>
          </p:nvSpPr>
          <p:spPr>
            <a:xfrm>
              <a:off x="853970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8" name="Oval 257">
              <a:extLst>
                <a:ext uri="{FF2B5EF4-FFF2-40B4-BE49-F238E27FC236}">
                  <a16:creationId xmlns:a16="http://schemas.microsoft.com/office/drawing/2014/main" id="{C60B8D7F-63C8-4B5B-88E7-F5AD328301C4}"/>
                </a:ext>
              </a:extLst>
            </p:cNvPr>
            <p:cNvSpPr/>
            <p:nvPr/>
          </p:nvSpPr>
          <p:spPr>
            <a:xfrm>
              <a:off x="853970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9" name="Oval 258">
              <a:extLst>
                <a:ext uri="{FF2B5EF4-FFF2-40B4-BE49-F238E27FC236}">
                  <a16:creationId xmlns:a16="http://schemas.microsoft.com/office/drawing/2014/main" id="{3DCD8090-88E8-420D-B5F5-C6D5B8D2FA11}"/>
                </a:ext>
              </a:extLst>
            </p:cNvPr>
            <p:cNvSpPr/>
            <p:nvPr/>
          </p:nvSpPr>
          <p:spPr>
            <a:xfrm>
              <a:off x="828824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0" name="Oval 259">
              <a:extLst>
                <a:ext uri="{FF2B5EF4-FFF2-40B4-BE49-F238E27FC236}">
                  <a16:creationId xmlns:a16="http://schemas.microsoft.com/office/drawing/2014/main" id="{E0D7E8F8-948F-4229-9669-07D1FBABC7EB}"/>
                </a:ext>
              </a:extLst>
            </p:cNvPr>
            <p:cNvSpPr/>
            <p:nvPr/>
          </p:nvSpPr>
          <p:spPr>
            <a:xfrm>
              <a:off x="828824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1" name="Oval 260">
              <a:extLst>
                <a:ext uri="{FF2B5EF4-FFF2-40B4-BE49-F238E27FC236}">
                  <a16:creationId xmlns:a16="http://schemas.microsoft.com/office/drawing/2014/main" id="{5D5BAB70-63C7-4CAB-B53C-3EB8DEA877CD}"/>
                </a:ext>
              </a:extLst>
            </p:cNvPr>
            <p:cNvSpPr/>
            <p:nvPr/>
          </p:nvSpPr>
          <p:spPr>
            <a:xfrm>
              <a:off x="828824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2" name="Oval 261">
              <a:extLst>
                <a:ext uri="{FF2B5EF4-FFF2-40B4-BE49-F238E27FC236}">
                  <a16:creationId xmlns:a16="http://schemas.microsoft.com/office/drawing/2014/main" id="{C5197A95-93D8-471D-836F-A7A5E059C5C2}"/>
                </a:ext>
              </a:extLst>
            </p:cNvPr>
            <p:cNvSpPr/>
            <p:nvPr/>
          </p:nvSpPr>
          <p:spPr>
            <a:xfrm>
              <a:off x="9545542" y="248835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3" name="Oval 262">
              <a:extLst>
                <a:ext uri="{FF2B5EF4-FFF2-40B4-BE49-F238E27FC236}">
                  <a16:creationId xmlns:a16="http://schemas.microsoft.com/office/drawing/2014/main" id="{F90F4AC0-91F0-43DF-B29D-7A4AB25DF268}"/>
                </a:ext>
              </a:extLst>
            </p:cNvPr>
            <p:cNvSpPr/>
            <p:nvPr/>
          </p:nvSpPr>
          <p:spPr>
            <a:xfrm>
              <a:off x="9797002" y="248835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4" name="Oval 263">
              <a:extLst>
                <a:ext uri="{FF2B5EF4-FFF2-40B4-BE49-F238E27FC236}">
                  <a16:creationId xmlns:a16="http://schemas.microsoft.com/office/drawing/2014/main" id="{A4F6D908-7387-418B-A3A4-798E22D28693}"/>
                </a:ext>
              </a:extLst>
            </p:cNvPr>
            <p:cNvSpPr/>
            <p:nvPr/>
          </p:nvSpPr>
          <p:spPr>
            <a:xfrm>
              <a:off x="10048462" y="248835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5" name="Oval 264">
              <a:extLst>
                <a:ext uri="{FF2B5EF4-FFF2-40B4-BE49-F238E27FC236}">
                  <a16:creationId xmlns:a16="http://schemas.microsoft.com/office/drawing/2014/main" id="{E497DC43-A391-4835-ADC2-7BA6F0A11D63}"/>
                </a:ext>
              </a:extLst>
            </p:cNvPr>
            <p:cNvSpPr/>
            <p:nvPr/>
          </p:nvSpPr>
          <p:spPr>
            <a:xfrm>
              <a:off x="9545542" y="273981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6" name="Oval 265">
              <a:extLst>
                <a:ext uri="{FF2B5EF4-FFF2-40B4-BE49-F238E27FC236}">
                  <a16:creationId xmlns:a16="http://schemas.microsoft.com/office/drawing/2014/main" id="{07F87753-9456-4427-884F-E9945DA4A7FE}"/>
                </a:ext>
              </a:extLst>
            </p:cNvPr>
            <p:cNvSpPr/>
            <p:nvPr/>
          </p:nvSpPr>
          <p:spPr>
            <a:xfrm>
              <a:off x="9797002" y="273981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7" name="Oval 266">
              <a:extLst>
                <a:ext uri="{FF2B5EF4-FFF2-40B4-BE49-F238E27FC236}">
                  <a16:creationId xmlns:a16="http://schemas.microsoft.com/office/drawing/2014/main" id="{8F2BAFB7-3140-4A4C-92F3-8771629B74F7}"/>
                </a:ext>
              </a:extLst>
            </p:cNvPr>
            <p:cNvSpPr/>
            <p:nvPr/>
          </p:nvSpPr>
          <p:spPr>
            <a:xfrm>
              <a:off x="10048462" y="273981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sp>
        <p:nvSpPr>
          <p:cNvPr id="295" name="Freeform: Shape 294">
            <a:extLst>
              <a:ext uri="{FF2B5EF4-FFF2-40B4-BE49-F238E27FC236}">
                <a16:creationId xmlns:a16="http://schemas.microsoft.com/office/drawing/2014/main" id="{C7CABDA1-98BF-42B8-AF85-B01BCD93085A}"/>
              </a:ext>
            </a:extLst>
          </p:cNvPr>
          <p:cNvSpPr/>
          <p:nvPr/>
        </p:nvSpPr>
        <p:spPr>
          <a:xfrm>
            <a:off x="6706683" y="3061097"/>
            <a:ext cx="200764" cy="200586"/>
          </a:xfrm>
          <a:custGeom>
            <a:avLst/>
            <a:gdLst>
              <a:gd name="connsiteX0" fmla="*/ 0 w 401324"/>
              <a:gd name="connsiteY0" fmla="*/ 200662 h 400967"/>
              <a:gd name="connsiteX1" fmla="*/ 200662 w 401324"/>
              <a:gd name="connsiteY1" fmla="*/ 0 h 400967"/>
              <a:gd name="connsiteX2" fmla="*/ 401325 w 401324"/>
              <a:gd name="connsiteY2" fmla="*/ 200662 h 400967"/>
              <a:gd name="connsiteX3" fmla="*/ 201020 w 401324"/>
              <a:gd name="connsiteY3" fmla="*/ 400967 h 400967"/>
              <a:gd name="connsiteX4" fmla="*/ 715 w 401324"/>
              <a:gd name="connsiteY4" fmla="*/ 200662 h 400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324" h="400967">
                <a:moveTo>
                  <a:pt x="0" y="200662"/>
                </a:moveTo>
                <a:cubicBezTo>
                  <a:pt x="0" y="89840"/>
                  <a:pt x="89840" y="0"/>
                  <a:pt x="200662" y="0"/>
                </a:cubicBezTo>
                <a:cubicBezTo>
                  <a:pt x="311485" y="0"/>
                  <a:pt x="401325" y="89840"/>
                  <a:pt x="401325" y="200662"/>
                </a:cubicBezTo>
                <a:cubicBezTo>
                  <a:pt x="401325" y="311288"/>
                  <a:pt x="311646" y="400967"/>
                  <a:pt x="201020" y="400967"/>
                </a:cubicBezTo>
                <a:cubicBezTo>
                  <a:pt x="90395" y="400967"/>
                  <a:pt x="715" y="311288"/>
                  <a:pt x="715" y="200662"/>
                </a:cubicBezTo>
                <a:close/>
              </a:path>
            </a:pathLst>
          </a:custGeom>
          <a:solidFill>
            <a:srgbClr val="00BCE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96" name="Freeform: Shape 295">
            <a:extLst>
              <a:ext uri="{FF2B5EF4-FFF2-40B4-BE49-F238E27FC236}">
                <a16:creationId xmlns:a16="http://schemas.microsoft.com/office/drawing/2014/main" id="{4E268D91-021A-4580-9ADB-0CC7BA8EDAB3}"/>
              </a:ext>
            </a:extLst>
          </p:cNvPr>
          <p:cNvSpPr/>
          <p:nvPr/>
        </p:nvSpPr>
        <p:spPr>
          <a:xfrm>
            <a:off x="6641678" y="3047214"/>
            <a:ext cx="200406" cy="200406"/>
          </a:xfrm>
          <a:custGeom>
            <a:avLst/>
            <a:gdLst>
              <a:gd name="connsiteX0" fmla="*/ 0 w 400609"/>
              <a:gd name="connsiteY0" fmla="*/ 200305 h 400609"/>
              <a:gd name="connsiteX1" fmla="*/ 200305 w 400609"/>
              <a:gd name="connsiteY1" fmla="*/ 0 h 400609"/>
              <a:gd name="connsiteX2" fmla="*/ 400609 w 400609"/>
              <a:gd name="connsiteY2" fmla="*/ 200305 h 400609"/>
              <a:gd name="connsiteX3" fmla="*/ 200305 w 400609"/>
              <a:gd name="connsiteY3" fmla="*/ 400609 h 400609"/>
              <a:gd name="connsiteX4" fmla="*/ 0 w 400609"/>
              <a:gd name="connsiteY4" fmla="*/ 200305 h 400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09" h="400609">
                <a:moveTo>
                  <a:pt x="0" y="200305"/>
                </a:moveTo>
                <a:cubicBezTo>
                  <a:pt x="0" y="89679"/>
                  <a:pt x="89679" y="0"/>
                  <a:pt x="200305" y="0"/>
                </a:cubicBezTo>
                <a:cubicBezTo>
                  <a:pt x="310930" y="0"/>
                  <a:pt x="400609" y="89679"/>
                  <a:pt x="400609" y="200305"/>
                </a:cubicBezTo>
                <a:cubicBezTo>
                  <a:pt x="400609" y="310930"/>
                  <a:pt x="310930" y="400609"/>
                  <a:pt x="200305" y="400609"/>
                </a:cubicBezTo>
                <a:cubicBezTo>
                  <a:pt x="89679" y="400609"/>
                  <a:pt x="0" y="310930"/>
                  <a:pt x="0" y="200305"/>
                </a:cubicBezTo>
                <a:close/>
              </a:path>
            </a:pathLst>
          </a:custGeom>
          <a:noFill/>
          <a:ln w="7144" cap="flat">
            <a:solidFill>
              <a:srgbClr val="0D274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nvGrpSpPr>
          <p:cNvPr id="313" name="Group 312">
            <a:extLst>
              <a:ext uri="{FF2B5EF4-FFF2-40B4-BE49-F238E27FC236}">
                <a16:creationId xmlns:a16="http://schemas.microsoft.com/office/drawing/2014/main" id="{DEE7422A-5246-4E38-A6D8-53B94203993E}"/>
              </a:ext>
            </a:extLst>
          </p:cNvPr>
          <p:cNvGrpSpPr/>
          <p:nvPr/>
        </p:nvGrpSpPr>
        <p:grpSpPr>
          <a:xfrm>
            <a:off x="9558528" y="3602439"/>
            <a:ext cx="2337045" cy="2272681"/>
            <a:chOff x="9765771" y="3773889"/>
            <a:chExt cx="2129802" cy="2071146"/>
          </a:xfrm>
        </p:grpSpPr>
        <p:sp>
          <p:nvSpPr>
            <p:cNvPr id="314" name="Google Shape;2115;p430">
              <a:extLst>
                <a:ext uri="{FF2B5EF4-FFF2-40B4-BE49-F238E27FC236}">
                  <a16:creationId xmlns:a16="http://schemas.microsoft.com/office/drawing/2014/main" id="{D0B818C9-6DCD-4529-8460-221BD82FB0F7}"/>
                </a:ext>
              </a:extLst>
            </p:cNvPr>
            <p:cNvSpPr txBox="1"/>
            <p:nvPr/>
          </p:nvSpPr>
          <p:spPr>
            <a:xfrm>
              <a:off x="9765771" y="5620648"/>
              <a:ext cx="1872316" cy="224387"/>
            </a:xfrm>
            <a:prstGeom prst="rect">
              <a:avLst/>
            </a:prstGeom>
            <a:noFill/>
            <a:ln>
              <a:noFill/>
            </a:ln>
          </p:spPr>
          <p:txBody>
            <a:bodyPr spcFirstLastPara="1" wrap="square" lIns="0" tIns="0" rIns="0" bIns="0" anchor="t" anchorCtr="0">
              <a:spAutoFit/>
            </a:bodyPr>
            <a:lstStyle/>
            <a:p>
              <a:pPr lvl="0" algn="ctr">
                <a:buClr>
                  <a:srgbClr val="000000"/>
                </a:buClr>
                <a:buSzPts val="1400"/>
              </a:pPr>
              <a:r>
                <a:rPr lang="en-IN" sz="1600" dirty="0">
                  <a:solidFill>
                    <a:schemeClr val="tx2"/>
                  </a:solidFill>
                  <a:sym typeface="Helvetica Neue"/>
                </a:rPr>
                <a:t>Corporate Network</a:t>
              </a:r>
            </a:p>
          </p:txBody>
        </p:sp>
        <p:grpSp>
          <p:nvGrpSpPr>
            <p:cNvPr id="315" name="Group 314">
              <a:extLst>
                <a:ext uri="{FF2B5EF4-FFF2-40B4-BE49-F238E27FC236}">
                  <a16:creationId xmlns:a16="http://schemas.microsoft.com/office/drawing/2014/main" id="{DC976033-6EE6-496A-B553-1ECCE73D5C95}"/>
                </a:ext>
              </a:extLst>
            </p:cNvPr>
            <p:cNvGrpSpPr/>
            <p:nvPr/>
          </p:nvGrpSpPr>
          <p:grpSpPr>
            <a:xfrm>
              <a:off x="9789030" y="3773889"/>
              <a:ext cx="2106543" cy="1807488"/>
              <a:chOff x="9789030" y="3558266"/>
              <a:chExt cx="2106543" cy="1807488"/>
            </a:xfrm>
          </p:grpSpPr>
          <p:sp>
            <p:nvSpPr>
              <p:cNvPr id="316" name="Rectangle: Rounded Corners 315">
                <a:extLst>
                  <a:ext uri="{FF2B5EF4-FFF2-40B4-BE49-F238E27FC236}">
                    <a16:creationId xmlns:a16="http://schemas.microsoft.com/office/drawing/2014/main" id="{716BE5EF-4011-49C8-87A5-0F83C57811A8}"/>
                  </a:ext>
                </a:extLst>
              </p:cNvPr>
              <p:cNvSpPr/>
              <p:nvPr/>
            </p:nvSpPr>
            <p:spPr>
              <a:xfrm>
                <a:off x="10801350" y="3558266"/>
                <a:ext cx="843087" cy="856743"/>
              </a:xfrm>
              <a:prstGeom prst="roundRect">
                <a:avLst>
                  <a:gd name="adj" fmla="val 5623"/>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17" name="Group 316">
                <a:extLst>
                  <a:ext uri="{FF2B5EF4-FFF2-40B4-BE49-F238E27FC236}">
                    <a16:creationId xmlns:a16="http://schemas.microsoft.com/office/drawing/2014/main" id="{895447D5-3427-4562-A910-3C59A7ADD55D}"/>
                  </a:ext>
                </a:extLst>
              </p:cNvPr>
              <p:cNvGrpSpPr/>
              <p:nvPr/>
            </p:nvGrpSpPr>
            <p:grpSpPr>
              <a:xfrm>
                <a:off x="9789030" y="5161319"/>
                <a:ext cx="1743734" cy="204435"/>
                <a:chOff x="3500791" y="3888237"/>
                <a:chExt cx="1743734" cy="204435"/>
              </a:xfrm>
            </p:grpSpPr>
            <p:sp>
              <p:nvSpPr>
                <p:cNvPr id="324" name="Freeform: Shape 323">
                  <a:extLst>
                    <a:ext uri="{FF2B5EF4-FFF2-40B4-BE49-F238E27FC236}">
                      <a16:creationId xmlns:a16="http://schemas.microsoft.com/office/drawing/2014/main" id="{4BEAEB9A-6CBC-4764-86E3-E088D2D3339C}"/>
                    </a:ext>
                  </a:extLst>
                </p:cNvPr>
                <p:cNvSpPr/>
                <p:nvPr/>
              </p:nvSpPr>
              <p:spPr>
                <a:xfrm rot="1833945">
                  <a:off x="3538962"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25" name="Freeform: Shape 324">
                  <a:extLst>
                    <a:ext uri="{FF2B5EF4-FFF2-40B4-BE49-F238E27FC236}">
                      <a16:creationId xmlns:a16="http://schemas.microsoft.com/office/drawing/2014/main" id="{F71AF3AD-225F-4E16-BFE5-67907FEB9C37}"/>
                    </a:ext>
                  </a:extLst>
                </p:cNvPr>
                <p:cNvSpPr/>
                <p:nvPr/>
              </p:nvSpPr>
              <p:spPr>
                <a:xfrm rot="1833945">
                  <a:off x="3618096"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26" name="Freeform: Shape 325">
                  <a:extLst>
                    <a:ext uri="{FF2B5EF4-FFF2-40B4-BE49-F238E27FC236}">
                      <a16:creationId xmlns:a16="http://schemas.microsoft.com/office/drawing/2014/main" id="{4B397092-7FCD-4C55-AC03-4C9A5F155920}"/>
                    </a:ext>
                  </a:extLst>
                </p:cNvPr>
                <p:cNvSpPr/>
                <p:nvPr/>
              </p:nvSpPr>
              <p:spPr>
                <a:xfrm rot="1833945">
                  <a:off x="3697233" y="3982514"/>
                  <a:ext cx="443847" cy="5492"/>
                </a:xfrm>
                <a:custGeom>
                  <a:avLst/>
                  <a:gdLst>
                    <a:gd name="connsiteX0" fmla="*/ 0 w 443847"/>
                    <a:gd name="connsiteY0" fmla="*/ 5492 h 5492"/>
                    <a:gd name="connsiteX1" fmla="*/ 9298 w 443847"/>
                    <a:gd name="connsiteY1" fmla="*/ 0 h 5492"/>
                    <a:gd name="connsiteX2" fmla="*/ 443847 w 443847"/>
                    <a:gd name="connsiteY2" fmla="*/ 1 h 5492"/>
                    <a:gd name="connsiteX3" fmla="*/ 434549 w 443847"/>
                    <a:gd name="connsiteY3" fmla="*/ 5492 h 5492"/>
                    <a:gd name="connsiteX4" fmla="*/ 0 w 443847"/>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2">
                      <a:moveTo>
                        <a:pt x="0" y="5492"/>
                      </a:moveTo>
                      <a:lnTo>
                        <a:pt x="9298" y="0"/>
                      </a:lnTo>
                      <a:lnTo>
                        <a:pt x="443847" y="1"/>
                      </a:lnTo>
                      <a:lnTo>
                        <a:pt x="434549" y="5492"/>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27" name="Freeform: Shape 326">
                  <a:extLst>
                    <a:ext uri="{FF2B5EF4-FFF2-40B4-BE49-F238E27FC236}">
                      <a16:creationId xmlns:a16="http://schemas.microsoft.com/office/drawing/2014/main" id="{EA888ED1-D6CA-4DBB-8AB5-2E8346BA6FB6}"/>
                    </a:ext>
                  </a:extLst>
                </p:cNvPr>
                <p:cNvSpPr/>
                <p:nvPr/>
              </p:nvSpPr>
              <p:spPr>
                <a:xfrm rot="1833945">
                  <a:off x="3776364"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50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50"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28" name="Freeform: Shape 327">
                  <a:extLst>
                    <a:ext uri="{FF2B5EF4-FFF2-40B4-BE49-F238E27FC236}">
                      <a16:creationId xmlns:a16="http://schemas.microsoft.com/office/drawing/2014/main" id="{DC138ABA-9DC7-4BA6-90DE-FC363ABC8B97}"/>
                    </a:ext>
                  </a:extLst>
                </p:cNvPr>
                <p:cNvSpPr/>
                <p:nvPr/>
              </p:nvSpPr>
              <p:spPr>
                <a:xfrm rot="1833945">
                  <a:off x="3855500"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29" name="Freeform: Shape 328">
                  <a:extLst>
                    <a:ext uri="{FF2B5EF4-FFF2-40B4-BE49-F238E27FC236}">
                      <a16:creationId xmlns:a16="http://schemas.microsoft.com/office/drawing/2014/main" id="{E9A3E316-4361-44C3-8667-2C495306D691}"/>
                    </a:ext>
                  </a:extLst>
                </p:cNvPr>
                <p:cNvSpPr/>
                <p:nvPr/>
              </p:nvSpPr>
              <p:spPr>
                <a:xfrm rot="1833945">
                  <a:off x="3934634" y="3982514"/>
                  <a:ext cx="443847" cy="5492"/>
                </a:xfrm>
                <a:custGeom>
                  <a:avLst/>
                  <a:gdLst>
                    <a:gd name="connsiteX0" fmla="*/ 0 w 443847"/>
                    <a:gd name="connsiteY0" fmla="*/ 5492 h 5492"/>
                    <a:gd name="connsiteX1" fmla="*/ 9298 w 443847"/>
                    <a:gd name="connsiteY1" fmla="*/ 0 h 5492"/>
                    <a:gd name="connsiteX2" fmla="*/ 443847 w 443847"/>
                    <a:gd name="connsiteY2" fmla="*/ 0 h 5492"/>
                    <a:gd name="connsiteX3" fmla="*/ 434549 w 443847"/>
                    <a:gd name="connsiteY3" fmla="*/ 5491 h 5492"/>
                    <a:gd name="connsiteX4" fmla="*/ 0 w 443847"/>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2">
                      <a:moveTo>
                        <a:pt x="0" y="5492"/>
                      </a:moveTo>
                      <a:lnTo>
                        <a:pt x="9298" y="0"/>
                      </a:lnTo>
                      <a:lnTo>
                        <a:pt x="443847" y="0"/>
                      </a:lnTo>
                      <a:lnTo>
                        <a:pt x="434549"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0" name="Freeform: Shape 329">
                  <a:extLst>
                    <a:ext uri="{FF2B5EF4-FFF2-40B4-BE49-F238E27FC236}">
                      <a16:creationId xmlns:a16="http://schemas.microsoft.com/office/drawing/2014/main" id="{B690FD0E-33C2-48D1-AB4F-B5B7D16B4CE1}"/>
                    </a:ext>
                  </a:extLst>
                </p:cNvPr>
                <p:cNvSpPr/>
                <p:nvPr/>
              </p:nvSpPr>
              <p:spPr>
                <a:xfrm rot="1833945">
                  <a:off x="4013769"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1" name="Freeform: Shape 330">
                  <a:extLst>
                    <a:ext uri="{FF2B5EF4-FFF2-40B4-BE49-F238E27FC236}">
                      <a16:creationId xmlns:a16="http://schemas.microsoft.com/office/drawing/2014/main" id="{0258A5AD-7C0C-47F5-850D-3D3A8605C1DC}"/>
                    </a:ext>
                  </a:extLst>
                </p:cNvPr>
                <p:cNvSpPr/>
                <p:nvPr/>
              </p:nvSpPr>
              <p:spPr>
                <a:xfrm rot="1833945">
                  <a:off x="4092903"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2" name="Freeform: Shape 331">
                  <a:extLst>
                    <a:ext uri="{FF2B5EF4-FFF2-40B4-BE49-F238E27FC236}">
                      <a16:creationId xmlns:a16="http://schemas.microsoft.com/office/drawing/2014/main" id="{29F14901-E9BC-4188-B2B7-1D7ED4F66F0E}"/>
                    </a:ext>
                  </a:extLst>
                </p:cNvPr>
                <p:cNvSpPr/>
                <p:nvPr/>
              </p:nvSpPr>
              <p:spPr>
                <a:xfrm rot="1833945">
                  <a:off x="4172038" y="3982513"/>
                  <a:ext cx="443848" cy="5492"/>
                </a:xfrm>
                <a:custGeom>
                  <a:avLst/>
                  <a:gdLst>
                    <a:gd name="connsiteX0" fmla="*/ 0 w 443848"/>
                    <a:gd name="connsiteY0" fmla="*/ 5492 h 5492"/>
                    <a:gd name="connsiteX1" fmla="*/ 9298 w 443848"/>
                    <a:gd name="connsiteY1" fmla="*/ 0 h 5492"/>
                    <a:gd name="connsiteX2" fmla="*/ 443848 w 443848"/>
                    <a:gd name="connsiteY2" fmla="*/ 0 h 5492"/>
                    <a:gd name="connsiteX3" fmla="*/ 434550 w 443848"/>
                    <a:gd name="connsiteY3" fmla="*/ 5491 h 5492"/>
                    <a:gd name="connsiteX4" fmla="*/ 0 w 443848"/>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2">
                      <a:moveTo>
                        <a:pt x="0" y="5492"/>
                      </a:moveTo>
                      <a:lnTo>
                        <a:pt x="9298" y="0"/>
                      </a:lnTo>
                      <a:lnTo>
                        <a:pt x="443848" y="0"/>
                      </a:lnTo>
                      <a:lnTo>
                        <a:pt x="434550"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3" name="Freeform: Shape 332">
                  <a:extLst>
                    <a:ext uri="{FF2B5EF4-FFF2-40B4-BE49-F238E27FC236}">
                      <a16:creationId xmlns:a16="http://schemas.microsoft.com/office/drawing/2014/main" id="{3FCEA885-C5C5-4BB8-998B-6E9885D78E16}"/>
                    </a:ext>
                  </a:extLst>
                </p:cNvPr>
                <p:cNvSpPr/>
                <p:nvPr/>
              </p:nvSpPr>
              <p:spPr>
                <a:xfrm rot="1833945">
                  <a:off x="4251171" y="3982513"/>
                  <a:ext cx="443848" cy="5492"/>
                </a:xfrm>
                <a:custGeom>
                  <a:avLst/>
                  <a:gdLst>
                    <a:gd name="connsiteX0" fmla="*/ 0 w 443848"/>
                    <a:gd name="connsiteY0" fmla="*/ 5492 h 5492"/>
                    <a:gd name="connsiteX1" fmla="*/ 9298 w 443848"/>
                    <a:gd name="connsiteY1" fmla="*/ 0 h 5492"/>
                    <a:gd name="connsiteX2" fmla="*/ 443848 w 443848"/>
                    <a:gd name="connsiteY2" fmla="*/ 0 h 5492"/>
                    <a:gd name="connsiteX3" fmla="*/ 434550 w 443848"/>
                    <a:gd name="connsiteY3" fmla="*/ 5492 h 5492"/>
                    <a:gd name="connsiteX4" fmla="*/ 0 w 443848"/>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2">
                      <a:moveTo>
                        <a:pt x="0" y="5492"/>
                      </a:moveTo>
                      <a:lnTo>
                        <a:pt x="9298" y="0"/>
                      </a:lnTo>
                      <a:lnTo>
                        <a:pt x="443848" y="0"/>
                      </a:lnTo>
                      <a:lnTo>
                        <a:pt x="434550" y="5492"/>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4" name="Freeform: Shape 333">
                  <a:extLst>
                    <a:ext uri="{FF2B5EF4-FFF2-40B4-BE49-F238E27FC236}">
                      <a16:creationId xmlns:a16="http://schemas.microsoft.com/office/drawing/2014/main" id="{70C5F2F9-D8BF-4036-88A1-FDDFD68BA012}"/>
                    </a:ext>
                  </a:extLst>
                </p:cNvPr>
                <p:cNvSpPr/>
                <p:nvPr/>
              </p:nvSpPr>
              <p:spPr>
                <a:xfrm rot="1833945">
                  <a:off x="4330307"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5" name="Freeform: Shape 334">
                  <a:extLst>
                    <a:ext uri="{FF2B5EF4-FFF2-40B4-BE49-F238E27FC236}">
                      <a16:creationId xmlns:a16="http://schemas.microsoft.com/office/drawing/2014/main" id="{00205D6A-6AAD-4D89-9378-F39B0CCFF801}"/>
                    </a:ext>
                  </a:extLst>
                </p:cNvPr>
                <p:cNvSpPr/>
                <p:nvPr/>
              </p:nvSpPr>
              <p:spPr>
                <a:xfrm rot="1833945">
                  <a:off x="4409438" y="3982515"/>
                  <a:ext cx="443848" cy="5491"/>
                </a:xfrm>
                <a:custGeom>
                  <a:avLst/>
                  <a:gdLst>
                    <a:gd name="connsiteX0" fmla="*/ 0 w 443848"/>
                    <a:gd name="connsiteY0" fmla="*/ 5491 h 5491"/>
                    <a:gd name="connsiteX1" fmla="*/ 9298 w 443848"/>
                    <a:gd name="connsiteY1" fmla="*/ 0 h 5491"/>
                    <a:gd name="connsiteX2" fmla="*/ 443848 w 443848"/>
                    <a:gd name="connsiteY2" fmla="*/ 0 h 5491"/>
                    <a:gd name="connsiteX3" fmla="*/ 434550 w 443848"/>
                    <a:gd name="connsiteY3" fmla="*/ 5491 h 5491"/>
                    <a:gd name="connsiteX4" fmla="*/ 0 w 443848"/>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1">
                      <a:moveTo>
                        <a:pt x="0" y="5491"/>
                      </a:moveTo>
                      <a:lnTo>
                        <a:pt x="9298" y="0"/>
                      </a:lnTo>
                      <a:lnTo>
                        <a:pt x="443848" y="0"/>
                      </a:lnTo>
                      <a:lnTo>
                        <a:pt x="434550"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6" name="Freeform: Shape 335">
                  <a:extLst>
                    <a:ext uri="{FF2B5EF4-FFF2-40B4-BE49-F238E27FC236}">
                      <a16:creationId xmlns:a16="http://schemas.microsoft.com/office/drawing/2014/main" id="{69B2872C-CBD8-4722-9C86-5C5F767DD786}"/>
                    </a:ext>
                  </a:extLst>
                </p:cNvPr>
                <p:cNvSpPr/>
                <p:nvPr/>
              </p:nvSpPr>
              <p:spPr>
                <a:xfrm rot="1833945">
                  <a:off x="4488576" y="3982514"/>
                  <a:ext cx="443847" cy="5492"/>
                </a:xfrm>
                <a:custGeom>
                  <a:avLst/>
                  <a:gdLst>
                    <a:gd name="connsiteX0" fmla="*/ 0 w 443847"/>
                    <a:gd name="connsiteY0" fmla="*/ 5492 h 5492"/>
                    <a:gd name="connsiteX1" fmla="*/ 9298 w 443847"/>
                    <a:gd name="connsiteY1" fmla="*/ 0 h 5492"/>
                    <a:gd name="connsiteX2" fmla="*/ 443847 w 443847"/>
                    <a:gd name="connsiteY2" fmla="*/ 0 h 5492"/>
                    <a:gd name="connsiteX3" fmla="*/ 434549 w 443847"/>
                    <a:gd name="connsiteY3" fmla="*/ 5491 h 5492"/>
                    <a:gd name="connsiteX4" fmla="*/ 0 w 443847"/>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2">
                      <a:moveTo>
                        <a:pt x="0" y="5492"/>
                      </a:moveTo>
                      <a:lnTo>
                        <a:pt x="9298" y="0"/>
                      </a:lnTo>
                      <a:lnTo>
                        <a:pt x="443847" y="0"/>
                      </a:lnTo>
                      <a:lnTo>
                        <a:pt x="434549"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7" name="Freeform: Shape 336">
                  <a:extLst>
                    <a:ext uri="{FF2B5EF4-FFF2-40B4-BE49-F238E27FC236}">
                      <a16:creationId xmlns:a16="http://schemas.microsoft.com/office/drawing/2014/main" id="{CFEF4B5D-1B5B-4378-BDAB-71F2FFCF3799}"/>
                    </a:ext>
                  </a:extLst>
                </p:cNvPr>
                <p:cNvSpPr/>
                <p:nvPr/>
              </p:nvSpPr>
              <p:spPr>
                <a:xfrm rot="1833945">
                  <a:off x="4567706" y="3982513"/>
                  <a:ext cx="443848" cy="5492"/>
                </a:xfrm>
                <a:custGeom>
                  <a:avLst/>
                  <a:gdLst>
                    <a:gd name="connsiteX0" fmla="*/ 0 w 443848"/>
                    <a:gd name="connsiteY0" fmla="*/ 5492 h 5492"/>
                    <a:gd name="connsiteX1" fmla="*/ 9298 w 443848"/>
                    <a:gd name="connsiteY1" fmla="*/ 0 h 5492"/>
                    <a:gd name="connsiteX2" fmla="*/ 443848 w 443848"/>
                    <a:gd name="connsiteY2" fmla="*/ 0 h 5492"/>
                    <a:gd name="connsiteX3" fmla="*/ 434550 w 443848"/>
                    <a:gd name="connsiteY3" fmla="*/ 5492 h 5492"/>
                    <a:gd name="connsiteX4" fmla="*/ 0 w 443848"/>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2">
                      <a:moveTo>
                        <a:pt x="0" y="5492"/>
                      </a:moveTo>
                      <a:lnTo>
                        <a:pt x="9298" y="0"/>
                      </a:lnTo>
                      <a:lnTo>
                        <a:pt x="443848" y="0"/>
                      </a:lnTo>
                      <a:lnTo>
                        <a:pt x="434550" y="5492"/>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8" name="Freeform: Shape 337">
                  <a:extLst>
                    <a:ext uri="{FF2B5EF4-FFF2-40B4-BE49-F238E27FC236}">
                      <a16:creationId xmlns:a16="http://schemas.microsoft.com/office/drawing/2014/main" id="{AAC3BBBF-171F-4434-8BBD-37AE83C9D1D8}"/>
                    </a:ext>
                  </a:extLst>
                </p:cNvPr>
                <p:cNvSpPr/>
                <p:nvPr/>
              </p:nvSpPr>
              <p:spPr>
                <a:xfrm rot="1833945">
                  <a:off x="4646843"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9" name="Freeform: Shape 338">
                  <a:extLst>
                    <a:ext uri="{FF2B5EF4-FFF2-40B4-BE49-F238E27FC236}">
                      <a16:creationId xmlns:a16="http://schemas.microsoft.com/office/drawing/2014/main" id="{150C4E31-07F7-42EA-A4DB-E9772220A76B}"/>
                    </a:ext>
                  </a:extLst>
                </p:cNvPr>
                <p:cNvSpPr/>
                <p:nvPr/>
              </p:nvSpPr>
              <p:spPr>
                <a:xfrm rot="1833945">
                  <a:off x="4725974" y="3982515"/>
                  <a:ext cx="443848" cy="5491"/>
                </a:xfrm>
                <a:custGeom>
                  <a:avLst/>
                  <a:gdLst>
                    <a:gd name="connsiteX0" fmla="*/ 0 w 443848"/>
                    <a:gd name="connsiteY0" fmla="*/ 5491 h 5491"/>
                    <a:gd name="connsiteX1" fmla="*/ 9298 w 443848"/>
                    <a:gd name="connsiteY1" fmla="*/ 0 h 5491"/>
                    <a:gd name="connsiteX2" fmla="*/ 443848 w 443848"/>
                    <a:gd name="connsiteY2" fmla="*/ 0 h 5491"/>
                    <a:gd name="connsiteX3" fmla="*/ 434550 w 443848"/>
                    <a:gd name="connsiteY3" fmla="*/ 5491 h 5491"/>
                    <a:gd name="connsiteX4" fmla="*/ 0 w 443848"/>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1">
                      <a:moveTo>
                        <a:pt x="0" y="5491"/>
                      </a:moveTo>
                      <a:lnTo>
                        <a:pt x="9298" y="0"/>
                      </a:lnTo>
                      <a:lnTo>
                        <a:pt x="443848" y="0"/>
                      </a:lnTo>
                      <a:lnTo>
                        <a:pt x="434550"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0" name="Freeform: Shape 339">
                  <a:extLst>
                    <a:ext uri="{FF2B5EF4-FFF2-40B4-BE49-F238E27FC236}">
                      <a16:creationId xmlns:a16="http://schemas.microsoft.com/office/drawing/2014/main" id="{B5D01AA6-02FF-454F-A21B-52DA7ADABF4D}"/>
                    </a:ext>
                  </a:extLst>
                </p:cNvPr>
                <p:cNvSpPr/>
                <p:nvPr/>
              </p:nvSpPr>
              <p:spPr>
                <a:xfrm rot="1833945">
                  <a:off x="4805441" y="3981302"/>
                  <a:ext cx="439084" cy="5492"/>
                </a:xfrm>
                <a:custGeom>
                  <a:avLst/>
                  <a:gdLst>
                    <a:gd name="connsiteX0" fmla="*/ 0 w 439084"/>
                    <a:gd name="connsiteY0" fmla="*/ 5492 h 5492"/>
                    <a:gd name="connsiteX1" fmla="*/ 9298 w 439084"/>
                    <a:gd name="connsiteY1" fmla="*/ 0 h 5492"/>
                    <a:gd name="connsiteX2" fmla="*/ 437423 w 439084"/>
                    <a:gd name="connsiteY2" fmla="*/ 0 h 5492"/>
                    <a:gd name="connsiteX3" fmla="*/ 439084 w 439084"/>
                    <a:gd name="connsiteY3" fmla="*/ 2813 h 5492"/>
                    <a:gd name="connsiteX4" fmla="*/ 434549 w 439084"/>
                    <a:gd name="connsiteY4" fmla="*/ 5491 h 5492"/>
                    <a:gd name="connsiteX5" fmla="*/ 0 w 439084"/>
                    <a:gd name="connsiteY5" fmla="*/ 5492 h 5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084" h="5492">
                      <a:moveTo>
                        <a:pt x="0" y="5492"/>
                      </a:moveTo>
                      <a:lnTo>
                        <a:pt x="9298" y="0"/>
                      </a:lnTo>
                      <a:lnTo>
                        <a:pt x="437423" y="0"/>
                      </a:lnTo>
                      <a:lnTo>
                        <a:pt x="439084" y="2813"/>
                      </a:lnTo>
                      <a:lnTo>
                        <a:pt x="434549"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1" name="Freeform: Shape 340">
                  <a:extLst>
                    <a:ext uri="{FF2B5EF4-FFF2-40B4-BE49-F238E27FC236}">
                      <a16:creationId xmlns:a16="http://schemas.microsoft.com/office/drawing/2014/main" id="{84926390-BC24-4715-A899-FC4ABA06FEB7}"/>
                    </a:ext>
                  </a:extLst>
                </p:cNvPr>
                <p:cNvSpPr/>
                <p:nvPr/>
              </p:nvSpPr>
              <p:spPr>
                <a:xfrm rot="1833945">
                  <a:off x="4890848" y="3958336"/>
                  <a:ext cx="348764" cy="5492"/>
                </a:xfrm>
                <a:custGeom>
                  <a:avLst/>
                  <a:gdLst>
                    <a:gd name="connsiteX0" fmla="*/ 0 w 348764"/>
                    <a:gd name="connsiteY0" fmla="*/ 5492 h 5492"/>
                    <a:gd name="connsiteX1" fmla="*/ 9298 w 348764"/>
                    <a:gd name="connsiteY1" fmla="*/ 0 h 5492"/>
                    <a:gd name="connsiteX2" fmla="*/ 345521 w 348764"/>
                    <a:gd name="connsiteY2" fmla="*/ 0 h 5492"/>
                    <a:gd name="connsiteX3" fmla="*/ 348764 w 348764"/>
                    <a:gd name="connsiteY3" fmla="*/ 5491 h 5492"/>
                    <a:gd name="connsiteX4" fmla="*/ 0 w 348764"/>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64" h="5492">
                      <a:moveTo>
                        <a:pt x="0" y="5492"/>
                      </a:moveTo>
                      <a:lnTo>
                        <a:pt x="9298" y="0"/>
                      </a:lnTo>
                      <a:lnTo>
                        <a:pt x="345521" y="0"/>
                      </a:lnTo>
                      <a:lnTo>
                        <a:pt x="348764"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2" name="Freeform: Shape 341">
                  <a:extLst>
                    <a:ext uri="{FF2B5EF4-FFF2-40B4-BE49-F238E27FC236}">
                      <a16:creationId xmlns:a16="http://schemas.microsoft.com/office/drawing/2014/main" id="{8E821AC3-0DEB-4146-AAB9-E465DE8E91A4}"/>
                    </a:ext>
                  </a:extLst>
                </p:cNvPr>
                <p:cNvSpPr/>
                <p:nvPr/>
              </p:nvSpPr>
              <p:spPr>
                <a:xfrm rot="1833945">
                  <a:off x="4976371" y="3934970"/>
                  <a:ext cx="256857" cy="5491"/>
                </a:xfrm>
                <a:custGeom>
                  <a:avLst/>
                  <a:gdLst>
                    <a:gd name="connsiteX0" fmla="*/ 0 w 256857"/>
                    <a:gd name="connsiteY0" fmla="*/ 5491 h 5491"/>
                    <a:gd name="connsiteX1" fmla="*/ 9298 w 256857"/>
                    <a:gd name="connsiteY1" fmla="*/ 0 h 5491"/>
                    <a:gd name="connsiteX2" fmla="*/ 253614 w 256857"/>
                    <a:gd name="connsiteY2" fmla="*/ 0 h 5491"/>
                    <a:gd name="connsiteX3" fmla="*/ 256857 w 256857"/>
                    <a:gd name="connsiteY3" fmla="*/ 5491 h 5491"/>
                    <a:gd name="connsiteX4" fmla="*/ 0 w 25685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7" h="5491">
                      <a:moveTo>
                        <a:pt x="0" y="5491"/>
                      </a:moveTo>
                      <a:lnTo>
                        <a:pt x="9298" y="0"/>
                      </a:lnTo>
                      <a:lnTo>
                        <a:pt x="253614" y="0"/>
                      </a:lnTo>
                      <a:lnTo>
                        <a:pt x="256857"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3" name="Freeform: Shape 342">
                  <a:extLst>
                    <a:ext uri="{FF2B5EF4-FFF2-40B4-BE49-F238E27FC236}">
                      <a16:creationId xmlns:a16="http://schemas.microsoft.com/office/drawing/2014/main" id="{70A9FDD3-BD46-4506-B223-23D1D0A4A5D7}"/>
                    </a:ext>
                  </a:extLst>
                </p:cNvPr>
                <p:cNvSpPr/>
                <p:nvPr/>
              </p:nvSpPr>
              <p:spPr>
                <a:xfrm rot="1833945">
                  <a:off x="5061888" y="3911603"/>
                  <a:ext cx="164955" cy="5491"/>
                </a:xfrm>
                <a:custGeom>
                  <a:avLst/>
                  <a:gdLst>
                    <a:gd name="connsiteX0" fmla="*/ 0 w 164955"/>
                    <a:gd name="connsiteY0" fmla="*/ 5491 h 5491"/>
                    <a:gd name="connsiteX1" fmla="*/ 9298 w 164955"/>
                    <a:gd name="connsiteY1" fmla="*/ 0 h 5491"/>
                    <a:gd name="connsiteX2" fmla="*/ 161712 w 164955"/>
                    <a:gd name="connsiteY2" fmla="*/ 0 h 5491"/>
                    <a:gd name="connsiteX3" fmla="*/ 164955 w 164955"/>
                    <a:gd name="connsiteY3" fmla="*/ 5491 h 5491"/>
                    <a:gd name="connsiteX4" fmla="*/ 0 w 164955"/>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955" h="5491">
                      <a:moveTo>
                        <a:pt x="0" y="5491"/>
                      </a:moveTo>
                      <a:lnTo>
                        <a:pt x="9298" y="0"/>
                      </a:lnTo>
                      <a:lnTo>
                        <a:pt x="161712" y="0"/>
                      </a:lnTo>
                      <a:lnTo>
                        <a:pt x="164955"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4" name="Freeform: Shape 343">
                  <a:extLst>
                    <a:ext uri="{FF2B5EF4-FFF2-40B4-BE49-F238E27FC236}">
                      <a16:creationId xmlns:a16="http://schemas.microsoft.com/office/drawing/2014/main" id="{91D6296A-D85F-409A-A307-121B6900D193}"/>
                    </a:ext>
                  </a:extLst>
                </p:cNvPr>
                <p:cNvSpPr/>
                <p:nvPr/>
              </p:nvSpPr>
              <p:spPr>
                <a:xfrm rot="1833945">
                  <a:off x="5147399" y="3888237"/>
                  <a:ext cx="73059" cy="5491"/>
                </a:xfrm>
                <a:custGeom>
                  <a:avLst/>
                  <a:gdLst>
                    <a:gd name="connsiteX0" fmla="*/ 0 w 73059"/>
                    <a:gd name="connsiteY0" fmla="*/ 5491 h 5491"/>
                    <a:gd name="connsiteX1" fmla="*/ 9298 w 73059"/>
                    <a:gd name="connsiteY1" fmla="*/ 0 h 5491"/>
                    <a:gd name="connsiteX2" fmla="*/ 69816 w 73059"/>
                    <a:gd name="connsiteY2" fmla="*/ 0 h 5491"/>
                    <a:gd name="connsiteX3" fmla="*/ 73059 w 73059"/>
                    <a:gd name="connsiteY3" fmla="*/ 5491 h 5491"/>
                    <a:gd name="connsiteX4" fmla="*/ 0 w 73059"/>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059" h="5491">
                      <a:moveTo>
                        <a:pt x="0" y="5491"/>
                      </a:moveTo>
                      <a:lnTo>
                        <a:pt x="9298" y="0"/>
                      </a:lnTo>
                      <a:lnTo>
                        <a:pt x="69816" y="0"/>
                      </a:lnTo>
                      <a:lnTo>
                        <a:pt x="7305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5" name="Freeform: Shape 344">
                  <a:extLst>
                    <a:ext uri="{FF2B5EF4-FFF2-40B4-BE49-F238E27FC236}">
                      <a16:creationId xmlns:a16="http://schemas.microsoft.com/office/drawing/2014/main" id="{CFD4CA5D-9B64-4417-A7F7-C93206B87C58}"/>
                    </a:ext>
                  </a:extLst>
                </p:cNvPr>
                <p:cNvSpPr/>
                <p:nvPr/>
              </p:nvSpPr>
              <p:spPr>
                <a:xfrm rot="1833945">
                  <a:off x="3500791" y="3993706"/>
                  <a:ext cx="399824" cy="5492"/>
                </a:xfrm>
                <a:custGeom>
                  <a:avLst/>
                  <a:gdLst>
                    <a:gd name="connsiteX0" fmla="*/ 0 w 399824"/>
                    <a:gd name="connsiteY0" fmla="*/ 0 h 5492"/>
                    <a:gd name="connsiteX1" fmla="*/ 399824 w 399824"/>
                    <a:gd name="connsiteY1" fmla="*/ 1 h 5492"/>
                    <a:gd name="connsiteX2" fmla="*/ 390526 w 399824"/>
                    <a:gd name="connsiteY2" fmla="*/ 5492 h 5492"/>
                    <a:gd name="connsiteX3" fmla="*/ 3243 w 399824"/>
                    <a:gd name="connsiteY3" fmla="*/ 5492 h 5492"/>
                    <a:gd name="connsiteX4" fmla="*/ 0 w 399824"/>
                    <a:gd name="connsiteY4" fmla="*/ 0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824" h="5492">
                      <a:moveTo>
                        <a:pt x="0" y="0"/>
                      </a:moveTo>
                      <a:lnTo>
                        <a:pt x="399824" y="1"/>
                      </a:lnTo>
                      <a:lnTo>
                        <a:pt x="390526" y="5492"/>
                      </a:lnTo>
                      <a:lnTo>
                        <a:pt x="3243" y="5492"/>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6" name="Freeform: Shape 345">
                  <a:extLst>
                    <a:ext uri="{FF2B5EF4-FFF2-40B4-BE49-F238E27FC236}">
                      <a16:creationId xmlns:a16="http://schemas.microsoft.com/office/drawing/2014/main" id="{3ABD85BE-6F84-484A-ACE1-F37A50929C5E}"/>
                    </a:ext>
                  </a:extLst>
                </p:cNvPr>
                <p:cNvSpPr/>
                <p:nvPr/>
              </p:nvSpPr>
              <p:spPr>
                <a:xfrm rot="1833945">
                  <a:off x="3507177" y="4017074"/>
                  <a:ext cx="307921" cy="5492"/>
                </a:xfrm>
                <a:custGeom>
                  <a:avLst/>
                  <a:gdLst>
                    <a:gd name="connsiteX0" fmla="*/ 0 w 307921"/>
                    <a:gd name="connsiteY0" fmla="*/ 0 h 5492"/>
                    <a:gd name="connsiteX1" fmla="*/ 307921 w 307921"/>
                    <a:gd name="connsiteY1" fmla="*/ 0 h 5492"/>
                    <a:gd name="connsiteX2" fmla="*/ 298623 w 307921"/>
                    <a:gd name="connsiteY2" fmla="*/ 5492 h 5492"/>
                    <a:gd name="connsiteX3" fmla="*/ 3243 w 307921"/>
                    <a:gd name="connsiteY3" fmla="*/ 5492 h 5492"/>
                    <a:gd name="connsiteX4" fmla="*/ 0 w 307921"/>
                    <a:gd name="connsiteY4" fmla="*/ 0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21" h="5492">
                      <a:moveTo>
                        <a:pt x="0" y="0"/>
                      </a:moveTo>
                      <a:lnTo>
                        <a:pt x="307921" y="0"/>
                      </a:lnTo>
                      <a:lnTo>
                        <a:pt x="298623" y="5492"/>
                      </a:lnTo>
                      <a:lnTo>
                        <a:pt x="3243" y="5492"/>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7" name="Freeform: Shape 346">
                  <a:extLst>
                    <a:ext uri="{FF2B5EF4-FFF2-40B4-BE49-F238E27FC236}">
                      <a16:creationId xmlns:a16="http://schemas.microsoft.com/office/drawing/2014/main" id="{8C036687-60B5-4240-810E-3702C957BDAB}"/>
                    </a:ext>
                  </a:extLst>
                </p:cNvPr>
                <p:cNvSpPr/>
                <p:nvPr/>
              </p:nvSpPr>
              <p:spPr>
                <a:xfrm rot="1833945">
                  <a:off x="3513562" y="4040444"/>
                  <a:ext cx="216015" cy="5491"/>
                </a:xfrm>
                <a:custGeom>
                  <a:avLst/>
                  <a:gdLst>
                    <a:gd name="connsiteX0" fmla="*/ 0 w 216015"/>
                    <a:gd name="connsiteY0" fmla="*/ 0 h 5491"/>
                    <a:gd name="connsiteX1" fmla="*/ 216015 w 216015"/>
                    <a:gd name="connsiteY1" fmla="*/ 0 h 5491"/>
                    <a:gd name="connsiteX2" fmla="*/ 206717 w 216015"/>
                    <a:gd name="connsiteY2" fmla="*/ 5491 h 5491"/>
                    <a:gd name="connsiteX3" fmla="*/ 3243 w 216015"/>
                    <a:gd name="connsiteY3" fmla="*/ 5491 h 5491"/>
                    <a:gd name="connsiteX4" fmla="*/ 0 w 216015"/>
                    <a:gd name="connsiteY4" fmla="*/ 0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15" h="5491">
                      <a:moveTo>
                        <a:pt x="0" y="0"/>
                      </a:moveTo>
                      <a:lnTo>
                        <a:pt x="216015" y="0"/>
                      </a:lnTo>
                      <a:lnTo>
                        <a:pt x="206717" y="5491"/>
                      </a:lnTo>
                      <a:lnTo>
                        <a:pt x="3243" y="5491"/>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8" name="Freeform: Shape 347">
                  <a:extLst>
                    <a:ext uri="{FF2B5EF4-FFF2-40B4-BE49-F238E27FC236}">
                      <a16:creationId xmlns:a16="http://schemas.microsoft.com/office/drawing/2014/main" id="{5C966D83-AE08-4108-B32D-47F4A498277A}"/>
                    </a:ext>
                  </a:extLst>
                </p:cNvPr>
                <p:cNvSpPr/>
                <p:nvPr/>
              </p:nvSpPr>
              <p:spPr>
                <a:xfrm rot="1833945">
                  <a:off x="3519946" y="4063813"/>
                  <a:ext cx="124111" cy="5491"/>
                </a:xfrm>
                <a:custGeom>
                  <a:avLst/>
                  <a:gdLst>
                    <a:gd name="connsiteX0" fmla="*/ 0 w 124111"/>
                    <a:gd name="connsiteY0" fmla="*/ 0 h 5491"/>
                    <a:gd name="connsiteX1" fmla="*/ 124111 w 124111"/>
                    <a:gd name="connsiteY1" fmla="*/ 0 h 5491"/>
                    <a:gd name="connsiteX2" fmla="*/ 114813 w 124111"/>
                    <a:gd name="connsiteY2" fmla="*/ 5491 h 5491"/>
                    <a:gd name="connsiteX3" fmla="*/ 3243 w 124111"/>
                    <a:gd name="connsiteY3" fmla="*/ 5491 h 5491"/>
                    <a:gd name="connsiteX4" fmla="*/ 0 w 124111"/>
                    <a:gd name="connsiteY4" fmla="*/ 0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11" h="5491">
                      <a:moveTo>
                        <a:pt x="0" y="0"/>
                      </a:moveTo>
                      <a:lnTo>
                        <a:pt x="124111" y="0"/>
                      </a:lnTo>
                      <a:lnTo>
                        <a:pt x="114813" y="5491"/>
                      </a:lnTo>
                      <a:lnTo>
                        <a:pt x="3243" y="5491"/>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9" name="Freeform: Shape 348">
                  <a:extLst>
                    <a:ext uri="{FF2B5EF4-FFF2-40B4-BE49-F238E27FC236}">
                      <a16:creationId xmlns:a16="http://schemas.microsoft.com/office/drawing/2014/main" id="{6BEE1839-3EA6-4F77-84C7-82C99152C010}"/>
                    </a:ext>
                  </a:extLst>
                </p:cNvPr>
                <p:cNvSpPr/>
                <p:nvPr/>
              </p:nvSpPr>
              <p:spPr>
                <a:xfrm rot="1833945">
                  <a:off x="3526331" y="4087181"/>
                  <a:ext cx="32204" cy="5491"/>
                </a:xfrm>
                <a:custGeom>
                  <a:avLst/>
                  <a:gdLst>
                    <a:gd name="connsiteX0" fmla="*/ 0 w 32204"/>
                    <a:gd name="connsiteY0" fmla="*/ 0 h 5491"/>
                    <a:gd name="connsiteX1" fmla="*/ 32204 w 32204"/>
                    <a:gd name="connsiteY1" fmla="*/ 0 h 5491"/>
                    <a:gd name="connsiteX2" fmla="*/ 22906 w 32204"/>
                    <a:gd name="connsiteY2" fmla="*/ 5491 h 5491"/>
                    <a:gd name="connsiteX3" fmla="*/ 3243 w 32204"/>
                    <a:gd name="connsiteY3" fmla="*/ 5491 h 5491"/>
                    <a:gd name="connsiteX4" fmla="*/ 0 w 32204"/>
                    <a:gd name="connsiteY4" fmla="*/ 0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4" h="5491">
                      <a:moveTo>
                        <a:pt x="0" y="0"/>
                      </a:moveTo>
                      <a:lnTo>
                        <a:pt x="32204" y="0"/>
                      </a:lnTo>
                      <a:lnTo>
                        <a:pt x="22906" y="5491"/>
                      </a:lnTo>
                      <a:lnTo>
                        <a:pt x="3243" y="5491"/>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sp>
            <p:nvSpPr>
              <p:cNvPr id="318" name="Oval 294">
                <a:extLst>
                  <a:ext uri="{FF2B5EF4-FFF2-40B4-BE49-F238E27FC236}">
                    <a16:creationId xmlns:a16="http://schemas.microsoft.com/office/drawing/2014/main" id="{0D1F29C3-80F0-4D1D-A793-DECA45C74935}"/>
                  </a:ext>
                </a:extLst>
              </p:cNvPr>
              <p:cNvSpPr/>
              <p:nvPr/>
            </p:nvSpPr>
            <p:spPr>
              <a:xfrm>
                <a:off x="9849356" y="3707987"/>
                <a:ext cx="1552005" cy="1551998"/>
              </a:xfrm>
              <a:prstGeom prst="ellipse">
                <a:avLst/>
              </a:prstGeom>
              <a:solidFill>
                <a:schemeClr val="accent1">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19" name="Picture 318" descr="A picture containing tower, black, white, clock&#10;&#10;Description automatically generated">
                <a:extLst>
                  <a:ext uri="{FF2B5EF4-FFF2-40B4-BE49-F238E27FC236}">
                    <a16:creationId xmlns:a16="http://schemas.microsoft.com/office/drawing/2014/main" id="{11972E40-5F1D-4736-BD1D-7D2AB6BDE97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968690" y="3834787"/>
                <a:ext cx="1384414" cy="1423013"/>
              </a:xfrm>
              <a:prstGeom prst="rect">
                <a:avLst/>
              </a:prstGeom>
            </p:spPr>
          </p:pic>
          <p:grpSp>
            <p:nvGrpSpPr>
              <p:cNvPr id="320" name="Group 319">
                <a:extLst>
                  <a:ext uri="{FF2B5EF4-FFF2-40B4-BE49-F238E27FC236}">
                    <a16:creationId xmlns:a16="http://schemas.microsoft.com/office/drawing/2014/main" id="{2301464D-18B9-4F8D-92C7-C2294ABA106F}"/>
                  </a:ext>
                </a:extLst>
              </p:cNvPr>
              <p:cNvGrpSpPr/>
              <p:nvPr/>
            </p:nvGrpSpPr>
            <p:grpSpPr>
              <a:xfrm>
                <a:off x="11425861" y="4653427"/>
                <a:ext cx="469712" cy="442001"/>
                <a:chOff x="11417488" y="4500476"/>
                <a:chExt cx="776502" cy="730692"/>
              </a:xfrm>
            </p:grpSpPr>
            <p:sp>
              <p:nvSpPr>
                <p:cNvPr id="321" name="Freeform 25">
                  <a:extLst>
                    <a:ext uri="{FF2B5EF4-FFF2-40B4-BE49-F238E27FC236}">
                      <a16:creationId xmlns:a16="http://schemas.microsoft.com/office/drawing/2014/main" id="{E18BFCEC-DA28-4A4B-BA59-DD48E3BF4137}"/>
                    </a:ext>
                  </a:extLst>
                </p:cNvPr>
                <p:cNvSpPr>
                  <a:spLocks noEditPoints="1"/>
                </p:cNvSpPr>
                <p:nvPr/>
              </p:nvSpPr>
              <p:spPr bwMode="auto">
                <a:xfrm>
                  <a:off x="11480492" y="4910496"/>
                  <a:ext cx="325231" cy="320672"/>
                </a:xfrm>
                <a:custGeom>
                  <a:avLst/>
                  <a:gdLst>
                    <a:gd name="T0" fmla="*/ 72 w 88"/>
                    <a:gd name="T1" fmla="*/ 91 h 91"/>
                    <a:gd name="T2" fmla="*/ 15 w 88"/>
                    <a:gd name="T3" fmla="*/ 91 h 91"/>
                    <a:gd name="T4" fmla="*/ 0 w 88"/>
                    <a:gd name="T5" fmla="*/ 75 h 91"/>
                    <a:gd name="T6" fmla="*/ 0 w 88"/>
                    <a:gd name="T7" fmla="*/ 16 h 91"/>
                    <a:gd name="T8" fmla="*/ 15 w 88"/>
                    <a:gd name="T9" fmla="*/ 0 h 91"/>
                    <a:gd name="T10" fmla="*/ 72 w 88"/>
                    <a:gd name="T11" fmla="*/ 0 h 91"/>
                    <a:gd name="T12" fmla="*/ 88 w 88"/>
                    <a:gd name="T13" fmla="*/ 16 h 91"/>
                    <a:gd name="T14" fmla="*/ 88 w 88"/>
                    <a:gd name="T15" fmla="*/ 75 h 91"/>
                    <a:gd name="T16" fmla="*/ 72 w 88"/>
                    <a:gd name="T17" fmla="*/ 91 h 91"/>
                    <a:gd name="T18" fmla="*/ 15 w 88"/>
                    <a:gd name="T19" fmla="*/ 3 h 91"/>
                    <a:gd name="T20" fmla="*/ 3 w 88"/>
                    <a:gd name="T21" fmla="*/ 16 h 91"/>
                    <a:gd name="T22" fmla="*/ 3 w 88"/>
                    <a:gd name="T23" fmla="*/ 75 h 91"/>
                    <a:gd name="T24" fmla="*/ 15 w 88"/>
                    <a:gd name="T25" fmla="*/ 88 h 91"/>
                    <a:gd name="T26" fmla="*/ 72 w 88"/>
                    <a:gd name="T27" fmla="*/ 88 h 91"/>
                    <a:gd name="T28" fmla="*/ 85 w 88"/>
                    <a:gd name="T29" fmla="*/ 75 h 91"/>
                    <a:gd name="T30" fmla="*/ 85 w 88"/>
                    <a:gd name="T31" fmla="*/ 16 h 91"/>
                    <a:gd name="T32" fmla="*/ 72 w 88"/>
                    <a:gd name="T33" fmla="*/ 3 h 91"/>
                    <a:gd name="T34" fmla="*/ 15 w 88"/>
                    <a:gd name="T35" fmla="*/ 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91">
                      <a:moveTo>
                        <a:pt x="72" y="91"/>
                      </a:moveTo>
                      <a:cubicBezTo>
                        <a:pt x="15" y="91"/>
                        <a:pt x="15" y="91"/>
                        <a:pt x="15" y="91"/>
                      </a:cubicBezTo>
                      <a:cubicBezTo>
                        <a:pt x="7" y="91"/>
                        <a:pt x="0" y="84"/>
                        <a:pt x="0" y="75"/>
                      </a:cubicBezTo>
                      <a:cubicBezTo>
                        <a:pt x="0" y="16"/>
                        <a:pt x="0" y="16"/>
                        <a:pt x="0" y="16"/>
                      </a:cubicBezTo>
                      <a:cubicBezTo>
                        <a:pt x="0" y="7"/>
                        <a:pt x="7" y="0"/>
                        <a:pt x="15" y="0"/>
                      </a:cubicBezTo>
                      <a:cubicBezTo>
                        <a:pt x="72" y="0"/>
                        <a:pt x="72" y="0"/>
                        <a:pt x="72" y="0"/>
                      </a:cubicBezTo>
                      <a:cubicBezTo>
                        <a:pt x="81" y="0"/>
                        <a:pt x="88" y="7"/>
                        <a:pt x="88" y="16"/>
                      </a:cubicBezTo>
                      <a:cubicBezTo>
                        <a:pt x="88" y="75"/>
                        <a:pt x="88" y="75"/>
                        <a:pt x="88" y="75"/>
                      </a:cubicBezTo>
                      <a:cubicBezTo>
                        <a:pt x="88" y="84"/>
                        <a:pt x="81" y="91"/>
                        <a:pt x="72" y="91"/>
                      </a:cubicBezTo>
                      <a:close/>
                      <a:moveTo>
                        <a:pt x="15" y="3"/>
                      </a:moveTo>
                      <a:cubicBezTo>
                        <a:pt x="8" y="3"/>
                        <a:pt x="3" y="9"/>
                        <a:pt x="3" y="16"/>
                      </a:cubicBezTo>
                      <a:cubicBezTo>
                        <a:pt x="3" y="75"/>
                        <a:pt x="3" y="75"/>
                        <a:pt x="3" y="75"/>
                      </a:cubicBezTo>
                      <a:cubicBezTo>
                        <a:pt x="3" y="83"/>
                        <a:pt x="8" y="88"/>
                        <a:pt x="15" y="88"/>
                      </a:cubicBezTo>
                      <a:cubicBezTo>
                        <a:pt x="72" y="88"/>
                        <a:pt x="72" y="88"/>
                        <a:pt x="72" y="88"/>
                      </a:cubicBezTo>
                      <a:cubicBezTo>
                        <a:pt x="79" y="88"/>
                        <a:pt x="85" y="83"/>
                        <a:pt x="85" y="75"/>
                      </a:cubicBezTo>
                      <a:cubicBezTo>
                        <a:pt x="85" y="16"/>
                        <a:pt x="85" y="16"/>
                        <a:pt x="85" y="16"/>
                      </a:cubicBezTo>
                      <a:cubicBezTo>
                        <a:pt x="85" y="9"/>
                        <a:pt x="79" y="3"/>
                        <a:pt x="72" y="3"/>
                      </a:cubicBezTo>
                      <a:lnTo>
                        <a:pt x="15" y="3"/>
                      </a:lnTo>
                      <a:close/>
                    </a:path>
                  </a:pathLst>
                </a:custGeom>
                <a:solidFill>
                  <a:srgbClr val="0D274D"/>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ＭＳ Ｐゴシック" charset="0"/>
                  </a:endParaRPr>
                </a:p>
              </p:txBody>
            </p:sp>
            <p:sp>
              <p:nvSpPr>
                <p:cNvPr id="322" name="Freeform 17">
                  <a:extLst>
                    <a:ext uri="{FF2B5EF4-FFF2-40B4-BE49-F238E27FC236}">
                      <a16:creationId xmlns:a16="http://schemas.microsoft.com/office/drawing/2014/main" id="{324E43BC-6A8F-4031-8E95-927E2F5705BB}"/>
                    </a:ext>
                  </a:extLst>
                </p:cNvPr>
                <p:cNvSpPr>
                  <a:spLocks/>
                </p:cNvSpPr>
                <p:nvPr/>
              </p:nvSpPr>
              <p:spPr bwMode="auto">
                <a:xfrm>
                  <a:off x="11750863" y="4837469"/>
                  <a:ext cx="443127" cy="233363"/>
                </a:xfrm>
                <a:custGeom>
                  <a:avLst/>
                  <a:gdLst>
                    <a:gd name="T0" fmla="*/ 61 w 122"/>
                    <a:gd name="T1" fmla="*/ 0 h 62"/>
                    <a:gd name="T2" fmla="*/ 53 w 122"/>
                    <a:gd name="T3" fmla="*/ 3 h 62"/>
                    <a:gd name="T4" fmla="*/ 4 w 122"/>
                    <a:gd name="T5" fmla="*/ 54 h 62"/>
                    <a:gd name="T6" fmla="*/ 8 w 122"/>
                    <a:gd name="T7" fmla="*/ 62 h 62"/>
                    <a:gd name="T8" fmla="*/ 114 w 122"/>
                    <a:gd name="T9" fmla="*/ 62 h 62"/>
                    <a:gd name="T10" fmla="*/ 118 w 122"/>
                    <a:gd name="T11" fmla="*/ 54 h 62"/>
                    <a:gd name="T12" fmla="*/ 69 w 122"/>
                    <a:gd name="T13" fmla="*/ 3 h 62"/>
                    <a:gd name="T14" fmla="*/ 61 w 122"/>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62">
                      <a:moveTo>
                        <a:pt x="61" y="0"/>
                      </a:moveTo>
                      <a:cubicBezTo>
                        <a:pt x="58" y="0"/>
                        <a:pt x="55" y="1"/>
                        <a:pt x="53" y="3"/>
                      </a:cubicBezTo>
                      <a:cubicBezTo>
                        <a:pt x="4" y="54"/>
                        <a:pt x="4" y="54"/>
                        <a:pt x="4" y="54"/>
                      </a:cubicBezTo>
                      <a:cubicBezTo>
                        <a:pt x="0" y="59"/>
                        <a:pt x="1" y="62"/>
                        <a:pt x="8" y="62"/>
                      </a:cubicBezTo>
                      <a:cubicBezTo>
                        <a:pt x="114" y="62"/>
                        <a:pt x="114" y="62"/>
                        <a:pt x="114" y="62"/>
                      </a:cubicBezTo>
                      <a:cubicBezTo>
                        <a:pt x="121" y="62"/>
                        <a:pt x="122" y="59"/>
                        <a:pt x="118" y="54"/>
                      </a:cubicBezTo>
                      <a:cubicBezTo>
                        <a:pt x="69" y="3"/>
                        <a:pt x="69" y="3"/>
                        <a:pt x="69" y="3"/>
                      </a:cubicBezTo>
                      <a:cubicBezTo>
                        <a:pt x="67" y="1"/>
                        <a:pt x="64" y="0"/>
                        <a:pt x="61" y="0"/>
                      </a:cubicBezTo>
                    </a:path>
                  </a:pathLst>
                </a:custGeom>
                <a:solidFill>
                  <a:srgbClr val="0D274D"/>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ＭＳ Ｐゴシック" charset="0"/>
                  </a:endParaRPr>
                </a:p>
              </p:txBody>
            </p:sp>
            <p:sp>
              <p:nvSpPr>
                <p:cNvPr id="323" name="Freeform 17">
                  <a:extLst>
                    <a:ext uri="{FF2B5EF4-FFF2-40B4-BE49-F238E27FC236}">
                      <a16:creationId xmlns:a16="http://schemas.microsoft.com/office/drawing/2014/main" id="{0A8D7D40-7618-4CA0-90C2-C37368AF9F64}"/>
                    </a:ext>
                  </a:extLst>
                </p:cNvPr>
                <p:cNvSpPr>
                  <a:spLocks/>
                </p:cNvSpPr>
                <p:nvPr/>
              </p:nvSpPr>
              <p:spPr bwMode="auto">
                <a:xfrm>
                  <a:off x="11417488" y="4500476"/>
                  <a:ext cx="443127" cy="233363"/>
                </a:xfrm>
                <a:custGeom>
                  <a:avLst/>
                  <a:gdLst>
                    <a:gd name="T0" fmla="*/ 61 w 122"/>
                    <a:gd name="T1" fmla="*/ 0 h 62"/>
                    <a:gd name="T2" fmla="*/ 53 w 122"/>
                    <a:gd name="T3" fmla="*/ 3 h 62"/>
                    <a:gd name="T4" fmla="*/ 4 w 122"/>
                    <a:gd name="T5" fmla="*/ 54 h 62"/>
                    <a:gd name="T6" fmla="*/ 8 w 122"/>
                    <a:gd name="T7" fmla="*/ 62 h 62"/>
                    <a:gd name="T8" fmla="*/ 114 w 122"/>
                    <a:gd name="T9" fmla="*/ 62 h 62"/>
                    <a:gd name="T10" fmla="*/ 118 w 122"/>
                    <a:gd name="T11" fmla="*/ 54 h 62"/>
                    <a:gd name="T12" fmla="*/ 69 w 122"/>
                    <a:gd name="T13" fmla="*/ 3 h 62"/>
                    <a:gd name="T14" fmla="*/ 61 w 122"/>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62">
                      <a:moveTo>
                        <a:pt x="61" y="0"/>
                      </a:moveTo>
                      <a:cubicBezTo>
                        <a:pt x="58" y="0"/>
                        <a:pt x="55" y="1"/>
                        <a:pt x="53" y="3"/>
                      </a:cubicBezTo>
                      <a:cubicBezTo>
                        <a:pt x="4" y="54"/>
                        <a:pt x="4" y="54"/>
                        <a:pt x="4" y="54"/>
                      </a:cubicBezTo>
                      <a:cubicBezTo>
                        <a:pt x="0" y="59"/>
                        <a:pt x="1" y="62"/>
                        <a:pt x="8" y="62"/>
                      </a:cubicBezTo>
                      <a:cubicBezTo>
                        <a:pt x="114" y="62"/>
                        <a:pt x="114" y="62"/>
                        <a:pt x="114" y="62"/>
                      </a:cubicBezTo>
                      <a:cubicBezTo>
                        <a:pt x="121" y="62"/>
                        <a:pt x="122" y="59"/>
                        <a:pt x="118" y="54"/>
                      </a:cubicBezTo>
                      <a:cubicBezTo>
                        <a:pt x="69" y="3"/>
                        <a:pt x="69" y="3"/>
                        <a:pt x="69" y="3"/>
                      </a:cubicBezTo>
                      <a:cubicBezTo>
                        <a:pt x="67" y="1"/>
                        <a:pt x="64" y="0"/>
                        <a:pt x="61" y="0"/>
                      </a:cubicBezTo>
                    </a:path>
                  </a:pathLst>
                </a:custGeom>
                <a:solidFill>
                  <a:srgbClr val="00BCEB"/>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ＭＳ Ｐゴシック" charset="0"/>
                  </a:endParaRPr>
                </a:p>
              </p:txBody>
            </p:sp>
          </p:grpSp>
        </p:grpSp>
      </p:grpSp>
      <p:sp>
        <p:nvSpPr>
          <p:cNvPr id="629" name="Rectangle 628">
            <a:extLst>
              <a:ext uri="{FF2B5EF4-FFF2-40B4-BE49-F238E27FC236}">
                <a16:creationId xmlns:a16="http://schemas.microsoft.com/office/drawing/2014/main" id="{90990A19-1FDD-43DF-94AE-10FC6A015581}"/>
              </a:ext>
            </a:extLst>
          </p:cNvPr>
          <p:cNvSpPr/>
          <p:nvPr/>
        </p:nvSpPr>
        <p:spPr>
          <a:xfrm>
            <a:off x="3124881" y="1491247"/>
            <a:ext cx="1067254" cy="215444"/>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Duo</a:t>
            </a:r>
          </a:p>
        </p:txBody>
      </p:sp>
      <p:sp>
        <p:nvSpPr>
          <p:cNvPr id="630" name="Rectangle 629">
            <a:extLst>
              <a:ext uri="{FF2B5EF4-FFF2-40B4-BE49-F238E27FC236}">
                <a16:creationId xmlns:a16="http://schemas.microsoft.com/office/drawing/2014/main" id="{0080AB01-3127-4412-942C-94B58604C300}"/>
              </a:ext>
            </a:extLst>
          </p:cNvPr>
          <p:cNvSpPr/>
          <p:nvPr/>
        </p:nvSpPr>
        <p:spPr>
          <a:xfrm>
            <a:off x="7778102" y="1491247"/>
            <a:ext cx="1323360" cy="215444"/>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Umbrella</a:t>
            </a:r>
          </a:p>
        </p:txBody>
      </p:sp>
      <p:grpSp>
        <p:nvGrpSpPr>
          <p:cNvPr id="10" name="Group 9">
            <a:extLst>
              <a:ext uri="{FF2B5EF4-FFF2-40B4-BE49-F238E27FC236}">
                <a16:creationId xmlns:a16="http://schemas.microsoft.com/office/drawing/2014/main" id="{8A72487B-675D-4D1E-8C43-3A444542B631}"/>
              </a:ext>
            </a:extLst>
          </p:cNvPr>
          <p:cNvGrpSpPr/>
          <p:nvPr/>
        </p:nvGrpSpPr>
        <p:grpSpPr>
          <a:xfrm>
            <a:off x="3148224" y="4469302"/>
            <a:ext cx="1717754" cy="560762"/>
            <a:chOff x="3148224" y="4469302"/>
            <a:chExt cx="1717754" cy="560762"/>
          </a:xfrm>
        </p:grpSpPr>
        <p:grpSp>
          <p:nvGrpSpPr>
            <p:cNvPr id="9" name="Group 8">
              <a:extLst>
                <a:ext uri="{FF2B5EF4-FFF2-40B4-BE49-F238E27FC236}">
                  <a16:creationId xmlns:a16="http://schemas.microsoft.com/office/drawing/2014/main" id="{7DD56825-106D-49D6-A0AB-925C176D5491}"/>
                </a:ext>
              </a:extLst>
            </p:cNvPr>
            <p:cNvGrpSpPr/>
            <p:nvPr/>
          </p:nvGrpSpPr>
          <p:grpSpPr>
            <a:xfrm>
              <a:off x="3148224" y="4469302"/>
              <a:ext cx="1361534" cy="560762"/>
              <a:chOff x="3168702" y="4547644"/>
              <a:chExt cx="1647481" cy="407782"/>
            </a:xfrm>
          </p:grpSpPr>
          <p:sp>
            <p:nvSpPr>
              <p:cNvPr id="307" name="Freeform: Shape 306">
                <a:extLst>
                  <a:ext uri="{FF2B5EF4-FFF2-40B4-BE49-F238E27FC236}">
                    <a16:creationId xmlns:a16="http://schemas.microsoft.com/office/drawing/2014/main" id="{0CFE2B51-F8F0-415F-9B9E-2814E6603E84}"/>
                  </a:ext>
                </a:extLst>
              </p:cNvPr>
              <p:cNvSpPr/>
              <p:nvPr/>
            </p:nvSpPr>
            <p:spPr>
              <a:xfrm>
                <a:off x="3168702" y="4547644"/>
                <a:ext cx="309812"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69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1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69" y="210150"/>
                    </a:lnTo>
                    <a:lnTo>
                      <a:pt x="3020" y="12135"/>
                    </a:lnTo>
                    <a:cubicBezTo>
                      <a:pt x="-37" y="10186"/>
                      <a:pt x="-932" y="6076"/>
                      <a:pt x="1070" y="3020"/>
                    </a:cubicBezTo>
                    <a:cubicBezTo>
                      <a:pt x="3073" y="-36"/>
                      <a:pt x="7130" y="-932"/>
                      <a:pt x="10186" y="1070"/>
                    </a:cubicBezTo>
                    <a:lnTo>
                      <a:pt x="325913" y="204459"/>
                    </a:lnTo>
                    <a:cubicBezTo>
                      <a:pt x="327758" y="205671"/>
                      <a:pt x="328917" y="207673"/>
                      <a:pt x="328917" y="209886"/>
                    </a:cubicBezTo>
                    <a:cubicBezTo>
                      <a:pt x="328969" y="212100"/>
                      <a:pt x="327863" y="214155"/>
                      <a:pt x="326071" y="215419"/>
                    </a:cubicBezTo>
                    <a:lnTo>
                      <a:pt x="10344" y="431770"/>
                    </a:lnTo>
                    <a:cubicBezTo>
                      <a:pt x="9184" y="432561"/>
                      <a:pt x="7920"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308" name="Freeform: Shape 307">
                <a:extLst>
                  <a:ext uri="{FF2B5EF4-FFF2-40B4-BE49-F238E27FC236}">
                    <a16:creationId xmlns:a16="http://schemas.microsoft.com/office/drawing/2014/main" id="{7303FD46-2E53-4DA0-9702-44F2E2F7F160}"/>
                  </a:ext>
                </a:extLst>
              </p:cNvPr>
              <p:cNvSpPr/>
              <p:nvPr/>
            </p:nvSpPr>
            <p:spPr>
              <a:xfrm>
                <a:off x="3436807" y="4547644"/>
                <a:ext cx="309812" cy="407782"/>
              </a:xfrm>
              <a:custGeom>
                <a:avLst/>
                <a:gdLst>
                  <a:gd name="connsiteX0" fmla="*/ 6603 w 328918"/>
                  <a:gd name="connsiteY0" fmla="*/ 432930 h 432929"/>
                  <a:gd name="connsiteX1" fmla="*/ 1175 w 328918"/>
                  <a:gd name="connsiteY1" fmla="*/ 430084 h 432929"/>
                  <a:gd name="connsiteX2" fmla="*/ 2862 w 328918"/>
                  <a:gd name="connsiteY2" fmla="*/ 420916 h 432929"/>
                  <a:gd name="connsiteX3" fmla="*/ 310369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1 w 328918"/>
                  <a:gd name="connsiteY9" fmla="*/ 215419 h 432929"/>
                  <a:gd name="connsiteX10" fmla="*/ 10343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5" y="430084"/>
                    </a:cubicBezTo>
                    <a:cubicBezTo>
                      <a:pt x="-879" y="427081"/>
                      <a:pt x="-142" y="422971"/>
                      <a:pt x="2862" y="420916"/>
                    </a:cubicBezTo>
                    <a:lnTo>
                      <a:pt x="310369" y="210150"/>
                    </a:lnTo>
                    <a:lnTo>
                      <a:pt x="3020" y="12135"/>
                    </a:lnTo>
                    <a:cubicBezTo>
                      <a:pt x="-37" y="10186"/>
                      <a:pt x="-932" y="6076"/>
                      <a:pt x="1070" y="3020"/>
                    </a:cubicBezTo>
                    <a:cubicBezTo>
                      <a:pt x="3073" y="-36"/>
                      <a:pt x="7129" y="-932"/>
                      <a:pt x="10186" y="1070"/>
                    </a:cubicBezTo>
                    <a:lnTo>
                      <a:pt x="325913" y="204459"/>
                    </a:lnTo>
                    <a:cubicBezTo>
                      <a:pt x="327758" y="205671"/>
                      <a:pt x="328917" y="207673"/>
                      <a:pt x="328917" y="209886"/>
                    </a:cubicBezTo>
                    <a:cubicBezTo>
                      <a:pt x="328969" y="212100"/>
                      <a:pt x="327862" y="214155"/>
                      <a:pt x="326071" y="215419"/>
                    </a:cubicBezTo>
                    <a:lnTo>
                      <a:pt x="10343" y="431770"/>
                    </a:lnTo>
                    <a:cubicBezTo>
                      <a:pt x="9184" y="432561"/>
                      <a:pt x="7867"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309" name="Freeform: Shape 308">
                <a:extLst>
                  <a:ext uri="{FF2B5EF4-FFF2-40B4-BE49-F238E27FC236}">
                    <a16:creationId xmlns:a16="http://schemas.microsoft.com/office/drawing/2014/main" id="{49011E30-7BF6-480C-9847-F952FFF09AB8}"/>
                  </a:ext>
                </a:extLst>
              </p:cNvPr>
              <p:cNvSpPr/>
              <p:nvPr/>
            </p:nvSpPr>
            <p:spPr>
              <a:xfrm>
                <a:off x="3704913" y="4547644"/>
                <a:ext cx="309812"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70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2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70" y="210150"/>
                    </a:lnTo>
                    <a:lnTo>
                      <a:pt x="3020" y="12135"/>
                    </a:lnTo>
                    <a:cubicBezTo>
                      <a:pt x="-36" y="10186"/>
                      <a:pt x="-932" y="6076"/>
                      <a:pt x="1070" y="3020"/>
                    </a:cubicBezTo>
                    <a:cubicBezTo>
                      <a:pt x="3072" y="-36"/>
                      <a:pt x="7130" y="-932"/>
                      <a:pt x="10186" y="1070"/>
                    </a:cubicBezTo>
                    <a:lnTo>
                      <a:pt x="325913" y="204459"/>
                    </a:lnTo>
                    <a:cubicBezTo>
                      <a:pt x="327757" y="205671"/>
                      <a:pt x="328917" y="207673"/>
                      <a:pt x="328917" y="209886"/>
                    </a:cubicBezTo>
                    <a:cubicBezTo>
                      <a:pt x="328970" y="212100"/>
                      <a:pt x="327863" y="214155"/>
                      <a:pt x="326072" y="215419"/>
                    </a:cubicBezTo>
                    <a:lnTo>
                      <a:pt x="10344" y="431770"/>
                    </a:lnTo>
                    <a:cubicBezTo>
                      <a:pt x="9185" y="432561"/>
                      <a:pt x="7868"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310" name="Freeform: Shape 309">
                <a:extLst>
                  <a:ext uri="{FF2B5EF4-FFF2-40B4-BE49-F238E27FC236}">
                    <a16:creationId xmlns:a16="http://schemas.microsoft.com/office/drawing/2014/main" id="{1C2BF27B-60E5-4263-BCAF-56BE5CA13ADD}"/>
                  </a:ext>
                </a:extLst>
              </p:cNvPr>
              <p:cNvSpPr/>
              <p:nvPr/>
            </p:nvSpPr>
            <p:spPr>
              <a:xfrm>
                <a:off x="3972969" y="4547644"/>
                <a:ext cx="309812"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70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2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70" y="210150"/>
                    </a:lnTo>
                    <a:lnTo>
                      <a:pt x="3020" y="12135"/>
                    </a:lnTo>
                    <a:cubicBezTo>
                      <a:pt x="-36" y="10186"/>
                      <a:pt x="-932" y="6076"/>
                      <a:pt x="1070" y="3020"/>
                    </a:cubicBezTo>
                    <a:cubicBezTo>
                      <a:pt x="3072" y="-36"/>
                      <a:pt x="7130" y="-932"/>
                      <a:pt x="10186" y="1070"/>
                    </a:cubicBezTo>
                    <a:lnTo>
                      <a:pt x="325913" y="204459"/>
                    </a:lnTo>
                    <a:cubicBezTo>
                      <a:pt x="327757" y="205671"/>
                      <a:pt x="328917" y="207673"/>
                      <a:pt x="328917" y="209886"/>
                    </a:cubicBezTo>
                    <a:cubicBezTo>
                      <a:pt x="328969" y="212100"/>
                      <a:pt x="327863" y="214155"/>
                      <a:pt x="326072" y="215419"/>
                    </a:cubicBezTo>
                    <a:lnTo>
                      <a:pt x="10344" y="431770"/>
                    </a:lnTo>
                    <a:cubicBezTo>
                      <a:pt x="9185" y="432561"/>
                      <a:pt x="7920"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311" name="Freeform: Shape 310">
                <a:extLst>
                  <a:ext uri="{FF2B5EF4-FFF2-40B4-BE49-F238E27FC236}">
                    <a16:creationId xmlns:a16="http://schemas.microsoft.com/office/drawing/2014/main" id="{AF2B2B23-C2F5-4D06-B0FE-0C48D89CB091}"/>
                  </a:ext>
                </a:extLst>
              </p:cNvPr>
              <p:cNvSpPr/>
              <p:nvPr/>
            </p:nvSpPr>
            <p:spPr>
              <a:xfrm>
                <a:off x="4238313" y="4547644"/>
                <a:ext cx="309812"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70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2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70" y="210150"/>
                    </a:lnTo>
                    <a:lnTo>
                      <a:pt x="3020" y="12135"/>
                    </a:lnTo>
                    <a:cubicBezTo>
                      <a:pt x="-36" y="10186"/>
                      <a:pt x="-932" y="6076"/>
                      <a:pt x="1070" y="3020"/>
                    </a:cubicBezTo>
                    <a:cubicBezTo>
                      <a:pt x="3072" y="-36"/>
                      <a:pt x="7130" y="-932"/>
                      <a:pt x="10186" y="1070"/>
                    </a:cubicBezTo>
                    <a:lnTo>
                      <a:pt x="325913" y="204459"/>
                    </a:lnTo>
                    <a:cubicBezTo>
                      <a:pt x="327757" y="205671"/>
                      <a:pt x="328917" y="207673"/>
                      <a:pt x="328917" y="209886"/>
                    </a:cubicBezTo>
                    <a:cubicBezTo>
                      <a:pt x="328970" y="212100"/>
                      <a:pt x="327863" y="214155"/>
                      <a:pt x="326072" y="215419"/>
                    </a:cubicBezTo>
                    <a:lnTo>
                      <a:pt x="10344" y="431770"/>
                    </a:lnTo>
                    <a:cubicBezTo>
                      <a:pt x="9185" y="432561"/>
                      <a:pt x="7868"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312" name="Freeform: Shape 311">
                <a:extLst>
                  <a:ext uri="{FF2B5EF4-FFF2-40B4-BE49-F238E27FC236}">
                    <a16:creationId xmlns:a16="http://schemas.microsoft.com/office/drawing/2014/main" id="{F9B4D3DC-DD18-4F39-A60B-E52EB01D573F}"/>
                  </a:ext>
                </a:extLst>
              </p:cNvPr>
              <p:cNvSpPr/>
              <p:nvPr/>
            </p:nvSpPr>
            <p:spPr>
              <a:xfrm>
                <a:off x="4506370" y="4547644"/>
                <a:ext cx="309813"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70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2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70" y="210150"/>
                    </a:lnTo>
                    <a:lnTo>
                      <a:pt x="3020" y="12135"/>
                    </a:lnTo>
                    <a:cubicBezTo>
                      <a:pt x="-36" y="10186"/>
                      <a:pt x="-932" y="6076"/>
                      <a:pt x="1070" y="3020"/>
                    </a:cubicBezTo>
                    <a:cubicBezTo>
                      <a:pt x="3072" y="-36"/>
                      <a:pt x="7130" y="-932"/>
                      <a:pt x="10186" y="1070"/>
                    </a:cubicBezTo>
                    <a:lnTo>
                      <a:pt x="325913" y="204459"/>
                    </a:lnTo>
                    <a:cubicBezTo>
                      <a:pt x="327757" y="205671"/>
                      <a:pt x="328917" y="207673"/>
                      <a:pt x="328917" y="209886"/>
                    </a:cubicBezTo>
                    <a:cubicBezTo>
                      <a:pt x="328969" y="212100"/>
                      <a:pt x="327863" y="214155"/>
                      <a:pt x="326072" y="215419"/>
                    </a:cubicBezTo>
                    <a:lnTo>
                      <a:pt x="10344" y="431770"/>
                    </a:lnTo>
                    <a:cubicBezTo>
                      <a:pt x="9185" y="432561"/>
                      <a:pt x="7920" y="432930"/>
                      <a:pt x="6603" y="432930"/>
                    </a:cubicBezTo>
                    <a:close/>
                  </a:path>
                </a:pathLst>
              </a:custGeom>
              <a:solidFill>
                <a:schemeClr val="accent1"/>
              </a:solidFill>
              <a:ln w="5266" cap="flat">
                <a:noFill/>
                <a:prstDash val="solid"/>
                <a:miter/>
              </a:ln>
            </p:spPr>
            <p:txBody>
              <a:bodyPr rtlCol="0" anchor="ctr"/>
              <a:lstStyle/>
              <a:p>
                <a:endParaRPr lang="en-IN" dirty="0"/>
              </a:p>
            </p:txBody>
          </p:sp>
        </p:grpSp>
        <p:sp>
          <p:nvSpPr>
            <p:cNvPr id="303" name="Freeform 205">
              <a:extLst>
                <a:ext uri="{FF2B5EF4-FFF2-40B4-BE49-F238E27FC236}">
                  <a16:creationId xmlns:a16="http://schemas.microsoft.com/office/drawing/2014/main" id="{1A8DA7AA-1F9B-4979-AF9D-2286BE266103}"/>
                </a:ext>
              </a:extLst>
            </p:cNvPr>
            <p:cNvSpPr>
              <a:spLocks noEditPoints="1"/>
            </p:cNvSpPr>
            <p:nvPr/>
          </p:nvSpPr>
          <p:spPr bwMode="auto">
            <a:xfrm>
              <a:off x="4623743" y="4606024"/>
              <a:ext cx="242235" cy="287318"/>
            </a:xfrm>
            <a:custGeom>
              <a:avLst/>
              <a:gdLst>
                <a:gd name="T0" fmla="*/ 21 w 266"/>
                <a:gd name="T1" fmla="*/ 311 h 311"/>
                <a:gd name="T2" fmla="*/ 11 w 266"/>
                <a:gd name="T3" fmla="*/ 308 h 311"/>
                <a:gd name="T4" fmla="*/ 0 w 266"/>
                <a:gd name="T5" fmla="*/ 289 h 311"/>
                <a:gd name="T6" fmla="*/ 0 w 266"/>
                <a:gd name="T7" fmla="*/ 23 h 311"/>
                <a:gd name="T8" fmla="*/ 11 w 266"/>
                <a:gd name="T9" fmla="*/ 4 h 311"/>
                <a:gd name="T10" fmla="*/ 32 w 266"/>
                <a:gd name="T11" fmla="*/ 4 h 311"/>
                <a:gd name="T12" fmla="*/ 256 w 266"/>
                <a:gd name="T13" fmla="*/ 138 h 311"/>
                <a:gd name="T14" fmla="*/ 266 w 266"/>
                <a:gd name="T15" fmla="*/ 156 h 311"/>
                <a:gd name="T16" fmla="*/ 256 w 266"/>
                <a:gd name="T17" fmla="*/ 174 h 311"/>
                <a:gd name="T18" fmla="*/ 32 w 266"/>
                <a:gd name="T19" fmla="*/ 308 h 311"/>
                <a:gd name="T20" fmla="*/ 21 w 266"/>
                <a:gd name="T21" fmla="*/ 311 h 311"/>
                <a:gd name="T22" fmla="*/ 21 w 266"/>
                <a:gd name="T23" fmla="*/ 13 h 311"/>
                <a:gd name="T24" fmla="*/ 17 w 266"/>
                <a:gd name="T25" fmla="*/ 14 h 311"/>
                <a:gd name="T26" fmla="*/ 12 w 266"/>
                <a:gd name="T27" fmla="*/ 23 h 311"/>
                <a:gd name="T28" fmla="*/ 12 w 266"/>
                <a:gd name="T29" fmla="*/ 289 h 311"/>
                <a:gd name="T30" fmla="*/ 17 w 266"/>
                <a:gd name="T31" fmla="*/ 298 h 311"/>
                <a:gd name="T32" fmla="*/ 26 w 266"/>
                <a:gd name="T33" fmla="*/ 297 h 311"/>
                <a:gd name="T34" fmla="*/ 250 w 266"/>
                <a:gd name="T35" fmla="*/ 164 h 311"/>
                <a:gd name="T36" fmla="*/ 254 w 266"/>
                <a:gd name="T37" fmla="*/ 156 h 311"/>
                <a:gd name="T38" fmla="*/ 250 w 266"/>
                <a:gd name="T39" fmla="*/ 148 h 311"/>
                <a:gd name="T40" fmla="*/ 250 w 266"/>
                <a:gd name="T41" fmla="*/ 148 h 311"/>
                <a:gd name="T42" fmla="*/ 26 w 266"/>
                <a:gd name="T43" fmla="*/ 15 h 311"/>
                <a:gd name="T44" fmla="*/ 21 w 266"/>
                <a:gd name="T45" fmla="*/ 13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311">
                  <a:moveTo>
                    <a:pt x="21" y="311"/>
                  </a:moveTo>
                  <a:cubicBezTo>
                    <a:pt x="18" y="311"/>
                    <a:pt x="14" y="310"/>
                    <a:pt x="11" y="308"/>
                  </a:cubicBezTo>
                  <a:cubicBezTo>
                    <a:pt x="4" y="304"/>
                    <a:pt x="0" y="297"/>
                    <a:pt x="0" y="289"/>
                  </a:cubicBezTo>
                  <a:cubicBezTo>
                    <a:pt x="0" y="23"/>
                    <a:pt x="0" y="23"/>
                    <a:pt x="0" y="23"/>
                  </a:cubicBezTo>
                  <a:cubicBezTo>
                    <a:pt x="0" y="15"/>
                    <a:pt x="4" y="8"/>
                    <a:pt x="11" y="4"/>
                  </a:cubicBezTo>
                  <a:cubicBezTo>
                    <a:pt x="17" y="0"/>
                    <a:pt x="25" y="0"/>
                    <a:pt x="32" y="4"/>
                  </a:cubicBezTo>
                  <a:cubicBezTo>
                    <a:pt x="256" y="138"/>
                    <a:pt x="256" y="138"/>
                    <a:pt x="256" y="138"/>
                  </a:cubicBezTo>
                  <a:cubicBezTo>
                    <a:pt x="262" y="142"/>
                    <a:pt x="266" y="148"/>
                    <a:pt x="266" y="156"/>
                  </a:cubicBezTo>
                  <a:cubicBezTo>
                    <a:pt x="266" y="164"/>
                    <a:pt x="262" y="170"/>
                    <a:pt x="256" y="174"/>
                  </a:cubicBezTo>
                  <a:cubicBezTo>
                    <a:pt x="32" y="308"/>
                    <a:pt x="32" y="308"/>
                    <a:pt x="32" y="308"/>
                  </a:cubicBezTo>
                  <a:cubicBezTo>
                    <a:pt x="29" y="310"/>
                    <a:pt x="25" y="311"/>
                    <a:pt x="21" y="311"/>
                  </a:cubicBezTo>
                  <a:close/>
                  <a:moveTo>
                    <a:pt x="21" y="13"/>
                  </a:moveTo>
                  <a:cubicBezTo>
                    <a:pt x="20" y="13"/>
                    <a:pt x="18" y="14"/>
                    <a:pt x="17" y="14"/>
                  </a:cubicBezTo>
                  <a:cubicBezTo>
                    <a:pt x="14" y="16"/>
                    <a:pt x="12" y="19"/>
                    <a:pt x="12" y="23"/>
                  </a:cubicBezTo>
                  <a:cubicBezTo>
                    <a:pt x="12" y="289"/>
                    <a:pt x="12" y="289"/>
                    <a:pt x="12" y="289"/>
                  </a:cubicBezTo>
                  <a:cubicBezTo>
                    <a:pt x="12" y="293"/>
                    <a:pt x="14" y="296"/>
                    <a:pt x="17" y="298"/>
                  </a:cubicBezTo>
                  <a:cubicBezTo>
                    <a:pt x="20" y="299"/>
                    <a:pt x="23" y="299"/>
                    <a:pt x="26" y="297"/>
                  </a:cubicBezTo>
                  <a:cubicBezTo>
                    <a:pt x="250" y="164"/>
                    <a:pt x="250" y="164"/>
                    <a:pt x="250" y="164"/>
                  </a:cubicBezTo>
                  <a:cubicBezTo>
                    <a:pt x="252" y="162"/>
                    <a:pt x="254" y="159"/>
                    <a:pt x="254" y="156"/>
                  </a:cubicBezTo>
                  <a:cubicBezTo>
                    <a:pt x="254" y="153"/>
                    <a:pt x="252" y="150"/>
                    <a:pt x="250" y="148"/>
                  </a:cubicBezTo>
                  <a:cubicBezTo>
                    <a:pt x="250" y="148"/>
                    <a:pt x="250" y="148"/>
                    <a:pt x="250" y="148"/>
                  </a:cubicBezTo>
                  <a:cubicBezTo>
                    <a:pt x="26" y="15"/>
                    <a:pt x="26" y="15"/>
                    <a:pt x="26" y="15"/>
                  </a:cubicBezTo>
                  <a:cubicBezTo>
                    <a:pt x="25" y="14"/>
                    <a:pt x="23" y="13"/>
                    <a:pt x="21" y="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54" name="Group 353">
            <a:extLst>
              <a:ext uri="{FF2B5EF4-FFF2-40B4-BE49-F238E27FC236}">
                <a16:creationId xmlns:a16="http://schemas.microsoft.com/office/drawing/2014/main" id="{B84D217F-27A8-4BA9-BE75-2C24BF84A47D}"/>
              </a:ext>
            </a:extLst>
          </p:cNvPr>
          <p:cNvGrpSpPr/>
          <p:nvPr/>
        </p:nvGrpSpPr>
        <p:grpSpPr>
          <a:xfrm>
            <a:off x="2953269" y="1958680"/>
            <a:ext cx="1264145" cy="1282553"/>
            <a:chOff x="2953269" y="1958680"/>
            <a:chExt cx="1264145" cy="1282553"/>
          </a:xfrm>
        </p:grpSpPr>
        <p:sp>
          <p:nvSpPr>
            <p:cNvPr id="355" name="Freeform: Shape 354">
              <a:extLst>
                <a:ext uri="{FF2B5EF4-FFF2-40B4-BE49-F238E27FC236}">
                  <a16:creationId xmlns:a16="http://schemas.microsoft.com/office/drawing/2014/main" id="{FEC8C0ED-19B3-412C-8027-80401C0623E1}"/>
                </a:ext>
              </a:extLst>
            </p:cNvPr>
            <p:cNvSpPr>
              <a:spLocks/>
            </p:cNvSpPr>
            <p:nvPr/>
          </p:nvSpPr>
          <p:spPr bwMode="auto">
            <a:xfrm>
              <a:off x="2953269" y="1958680"/>
              <a:ext cx="1264145" cy="1282553"/>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356" name="Group 355">
              <a:extLst>
                <a:ext uri="{FF2B5EF4-FFF2-40B4-BE49-F238E27FC236}">
                  <a16:creationId xmlns:a16="http://schemas.microsoft.com/office/drawing/2014/main" id="{C8439638-F5B9-4D9B-A57A-8BEE6D0202F2}"/>
                </a:ext>
              </a:extLst>
            </p:cNvPr>
            <p:cNvGrpSpPr/>
            <p:nvPr/>
          </p:nvGrpSpPr>
          <p:grpSpPr>
            <a:xfrm>
              <a:off x="3071095" y="2085710"/>
              <a:ext cx="1028492" cy="1028492"/>
              <a:chOff x="3071095" y="2085710"/>
              <a:chExt cx="1028492" cy="1028492"/>
            </a:xfrm>
          </p:grpSpPr>
          <p:sp>
            <p:nvSpPr>
              <p:cNvPr id="357" name="Oval 356">
                <a:extLst>
                  <a:ext uri="{FF2B5EF4-FFF2-40B4-BE49-F238E27FC236}">
                    <a16:creationId xmlns:a16="http://schemas.microsoft.com/office/drawing/2014/main" id="{3F390AC6-1BDF-47CE-A078-CB51A7A65145}"/>
                  </a:ext>
                </a:extLst>
              </p:cNvPr>
              <p:cNvSpPr/>
              <p:nvPr/>
            </p:nvSpPr>
            <p:spPr>
              <a:xfrm>
                <a:off x="3071095" y="2085710"/>
                <a:ext cx="1028492" cy="1028492"/>
              </a:xfrm>
              <a:prstGeom prst="ellipse">
                <a:avLst/>
              </a:prstGeom>
              <a:solidFill>
                <a:schemeClr val="accent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58" name="Graphic 33">
                <a:extLst>
                  <a:ext uri="{FF2B5EF4-FFF2-40B4-BE49-F238E27FC236}">
                    <a16:creationId xmlns:a16="http://schemas.microsoft.com/office/drawing/2014/main" id="{7EAA105A-35FE-4181-BC6D-5951186FBA0E}"/>
                  </a:ext>
                </a:extLst>
              </p:cNvPr>
              <p:cNvGrpSpPr/>
              <p:nvPr/>
            </p:nvGrpSpPr>
            <p:grpSpPr>
              <a:xfrm>
                <a:off x="3271205" y="2262466"/>
                <a:ext cx="628272" cy="674980"/>
                <a:chOff x="2647943" y="-1912619"/>
                <a:chExt cx="1024892" cy="1101088"/>
              </a:xfrm>
              <a:solidFill>
                <a:schemeClr val="bg2"/>
              </a:solidFill>
            </p:grpSpPr>
            <p:sp>
              <p:nvSpPr>
                <p:cNvPr id="359" name="Freeform: Shape 358">
                  <a:extLst>
                    <a:ext uri="{FF2B5EF4-FFF2-40B4-BE49-F238E27FC236}">
                      <a16:creationId xmlns:a16="http://schemas.microsoft.com/office/drawing/2014/main" id="{DD5F7441-3F87-44C7-A4A1-455D5D0C579A}"/>
                    </a:ext>
                  </a:extLst>
                </p:cNvPr>
                <p:cNvSpPr/>
                <p:nvPr/>
              </p:nvSpPr>
              <p:spPr>
                <a:xfrm>
                  <a:off x="3036563" y="-1523999"/>
                  <a:ext cx="270681" cy="712468"/>
                </a:xfrm>
                <a:custGeom>
                  <a:avLst/>
                  <a:gdLst>
                    <a:gd name="connsiteX0" fmla="*/ 198120 w 270681"/>
                    <a:gd name="connsiteY0" fmla="*/ 712469 h 712468"/>
                    <a:gd name="connsiteX1" fmla="*/ 163830 w 270681"/>
                    <a:gd name="connsiteY1" fmla="*/ 697229 h 712468"/>
                    <a:gd name="connsiteX2" fmla="*/ 213360 w 270681"/>
                    <a:gd name="connsiteY2" fmla="*/ 91440 h 712468"/>
                    <a:gd name="connsiteX3" fmla="*/ 129540 w 270681"/>
                    <a:gd name="connsiteY3" fmla="*/ 34290 h 712468"/>
                    <a:gd name="connsiteX4" fmla="*/ 38100 w 270681"/>
                    <a:gd name="connsiteY4" fmla="*/ 125730 h 712468"/>
                    <a:gd name="connsiteX5" fmla="*/ 41910 w 270681"/>
                    <a:gd name="connsiteY5" fmla="*/ 148590 h 712468"/>
                    <a:gd name="connsiteX6" fmla="*/ 38100 w 270681"/>
                    <a:gd name="connsiteY6" fmla="*/ 601979 h 712468"/>
                    <a:gd name="connsiteX7" fmla="*/ 0 w 270681"/>
                    <a:gd name="connsiteY7" fmla="*/ 590549 h 712468"/>
                    <a:gd name="connsiteX8" fmla="*/ 3810 w 270681"/>
                    <a:gd name="connsiteY8" fmla="*/ 160020 h 712468"/>
                    <a:gd name="connsiteX9" fmla="*/ 0 w 270681"/>
                    <a:gd name="connsiteY9" fmla="*/ 129540 h 712468"/>
                    <a:gd name="connsiteX10" fmla="*/ 129540 w 270681"/>
                    <a:gd name="connsiteY10" fmla="*/ 0 h 712468"/>
                    <a:gd name="connsiteX11" fmla="*/ 251460 w 270681"/>
                    <a:gd name="connsiteY11" fmla="*/ 83820 h 712468"/>
                    <a:gd name="connsiteX12" fmla="*/ 198120 w 270681"/>
                    <a:gd name="connsiteY12" fmla="*/ 712469 h 712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0681" h="712468">
                      <a:moveTo>
                        <a:pt x="198120" y="712469"/>
                      </a:moveTo>
                      <a:lnTo>
                        <a:pt x="163830" y="697229"/>
                      </a:lnTo>
                      <a:cubicBezTo>
                        <a:pt x="281941" y="396239"/>
                        <a:pt x="213360" y="95250"/>
                        <a:pt x="213360" y="91440"/>
                      </a:cubicBezTo>
                      <a:cubicBezTo>
                        <a:pt x="201930" y="57150"/>
                        <a:pt x="167640" y="34290"/>
                        <a:pt x="129540" y="34290"/>
                      </a:cubicBezTo>
                      <a:cubicBezTo>
                        <a:pt x="80010" y="34290"/>
                        <a:pt x="38100" y="76200"/>
                        <a:pt x="38100" y="125730"/>
                      </a:cubicBezTo>
                      <a:cubicBezTo>
                        <a:pt x="38100" y="133350"/>
                        <a:pt x="38100" y="140970"/>
                        <a:pt x="41910" y="148590"/>
                      </a:cubicBezTo>
                      <a:cubicBezTo>
                        <a:pt x="45720" y="156210"/>
                        <a:pt x="110490" y="388619"/>
                        <a:pt x="38100" y="601979"/>
                      </a:cubicBezTo>
                      <a:lnTo>
                        <a:pt x="0" y="590549"/>
                      </a:lnTo>
                      <a:cubicBezTo>
                        <a:pt x="68580" y="388619"/>
                        <a:pt x="3810" y="160020"/>
                        <a:pt x="3810" y="160020"/>
                      </a:cubicBezTo>
                      <a:cubicBezTo>
                        <a:pt x="0" y="148590"/>
                        <a:pt x="0" y="137160"/>
                        <a:pt x="0" y="129540"/>
                      </a:cubicBezTo>
                      <a:cubicBezTo>
                        <a:pt x="0" y="57150"/>
                        <a:pt x="57150" y="0"/>
                        <a:pt x="129540" y="0"/>
                      </a:cubicBezTo>
                      <a:cubicBezTo>
                        <a:pt x="182880" y="0"/>
                        <a:pt x="232410" y="34290"/>
                        <a:pt x="251460" y="83820"/>
                      </a:cubicBezTo>
                      <a:cubicBezTo>
                        <a:pt x="251460" y="99060"/>
                        <a:pt x="320041" y="400049"/>
                        <a:pt x="198120" y="712469"/>
                      </a:cubicBezTo>
                      <a:close/>
                    </a:path>
                  </a:pathLst>
                </a:custGeom>
                <a:grpFill/>
                <a:ln w="38100" cap="flat">
                  <a:noFill/>
                  <a:prstDash val="solid"/>
                  <a:miter/>
                </a:ln>
              </p:spPr>
              <p:txBody>
                <a:bodyPr rtlCol="0" anchor="ctr"/>
                <a:lstStyle/>
                <a:p>
                  <a:endParaRPr lang="en-IN" dirty="0"/>
                </a:p>
              </p:txBody>
            </p:sp>
            <p:sp>
              <p:nvSpPr>
                <p:cNvPr id="360" name="Freeform: Shape 359">
                  <a:extLst>
                    <a:ext uri="{FF2B5EF4-FFF2-40B4-BE49-F238E27FC236}">
                      <a16:creationId xmlns:a16="http://schemas.microsoft.com/office/drawing/2014/main" id="{CEBAEA3D-4A87-4DC3-903A-C10173170ADD}"/>
                    </a:ext>
                  </a:extLst>
                </p:cNvPr>
                <p:cNvSpPr/>
                <p:nvPr/>
              </p:nvSpPr>
              <p:spPr>
                <a:xfrm>
                  <a:off x="2884163" y="-1661159"/>
                  <a:ext cx="575966" cy="788668"/>
                </a:xfrm>
                <a:custGeom>
                  <a:avLst/>
                  <a:gdLst>
                    <a:gd name="connsiteX0" fmla="*/ 30480 w 575966"/>
                    <a:gd name="connsiteY0" fmla="*/ 788669 h 788668"/>
                    <a:gd name="connsiteX1" fmla="*/ 0 w 575966"/>
                    <a:gd name="connsiteY1" fmla="*/ 769619 h 788668"/>
                    <a:gd name="connsiteX2" fmla="*/ 22860 w 575966"/>
                    <a:gd name="connsiteY2" fmla="*/ 293370 h 788668"/>
                    <a:gd name="connsiteX3" fmla="*/ 19050 w 575966"/>
                    <a:gd name="connsiteY3" fmla="*/ 228600 h 788668"/>
                    <a:gd name="connsiteX4" fmla="*/ 278131 w 575966"/>
                    <a:gd name="connsiteY4" fmla="*/ 0 h 788668"/>
                    <a:gd name="connsiteX5" fmla="*/ 514351 w 575966"/>
                    <a:gd name="connsiteY5" fmla="*/ 144780 h 788668"/>
                    <a:gd name="connsiteX6" fmla="*/ 552451 w 575966"/>
                    <a:gd name="connsiteY6" fmla="*/ 693419 h 788668"/>
                    <a:gd name="connsiteX7" fmla="*/ 514351 w 575966"/>
                    <a:gd name="connsiteY7" fmla="*/ 685799 h 788668"/>
                    <a:gd name="connsiteX8" fmla="*/ 480061 w 575966"/>
                    <a:gd name="connsiteY8" fmla="*/ 163830 h 788668"/>
                    <a:gd name="connsiteX9" fmla="*/ 278131 w 575966"/>
                    <a:gd name="connsiteY9" fmla="*/ 38100 h 788668"/>
                    <a:gd name="connsiteX10" fmla="*/ 57150 w 575966"/>
                    <a:gd name="connsiteY10" fmla="*/ 232410 h 788668"/>
                    <a:gd name="connsiteX11" fmla="*/ 60960 w 575966"/>
                    <a:gd name="connsiteY11" fmla="*/ 281940 h 788668"/>
                    <a:gd name="connsiteX12" fmla="*/ 30480 w 575966"/>
                    <a:gd name="connsiteY12" fmla="*/ 788669 h 788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966" h="788668">
                      <a:moveTo>
                        <a:pt x="30480" y="788669"/>
                      </a:moveTo>
                      <a:lnTo>
                        <a:pt x="0" y="769619"/>
                      </a:lnTo>
                      <a:cubicBezTo>
                        <a:pt x="91440" y="628649"/>
                        <a:pt x="30480" y="327660"/>
                        <a:pt x="22860" y="293370"/>
                      </a:cubicBezTo>
                      <a:cubicBezTo>
                        <a:pt x="19050" y="270510"/>
                        <a:pt x="15240" y="247650"/>
                        <a:pt x="19050" y="228600"/>
                      </a:cubicBezTo>
                      <a:cubicBezTo>
                        <a:pt x="38100" y="99060"/>
                        <a:pt x="148590" y="0"/>
                        <a:pt x="278131" y="0"/>
                      </a:cubicBezTo>
                      <a:cubicBezTo>
                        <a:pt x="377191" y="0"/>
                        <a:pt x="468631" y="57150"/>
                        <a:pt x="514351" y="144780"/>
                      </a:cubicBezTo>
                      <a:cubicBezTo>
                        <a:pt x="518161" y="152400"/>
                        <a:pt x="621031" y="358139"/>
                        <a:pt x="552451" y="693419"/>
                      </a:cubicBezTo>
                      <a:lnTo>
                        <a:pt x="514351" y="685799"/>
                      </a:lnTo>
                      <a:cubicBezTo>
                        <a:pt x="579121" y="365759"/>
                        <a:pt x="480061" y="163830"/>
                        <a:pt x="480061" y="163830"/>
                      </a:cubicBezTo>
                      <a:cubicBezTo>
                        <a:pt x="441961" y="87630"/>
                        <a:pt x="365761" y="38100"/>
                        <a:pt x="278131" y="38100"/>
                      </a:cubicBezTo>
                      <a:cubicBezTo>
                        <a:pt x="167640" y="38100"/>
                        <a:pt x="68580" y="121920"/>
                        <a:pt x="57150" y="232410"/>
                      </a:cubicBezTo>
                      <a:cubicBezTo>
                        <a:pt x="53340" y="247650"/>
                        <a:pt x="57150" y="262890"/>
                        <a:pt x="60960" y="281940"/>
                      </a:cubicBezTo>
                      <a:cubicBezTo>
                        <a:pt x="72390" y="342899"/>
                        <a:pt x="125730" y="640079"/>
                        <a:pt x="30480" y="788669"/>
                      </a:cubicBezTo>
                      <a:close/>
                    </a:path>
                  </a:pathLst>
                </a:custGeom>
                <a:grpFill/>
                <a:ln w="38100" cap="flat">
                  <a:noFill/>
                  <a:prstDash val="solid"/>
                  <a:miter/>
                </a:ln>
              </p:spPr>
              <p:txBody>
                <a:bodyPr rtlCol="0" anchor="ctr"/>
                <a:lstStyle/>
                <a:p>
                  <a:endParaRPr lang="en-IN" dirty="0"/>
                </a:p>
              </p:txBody>
            </p:sp>
            <p:sp>
              <p:nvSpPr>
                <p:cNvPr id="361" name="Freeform: Shape 360">
                  <a:extLst>
                    <a:ext uri="{FF2B5EF4-FFF2-40B4-BE49-F238E27FC236}">
                      <a16:creationId xmlns:a16="http://schemas.microsoft.com/office/drawing/2014/main" id="{1C11DDE6-0683-4BC1-B7D9-D6807FDD034C}"/>
                    </a:ext>
                  </a:extLst>
                </p:cNvPr>
                <p:cNvSpPr/>
                <p:nvPr/>
              </p:nvSpPr>
              <p:spPr>
                <a:xfrm>
                  <a:off x="2682233" y="-1798319"/>
                  <a:ext cx="904665" cy="895348"/>
                </a:xfrm>
                <a:custGeom>
                  <a:avLst/>
                  <a:gdLst>
                    <a:gd name="connsiteX0" fmla="*/ 857252 w 904665"/>
                    <a:gd name="connsiteY0" fmla="*/ 895349 h 895348"/>
                    <a:gd name="connsiteX1" fmla="*/ 819152 w 904665"/>
                    <a:gd name="connsiteY1" fmla="*/ 883919 h 895348"/>
                    <a:gd name="connsiteX2" fmla="*/ 815342 w 904665"/>
                    <a:gd name="connsiteY2" fmla="*/ 270510 h 895348"/>
                    <a:gd name="connsiteX3" fmla="*/ 480061 w 904665"/>
                    <a:gd name="connsiteY3" fmla="*/ 41910 h 895348"/>
                    <a:gd name="connsiteX4" fmla="*/ 133350 w 904665"/>
                    <a:gd name="connsiteY4" fmla="*/ 300990 h 895348"/>
                    <a:gd name="connsiteX5" fmla="*/ 125730 w 904665"/>
                    <a:gd name="connsiteY5" fmla="*/ 438149 h 895348"/>
                    <a:gd name="connsiteX6" fmla="*/ 19050 w 904665"/>
                    <a:gd name="connsiteY6" fmla="*/ 796289 h 895348"/>
                    <a:gd name="connsiteX7" fmla="*/ 0 w 904665"/>
                    <a:gd name="connsiteY7" fmla="*/ 761999 h 895348"/>
                    <a:gd name="connsiteX8" fmla="*/ 87630 w 904665"/>
                    <a:gd name="connsiteY8" fmla="*/ 438149 h 895348"/>
                    <a:gd name="connsiteX9" fmla="*/ 99060 w 904665"/>
                    <a:gd name="connsiteY9" fmla="*/ 285750 h 895348"/>
                    <a:gd name="connsiteX10" fmla="*/ 483871 w 904665"/>
                    <a:gd name="connsiteY10" fmla="*/ 0 h 895348"/>
                    <a:gd name="connsiteX11" fmla="*/ 857252 w 904665"/>
                    <a:gd name="connsiteY11" fmla="*/ 255270 h 895348"/>
                    <a:gd name="connsiteX12" fmla="*/ 857252 w 904665"/>
                    <a:gd name="connsiteY12" fmla="*/ 895349 h 89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4665" h="895348">
                      <a:moveTo>
                        <a:pt x="857252" y="895349"/>
                      </a:moveTo>
                      <a:lnTo>
                        <a:pt x="819152" y="883919"/>
                      </a:lnTo>
                      <a:cubicBezTo>
                        <a:pt x="922022" y="552449"/>
                        <a:pt x="815342" y="274320"/>
                        <a:pt x="815342" y="270510"/>
                      </a:cubicBezTo>
                      <a:cubicBezTo>
                        <a:pt x="762002" y="129540"/>
                        <a:pt x="628651" y="41910"/>
                        <a:pt x="480061" y="41910"/>
                      </a:cubicBezTo>
                      <a:cubicBezTo>
                        <a:pt x="320041" y="41910"/>
                        <a:pt x="179070" y="148590"/>
                        <a:pt x="133350" y="300990"/>
                      </a:cubicBezTo>
                      <a:cubicBezTo>
                        <a:pt x="121920" y="342899"/>
                        <a:pt x="118110" y="388619"/>
                        <a:pt x="125730" y="438149"/>
                      </a:cubicBezTo>
                      <a:cubicBezTo>
                        <a:pt x="137160" y="521969"/>
                        <a:pt x="144780" y="723899"/>
                        <a:pt x="19050" y="796289"/>
                      </a:cubicBezTo>
                      <a:lnTo>
                        <a:pt x="0" y="761999"/>
                      </a:lnTo>
                      <a:cubicBezTo>
                        <a:pt x="106680" y="701039"/>
                        <a:pt x="95250" y="514349"/>
                        <a:pt x="87630" y="438149"/>
                      </a:cubicBezTo>
                      <a:cubicBezTo>
                        <a:pt x="80010" y="380999"/>
                        <a:pt x="83820" y="331469"/>
                        <a:pt x="99060" y="285750"/>
                      </a:cubicBezTo>
                      <a:cubicBezTo>
                        <a:pt x="148590" y="118110"/>
                        <a:pt x="304801" y="0"/>
                        <a:pt x="483871" y="0"/>
                      </a:cubicBezTo>
                      <a:cubicBezTo>
                        <a:pt x="651511" y="0"/>
                        <a:pt x="796292" y="99060"/>
                        <a:pt x="857252" y="255270"/>
                      </a:cubicBezTo>
                      <a:cubicBezTo>
                        <a:pt x="857252" y="270510"/>
                        <a:pt x="963932" y="552449"/>
                        <a:pt x="857252" y="895349"/>
                      </a:cubicBezTo>
                      <a:close/>
                    </a:path>
                  </a:pathLst>
                </a:custGeom>
                <a:grpFill/>
                <a:ln w="38100" cap="flat">
                  <a:noFill/>
                  <a:prstDash val="solid"/>
                  <a:miter/>
                </a:ln>
              </p:spPr>
              <p:txBody>
                <a:bodyPr rtlCol="0" anchor="ctr"/>
                <a:lstStyle/>
                <a:p>
                  <a:endParaRPr lang="en-IN" dirty="0"/>
                </a:p>
              </p:txBody>
            </p:sp>
            <p:sp>
              <p:nvSpPr>
                <p:cNvPr id="362" name="Freeform: Shape 361">
                  <a:extLst>
                    <a:ext uri="{FF2B5EF4-FFF2-40B4-BE49-F238E27FC236}">
                      <a16:creationId xmlns:a16="http://schemas.microsoft.com/office/drawing/2014/main" id="{029224DA-37DB-455B-947C-4E731A879FAA}"/>
                    </a:ext>
                  </a:extLst>
                </p:cNvPr>
                <p:cNvSpPr/>
                <p:nvPr/>
              </p:nvSpPr>
              <p:spPr>
                <a:xfrm>
                  <a:off x="2647943" y="-1912619"/>
                  <a:ext cx="1024892" cy="670558"/>
                </a:xfrm>
                <a:custGeom>
                  <a:avLst/>
                  <a:gdLst>
                    <a:gd name="connsiteX0" fmla="*/ 22860 w 1024892"/>
                    <a:gd name="connsiteY0" fmla="*/ 670559 h 670558"/>
                    <a:gd name="connsiteX1" fmla="*/ 0 w 1024892"/>
                    <a:gd name="connsiteY1" fmla="*/ 518159 h 670558"/>
                    <a:gd name="connsiteX2" fmla="*/ 514351 w 1024892"/>
                    <a:gd name="connsiteY2" fmla="*/ 0 h 670558"/>
                    <a:gd name="connsiteX3" fmla="*/ 1024892 w 1024892"/>
                    <a:gd name="connsiteY3" fmla="*/ 438149 h 670558"/>
                    <a:gd name="connsiteX4" fmla="*/ 986792 w 1024892"/>
                    <a:gd name="connsiteY4" fmla="*/ 441959 h 670558"/>
                    <a:gd name="connsiteX5" fmla="*/ 514351 w 1024892"/>
                    <a:gd name="connsiteY5" fmla="*/ 38100 h 670558"/>
                    <a:gd name="connsiteX6" fmla="*/ 38100 w 1024892"/>
                    <a:gd name="connsiteY6" fmla="*/ 514349 h 670558"/>
                    <a:gd name="connsiteX7" fmla="*/ 60960 w 1024892"/>
                    <a:gd name="connsiteY7" fmla="*/ 655319 h 670558"/>
                    <a:gd name="connsiteX8" fmla="*/ 22860 w 1024892"/>
                    <a:gd name="connsiteY8" fmla="*/ 670559 h 67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4892" h="670558">
                      <a:moveTo>
                        <a:pt x="22860" y="670559"/>
                      </a:moveTo>
                      <a:cubicBezTo>
                        <a:pt x="7620" y="621029"/>
                        <a:pt x="0" y="571499"/>
                        <a:pt x="0" y="518159"/>
                      </a:cubicBezTo>
                      <a:cubicBezTo>
                        <a:pt x="0" y="232410"/>
                        <a:pt x="232410" y="0"/>
                        <a:pt x="514351" y="0"/>
                      </a:cubicBezTo>
                      <a:cubicBezTo>
                        <a:pt x="769622" y="0"/>
                        <a:pt x="986792" y="190500"/>
                        <a:pt x="1024892" y="438149"/>
                      </a:cubicBezTo>
                      <a:lnTo>
                        <a:pt x="986792" y="441959"/>
                      </a:lnTo>
                      <a:cubicBezTo>
                        <a:pt x="952502" y="213360"/>
                        <a:pt x="750572" y="38100"/>
                        <a:pt x="514351" y="38100"/>
                      </a:cubicBezTo>
                      <a:cubicBezTo>
                        <a:pt x="251461" y="38100"/>
                        <a:pt x="38100" y="251460"/>
                        <a:pt x="38100" y="514349"/>
                      </a:cubicBezTo>
                      <a:cubicBezTo>
                        <a:pt x="38100" y="563879"/>
                        <a:pt x="45720" y="609599"/>
                        <a:pt x="60960" y="655319"/>
                      </a:cubicBezTo>
                      <a:lnTo>
                        <a:pt x="22860" y="670559"/>
                      </a:lnTo>
                      <a:close/>
                    </a:path>
                  </a:pathLst>
                </a:custGeom>
                <a:grpFill/>
                <a:ln w="38100" cap="flat">
                  <a:noFill/>
                  <a:prstDash val="solid"/>
                  <a:miter/>
                </a:ln>
              </p:spPr>
              <p:txBody>
                <a:bodyPr rtlCol="0" anchor="ctr"/>
                <a:lstStyle/>
                <a:p>
                  <a:endParaRPr lang="en-IN" dirty="0"/>
                </a:p>
              </p:txBody>
            </p:sp>
            <p:sp>
              <p:nvSpPr>
                <p:cNvPr id="363" name="Freeform: Shape 362">
                  <a:extLst>
                    <a:ext uri="{FF2B5EF4-FFF2-40B4-BE49-F238E27FC236}">
                      <a16:creationId xmlns:a16="http://schemas.microsoft.com/office/drawing/2014/main" id="{BA05F3C0-853D-4DF5-A743-1ED00221A377}"/>
                    </a:ext>
                  </a:extLst>
                </p:cNvPr>
                <p:cNvSpPr/>
                <p:nvPr/>
              </p:nvSpPr>
              <p:spPr>
                <a:xfrm>
                  <a:off x="3143244" y="-1421129"/>
                  <a:ext cx="63935" cy="339089"/>
                </a:xfrm>
                <a:custGeom>
                  <a:avLst/>
                  <a:gdLst>
                    <a:gd name="connsiteX0" fmla="*/ 49530 w 63935"/>
                    <a:gd name="connsiteY0" fmla="*/ 339089 h 339089"/>
                    <a:gd name="connsiteX1" fmla="*/ 11430 w 63935"/>
                    <a:gd name="connsiteY1" fmla="*/ 331469 h 339089"/>
                    <a:gd name="connsiteX2" fmla="*/ 0 w 63935"/>
                    <a:gd name="connsiteY2" fmla="*/ 11430 h 339089"/>
                    <a:gd name="connsiteX3" fmla="*/ 38100 w 63935"/>
                    <a:gd name="connsiteY3" fmla="*/ 0 h 339089"/>
                    <a:gd name="connsiteX4" fmla="*/ 49530 w 63935"/>
                    <a:gd name="connsiteY4" fmla="*/ 339089 h 3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35" h="339089">
                      <a:moveTo>
                        <a:pt x="49530" y="339089"/>
                      </a:moveTo>
                      <a:lnTo>
                        <a:pt x="11430" y="331469"/>
                      </a:lnTo>
                      <a:cubicBezTo>
                        <a:pt x="49530" y="179070"/>
                        <a:pt x="0" y="11430"/>
                        <a:pt x="0" y="11430"/>
                      </a:cubicBezTo>
                      <a:lnTo>
                        <a:pt x="38100" y="0"/>
                      </a:lnTo>
                      <a:cubicBezTo>
                        <a:pt x="38100" y="3810"/>
                        <a:pt x="87630" y="171450"/>
                        <a:pt x="49530" y="339089"/>
                      </a:cubicBezTo>
                      <a:close/>
                    </a:path>
                  </a:pathLst>
                </a:custGeom>
                <a:grpFill/>
                <a:ln w="38100" cap="flat">
                  <a:noFill/>
                  <a:prstDash val="solid"/>
                  <a:miter/>
                </a:ln>
              </p:spPr>
              <p:txBody>
                <a:bodyPr rtlCol="0" anchor="ctr"/>
                <a:lstStyle/>
                <a:p>
                  <a:endParaRPr lang="en-IN" dirty="0"/>
                </a:p>
              </p:txBody>
            </p:sp>
          </p:grpSp>
        </p:grpSp>
      </p:grpSp>
      <p:grpSp>
        <p:nvGrpSpPr>
          <p:cNvPr id="5" name="Group 4">
            <a:extLst>
              <a:ext uri="{FF2B5EF4-FFF2-40B4-BE49-F238E27FC236}">
                <a16:creationId xmlns:a16="http://schemas.microsoft.com/office/drawing/2014/main" id="{A735E5E1-0795-48C7-AD39-5744D8FF6FE1}"/>
              </a:ext>
            </a:extLst>
          </p:cNvPr>
          <p:cNvGrpSpPr/>
          <p:nvPr/>
        </p:nvGrpSpPr>
        <p:grpSpPr>
          <a:xfrm>
            <a:off x="961414" y="3686048"/>
            <a:ext cx="2258515" cy="1964333"/>
            <a:chOff x="961414" y="3686048"/>
            <a:chExt cx="2258515" cy="1964333"/>
          </a:xfrm>
        </p:grpSpPr>
        <p:pic>
          <p:nvPicPr>
            <p:cNvPr id="141" name="Graphic 140">
              <a:extLst>
                <a:ext uri="{FF2B5EF4-FFF2-40B4-BE49-F238E27FC236}">
                  <a16:creationId xmlns:a16="http://schemas.microsoft.com/office/drawing/2014/main" id="{593486D3-1791-4DE0-B100-91AEA2D04C7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p:blipFill>
          <p:spPr>
            <a:xfrm>
              <a:off x="961414" y="3686048"/>
              <a:ext cx="1932281" cy="1964333"/>
            </a:xfrm>
            <a:custGeom>
              <a:avLst/>
              <a:gdLst>
                <a:gd name="connsiteX0" fmla="*/ 0 w 2740583"/>
                <a:gd name="connsiteY0" fmla="*/ 0 h 2786043"/>
                <a:gd name="connsiteX1" fmla="*/ 2740583 w 2740583"/>
                <a:gd name="connsiteY1" fmla="*/ 0 h 2786043"/>
                <a:gd name="connsiteX2" fmla="*/ 2740583 w 2740583"/>
                <a:gd name="connsiteY2" fmla="*/ 534603 h 2786043"/>
                <a:gd name="connsiteX3" fmla="*/ 2448484 w 2740583"/>
                <a:gd name="connsiteY3" fmla="*/ 309543 h 2786043"/>
                <a:gd name="connsiteX4" fmla="*/ 111684 w 2740583"/>
                <a:gd name="connsiteY4" fmla="*/ 1897043 h 2786043"/>
                <a:gd name="connsiteX5" fmla="*/ 209020 w 2740583"/>
                <a:gd name="connsiteY5" fmla="*/ 2786043 h 2786043"/>
                <a:gd name="connsiteX6" fmla="*/ 0 w 2740583"/>
                <a:gd name="connsiteY6" fmla="*/ 2786043 h 2786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0583" h="2786043">
                  <a:moveTo>
                    <a:pt x="0" y="0"/>
                  </a:moveTo>
                  <a:lnTo>
                    <a:pt x="2740583" y="0"/>
                  </a:lnTo>
                  <a:lnTo>
                    <a:pt x="2740583" y="534603"/>
                  </a:lnTo>
                  <a:lnTo>
                    <a:pt x="2448484" y="309543"/>
                  </a:lnTo>
                  <a:lnTo>
                    <a:pt x="111684" y="1897043"/>
                  </a:lnTo>
                  <a:lnTo>
                    <a:pt x="209020" y="2786043"/>
                  </a:lnTo>
                  <a:lnTo>
                    <a:pt x="0" y="2786043"/>
                  </a:lnTo>
                  <a:close/>
                </a:path>
              </a:pathLst>
            </a:custGeom>
          </p:spPr>
        </p:pic>
        <p:sp>
          <p:nvSpPr>
            <p:cNvPr id="302" name="Arc 301">
              <a:extLst>
                <a:ext uri="{FF2B5EF4-FFF2-40B4-BE49-F238E27FC236}">
                  <a16:creationId xmlns:a16="http://schemas.microsoft.com/office/drawing/2014/main" id="{736A95FD-B872-4D97-9BCA-62F1FAE80907}"/>
                </a:ext>
              </a:extLst>
            </p:cNvPr>
            <p:cNvSpPr/>
            <p:nvPr/>
          </p:nvSpPr>
          <p:spPr>
            <a:xfrm>
              <a:off x="1121138" y="3882947"/>
              <a:ext cx="1724932" cy="1724932"/>
            </a:xfrm>
            <a:prstGeom prst="arc">
              <a:avLst>
                <a:gd name="adj1" fmla="val 1095341"/>
                <a:gd name="adj2" fmla="val 0"/>
              </a:avLst>
            </a:prstGeom>
            <a:solidFill>
              <a:schemeClr val="bg2"/>
            </a:solidFill>
            <a:ln w="9525" cap="rnd">
              <a:solidFill>
                <a:schemeClr val="accent3"/>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4" name="Freeform: Shape 303">
              <a:extLst>
                <a:ext uri="{FF2B5EF4-FFF2-40B4-BE49-F238E27FC236}">
                  <a16:creationId xmlns:a16="http://schemas.microsoft.com/office/drawing/2014/main" id="{404071DA-4609-4E84-8EAB-4BF40857D68E}"/>
                </a:ext>
              </a:extLst>
            </p:cNvPr>
            <p:cNvSpPr/>
            <p:nvPr/>
          </p:nvSpPr>
          <p:spPr>
            <a:xfrm>
              <a:off x="2601585" y="4167032"/>
              <a:ext cx="618344" cy="1156762"/>
            </a:xfrm>
            <a:custGeom>
              <a:avLst/>
              <a:gdLst>
                <a:gd name="connsiteX0" fmla="*/ 0 w 656476"/>
                <a:gd name="connsiteY0" fmla="*/ 44270 h 1228097"/>
                <a:gd name="connsiteX1" fmla="*/ 0 w 656476"/>
                <a:gd name="connsiteY1" fmla="*/ 1183829 h 1228097"/>
                <a:gd name="connsiteX2" fmla="*/ 75455 w 656476"/>
                <a:gd name="connsiteY2" fmla="*/ 1215075 h 1228097"/>
                <a:gd name="connsiteX3" fmla="*/ 643521 w 656476"/>
                <a:gd name="connsiteY3" fmla="*/ 647009 h 1228097"/>
                <a:gd name="connsiteX4" fmla="*/ 643627 w 656476"/>
                <a:gd name="connsiteY4" fmla="*/ 584622 h 1228097"/>
                <a:gd name="connsiteX5" fmla="*/ 75560 w 656476"/>
                <a:gd name="connsiteY5" fmla="*/ 13130 h 1228097"/>
                <a:gd name="connsiteX6" fmla="*/ 0 w 656476"/>
                <a:gd name="connsiteY6" fmla="*/ 44270 h 122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476" h="1228097">
                  <a:moveTo>
                    <a:pt x="0" y="44270"/>
                  </a:moveTo>
                  <a:lnTo>
                    <a:pt x="0" y="1183829"/>
                  </a:lnTo>
                  <a:cubicBezTo>
                    <a:pt x="0" y="1223190"/>
                    <a:pt x="47581" y="1242896"/>
                    <a:pt x="75455" y="1215075"/>
                  </a:cubicBezTo>
                  <a:lnTo>
                    <a:pt x="643521" y="647009"/>
                  </a:lnTo>
                  <a:cubicBezTo>
                    <a:pt x="660751" y="629778"/>
                    <a:pt x="660804" y="601852"/>
                    <a:pt x="643627" y="584622"/>
                  </a:cubicBezTo>
                  <a:lnTo>
                    <a:pt x="75560" y="13130"/>
                  </a:lnTo>
                  <a:cubicBezTo>
                    <a:pt x="47739" y="-14849"/>
                    <a:pt x="0" y="4857"/>
                    <a:pt x="0" y="44270"/>
                  </a:cubicBezTo>
                  <a:close/>
                </a:path>
              </a:pathLst>
            </a:custGeom>
            <a:solidFill>
              <a:srgbClr val="21BDEA"/>
            </a:solidFill>
            <a:ln w="5266" cap="flat">
              <a:noFill/>
              <a:prstDash val="solid"/>
              <a:miter/>
            </a:ln>
          </p:spPr>
          <p:txBody>
            <a:bodyPr rtlCol="0" anchor="ctr"/>
            <a:lstStyle/>
            <a:p>
              <a:endParaRPr lang="en-IN" dirty="0"/>
            </a:p>
          </p:txBody>
        </p:sp>
        <p:grpSp>
          <p:nvGrpSpPr>
            <p:cNvPr id="364" name="Group 363">
              <a:extLst>
                <a:ext uri="{FF2B5EF4-FFF2-40B4-BE49-F238E27FC236}">
                  <a16:creationId xmlns:a16="http://schemas.microsoft.com/office/drawing/2014/main" id="{DFA9E2F4-D501-4BF7-A221-962BD3E3BC08}"/>
                </a:ext>
              </a:extLst>
            </p:cNvPr>
            <p:cNvGrpSpPr/>
            <p:nvPr/>
          </p:nvGrpSpPr>
          <p:grpSpPr>
            <a:xfrm>
              <a:off x="1386831" y="4076956"/>
              <a:ext cx="1264145" cy="1282553"/>
              <a:chOff x="1386831" y="4076956"/>
              <a:chExt cx="1264145" cy="1282553"/>
            </a:xfrm>
          </p:grpSpPr>
          <p:sp>
            <p:nvSpPr>
              <p:cNvPr id="365" name="Freeform: Shape 364">
                <a:extLst>
                  <a:ext uri="{FF2B5EF4-FFF2-40B4-BE49-F238E27FC236}">
                    <a16:creationId xmlns:a16="http://schemas.microsoft.com/office/drawing/2014/main" id="{9D1B7F77-4363-4761-88CD-4317D739C606}"/>
                  </a:ext>
                </a:extLst>
              </p:cNvPr>
              <p:cNvSpPr>
                <a:spLocks/>
              </p:cNvSpPr>
              <p:nvPr/>
            </p:nvSpPr>
            <p:spPr bwMode="auto">
              <a:xfrm>
                <a:off x="1386831" y="4076956"/>
                <a:ext cx="1264145" cy="1282553"/>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366" name="Group 365">
                <a:extLst>
                  <a:ext uri="{FF2B5EF4-FFF2-40B4-BE49-F238E27FC236}">
                    <a16:creationId xmlns:a16="http://schemas.microsoft.com/office/drawing/2014/main" id="{16A8D879-28E4-4FCD-BF6B-30CCB48D89B3}"/>
                  </a:ext>
                </a:extLst>
              </p:cNvPr>
              <p:cNvGrpSpPr/>
              <p:nvPr/>
            </p:nvGrpSpPr>
            <p:grpSpPr>
              <a:xfrm>
                <a:off x="1502268" y="4201597"/>
                <a:ext cx="1033271" cy="1033271"/>
                <a:chOff x="1502268" y="4201597"/>
                <a:chExt cx="1033271" cy="1033271"/>
              </a:xfrm>
            </p:grpSpPr>
            <p:sp>
              <p:nvSpPr>
                <p:cNvPr id="367" name="Oval 366">
                  <a:extLst>
                    <a:ext uri="{FF2B5EF4-FFF2-40B4-BE49-F238E27FC236}">
                      <a16:creationId xmlns:a16="http://schemas.microsoft.com/office/drawing/2014/main" id="{8F389135-2D9A-4AC3-A5A4-3D3E55B8AB69}"/>
                    </a:ext>
                  </a:extLst>
                </p:cNvPr>
                <p:cNvSpPr/>
                <p:nvPr/>
              </p:nvSpPr>
              <p:spPr>
                <a:xfrm>
                  <a:off x="1502268" y="4201597"/>
                  <a:ext cx="1033271" cy="1033271"/>
                </a:xfrm>
                <a:prstGeom prst="ellipse">
                  <a:avLst/>
                </a:prstGeom>
                <a:solidFill>
                  <a:schemeClr val="tx2">
                    <a:lumMod val="75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68" name="Group 367">
                  <a:extLst>
                    <a:ext uri="{FF2B5EF4-FFF2-40B4-BE49-F238E27FC236}">
                      <a16:creationId xmlns:a16="http://schemas.microsoft.com/office/drawing/2014/main" id="{4B02ACF4-FEAE-4102-B797-E0A5690F5799}"/>
                    </a:ext>
                  </a:extLst>
                </p:cNvPr>
                <p:cNvGrpSpPr/>
                <p:nvPr/>
              </p:nvGrpSpPr>
              <p:grpSpPr>
                <a:xfrm>
                  <a:off x="1736567" y="4391688"/>
                  <a:ext cx="564674" cy="653090"/>
                  <a:chOff x="8473444" y="-2023109"/>
                  <a:chExt cx="1070612" cy="1238248"/>
                </a:xfrm>
                <a:solidFill>
                  <a:schemeClr val="bg2"/>
                </a:solidFill>
              </p:grpSpPr>
              <p:sp>
                <p:nvSpPr>
                  <p:cNvPr id="369" name="Freeform: Shape 368">
                    <a:extLst>
                      <a:ext uri="{FF2B5EF4-FFF2-40B4-BE49-F238E27FC236}">
                        <a16:creationId xmlns:a16="http://schemas.microsoft.com/office/drawing/2014/main" id="{C4A3C461-1EF4-40FA-8354-ED4E237FD2C6}"/>
                      </a:ext>
                    </a:extLst>
                  </p:cNvPr>
                  <p:cNvSpPr/>
                  <p:nvPr/>
                </p:nvSpPr>
                <p:spPr>
                  <a:xfrm>
                    <a:off x="8473444" y="-2023109"/>
                    <a:ext cx="1070612" cy="1238248"/>
                  </a:xfrm>
                  <a:custGeom>
                    <a:avLst/>
                    <a:gdLst>
                      <a:gd name="connsiteX0" fmla="*/ 533401 w 1070612"/>
                      <a:gd name="connsiteY0" fmla="*/ 1238248 h 1238248"/>
                      <a:gd name="connsiteX1" fmla="*/ 0 w 1070612"/>
                      <a:gd name="connsiteY1" fmla="*/ 929639 h 1238248"/>
                      <a:gd name="connsiteX2" fmla="*/ 0 w 1070612"/>
                      <a:gd name="connsiteY2" fmla="*/ 308610 h 1238248"/>
                      <a:gd name="connsiteX3" fmla="*/ 533401 w 1070612"/>
                      <a:gd name="connsiteY3" fmla="*/ 0 h 1238248"/>
                      <a:gd name="connsiteX4" fmla="*/ 1070612 w 1070612"/>
                      <a:gd name="connsiteY4" fmla="*/ 308610 h 1238248"/>
                      <a:gd name="connsiteX5" fmla="*/ 1070612 w 1070612"/>
                      <a:gd name="connsiteY5" fmla="*/ 925829 h 1238248"/>
                      <a:gd name="connsiteX6" fmla="*/ 533401 w 1070612"/>
                      <a:gd name="connsiteY6" fmla="*/ 1238248 h 1238248"/>
                      <a:gd name="connsiteX7" fmla="*/ 34290 w 1070612"/>
                      <a:gd name="connsiteY7" fmla="*/ 906779 h 1238248"/>
                      <a:gd name="connsiteX8" fmla="*/ 529591 w 1070612"/>
                      <a:gd name="connsiteY8" fmla="*/ 1192528 h 1238248"/>
                      <a:gd name="connsiteX9" fmla="*/ 1028702 w 1070612"/>
                      <a:gd name="connsiteY9" fmla="*/ 906779 h 1238248"/>
                      <a:gd name="connsiteX10" fmla="*/ 1028702 w 1070612"/>
                      <a:gd name="connsiteY10" fmla="*/ 331470 h 1238248"/>
                      <a:gd name="connsiteX11" fmla="*/ 529591 w 1070612"/>
                      <a:gd name="connsiteY11" fmla="*/ 45720 h 1238248"/>
                      <a:gd name="connsiteX12" fmla="*/ 34290 w 1070612"/>
                      <a:gd name="connsiteY12" fmla="*/ 331470 h 1238248"/>
                      <a:gd name="connsiteX13" fmla="*/ 34290 w 1070612"/>
                      <a:gd name="connsiteY13" fmla="*/ 906779 h 1238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0612" h="1238248">
                        <a:moveTo>
                          <a:pt x="533401" y="1238248"/>
                        </a:moveTo>
                        <a:lnTo>
                          <a:pt x="0" y="929639"/>
                        </a:lnTo>
                        <a:lnTo>
                          <a:pt x="0" y="308610"/>
                        </a:lnTo>
                        <a:lnTo>
                          <a:pt x="533401" y="0"/>
                        </a:lnTo>
                        <a:lnTo>
                          <a:pt x="1070612" y="308610"/>
                        </a:lnTo>
                        <a:lnTo>
                          <a:pt x="1070612" y="925829"/>
                        </a:lnTo>
                        <a:lnTo>
                          <a:pt x="533401" y="1238248"/>
                        </a:lnTo>
                        <a:close/>
                        <a:moveTo>
                          <a:pt x="34290" y="906779"/>
                        </a:moveTo>
                        <a:lnTo>
                          <a:pt x="529591" y="1192528"/>
                        </a:lnTo>
                        <a:lnTo>
                          <a:pt x="1028702" y="906779"/>
                        </a:lnTo>
                        <a:lnTo>
                          <a:pt x="1028702" y="331470"/>
                        </a:lnTo>
                        <a:lnTo>
                          <a:pt x="529591" y="45720"/>
                        </a:lnTo>
                        <a:lnTo>
                          <a:pt x="34290" y="331470"/>
                        </a:lnTo>
                        <a:lnTo>
                          <a:pt x="34290" y="906779"/>
                        </a:lnTo>
                        <a:close/>
                      </a:path>
                    </a:pathLst>
                  </a:custGeom>
                  <a:grpFill/>
                  <a:ln w="38100" cap="flat">
                    <a:noFill/>
                    <a:prstDash val="solid"/>
                    <a:miter/>
                  </a:ln>
                </p:spPr>
                <p:txBody>
                  <a:bodyPr rtlCol="0" anchor="ctr"/>
                  <a:lstStyle/>
                  <a:p>
                    <a:endParaRPr lang="en-IN" dirty="0"/>
                  </a:p>
                </p:txBody>
              </p:sp>
              <p:sp>
                <p:nvSpPr>
                  <p:cNvPr id="370" name="Freeform: Shape 369">
                    <a:extLst>
                      <a:ext uri="{FF2B5EF4-FFF2-40B4-BE49-F238E27FC236}">
                        <a16:creationId xmlns:a16="http://schemas.microsoft.com/office/drawing/2014/main" id="{825F504A-2FC5-431F-B763-5C2A4E946834}"/>
                      </a:ext>
                    </a:extLst>
                  </p:cNvPr>
                  <p:cNvSpPr/>
                  <p:nvPr/>
                </p:nvSpPr>
                <p:spPr>
                  <a:xfrm>
                    <a:off x="8763005" y="-1645919"/>
                    <a:ext cx="487681" cy="487679"/>
                  </a:xfrm>
                  <a:custGeom>
                    <a:avLst/>
                    <a:gdLst>
                      <a:gd name="connsiteX0" fmla="*/ 243840 w 487681"/>
                      <a:gd name="connsiteY0" fmla="*/ 487679 h 487679"/>
                      <a:gd name="connsiteX1" fmla="*/ 0 w 487681"/>
                      <a:gd name="connsiteY1" fmla="*/ 243840 h 487679"/>
                      <a:gd name="connsiteX2" fmla="*/ 243840 w 487681"/>
                      <a:gd name="connsiteY2" fmla="*/ 0 h 487679"/>
                      <a:gd name="connsiteX3" fmla="*/ 487681 w 487681"/>
                      <a:gd name="connsiteY3" fmla="*/ 243840 h 487679"/>
                      <a:gd name="connsiteX4" fmla="*/ 243840 w 487681"/>
                      <a:gd name="connsiteY4" fmla="*/ 487679 h 487679"/>
                      <a:gd name="connsiteX5" fmla="*/ 243840 w 487681"/>
                      <a:gd name="connsiteY5" fmla="*/ 38100 h 487679"/>
                      <a:gd name="connsiteX6" fmla="*/ 38100 w 487681"/>
                      <a:gd name="connsiteY6" fmla="*/ 243840 h 487679"/>
                      <a:gd name="connsiteX7" fmla="*/ 243840 w 487681"/>
                      <a:gd name="connsiteY7" fmla="*/ 449579 h 487679"/>
                      <a:gd name="connsiteX8" fmla="*/ 449581 w 487681"/>
                      <a:gd name="connsiteY8" fmla="*/ 243840 h 487679"/>
                      <a:gd name="connsiteX9" fmla="*/ 243840 w 487681"/>
                      <a:gd name="connsiteY9" fmla="*/ 38100 h 48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681" h="487679">
                        <a:moveTo>
                          <a:pt x="243840" y="487679"/>
                        </a:moveTo>
                        <a:cubicBezTo>
                          <a:pt x="110490" y="487679"/>
                          <a:pt x="0" y="377189"/>
                          <a:pt x="0" y="243840"/>
                        </a:cubicBezTo>
                        <a:cubicBezTo>
                          <a:pt x="0" y="110490"/>
                          <a:pt x="110490" y="0"/>
                          <a:pt x="243840" y="0"/>
                        </a:cubicBezTo>
                        <a:cubicBezTo>
                          <a:pt x="377191" y="0"/>
                          <a:pt x="487681" y="110490"/>
                          <a:pt x="487681" y="243840"/>
                        </a:cubicBezTo>
                        <a:cubicBezTo>
                          <a:pt x="487681" y="377189"/>
                          <a:pt x="377191" y="487679"/>
                          <a:pt x="243840" y="487679"/>
                        </a:cubicBezTo>
                        <a:close/>
                        <a:moveTo>
                          <a:pt x="243840" y="38100"/>
                        </a:moveTo>
                        <a:cubicBezTo>
                          <a:pt x="129540" y="38100"/>
                          <a:pt x="38100" y="129540"/>
                          <a:pt x="38100" y="243840"/>
                        </a:cubicBezTo>
                        <a:cubicBezTo>
                          <a:pt x="38100" y="358139"/>
                          <a:pt x="129540" y="449579"/>
                          <a:pt x="243840" y="449579"/>
                        </a:cubicBezTo>
                        <a:cubicBezTo>
                          <a:pt x="358141" y="449579"/>
                          <a:pt x="449581" y="358139"/>
                          <a:pt x="449581" y="243840"/>
                        </a:cubicBezTo>
                        <a:cubicBezTo>
                          <a:pt x="449581" y="129540"/>
                          <a:pt x="358141" y="38100"/>
                          <a:pt x="243840" y="38100"/>
                        </a:cubicBezTo>
                        <a:close/>
                      </a:path>
                    </a:pathLst>
                  </a:custGeom>
                  <a:grpFill/>
                  <a:ln w="38100" cap="flat">
                    <a:noFill/>
                    <a:prstDash val="solid"/>
                    <a:miter/>
                  </a:ln>
                </p:spPr>
                <p:txBody>
                  <a:bodyPr rtlCol="0" anchor="ctr"/>
                  <a:lstStyle/>
                  <a:p>
                    <a:endParaRPr lang="en-IN" dirty="0"/>
                  </a:p>
                </p:txBody>
              </p:sp>
            </p:grpSp>
          </p:grpSp>
        </p:grpSp>
      </p:grpSp>
      <p:grpSp>
        <p:nvGrpSpPr>
          <p:cNvPr id="371" name="Group 370">
            <a:extLst>
              <a:ext uri="{FF2B5EF4-FFF2-40B4-BE49-F238E27FC236}">
                <a16:creationId xmlns:a16="http://schemas.microsoft.com/office/drawing/2014/main" id="{BF33398A-3173-4761-A8F1-B8DBB9710C88}"/>
              </a:ext>
            </a:extLst>
          </p:cNvPr>
          <p:cNvGrpSpPr/>
          <p:nvPr/>
        </p:nvGrpSpPr>
        <p:grpSpPr>
          <a:xfrm>
            <a:off x="7824283" y="3917539"/>
            <a:ext cx="1264145" cy="1282553"/>
            <a:chOff x="7824283" y="3917539"/>
            <a:chExt cx="1264145" cy="1282553"/>
          </a:xfrm>
        </p:grpSpPr>
        <p:sp>
          <p:nvSpPr>
            <p:cNvPr id="372" name="Freeform: Shape 371">
              <a:extLst>
                <a:ext uri="{FF2B5EF4-FFF2-40B4-BE49-F238E27FC236}">
                  <a16:creationId xmlns:a16="http://schemas.microsoft.com/office/drawing/2014/main" id="{C22FA328-475F-446B-90B3-2470B0CAE7BF}"/>
                </a:ext>
              </a:extLst>
            </p:cNvPr>
            <p:cNvSpPr>
              <a:spLocks/>
            </p:cNvSpPr>
            <p:nvPr/>
          </p:nvSpPr>
          <p:spPr bwMode="auto">
            <a:xfrm>
              <a:off x="7824283" y="3917539"/>
              <a:ext cx="1264145" cy="1282553"/>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373" name="Group 372">
              <a:extLst>
                <a:ext uri="{FF2B5EF4-FFF2-40B4-BE49-F238E27FC236}">
                  <a16:creationId xmlns:a16="http://schemas.microsoft.com/office/drawing/2014/main" id="{113E7017-BA81-41FE-869E-5010A6FA4A21}"/>
                </a:ext>
              </a:extLst>
            </p:cNvPr>
            <p:cNvGrpSpPr/>
            <p:nvPr/>
          </p:nvGrpSpPr>
          <p:grpSpPr>
            <a:xfrm>
              <a:off x="7910639" y="4013099"/>
              <a:ext cx="1091432" cy="1091432"/>
              <a:chOff x="7910639" y="4013099"/>
              <a:chExt cx="1091432" cy="1091432"/>
            </a:xfrm>
          </p:grpSpPr>
          <p:sp>
            <p:nvSpPr>
              <p:cNvPr id="374" name="Oval 373">
                <a:extLst>
                  <a:ext uri="{FF2B5EF4-FFF2-40B4-BE49-F238E27FC236}">
                    <a16:creationId xmlns:a16="http://schemas.microsoft.com/office/drawing/2014/main" id="{C1146BFA-C324-4646-9E61-AAA6EB352776}"/>
                  </a:ext>
                </a:extLst>
              </p:cNvPr>
              <p:cNvSpPr/>
              <p:nvPr/>
            </p:nvSpPr>
            <p:spPr>
              <a:xfrm>
                <a:off x="7910639" y="4013099"/>
                <a:ext cx="1091432" cy="1091432"/>
              </a:xfrm>
              <a:prstGeom prst="ellipse">
                <a:avLst/>
              </a:prstGeom>
              <a:solidFill>
                <a:schemeClr val="accent2">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75" name="Group 374">
                <a:extLst>
                  <a:ext uri="{FF2B5EF4-FFF2-40B4-BE49-F238E27FC236}">
                    <a16:creationId xmlns:a16="http://schemas.microsoft.com/office/drawing/2014/main" id="{26A62008-807B-4B71-BC59-096E040B381D}"/>
                  </a:ext>
                </a:extLst>
              </p:cNvPr>
              <p:cNvGrpSpPr/>
              <p:nvPr/>
            </p:nvGrpSpPr>
            <p:grpSpPr>
              <a:xfrm>
                <a:off x="8098190" y="4148349"/>
                <a:ext cx="716330" cy="820932"/>
                <a:chOff x="4736130" y="-2038349"/>
                <a:chExt cx="1070499" cy="1226818"/>
              </a:xfrm>
              <a:solidFill>
                <a:schemeClr val="bg2"/>
              </a:solidFill>
            </p:grpSpPr>
            <p:sp>
              <p:nvSpPr>
                <p:cNvPr id="376" name="Freeform: Shape 375">
                  <a:extLst>
                    <a:ext uri="{FF2B5EF4-FFF2-40B4-BE49-F238E27FC236}">
                      <a16:creationId xmlns:a16="http://schemas.microsoft.com/office/drawing/2014/main" id="{BBD3772C-0DB4-488E-AB7D-C81F5F6B6BDC}"/>
                    </a:ext>
                  </a:extLst>
                </p:cNvPr>
                <p:cNvSpPr/>
                <p:nvPr/>
              </p:nvSpPr>
              <p:spPr>
                <a:xfrm>
                  <a:off x="4964427" y="-2000249"/>
                  <a:ext cx="609601" cy="1188718"/>
                </a:xfrm>
                <a:custGeom>
                  <a:avLst/>
                  <a:gdLst>
                    <a:gd name="connsiteX0" fmla="*/ 304801 w 609601"/>
                    <a:gd name="connsiteY0" fmla="*/ 1188718 h 1188718"/>
                    <a:gd name="connsiteX1" fmla="*/ 0 w 609601"/>
                    <a:gd name="connsiteY1" fmla="*/ 594359 h 1188718"/>
                    <a:gd name="connsiteX2" fmla="*/ 304801 w 609601"/>
                    <a:gd name="connsiteY2" fmla="*/ 0 h 1188718"/>
                    <a:gd name="connsiteX3" fmla="*/ 609601 w 609601"/>
                    <a:gd name="connsiteY3" fmla="*/ 594359 h 1188718"/>
                    <a:gd name="connsiteX4" fmla="*/ 304801 w 609601"/>
                    <a:gd name="connsiteY4" fmla="*/ 1188718 h 1188718"/>
                    <a:gd name="connsiteX5" fmla="*/ 304801 w 609601"/>
                    <a:gd name="connsiteY5" fmla="*/ 41910 h 1188718"/>
                    <a:gd name="connsiteX6" fmla="*/ 38100 w 609601"/>
                    <a:gd name="connsiteY6" fmla="*/ 598169 h 1188718"/>
                    <a:gd name="connsiteX7" fmla="*/ 304801 w 609601"/>
                    <a:gd name="connsiteY7" fmla="*/ 1154428 h 1188718"/>
                    <a:gd name="connsiteX8" fmla="*/ 571501 w 609601"/>
                    <a:gd name="connsiteY8" fmla="*/ 598169 h 1188718"/>
                    <a:gd name="connsiteX9" fmla="*/ 304801 w 609601"/>
                    <a:gd name="connsiteY9" fmla="*/ 41910 h 118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1" h="1188718">
                      <a:moveTo>
                        <a:pt x="304801" y="1188718"/>
                      </a:moveTo>
                      <a:cubicBezTo>
                        <a:pt x="133350" y="1188718"/>
                        <a:pt x="0" y="929639"/>
                        <a:pt x="0" y="594359"/>
                      </a:cubicBezTo>
                      <a:cubicBezTo>
                        <a:pt x="0" y="259080"/>
                        <a:pt x="133350" y="0"/>
                        <a:pt x="304801" y="0"/>
                      </a:cubicBezTo>
                      <a:cubicBezTo>
                        <a:pt x="476251" y="0"/>
                        <a:pt x="609601" y="259080"/>
                        <a:pt x="609601" y="594359"/>
                      </a:cubicBezTo>
                      <a:cubicBezTo>
                        <a:pt x="609601" y="929639"/>
                        <a:pt x="476251" y="1188718"/>
                        <a:pt x="304801" y="1188718"/>
                      </a:cubicBezTo>
                      <a:close/>
                      <a:moveTo>
                        <a:pt x="304801" y="41910"/>
                      </a:moveTo>
                      <a:cubicBezTo>
                        <a:pt x="160020" y="41910"/>
                        <a:pt x="38100" y="297180"/>
                        <a:pt x="38100" y="598169"/>
                      </a:cubicBezTo>
                      <a:cubicBezTo>
                        <a:pt x="38100" y="899159"/>
                        <a:pt x="160020" y="1154428"/>
                        <a:pt x="304801" y="1154428"/>
                      </a:cubicBezTo>
                      <a:cubicBezTo>
                        <a:pt x="449581" y="1154428"/>
                        <a:pt x="571501" y="899159"/>
                        <a:pt x="571501" y="598169"/>
                      </a:cubicBezTo>
                      <a:cubicBezTo>
                        <a:pt x="571501" y="297180"/>
                        <a:pt x="449581" y="41910"/>
                        <a:pt x="304801" y="41910"/>
                      </a:cubicBezTo>
                      <a:close/>
                    </a:path>
                  </a:pathLst>
                </a:custGeom>
                <a:grpFill/>
                <a:ln w="38100" cap="flat">
                  <a:noFill/>
                  <a:prstDash val="solid"/>
                  <a:miter/>
                </a:ln>
              </p:spPr>
              <p:txBody>
                <a:bodyPr rtlCol="0" anchor="ctr"/>
                <a:lstStyle/>
                <a:p>
                  <a:endParaRPr lang="en-IN" dirty="0"/>
                </a:p>
              </p:txBody>
            </p:sp>
            <p:sp>
              <p:nvSpPr>
                <p:cNvPr id="377" name="Freeform: Shape 376">
                  <a:extLst>
                    <a:ext uri="{FF2B5EF4-FFF2-40B4-BE49-F238E27FC236}">
                      <a16:creationId xmlns:a16="http://schemas.microsoft.com/office/drawing/2014/main" id="{7D5ABEAB-7EF7-4099-AF41-D55C6C231B74}"/>
                    </a:ext>
                  </a:extLst>
                </p:cNvPr>
                <p:cNvSpPr/>
                <p:nvPr/>
              </p:nvSpPr>
              <p:spPr>
                <a:xfrm>
                  <a:off x="4736130" y="-1803088"/>
                  <a:ext cx="1070499" cy="797247"/>
                </a:xfrm>
                <a:custGeom>
                  <a:avLst/>
                  <a:gdLst>
                    <a:gd name="connsiteX0" fmla="*/ 251157 w 1070499"/>
                    <a:gd name="connsiteY0" fmla="*/ 797248 h 797247"/>
                    <a:gd name="connsiteX1" fmla="*/ 22557 w 1070499"/>
                    <a:gd name="connsiteY1" fmla="*/ 694378 h 797247"/>
                    <a:gd name="connsiteX2" fmla="*/ 384507 w 1070499"/>
                    <a:gd name="connsiteY2" fmla="*/ 134309 h 797247"/>
                    <a:gd name="connsiteX3" fmla="*/ 384507 w 1070499"/>
                    <a:gd name="connsiteY3" fmla="*/ 134309 h 797247"/>
                    <a:gd name="connsiteX4" fmla="*/ 784558 w 1070499"/>
                    <a:gd name="connsiteY4" fmla="*/ 959 h 797247"/>
                    <a:gd name="connsiteX5" fmla="*/ 1047449 w 1070499"/>
                    <a:gd name="connsiteY5" fmla="*/ 103829 h 797247"/>
                    <a:gd name="connsiteX6" fmla="*/ 1001729 w 1070499"/>
                    <a:gd name="connsiteY6" fmla="*/ 381959 h 797247"/>
                    <a:gd name="connsiteX7" fmla="*/ 685498 w 1070499"/>
                    <a:gd name="connsiteY7" fmla="*/ 663898 h 797247"/>
                    <a:gd name="connsiteX8" fmla="*/ 285447 w 1070499"/>
                    <a:gd name="connsiteY8" fmla="*/ 797248 h 797247"/>
                    <a:gd name="connsiteX9" fmla="*/ 251157 w 1070499"/>
                    <a:gd name="connsiteY9" fmla="*/ 797248 h 797247"/>
                    <a:gd name="connsiteX10" fmla="*/ 399747 w 1070499"/>
                    <a:gd name="connsiteY10" fmla="*/ 168599 h 797247"/>
                    <a:gd name="connsiteX11" fmla="*/ 53037 w 1070499"/>
                    <a:gd name="connsiteY11" fmla="*/ 675328 h 797247"/>
                    <a:gd name="connsiteX12" fmla="*/ 281637 w 1070499"/>
                    <a:gd name="connsiteY12" fmla="*/ 755338 h 797247"/>
                    <a:gd name="connsiteX13" fmla="*/ 666448 w 1070499"/>
                    <a:gd name="connsiteY13" fmla="*/ 625798 h 797247"/>
                    <a:gd name="connsiteX14" fmla="*/ 971249 w 1070499"/>
                    <a:gd name="connsiteY14" fmla="*/ 355289 h 797247"/>
                    <a:gd name="connsiteX15" fmla="*/ 1016969 w 1070499"/>
                    <a:gd name="connsiteY15" fmla="*/ 115259 h 797247"/>
                    <a:gd name="connsiteX16" fmla="*/ 788368 w 1070499"/>
                    <a:gd name="connsiteY16" fmla="*/ 35249 h 797247"/>
                    <a:gd name="connsiteX17" fmla="*/ 399747 w 1070499"/>
                    <a:gd name="connsiteY17" fmla="*/ 168599 h 797247"/>
                    <a:gd name="connsiteX18" fmla="*/ 399747 w 1070499"/>
                    <a:gd name="connsiteY18" fmla="*/ 168599 h 79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0499" h="797247">
                      <a:moveTo>
                        <a:pt x="251157" y="797248"/>
                      </a:moveTo>
                      <a:cubicBezTo>
                        <a:pt x="140667" y="797248"/>
                        <a:pt x="60657" y="762958"/>
                        <a:pt x="22557" y="694378"/>
                      </a:cubicBezTo>
                      <a:cubicBezTo>
                        <a:pt x="-61264" y="545788"/>
                        <a:pt x="94947" y="301949"/>
                        <a:pt x="384507" y="134309"/>
                      </a:cubicBezTo>
                      <a:lnTo>
                        <a:pt x="384507" y="134309"/>
                      </a:lnTo>
                      <a:cubicBezTo>
                        <a:pt x="521668" y="54299"/>
                        <a:pt x="662638" y="8579"/>
                        <a:pt x="784558" y="959"/>
                      </a:cubicBezTo>
                      <a:cubicBezTo>
                        <a:pt x="910288" y="-6661"/>
                        <a:pt x="1005539" y="31439"/>
                        <a:pt x="1047449" y="103829"/>
                      </a:cubicBezTo>
                      <a:cubicBezTo>
                        <a:pt x="1089359" y="176219"/>
                        <a:pt x="1074119" y="275279"/>
                        <a:pt x="1001729" y="381959"/>
                      </a:cubicBezTo>
                      <a:cubicBezTo>
                        <a:pt x="933149" y="484828"/>
                        <a:pt x="822658" y="583888"/>
                        <a:pt x="685498" y="663898"/>
                      </a:cubicBezTo>
                      <a:cubicBezTo>
                        <a:pt x="548338" y="743908"/>
                        <a:pt x="407367" y="789628"/>
                        <a:pt x="285447" y="797248"/>
                      </a:cubicBezTo>
                      <a:cubicBezTo>
                        <a:pt x="274017" y="797248"/>
                        <a:pt x="262587" y="797248"/>
                        <a:pt x="251157" y="797248"/>
                      </a:cubicBezTo>
                      <a:close/>
                      <a:moveTo>
                        <a:pt x="399747" y="168599"/>
                      </a:moveTo>
                      <a:cubicBezTo>
                        <a:pt x="140667" y="320999"/>
                        <a:pt x="-19354" y="553408"/>
                        <a:pt x="53037" y="675328"/>
                      </a:cubicBezTo>
                      <a:cubicBezTo>
                        <a:pt x="87327" y="736288"/>
                        <a:pt x="167337" y="762958"/>
                        <a:pt x="281637" y="755338"/>
                      </a:cubicBezTo>
                      <a:cubicBezTo>
                        <a:pt x="399747" y="747718"/>
                        <a:pt x="536908" y="701998"/>
                        <a:pt x="666448" y="625798"/>
                      </a:cubicBezTo>
                      <a:cubicBezTo>
                        <a:pt x="795988" y="549598"/>
                        <a:pt x="906478" y="454349"/>
                        <a:pt x="971249" y="355289"/>
                      </a:cubicBezTo>
                      <a:cubicBezTo>
                        <a:pt x="1032209" y="260039"/>
                        <a:pt x="1051259" y="176219"/>
                        <a:pt x="1016969" y="115259"/>
                      </a:cubicBezTo>
                      <a:cubicBezTo>
                        <a:pt x="982679" y="54299"/>
                        <a:pt x="902668" y="27629"/>
                        <a:pt x="788368" y="35249"/>
                      </a:cubicBezTo>
                      <a:cubicBezTo>
                        <a:pt x="666448" y="46679"/>
                        <a:pt x="529288" y="92399"/>
                        <a:pt x="399747" y="168599"/>
                      </a:cubicBezTo>
                      <a:lnTo>
                        <a:pt x="399747" y="168599"/>
                      </a:lnTo>
                      <a:close/>
                    </a:path>
                  </a:pathLst>
                </a:custGeom>
                <a:grpFill/>
                <a:ln w="38100" cap="flat">
                  <a:noFill/>
                  <a:prstDash val="solid"/>
                  <a:miter/>
                </a:ln>
              </p:spPr>
              <p:txBody>
                <a:bodyPr rtlCol="0" anchor="ctr"/>
                <a:lstStyle/>
                <a:p>
                  <a:endParaRPr lang="en-IN" dirty="0"/>
                </a:p>
              </p:txBody>
            </p:sp>
            <p:sp>
              <p:nvSpPr>
                <p:cNvPr id="378" name="Freeform: Shape 377">
                  <a:extLst>
                    <a:ext uri="{FF2B5EF4-FFF2-40B4-BE49-F238E27FC236}">
                      <a16:creationId xmlns:a16="http://schemas.microsoft.com/office/drawing/2014/main" id="{B9FB8FB7-2FC5-4ABC-8D7F-56EF373FAFB8}"/>
                    </a:ext>
                  </a:extLst>
                </p:cNvPr>
                <p:cNvSpPr/>
                <p:nvPr/>
              </p:nvSpPr>
              <p:spPr>
                <a:xfrm>
                  <a:off x="4736130" y="-1803088"/>
                  <a:ext cx="1070499" cy="797247"/>
                </a:xfrm>
                <a:custGeom>
                  <a:avLst/>
                  <a:gdLst>
                    <a:gd name="connsiteX0" fmla="*/ 818848 w 1070499"/>
                    <a:gd name="connsiteY0" fmla="*/ 797248 h 797247"/>
                    <a:gd name="connsiteX1" fmla="*/ 784558 w 1070499"/>
                    <a:gd name="connsiteY1" fmla="*/ 797248 h 797247"/>
                    <a:gd name="connsiteX2" fmla="*/ 384507 w 1070499"/>
                    <a:gd name="connsiteY2" fmla="*/ 663898 h 797247"/>
                    <a:gd name="connsiteX3" fmla="*/ 22557 w 1070499"/>
                    <a:gd name="connsiteY3" fmla="*/ 103829 h 797247"/>
                    <a:gd name="connsiteX4" fmla="*/ 285447 w 1070499"/>
                    <a:gd name="connsiteY4" fmla="*/ 959 h 797247"/>
                    <a:gd name="connsiteX5" fmla="*/ 685498 w 1070499"/>
                    <a:gd name="connsiteY5" fmla="*/ 134309 h 797247"/>
                    <a:gd name="connsiteX6" fmla="*/ 1001729 w 1070499"/>
                    <a:gd name="connsiteY6" fmla="*/ 416249 h 797247"/>
                    <a:gd name="connsiteX7" fmla="*/ 1047449 w 1070499"/>
                    <a:gd name="connsiteY7" fmla="*/ 694378 h 797247"/>
                    <a:gd name="connsiteX8" fmla="*/ 818848 w 1070499"/>
                    <a:gd name="connsiteY8" fmla="*/ 797248 h 797247"/>
                    <a:gd name="connsiteX9" fmla="*/ 251157 w 1070499"/>
                    <a:gd name="connsiteY9" fmla="*/ 39059 h 797247"/>
                    <a:gd name="connsiteX10" fmla="*/ 53037 w 1070499"/>
                    <a:gd name="connsiteY10" fmla="*/ 122879 h 797247"/>
                    <a:gd name="connsiteX11" fmla="*/ 399747 w 1070499"/>
                    <a:gd name="connsiteY11" fmla="*/ 629608 h 797247"/>
                    <a:gd name="connsiteX12" fmla="*/ 784558 w 1070499"/>
                    <a:gd name="connsiteY12" fmla="*/ 759148 h 797247"/>
                    <a:gd name="connsiteX13" fmla="*/ 1013159 w 1070499"/>
                    <a:gd name="connsiteY13" fmla="*/ 679138 h 797247"/>
                    <a:gd name="connsiteX14" fmla="*/ 967438 w 1070499"/>
                    <a:gd name="connsiteY14" fmla="*/ 439109 h 797247"/>
                    <a:gd name="connsiteX15" fmla="*/ 662638 w 1070499"/>
                    <a:gd name="connsiteY15" fmla="*/ 168599 h 797247"/>
                    <a:gd name="connsiteX16" fmla="*/ 277827 w 1070499"/>
                    <a:gd name="connsiteY16" fmla="*/ 39059 h 797247"/>
                    <a:gd name="connsiteX17" fmla="*/ 251157 w 1070499"/>
                    <a:gd name="connsiteY17" fmla="*/ 39059 h 79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0499" h="797247">
                      <a:moveTo>
                        <a:pt x="818848" y="797248"/>
                      </a:moveTo>
                      <a:cubicBezTo>
                        <a:pt x="807418" y="797248"/>
                        <a:pt x="795988" y="797248"/>
                        <a:pt x="784558" y="797248"/>
                      </a:cubicBezTo>
                      <a:cubicBezTo>
                        <a:pt x="662638" y="789628"/>
                        <a:pt x="517858" y="743908"/>
                        <a:pt x="384507" y="663898"/>
                      </a:cubicBezTo>
                      <a:cubicBezTo>
                        <a:pt x="94947" y="496258"/>
                        <a:pt x="-61264" y="252419"/>
                        <a:pt x="22557" y="103829"/>
                      </a:cubicBezTo>
                      <a:cubicBezTo>
                        <a:pt x="60657" y="31439"/>
                        <a:pt x="155907" y="-6661"/>
                        <a:pt x="285447" y="959"/>
                      </a:cubicBezTo>
                      <a:cubicBezTo>
                        <a:pt x="407367" y="8579"/>
                        <a:pt x="552148" y="54299"/>
                        <a:pt x="685498" y="134309"/>
                      </a:cubicBezTo>
                      <a:cubicBezTo>
                        <a:pt x="822658" y="214319"/>
                        <a:pt x="933149" y="313379"/>
                        <a:pt x="1001729" y="416249"/>
                      </a:cubicBezTo>
                      <a:cubicBezTo>
                        <a:pt x="1074119" y="522928"/>
                        <a:pt x="1089359" y="621988"/>
                        <a:pt x="1047449" y="694378"/>
                      </a:cubicBezTo>
                      <a:cubicBezTo>
                        <a:pt x="1009349" y="762958"/>
                        <a:pt x="929338" y="797248"/>
                        <a:pt x="818848" y="797248"/>
                      </a:cubicBezTo>
                      <a:close/>
                      <a:moveTo>
                        <a:pt x="251157" y="39059"/>
                      </a:moveTo>
                      <a:cubicBezTo>
                        <a:pt x="155907" y="39059"/>
                        <a:pt x="87327" y="69539"/>
                        <a:pt x="53037" y="122879"/>
                      </a:cubicBezTo>
                      <a:cubicBezTo>
                        <a:pt x="-19354" y="248609"/>
                        <a:pt x="140667" y="481018"/>
                        <a:pt x="399747" y="629608"/>
                      </a:cubicBezTo>
                      <a:cubicBezTo>
                        <a:pt x="529288" y="705808"/>
                        <a:pt x="666448" y="751528"/>
                        <a:pt x="784558" y="759148"/>
                      </a:cubicBezTo>
                      <a:cubicBezTo>
                        <a:pt x="898858" y="766768"/>
                        <a:pt x="978869" y="736288"/>
                        <a:pt x="1013159" y="679138"/>
                      </a:cubicBezTo>
                      <a:cubicBezTo>
                        <a:pt x="1047449" y="618178"/>
                        <a:pt x="1032209" y="534358"/>
                        <a:pt x="967438" y="439109"/>
                      </a:cubicBezTo>
                      <a:cubicBezTo>
                        <a:pt x="902668" y="340049"/>
                        <a:pt x="795988" y="244799"/>
                        <a:pt x="662638" y="168599"/>
                      </a:cubicBezTo>
                      <a:cubicBezTo>
                        <a:pt x="529288" y="92399"/>
                        <a:pt x="395937" y="46679"/>
                        <a:pt x="277827" y="39059"/>
                      </a:cubicBezTo>
                      <a:cubicBezTo>
                        <a:pt x="270207" y="39059"/>
                        <a:pt x="258777" y="39059"/>
                        <a:pt x="251157" y="39059"/>
                      </a:cubicBezTo>
                      <a:close/>
                    </a:path>
                  </a:pathLst>
                </a:custGeom>
                <a:grpFill/>
                <a:ln w="38100" cap="flat">
                  <a:noFill/>
                  <a:prstDash val="solid"/>
                  <a:miter/>
                </a:ln>
              </p:spPr>
              <p:txBody>
                <a:bodyPr rtlCol="0" anchor="ctr"/>
                <a:lstStyle/>
                <a:p>
                  <a:endParaRPr lang="en-IN" dirty="0"/>
                </a:p>
              </p:txBody>
            </p:sp>
            <p:sp>
              <p:nvSpPr>
                <p:cNvPr id="379" name="Freeform: Shape 378">
                  <a:extLst>
                    <a:ext uri="{FF2B5EF4-FFF2-40B4-BE49-F238E27FC236}">
                      <a16:creationId xmlns:a16="http://schemas.microsoft.com/office/drawing/2014/main" id="{5859CE56-A543-4088-B051-530CD4698F4C}"/>
                    </a:ext>
                  </a:extLst>
                </p:cNvPr>
                <p:cNvSpPr/>
                <p:nvPr/>
              </p:nvSpPr>
              <p:spPr>
                <a:xfrm>
                  <a:off x="4777737" y="-1463039"/>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7" y="0"/>
                        <a:pt x="121920" y="27293"/>
                        <a:pt x="121920" y="60960"/>
                      </a:cubicBezTo>
                      <a:close/>
                    </a:path>
                  </a:pathLst>
                </a:custGeom>
                <a:grpFill/>
                <a:ln w="38100" cap="flat">
                  <a:noFill/>
                  <a:prstDash val="solid"/>
                  <a:miter/>
                </a:ln>
              </p:spPr>
              <p:txBody>
                <a:bodyPr rtlCol="0" anchor="ctr"/>
                <a:lstStyle/>
                <a:p>
                  <a:endParaRPr lang="en-IN" dirty="0"/>
                </a:p>
              </p:txBody>
            </p:sp>
            <p:sp>
              <p:nvSpPr>
                <p:cNvPr id="380" name="Freeform: Shape 379">
                  <a:extLst>
                    <a:ext uri="{FF2B5EF4-FFF2-40B4-BE49-F238E27FC236}">
                      <a16:creationId xmlns:a16="http://schemas.microsoft.com/office/drawing/2014/main" id="{A806CD1C-548E-4F8D-BEF9-CF0D44E00A87}"/>
                    </a:ext>
                  </a:extLst>
                </p:cNvPr>
                <p:cNvSpPr/>
                <p:nvPr/>
              </p:nvSpPr>
              <p:spPr>
                <a:xfrm>
                  <a:off x="5208268" y="-1146810"/>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8" y="0"/>
                        <a:pt x="121920" y="27293"/>
                        <a:pt x="121920" y="60960"/>
                      </a:cubicBezTo>
                      <a:close/>
                    </a:path>
                  </a:pathLst>
                </a:custGeom>
                <a:grpFill/>
                <a:ln w="38100" cap="flat">
                  <a:noFill/>
                  <a:prstDash val="solid"/>
                  <a:miter/>
                </a:ln>
              </p:spPr>
              <p:txBody>
                <a:bodyPr rtlCol="0" anchor="ctr"/>
                <a:lstStyle/>
                <a:p>
                  <a:endParaRPr lang="en-IN" dirty="0"/>
                </a:p>
              </p:txBody>
            </p:sp>
            <p:sp>
              <p:nvSpPr>
                <p:cNvPr id="381" name="Freeform: Shape 380">
                  <a:extLst>
                    <a:ext uri="{FF2B5EF4-FFF2-40B4-BE49-F238E27FC236}">
                      <a16:creationId xmlns:a16="http://schemas.microsoft.com/office/drawing/2014/main" id="{9C0D986C-E162-4CF7-B427-B24EF9F72727}"/>
                    </a:ext>
                  </a:extLst>
                </p:cNvPr>
                <p:cNvSpPr/>
                <p:nvPr/>
              </p:nvSpPr>
              <p:spPr>
                <a:xfrm>
                  <a:off x="5208268" y="-2038349"/>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8" y="0"/>
                        <a:pt x="121920" y="27293"/>
                        <a:pt x="121920" y="60960"/>
                      </a:cubicBezTo>
                      <a:close/>
                    </a:path>
                  </a:pathLst>
                </a:custGeom>
                <a:grpFill/>
                <a:ln w="38100" cap="flat">
                  <a:noFill/>
                  <a:prstDash val="solid"/>
                  <a:miter/>
                </a:ln>
              </p:spPr>
              <p:txBody>
                <a:bodyPr rtlCol="0" anchor="ctr"/>
                <a:lstStyle/>
                <a:p>
                  <a:endParaRPr lang="en-IN" dirty="0"/>
                </a:p>
              </p:txBody>
            </p:sp>
          </p:grpSp>
        </p:grpSp>
      </p:grpSp>
      <p:grpSp>
        <p:nvGrpSpPr>
          <p:cNvPr id="3" name="Group 2">
            <a:extLst>
              <a:ext uri="{FF2B5EF4-FFF2-40B4-BE49-F238E27FC236}">
                <a16:creationId xmlns:a16="http://schemas.microsoft.com/office/drawing/2014/main" id="{041821EA-9EE2-463A-95CD-DFDE208AFF31}"/>
              </a:ext>
            </a:extLst>
          </p:cNvPr>
          <p:cNvGrpSpPr/>
          <p:nvPr/>
        </p:nvGrpSpPr>
        <p:grpSpPr>
          <a:xfrm>
            <a:off x="7824283" y="1928881"/>
            <a:ext cx="1264145" cy="1282553"/>
            <a:chOff x="7824283" y="1928881"/>
            <a:chExt cx="1264145" cy="1282553"/>
          </a:xfrm>
        </p:grpSpPr>
        <p:sp>
          <p:nvSpPr>
            <p:cNvPr id="299" name="Freeform: Shape 298">
              <a:extLst>
                <a:ext uri="{FF2B5EF4-FFF2-40B4-BE49-F238E27FC236}">
                  <a16:creationId xmlns:a16="http://schemas.microsoft.com/office/drawing/2014/main" id="{B586F6BE-84A3-4294-81EA-885FD55145D2}"/>
                </a:ext>
              </a:extLst>
            </p:cNvPr>
            <p:cNvSpPr>
              <a:spLocks/>
            </p:cNvSpPr>
            <p:nvPr/>
          </p:nvSpPr>
          <p:spPr bwMode="auto">
            <a:xfrm>
              <a:off x="7824283" y="1928881"/>
              <a:ext cx="1264145" cy="1282553"/>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51" name="Oval 350">
              <a:extLst>
                <a:ext uri="{FF2B5EF4-FFF2-40B4-BE49-F238E27FC236}">
                  <a16:creationId xmlns:a16="http://schemas.microsoft.com/office/drawing/2014/main" id="{F04303E0-FA87-4E7F-8685-AA0BB5768457}"/>
                </a:ext>
              </a:extLst>
            </p:cNvPr>
            <p:cNvSpPr/>
            <p:nvPr/>
          </p:nvSpPr>
          <p:spPr>
            <a:xfrm>
              <a:off x="7939719" y="2053521"/>
              <a:ext cx="1033272" cy="1033272"/>
            </a:xfrm>
            <a:prstGeom prst="ellipse">
              <a:avLst/>
            </a:prstGeom>
            <a:solidFill>
              <a:schemeClr val="tx2">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97" name="Group 296">
              <a:extLst>
                <a:ext uri="{FF2B5EF4-FFF2-40B4-BE49-F238E27FC236}">
                  <a16:creationId xmlns:a16="http://schemas.microsoft.com/office/drawing/2014/main" id="{D214CE24-A7C9-4488-AE31-6A769472CA47}"/>
                </a:ext>
              </a:extLst>
            </p:cNvPr>
            <p:cNvGrpSpPr/>
            <p:nvPr/>
          </p:nvGrpSpPr>
          <p:grpSpPr>
            <a:xfrm>
              <a:off x="8098190" y="2243725"/>
              <a:ext cx="708323" cy="693721"/>
              <a:chOff x="6330560" y="3409386"/>
              <a:chExt cx="899461" cy="880919"/>
            </a:xfrm>
          </p:grpSpPr>
          <p:grpSp>
            <p:nvGrpSpPr>
              <p:cNvPr id="298" name="Group 297">
                <a:extLst>
                  <a:ext uri="{FF2B5EF4-FFF2-40B4-BE49-F238E27FC236}">
                    <a16:creationId xmlns:a16="http://schemas.microsoft.com/office/drawing/2014/main" id="{65E62712-52F0-4673-A6DB-9ED3CCD706F9}"/>
                  </a:ext>
                </a:extLst>
              </p:cNvPr>
              <p:cNvGrpSpPr/>
              <p:nvPr/>
            </p:nvGrpSpPr>
            <p:grpSpPr>
              <a:xfrm>
                <a:off x="6371627" y="3409386"/>
                <a:ext cx="858394" cy="846581"/>
                <a:chOff x="6736081" y="-2000249"/>
                <a:chExt cx="1188722" cy="1188718"/>
              </a:xfrm>
              <a:solidFill>
                <a:schemeClr val="bg2"/>
              </a:solidFill>
            </p:grpSpPr>
            <p:sp>
              <p:nvSpPr>
                <p:cNvPr id="306" name="Freeform: Shape 305">
                  <a:extLst>
                    <a:ext uri="{FF2B5EF4-FFF2-40B4-BE49-F238E27FC236}">
                      <a16:creationId xmlns:a16="http://schemas.microsoft.com/office/drawing/2014/main" id="{D657E527-044F-4466-89B1-5053D7091552}"/>
                    </a:ext>
                  </a:extLst>
                </p:cNvPr>
                <p:cNvSpPr/>
                <p:nvPr/>
              </p:nvSpPr>
              <p:spPr>
                <a:xfrm>
                  <a:off x="7139942" y="-1592579"/>
                  <a:ext cx="381000" cy="380999"/>
                </a:xfrm>
                <a:custGeom>
                  <a:avLst/>
                  <a:gdLst>
                    <a:gd name="connsiteX0" fmla="*/ 190500 w 381000"/>
                    <a:gd name="connsiteY0" fmla="*/ 380999 h 380999"/>
                    <a:gd name="connsiteX1" fmla="*/ 0 w 381000"/>
                    <a:gd name="connsiteY1" fmla="*/ 190500 h 380999"/>
                    <a:gd name="connsiteX2" fmla="*/ 190500 w 381000"/>
                    <a:gd name="connsiteY2" fmla="*/ 0 h 380999"/>
                    <a:gd name="connsiteX3" fmla="*/ 381001 w 381000"/>
                    <a:gd name="connsiteY3" fmla="*/ 190500 h 380999"/>
                    <a:gd name="connsiteX4" fmla="*/ 190500 w 381000"/>
                    <a:gd name="connsiteY4" fmla="*/ 380999 h 380999"/>
                    <a:gd name="connsiteX5" fmla="*/ 190500 w 381000"/>
                    <a:gd name="connsiteY5" fmla="*/ 38100 h 380999"/>
                    <a:gd name="connsiteX6" fmla="*/ 38100 w 381000"/>
                    <a:gd name="connsiteY6" fmla="*/ 190500 h 380999"/>
                    <a:gd name="connsiteX7" fmla="*/ 190500 w 381000"/>
                    <a:gd name="connsiteY7" fmla="*/ 342900 h 380999"/>
                    <a:gd name="connsiteX8" fmla="*/ 342901 w 381000"/>
                    <a:gd name="connsiteY8" fmla="*/ 190500 h 380999"/>
                    <a:gd name="connsiteX9" fmla="*/ 190500 w 381000"/>
                    <a:gd name="connsiteY9" fmla="*/ 38100 h 38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380999">
                      <a:moveTo>
                        <a:pt x="190500" y="380999"/>
                      </a:moveTo>
                      <a:cubicBezTo>
                        <a:pt x="83820" y="380999"/>
                        <a:pt x="0" y="297180"/>
                        <a:pt x="0" y="190500"/>
                      </a:cubicBezTo>
                      <a:cubicBezTo>
                        <a:pt x="0" y="83820"/>
                        <a:pt x="83820" y="0"/>
                        <a:pt x="190500" y="0"/>
                      </a:cubicBezTo>
                      <a:cubicBezTo>
                        <a:pt x="297180" y="0"/>
                        <a:pt x="381001" y="83820"/>
                        <a:pt x="381001" y="190500"/>
                      </a:cubicBezTo>
                      <a:cubicBezTo>
                        <a:pt x="377191" y="293370"/>
                        <a:pt x="293370" y="380999"/>
                        <a:pt x="190500" y="380999"/>
                      </a:cubicBezTo>
                      <a:close/>
                      <a:moveTo>
                        <a:pt x="190500" y="38100"/>
                      </a:moveTo>
                      <a:cubicBezTo>
                        <a:pt x="106680" y="38100"/>
                        <a:pt x="38100" y="106680"/>
                        <a:pt x="38100" y="190500"/>
                      </a:cubicBezTo>
                      <a:cubicBezTo>
                        <a:pt x="38100" y="274320"/>
                        <a:pt x="106680" y="342900"/>
                        <a:pt x="190500" y="342900"/>
                      </a:cubicBezTo>
                      <a:cubicBezTo>
                        <a:pt x="274320" y="342900"/>
                        <a:pt x="342901" y="274320"/>
                        <a:pt x="342901" y="190500"/>
                      </a:cubicBezTo>
                      <a:cubicBezTo>
                        <a:pt x="339091" y="106680"/>
                        <a:pt x="274320" y="38100"/>
                        <a:pt x="190500" y="38100"/>
                      </a:cubicBezTo>
                      <a:close/>
                    </a:path>
                  </a:pathLst>
                </a:custGeom>
                <a:grpFill/>
                <a:ln w="38100" cap="flat">
                  <a:noFill/>
                  <a:prstDash val="solid"/>
                  <a:miter/>
                </a:ln>
              </p:spPr>
              <p:txBody>
                <a:bodyPr rtlCol="0" anchor="ctr"/>
                <a:lstStyle/>
                <a:p>
                  <a:endParaRPr lang="en-IN" dirty="0"/>
                </a:p>
              </p:txBody>
            </p:sp>
            <p:sp>
              <p:nvSpPr>
                <p:cNvPr id="350" name="Freeform: Shape 349">
                  <a:extLst>
                    <a:ext uri="{FF2B5EF4-FFF2-40B4-BE49-F238E27FC236}">
                      <a16:creationId xmlns:a16="http://schemas.microsoft.com/office/drawing/2014/main" id="{56439ACA-42A7-4A28-AFBB-A5CFE04C6F01}"/>
                    </a:ext>
                  </a:extLst>
                </p:cNvPr>
                <p:cNvSpPr/>
                <p:nvPr/>
              </p:nvSpPr>
              <p:spPr>
                <a:xfrm>
                  <a:off x="6926581" y="-1809749"/>
                  <a:ext cx="807721" cy="811528"/>
                </a:xfrm>
                <a:custGeom>
                  <a:avLst/>
                  <a:gdLst>
                    <a:gd name="connsiteX0" fmla="*/ 403861 w 807721"/>
                    <a:gd name="connsiteY0" fmla="*/ 811529 h 811528"/>
                    <a:gd name="connsiteX1" fmla="*/ 0 w 807721"/>
                    <a:gd name="connsiteY1" fmla="*/ 407669 h 811528"/>
                    <a:gd name="connsiteX2" fmla="*/ 403861 w 807721"/>
                    <a:gd name="connsiteY2" fmla="*/ 0 h 811528"/>
                    <a:gd name="connsiteX3" fmla="*/ 807722 w 807721"/>
                    <a:gd name="connsiteY3" fmla="*/ 403859 h 811528"/>
                    <a:gd name="connsiteX4" fmla="*/ 403861 w 807721"/>
                    <a:gd name="connsiteY4" fmla="*/ 811529 h 811528"/>
                    <a:gd name="connsiteX5" fmla="*/ 403861 w 807721"/>
                    <a:gd name="connsiteY5" fmla="*/ 38100 h 811528"/>
                    <a:gd name="connsiteX6" fmla="*/ 38100 w 807721"/>
                    <a:gd name="connsiteY6" fmla="*/ 403859 h 811528"/>
                    <a:gd name="connsiteX7" fmla="*/ 403861 w 807721"/>
                    <a:gd name="connsiteY7" fmla="*/ 769619 h 811528"/>
                    <a:gd name="connsiteX8" fmla="*/ 769621 w 807721"/>
                    <a:gd name="connsiteY8" fmla="*/ 403859 h 811528"/>
                    <a:gd name="connsiteX9" fmla="*/ 403861 w 807721"/>
                    <a:gd name="connsiteY9" fmla="*/ 38100 h 81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721" h="811528">
                      <a:moveTo>
                        <a:pt x="403861" y="811529"/>
                      </a:moveTo>
                      <a:cubicBezTo>
                        <a:pt x="179070" y="811529"/>
                        <a:pt x="0" y="628649"/>
                        <a:pt x="0" y="407669"/>
                      </a:cubicBezTo>
                      <a:cubicBezTo>
                        <a:pt x="0" y="186690"/>
                        <a:pt x="179070" y="0"/>
                        <a:pt x="403861" y="0"/>
                      </a:cubicBezTo>
                      <a:cubicBezTo>
                        <a:pt x="628651" y="0"/>
                        <a:pt x="807722" y="182880"/>
                        <a:pt x="807722" y="403859"/>
                      </a:cubicBezTo>
                      <a:cubicBezTo>
                        <a:pt x="807722" y="624839"/>
                        <a:pt x="624841" y="811529"/>
                        <a:pt x="403861" y="811529"/>
                      </a:cubicBezTo>
                      <a:close/>
                      <a:moveTo>
                        <a:pt x="403861" y="38100"/>
                      </a:moveTo>
                      <a:cubicBezTo>
                        <a:pt x="201930" y="38100"/>
                        <a:pt x="38100" y="201930"/>
                        <a:pt x="38100" y="403859"/>
                      </a:cubicBezTo>
                      <a:cubicBezTo>
                        <a:pt x="38100" y="605789"/>
                        <a:pt x="201930" y="769619"/>
                        <a:pt x="403861" y="769619"/>
                      </a:cubicBezTo>
                      <a:cubicBezTo>
                        <a:pt x="605791" y="769619"/>
                        <a:pt x="769621" y="605789"/>
                        <a:pt x="769621" y="403859"/>
                      </a:cubicBezTo>
                      <a:cubicBezTo>
                        <a:pt x="769621" y="205740"/>
                        <a:pt x="605791" y="38100"/>
                        <a:pt x="403861" y="38100"/>
                      </a:cubicBezTo>
                      <a:close/>
                    </a:path>
                  </a:pathLst>
                </a:custGeom>
                <a:grpFill/>
                <a:ln w="38100" cap="flat">
                  <a:noFill/>
                  <a:prstDash val="solid"/>
                  <a:miter/>
                </a:ln>
              </p:spPr>
              <p:txBody>
                <a:bodyPr rtlCol="0" anchor="ctr"/>
                <a:lstStyle/>
                <a:p>
                  <a:endParaRPr lang="en-IN" dirty="0"/>
                </a:p>
              </p:txBody>
            </p:sp>
            <p:sp>
              <p:nvSpPr>
                <p:cNvPr id="352" name="Freeform: Shape 351">
                  <a:extLst>
                    <a:ext uri="{FF2B5EF4-FFF2-40B4-BE49-F238E27FC236}">
                      <a16:creationId xmlns:a16="http://schemas.microsoft.com/office/drawing/2014/main" id="{600BCF6E-47D2-429E-B17B-EF03736B94B2}"/>
                    </a:ext>
                  </a:extLst>
                </p:cNvPr>
                <p:cNvSpPr/>
                <p:nvPr/>
              </p:nvSpPr>
              <p:spPr>
                <a:xfrm>
                  <a:off x="6736081" y="-2000249"/>
                  <a:ext cx="1188722" cy="1188718"/>
                </a:xfrm>
                <a:custGeom>
                  <a:avLst/>
                  <a:gdLst>
                    <a:gd name="connsiteX0" fmla="*/ 594361 w 1188722"/>
                    <a:gd name="connsiteY0" fmla="*/ 1188718 h 1188718"/>
                    <a:gd name="connsiteX1" fmla="*/ 0 w 1188722"/>
                    <a:gd name="connsiteY1" fmla="*/ 594359 h 1188718"/>
                    <a:gd name="connsiteX2" fmla="*/ 594361 w 1188722"/>
                    <a:gd name="connsiteY2" fmla="*/ 0 h 1188718"/>
                    <a:gd name="connsiteX3" fmla="*/ 1188722 w 1188722"/>
                    <a:gd name="connsiteY3" fmla="*/ 594359 h 1188718"/>
                    <a:gd name="connsiteX4" fmla="*/ 594361 w 1188722"/>
                    <a:gd name="connsiteY4" fmla="*/ 1188718 h 1188718"/>
                    <a:gd name="connsiteX5" fmla="*/ 594361 w 1188722"/>
                    <a:gd name="connsiteY5" fmla="*/ 41910 h 1188718"/>
                    <a:gd name="connsiteX6" fmla="*/ 38100 w 1188722"/>
                    <a:gd name="connsiteY6" fmla="*/ 598169 h 1188718"/>
                    <a:gd name="connsiteX7" fmla="*/ 594361 w 1188722"/>
                    <a:gd name="connsiteY7" fmla="*/ 1154428 h 1188718"/>
                    <a:gd name="connsiteX8" fmla="*/ 1150622 w 1188722"/>
                    <a:gd name="connsiteY8" fmla="*/ 598169 h 1188718"/>
                    <a:gd name="connsiteX9" fmla="*/ 594361 w 1188722"/>
                    <a:gd name="connsiteY9" fmla="*/ 41910 h 118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8722" h="1188718">
                      <a:moveTo>
                        <a:pt x="594361" y="1188718"/>
                      </a:moveTo>
                      <a:cubicBezTo>
                        <a:pt x="266701" y="1188718"/>
                        <a:pt x="0" y="922019"/>
                        <a:pt x="0" y="594359"/>
                      </a:cubicBezTo>
                      <a:cubicBezTo>
                        <a:pt x="0" y="266700"/>
                        <a:pt x="266701" y="0"/>
                        <a:pt x="594361" y="0"/>
                      </a:cubicBezTo>
                      <a:cubicBezTo>
                        <a:pt x="922022" y="0"/>
                        <a:pt x="1188722" y="266700"/>
                        <a:pt x="1188722" y="594359"/>
                      </a:cubicBezTo>
                      <a:cubicBezTo>
                        <a:pt x="1188722" y="922019"/>
                        <a:pt x="918212" y="1188718"/>
                        <a:pt x="594361" y="1188718"/>
                      </a:cubicBezTo>
                      <a:close/>
                      <a:moveTo>
                        <a:pt x="594361" y="41910"/>
                      </a:moveTo>
                      <a:cubicBezTo>
                        <a:pt x="289561" y="41910"/>
                        <a:pt x="38100" y="289560"/>
                        <a:pt x="38100" y="598169"/>
                      </a:cubicBezTo>
                      <a:cubicBezTo>
                        <a:pt x="38100" y="906779"/>
                        <a:pt x="285751" y="1154428"/>
                        <a:pt x="594361" y="1154428"/>
                      </a:cubicBezTo>
                      <a:cubicBezTo>
                        <a:pt x="902972" y="1154428"/>
                        <a:pt x="1150622" y="906779"/>
                        <a:pt x="1150622" y="598169"/>
                      </a:cubicBezTo>
                      <a:cubicBezTo>
                        <a:pt x="1150622" y="289560"/>
                        <a:pt x="899162" y="41910"/>
                        <a:pt x="594361" y="41910"/>
                      </a:cubicBezTo>
                      <a:close/>
                    </a:path>
                  </a:pathLst>
                </a:custGeom>
                <a:grpFill/>
                <a:ln w="38100" cap="flat">
                  <a:noFill/>
                  <a:prstDash val="solid"/>
                  <a:miter/>
                </a:ln>
              </p:spPr>
              <p:txBody>
                <a:bodyPr rtlCol="0" anchor="ctr"/>
                <a:lstStyle/>
                <a:p>
                  <a:endParaRPr lang="en-IN" dirty="0"/>
                </a:p>
              </p:txBody>
            </p:sp>
          </p:grpSp>
          <p:cxnSp>
            <p:nvCxnSpPr>
              <p:cNvPr id="301" name="Straight Connector 300">
                <a:extLst>
                  <a:ext uri="{FF2B5EF4-FFF2-40B4-BE49-F238E27FC236}">
                    <a16:creationId xmlns:a16="http://schemas.microsoft.com/office/drawing/2014/main" id="{4BCB1182-B85A-47BF-A2B2-3B1F0105400C}"/>
                  </a:ext>
                </a:extLst>
              </p:cNvPr>
              <p:cNvCxnSpPr>
                <a:cxnSpLocks/>
              </p:cNvCxnSpPr>
              <p:nvPr/>
            </p:nvCxnSpPr>
            <p:spPr>
              <a:xfrm flipV="1">
                <a:off x="6399434" y="3800584"/>
                <a:ext cx="819367" cy="1"/>
              </a:xfrm>
              <a:prstGeom prst="line">
                <a:avLst/>
              </a:prstGeom>
              <a:ln w="34925">
                <a:solidFill>
                  <a:schemeClr val="bg2"/>
                </a:solidFill>
              </a:ln>
            </p:spPr>
            <p:style>
              <a:lnRef idx="1">
                <a:schemeClr val="accent1"/>
              </a:lnRef>
              <a:fillRef idx="0">
                <a:schemeClr val="accent1"/>
              </a:fillRef>
              <a:effectRef idx="0">
                <a:schemeClr val="accent1"/>
              </a:effectRef>
              <a:fontRef idx="minor">
                <a:schemeClr val="tx1"/>
              </a:fontRef>
            </p:style>
          </p:cxnSp>
          <p:sp>
            <p:nvSpPr>
              <p:cNvPr id="305" name="Rectangle 304">
                <a:extLst>
                  <a:ext uri="{FF2B5EF4-FFF2-40B4-BE49-F238E27FC236}">
                    <a16:creationId xmlns:a16="http://schemas.microsoft.com/office/drawing/2014/main" id="{6A709198-846F-4249-957E-61A3107F45D1}"/>
                  </a:ext>
                </a:extLst>
              </p:cNvPr>
              <p:cNvSpPr/>
              <p:nvPr/>
            </p:nvSpPr>
            <p:spPr>
              <a:xfrm>
                <a:off x="6330560" y="3814529"/>
                <a:ext cx="899461" cy="475776"/>
              </a:xfrm>
              <a:prstGeom prst="rect">
                <a:avLst/>
              </a:prstGeom>
              <a:solidFill>
                <a:srgbClr val="3D7A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3735842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3" name="Group 402">
            <a:extLst>
              <a:ext uri="{FF2B5EF4-FFF2-40B4-BE49-F238E27FC236}">
                <a16:creationId xmlns:a16="http://schemas.microsoft.com/office/drawing/2014/main" id="{11DA9C0C-E94C-46CC-86D3-5D7AFD2FC3DF}"/>
              </a:ext>
            </a:extLst>
          </p:cNvPr>
          <p:cNvGrpSpPr/>
          <p:nvPr/>
        </p:nvGrpSpPr>
        <p:grpSpPr>
          <a:xfrm>
            <a:off x="3139594" y="2049123"/>
            <a:ext cx="1028492" cy="1028492"/>
            <a:chOff x="2060713" y="2025546"/>
            <a:chExt cx="2209800" cy="2209800"/>
          </a:xfrm>
        </p:grpSpPr>
        <p:sp>
          <p:nvSpPr>
            <p:cNvPr id="404" name="Oval 403">
              <a:extLst>
                <a:ext uri="{FF2B5EF4-FFF2-40B4-BE49-F238E27FC236}">
                  <a16:creationId xmlns:a16="http://schemas.microsoft.com/office/drawing/2014/main" id="{66102E66-DD90-4A0C-B595-4FCD4AE7E059}"/>
                </a:ext>
              </a:extLst>
            </p:cNvPr>
            <p:cNvSpPr/>
            <p:nvPr/>
          </p:nvSpPr>
          <p:spPr>
            <a:xfrm>
              <a:off x="2060713" y="2025546"/>
              <a:ext cx="2209800" cy="2209800"/>
            </a:xfrm>
            <a:prstGeom prst="ellipse">
              <a:avLst/>
            </a:prstGeom>
            <a:solidFill>
              <a:schemeClr val="accent1">
                <a:alpha val="7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05" name="Graphic 33">
              <a:extLst>
                <a:ext uri="{FF2B5EF4-FFF2-40B4-BE49-F238E27FC236}">
                  <a16:creationId xmlns:a16="http://schemas.microsoft.com/office/drawing/2014/main" id="{457A40D2-5C50-4145-A429-DAF5D58A9F3C}"/>
                </a:ext>
              </a:extLst>
            </p:cNvPr>
            <p:cNvGrpSpPr/>
            <p:nvPr/>
          </p:nvGrpSpPr>
          <p:grpSpPr>
            <a:xfrm>
              <a:off x="2718075" y="2649636"/>
              <a:ext cx="895076" cy="961620"/>
              <a:chOff x="2647943" y="-1912619"/>
              <a:chExt cx="1024892" cy="1101088"/>
            </a:xfrm>
            <a:solidFill>
              <a:schemeClr val="bg2"/>
            </a:solidFill>
          </p:grpSpPr>
          <p:sp>
            <p:nvSpPr>
              <p:cNvPr id="406" name="Freeform: Shape 405">
                <a:extLst>
                  <a:ext uri="{FF2B5EF4-FFF2-40B4-BE49-F238E27FC236}">
                    <a16:creationId xmlns:a16="http://schemas.microsoft.com/office/drawing/2014/main" id="{A896DF45-8598-451F-B122-6CD4C7C6A442}"/>
                  </a:ext>
                </a:extLst>
              </p:cNvPr>
              <p:cNvSpPr/>
              <p:nvPr/>
            </p:nvSpPr>
            <p:spPr>
              <a:xfrm>
                <a:off x="3036563" y="-1523999"/>
                <a:ext cx="270681" cy="712468"/>
              </a:xfrm>
              <a:custGeom>
                <a:avLst/>
                <a:gdLst>
                  <a:gd name="connsiteX0" fmla="*/ 198120 w 270681"/>
                  <a:gd name="connsiteY0" fmla="*/ 712469 h 712468"/>
                  <a:gd name="connsiteX1" fmla="*/ 163830 w 270681"/>
                  <a:gd name="connsiteY1" fmla="*/ 697229 h 712468"/>
                  <a:gd name="connsiteX2" fmla="*/ 213360 w 270681"/>
                  <a:gd name="connsiteY2" fmla="*/ 91440 h 712468"/>
                  <a:gd name="connsiteX3" fmla="*/ 129540 w 270681"/>
                  <a:gd name="connsiteY3" fmla="*/ 34290 h 712468"/>
                  <a:gd name="connsiteX4" fmla="*/ 38100 w 270681"/>
                  <a:gd name="connsiteY4" fmla="*/ 125730 h 712468"/>
                  <a:gd name="connsiteX5" fmla="*/ 41910 w 270681"/>
                  <a:gd name="connsiteY5" fmla="*/ 148590 h 712468"/>
                  <a:gd name="connsiteX6" fmla="*/ 38100 w 270681"/>
                  <a:gd name="connsiteY6" fmla="*/ 601979 h 712468"/>
                  <a:gd name="connsiteX7" fmla="*/ 0 w 270681"/>
                  <a:gd name="connsiteY7" fmla="*/ 590549 h 712468"/>
                  <a:gd name="connsiteX8" fmla="*/ 3810 w 270681"/>
                  <a:gd name="connsiteY8" fmla="*/ 160020 h 712468"/>
                  <a:gd name="connsiteX9" fmla="*/ 0 w 270681"/>
                  <a:gd name="connsiteY9" fmla="*/ 129540 h 712468"/>
                  <a:gd name="connsiteX10" fmla="*/ 129540 w 270681"/>
                  <a:gd name="connsiteY10" fmla="*/ 0 h 712468"/>
                  <a:gd name="connsiteX11" fmla="*/ 251460 w 270681"/>
                  <a:gd name="connsiteY11" fmla="*/ 83820 h 712468"/>
                  <a:gd name="connsiteX12" fmla="*/ 198120 w 270681"/>
                  <a:gd name="connsiteY12" fmla="*/ 712469 h 712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0681" h="712468">
                    <a:moveTo>
                      <a:pt x="198120" y="712469"/>
                    </a:moveTo>
                    <a:lnTo>
                      <a:pt x="163830" y="697229"/>
                    </a:lnTo>
                    <a:cubicBezTo>
                      <a:pt x="281941" y="396239"/>
                      <a:pt x="213360" y="95250"/>
                      <a:pt x="213360" y="91440"/>
                    </a:cubicBezTo>
                    <a:cubicBezTo>
                      <a:pt x="201930" y="57150"/>
                      <a:pt x="167640" y="34290"/>
                      <a:pt x="129540" y="34290"/>
                    </a:cubicBezTo>
                    <a:cubicBezTo>
                      <a:pt x="80010" y="34290"/>
                      <a:pt x="38100" y="76200"/>
                      <a:pt x="38100" y="125730"/>
                    </a:cubicBezTo>
                    <a:cubicBezTo>
                      <a:pt x="38100" y="133350"/>
                      <a:pt x="38100" y="140970"/>
                      <a:pt x="41910" y="148590"/>
                    </a:cubicBezTo>
                    <a:cubicBezTo>
                      <a:pt x="45720" y="156210"/>
                      <a:pt x="110490" y="388619"/>
                      <a:pt x="38100" y="601979"/>
                    </a:cubicBezTo>
                    <a:lnTo>
                      <a:pt x="0" y="590549"/>
                    </a:lnTo>
                    <a:cubicBezTo>
                      <a:pt x="68580" y="388619"/>
                      <a:pt x="3810" y="160020"/>
                      <a:pt x="3810" y="160020"/>
                    </a:cubicBezTo>
                    <a:cubicBezTo>
                      <a:pt x="0" y="148590"/>
                      <a:pt x="0" y="137160"/>
                      <a:pt x="0" y="129540"/>
                    </a:cubicBezTo>
                    <a:cubicBezTo>
                      <a:pt x="0" y="57150"/>
                      <a:pt x="57150" y="0"/>
                      <a:pt x="129540" y="0"/>
                    </a:cubicBezTo>
                    <a:cubicBezTo>
                      <a:pt x="182880" y="0"/>
                      <a:pt x="232410" y="34290"/>
                      <a:pt x="251460" y="83820"/>
                    </a:cubicBezTo>
                    <a:cubicBezTo>
                      <a:pt x="251460" y="99060"/>
                      <a:pt x="320041" y="400049"/>
                      <a:pt x="198120" y="712469"/>
                    </a:cubicBezTo>
                    <a:close/>
                  </a:path>
                </a:pathLst>
              </a:custGeom>
              <a:grpFill/>
              <a:ln w="38100" cap="flat">
                <a:noFill/>
                <a:prstDash val="solid"/>
                <a:miter/>
              </a:ln>
            </p:spPr>
            <p:txBody>
              <a:bodyPr rtlCol="0" anchor="ctr"/>
              <a:lstStyle/>
              <a:p>
                <a:endParaRPr lang="en-IN" dirty="0"/>
              </a:p>
            </p:txBody>
          </p:sp>
          <p:sp>
            <p:nvSpPr>
              <p:cNvPr id="407" name="Freeform: Shape 406">
                <a:extLst>
                  <a:ext uri="{FF2B5EF4-FFF2-40B4-BE49-F238E27FC236}">
                    <a16:creationId xmlns:a16="http://schemas.microsoft.com/office/drawing/2014/main" id="{4559EA7D-E793-4970-B67E-65AB79746E10}"/>
                  </a:ext>
                </a:extLst>
              </p:cNvPr>
              <p:cNvSpPr/>
              <p:nvPr/>
            </p:nvSpPr>
            <p:spPr>
              <a:xfrm>
                <a:off x="2884163" y="-1661159"/>
                <a:ext cx="575966" cy="788668"/>
              </a:xfrm>
              <a:custGeom>
                <a:avLst/>
                <a:gdLst>
                  <a:gd name="connsiteX0" fmla="*/ 30480 w 575966"/>
                  <a:gd name="connsiteY0" fmla="*/ 788669 h 788668"/>
                  <a:gd name="connsiteX1" fmla="*/ 0 w 575966"/>
                  <a:gd name="connsiteY1" fmla="*/ 769619 h 788668"/>
                  <a:gd name="connsiteX2" fmla="*/ 22860 w 575966"/>
                  <a:gd name="connsiteY2" fmla="*/ 293370 h 788668"/>
                  <a:gd name="connsiteX3" fmla="*/ 19050 w 575966"/>
                  <a:gd name="connsiteY3" fmla="*/ 228600 h 788668"/>
                  <a:gd name="connsiteX4" fmla="*/ 278131 w 575966"/>
                  <a:gd name="connsiteY4" fmla="*/ 0 h 788668"/>
                  <a:gd name="connsiteX5" fmla="*/ 514351 w 575966"/>
                  <a:gd name="connsiteY5" fmla="*/ 144780 h 788668"/>
                  <a:gd name="connsiteX6" fmla="*/ 552451 w 575966"/>
                  <a:gd name="connsiteY6" fmla="*/ 693419 h 788668"/>
                  <a:gd name="connsiteX7" fmla="*/ 514351 w 575966"/>
                  <a:gd name="connsiteY7" fmla="*/ 685799 h 788668"/>
                  <a:gd name="connsiteX8" fmla="*/ 480061 w 575966"/>
                  <a:gd name="connsiteY8" fmla="*/ 163830 h 788668"/>
                  <a:gd name="connsiteX9" fmla="*/ 278131 w 575966"/>
                  <a:gd name="connsiteY9" fmla="*/ 38100 h 788668"/>
                  <a:gd name="connsiteX10" fmla="*/ 57150 w 575966"/>
                  <a:gd name="connsiteY10" fmla="*/ 232410 h 788668"/>
                  <a:gd name="connsiteX11" fmla="*/ 60960 w 575966"/>
                  <a:gd name="connsiteY11" fmla="*/ 281940 h 788668"/>
                  <a:gd name="connsiteX12" fmla="*/ 30480 w 575966"/>
                  <a:gd name="connsiteY12" fmla="*/ 788669 h 788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966" h="788668">
                    <a:moveTo>
                      <a:pt x="30480" y="788669"/>
                    </a:moveTo>
                    <a:lnTo>
                      <a:pt x="0" y="769619"/>
                    </a:lnTo>
                    <a:cubicBezTo>
                      <a:pt x="91440" y="628649"/>
                      <a:pt x="30480" y="327660"/>
                      <a:pt x="22860" y="293370"/>
                    </a:cubicBezTo>
                    <a:cubicBezTo>
                      <a:pt x="19050" y="270510"/>
                      <a:pt x="15240" y="247650"/>
                      <a:pt x="19050" y="228600"/>
                    </a:cubicBezTo>
                    <a:cubicBezTo>
                      <a:pt x="38100" y="99060"/>
                      <a:pt x="148590" y="0"/>
                      <a:pt x="278131" y="0"/>
                    </a:cubicBezTo>
                    <a:cubicBezTo>
                      <a:pt x="377191" y="0"/>
                      <a:pt x="468631" y="57150"/>
                      <a:pt x="514351" y="144780"/>
                    </a:cubicBezTo>
                    <a:cubicBezTo>
                      <a:pt x="518161" y="152400"/>
                      <a:pt x="621031" y="358139"/>
                      <a:pt x="552451" y="693419"/>
                    </a:cubicBezTo>
                    <a:lnTo>
                      <a:pt x="514351" y="685799"/>
                    </a:lnTo>
                    <a:cubicBezTo>
                      <a:pt x="579121" y="365759"/>
                      <a:pt x="480061" y="163830"/>
                      <a:pt x="480061" y="163830"/>
                    </a:cubicBezTo>
                    <a:cubicBezTo>
                      <a:pt x="441961" y="87630"/>
                      <a:pt x="365761" y="38100"/>
                      <a:pt x="278131" y="38100"/>
                    </a:cubicBezTo>
                    <a:cubicBezTo>
                      <a:pt x="167640" y="38100"/>
                      <a:pt x="68580" y="121920"/>
                      <a:pt x="57150" y="232410"/>
                    </a:cubicBezTo>
                    <a:cubicBezTo>
                      <a:pt x="53340" y="247650"/>
                      <a:pt x="57150" y="262890"/>
                      <a:pt x="60960" y="281940"/>
                    </a:cubicBezTo>
                    <a:cubicBezTo>
                      <a:pt x="72390" y="342899"/>
                      <a:pt x="125730" y="640079"/>
                      <a:pt x="30480" y="788669"/>
                    </a:cubicBezTo>
                    <a:close/>
                  </a:path>
                </a:pathLst>
              </a:custGeom>
              <a:grpFill/>
              <a:ln w="38100" cap="flat">
                <a:noFill/>
                <a:prstDash val="solid"/>
                <a:miter/>
              </a:ln>
            </p:spPr>
            <p:txBody>
              <a:bodyPr rtlCol="0" anchor="ctr"/>
              <a:lstStyle/>
              <a:p>
                <a:endParaRPr lang="en-IN" dirty="0"/>
              </a:p>
            </p:txBody>
          </p:sp>
          <p:sp>
            <p:nvSpPr>
              <p:cNvPr id="408" name="Freeform: Shape 407">
                <a:extLst>
                  <a:ext uri="{FF2B5EF4-FFF2-40B4-BE49-F238E27FC236}">
                    <a16:creationId xmlns:a16="http://schemas.microsoft.com/office/drawing/2014/main" id="{16B84CAF-B455-4006-8C98-57BC87F5916B}"/>
                  </a:ext>
                </a:extLst>
              </p:cNvPr>
              <p:cNvSpPr/>
              <p:nvPr/>
            </p:nvSpPr>
            <p:spPr>
              <a:xfrm>
                <a:off x="2682233" y="-1798319"/>
                <a:ext cx="904665" cy="895348"/>
              </a:xfrm>
              <a:custGeom>
                <a:avLst/>
                <a:gdLst>
                  <a:gd name="connsiteX0" fmla="*/ 857252 w 904665"/>
                  <a:gd name="connsiteY0" fmla="*/ 895349 h 895348"/>
                  <a:gd name="connsiteX1" fmla="*/ 819152 w 904665"/>
                  <a:gd name="connsiteY1" fmla="*/ 883919 h 895348"/>
                  <a:gd name="connsiteX2" fmla="*/ 815342 w 904665"/>
                  <a:gd name="connsiteY2" fmla="*/ 270510 h 895348"/>
                  <a:gd name="connsiteX3" fmla="*/ 480061 w 904665"/>
                  <a:gd name="connsiteY3" fmla="*/ 41910 h 895348"/>
                  <a:gd name="connsiteX4" fmla="*/ 133350 w 904665"/>
                  <a:gd name="connsiteY4" fmla="*/ 300990 h 895348"/>
                  <a:gd name="connsiteX5" fmla="*/ 125730 w 904665"/>
                  <a:gd name="connsiteY5" fmla="*/ 438149 h 895348"/>
                  <a:gd name="connsiteX6" fmla="*/ 19050 w 904665"/>
                  <a:gd name="connsiteY6" fmla="*/ 796289 h 895348"/>
                  <a:gd name="connsiteX7" fmla="*/ 0 w 904665"/>
                  <a:gd name="connsiteY7" fmla="*/ 761999 h 895348"/>
                  <a:gd name="connsiteX8" fmla="*/ 87630 w 904665"/>
                  <a:gd name="connsiteY8" fmla="*/ 438149 h 895348"/>
                  <a:gd name="connsiteX9" fmla="*/ 99060 w 904665"/>
                  <a:gd name="connsiteY9" fmla="*/ 285750 h 895348"/>
                  <a:gd name="connsiteX10" fmla="*/ 483871 w 904665"/>
                  <a:gd name="connsiteY10" fmla="*/ 0 h 895348"/>
                  <a:gd name="connsiteX11" fmla="*/ 857252 w 904665"/>
                  <a:gd name="connsiteY11" fmla="*/ 255270 h 895348"/>
                  <a:gd name="connsiteX12" fmla="*/ 857252 w 904665"/>
                  <a:gd name="connsiteY12" fmla="*/ 895349 h 89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4665" h="895348">
                    <a:moveTo>
                      <a:pt x="857252" y="895349"/>
                    </a:moveTo>
                    <a:lnTo>
                      <a:pt x="819152" y="883919"/>
                    </a:lnTo>
                    <a:cubicBezTo>
                      <a:pt x="922022" y="552449"/>
                      <a:pt x="815342" y="274320"/>
                      <a:pt x="815342" y="270510"/>
                    </a:cubicBezTo>
                    <a:cubicBezTo>
                      <a:pt x="762002" y="129540"/>
                      <a:pt x="628651" y="41910"/>
                      <a:pt x="480061" y="41910"/>
                    </a:cubicBezTo>
                    <a:cubicBezTo>
                      <a:pt x="320041" y="41910"/>
                      <a:pt x="179070" y="148590"/>
                      <a:pt x="133350" y="300990"/>
                    </a:cubicBezTo>
                    <a:cubicBezTo>
                      <a:pt x="121920" y="342899"/>
                      <a:pt x="118110" y="388619"/>
                      <a:pt x="125730" y="438149"/>
                    </a:cubicBezTo>
                    <a:cubicBezTo>
                      <a:pt x="137160" y="521969"/>
                      <a:pt x="144780" y="723899"/>
                      <a:pt x="19050" y="796289"/>
                    </a:cubicBezTo>
                    <a:lnTo>
                      <a:pt x="0" y="761999"/>
                    </a:lnTo>
                    <a:cubicBezTo>
                      <a:pt x="106680" y="701039"/>
                      <a:pt x="95250" y="514349"/>
                      <a:pt x="87630" y="438149"/>
                    </a:cubicBezTo>
                    <a:cubicBezTo>
                      <a:pt x="80010" y="380999"/>
                      <a:pt x="83820" y="331469"/>
                      <a:pt x="99060" y="285750"/>
                    </a:cubicBezTo>
                    <a:cubicBezTo>
                      <a:pt x="148590" y="118110"/>
                      <a:pt x="304801" y="0"/>
                      <a:pt x="483871" y="0"/>
                    </a:cubicBezTo>
                    <a:cubicBezTo>
                      <a:pt x="651511" y="0"/>
                      <a:pt x="796292" y="99060"/>
                      <a:pt x="857252" y="255270"/>
                    </a:cubicBezTo>
                    <a:cubicBezTo>
                      <a:pt x="857252" y="270510"/>
                      <a:pt x="963932" y="552449"/>
                      <a:pt x="857252" y="895349"/>
                    </a:cubicBezTo>
                    <a:close/>
                  </a:path>
                </a:pathLst>
              </a:custGeom>
              <a:grpFill/>
              <a:ln w="38100" cap="flat">
                <a:noFill/>
                <a:prstDash val="solid"/>
                <a:miter/>
              </a:ln>
            </p:spPr>
            <p:txBody>
              <a:bodyPr rtlCol="0" anchor="ctr"/>
              <a:lstStyle/>
              <a:p>
                <a:endParaRPr lang="en-IN" dirty="0"/>
              </a:p>
            </p:txBody>
          </p:sp>
          <p:sp>
            <p:nvSpPr>
              <p:cNvPr id="409" name="Freeform: Shape 408">
                <a:extLst>
                  <a:ext uri="{FF2B5EF4-FFF2-40B4-BE49-F238E27FC236}">
                    <a16:creationId xmlns:a16="http://schemas.microsoft.com/office/drawing/2014/main" id="{444F3CDA-EF51-4AE0-8C16-33D8FD2AC0BE}"/>
                  </a:ext>
                </a:extLst>
              </p:cNvPr>
              <p:cNvSpPr/>
              <p:nvPr/>
            </p:nvSpPr>
            <p:spPr>
              <a:xfrm>
                <a:off x="2647943" y="-1912619"/>
                <a:ext cx="1024892" cy="670558"/>
              </a:xfrm>
              <a:custGeom>
                <a:avLst/>
                <a:gdLst>
                  <a:gd name="connsiteX0" fmla="*/ 22860 w 1024892"/>
                  <a:gd name="connsiteY0" fmla="*/ 670559 h 670558"/>
                  <a:gd name="connsiteX1" fmla="*/ 0 w 1024892"/>
                  <a:gd name="connsiteY1" fmla="*/ 518159 h 670558"/>
                  <a:gd name="connsiteX2" fmla="*/ 514351 w 1024892"/>
                  <a:gd name="connsiteY2" fmla="*/ 0 h 670558"/>
                  <a:gd name="connsiteX3" fmla="*/ 1024892 w 1024892"/>
                  <a:gd name="connsiteY3" fmla="*/ 438149 h 670558"/>
                  <a:gd name="connsiteX4" fmla="*/ 986792 w 1024892"/>
                  <a:gd name="connsiteY4" fmla="*/ 441959 h 670558"/>
                  <a:gd name="connsiteX5" fmla="*/ 514351 w 1024892"/>
                  <a:gd name="connsiteY5" fmla="*/ 38100 h 670558"/>
                  <a:gd name="connsiteX6" fmla="*/ 38100 w 1024892"/>
                  <a:gd name="connsiteY6" fmla="*/ 514349 h 670558"/>
                  <a:gd name="connsiteX7" fmla="*/ 60960 w 1024892"/>
                  <a:gd name="connsiteY7" fmla="*/ 655319 h 670558"/>
                  <a:gd name="connsiteX8" fmla="*/ 22860 w 1024892"/>
                  <a:gd name="connsiteY8" fmla="*/ 670559 h 67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4892" h="670558">
                    <a:moveTo>
                      <a:pt x="22860" y="670559"/>
                    </a:moveTo>
                    <a:cubicBezTo>
                      <a:pt x="7620" y="621029"/>
                      <a:pt x="0" y="571499"/>
                      <a:pt x="0" y="518159"/>
                    </a:cubicBezTo>
                    <a:cubicBezTo>
                      <a:pt x="0" y="232410"/>
                      <a:pt x="232410" y="0"/>
                      <a:pt x="514351" y="0"/>
                    </a:cubicBezTo>
                    <a:cubicBezTo>
                      <a:pt x="769622" y="0"/>
                      <a:pt x="986792" y="190500"/>
                      <a:pt x="1024892" y="438149"/>
                    </a:cubicBezTo>
                    <a:lnTo>
                      <a:pt x="986792" y="441959"/>
                    </a:lnTo>
                    <a:cubicBezTo>
                      <a:pt x="952502" y="213360"/>
                      <a:pt x="750572" y="38100"/>
                      <a:pt x="514351" y="38100"/>
                    </a:cubicBezTo>
                    <a:cubicBezTo>
                      <a:pt x="251461" y="38100"/>
                      <a:pt x="38100" y="251460"/>
                      <a:pt x="38100" y="514349"/>
                    </a:cubicBezTo>
                    <a:cubicBezTo>
                      <a:pt x="38100" y="563879"/>
                      <a:pt x="45720" y="609599"/>
                      <a:pt x="60960" y="655319"/>
                    </a:cubicBezTo>
                    <a:lnTo>
                      <a:pt x="22860" y="670559"/>
                    </a:lnTo>
                    <a:close/>
                  </a:path>
                </a:pathLst>
              </a:custGeom>
              <a:grpFill/>
              <a:ln w="38100" cap="flat">
                <a:noFill/>
                <a:prstDash val="solid"/>
                <a:miter/>
              </a:ln>
            </p:spPr>
            <p:txBody>
              <a:bodyPr rtlCol="0" anchor="ctr"/>
              <a:lstStyle/>
              <a:p>
                <a:endParaRPr lang="en-IN" dirty="0"/>
              </a:p>
            </p:txBody>
          </p:sp>
          <p:sp>
            <p:nvSpPr>
              <p:cNvPr id="410" name="Freeform: Shape 409">
                <a:extLst>
                  <a:ext uri="{FF2B5EF4-FFF2-40B4-BE49-F238E27FC236}">
                    <a16:creationId xmlns:a16="http://schemas.microsoft.com/office/drawing/2014/main" id="{739CE3E8-C49B-4C2C-8DE9-2E6A94934D55}"/>
                  </a:ext>
                </a:extLst>
              </p:cNvPr>
              <p:cNvSpPr/>
              <p:nvPr/>
            </p:nvSpPr>
            <p:spPr>
              <a:xfrm>
                <a:off x="3143244" y="-1421129"/>
                <a:ext cx="63935" cy="339089"/>
              </a:xfrm>
              <a:custGeom>
                <a:avLst/>
                <a:gdLst>
                  <a:gd name="connsiteX0" fmla="*/ 49530 w 63935"/>
                  <a:gd name="connsiteY0" fmla="*/ 339089 h 339089"/>
                  <a:gd name="connsiteX1" fmla="*/ 11430 w 63935"/>
                  <a:gd name="connsiteY1" fmla="*/ 331469 h 339089"/>
                  <a:gd name="connsiteX2" fmla="*/ 0 w 63935"/>
                  <a:gd name="connsiteY2" fmla="*/ 11430 h 339089"/>
                  <a:gd name="connsiteX3" fmla="*/ 38100 w 63935"/>
                  <a:gd name="connsiteY3" fmla="*/ 0 h 339089"/>
                  <a:gd name="connsiteX4" fmla="*/ 49530 w 63935"/>
                  <a:gd name="connsiteY4" fmla="*/ 339089 h 3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35" h="339089">
                    <a:moveTo>
                      <a:pt x="49530" y="339089"/>
                    </a:moveTo>
                    <a:lnTo>
                      <a:pt x="11430" y="331469"/>
                    </a:lnTo>
                    <a:cubicBezTo>
                      <a:pt x="49530" y="179070"/>
                      <a:pt x="0" y="11430"/>
                      <a:pt x="0" y="11430"/>
                    </a:cubicBezTo>
                    <a:lnTo>
                      <a:pt x="38100" y="0"/>
                    </a:lnTo>
                    <a:cubicBezTo>
                      <a:pt x="38100" y="3810"/>
                      <a:pt x="87630" y="171450"/>
                      <a:pt x="49530" y="339089"/>
                    </a:cubicBezTo>
                    <a:close/>
                  </a:path>
                </a:pathLst>
              </a:custGeom>
              <a:grpFill/>
              <a:ln w="38100" cap="flat">
                <a:noFill/>
                <a:prstDash val="solid"/>
                <a:miter/>
              </a:ln>
            </p:spPr>
            <p:txBody>
              <a:bodyPr rtlCol="0" anchor="ctr"/>
              <a:lstStyle/>
              <a:p>
                <a:endParaRPr lang="en-IN" dirty="0"/>
              </a:p>
            </p:txBody>
          </p:sp>
        </p:grpSp>
      </p:grpSp>
      <p:sp>
        <p:nvSpPr>
          <p:cNvPr id="417" name="Google Shape;2115;p430">
            <a:extLst>
              <a:ext uri="{FF2B5EF4-FFF2-40B4-BE49-F238E27FC236}">
                <a16:creationId xmlns:a16="http://schemas.microsoft.com/office/drawing/2014/main" id="{B00CC00D-47DF-49EF-8A0D-CEA0F2B380F7}"/>
              </a:ext>
            </a:extLst>
          </p:cNvPr>
          <p:cNvSpPr txBox="1"/>
          <p:nvPr/>
        </p:nvSpPr>
        <p:spPr>
          <a:xfrm>
            <a:off x="855126" y="5664229"/>
            <a:ext cx="2201958" cy="430887"/>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AMP</a:t>
            </a:r>
            <a:br>
              <a:rPr lang="en-US" sz="1400" dirty="0">
                <a:solidFill>
                  <a:schemeClr val="bg1"/>
                </a:solidFill>
              </a:rPr>
            </a:br>
            <a:r>
              <a:rPr lang="en-US" sz="1400" dirty="0">
                <a:solidFill>
                  <a:schemeClr val="bg1"/>
                </a:solidFill>
              </a:rPr>
              <a:t>for Endpoints</a:t>
            </a:r>
          </a:p>
        </p:txBody>
      </p:sp>
      <p:grpSp>
        <p:nvGrpSpPr>
          <p:cNvPr id="419" name="Group 418">
            <a:extLst>
              <a:ext uri="{FF2B5EF4-FFF2-40B4-BE49-F238E27FC236}">
                <a16:creationId xmlns:a16="http://schemas.microsoft.com/office/drawing/2014/main" id="{E01DA8E8-8F59-4F0F-9A78-7EC1CE13653E}"/>
              </a:ext>
            </a:extLst>
          </p:cNvPr>
          <p:cNvGrpSpPr/>
          <p:nvPr/>
        </p:nvGrpSpPr>
        <p:grpSpPr>
          <a:xfrm>
            <a:off x="4449365" y="2890068"/>
            <a:ext cx="2908253" cy="2888993"/>
            <a:chOff x="4449365" y="3061518"/>
            <a:chExt cx="2908253" cy="2888993"/>
          </a:xfrm>
        </p:grpSpPr>
        <p:pic>
          <p:nvPicPr>
            <p:cNvPr id="420" name="Picture 419">
              <a:extLst>
                <a:ext uri="{FF2B5EF4-FFF2-40B4-BE49-F238E27FC236}">
                  <a16:creationId xmlns:a16="http://schemas.microsoft.com/office/drawing/2014/main" id="{1C12954F-F2D6-4FD4-A29C-7D6A5DA5F782}"/>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4566659" y="3291462"/>
              <a:ext cx="2790959" cy="2659049"/>
            </a:xfrm>
            <a:custGeom>
              <a:avLst/>
              <a:gdLst>
                <a:gd name="connsiteX0" fmla="*/ 566410 w 2790959"/>
                <a:gd name="connsiteY0" fmla="*/ 0 h 2659049"/>
                <a:gd name="connsiteX1" fmla="*/ 2126516 w 2790959"/>
                <a:gd name="connsiteY1" fmla="*/ 0 h 2659049"/>
                <a:gd name="connsiteX2" fmla="*/ 2154095 w 2790959"/>
                <a:gd name="connsiteY2" fmla="*/ 16754 h 2659049"/>
                <a:gd name="connsiteX3" fmla="*/ 2790959 w 2790959"/>
                <a:gd name="connsiteY3" fmla="*/ 1214553 h 2659049"/>
                <a:gd name="connsiteX4" fmla="*/ 1346463 w 2790959"/>
                <a:gd name="connsiteY4" fmla="*/ 2659049 h 2659049"/>
                <a:gd name="connsiteX5" fmla="*/ 15483 w 2790959"/>
                <a:gd name="connsiteY5" fmla="*/ 1776816 h 2659049"/>
                <a:gd name="connsiteX6" fmla="*/ 0 w 2790959"/>
                <a:gd name="connsiteY6" fmla="*/ 1734514 h 2659049"/>
                <a:gd name="connsiteX7" fmla="*/ 0 w 2790959"/>
                <a:gd name="connsiteY7" fmla="*/ 694592 h 2659049"/>
                <a:gd name="connsiteX8" fmla="*/ 15483 w 2790959"/>
                <a:gd name="connsiteY8" fmla="*/ 652290 h 2659049"/>
                <a:gd name="connsiteX9" fmla="*/ 538832 w 2790959"/>
                <a:gd name="connsiteY9" fmla="*/ 16754 h 265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0959" h="2659049">
                  <a:moveTo>
                    <a:pt x="566410" y="0"/>
                  </a:moveTo>
                  <a:lnTo>
                    <a:pt x="2126516" y="0"/>
                  </a:lnTo>
                  <a:lnTo>
                    <a:pt x="2154095" y="16754"/>
                  </a:lnTo>
                  <a:cubicBezTo>
                    <a:pt x="2538333" y="276341"/>
                    <a:pt x="2790959" y="715945"/>
                    <a:pt x="2790959" y="1214553"/>
                  </a:cubicBezTo>
                  <a:cubicBezTo>
                    <a:pt x="2790959" y="2012326"/>
                    <a:pt x="2144236" y="2659049"/>
                    <a:pt x="1346463" y="2659049"/>
                  </a:cubicBezTo>
                  <a:cubicBezTo>
                    <a:pt x="748134" y="2659049"/>
                    <a:pt x="234769" y="2295268"/>
                    <a:pt x="15483" y="1776816"/>
                  </a:cubicBezTo>
                  <a:lnTo>
                    <a:pt x="0" y="1734514"/>
                  </a:lnTo>
                  <a:lnTo>
                    <a:pt x="0" y="694592"/>
                  </a:lnTo>
                  <a:lnTo>
                    <a:pt x="15483" y="652290"/>
                  </a:lnTo>
                  <a:cubicBezTo>
                    <a:pt x="125126" y="393065"/>
                    <a:pt x="308289" y="172506"/>
                    <a:pt x="538832" y="16754"/>
                  </a:cubicBezTo>
                  <a:close/>
                </a:path>
              </a:pathLst>
            </a:custGeom>
          </p:spPr>
        </p:pic>
        <p:sp>
          <p:nvSpPr>
            <p:cNvPr id="421" name="Oval 420">
              <a:extLst>
                <a:ext uri="{FF2B5EF4-FFF2-40B4-BE49-F238E27FC236}">
                  <a16:creationId xmlns:a16="http://schemas.microsoft.com/office/drawing/2014/main" id="{DC696F66-0FCD-4206-9BB4-15692AD8078A}"/>
                </a:ext>
              </a:extLst>
            </p:cNvPr>
            <p:cNvSpPr/>
            <p:nvPr/>
          </p:nvSpPr>
          <p:spPr>
            <a:xfrm>
              <a:off x="4468625" y="3061518"/>
              <a:ext cx="2888991" cy="2888991"/>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22" name="Group 421">
              <a:extLst>
                <a:ext uri="{FF2B5EF4-FFF2-40B4-BE49-F238E27FC236}">
                  <a16:creationId xmlns:a16="http://schemas.microsoft.com/office/drawing/2014/main" id="{58227EE2-FC13-474B-BBEB-6C40C598F487}"/>
                </a:ext>
              </a:extLst>
            </p:cNvPr>
            <p:cNvGrpSpPr/>
            <p:nvPr/>
          </p:nvGrpSpPr>
          <p:grpSpPr>
            <a:xfrm rot="20432285" flipH="1">
              <a:off x="4449365" y="3755498"/>
              <a:ext cx="1426045" cy="1500991"/>
              <a:chOff x="7770951" y="3977103"/>
              <a:chExt cx="1426045" cy="1500991"/>
            </a:xfrm>
          </p:grpSpPr>
          <p:sp>
            <p:nvSpPr>
              <p:cNvPr id="432" name="Freeform: Shape 431">
                <a:extLst>
                  <a:ext uri="{FF2B5EF4-FFF2-40B4-BE49-F238E27FC236}">
                    <a16:creationId xmlns:a16="http://schemas.microsoft.com/office/drawing/2014/main" id="{7A0DF68D-3641-424D-8E89-C349BF8E34D2}"/>
                  </a:ext>
                </a:extLst>
              </p:cNvPr>
              <p:cNvSpPr/>
              <p:nvPr/>
            </p:nvSpPr>
            <p:spPr>
              <a:xfrm rot="7966944">
                <a:off x="7979694" y="4047526"/>
                <a:ext cx="1287725" cy="1146879"/>
              </a:xfrm>
              <a:custGeom>
                <a:avLst/>
                <a:gdLst>
                  <a:gd name="connsiteX0" fmla="*/ 427744 w 915678"/>
                  <a:gd name="connsiteY0" fmla="*/ 436995 h 815526"/>
                  <a:gd name="connsiteX1" fmla="*/ 428460 w 915678"/>
                  <a:gd name="connsiteY1" fmla="*/ 424405 h 815526"/>
                  <a:gd name="connsiteX2" fmla="*/ 441050 w 915678"/>
                  <a:gd name="connsiteY2" fmla="*/ 425120 h 815526"/>
                  <a:gd name="connsiteX3" fmla="*/ 440335 w 915678"/>
                  <a:gd name="connsiteY3" fmla="*/ 437711 h 815526"/>
                  <a:gd name="connsiteX4" fmla="*/ 427744 w 915678"/>
                  <a:gd name="connsiteY4" fmla="*/ 436995 h 815526"/>
                  <a:gd name="connsiteX5" fmla="*/ 390688 w 915678"/>
                  <a:gd name="connsiteY5" fmla="*/ 469759 h 815526"/>
                  <a:gd name="connsiteX6" fmla="*/ 402423 w 915678"/>
                  <a:gd name="connsiteY6" fmla="*/ 469762 h 815526"/>
                  <a:gd name="connsiteX7" fmla="*/ 402427 w 915678"/>
                  <a:gd name="connsiteY7" fmla="*/ 458027 h 815526"/>
                  <a:gd name="connsiteX8" fmla="*/ 390691 w 915678"/>
                  <a:gd name="connsiteY8" fmla="*/ 458024 h 815526"/>
                  <a:gd name="connsiteX9" fmla="*/ 390688 w 915678"/>
                  <a:gd name="connsiteY9" fmla="*/ 458027 h 815526"/>
                  <a:gd name="connsiteX10" fmla="*/ 390688 w 915678"/>
                  <a:gd name="connsiteY10" fmla="*/ 469759 h 815526"/>
                  <a:gd name="connsiteX11" fmla="*/ 353774 w 915678"/>
                  <a:gd name="connsiteY11" fmla="*/ 502523 h 815526"/>
                  <a:gd name="connsiteX12" fmla="*/ 364648 w 915678"/>
                  <a:gd name="connsiteY12" fmla="*/ 502523 h 815526"/>
                  <a:gd name="connsiteX13" fmla="*/ 364648 w 915678"/>
                  <a:gd name="connsiteY13" fmla="*/ 491650 h 815526"/>
                  <a:gd name="connsiteX14" fmla="*/ 353774 w 915678"/>
                  <a:gd name="connsiteY14" fmla="*/ 491650 h 815526"/>
                  <a:gd name="connsiteX15" fmla="*/ 352896 w 915678"/>
                  <a:gd name="connsiteY15" fmla="*/ 502337 h 815526"/>
                  <a:gd name="connsiteX16" fmla="*/ 353059 w 915678"/>
                  <a:gd name="connsiteY16" fmla="*/ 502523 h 815526"/>
                  <a:gd name="connsiteX17" fmla="*/ 316146 w 915678"/>
                  <a:gd name="connsiteY17" fmla="*/ 535145 h 815526"/>
                  <a:gd name="connsiteX18" fmla="*/ 326059 w 915678"/>
                  <a:gd name="connsiteY18" fmla="*/ 535246 h 815526"/>
                  <a:gd name="connsiteX19" fmla="*/ 326161 w 915678"/>
                  <a:gd name="connsiteY19" fmla="*/ 535145 h 815526"/>
                  <a:gd name="connsiteX20" fmla="*/ 326161 w 915678"/>
                  <a:gd name="connsiteY20" fmla="*/ 525129 h 815526"/>
                  <a:gd name="connsiteX21" fmla="*/ 316217 w 915678"/>
                  <a:gd name="connsiteY21" fmla="*/ 524485 h 815526"/>
                  <a:gd name="connsiteX22" fmla="*/ 315573 w 915678"/>
                  <a:gd name="connsiteY22" fmla="*/ 534429 h 815526"/>
                  <a:gd name="connsiteX23" fmla="*/ 280377 w 915678"/>
                  <a:gd name="connsiteY23" fmla="*/ 567479 h 815526"/>
                  <a:gd name="connsiteX24" fmla="*/ 289534 w 915678"/>
                  <a:gd name="connsiteY24" fmla="*/ 568052 h 815526"/>
                  <a:gd name="connsiteX25" fmla="*/ 290106 w 915678"/>
                  <a:gd name="connsiteY25" fmla="*/ 558895 h 815526"/>
                  <a:gd name="connsiteX26" fmla="*/ 280949 w 915678"/>
                  <a:gd name="connsiteY26" fmla="*/ 558323 h 815526"/>
                  <a:gd name="connsiteX27" fmla="*/ 280377 w 915678"/>
                  <a:gd name="connsiteY27" fmla="*/ 567479 h 815526"/>
                  <a:gd name="connsiteX28" fmla="*/ 243464 w 915678"/>
                  <a:gd name="connsiteY28" fmla="*/ 600244 h 815526"/>
                  <a:gd name="connsiteX29" fmla="*/ 251759 w 915678"/>
                  <a:gd name="connsiteY29" fmla="*/ 600241 h 815526"/>
                  <a:gd name="connsiteX30" fmla="*/ 251758 w 915678"/>
                  <a:gd name="connsiteY30" fmla="*/ 591945 h 815526"/>
                  <a:gd name="connsiteX31" fmla="*/ 243464 w 915678"/>
                  <a:gd name="connsiteY31" fmla="*/ 591945 h 815526"/>
                  <a:gd name="connsiteX32" fmla="*/ 243461 w 915678"/>
                  <a:gd name="connsiteY32" fmla="*/ 600241 h 815526"/>
                  <a:gd name="connsiteX33" fmla="*/ 243464 w 915678"/>
                  <a:gd name="connsiteY33" fmla="*/ 600244 h 815526"/>
                  <a:gd name="connsiteX34" fmla="*/ 206551 w 915678"/>
                  <a:gd name="connsiteY34" fmla="*/ 633008 h 815526"/>
                  <a:gd name="connsiteX35" fmla="*/ 213833 w 915678"/>
                  <a:gd name="connsiteY35" fmla="*/ 633165 h 815526"/>
                  <a:gd name="connsiteX36" fmla="*/ 213990 w 915678"/>
                  <a:gd name="connsiteY36" fmla="*/ 633008 h 815526"/>
                  <a:gd name="connsiteX37" fmla="*/ 215134 w 915678"/>
                  <a:gd name="connsiteY37" fmla="*/ 625609 h 815526"/>
                  <a:gd name="connsiteX38" fmla="*/ 207735 w 915678"/>
                  <a:gd name="connsiteY38" fmla="*/ 624466 h 815526"/>
                  <a:gd name="connsiteX39" fmla="*/ 206980 w 915678"/>
                  <a:gd name="connsiteY39" fmla="*/ 625139 h 815526"/>
                  <a:gd name="connsiteX40" fmla="*/ 206980 w 915678"/>
                  <a:gd name="connsiteY40" fmla="*/ 632578 h 815526"/>
                  <a:gd name="connsiteX41" fmla="*/ 170209 w 915678"/>
                  <a:gd name="connsiteY41" fmla="*/ 666201 h 815526"/>
                  <a:gd name="connsiteX42" fmla="*/ 176885 w 915678"/>
                  <a:gd name="connsiteY42" fmla="*/ 666295 h 815526"/>
                  <a:gd name="connsiteX43" fmla="*/ 176981 w 915678"/>
                  <a:gd name="connsiteY43" fmla="*/ 659620 h 815526"/>
                  <a:gd name="connsiteX44" fmla="*/ 170304 w 915678"/>
                  <a:gd name="connsiteY44" fmla="*/ 659525 h 815526"/>
                  <a:gd name="connsiteX45" fmla="*/ 170209 w 915678"/>
                  <a:gd name="connsiteY45" fmla="*/ 659620 h 815526"/>
                  <a:gd name="connsiteX46" fmla="*/ 170209 w 915678"/>
                  <a:gd name="connsiteY46" fmla="*/ 666201 h 815526"/>
                  <a:gd name="connsiteX47" fmla="*/ 133296 w 915678"/>
                  <a:gd name="connsiteY47" fmla="*/ 698965 h 815526"/>
                  <a:gd name="connsiteX48" fmla="*/ 138962 w 915678"/>
                  <a:gd name="connsiteY48" fmla="*/ 699022 h 815526"/>
                  <a:gd name="connsiteX49" fmla="*/ 139019 w 915678"/>
                  <a:gd name="connsiteY49" fmla="*/ 698965 h 815526"/>
                  <a:gd name="connsiteX50" fmla="*/ 140228 w 915678"/>
                  <a:gd name="connsiteY50" fmla="*/ 693224 h 815526"/>
                  <a:gd name="connsiteX51" fmla="*/ 134485 w 915678"/>
                  <a:gd name="connsiteY51" fmla="*/ 692015 h 815526"/>
                  <a:gd name="connsiteX52" fmla="*/ 133582 w 915678"/>
                  <a:gd name="connsiteY52" fmla="*/ 692813 h 815526"/>
                  <a:gd name="connsiteX53" fmla="*/ 133582 w 915678"/>
                  <a:gd name="connsiteY53" fmla="*/ 698536 h 815526"/>
                  <a:gd name="connsiteX54" fmla="*/ 96669 w 915678"/>
                  <a:gd name="connsiteY54" fmla="*/ 731300 h 815526"/>
                  <a:gd name="connsiteX55" fmla="*/ 101525 w 915678"/>
                  <a:gd name="connsiteY55" fmla="*/ 731291 h 815526"/>
                  <a:gd name="connsiteX56" fmla="*/ 101516 w 915678"/>
                  <a:gd name="connsiteY56" fmla="*/ 726436 h 815526"/>
                  <a:gd name="connsiteX57" fmla="*/ 96669 w 915678"/>
                  <a:gd name="connsiteY57" fmla="*/ 726436 h 815526"/>
                  <a:gd name="connsiteX58" fmla="*/ 96660 w 915678"/>
                  <a:gd name="connsiteY58" fmla="*/ 731291 h 815526"/>
                  <a:gd name="connsiteX59" fmla="*/ 96669 w 915678"/>
                  <a:gd name="connsiteY59" fmla="*/ 731300 h 815526"/>
                  <a:gd name="connsiteX60" fmla="*/ 58611 w 915678"/>
                  <a:gd name="connsiteY60" fmla="*/ 764493 h 815526"/>
                  <a:gd name="connsiteX61" fmla="*/ 62760 w 915678"/>
                  <a:gd name="connsiteY61" fmla="*/ 764493 h 815526"/>
                  <a:gd name="connsiteX62" fmla="*/ 62760 w 915678"/>
                  <a:gd name="connsiteY62" fmla="*/ 760344 h 815526"/>
                  <a:gd name="connsiteX63" fmla="*/ 58919 w 915678"/>
                  <a:gd name="connsiteY63" fmla="*/ 760178 h 815526"/>
                  <a:gd name="connsiteX64" fmla="*/ 58754 w 915678"/>
                  <a:gd name="connsiteY64" fmla="*/ 760344 h 815526"/>
                  <a:gd name="connsiteX65" fmla="*/ 58754 w 915678"/>
                  <a:gd name="connsiteY65" fmla="*/ 764350 h 815526"/>
                  <a:gd name="connsiteX66" fmla="*/ 407428 w 915678"/>
                  <a:gd name="connsiteY66" fmla="*/ 413388 h 815526"/>
                  <a:gd name="connsiteX67" fmla="*/ 420018 w 915678"/>
                  <a:gd name="connsiteY67" fmla="*/ 414246 h 815526"/>
                  <a:gd name="connsiteX68" fmla="*/ 420064 w 915678"/>
                  <a:gd name="connsiteY68" fmla="*/ 401701 h 815526"/>
                  <a:gd name="connsiteX69" fmla="*/ 420018 w 915678"/>
                  <a:gd name="connsiteY69" fmla="*/ 401656 h 815526"/>
                  <a:gd name="connsiteX70" fmla="*/ 407511 w 915678"/>
                  <a:gd name="connsiteY70" fmla="*/ 400694 h 815526"/>
                  <a:gd name="connsiteX71" fmla="*/ 406548 w 915678"/>
                  <a:gd name="connsiteY71" fmla="*/ 413202 h 815526"/>
                  <a:gd name="connsiteX72" fmla="*/ 406712 w 915678"/>
                  <a:gd name="connsiteY72" fmla="*/ 413388 h 815526"/>
                  <a:gd name="connsiteX73" fmla="*/ 370514 w 915678"/>
                  <a:gd name="connsiteY73" fmla="*/ 446152 h 815526"/>
                  <a:gd name="connsiteX74" fmla="*/ 382249 w 915678"/>
                  <a:gd name="connsiteY74" fmla="*/ 446155 h 815526"/>
                  <a:gd name="connsiteX75" fmla="*/ 382254 w 915678"/>
                  <a:gd name="connsiteY75" fmla="*/ 434420 h 815526"/>
                  <a:gd name="connsiteX76" fmla="*/ 370517 w 915678"/>
                  <a:gd name="connsiteY76" fmla="*/ 434417 h 815526"/>
                  <a:gd name="connsiteX77" fmla="*/ 370514 w 915678"/>
                  <a:gd name="connsiteY77" fmla="*/ 434420 h 815526"/>
                  <a:gd name="connsiteX78" fmla="*/ 370514 w 915678"/>
                  <a:gd name="connsiteY78" fmla="*/ 446152 h 815526"/>
                  <a:gd name="connsiteX79" fmla="*/ 333458 w 915678"/>
                  <a:gd name="connsiteY79" fmla="*/ 478916 h 815526"/>
                  <a:gd name="connsiteX80" fmla="*/ 344332 w 915678"/>
                  <a:gd name="connsiteY80" fmla="*/ 478916 h 815526"/>
                  <a:gd name="connsiteX81" fmla="*/ 344332 w 915678"/>
                  <a:gd name="connsiteY81" fmla="*/ 468042 h 815526"/>
                  <a:gd name="connsiteX82" fmla="*/ 333511 w 915678"/>
                  <a:gd name="connsiteY82" fmla="*/ 466532 h 815526"/>
                  <a:gd name="connsiteX83" fmla="*/ 332000 w 915678"/>
                  <a:gd name="connsiteY83" fmla="*/ 477354 h 815526"/>
                  <a:gd name="connsiteX84" fmla="*/ 332742 w 915678"/>
                  <a:gd name="connsiteY84" fmla="*/ 478201 h 815526"/>
                  <a:gd name="connsiteX85" fmla="*/ 296545 w 915678"/>
                  <a:gd name="connsiteY85" fmla="*/ 511680 h 815526"/>
                  <a:gd name="connsiteX86" fmla="*/ 306458 w 915678"/>
                  <a:gd name="connsiteY86" fmla="*/ 511782 h 815526"/>
                  <a:gd name="connsiteX87" fmla="*/ 306560 w 915678"/>
                  <a:gd name="connsiteY87" fmla="*/ 511680 h 815526"/>
                  <a:gd name="connsiteX88" fmla="*/ 306661 w 915678"/>
                  <a:gd name="connsiteY88" fmla="*/ 501563 h 815526"/>
                  <a:gd name="connsiteX89" fmla="*/ 296545 w 915678"/>
                  <a:gd name="connsiteY89" fmla="*/ 501463 h 815526"/>
                  <a:gd name="connsiteX90" fmla="*/ 296443 w 915678"/>
                  <a:gd name="connsiteY90" fmla="*/ 511579 h 815526"/>
                  <a:gd name="connsiteX91" fmla="*/ 296545 w 915678"/>
                  <a:gd name="connsiteY91" fmla="*/ 511680 h 815526"/>
                  <a:gd name="connsiteX92" fmla="*/ 259631 w 915678"/>
                  <a:gd name="connsiteY92" fmla="*/ 544444 h 815526"/>
                  <a:gd name="connsiteX93" fmla="*/ 268788 w 915678"/>
                  <a:gd name="connsiteY93" fmla="*/ 544444 h 815526"/>
                  <a:gd name="connsiteX94" fmla="*/ 268788 w 915678"/>
                  <a:gd name="connsiteY94" fmla="*/ 535288 h 815526"/>
                  <a:gd name="connsiteX95" fmla="*/ 259631 w 915678"/>
                  <a:gd name="connsiteY95" fmla="*/ 534715 h 815526"/>
                  <a:gd name="connsiteX96" fmla="*/ 259059 w 915678"/>
                  <a:gd name="connsiteY96" fmla="*/ 543872 h 815526"/>
                  <a:gd name="connsiteX97" fmla="*/ 222003 w 915678"/>
                  <a:gd name="connsiteY97" fmla="*/ 576636 h 815526"/>
                  <a:gd name="connsiteX98" fmla="*/ 230298 w 915678"/>
                  <a:gd name="connsiteY98" fmla="*/ 576633 h 815526"/>
                  <a:gd name="connsiteX99" fmla="*/ 230297 w 915678"/>
                  <a:gd name="connsiteY99" fmla="*/ 568338 h 815526"/>
                  <a:gd name="connsiteX100" fmla="*/ 222003 w 915678"/>
                  <a:gd name="connsiteY100" fmla="*/ 568338 h 815526"/>
                  <a:gd name="connsiteX101" fmla="*/ 222000 w 915678"/>
                  <a:gd name="connsiteY101" fmla="*/ 576633 h 815526"/>
                  <a:gd name="connsiteX102" fmla="*/ 222003 w 915678"/>
                  <a:gd name="connsiteY102" fmla="*/ 576636 h 815526"/>
                  <a:gd name="connsiteX103" fmla="*/ 185662 w 915678"/>
                  <a:gd name="connsiteY103" fmla="*/ 610402 h 815526"/>
                  <a:gd name="connsiteX104" fmla="*/ 193147 w 915678"/>
                  <a:gd name="connsiteY104" fmla="*/ 610449 h 815526"/>
                  <a:gd name="connsiteX105" fmla="*/ 193194 w 915678"/>
                  <a:gd name="connsiteY105" fmla="*/ 602962 h 815526"/>
                  <a:gd name="connsiteX106" fmla="*/ 185707 w 915678"/>
                  <a:gd name="connsiteY106" fmla="*/ 602915 h 815526"/>
                  <a:gd name="connsiteX107" fmla="*/ 185662 w 915678"/>
                  <a:gd name="connsiteY107" fmla="*/ 602962 h 815526"/>
                  <a:gd name="connsiteX108" fmla="*/ 185662 w 915678"/>
                  <a:gd name="connsiteY108" fmla="*/ 610402 h 815526"/>
                  <a:gd name="connsiteX109" fmla="*/ 148748 w 915678"/>
                  <a:gd name="connsiteY109" fmla="*/ 642737 h 815526"/>
                  <a:gd name="connsiteX110" fmla="*/ 155330 w 915678"/>
                  <a:gd name="connsiteY110" fmla="*/ 642737 h 815526"/>
                  <a:gd name="connsiteX111" fmla="*/ 156128 w 915678"/>
                  <a:gd name="connsiteY111" fmla="*/ 636108 h 815526"/>
                  <a:gd name="connsiteX112" fmla="*/ 149498 w 915678"/>
                  <a:gd name="connsiteY112" fmla="*/ 635310 h 815526"/>
                  <a:gd name="connsiteX113" fmla="*/ 149034 w 915678"/>
                  <a:gd name="connsiteY113" fmla="*/ 635726 h 815526"/>
                  <a:gd name="connsiteX114" fmla="*/ 149034 w 915678"/>
                  <a:gd name="connsiteY114" fmla="*/ 642308 h 815526"/>
                  <a:gd name="connsiteX115" fmla="*/ 111978 w 915678"/>
                  <a:gd name="connsiteY115" fmla="*/ 675072 h 815526"/>
                  <a:gd name="connsiteX116" fmla="*/ 117844 w 915678"/>
                  <a:gd name="connsiteY116" fmla="*/ 675072 h 815526"/>
                  <a:gd name="connsiteX117" fmla="*/ 117844 w 915678"/>
                  <a:gd name="connsiteY117" fmla="*/ 669349 h 815526"/>
                  <a:gd name="connsiteX118" fmla="*/ 112178 w 915678"/>
                  <a:gd name="connsiteY118" fmla="*/ 669291 h 815526"/>
                  <a:gd name="connsiteX119" fmla="*/ 112121 w 915678"/>
                  <a:gd name="connsiteY119" fmla="*/ 669349 h 815526"/>
                  <a:gd name="connsiteX120" fmla="*/ 112064 w 915678"/>
                  <a:gd name="connsiteY120" fmla="*/ 675014 h 815526"/>
                  <a:gd name="connsiteX121" fmla="*/ 112121 w 915678"/>
                  <a:gd name="connsiteY121" fmla="*/ 675072 h 815526"/>
                  <a:gd name="connsiteX122" fmla="*/ 75208 w 915678"/>
                  <a:gd name="connsiteY122" fmla="*/ 707836 h 815526"/>
                  <a:gd name="connsiteX123" fmla="*/ 80064 w 915678"/>
                  <a:gd name="connsiteY123" fmla="*/ 707844 h 815526"/>
                  <a:gd name="connsiteX124" fmla="*/ 80072 w 915678"/>
                  <a:gd name="connsiteY124" fmla="*/ 707836 h 815526"/>
                  <a:gd name="connsiteX125" fmla="*/ 80064 w 915678"/>
                  <a:gd name="connsiteY125" fmla="*/ 702980 h 815526"/>
                  <a:gd name="connsiteX126" fmla="*/ 75208 w 915678"/>
                  <a:gd name="connsiteY126" fmla="*/ 702988 h 815526"/>
                  <a:gd name="connsiteX127" fmla="*/ 75208 w 915678"/>
                  <a:gd name="connsiteY127" fmla="*/ 707836 h 815526"/>
                  <a:gd name="connsiteX128" fmla="*/ 38295 w 915678"/>
                  <a:gd name="connsiteY128" fmla="*/ 740600 h 815526"/>
                  <a:gd name="connsiteX129" fmla="*/ 42136 w 915678"/>
                  <a:gd name="connsiteY129" fmla="*/ 740765 h 815526"/>
                  <a:gd name="connsiteX130" fmla="*/ 42301 w 915678"/>
                  <a:gd name="connsiteY130" fmla="*/ 740600 h 815526"/>
                  <a:gd name="connsiteX131" fmla="*/ 42301 w 915678"/>
                  <a:gd name="connsiteY131" fmla="*/ 736594 h 815526"/>
                  <a:gd name="connsiteX132" fmla="*/ 38151 w 915678"/>
                  <a:gd name="connsiteY132" fmla="*/ 736594 h 815526"/>
                  <a:gd name="connsiteX133" fmla="*/ 38151 w 915678"/>
                  <a:gd name="connsiteY133" fmla="*/ 740743 h 815526"/>
                  <a:gd name="connsiteX134" fmla="*/ 386539 w 915678"/>
                  <a:gd name="connsiteY134" fmla="*/ 389924 h 815526"/>
                  <a:gd name="connsiteX135" fmla="*/ 399059 w 915678"/>
                  <a:gd name="connsiteY135" fmla="*/ 390702 h 815526"/>
                  <a:gd name="connsiteX136" fmla="*/ 399837 w 915678"/>
                  <a:gd name="connsiteY136" fmla="*/ 378181 h 815526"/>
                  <a:gd name="connsiteX137" fmla="*/ 387397 w 915678"/>
                  <a:gd name="connsiteY137" fmla="*/ 377333 h 815526"/>
                  <a:gd name="connsiteX138" fmla="*/ 386539 w 915678"/>
                  <a:gd name="connsiteY138" fmla="*/ 389924 h 815526"/>
                  <a:gd name="connsiteX139" fmla="*/ 349625 w 915678"/>
                  <a:gd name="connsiteY139" fmla="*/ 422688 h 815526"/>
                  <a:gd name="connsiteX140" fmla="*/ 361340 w 915678"/>
                  <a:gd name="connsiteY140" fmla="*/ 423383 h 815526"/>
                  <a:gd name="connsiteX141" fmla="*/ 362036 w 915678"/>
                  <a:gd name="connsiteY141" fmla="*/ 411668 h 815526"/>
                  <a:gd name="connsiteX142" fmla="*/ 350341 w 915678"/>
                  <a:gd name="connsiteY142" fmla="*/ 410956 h 815526"/>
                  <a:gd name="connsiteX143" fmla="*/ 349608 w 915678"/>
                  <a:gd name="connsiteY143" fmla="*/ 422668 h 815526"/>
                  <a:gd name="connsiteX144" fmla="*/ 349625 w 915678"/>
                  <a:gd name="connsiteY144" fmla="*/ 422688 h 815526"/>
                  <a:gd name="connsiteX145" fmla="*/ 313284 w 915678"/>
                  <a:gd name="connsiteY145" fmla="*/ 455452 h 815526"/>
                  <a:gd name="connsiteX146" fmla="*/ 324211 w 915678"/>
                  <a:gd name="connsiteY146" fmla="*/ 455505 h 815526"/>
                  <a:gd name="connsiteX147" fmla="*/ 324262 w 915678"/>
                  <a:gd name="connsiteY147" fmla="*/ 444578 h 815526"/>
                  <a:gd name="connsiteX148" fmla="*/ 313337 w 915678"/>
                  <a:gd name="connsiteY148" fmla="*/ 444525 h 815526"/>
                  <a:gd name="connsiteX149" fmla="*/ 313284 w 915678"/>
                  <a:gd name="connsiteY149" fmla="*/ 444578 h 815526"/>
                  <a:gd name="connsiteX150" fmla="*/ 313284 w 915678"/>
                  <a:gd name="connsiteY150" fmla="*/ 455452 h 815526"/>
                  <a:gd name="connsiteX151" fmla="*/ 276228 w 915678"/>
                  <a:gd name="connsiteY151" fmla="*/ 488216 h 815526"/>
                  <a:gd name="connsiteX152" fmla="*/ 286243 w 915678"/>
                  <a:gd name="connsiteY152" fmla="*/ 488216 h 815526"/>
                  <a:gd name="connsiteX153" fmla="*/ 286142 w 915678"/>
                  <a:gd name="connsiteY153" fmla="*/ 478302 h 815526"/>
                  <a:gd name="connsiteX154" fmla="*/ 276228 w 915678"/>
                  <a:gd name="connsiteY154" fmla="*/ 478402 h 815526"/>
                  <a:gd name="connsiteX155" fmla="*/ 276228 w 915678"/>
                  <a:gd name="connsiteY155" fmla="*/ 488216 h 815526"/>
                  <a:gd name="connsiteX156" fmla="*/ 239315 w 915678"/>
                  <a:gd name="connsiteY156" fmla="*/ 520980 h 815526"/>
                  <a:gd name="connsiteX157" fmla="*/ 248622 w 915678"/>
                  <a:gd name="connsiteY157" fmla="*/ 521130 h 815526"/>
                  <a:gd name="connsiteX158" fmla="*/ 248770 w 915678"/>
                  <a:gd name="connsiteY158" fmla="*/ 511823 h 815526"/>
                  <a:gd name="connsiteX159" fmla="*/ 239465 w 915678"/>
                  <a:gd name="connsiteY159" fmla="*/ 511673 h 815526"/>
                  <a:gd name="connsiteX160" fmla="*/ 239315 w 915678"/>
                  <a:gd name="connsiteY160" fmla="*/ 511823 h 815526"/>
                  <a:gd name="connsiteX161" fmla="*/ 239263 w 915678"/>
                  <a:gd name="connsiteY161" fmla="*/ 520929 h 815526"/>
                  <a:gd name="connsiteX162" fmla="*/ 239315 w 915678"/>
                  <a:gd name="connsiteY162" fmla="*/ 520980 h 815526"/>
                  <a:gd name="connsiteX163" fmla="*/ 201829 w 915678"/>
                  <a:gd name="connsiteY163" fmla="*/ 553172 h 815526"/>
                  <a:gd name="connsiteX164" fmla="*/ 210123 w 915678"/>
                  <a:gd name="connsiteY164" fmla="*/ 553025 h 815526"/>
                  <a:gd name="connsiteX165" fmla="*/ 209977 w 915678"/>
                  <a:gd name="connsiteY165" fmla="*/ 544731 h 815526"/>
                  <a:gd name="connsiteX166" fmla="*/ 201829 w 915678"/>
                  <a:gd name="connsiteY166" fmla="*/ 544731 h 815526"/>
                  <a:gd name="connsiteX167" fmla="*/ 201829 w 915678"/>
                  <a:gd name="connsiteY167" fmla="*/ 553172 h 815526"/>
                  <a:gd name="connsiteX168" fmla="*/ 164773 w 915678"/>
                  <a:gd name="connsiteY168" fmla="*/ 585793 h 815526"/>
                  <a:gd name="connsiteX169" fmla="*/ 172260 w 915678"/>
                  <a:gd name="connsiteY169" fmla="*/ 585760 h 815526"/>
                  <a:gd name="connsiteX170" fmla="*/ 172785 w 915678"/>
                  <a:gd name="connsiteY170" fmla="*/ 578925 h 815526"/>
                  <a:gd name="connsiteX171" fmla="*/ 165392 w 915678"/>
                  <a:gd name="connsiteY171" fmla="*/ 577748 h 815526"/>
                  <a:gd name="connsiteX172" fmla="*/ 164215 w 915678"/>
                  <a:gd name="connsiteY172" fmla="*/ 585141 h 815526"/>
                  <a:gd name="connsiteX173" fmla="*/ 164773 w 915678"/>
                  <a:gd name="connsiteY173" fmla="*/ 585793 h 815526"/>
                  <a:gd name="connsiteX174" fmla="*/ 127287 w 915678"/>
                  <a:gd name="connsiteY174" fmla="*/ 619129 h 815526"/>
                  <a:gd name="connsiteX175" fmla="*/ 133936 w 915678"/>
                  <a:gd name="connsiteY175" fmla="*/ 618520 h 815526"/>
                  <a:gd name="connsiteX176" fmla="*/ 134298 w 915678"/>
                  <a:gd name="connsiteY176" fmla="*/ 612977 h 815526"/>
                  <a:gd name="connsiteX177" fmla="*/ 127716 w 915678"/>
                  <a:gd name="connsiteY177" fmla="*/ 612977 h 815526"/>
                  <a:gd name="connsiteX178" fmla="*/ 127609 w 915678"/>
                  <a:gd name="connsiteY178" fmla="*/ 619451 h 815526"/>
                  <a:gd name="connsiteX179" fmla="*/ 127716 w 915678"/>
                  <a:gd name="connsiteY179" fmla="*/ 619559 h 815526"/>
                  <a:gd name="connsiteX180" fmla="*/ 90946 w 915678"/>
                  <a:gd name="connsiteY180" fmla="*/ 651894 h 815526"/>
                  <a:gd name="connsiteX181" fmla="*/ 96612 w 915678"/>
                  <a:gd name="connsiteY181" fmla="*/ 651951 h 815526"/>
                  <a:gd name="connsiteX182" fmla="*/ 96669 w 915678"/>
                  <a:gd name="connsiteY182" fmla="*/ 651894 h 815526"/>
                  <a:gd name="connsiteX183" fmla="*/ 96726 w 915678"/>
                  <a:gd name="connsiteY183" fmla="*/ 646228 h 815526"/>
                  <a:gd name="connsiteX184" fmla="*/ 96669 w 915678"/>
                  <a:gd name="connsiteY184" fmla="*/ 646171 h 815526"/>
                  <a:gd name="connsiteX185" fmla="*/ 91003 w 915678"/>
                  <a:gd name="connsiteY185" fmla="*/ 646113 h 815526"/>
                  <a:gd name="connsiteX186" fmla="*/ 90946 w 915678"/>
                  <a:gd name="connsiteY186" fmla="*/ 646171 h 815526"/>
                  <a:gd name="connsiteX187" fmla="*/ 90889 w 915678"/>
                  <a:gd name="connsiteY187" fmla="*/ 651836 h 815526"/>
                  <a:gd name="connsiteX188" fmla="*/ 90946 w 915678"/>
                  <a:gd name="connsiteY188" fmla="*/ 651894 h 815526"/>
                  <a:gd name="connsiteX189" fmla="*/ 53890 w 915678"/>
                  <a:gd name="connsiteY189" fmla="*/ 684658 h 815526"/>
                  <a:gd name="connsiteX190" fmla="*/ 58746 w 915678"/>
                  <a:gd name="connsiteY190" fmla="*/ 684649 h 815526"/>
                  <a:gd name="connsiteX191" fmla="*/ 58737 w 915678"/>
                  <a:gd name="connsiteY191" fmla="*/ 679793 h 815526"/>
                  <a:gd name="connsiteX192" fmla="*/ 53890 w 915678"/>
                  <a:gd name="connsiteY192" fmla="*/ 679793 h 815526"/>
                  <a:gd name="connsiteX193" fmla="*/ 53881 w 915678"/>
                  <a:gd name="connsiteY193" fmla="*/ 684649 h 815526"/>
                  <a:gd name="connsiteX194" fmla="*/ 53890 w 915678"/>
                  <a:gd name="connsiteY194" fmla="*/ 684658 h 815526"/>
                  <a:gd name="connsiteX195" fmla="*/ 16976 w 915678"/>
                  <a:gd name="connsiteY195" fmla="*/ 717422 h 815526"/>
                  <a:gd name="connsiteX196" fmla="*/ 21023 w 915678"/>
                  <a:gd name="connsiteY196" fmla="*/ 717462 h 815526"/>
                  <a:gd name="connsiteX197" fmla="*/ 21064 w 915678"/>
                  <a:gd name="connsiteY197" fmla="*/ 713416 h 815526"/>
                  <a:gd name="connsiteX198" fmla="*/ 17016 w 915678"/>
                  <a:gd name="connsiteY198" fmla="*/ 713376 h 815526"/>
                  <a:gd name="connsiteX199" fmla="*/ 16976 w 915678"/>
                  <a:gd name="connsiteY199" fmla="*/ 713416 h 815526"/>
                  <a:gd name="connsiteX200" fmla="*/ 16812 w 915678"/>
                  <a:gd name="connsiteY200" fmla="*/ 717257 h 815526"/>
                  <a:gd name="connsiteX201" fmla="*/ 16976 w 915678"/>
                  <a:gd name="connsiteY201" fmla="*/ 717422 h 815526"/>
                  <a:gd name="connsiteX202" fmla="*/ 490840 w 915678"/>
                  <a:gd name="connsiteY202" fmla="*/ 507531 h 815526"/>
                  <a:gd name="connsiteX203" fmla="*/ 503385 w 915678"/>
                  <a:gd name="connsiteY203" fmla="*/ 507577 h 815526"/>
                  <a:gd name="connsiteX204" fmla="*/ 503431 w 915678"/>
                  <a:gd name="connsiteY204" fmla="*/ 507531 h 815526"/>
                  <a:gd name="connsiteX205" fmla="*/ 503385 w 915678"/>
                  <a:gd name="connsiteY205" fmla="*/ 494986 h 815526"/>
                  <a:gd name="connsiteX206" fmla="*/ 490840 w 915678"/>
                  <a:gd name="connsiteY206" fmla="*/ 495032 h 815526"/>
                  <a:gd name="connsiteX207" fmla="*/ 490840 w 915678"/>
                  <a:gd name="connsiteY207" fmla="*/ 507531 h 815526"/>
                  <a:gd name="connsiteX208" fmla="*/ 453927 w 915678"/>
                  <a:gd name="connsiteY208" fmla="*/ 540295 h 815526"/>
                  <a:gd name="connsiteX209" fmla="*/ 465523 w 915678"/>
                  <a:gd name="connsiteY209" fmla="*/ 542095 h 815526"/>
                  <a:gd name="connsiteX210" fmla="*/ 467323 w 915678"/>
                  <a:gd name="connsiteY210" fmla="*/ 530499 h 815526"/>
                  <a:gd name="connsiteX211" fmla="*/ 466231 w 915678"/>
                  <a:gd name="connsiteY211" fmla="*/ 529278 h 815526"/>
                  <a:gd name="connsiteX212" fmla="*/ 454635 w 915678"/>
                  <a:gd name="connsiteY212" fmla="*/ 527479 h 815526"/>
                  <a:gd name="connsiteX213" fmla="*/ 452835 w 915678"/>
                  <a:gd name="connsiteY213" fmla="*/ 539075 h 815526"/>
                  <a:gd name="connsiteX214" fmla="*/ 453927 w 915678"/>
                  <a:gd name="connsiteY214" fmla="*/ 540295 h 815526"/>
                  <a:gd name="connsiteX215" fmla="*/ 416870 w 915678"/>
                  <a:gd name="connsiteY215" fmla="*/ 573059 h 815526"/>
                  <a:gd name="connsiteX216" fmla="*/ 427744 w 915678"/>
                  <a:gd name="connsiteY216" fmla="*/ 573059 h 815526"/>
                  <a:gd name="connsiteX217" fmla="*/ 427744 w 915678"/>
                  <a:gd name="connsiteY217" fmla="*/ 562186 h 815526"/>
                  <a:gd name="connsiteX218" fmla="*/ 416870 w 915678"/>
                  <a:gd name="connsiteY218" fmla="*/ 562186 h 815526"/>
                  <a:gd name="connsiteX219" fmla="*/ 416870 w 915678"/>
                  <a:gd name="connsiteY219" fmla="*/ 573059 h 815526"/>
                  <a:gd name="connsiteX220" fmla="*/ 379957 w 915678"/>
                  <a:gd name="connsiteY220" fmla="*/ 605823 h 815526"/>
                  <a:gd name="connsiteX221" fmla="*/ 390074 w 915678"/>
                  <a:gd name="connsiteY221" fmla="*/ 605925 h 815526"/>
                  <a:gd name="connsiteX222" fmla="*/ 390174 w 915678"/>
                  <a:gd name="connsiteY222" fmla="*/ 595808 h 815526"/>
                  <a:gd name="connsiteX223" fmla="*/ 380059 w 915678"/>
                  <a:gd name="connsiteY223" fmla="*/ 595707 h 815526"/>
                  <a:gd name="connsiteX224" fmla="*/ 379957 w 915678"/>
                  <a:gd name="connsiteY224" fmla="*/ 595808 h 815526"/>
                  <a:gd name="connsiteX225" fmla="*/ 379957 w 915678"/>
                  <a:gd name="connsiteY225" fmla="*/ 605823 h 815526"/>
                  <a:gd name="connsiteX226" fmla="*/ 342901 w 915678"/>
                  <a:gd name="connsiteY226" fmla="*/ 639017 h 815526"/>
                  <a:gd name="connsiteX227" fmla="*/ 352058 w 915678"/>
                  <a:gd name="connsiteY227" fmla="*/ 639017 h 815526"/>
                  <a:gd name="connsiteX228" fmla="*/ 352630 w 915678"/>
                  <a:gd name="connsiteY228" fmla="*/ 629860 h 815526"/>
                  <a:gd name="connsiteX229" fmla="*/ 343473 w 915678"/>
                  <a:gd name="connsiteY229" fmla="*/ 629288 h 815526"/>
                  <a:gd name="connsiteX230" fmla="*/ 343473 w 915678"/>
                  <a:gd name="connsiteY230" fmla="*/ 638444 h 815526"/>
                  <a:gd name="connsiteX231" fmla="*/ 306560 w 915678"/>
                  <a:gd name="connsiteY231" fmla="*/ 671209 h 815526"/>
                  <a:gd name="connsiteX232" fmla="*/ 314930 w 915678"/>
                  <a:gd name="connsiteY232" fmla="*/ 671709 h 815526"/>
                  <a:gd name="connsiteX233" fmla="*/ 315430 w 915678"/>
                  <a:gd name="connsiteY233" fmla="*/ 663339 h 815526"/>
                  <a:gd name="connsiteX234" fmla="*/ 307340 w 915678"/>
                  <a:gd name="connsiteY234" fmla="*/ 663132 h 815526"/>
                  <a:gd name="connsiteX235" fmla="*/ 307132 w 915678"/>
                  <a:gd name="connsiteY235" fmla="*/ 663339 h 815526"/>
                  <a:gd name="connsiteX236" fmla="*/ 307129 w 915678"/>
                  <a:gd name="connsiteY236" fmla="*/ 671635 h 815526"/>
                  <a:gd name="connsiteX237" fmla="*/ 307132 w 915678"/>
                  <a:gd name="connsiteY237" fmla="*/ 671638 h 815526"/>
                  <a:gd name="connsiteX238" fmla="*/ 270219 w 915678"/>
                  <a:gd name="connsiteY238" fmla="*/ 704402 h 815526"/>
                  <a:gd name="connsiteX239" fmla="*/ 277659 w 915678"/>
                  <a:gd name="connsiteY239" fmla="*/ 704402 h 815526"/>
                  <a:gd name="connsiteX240" fmla="*/ 278159 w 915678"/>
                  <a:gd name="connsiteY240" fmla="*/ 696891 h 815526"/>
                  <a:gd name="connsiteX241" fmla="*/ 270648 w 915678"/>
                  <a:gd name="connsiteY241" fmla="*/ 696390 h 815526"/>
                  <a:gd name="connsiteX242" fmla="*/ 270648 w 915678"/>
                  <a:gd name="connsiteY242" fmla="*/ 703973 h 815526"/>
                  <a:gd name="connsiteX243" fmla="*/ 233592 w 915678"/>
                  <a:gd name="connsiteY243" fmla="*/ 736594 h 815526"/>
                  <a:gd name="connsiteX244" fmla="*/ 240269 w 915678"/>
                  <a:gd name="connsiteY244" fmla="*/ 736641 h 815526"/>
                  <a:gd name="connsiteX245" fmla="*/ 240316 w 915678"/>
                  <a:gd name="connsiteY245" fmla="*/ 736594 h 815526"/>
                  <a:gd name="connsiteX246" fmla="*/ 240269 w 915678"/>
                  <a:gd name="connsiteY246" fmla="*/ 729917 h 815526"/>
                  <a:gd name="connsiteX247" fmla="*/ 233592 w 915678"/>
                  <a:gd name="connsiteY247" fmla="*/ 729964 h 815526"/>
                  <a:gd name="connsiteX248" fmla="*/ 233592 w 915678"/>
                  <a:gd name="connsiteY248" fmla="*/ 736594 h 815526"/>
                  <a:gd name="connsiteX249" fmla="*/ 196678 w 915678"/>
                  <a:gd name="connsiteY249" fmla="*/ 769358 h 815526"/>
                  <a:gd name="connsiteX250" fmla="*/ 202344 w 915678"/>
                  <a:gd name="connsiteY250" fmla="*/ 769301 h 815526"/>
                  <a:gd name="connsiteX251" fmla="*/ 202285 w 915678"/>
                  <a:gd name="connsiteY251" fmla="*/ 763635 h 815526"/>
                  <a:gd name="connsiteX252" fmla="*/ 196678 w 915678"/>
                  <a:gd name="connsiteY252" fmla="*/ 763635 h 815526"/>
                  <a:gd name="connsiteX253" fmla="*/ 196678 w 915678"/>
                  <a:gd name="connsiteY253" fmla="*/ 769358 h 815526"/>
                  <a:gd name="connsiteX254" fmla="*/ 159765 w 915678"/>
                  <a:gd name="connsiteY254" fmla="*/ 802122 h 815526"/>
                  <a:gd name="connsiteX255" fmla="*/ 164621 w 915678"/>
                  <a:gd name="connsiteY255" fmla="*/ 802113 h 815526"/>
                  <a:gd name="connsiteX256" fmla="*/ 164612 w 915678"/>
                  <a:gd name="connsiteY256" fmla="*/ 797258 h 815526"/>
                  <a:gd name="connsiteX257" fmla="*/ 159765 w 915678"/>
                  <a:gd name="connsiteY257" fmla="*/ 797258 h 815526"/>
                  <a:gd name="connsiteX258" fmla="*/ 159756 w 915678"/>
                  <a:gd name="connsiteY258" fmla="*/ 802113 h 815526"/>
                  <a:gd name="connsiteX259" fmla="*/ 159765 w 915678"/>
                  <a:gd name="connsiteY259" fmla="*/ 802122 h 815526"/>
                  <a:gd name="connsiteX260" fmla="*/ 470667 w 915678"/>
                  <a:gd name="connsiteY260" fmla="*/ 483924 h 815526"/>
                  <a:gd name="connsiteX261" fmla="*/ 483174 w 915678"/>
                  <a:gd name="connsiteY261" fmla="*/ 484885 h 815526"/>
                  <a:gd name="connsiteX262" fmla="*/ 484137 w 915678"/>
                  <a:gd name="connsiteY262" fmla="*/ 472378 h 815526"/>
                  <a:gd name="connsiteX263" fmla="*/ 483973 w 915678"/>
                  <a:gd name="connsiteY263" fmla="*/ 472192 h 815526"/>
                  <a:gd name="connsiteX264" fmla="*/ 471442 w 915678"/>
                  <a:gd name="connsiteY264" fmla="*/ 471579 h 815526"/>
                  <a:gd name="connsiteX265" fmla="*/ 470667 w 915678"/>
                  <a:gd name="connsiteY265" fmla="*/ 483924 h 815526"/>
                  <a:gd name="connsiteX266" fmla="*/ 433753 w 915678"/>
                  <a:gd name="connsiteY266" fmla="*/ 516688 h 815526"/>
                  <a:gd name="connsiteX267" fmla="*/ 445458 w 915678"/>
                  <a:gd name="connsiteY267" fmla="*/ 517535 h 815526"/>
                  <a:gd name="connsiteX268" fmla="*/ 446305 w 915678"/>
                  <a:gd name="connsiteY268" fmla="*/ 505830 h 815526"/>
                  <a:gd name="connsiteX269" fmla="*/ 434600 w 915678"/>
                  <a:gd name="connsiteY269" fmla="*/ 504983 h 815526"/>
                  <a:gd name="connsiteX270" fmla="*/ 434469 w 915678"/>
                  <a:gd name="connsiteY270" fmla="*/ 505099 h 815526"/>
                  <a:gd name="connsiteX271" fmla="*/ 433680 w 915678"/>
                  <a:gd name="connsiteY271" fmla="*/ 516605 h 815526"/>
                  <a:gd name="connsiteX272" fmla="*/ 433753 w 915678"/>
                  <a:gd name="connsiteY272" fmla="*/ 516688 h 815526"/>
                  <a:gd name="connsiteX273" fmla="*/ 396840 w 915678"/>
                  <a:gd name="connsiteY273" fmla="*/ 549452 h 815526"/>
                  <a:gd name="connsiteX274" fmla="*/ 407359 w 915678"/>
                  <a:gd name="connsiteY274" fmla="*/ 549664 h 815526"/>
                  <a:gd name="connsiteX275" fmla="*/ 407571 w 915678"/>
                  <a:gd name="connsiteY275" fmla="*/ 549452 h 815526"/>
                  <a:gd name="connsiteX276" fmla="*/ 408449 w 915678"/>
                  <a:gd name="connsiteY276" fmla="*/ 538764 h 815526"/>
                  <a:gd name="connsiteX277" fmla="*/ 408286 w 915678"/>
                  <a:gd name="connsiteY277" fmla="*/ 538578 h 815526"/>
                  <a:gd name="connsiteX278" fmla="*/ 397412 w 915678"/>
                  <a:gd name="connsiteY278" fmla="*/ 537863 h 815526"/>
                  <a:gd name="connsiteX279" fmla="*/ 397412 w 915678"/>
                  <a:gd name="connsiteY279" fmla="*/ 548737 h 815526"/>
                  <a:gd name="connsiteX280" fmla="*/ 359068 w 915678"/>
                  <a:gd name="connsiteY280" fmla="*/ 581787 h 815526"/>
                  <a:gd name="connsiteX281" fmla="*/ 368982 w 915678"/>
                  <a:gd name="connsiteY281" fmla="*/ 581685 h 815526"/>
                  <a:gd name="connsiteX282" fmla="*/ 368882 w 915678"/>
                  <a:gd name="connsiteY282" fmla="*/ 571772 h 815526"/>
                  <a:gd name="connsiteX283" fmla="*/ 359068 w 915678"/>
                  <a:gd name="connsiteY283" fmla="*/ 571772 h 815526"/>
                  <a:gd name="connsiteX284" fmla="*/ 359068 w 915678"/>
                  <a:gd name="connsiteY284" fmla="*/ 581787 h 815526"/>
                  <a:gd name="connsiteX285" fmla="*/ 322155 w 915678"/>
                  <a:gd name="connsiteY285" fmla="*/ 614551 h 815526"/>
                  <a:gd name="connsiteX286" fmla="*/ 331260 w 915678"/>
                  <a:gd name="connsiteY286" fmla="*/ 614602 h 815526"/>
                  <a:gd name="connsiteX287" fmla="*/ 331312 w 915678"/>
                  <a:gd name="connsiteY287" fmla="*/ 614551 h 815526"/>
                  <a:gd name="connsiteX288" fmla="*/ 331884 w 915678"/>
                  <a:gd name="connsiteY288" fmla="*/ 605394 h 815526"/>
                  <a:gd name="connsiteX289" fmla="*/ 322727 w 915678"/>
                  <a:gd name="connsiteY289" fmla="*/ 604822 h 815526"/>
                  <a:gd name="connsiteX290" fmla="*/ 322676 w 915678"/>
                  <a:gd name="connsiteY290" fmla="*/ 613927 h 815526"/>
                  <a:gd name="connsiteX291" fmla="*/ 322727 w 915678"/>
                  <a:gd name="connsiteY291" fmla="*/ 613979 h 815526"/>
                  <a:gd name="connsiteX292" fmla="*/ 284669 w 915678"/>
                  <a:gd name="connsiteY292" fmla="*/ 647744 h 815526"/>
                  <a:gd name="connsiteX293" fmla="*/ 292965 w 915678"/>
                  <a:gd name="connsiteY293" fmla="*/ 647741 h 815526"/>
                  <a:gd name="connsiteX294" fmla="*/ 292963 w 915678"/>
                  <a:gd name="connsiteY294" fmla="*/ 639446 h 815526"/>
                  <a:gd name="connsiteX295" fmla="*/ 284669 w 915678"/>
                  <a:gd name="connsiteY295" fmla="*/ 639446 h 815526"/>
                  <a:gd name="connsiteX296" fmla="*/ 284666 w 915678"/>
                  <a:gd name="connsiteY296" fmla="*/ 647741 h 815526"/>
                  <a:gd name="connsiteX297" fmla="*/ 284669 w 915678"/>
                  <a:gd name="connsiteY297" fmla="*/ 647744 h 815526"/>
                  <a:gd name="connsiteX298" fmla="*/ 248185 w 915678"/>
                  <a:gd name="connsiteY298" fmla="*/ 680509 h 815526"/>
                  <a:gd name="connsiteX299" fmla="*/ 255667 w 915678"/>
                  <a:gd name="connsiteY299" fmla="*/ 680224 h 815526"/>
                  <a:gd name="connsiteX300" fmla="*/ 256054 w 915678"/>
                  <a:gd name="connsiteY300" fmla="*/ 673498 h 815526"/>
                  <a:gd name="connsiteX301" fmla="*/ 248656 w 915678"/>
                  <a:gd name="connsiteY301" fmla="*/ 672355 h 815526"/>
                  <a:gd name="connsiteX302" fmla="*/ 247513 w 915678"/>
                  <a:gd name="connsiteY302" fmla="*/ 679753 h 815526"/>
                  <a:gd name="connsiteX303" fmla="*/ 248185 w 915678"/>
                  <a:gd name="connsiteY303" fmla="*/ 680509 h 815526"/>
                  <a:gd name="connsiteX304" fmla="*/ 211272 w 915678"/>
                  <a:gd name="connsiteY304" fmla="*/ 713273 h 815526"/>
                  <a:gd name="connsiteX305" fmla="*/ 217746 w 915678"/>
                  <a:gd name="connsiteY305" fmla="*/ 713380 h 815526"/>
                  <a:gd name="connsiteX306" fmla="*/ 217853 w 915678"/>
                  <a:gd name="connsiteY306" fmla="*/ 713273 h 815526"/>
                  <a:gd name="connsiteX307" fmla="*/ 217853 w 915678"/>
                  <a:gd name="connsiteY307" fmla="*/ 706691 h 815526"/>
                  <a:gd name="connsiteX308" fmla="*/ 211339 w 915678"/>
                  <a:gd name="connsiteY308" fmla="*/ 705223 h 815526"/>
                  <a:gd name="connsiteX309" fmla="*/ 209871 w 915678"/>
                  <a:gd name="connsiteY309" fmla="*/ 711736 h 815526"/>
                  <a:gd name="connsiteX310" fmla="*/ 210843 w 915678"/>
                  <a:gd name="connsiteY310" fmla="*/ 712843 h 815526"/>
                  <a:gd name="connsiteX311" fmla="*/ 173786 w 915678"/>
                  <a:gd name="connsiteY311" fmla="*/ 745607 h 815526"/>
                  <a:gd name="connsiteX312" fmla="*/ 179652 w 915678"/>
                  <a:gd name="connsiteY312" fmla="*/ 745607 h 815526"/>
                  <a:gd name="connsiteX313" fmla="*/ 179652 w 915678"/>
                  <a:gd name="connsiteY313" fmla="*/ 739885 h 815526"/>
                  <a:gd name="connsiteX314" fmla="*/ 174196 w 915678"/>
                  <a:gd name="connsiteY314" fmla="*/ 739618 h 815526"/>
                  <a:gd name="connsiteX315" fmla="*/ 173929 w 915678"/>
                  <a:gd name="connsiteY315" fmla="*/ 739885 h 815526"/>
                  <a:gd name="connsiteX316" fmla="*/ 173872 w 915678"/>
                  <a:gd name="connsiteY316" fmla="*/ 745550 h 815526"/>
                  <a:gd name="connsiteX317" fmla="*/ 173929 w 915678"/>
                  <a:gd name="connsiteY317" fmla="*/ 745607 h 815526"/>
                  <a:gd name="connsiteX318" fmla="*/ 137302 w 915678"/>
                  <a:gd name="connsiteY318" fmla="*/ 778801 h 815526"/>
                  <a:gd name="connsiteX319" fmla="*/ 142158 w 915678"/>
                  <a:gd name="connsiteY319" fmla="*/ 778792 h 815526"/>
                  <a:gd name="connsiteX320" fmla="*/ 142150 w 915678"/>
                  <a:gd name="connsiteY320" fmla="*/ 773936 h 815526"/>
                  <a:gd name="connsiteX321" fmla="*/ 137302 w 915678"/>
                  <a:gd name="connsiteY321" fmla="*/ 773936 h 815526"/>
                  <a:gd name="connsiteX322" fmla="*/ 137294 w 915678"/>
                  <a:gd name="connsiteY322" fmla="*/ 778792 h 815526"/>
                  <a:gd name="connsiteX323" fmla="*/ 137302 w 915678"/>
                  <a:gd name="connsiteY323" fmla="*/ 778801 h 815526"/>
                  <a:gd name="connsiteX324" fmla="*/ 449205 w 915678"/>
                  <a:gd name="connsiteY324" fmla="*/ 460459 h 815526"/>
                  <a:gd name="connsiteX325" fmla="*/ 461547 w 915678"/>
                  <a:gd name="connsiteY325" fmla="*/ 460565 h 815526"/>
                  <a:gd name="connsiteX326" fmla="*/ 461653 w 915678"/>
                  <a:gd name="connsiteY326" fmla="*/ 460459 h 815526"/>
                  <a:gd name="connsiteX327" fmla="*/ 462511 w 915678"/>
                  <a:gd name="connsiteY327" fmla="*/ 448012 h 815526"/>
                  <a:gd name="connsiteX328" fmla="*/ 449921 w 915678"/>
                  <a:gd name="connsiteY328" fmla="*/ 447153 h 815526"/>
                  <a:gd name="connsiteX329" fmla="*/ 449875 w 915678"/>
                  <a:gd name="connsiteY329" fmla="*/ 459698 h 815526"/>
                  <a:gd name="connsiteX330" fmla="*/ 449921 w 915678"/>
                  <a:gd name="connsiteY330" fmla="*/ 459744 h 815526"/>
                  <a:gd name="connsiteX331" fmla="*/ 412864 w 915678"/>
                  <a:gd name="connsiteY331" fmla="*/ 492508 h 815526"/>
                  <a:gd name="connsiteX332" fmla="*/ 424512 w 915678"/>
                  <a:gd name="connsiteY332" fmla="*/ 493940 h 815526"/>
                  <a:gd name="connsiteX333" fmla="*/ 425944 w 915678"/>
                  <a:gd name="connsiteY333" fmla="*/ 482293 h 815526"/>
                  <a:gd name="connsiteX334" fmla="*/ 414297 w 915678"/>
                  <a:gd name="connsiteY334" fmla="*/ 480860 h 815526"/>
                  <a:gd name="connsiteX335" fmla="*/ 413437 w 915678"/>
                  <a:gd name="connsiteY335" fmla="*/ 481635 h 815526"/>
                  <a:gd name="connsiteX336" fmla="*/ 412704 w 915678"/>
                  <a:gd name="connsiteY336" fmla="*/ 493347 h 815526"/>
                  <a:gd name="connsiteX337" fmla="*/ 412721 w 915678"/>
                  <a:gd name="connsiteY337" fmla="*/ 493367 h 815526"/>
                  <a:gd name="connsiteX338" fmla="*/ 375236 w 915678"/>
                  <a:gd name="connsiteY338" fmla="*/ 525988 h 815526"/>
                  <a:gd name="connsiteX339" fmla="*/ 386109 w 915678"/>
                  <a:gd name="connsiteY339" fmla="*/ 525988 h 815526"/>
                  <a:gd name="connsiteX340" fmla="*/ 386109 w 915678"/>
                  <a:gd name="connsiteY340" fmla="*/ 515114 h 815526"/>
                  <a:gd name="connsiteX341" fmla="*/ 375386 w 915678"/>
                  <a:gd name="connsiteY341" fmla="*/ 514964 h 815526"/>
                  <a:gd name="connsiteX342" fmla="*/ 375236 w 915678"/>
                  <a:gd name="connsiteY342" fmla="*/ 515114 h 815526"/>
                  <a:gd name="connsiteX343" fmla="*/ 375236 w 915678"/>
                  <a:gd name="connsiteY343" fmla="*/ 525988 h 815526"/>
                  <a:gd name="connsiteX344" fmla="*/ 338179 w 915678"/>
                  <a:gd name="connsiteY344" fmla="*/ 558752 h 815526"/>
                  <a:gd name="connsiteX345" fmla="*/ 348195 w 915678"/>
                  <a:gd name="connsiteY345" fmla="*/ 558752 h 815526"/>
                  <a:gd name="connsiteX346" fmla="*/ 349027 w 915678"/>
                  <a:gd name="connsiteY346" fmla="*/ 548873 h 815526"/>
                  <a:gd name="connsiteX347" fmla="*/ 348910 w 915678"/>
                  <a:gd name="connsiteY347" fmla="*/ 548737 h 815526"/>
                  <a:gd name="connsiteX348" fmla="*/ 338895 w 915678"/>
                  <a:gd name="connsiteY348" fmla="*/ 548737 h 815526"/>
                  <a:gd name="connsiteX349" fmla="*/ 338793 w 915678"/>
                  <a:gd name="connsiteY349" fmla="*/ 558650 h 815526"/>
                  <a:gd name="connsiteX350" fmla="*/ 338895 w 915678"/>
                  <a:gd name="connsiteY350" fmla="*/ 558752 h 815526"/>
                  <a:gd name="connsiteX351" fmla="*/ 301981 w 915678"/>
                  <a:gd name="connsiteY351" fmla="*/ 591516 h 815526"/>
                  <a:gd name="connsiteX352" fmla="*/ 311138 w 915678"/>
                  <a:gd name="connsiteY352" fmla="*/ 591516 h 815526"/>
                  <a:gd name="connsiteX353" fmla="*/ 311710 w 915678"/>
                  <a:gd name="connsiteY353" fmla="*/ 582359 h 815526"/>
                  <a:gd name="connsiteX354" fmla="*/ 302554 w 915678"/>
                  <a:gd name="connsiteY354" fmla="*/ 581787 h 815526"/>
                  <a:gd name="connsiteX355" fmla="*/ 302554 w 915678"/>
                  <a:gd name="connsiteY355" fmla="*/ 590944 h 815526"/>
                  <a:gd name="connsiteX356" fmla="*/ 264353 w 915678"/>
                  <a:gd name="connsiteY356" fmla="*/ 624709 h 815526"/>
                  <a:gd name="connsiteX357" fmla="*/ 272648 w 915678"/>
                  <a:gd name="connsiteY357" fmla="*/ 624706 h 815526"/>
                  <a:gd name="connsiteX358" fmla="*/ 272647 w 915678"/>
                  <a:gd name="connsiteY358" fmla="*/ 616411 h 815526"/>
                  <a:gd name="connsiteX359" fmla="*/ 264353 w 915678"/>
                  <a:gd name="connsiteY359" fmla="*/ 616411 h 815526"/>
                  <a:gd name="connsiteX360" fmla="*/ 264350 w 915678"/>
                  <a:gd name="connsiteY360" fmla="*/ 624706 h 815526"/>
                  <a:gd name="connsiteX361" fmla="*/ 264353 w 915678"/>
                  <a:gd name="connsiteY361" fmla="*/ 624709 h 815526"/>
                  <a:gd name="connsiteX362" fmla="*/ 227439 w 915678"/>
                  <a:gd name="connsiteY362" fmla="*/ 657044 h 815526"/>
                  <a:gd name="connsiteX363" fmla="*/ 235022 w 915678"/>
                  <a:gd name="connsiteY363" fmla="*/ 657044 h 815526"/>
                  <a:gd name="connsiteX364" fmla="*/ 235022 w 915678"/>
                  <a:gd name="connsiteY364" fmla="*/ 649604 h 815526"/>
                  <a:gd name="connsiteX365" fmla="*/ 227511 w 915678"/>
                  <a:gd name="connsiteY365" fmla="*/ 649104 h 815526"/>
                  <a:gd name="connsiteX366" fmla="*/ 227010 w 915678"/>
                  <a:gd name="connsiteY366" fmla="*/ 656615 h 815526"/>
                  <a:gd name="connsiteX367" fmla="*/ 190097 w 915678"/>
                  <a:gd name="connsiteY367" fmla="*/ 689379 h 815526"/>
                  <a:gd name="connsiteX368" fmla="*/ 196678 w 915678"/>
                  <a:gd name="connsiteY368" fmla="*/ 689379 h 815526"/>
                  <a:gd name="connsiteX369" fmla="*/ 196786 w 915678"/>
                  <a:gd name="connsiteY369" fmla="*/ 682905 h 815526"/>
                  <a:gd name="connsiteX370" fmla="*/ 196678 w 915678"/>
                  <a:gd name="connsiteY370" fmla="*/ 682798 h 815526"/>
                  <a:gd name="connsiteX371" fmla="*/ 190097 w 915678"/>
                  <a:gd name="connsiteY371" fmla="*/ 682798 h 815526"/>
                  <a:gd name="connsiteX372" fmla="*/ 189990 w 915678"/>
                  <a:gd name="connsiteY372" fmla="*/ 689272 h 815526"/>
                  <a:gd name="connsiteX373" fmla="*/ 190097 w 915678"/>
                  <a:gd name="connsiteY373" fmla="*/ 689379 h 815526"/>
                  <a:gd name="connsiteX374" fmla="*/ 153184 w 915678"/>
                  <a:gd name="connsiteY374" fmla="*/ 722143 h 815526"/>
                  <a:gd name="connsiteX375" fmla="*/ 158907 w 915678"/>
                  <a:gd name="connsiteY375" fmla="*/ 722143 h 815526"/>
                  <a:gd name="connsiteX376" fmla="*/ 159173 w 915678"/>
                  <a:gd name="connsiteY376" fmla="*/ 716686 h 815526"/>
                  <a:gd name="connsiteX377" fmla="*/ 158907 w 915678"/>
                  <a:gd name="connsiteY377" fmla="*/ 716420 h 815526"/>
                  <a:gd name="connsiteX378" fmla="*/ 153241 w 915678"/>
                  <a:gd name="connsiteY378" fmla="*/ 716363 h 815526"/>
                  <a:gd name="connsiteX379" fmla="*/ 153184 w 915678"/>
                  <a:gd name="connsiteY379" fmla="*/ 716420 h 815526"/>
                  <a:gd name="connsiteX380" fmla="*/ 153184 w 915678"/>
                  <a:gd name="connsiteY380" fmla="*/ 722286 h 815526"/>
                  <a:gd name="connsiteX381" fmla="*/ 116127 w 915678"/>
                  <a:gd name="connsiteY381" fmla="*/ 755050 h 815526"/>
                  <a:gd name="connsiteX382" fmla="*/ 121185 w 915678"/>
                  <a:gd name="connsiteY382" fmla="*/ 755101 h 815526"/>
                  <a:gd name="connsiteX383" fmla="*/ 121236 w 915678"/>
                  <a:gd name="connsiteY383" fmla="*/ 750043 h 815526"/>
                  <a:gd name="connsiteX384" fmla="*/ 116177 w 915678"/>
                  <a:gd name="connsiteY384" fmla="*/ 749993 h 815526"/>
                  <a:gd name="connsiteX385" fmla="*/ 116127 w 915678"/>
                  <a:gd name="connsiteY385" fmla="*/ 750043 h 815526"/>
                  <a:gd name="connsiteX386" fmla="*/ 116127 w 915678"/>
                  <a:gd name="connsiteY386" fmla="*/ 755050 h 815526"/>
                  <a:gd name="connsiteX387" fmla="*/ 79214 w 915678"/>
                  <a:gd name="connsiteY387" fmla="*/ 787672 h 815526"/>
                  <a:gd name="connsiteX388" fmla="*/ 83055 w 915678"/>
                  <a:gd name="connsiteY388" fmla="*/ 787838 h 815526"/>
                  <a:gd name="connsiteX389" fmla="*/ 83220 w 915678"/>
                  <a:gd name="connsiteY389" fmla="*/ 787672 h 815526"/>
                  <a:gd name="connsiteX390" fmla="*/ 83385 w 915678"/>
                  <a:gd name="connsiteY390" fmla="*/ 783830 h 815526"/>
                  <a:gd name="connsiteX391" fmla="*/ 83220 w 915678"/>
                  <a:gd name="connsiteY391" fmla="*/ 783665 h 815526"/>
                  <a:gd name="connsiteX392" fmla="*/ 79214 w 915678"/>
                  <a:gd name="connsiteY392" fmla="*/ 783665 h 815526"/>
                  <a:gd name="connsiteX393" fmla="*/ 79049 w 915678"/>
                  <a:gd name="connsiteY393" fmla="*/ 787506 h 815526"/>
                  <a:gd name="connsiteX394" fmla="*/ 79214 w 915678"/>
                  <a:gd name="connsiteY394" fmla="*/ 787672 h 815526"/>
                  <a:gd name="connsiteX395" fmla="*/ 479823 w 915678"/>
                  <a:gd name="connsiteY395" fmla="*/ 391354 h 815526"/>
                  <a:gd name="connsiteX396" fmla="*/ 467233 w 915678"/>
                  <a:gd name="connsiteY396" fmla="*/ 390496 h 815526"/>
                  <a:gd name="connsiteX397" fmla="*/ 466374 w 915678"/>
                  <a:gd name="connsiteY397" fmla="*/ 403086 h 815526"/>
                  <a:gd name="connsiteX398" fmla="*/ 478965 w 915678"/>
                  <a:gd name="connsiteY398" fmla="*/ 403945 h 815526"/>
                  <a:gd name="connsiteX399" fmla="*/ 479823 w 915678"/>
                  <a:gd name="connsiteY399" fmla="*/ 391354 h 815526"/>
                  <a:gd name="connsiteX400" fmla="*/ 516737 w 915678"/>
                  <a:gd name="connsiteY400" fmla="*/ 358590 h 815526"/>
                  <a:gd name="connsiteX401" fmla="*/ 505032 w 915678"/>
                  <a:gd name="connsiteY401" fmla="*/ 357743 h 815526"/>
                  <a:gd name="connsiteX402" fmla="*/ 504185 w 915678"/>
                  <a:gd name="connsiteY402" fmla="*/ 369448 h 815526"/>
                  <a:gd name="connsiteX403" fmla="*/ 515890 w 915678"/>
                  <a:gd name="connsiteY403" fmla="*/ 370295 h 815526"/>
                  <a:gd name="connsiteX404" fmla="*/ 516021 w 915678"/>
                  <a:gd name="connsiteY404" fmla="*/ 370179 h 815526"/>
                  <a:gd name="connsiteX405" fmla="*/ 516810 w 915678"/>
                  <a:gd name="connsiteY405" fmla="*/ 358673 h 815526"/>
                  <a:gd name="connsiteX406" fmla="*/ 516737 w 915678"/>
                  <a:gd name="connsiteY406" fmla="*/ 358590 h 815526"/>
                  <a:gd name="connsiteX407" fmla="*/ 553650 w 915678"/>
                  <a:gd name="connsiteY407" fmla="*/ 325826 h 815526"/>
                  <a:gd name="connsiteX408" fmla="*/ 542848 w 915678"/>
                  <a:gd name="connsiteY408" fmla="*/ 325182 h 815526"/>
                  <a:gd name="connsiteX409" fmla="*/ 542204 w 915678"/>
                  <a:gd name="connsiteY409" fmla="*/ 335984 h 815526"/>
                  <a:gd name="connsiteX410" fmla="*/ 553078 w 915678"/>
                  <a:gd name="connsiteY410" fmla="*/ 335984 h 815526"/>
                  <a:gd name="connsiteX411" fmla="*/ 553078 w 915678"/>
                  <a:gd name="connsiteY411" fmla="*/ 325111 h 815526"/>
                  <a:gd name="connsiteX412" fmla="*/ 590134 w 915678"/>
                  <a:gd name="connsiteY412" fmla="*/ 292347 h 815526"/>
                  <a:gd name="connsiteX413" fmla="*/ 580426 w 915678"/>
                  <a:gd name="connsiteY413" fmla="*/ 292039 h 815526"/>
                  <a:gd name="connsiteX414" fmla="*/ 580119 w 915678"/>
                  <a:gd name="connsiteY414" fmla="*/ 292347 h 815526"/>
                  <a:gd name="connsiteX415" fmla="*/ 579286 w 915678"/>
                  <a:gd name="connsiteY415" fmla="*/ 302226 h 815526"/>
                  <a:gd name="connsiteX416" fmla="*/ 579403 w 915678"/>
                  <a:gd name="connsiteY416" fmla="*/ 302362 h 815526"/>
                  <a:gd name="connsiteX417" fmla="*/ 589419 w 915678"/>
                  <a:gd name="connsiteY417" fmla="*/ 302362 h 815526"/>
                  <a:gd name="connsiteX418" fmla="*/ 589520 w 915678"/>
                  <a:gd name="connsiteY418" fmla="*/ 292448 h 815526"/>
                  <a:gd name="connsiteX419" fmla="*/ 589419 w 915678"/>
                  <a:gd name="connsiteY419" fmla="*/ 292347 h 815526"/>
                  <a:gd name="connsiteX420" fmla="*/ 628049 w 915678"/>
                  <a:gd name="connsiteY420" fmla="*/ 260584 h 815526"/>
                  <a:gd name="connsiteX421" fmla="*/ 618944 w 915678"/>
                  <a:gd name="connsiteY421" fmla="*/ 260532 h 815526"/>
                  <a:gd name="connsiteX422" fmla="*/ 618892 w 915678"/>
                  <a:gd name="connsiteY422" fmla="*/ 260584 h 815526"/>
                  <a:gd name="connsiteX423" fmla="*/ 618320 w 915678"/>
                  <a:gd name="connsiteY423" fmla="*/ 269741 h 815526"/>
                  <a:gd name="connsiteX424" fmla="*/ 627477 w 915678"/>
                  <a:gd name="connsiteY424" fmla="*/ 270313 h 815526"/>
                  <a:gd name="connsiteX425" fmla="*/ 627528 w 915678"/>
                  <a:gd name="connsiteY425" fmla="*/ 261208 h 815526"/>
                  <a:gd name="connsiteX426" fmla="*/ 627477 w 915678"/>
                  <a:gd name="connsiteY426" fmla="*/ 261156 h 815526"/>
                  <a:gd name="connsiteX427" fmla="*/ 664390 w 915678"/>
                  <a:gd name="connsiteY427" fmla="*/ 228392 h 815526"/>
                  <a:gd name="connsiteX428" fmla="*/ 656094 w 915678"/>
                  <a:gd name="connsiteY428" fmla="*/ 228395 h 815526"/>
                  <a:gd name="connsiteX429" fmla="*/ 656096 w 915678"/>
                  <a:gd name="connsiteY429" fmla="*/ 236690 h 815526"/>
                  <a:gd name="connsiteX430" fmla="*/ 664390 w 915678"/>
                  <a:gd name="connsiteY430" fmla="*/ 236690 h 815526"/>
                  <a:gd name="connsiteX431" fmla="*/ 664393 w 915678"/>
                  <a:gd name="connsiteY431" fmla="*/ 228395 h 815526"/>
                  <a:gd name="connsiteX432" fmla="*/ 664390 w 915678"/>
                  <a:gd name="connsiteY432" fmla="*/ 228392 h 815526"/>
                  <a:gd name="connsiteX433" fmla="*/ 701303 w 915678"/>
                  <a:gd name="connsiteY433" fmla="*/ 195485 h 815526"/>
                  <a:gd name="connsiteX434" fmla="*/ 693792 w 915678"/>
                  <a:gd name="connsiteY434" fmla="*/ 194984 h 815526"/>
                  <a:gd name="connsiteX435" fmla="*/ 693291 w 915678"/>
                  <a:gd name="connsiteY435" fmla="*/ 202496 h 815526"/>
                  <a:gd name="connsiteX436" fmla="*/ 700802 w 915678"/>
                  <a:gd name="connsiteY436" fmla="*/ 202996 h 815526"/>
                  <a:gd name="connsiteX437" fmla="*/ 701303 w 915678"/>
                  <a:gd name="connsiteY437" fmla="*/ 195485 h 815526"/>
                  <a:gd name="connsiteX438" fmla="*/ 738216 w 915678"/>
                  <a:gd name="connsiteY438" fmla="*/ 162721 h 815526"/>
                  <a:gd name="connsiteX439" fmla="*/ 731635 w 915678"/>
                  <a:gd name="connsiteY439" fmla="*/ 162721 h 815526"/>
                  <a:gd name="connsiteX440" fmla="*/ 731541 w 915678"/>
                  <a:gd name="connsiteY440" fmla="*/ 169397 h 815526"/>
                  <a:gd name="connsiteX441" fmla="*/ 738216 w 915678"/>
                  <a:gd name="connsiteY441" fmla="*/ 169493 h 815526"/>
                  <a:gd name="connsiteX442" fmla="*/ 738311 w 915678"/>
                  <a:gd name="connsiteY442" fmla="*/ 162815 h 815526"/>
                  <a:gd name="connsiteX443" fmla="*/ 738216 w 915678"/>
                  <a:gd name="connsiteY443" fmla="*/ 162721 h 815526"/>
                  <a:gd name="connsiteX444" fmla="*/ 775130 w 915678"/>
                  <a:gd name="connsiteY444" fmla="*/ 129957 h 815526"/>
                  <a:gd name="connsiteX445" fmla="*/ 769464 w 915678"/>
                  <a:gd name="connsiteY445" fmla="*/ 130014 h 815526"/>
                  <a:gd name="connsiteX446" fmla="*/ 769523 w 915678"/>
                  <a:gd name="connsiteY446" fmla="*/ 135680 h 815526"/>
                  <a:gd name="connsiteX447" fmla="*/ 775130 w 915678"/>
                  <a:gd name="connsiteY447" fmla="*/ 135680 h 815526"/>
                  <a:gd name="connsiteX448" fmla="*/ 775396 w 915678"/>
                  <a:gd name="connsiteY448" fmla="*/ 130223 h 815526"/>
                  <a:gd name="connsiteX449" fmla="*/ 775130 w 915678"/>
                  <a:gd name="connsiteY449" fmla="*/ 129957 h 815526"/>
                  <a:gd name="connsiteX450" fmla="*/ 812186 w 915678"/>
                  <a:gd name="connsiteY450" fmla="*/ 97192 h 815526"/>
                  <a:gd name="connsiteX451" fmla="*/ 807330 w 915678"/>
                  <a:gd name="connsiteY451" fmla="*/ 97201 h 815526"/>
                  <a:gd name="connsiteX452" fmla="*/ 807339 w 915678"/>
                  <a:gd name="connsiteY452" fmla="*/ 102057 h 815526"/>
                  <a:gd name="connsiteX453" fmla="*/ 812186 w 915678"/>
                  <a:gd name="connsiteY453" fmla="*/ 102057 h 815526"/>
                  <a:gd name="connsiteX454" fmla="*/ 812195 w 915678"/>
                  <a:gd name="connsiteY454" fmla="*/ 97201 h 815526"/>
                  <a:gd name="connsiteX455" fmla="*/ 812186 w 915678"/>
                  <a:gd name="connsiteY455" fmla="*/ 97192 h 815526"/>
                  <a:gd name="connsiteX456" fmla="*/ 849099 w 915678"/>
                  <a:gd name="connsiteY456" fmla="*/ 64428 h 815526"/>
                  <a:gd name="connsiteX457" fmla="*/ 845022 w 915678"/>
                  <a:gd name="connsiteY457" fmla="*/ 64214 h 815526"/>
                  <a:gd name="connsiteX458" fmla="*/ 844807 w 915678"/>
                  <a:gd name="connsiteY458" fmla="*/ 68291 h 815526"/>
                  <a:gd name="connsiteX459" fmla="*/ 848813 w 915678"/>
                  <a:gd name="connsiteY459" fmla="*/ 68291 h 815526"/>
                  <a:gd name="connsiteX460" fmla="*/ 848813 w 915678"/>
                  <a:gd name="connsiteY460" fmla="*/ 64142 h 815526"/>
                  <a:gd name="connsiteX461" fmla="*/ 458648 w 915678"/>
                  <a:gd name="connsiteY461" fmla="*/ 368033 h 815526"/>
                  <a:gd name="connsiteX462" fmla="*/ 446058 w 915678"/>
                  <a:gd name="connsiteY462" fmla="*/ 367318 h 815526"/>
                  <a:gd name="connsiteX463" fmla="*/ 445281 w 915678"/>
                  <a:gd name="connsiteY463" fmla="*/ 379838 h 815526"/>
                  <a:gd name="connsiteX464" fmla="*/ 445342 w 915678"/>
                  <a:gd name="connsiteY464" fmla="*/ 379908 h 815526"/>
                  <a:gd name="connsiteX465" fmla="*/ 457933 w 915678"/>
                  <a:gd name="connsiteY465" fmla="*/ 380624 h 815526"/>
                  <a:gd name="connsiteX466" fmla="*/ 458648 w 915678"/>
                  <a:gd name="connsiteY466" fmla="*/ 368033 h 815526"/>
                  <a:gd name="connsiteX467" fmla="*/ 495562 w 915678"/>
                  <a:gd name="connsiteY467" fmla="*/ 335269 h 815526"/>
                  <a:gd name="connsiteX468" fmla="*/ 483847 w 915678"/>
                  <a:gd name="connsiteY468" fmla="*/ 334574 h 815526"/>
                  <a:gd name="connsiteX469" fmla="*/ 483151 w 915678"/>
                  <a:gd name="connsiteY469" fmla="*/ 346289 h 815526"/>
                  <a:gd name="connsiteX470" fmla="*/ 494846 w 915678"/>
                  <a:gd name="connsiteY470" fmla="*/ 347001 h 815526"/>
                  <a:gd name="connsiteX471" fmla="*/ 495579 w 915678"/>
                  <a:gd name="connsiteY471" fmla="*/ 335289 h 815526"/>
                  <a:gd name="connsiteX472" fmla="*/ 495562 w 915678"/>
                  <a:gd name="connsiteY472" fmla="*/ 335269 h 815526"/>
                  <a:gd name="connsiteX473" fmla="*/ 532618 w 915678"/>
                  <a:gd name="connsiteY473" fmla="*/ 302505 h 815526"/>
                  <a:gd name="connsiteX474" fmla="*/ 521744 w 915678"/>
                  <a:gd name="connsiteY474" fmla="*/ 302505 h 815526"/>
                  <a:gd name="connsiteX475" fmla="*/ 521594 w 915678"/>
                  <a:gd name="connsiteY475" fmla="*/ 313228 h 815526"/>
                  <a:gd name="connsiteX476" fmla="*/ 521744 w 915678"/>
                  <a:gd name="connsiteY476" fmla="*/ 313379 h 815526"/>
                  <a:gd name="connsiteX477" fmla="*/ 532618 w 915678"/>
                  <a:gd name="connsiteY477" fmla="*/ 313379 h 815526"/>
                  <a:gd name="connsiteX478" fmla="*/ 532618 w 915678"/>
                  <a:gd name="connsiteY478" fmla="*/ 302505 h 815526"/>
                  <a:gd name="connsiteX479" fmla="*/ 569531 w 915678"/>
                  <a:gd name="connsiteY479" fmla="*/ 269741 h 815526"/>
                  <a:gd name="connsiteX480" fmla="*/ 559516 w 915678"/>
                  <a:gd name="connsiteY480" fmla="*/ 269741 h 815526"/>
                  <a:gd name="connsiteX481" fmla="*/ 560253 w 915678"/>
                  <a:gd name="connsiteY481" fmla="*/ 279830 h 815526"/>
                  <a:gd name="connsiteX482" fmla="*/ 568959 w 915678"/>
                  <a:gd name="connsiteY482" fmla="*/ 280328 h 815526"/>
                  <a:gd name="connsiteX483" fmla="*/ 568959 w 915678"/>
                  <a:gd name="connsiteY483" fmla="*/ 270313 h 815526"/>
                  <a:gd name="connsiteX484" fmla="*/ 605872 w 915678"/>
                  <a:gd name="connsiteY484" fmla="*/ 237549 h 815526"/>
                  <a:gd name="connsiteX485" fmla="*/ 596716 w 915678"/>
                  <a:gd name="connsiteY485" fmla="*/ 237549 h 815526"/>
                  <a:gd name="connsiteX486" fmla="*/ 596716 w 915678"/>
                  <a:gd name="connsiteY486" fmla="*/ 246706 h 815526"/>
                  <a:gd name="connsiteX487" fmla="*/ 605872 w 915678"/>
                  <a:gd name="connsiteY487" fmla="*/ 246706 h 815526"/>
                  <a:gd name="connsiteX488" fmla="*/ 605924 w 915678"/>
                  <a:gd name="connsiteY488" fmla="*/ 237600 h 815526"/>
                  <a:gd name="connsiteX489" fmla="*/ 605872 w 915678"/>
                  <a:gd name="connsiteY489" fmla="*/ 237549 h 815526"/>
                  <a:gd name="connsiteX490" fmla="*/ 642929 w 915678"/>
                  <a:gd name="connsiteY490" fmla="*/ 204928 h 815526"/>
                  <a:gd name="connsiteX491" fmla="*/ 634633 w 915678"/>
                  <a:gd name="connsiteY491" fmla="*/ 204931 h 815526"/>
                  <a:gd name="connsiteX492" fmla="*/ 634635 w 915678"/>
                  <a:gd name="connsiteY492" fmla="*/ 213226 h 815526"/>
                  <a:gd name="connsiteX493" fmla="*/ 642929 w 915678"/>
                  <a:gd name="connsiteY493" fmla="*/ 213226 h 815526"/>
                  <a:gd name="connsiteX494" fmla="*/ 642932 w 915678"/>
                  <a:gd name="connsiteY494" fmla="*/ 204931 h 815526"/>
                  <a:gd name="connsiteX495" fmla="*/ 642929 w 915678"/>
                  <a:gd name="connsiteY495" fmla="*/ 204928 h 815526"/>
                  <a:gd name="connsiteX496" fmla="*/ 679842 w 915678"/>
                  <a:gd name="connsiteY496" fmla="*/ 172164 h 815526"/>
                  <a:gd name="connsiteX497" fmla="*/ 672402 w 915678"/>
                  <a:gd name="connsiteY497" fmla="*/ 172164 h 815526"/>
                  <a:gd name="connsiteX498" fmla="*/ 671901 w 915678"/>
                  <a:gd name="connsiteY498" fmla="*/ 179675 h 815526"/>
                  <a:gd name="connsiteX499" fmla="*/ 679413 w 915678"/>
                  <a:gd name="connsiteY499" fmla="*/ 180176 h 815526"/>
                  <a:gd name="connsiteX500" fmla="*/ 679413 w 915678"/>
                  <a:gd name="connsiteY500" fmla="*/ 172736 h 815526"/>
                  <a:gd name="connsiteX501" fmla="*/ 717328 w 915678"/>
                  <a:gd name="connsiteY501" fmla="*/ 138255 h 815526"/>
                  <a:gd name="connsiteX502" fmla="*/ 710853 w 915678"/>
                  <a:gd name="connsiteY502" fmla="*/ 138148 h 815526"/>
                  <a:gd name="connsiteX503" fmla="*/ 710746 w 915678"/>
                  <a:gd name="connsiteY503" fmla="*/ 138255 h 815526"/>
                  <a:gd name="connsiteX504" fmla="*/ 710746 w 915678"/>
                  <a:gd name="connsiteY504" fmla="*/ 144836 h 815526"/>
                  <a:gd name="connsiteX505" fmla="*/ 717471 w 915678"/>
                  <a:gd name="connsiteY505" fmla="*/ 144836 h 815526"/>
                  <a:gd name="connsiteX506" fmla="*/ 717471 w 915678"/>
                  <a:gd name="connsiteY506" fmla="*/ 138255 h 815526"/>
                  <a:gd name="connsiteX507" fmla="*/ 754527 w 915678"/>
                  <a:gd name="connsiteY507" fmla="*/ 105491 h 815526"/>
                  <a:gd name="connsiteX508" fmla="*/ 748661 w 915678"/>
                  <a:gd name="connsiteY508" fmla="*/ 105491 h 815526"/>
                  <a:gd name="connsiteX509" fmla="*/ 748661 w 915678"/>
                  <a:gd name="connsiteY509" fmla="*/ 111214 h 815526"/>
                  <a:gd name="connsiteX510" fmla="*/ 754384 w 915678"/>
                  <a:gd name="connsiteY510" fmla="*/ 111643 h 815526"/>
                  <a:gd name="connsiteX511" fmla="*/ 754813 w 915678"/>
                  <a:gd name="connsiteY511" fmla="*/ 105920 h 815526"/>
                  <a:gd name="connsiteX512" fmla="*/ 791726 w 915678"/>
                  <a:gd name="connsiteY512" fmla="*/ 73156 h 815526"/>
                  <a:gd name="connsiteX513" fmla="*/ 786871 w 915678"/>
                  <a:gd name="connsiteY513" fmla="*/ 73165 h 815526"/>
                  <a:gd name="connsiteX514" fmla="*/ 786879 w 915678"/>
                  <a:gd name="connsiteY514" fmla="*/ 78021 h 815526"/>
                  <a:gd name="connsiteX515" fmla="*/ 791726 w 915678"/>
                  <a:gd name="connsiteY515" fmla="*/ 78021 h 815526"/>
                  <a:gd name="connsiteX516" fmla="*/ 791735 w 915678"/>
                  <a:gd name="connsiteY516" fmla="*/ 73165 h 815526"/>
                  <a:gd name="connsiteX517" fmla="*/ 791726 w 915678"/>
                  <a:gd name="connsiteY517" fmla="*/ 73156 h 815526"/>
                  <a:gd name="connsiteX518" fmla="*/ 828354 w 915678"/>
                  <a:gd name="connsiteY518" fmla="*/ 40535 h 815526"/>
                  <a:gd name="connsiteX519" fmla="*/ 824312 w 915678"/>
                  <a:gd name="connsiteY519" fmla="*/ 40744 h 815526"/>
                  <a:gd name="connsiteX520" fmla="*/ 824061 w 915678"/>
                  <a:gd name="connsiteY520" fmla="*/ 44255 h 815526"/>
                  <a:gd name="connsiteX521" fmla="*/ 828210 w 915678"/>
                  <a:gd name="connsiteY521" fmla="*/ 44255 h 815526"/>
                  <a:gd name="connsiteX522" fmla="*/ 828375 w 915678"/>
                  <a:gd name="connsiteY522" fmla="*/ 40413 h 815526"/>
                  <a:gd name="connsiteX523" fmla="*/ 828210 w 915678"/>
                  <a:gd name="connsiteY523" fmla="*/ 40249 h 815526"/>
                  <a:gd name="connsiteX524" fmla="*/ 437759 w 915678"/>
                  <a:gd name="connsiteY524" fmla="*/ 344569 h 815526"/>
                  <a:gd name="connsiteX525" fmla="*/ 425229 w 915678"/>
                  <a:gd name="connsiteY525" fmla="*/ 343957 h 815526"/>
                  <a:gd name="connsiteX526" fmla="*/ 424453 w 915678"/>
                  <a:gd name="connsiteY526" fmla="*/ 356301 h 815526"/>
                  <a:gd name="connsiteX527" fmla="*/ 437044 w 915678"/>
                  <a:gd name="connsiteY527" fmla="*/ 357159 h 815526"/>
                  <a:gd name="connsiteX528" fmla="*/ 437821 w 915678"/>
                  <a:gd name="connsiteY528" fmla="*/ 344639 h 815526"/>
                  <a:gd name="connsiteX529" fmla="*/ 437759 w 915678"/>
                  <a:gd name="connsiteY529" fmla="*/ 344569 h 815526"/>
                  <a:gd name="connsiteX530" fmla="*/ 474816 w 915678"/>
                  <a:gd name="connsiteY530" fmla="*/ 311805 h 815526"/>
                  <a:gd name="connsiteX531" fmla="*/ 463081 w 915678"/>
                  <a:gd name="connsiteY531" fmla="*/ 311802 h 815526"/>
                  <a:gd name="connsiteX532" fmla="*/ 463076 w 915678"/>
                  <a:gd name="connsiteY532" fmla="*/ 323537 h 815526"/>
                  <a:gd name="connsiteX533" fmla="*/ 474813 w 915678"/>
                  <a:gd name="connsiteY533" fmla="*/ 323540 h 815526"/>
                  <a:gd name="connsiteX534" fmla="*/ 474816 w 915678"/>
                  <a:gd name="connsiteY534" fmla="*/ 323537 h 815526"/>
                  <a:gd name="connsiteX535" fmla="*/ 474816 w 915678"/>
                  <a:gd name="connsiteY535" fmla="*/ 311805 h 815526"/>
                  <a:gd name="connsiteX536" fmla="*/ 511729 w 915678"/>
                  <a:gd name="connsiteY536" fmla="*/ 279041 h 815526"/>
                  <a:gd name="connsiteX537" fmla="*/ 500802 w 915678"/>
                  <a:gd name="connsiteY537" fmla="*/ 278988 h 815526"/>
                  <a:gd name="connsiteX538" fmla="*/ 500751 w 915678"/>
                  <a:gd name="connsiteY538" fmla="*/ 289914 h 815526"/>
                  <a:gd name="connsiteX539" fmla="*/ 511676 w 915678"/>
                  <a:gd name="connsiteY539" fmla="*/ 289967 h 815526"/>
                  <a:gd name="connsiteX540" fmla="*/ 511729 w 915678"/>
                  <a:gd name="connsiteY540" fmla="*/ 289914 h 815526"/>
                  <a:gd name="connsiteX541" fmla="*/ 511879 w 915678"/>
                  <a:gd name="connsiteY541" fmla="*/ 279191 h 815526"/>
                  <a:gd name="connsiteX542" fmla="*/ 511729 w 915678"/>
                  <a:gd name="connsiteY542" fmla="*/ 279041 h 815526"/>
                  <a:gd name="connsiteX543" fmla="*/ 548642 w 915678"/>
                  <a:gd name="connsiteY543" fmla="*/ 246276 h 815526"/>
                  <a:gd name="connsiteX544" fmla="*/ 538526 w 915678"/>
                  <a:gd name="connsiteY544" fmla="*/ 246175 h 815526"/>
                  <a:gd name="connsiteX545" fmla="*/ 538425 w 915678"/>
                  <a:gd name="connsiteY545" fmla="*/ 256292 h 815526"/>
                  <a:gd name="connsiteX546" fmla="*/ 548541 w 915678"/>
                  <a:gd name="connsiteY546" fmla="*/ 256393 h 815526"/>
                  <a:gd name="connsiteX547" fmla="*/ 548642 w 915678"/>
                  <a:gd name="connsiteY547" fmla="*/ 256292 h 815526"/>
                  <a:gd name="connsiteX548" fmla="*/ 548642 w 915678"/>
                  <a:gd name="connsiteY548" fmla="*/ 246276 h 815526"/>
                  <a:gd name="connsiteX549" fmla="*/ 585126 w 915678"/>
                  <a:gd name="connsiteY549" fmla="*/ 213512 h 815526"/>
                  <a:gd name="connsiteX550" fmla="*/ 575970 w 915678"/>
                  <a:gd name="connsiteY550" fmla="*/ 213512 h 815526"/>
                  <a:gd name="connsiteX551" fmla="*/ 575397 w 915678"/>
                  <a:gd name="connsiteY551" fmla="*/ 222669 h 815526"/>
                  <a:gd name="connsiteX552" fmla="*/ 584554 w 915678"/>
                  <a:gd name="connsiteY552" fmla="*/ 223241 h 815526"/>
                  <a:gd name="connsiteX553" fmla="*/ 584554 w 915678"/>
                  <a:gd name="connsiteY553" fmla="*/ 214085 h 815526"/>
                  <a:gd name="connsiteX554" fmla="*/ 622612 w 915678"/>
                  <a:gd name="connsiteY554" fmla="*/ 181177 h 815526"/>
                  <a:gd name="connsiteX555" fmla="*/ 614317 w 915678"/>
                  <a:gd name="connsiteY555" fmla="*/ 181180 h 815526"/>
                  <a:gd name="connsiteX556" fmla="*/ 614318 w 915678"/>
                  <a:gd name="connsiteY556" fmla="*/ 189476 h 815526"/>
                  <a:gd name="connsiteX557" fmla="*/ 622612 w 915678"/>
                  <a:gd name="connsiteY557" fmla="*/ 189476 h 815526"/>
                  <a:gd name="connsiteX558" fmla="*/ 622615 w 915678"/>
                  <a:gd name="connsiteY558" fmla="*/ 181180 h 815526"/>
                  <a:gd name="connsiteX559" fmla="*/ 622612 w 915678"/>
                  <a:gd name="connsiteY559" fmla="*/ 181177 h 815526"/>
                  <a:gd name="connsiteX560" fmla="*/ 659525 w 915678"/>
                  <a:gd name="connsiteY560" fmla="*/ 148413 h 815526"/>
                  <a:gd name="connsiteX561" fmla="*/ 652085 w 915678"/>
                  <a:gd name="connsiteY561" fmla="*/ 148413 h 815526"/>
                  <a:gd name="connsiteX562" fmla="*/ 652085 w 915678"/>
                  <a:gd name="connsiteY562" fmla="*/ 155853 h 815526"/>
                  <a:gd name="connsiteX563" fmla="*/ 659567 w 915678"/>
                  <a:gd name="connsiteY563" fmla="*/ 155568 h 815526"/>
                  <a:gd name="connsiteX564" fmla="*/ 659955 w 915678"/>
                  <a:gd name="connsiteY564" fmla="*/ 148843 h 815526"/>
                  <a:gd name="connsiteX565" fmla="*/ 697011 w 915678"/>
                  <a:gd name="connsiteY565" fmla="*/ 116078 h 815526"/>
                  <a:gd name="connsiteX566" fmla="*/ 690382 w 915678"/>
                  <a:gd name="connsiteY566" fmla="*/ 115280 h 815526"/>
                  <a:gd name="connsiteX567" fmla="*/ 689584 w 915678"/>
                  <a:gd name="connsiteY567" fmla="*/ 121910 h 815526"/>
                  <a:gd name="connsiteX568" fmla="*/ 690000 w 915678"/>
                  <a:gd name="connsiteY568" fmla="*/ 122374 h 815526"/>
                  <a:gd name="connsiteX569" fmla="*/ 696678 w 915678"/>
                  <a:gd name="connsiteY569" fmla="*/ 122291 h 815526"/>
                  <a:gd name="connsiteX570" fmla="*/ 697011 w 915678"/>
                  <a:gd name="connsiteY570" fmla="*/ 116078 h 815526"/>
                  <a:gd name="connsiteX571" fmla="*/ 733924 w 915678"/>
                  <a:gd name="connsiteY571" fmla="*/ 83314 h 815526"/>
                  <a:gd name="connsiteX572" fmla="*/ 728077 w 915678"/>
                  <a:gd name="connsiteY572" fmla="*/ 83808 h 815526"/>
                  <a:gd name="connsiteX573" fmla="*/ 727772 w 915678"/>
                  <a:gd name="connsiteY573" fmla="*/ 88751 h 815526"/>
                  <a:gd name="connsiteX574" fmla="*/ 733638 w 915678"/>
                  <a:gd name="connsiteY574" fmla="*/ 88751 h 815526"/>
                  <a:gd name="connsiteX575" fmla="*/ 733638 w 915678"/>
                  <a:gd name="connsiteY575" fmla="*/ 83028 h 815526"/>
                  <a:gd name="connsiteX576" fmla="*/ 771124 w 915678"/>
                  <a:gd name="connsiteY576" fmla="*/ 49692 h 815526"/>
                  <a:gd name="connsiteX577" fmla="*/ 766268 w 915678"/>
                  <a:gd name="connsiteY577" fmla="*/ 49683 h 815526"/>
                  <a:gd name="connsiteX578" fmla="*/ 766259 w 915678"/>
                  <a:gd name="connsiteY578" fmla="*/ 49692 h 815526"/>
                  <a:gd name="connsiteX579" fmla="*/ 766268 w 915678"/>
                  <a:gd name="connsiteY579" fmla="*/ 54548 h 815526"/>
                  <a:gd name="connsiteX580" fmla="*/ 771124 w 915678"/>
                  <a:gd name="connsiteY580" fmla="*/ 54539 h 815526"/>
                  <a:gd name="connsiteX581" fmla="*/ 771124 w 915678"/>
                  <a:gd name="connsiteY581" fmla="*/ 49692 h 815526"/>
                  <a:gd name="connsiteX582" fmla="*/ 808180 w 915678"/>
                  <a:gd name="connsiteY582" fmla="*/ 16928 h 815526"/>
                  <a:gd name="connsiteX583" fmla="*/ 804031 w 915678"/>
                  <a:gd name="connsiteY583" fmla="*/ 16928 h 815526"/>
                  <a:gd name="connsiteX584" fmla="*/ 803865 w 915678"/>
                  <a:gd name="connsiteY584" fmla="*/ 20769 h 815526"/>
                  <a:gd name="connsiteX585" fmla="*/ 804031 w 915678"/>
                  <a:gd name="connsiteY585" fmla="*/ 20934 h 815526"/>
                  <a:gd name="connsiteX586" fmla="*/ 808037 w 915678"/>
                  <a:gd name="connsiteY586" fmla="*/ 20934 h 815526"/>
                  <a:gd name="connsiteX587" fmla="*/ 808037 w 915678"/>
                  <a:gd name="connsiteY587" fmla="*/ 16784 h 815526"/>
                  <a:gd name="connsiteX588" fmla="*/ 542204 w 915678"/>
                  <a:gd name="connsiteY588" fmla="*/ 462176 h 815526"/>
                  <a:gd name="connsiteX589" fmla="*/ 529659 w 915678"/>
                  <a:gd name="connsiteY589" fmla="*/ 462131 h 815526"/>
                  <a:gd name="connsiteX590" fmla="*/ 529613 w 915678"/>
                  <a:gd name="connsiteY590" fmla="*/ 462176 h 815526"/>
                  <a:gd name="connsiteX591" fmla="*/ 529508 w 915678"/>
                  <a:gd name="connsiteY591" fmla="*/ 474518 h 815526"/>
                  <a:gd name="connsiteX592" fmla="*/ 529613 w 915678"/>
                  <a:gd name="connsiteY592" fmla="*/ 474624 h 815526"/>
                  <a:gd name="connsiteX593" fmla="*/ 542061 w 915678"/>
                  <a:gd name="connsiteY593" fmla="*/ 475482 h 815526"/>
                  <a:gd name="connsiteX594" fmla="*/ 542919 w 915678"/>
                  <a:gd name="connsiteY594" fmla="*/ 462892 h 815526"/>
                  <a:gd name="connsiteX595" fmla="*/ 579833 w 915678"/>
                  <a:gd name="connsiteY595" fmla="*/ 430128 h 815526"/>
                  <a:gd name="connsiteX596" fmla="*/ 568098 w 915678"/>
                  <a:gd name="connsiteY596" fmla="*/ 430125 h 815526"/>
                  <a:gd name="connsiteX597" fmla="*/ 568093 w 915678"/>
                  <a:gd name="connsiteY597" fmla="*/ 441860 h 815526"/>
                  <a:gd name="connsiteX598" fmla="*/ 579830 w 915678"/>
                  <a:gd name="connsiteY598" fmla="*/ 441863 h 815526"/>
                  <a:gd name="connsiteX599" fmla="*/ 579833 w 915678"/>
                  <a:gd name="connsiteY599" fmla="*/ 441860 h 815526"/>
                  <a:gd name="connsiteX600" fmla="*/ 579833 w 915678"/>
                  <a:gd name="connsiteY600" fmla="*/ 430128 h 815526"/>
                  <a:gd name="connsiteX601" fmla="*/ 616746 w 915678"/>
                  <a:gd name="connsiteY601" fmla="*/ 397363 h 815526"/>
                  <a:gd name="connsiteX602" fmla="*/ 606022 w 915678"/>
                  <a:gd name="connsiteY602" fmla="*/ 397514 h 815526"/>
                  <a:gd name="connsiteX603" fmla="*/ 606174 w 915678"/>
                  <a:gd name="connsiteY603" fmla="*/ 408237 h 815526"/>
                  <a:gd name="connsiteX604" fmla="*/ 616746 w 915678"/>
                  <a:gd name="connsiteY604" fmla="*/ 408237 h 815526"/>
                  <a:gd name="connsiteX605" fmla="*/ 616746 w 915678"/>
                  <a:gd name="connsiteY605" fmla="*/ 397363 h 815526"/>
                  <a:gd name="connsiteX606" fmla="*/ 653802 w 915678"/>
                  <a:gd name="connsiteY606" fmla="*/ 364599 h 815526"/>
                  <a:gd name="connsiteX607" fmla="*/ 643787 w 915678"/>
                  <a:gd name="connsiteY607" fmla="*/ 364599 h 815526"/>
                  <a:gd name="connsiteX608" fmla="*/ 643479 w 915678"/>
                  <a:gd name="connsiteY608" fmla="*/ 374307 h 815526"/>
                  <a:gd name="connsiteX609" fmla="*/ 643787 w 915678"/>
                  <a:gd name="connsiteY609" fmla="*/ 374615 h 815526"/>
                  <a:gd name="connsiteX610" fmla="*/ 653728 w 915678"/>
                  <a:gd name="connsiteY610" fmla="*/ 376496 h 815526"/>
                  <a:gd name="connsiteX611" fmla="*/ 655609 w 915678"/>
                  <a:gd name="connsiteY611" fmla="*/ 366555 h 815526"/>
                  <a:gd name="connsiteX612" fmla="*/ 654375 w 915678"/>
                  <a:gd name="connsiteY612" fmla="*/ 365172 h 815526"/>
                  <a:gd name="connsiteX613" fmla="*/ 691288 w 915678"/>
                  <a:gd name="connsiteY613" fmla="*/ 332407 h 815526"/>
                  <a:gd name="connsiteX614" fmla="*/ 682131 w 915678"/>
                  <a:gd name="connsiteY614" fmla="*/ 331835 h 815526"/>
                  <a:gd name="connsiteX615" fmla="*/ 681559 w 915678"/>
                  <a:gd name="connsiteY615" fmla="*/ 340992 h 815526"/>
                  <a:gd name="connsiteX616" fmla="*/ 690716 w 915678"/>
                  <a:gd name="connsiteY616" fmla="*/ 341564 h 815526"/>
                  <a:gd name="connsiteX617" fmla="*/ 691288 w 915678"/>
                  <a:gd name="connsiteY617" fmla="*/ 332407 h 815526"/>
                  <a:gd name="connsiteX618" fmla="*/ 728201 w 915678"/>
                  <a:gd name="connsiteY618" fmla="*/ 299643 h 815526"/>
                  <a:gd name="connsiteX619" fmla="*/ 719906 w 915678"/>
                  <a:gd name="connsiteY619" fmla="*/ 299646 h 815526"/>
                  <a:gd name="connsiteX620" fmla="*/ 719907 w 915678"/>
                  <a:gd name="connsiteY620" fmla="*/ 307942 h 815526"/>
                  <a:gd name="connsiteX621" fmla="*/ 728201 w 915678"/>
                  <a:gd name="connsiteY621" fmla="*/ 307942 h 815526"/>
                  <a:gd name="connsiteX622" fmla="*/ 728204 w 915678"/>
                  <a:gd name="connsiteY622" fmla="*/ 299646 h 815526"/>
                  <a:gd name="connsiteX623" fmla="*/ 728201 w 915678"/>
                  <a:gd name="connsiteY623" fmla="*/ 299643 h 815526"/>
                  <a:gd name="connsiteX624" fmla="*/ 765258 w 915678"/>
                  <a:gd name="connsiteY624" fmla="*/ 266879 h 815526"/>
                  <a:gd name="connsiteX625" fmla="*/ 757818 w 915678"/>
                  <a:gd name="connsiteY625" fmla="*/ 266879 h 815526"/>
                  <a:gd name="connsiteX626" fmla="*/ 757660 w 915678"/>
                  <a:gd name="connsiteY626" fmla="*/ 274162 h 815526"/>
                  <a:gd name="connsiteX627" fmla="*/ 757818 w 915678"/>
                  <a:gd name="connsiteY627" fmla="*/ 274319 h 815526"/>
                  <a:gd name="connsiteX628" fmla="*/ 765258 w 915678"/>
                  <a:gd name="connsiteY628" fmla="*/ 274319 h 815526"/>
                  <a:gd name="connsiteX629" fmla="*/ 765258 w 915678"/>
                  <a:gd name="connsiteY629" fmla="*/ 266879 h 815526"/>
                  <a:gd name="connsiteX630" fmla="*/ 802171 w 915678"/>
                  <a:gd name="connsiteY630" fmla="*/ 234115 h 815526"/>
                  <a:gd name="connsiteX631" fmla="*/ 795589 w 915678"/>
                  <a:gd name="connsiteY631" fmla="*/ 234115 h 815526"/>
                  <a:gd name="connsiteX632" fmla="*/ 795482 w 915678"/>
                  <a:gd name="connsiteY632" fmla="*/ 240589 h 815526"/>
                  <a:gd name="connsiteX633" fmla="*/ 795589 w 915678"/>
                  <a:gd name="connsiteY633" fmla="*/ 240697 h 815526"/>
                  <a:gd name="connsiteX634" fmla="*/ 802171 w 915678"/>
                  <a:gd name="connsiteY634" fmla="*/ 240697 h 815526"/>
                  <a:gd name="connsiteX635" fmla="*/ 802278 w 915678"/>
                  <a:gd name="connsiteY635" fmla="*/ 234222 h 815526"/>
                  <a:gd name="connsiteX636" fmla="*/ 802171 w 915678"/>
                  <a:gd name="connsiteY636" fmla="*/ 234115 h 815526"/>
                  <a:gd name="connsiteX637" fmla="*/ 839084 w 915678"/>
                  <a:gd name="connsiteY637" fmla="*/ 201351 h 815526"/>
                  <a:gd name="connsiteX638" fmla="*/ 833418 w 915678"/>
                  <a:gd name="connsiteY638" fmla="*/ 201294 h 815526"/>
                  <a:gd name="connsiteX639" fmla="*/ 833361 w 915678"/>
                  <a:gd name="connsiteY639" fmla="*/ 201351 h 815526"/>
                  <a:gd name="connsiteX640" fmla="*/ 833095 w 915678"/>
                  <a:gd name="connsiteY640" fmla="*/ 206808 h 815526"/>
                  <a:gd name="connsiteX641" fmla="*/ 833361 w 915678"/>
                  <a:gd name="connsiteY641" fmla="*/ 207074 h 815526"/>
                  <a:gd name="connsiteX642" fmla="*/ 839027 w 915678"/>
                  <a:gd name="connsiteY642" fmla="*/ 207131 h 815526"/>
                  <a:gd name="connsiteX643" fmla="*/ 839084 w 915678"/>
                  <a:gd name="connsiteY643" fmla="*/ 207074 h 815526"/>
                  <a:gd name="connsiteX644" fmla="*/ 839084 w 915678"/>
                  <a:gd name="connsiteY644" fmla="*/ 201208 h 815526"/>
                  <a:gd name="connsiteX645" fmla="*/ 874710 w 915678"/>
                  <a:gd name="connsiteY645" fmla="*/ 166870 h 815526"/>
                  <a:gd name="connsiteX646" fmla="*/ 869854 w 915678"/>
                  <a:gd name="connsiteY646" fmla="*/ 166861 h 815526"/>
                  <a:gd name="connsiteX647" fmla="*/ 869845 w 915678"/>
                  <a:gd name="connsiteY647" fmla="*/ 166870 h 815526"/>
                  <a:gd name="connsiteX648" fmla="*/ 869845 w 915678"/>
                  <a:gd name="connsiteY648" fmla="*/ 171878 h 815526"/>
                  <a:gd name="connsiteX649" fmla="*/ 874701 w 915678"/>
                  <a:gd name="connsiteY649" fmla="*/ 171886 h 815526"/>
                  <a:gd name="connsiteX650" fmla="*/ 874710 w 915678"/>
                  <a:gd name="connsiteY650" fmla="*/ 171878 h 815526"/>
                  <a:gd name="connsiteX651" fmla="*/ 874710 w 915678"/>
                  <a:gd name="connsiteY651" fmla="*/ 166870 h 815526"/>
                  <a:gd name="connsiteX652" fmla="*/ 911623 w 915678"/>
                  <a:gd name="connsiteY652" fmla="*/ 134106 h 815526"/>
                  <a:gd name="connsiteX653" fmla="*/ 907782 w 915678"/>
                  <a:gd name="connsiteY653" fmla="*/ 133941 h 815526"/>
                  <a:gd name="connsiteX654" fmla="*/ 907617 w 915678"/>
                  <a:gd name="connsiteY654" fmla="*/ 134106 h 815526"/>
                  <a:gd name="connsiteX655" fmla="*/ 906836 w 915678"/>
                  <a:gd name="connsiteY655" fmla="*/ 138076 h 815526"/>
                  <a:gd name="connsiteX656" fmla="*/ 910808 w 915678"/>
                  <a:gd name="connsiteY656" fmla="*/ 138857 h 815526"/>
                  <a:gd name="connsiteX657" fmla="*/ 911337 w 915678"/>
                  <a:gd name="connsiteY657" fmla="*/ 138398 h 815526"/>
                  <a:gd name="connsiteX658" fmla="*/ 911440 w 915678"/>
                  <a:gd name="connsiteY658" fmla="*/ 134352 h 815526"/>
                  <a:gd name="connsiteX659" fmla="*/ 911337 w 915678"/>
                  <a:gd name="connsiteY659" fmla="*/ 134249 h 815526"/>
                  <a:gd name="connsiteX660" fmla="*/ 521172 w 915678"/>
                  <a:gd name="connsiteY660" fmla="*/ 438712 h 815526"/>
                  <a:gd name="connsiteX661" fmla="*/ 508581 w 915678"/>
                  <a:gd name="connsiteY661" fmla="*/ 437997 h 815526"/>
                  <a:gd name="connsiteX662" fmla="*/ 507866 w 915678"/>
                  <a:gd name="connsiteY662" fmla="*/ 450587 h 815526"/>
                  <a:gd name="connsiteX663" fmla="*/ 520411 w 915678"/>
                  <a:gd name="connsiteY663" fmla="*/ 450633 h 815526"/>
                  <a:gd name="connsiteX664" fmla="*/ 520457 w 915678"/>
                  <a:gd name="connsiteY664" fmla="*/ 450587 h 815526"/>
                  <a:gd name="connsiteX665" fmla="*/ 521172 w 915678"/>
                  <a:gd name="connsiteY665" fmla="*/ 437997 h 815526"/>
                  <a:gd name="connsiteX666" fmla="*/ 558085 w 915678"/>
                  <a:gd name="connsiteY666" fmla="*/ 405376 h 815526"/>
                  <a:gd name="connsiteX667" fmla="*/ 546552 w 915678"/>
                  <a:gd name="connsiteY667" fmla="*/ 405431 h 815526"/>
                  <a:gd name="connsiteX668" fmla="*/ 546608 w 915678"/>
                  <a:gd name="connsiteY668" fmla="*/ 416965 h 815526"/>
                  <a:gd name="connsiteX669" fmla="*/ 558085 w 915678"/>
                  <a:gd name="connsiteY669" fmla="*/ 416965 h 815526"/>
                  <a:gd name="connsiteX670" fmla="*/ 558347 w 915678"/>
                  <a:gd name="connsiteY670" fmla="*/ 405636 h 815526"/>
                  <a:gd name="connsiteX671" fmla="*/ 558085 w 915678"/>
                  <a:gd name="connsiteY671" fmla="*/ 405376 h 815526"/>
                  <a:gd name="connsiteX672" fmla="*/ 595142 w 915678"/>
                  <a:gd name="connsiteY672" fmla="*/ 372612 h 815526"/>
                  <a:gd name="connsiteX673" fmla="*/ 584454 w 915678"/>
                  <a:gd name="connsiteY673" fmla="*/ 371733 h 815526"/>
                  <a:gd name="connsiteX674" fmla="*/ 584268 w 915678"/>
                  <a:gd name="connsiteY674" fmla="*/ 371896 h 815526"/>
                  <a:gd name="connsiteX675" fmla="*/ 584268 w 915678"/>
                  <a:gd name="connsiteY675" fmla="*/ 382770 h 815526"/>
                  <a:gd name="connsiteX676" fmla="*/ 595195 w 915678"/>
                  <a:gd name="connsiteY676" fmla="*/ 382690 h 815526"/>
                  <a:gd name="connsiteX677" fmla="*/ 595857 w 915678"/>
                  <a:gd name="connsiteY677" fmla="*/ 372612 h 815526"/>
                  <a:gd name="connsiteX678" fmla="*/ 632770 w 915678"/>
                  <a:gd name="connsiteY678" fmla="*/ 339847 h 815526"/>
                  <a:gd name="connsiteX679" fmla="*/ 622891 w 915678"/>
                  <a:gd name="connsiteY679" fmla="*/ 339015 h 815526"/>
                  <a:gd name="connsiteX680" fmla="*/ 622755 w 915678"/>
                  <a:gd name="connsiteY680" fmla="*/ 339132 h 815526"/>
                  <a:gd name="connsiteX681" fmla="*/ 622755 w 915678"/>
                  <a:gd name="connsiteY681" fmla="*/ 349147 h 815526"/>
                  <a:gd name="connsiteX682" fmla="*/ 632669 w 915678"/>
                  <a:gd name="connsiteY682" fmla="*/ 349249 h 815526"/>
                  <a:gd name="connsiteX683" fmla="*/ 632770 w 915678"/>
                  <a:gd name="connsiteY683" fmla="*/ 349147 h 815526"/>
                  <a:gd name="connsiteX684" fmla="*/ 632770 w 915678"/>
                  <a:gd name="connsiteY684" fmla="*/ 339132 h 815526"/>
                  <a:gd name="connsiteX685" fmla="*/ 669684 w 915678"/>
                  <a:gd name="connsiteY685" fmla="*/ 306368 h 815526"/>
                  <a:gd name="connsiteX686" fmla="*/ 660578 w 915678"/>
                  <a:gd name="connsiteY686" fmla="*/ 306316 h 815526"/>
                  <a:gd name="connsiteX687" fmla="*/ 660527 w 915678"/>
                  <a:gd name="connsiteY687" fmla="*/ 306368 h 815526"/>
                  <a:gd name="connsiteX688" fmla="*/ 660377 w 915678"/>
                  <a:gd name="connsiteY688" fmla="*/ 315675 h 815526"/>
                  <a:gd name="connsiteX689" fmla="*/ 669684 w 915678"/>
                  <a:gd name="connsiteY689" fmla="*/ 315824 h 815526"/>
                  <a:gd name="connsiteX690" fmla="*/ 669834 w 915678"/>
                  <a:gd name="connsiteY690" fmla="*/ 306518 h 815526"/>
                  <a:gd name="connsiteX691" fmla="*/ 669684 w 915678"/>
                  <a:gd name="connsiteY691" fmla="*/ 306368 h 815526"/>
                  <a:gd name="connsiteX692" fmla="*/ 706740 w 915678"/>
                  <a:gd name="connsiteY692" fmla="*/ 273604 h 815526"/>
                  <a:gd name="connsiteX693" fmla="*/ 698445 w 915678"/>
                  <a:gd name="connsiteY693" fmla="*/ 273607 h 815526"/>
                  <a:gd name="connsiteX694" fmla="*/ 698446 w 915678"/>
                  <a:gd name="connsiteY694" fmla="*/ 281902 h 815526"/>
                  <a:gd name="connsiteX695" fmla="*/ 706740 w 915678"/>
                  <a:gd name="connsiteY695" fmla="*/ 281902 h 815526"/>
                  <a:gd name="connsiteX696" fmla="*/ 706743 w 915678"/>
                  <a:gd name="connsiteY696" fmla="*/ 273607 h 815526"/>
                  <a:gd name="connsiteX697" fmla="*/ 706740 w 915678"/>
                  <a:gd name="connsiteY697" fmla="*/ 273604 h 815526"/>
                  <a:gd name="connsiteX698" fmla="*/ 742509 w 915678"/>
                  <a:gd name="connsiteY698" fmla="*/ 242127 h 815526"/>
                  <a:gd name="connsiteX699" fmla="*/ 735110 w 915678"/>
                  <a:gd name="connsiteY699" fmla="*/ 240984 h 815526"/>
                  <a:gd name="connsiteX700" fmla="*/ 733967 w 915678"/>
                  <a:gd name="connsiteY700" fmla="*/ 248383 h 815526"/>
                  <a:gd name="connsiteX701" fmla="*/ 734640 w 915678"/>
                  <a:gd name="connsiteY701" fmla="*/ 249138 h 815526"/>
                  <a:gd name="connsiteX702" fmla="*/ 742080 w 915678"/>
                  <a:gd name="connsiteY702" fmla="*/ 249138 h 815526"/>
                  <a:gd name="connsiteX703" fmla="*/ 742080 w 915678"/>
                  <a:gd name="connsiteY703" fmla="*/ 241698 h 815526"/>
                  <a:gd name="connsiteX704" fmla="*/ 779851 w 915678"/>
                  <a:gd name="connsiteY704" fmla="*/ 209792 h 815526"/>
                  <a:gd name="connsiteX705" fmla="*/ 773377 w 915678"/>
                  <a:gd name="connsiteY705" fmla="*/ 209685 h 815526"/>
                  <a:gd name="connsiteX706" fmla="*/ 773270 w 915678"/>
                  <a:gd name="connsiteY706" fmla="*/ 209792 h 815526"/>
                  <a:gd name="connsiteX707" fmla="*/ 773270 w 915678"/>
                  <a:gd name="connsiteY707" fmla="*/ 216374 h 815526"/>
                  <a:gd name="connsiteX708" fmla="*/ 779744 w 915678"/>
                  <a:gd name="connsiteY708" fmla="*/ 216481 h 815526"/>
                  <a:gd name="connsiteX709" fmla="*/ 779851 w 915678"/>
                  <a:gd name="connsiteY709" fmla="*/ 216374 h 815526"/>
                  <a:gd name="connsiteX710" fmla="*/ 779851 w 915678"/>
                  <a:gd name="connsiteY710" fmla="*/ 209792 h 815526"/>
                  <a:gd name="connsiteX711" fmla="*/ 816908 w 915678"/>
                  <a:gd name="connsiteY711" fmla="*/ 177028 h 815526"/>
                  <a:gd name="connsiteX712" fmla="*/ 811242 w 915678"/>
                  <a:gd name="connsiteY712" fmla="*/ 176971 h 815526"/>
                  <a:gd name="connsiteX713" fmla="*/ 811185 w 915678"/>
                  <a:gd name="connsiteY713" fmla="*/ 177028 h 815526"/>
                  <a:gd name="connsiteX714" fmla="*/ 811127 w 915678"/>
                  <a:gd name="connsiteY714" fmla="*/ 182694 h 815526"/>
                  <a:gd name="connsiteX715" fmla="*/ 811185 w 915678"/>
                  <a:gd name="connsiteY715" fmla="*/ 182751 h 815526"/>
                  <a:gd name="connsiteX716" fmla="*/ 816850 w 915678"/>
                  <a:gd name="connsiteY716" fmla="*/ 182808 h 815526"/>
                  <a:gd name="connsiteX717" fmla="*/ 816908 w 915678"/>
                  <a:gd name="connsiteY717" fmla="*/ 182751 h 815526"/>
                  <a:gd name="connsiteX718" fmla="*/ 816965 w 915678"/>
                  <a:gd name="connsiteY718" fmla="*/ 177085 h 815526"/>
                  <a:gd name="connsiteX719" fmla="*/ 816908 w 915678"/>
                  <a:gd name="connsiteY719" fmla="*/ 177028 h 815526"/>
                  <a:gd name="connsiteX720" fmla="*/ 853821 w 915678"/>
                  <a:gd name="connsiteY720" fmla="*/ 144264 h 815526"/>
                  <a:gd name="connsiteX721" fmla="*/ 848965 w 915678"/>
                  <a:gd name="connsiteY721" fmla="*/ 144273 h 815526"/>
                  <a:gd name="connsiteX722" fmla="*/ 848974 w 915678"/>
                  <a:gd name="connsiteY722" fmla="*/ 149129 h 815526"/>
                  <a:gd name="connsiteX723" fmla="*/ 853821 w 915678"/>
                  <a:gd name="connsiteY723" fmla="*/ 149129 h 815526"/>
                  <a:gd name="connsiteX724" fmla="*/ 853830 w 915678"/>
                  <a:gd name="connsiteY724" fmla="*/ 144273 h 815526"/>
                  <a:gd name="connsiteX725" fmla="*/ 853821 w 915678"/>
                  <a:gd name="connsiteY725" fmla="*/ 144264 h 815526"/>
                  <a:gd name="connsiteX726" fmla="*/ 890734 w 915678"/>
                  <a:gd name="connsiteY726" fmla="*/ 111500 h 815526"/>
                  <a:gd name="connsiteX727" fmla="*/ 886728 w 915678"/>
                  <a:gd name="connsiteY727" fmla="*/ 111500 h 815526"/>
                  <a:gd name="connsiteX728" fmla="*/ 886728 w 915678"/>
                  <a:gd name="connsiteY728" fmla="*/ 115649 h 815526"/>
                  <a:gd name="connsiteX729" fmla="*/ 890877 w 915678"/>
                  <a:gd name="connsiteY729" fmla="*/ 115649 h 815526"/>
                  <a:gd name="connsiteX730" fmla="*/ 891043 w 915678"/>
                  <a:gd name="connsiteY730" fmla="*/ 111808 h 815526"/>
                  <a:gd name="connsiteX731" fmla="*/ 890877 w 915678"/>
                  <a:gd name="connsiteY731" fmla="*/ 111643 h 815526"/>
                  <a:gd name="connsiteX732" fmla="*/ 500283 w 915678"/>
                  <a:gd name="connsiteY732" fmla="*/ 415105 h 815526"/>
                  <a:gd name="connsiteX733" fmla="*/ 487969 w 915678"/>
                  <a:gd name="connsiteY733" fmla="*/ 414271 h 815526"/>
                  <a:gd name="connsiteX734" fmla="*/ 487836 w 915678"/>
                  <a:gd name="connsiteY734" fmla="*/ 414389 h 815526"/>
                  <a:gd name="connsiteX735" fmla="*/ 486907 w 915678"/>
                  <a:gd name="connsiteY735" fmla="*/ 426900 h 815526"/>
                  <a:gd name="connsiteX736" fmla="*/ 486977 w 915678"/>
                  <a:gd name="connsiteY736" fmla="*/ 426980 h 815526"/>
                  <a:gd name="connsiteX737" fmla="*/ 499568 w 915678"/>
                  <a:gd name="connsiteY737" fmla="*/ 426980 h 815526"/>
                  <a:gd name="connsiteX738" fmla="*/ 499613 w 915678"/>
                  <a:gd name="connsiteY738" fmla="*/ 414435 h 815526"/>
                  <a:gd name="connsiteX739" fmla="*/ 499568 w 915678"/>
                  <a:gd name="connsiteY739" fmla="*/ 414389 h 815526"/>
                  <a:gd name="connsiteX740" fmla="*/ 536624 w 915678"/>
                  <a:gd name="connsiteY740" fmla="*/ 381625 h 815526"/>
                  <a:gd name="connsiteX741" fmla="*/ 524889 w 915678"/>
                  <a:gd name="connsiteY741" fmla="*/ 381622 h 815526"/>
                  <a:gd name="connsiteX742" fmla="*/ 524885 w 915678"/>
                  <a:gd name="connsiteY742" fmla="*/ 393357 h 815526"/>
                  <a:gd name="connsiteX743" fmla="*/ 536621 w 915678"/>
                  <a:gd name="connsiteY743" fmla="*/ 393360 h 815526"/>
                  <a:gd name="connsiteX744" fmla="*/ 536624 w 915678"/>
                  <a:gd name="connsiteY744" fmla="*/ 393357 h 815526"/>
                  <a:gd name="connsiteX745" fmla="*/ 536624 w 915678"/>
                  <a:gd name="connsiteY745" fmla="*/ 381625 h 815526"/>
                  <a:gd name="connsiteX746" fmla="*/ 573537 w 915678"/>
                  <a:gd name="connsiteY746" fmla="*/ 348861 h 815526"/>
                  <a:gd name="connsiteX747" fmla="*/ 562664 w 915678"/>
                  <a:gd name="connsiteY747" fmla="*/ 348861 h 815526"/>
                  <a:gd name="connsiteX748" fmla="*/ 562657 w 915678"/>
                  <a:gd name="connsiteY748" fmla="*/ 359585 h 815526"/>
                  <a:gd name="connsiteX749" fmla="*/ 562664 w 915678"/>
                  <a:gd name="connsiteY749" fmla="*/ 359592 h 815526"/>
                  <a:gd name="connsiteX750" fmla="*/ 573144 w 915678"/>
                  <a:gd name="connsiteY750" fmla="*/ 360526 h 815526"/>
                  <a:gd name="connsiteX751" fmla="*/ 573394 w 915678"/>
                  <a:gd name="connsiteY751" fmla="*/ 360307 h 815526"/>
                  <a:gd name="connsiteX752" fmla="*/ 574273 w 915678"/>
                  <a:gd name="connsiteY752" fmla="*/ 349619 h 815526"/>
                  <a:gd name="connsiteX753" fmla="*/ 574110 w 915678"/>
                  <a:gd name="connsiteY753" fmla="*/ 349433 h 815526"/>
                  <a:gd name="connsiteX754" fmla="*/ 611023 w 915678"/>
                  <a:gd name="connsiteY754" fmla="*/ 316669 h 815526"/>
                  <a:gd name="connsiteX755" fmla="*/ 600906 w 915678"/>
                  <a:gd name="connsiteY755" fmla="*/ 316568 h 815526"/>
                  <a:gd name="connsiteX756" fmla="*/ 600806 w 915678"/>
                  <a:gd name="connsiteY756" fmla="*/ 326684 h 815526"/>
                  <a:gd name="connsiteX757" fmla="*/ 610921 w 915678"/>
                  <a:gd name="connsiteY757" fmla="*/ 326786 h 815526"/>
                  <a:gd name="connsiteX758" fmla="*/ 611023 w 915678"/>
                  <a:gd name="connsiteY758" fmla="*/ 326684 h 815526"/>
                  <a:gd name="connsiteX759" fmla="*/ 611125 w 915678"/>
                  <a:gd name="connsiteY759" fmla="*/ 316771 h 815526"/>
                  <a:gd name="connsiteX760" fmla="*/ 611023 w 915678"/>
                  <a:gd name="connsiteY760" fmla="*/ 316669 h 815526"/>
                  <a:gd name="connsiteX761" fmla="*/ 648079 w 915678"/>
                  <a:gd name="connsiteY761" fmla="*/ 283905 h 815526"/>
                  <a:gd name="connsiteX762" fmla="*/ 638923 w 915678"/>
                  <a:gd name="connsiteY762" fmla="*/ 283905 h 815526"/>
                  <a:gd name="connsiteX763" fmla="*/ 638350 w 915678"/>
                  <a:gd name="connsiteY763" fmla="*/ 293062 h 815526"/>
                  <a:gd name="connsiteX764" fmla="*/ 647507 w 915678"/>
                  <a:gd name="connsiteY764" fmla="*/ 293634 h 815526"/>
                  <a:gd name="connsiteX765" fmla="*/ 647507 w 915678"/>
                  <a:gd name="connsiteY765" fmla="*/ 284477 h 815526"/>
                  <a:gd name="connsiteX766" fmla="*/ 685279 w 915678"/>
                  <a:gd name="connsiteY766" fmla="*/ 251284 h 815526"/>
                  <a:gd name="connsiteX767" fmla="*/ 676909 w 915678"/>
                  <a:gd name="connsiteY767" fmla="*/ 250783 h 815526"/>
                  <a:gd name="connsiteX768" fmla="*/ 676408 w 915678"/>
                  <a:gd name="connsiteY768" fmla="*/ 259153 h 815526"/>
                  <a:gd name="connsiteX769" fmla="*/ 684850 w 915678"/>
                  <a:gd name="connsiteY769" fmla="*/ 259153 h 815526"/>
                  <a:gd name="connsiteX770" fmla="*/ 684852 w 915678"/>
                  <a:gd name="connsiteY770" fmla="*/ 250858 h 815526"/>
                  <a:gd name="connsiteX771" fmla="*/ 684850 w 915678"/>
                  <a:gd name="connsiteY771" fmla="*/ 250855 h 815526"/>
                  <a:gd name="connsiteX772" fmla="*/ 721763 w 915678"/>
                  <a:gd name="connsiteY772" fmla="*/ 218091 h 815526"/>
                  <a:gd name="connsiteX773" fmla="*/ 714365 w 915678"/>
                  <a:gd name="connsiteY773" fmla="*/ 216948 h 815526"/>
                  <a:gd name="connsiteX774" fmla="*/ 713221 w 915678"/>
                  <a:gd name="connsiteY774" fmla="*/ 224346 h 815526"/>
                  <a:gd name="connsiteX775" fmla="*/ 713894 w 915678"/>
                  <a:gd name="connsiteY775" fmla="*/ 225101 h 815526"/>
                  <a:gd name="connsiteX776" fmla="*/ 721292 w 915678"/>
                  <a:gd name="connsiteY776" fmla="*/ 226245 h 815526"/>
                  <a:gd name="connsiteX777" fmla="*/ 722435 w 915678"/>
                  <a:gd name="connsiteY777" fmla="*/ 218846 h 815526"/>
                  <a:gd name="connsiteX778" fmla="*/ 721763 w 915678"/>
                  <a:gd name="connsiteY778" fmla="*/ 218091 h 815526"/>
                  <a:gd name="connsiteX779" fmla="*/ 758819 w 915678"/>
                  <a:gd name="connsiteY779" fmla="*/ 185327 h 815526"/>
                  <a:gd name="connsiteX780" fmla="*/ 752238 w 915678"/>
                  <a:gd name="connsiteY780" fmla="*/ 185327 h 815526"/>
                  <a:gd name="connsiteX781" fmla="*/ 752131 w 915678"/>
                  <a:gd name="connsiteY781" fmla="*/ 191801 h 815526"/>
                  <a:gd name="connsiteX782" fmla="*/ 752238 w 915678"/>
                  <a:gd name="connsiteY782" fmla="*/ 191908 h 815526"/>
                  <a:gd name="connsiteX783" fmla="*/ 758819 w 915678"/>
                  <a:gd name="connsiteY783" fmla="*/ 191908 h 815526"/>
                  <a:gd name="connsiteX784" fmla="*/ 758819 w 915678"/>
                  <a:gd name="connsiteY784" fmla="*/ 185184 h 815526"/>
                  <a:gd name="connsiteX785" fmla="*/ 796019 w 915678"/>
                  <a:gd name="connsiteY785" fmla="*/ 152562 h 815526"/>
                  <a:gd name="connsiteX786" fmla="*/ 790296 w 915678"/>
                  <a:gd name="connsiteY786" fmla="*/ 152133 h 815526"/>
                  <a:gd name="connsiteX787" fmla="*/ 789866 w 915678"/>
                  <a:gd name="connsiteY787" fmla="*/ 157856 h 815526"/>
                  <a:gd name="connsiteX788" fmla="*/ 795733 w 915678"/>
                  <a:gd name="connsiteY788" fmla="*/ 157856 h 815526"/>
                  <a:gd name="connsiteX789" fmla="*/ 795790 w 915678"/>
                  <a:gd name="connsiteY789" fmla="*/ 152190 h 815526"/>
                  <a:gd name="connsiteX790" fmla="*/ 795733 w 915678"/>
                  <a:gd name="connsiteY790" fmla="*/ 152133 h 815526"/>
                  <a:gd name="connsiteX791" fmla="*/ 832646 w 915678"/>
                  <a:gd name="connsiteY791" fmla="*/ 119369 h 815526"/>
                  <a:gd name="connsiteX792" fmla="*/ 827790 w 915678"/>
                  <a:gd name="connsiteY792" fmla="*/ 119378 h 815526"/>
                  <a:gd name="connsiteX793" fmla="*/ 827798 w 915678"/>
                  <a:gd name="connsiteY793" fmla="*/ 124234 h 815526"/>
                  <a:gd name="connsiteX794" fmla="*/ 832646 w 915678"/>
                  <a:gd name="connsiteY794" fmla="*/ 124234 h 815526"/>
                  <a:gd name="connsiteX795" fmla="*/ 832654 w 915678"/>
                  <a:gd name="connsiteY795" fmla="*/ 119378 h 815526"/>
                  <a:gd name="connsiteX796" fmla="*/ 832646 w 915678"/>
                  <a:gd name="connsiteY796" fmla="*/ 119369 h 815526"/>
                  <a:gd name="connsiteX797" fmla="*/ 869702 w 915678"/>
                  <a:gd name="connsiteY797" fmla="*/ 86605 h 815526"/>
                  <a:gd name="connsiteX798" fmla="*/ 865553 w 915678"/>
                  <a:gd name="connsiteY798" fmla="*/ 86605 h 815526"/>
                  <a:gd name="connsiteX799" fmla="*/ 865338 w 915678"/>
                  <a:gd name="connsiteY799" fmla="*/ 90683 h 815526"/>
                  <a:gd name="connsiteX800" fmla="*/ 869416 w 915678"/>
                  <a:gd name="connsiteY800" fmla="*/ 90897 h 815526"/>
                  <a:gd name="connsiteX801" fmla="*/ 869416 w 915678"/>
                  <a:gd name="connsiteY801" fmla="*/ 86891 h 8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Lst>
                <a:rect l="l" t="t" r="r" b="b"/>
                <a:pathLst>
                  <a:path w="915678" h="815526">
                    <a:moveTo>
                      <a:pt x="427744" y="436995"/>
                    </a:moveTo>
                    <a:cubicBezTo>
                      <a:pt x="424465" y="433321"/>
                      <a:pt x="424785" y="427684"/>
                      <a:pt x="428460" y="424405"/>
                    </a:cubicBezTo>
                    <a:cubicBezTo>
                      <a:pt x="432134" y="421125"/>
                      <a:pt x="437771" y="421446"/>
                      <a:pt x="441050" y="425120"/>
                    </a:cubicBezTo>
                    <a:cubicBezTo>
                      <a:pt x="444329" y="428794"/>
                      <a:pt x="444009" y="434431"/>
                      <a:pt x="440335" y="437711"/>
                    </a:cubicBezTo>
                    <a:cubicBezTo>
                      <a:pt x="436661" y="440990"/>
                      <a:pt x="431023" y="440669"/>
                      <a:pt x="427744" y="436995"/>
                    </a:cubicBezTo>
                    <a:moveTo>
                      <a:pt x="390688" y="469759"/>
                    </a:moveTo>
                    <a:cubicBezTo>
                      <a:pt x="393927" y="473001"/>
                      <a:pt x="399182" y="473003"/>
                      <a:pt x="402423" y="469762"/>
                    </a:cubicBezTo>
                    <a:cubicBezTo>
                      <a:pt x="405665" y="466523"/>
                      <a:pt x="405666" y="461269"/>
                      <a:pt x="402427" y="458027"/>
                    </a:cubicBezTo>
                    <a:cubicBezTo>
                      <a:pt x="399188" y="454785"/>
                      <a:pt x="393933" y="454784"/>
                      <a:pt x="390691" y="458024"/>
                    </a:cubicBezTo>
                    <a:cubicBezTo>
                      <a:pt x="390691" y="458024"/>
                      <a:pt x="390689" y="458026"/>
                      <a:pt x="390688" y="458027"/>
                    </a:cubicBezTo>
                    <a:cubicBezTo>
                      <a:pt x="387450" y="461268"/>
                      <a:pt x="387450" y="466519"/>
                      <a:pt x="390688" y="469759"/>
                    </a:cubicBezTo>
                    <a:moveTo>
                      <a:pt x="353774" y="502523"/>
                    </a:moveTo>
                    <a:cubicBezTo>
                      <a:pt x="356786" y="505505"/>
                      <a:pt x="361636" y="505505"/>
                      <a:pt x="364648" y="502523"/>
                    </a:cubicBezTo>
                    <a:cubicBezTo>
                      <a:pt x="367555" y="499482"/>
                      <a:pt x="367555" y="494692"/>
                      <a:pt x="364648" y="491650"/>
                    </a:cubicBezTo>
                    <a:cubicBezTo>
                      <a:pt x="361636" y="488668"/>
                      <a:pt x="356786" y="488668"/>
                      <a:pt x="353774" y="491650"/>
                    </a:cubicBezTo>
                    <a:cubicBezTo>
                      <a:pt x="350581" y="494358"/>
                      <a:pt x="350188" y="499144"/>
                      <a:pt x="352896" y="502337"/>
                    </a:cubicBezTo>
                    <a:cubicBezTo>
                      <a:pt x="352949" y="502400"/>
                      <a:pt x="353003" y="502462"/>
                      <a:pt x="353059" y="502523"/>
                    </a:cubicBezTo>
                    <a:moveTo>
                      <a:pt x="316146" y="535145"/>
                    </a:moveTo>
                    <a:cubicBezTo>
                      <a:pt x="318856" y="537910"/>
                      <a:pt x="323294" y="537956"/>
                      <a:pt x="326059" y="535246"/>
                    </a:cubicBezTo>
                    <a:cubicBezTo>
                      <a:pt x="326094" y="535212"/>
                      <a:pt x="326128" y="535179"/>
                      <a:pt x="326161" y="535145"/>
                    </a:cubicBezTo>
                    <a:cubicBezTo>
                      <a:pt x="328888" y="532363"/>
                      <a:pt x="328888" y="527911"/>
                      <a:pt x="326161" y="525129"/>
                    </a:cubicBezTo>
                    <a:cubicBezTo>
                      <a:pt x="323593" y="522206"/>
                      <a:pt x="319140" y="521917"/>
                      <a:pt x="316217" y="524485"/>
                    </a:cubicBezTo>
                    <a:cubicBezTo>
                      <a:pt x="313294" y="527054"/>
                      <a:pt x="313005" y="531506"/>
                      <a:pt x="315573" y="534429"/>
                    </a:cubicBezTo>
                    <a:moveTo>
                      <a:pt x="280377" y="567479"/>
                    </a:moveTo>
                    <a:cubicBezTo>
                      <a:pt x="282748" y="570166"/>
                      <a:pt x="286847" y="570422"/>
                      <a:pt x="289534" y="568052"/>
                    </a:cubicBezTo>
                    <a:cubicBezTo>
                      <a:pt x="292221" y="565681"/>
                      <a:pt x="292477" y="561582"/>
                      <a:pt x="290106" y="558895"/>
                    </a:cubicBezTo>
                    <a:cubicBezTo>
                      <a:pt x="287735" y="556208"/>
                      <a:pt x="283636" y="555952"/>
                      <a:pt x="280949" y="558323"/>
                    </a:cubicBezTo>
                    <a:cubicBezTo>
                      <a:pt x="278262" y="560693"/>
                      <a:pt x="278006" y="564792"/>
                      <a:pt x="280377" y="567479"/>
                    </a:cubicBezTo>
                    <a:moveTo>
                      <a:pt x="243464" y="600244"/>
                    </a:moveTo>
                    <a:cubicBezTo>
                      <a:pt x="245756" y="602534"/>
                      <a:pt x="249470" y="602533"/>
                      <a:pt x="251759" y="600241"/>
                    </a:cubicBezTo>
                    <a:cubicBezTo>
                      <a:pt x="254050" y="597950"/>
                      <a:pt x="254048" y="594236"/>
                      <a:pt x="251758" y="591945"/>
                    </a:cubicBezTo>
                    <a:cubicBezTo>
                      <a:pt x="249467" y="589656"/>
                      <a:pt x="245754" y="589656"/>
                      <a:pt x="243464" y="591945"/>
                    </a:cubicBezTo>
                    <a:cubicBezTo>
                      <a:pt x="241172" y="594236"/>
                      <a:pt x="241172" y="597950"/>
                      <a:pt x="243461" y="600241"/>
                    </a:cubicBezTo>
                    <a:cubicBezTo>
                      <a:pt x="243462" y="600242"/>
                      <a:pt x="243462" y="600242"/>
                      <a:pt x="243464" y="600244"/>
                    </a:cubicBezTo>
                    <a:moveTo>
                      <a:pt x="206551" y="633008"/>
                    </a:moveTo>
                    <a:cubicBezTo>
                      <a:pt x="208518" y="635062"/>
                      <a:pt x="211778" y="635132"/>
                      <a:pt x="213833" y="633165"/>
                    </a:cubicBezTo>
                    <a:cubicBezTo>
                      <a:pt x="213886" y="633114"/>
                      <a:pt x="213939" y="633061"/>
                      <a:pt x="213990" y="633008"/>
                    </a:cubicBezTo>
                    <a:cubicBezTo>
                      <a:pt x="216350" y="631281"/>
                      <a:pt x="216860" y="627967"/>
                      <a:pt x="215134" y="625609"/>
                    </a:cubicBezTo>
                    <a:cubicBezTo>
                      <a:pt x="213407" y="623250"/>
                      <a:pt x="210094" y="622738"/>
                      <a:pt x="207735" y="624466"/>
                    </a:cubicBezTo>
                    <a:cubicBezTo>
                      <a:pt x="207462" y="624665"/>
                      <a:pt x="207210" y="624891"/>
                      <a:pt x="206980" y="625139"/>
                    </a:cubicBezTo>
                    <a:cubicBezTo>
                      <a:pt x="204944" y="627200"/>
                      <a:pt x="204944" y="630517"/>
                      <a:pt x="206980" y="632578"/>
                    </a:cubicBezTo>
                    <a:moveTo>
                      <a:pt x="170209" y="666201"/>
                    </a:moveTo>
                    <a:cubicBezTo>
                      <a:pt x="172027" y="668071"/>
                      <a:pt x="175015" y="668114"/>
                      <a:pt x="176885" y="666295"/>
                    </a:cubicBezTo>
                    <a:cubicBezTo>
                      <a:pt x="178755" y="664478"/>
                      <a:pt x="178798" y="661490"/>
                      <a:pt x="176981" y="659620"/>
                    </a:cubicBezTo>
                    <a:cubicBezTo>
                      <a:pt x="175164" y="657750"/>
                      <a:pt x="172174" y="657707"/>
                      <a:pt x="170304" y="659525"/>
                    </a:cubicBezTo>
                    <a:cubicBezTo>
                      <a:pt x="170272" y="659555"/>
                      <a:pt x="170241" y="659588"/>
                      <a:pt x="170209" y="659620"/>
                    </a:cubicBezTo>
                    <a:cubicBezTo>
                      <a:pt x="168428" y="661452"/>
                      <a:pt x="168428" y="664368"/>
                      <a:pt x="170209" y="666201"/>
                    </a:cubicBezTo>
                    <a:moveTo>
                      <a:pt x="133296" y="698965"/>
                    </a:moveTo>
                    <a:cubicBezTo>
                      <a:pt x="134844" y="700546"/>
                      <a:pt x="137381" y="700572"/>
                      <a:pt x="138962" y="699022"/>
                    </a:cubicBezTo>
                    <a:cubicBezTo>
                      <a:pt x="138981" y="699004"/>
                      <a:pt x="139001" y="698985"/>
                      <a:pt x="139019" y="698965"/>
                    </a:cubicBezTo>
                    <a:cubicBezTo>
                      <a:pt x="140939" y="697713"/>
                      <a:pt x="141480" y="695142"/>
                      <a:pt x="140228" y="693224"/>
                    </a:cubicBezTo>
                    <a:cubicBezTo>
                      <a:pt x="138976" y="691304"/>
                      <a:pt x="136405" y="690763"/>
                      <a:pt x="134485" y="692015"/>
                    </a:cubicBezTo>
                    <a:cubicBezTo>
                      <a:pt x="134147" y="692235"/>
                      <a:pt x="133843" y="692504"/>
                      <a:pt x="133582" y="692813"/>
                    </a:cubicBezTo>
                    <a:cubicBezTo>
                      <a:pt x="132056" y="694415"/>
                      <a:pt x="132056" y="696933"/>
                      <a:pt x="133582" y="698536"/>
                    </a:cubicBezTo>
                    <a:moveTo>
                      <a:pt x="96669" y="731300"/>
                    </a:moveTo>
                    <a:cubicBezTo>
                      <a:pt x="98013" y="732639"/>
                      <a:pt x="100186" y="732635"/>
                      <a:pt x="101525" y="731291"/>
                    </a:cubicBezTo>
                    <a:cubicBezTo>
                      <a:pt x="102864" y="729948"/>
                      <a:pt x="102860" y="727775"/>
                      <a:pt x="101516" y="726436"/>
                    </a:cubicBezTo>
                    <a:cubicBezTo>
                      <a:pt x="100177" y="725101"/>
                      <a:pt x="98010" y="725101"/>
                      <a:pt x="96669" y="726436"/>
                    </a:cubicBezTo>
                    <a:cubicBezTo>
                      <a:pt x="95326" y="727775"/>
                      <a:pt x="95321" y="729948"/>
                      <a:pt x="96660" y="731291"/>
                    </a:cubicBezTo>
                    <a:cubicBezTo>
                      <a:pt x="96663" y="731294"/>
                      <a:pt x="96666" y="731297"/>
                      <a:pt x="96669" y="731300"/>
                    </a:cubicBezTo>
                    <a:moveTo>
                      <a:pt x="58611" y="764493"/>
                    </a:moveTo>
                    <a:cubicBezTo>
                      <a:pt x="59799" y="765534"/>
                      <a:pt x="61573" y="765534"/>
                      <a:pt x="62760" y="764493"/>
                    </a:cubicBezTo>
                    <a:cubicBezTo>
                      <a:pt x="63869" y="763333"/>
                      <a:pt x="63869" y="761505"/>
                      <a:pt x="62760" y="760344"/>
                    </a:cubicBezTo>
                    <a:cubicBezTo>
                      <a:pt x="61746" y="759238"/>
                      <a:pt x="60026" y="759164"/>
                      <a:pt x="58919" y="760178"/>
                    </a:cubicBezTo>
                    <a:cubicBezTo>
                      <a:pt x="58862" y="760231"/>
                      <a:pt x="58807" y="760287"/>
                      <a:pt x="58754" y="760344"/>
                    </a:cubicBezTo>
                    <a:cubicBezTo>
                      <a:pt x="57664" y="761457"/>
                      <a:pt x="57664" y="763237"/>
                      <a:pt x="58754" y="764350"/>
                    </a:cubicBezTo>
                    <a:moveTo>
                      <a:pt x="407428" y="413388"/>
                    </a:moveTo>
                    <a:cubicBezTo>
                      <a:pt x="410691" y="417055"/>
                      <a:pt x="416288" y="417435"/>
                      <a:pt x="420018" y="414246"/>
                    </a:cubicBezTo>
                    <a:cubicBezTo>
                      <a:pt x="423495" y="410795"/>
                      <a:pt x="423515" y="405178"/>
                      <a:pt x="420064" y="401701"/>
                    </a:cubicBezTo>
                    <a:cubicBezTo>
                      <a:pt x="420048" y="401686"/>
                      <a:pt x="420034" y="401671"/>
                      <a:pt x="420018" y="401656"/>
                    </a:cubicBezTo>
                    <a:cubicBezTo>
                      <a:pt x="416830" y="397936"/>
                      <a:pt x="411229" y="397505"/>
                      <a:pt x="407511" y="400694"/>
                    </a:cubicBezTo>
                    <a:cubicBezTo>
                      <a:pt x="403791" y="403882"/>
                      <a:pt x="403360" y="409482"/>
                      <a:pt x="406548" y="413202"/>
                    </a:cubicBezTo>
                    <a:cubicBezTo>
                      <a:pt x="406602" y="413265"/>
                      <a:pt x="406656" y="413326"/>
                      <a:pt x="406712" y="413388"/>
                    </a:cubicBezTo>
                    <a:moveTo>
                      <a:pt x="370514" y="446152"/>
                    </a:moveTo>
                    <a:cubicBezTo>
                      <a:pt x="373753" y="449394"/>
                      <a:pt x="379009" y="449395"/>
                      <a:pt x="382249" y="446155"/>
                    </a:cubicBezTo>
                    <a:cubicBezTo>
                      <a:pt x="385491" y="442916"/>
                      <a:pt x="385493" y="437662"/>
                      <a:pt x="382254" y="434420"/>
                    </a:cubicBezTo>
                    <a:cubicBezTo>
                      <a:pt x="379014" y="431178"/>
                      <a:pt x="373759" y="431176"/>
                      <a:pt x="370517" y="434417"/>
                    </a:cubicBezTo>
                    <a:cubicBezTo>
                      <a:pt x="370517" y="434417"/>
                      <a:pt x="370516" y="434418"/>
                      <a:pt x="370514" y="434420"/>
                    </a:cubicBezTo>
                    <a:cubicBezTo>
                      <a:pt x="367276" y="437660"/>
                      <a:pt x="367276" y="442911"/>
                      <a:pt x="370514" y="446152"/>
                    </a:cubicBezTo>
                    <a:moveTo>
                      <a:pt x="333458" y="478916"/>
                    </a:moveTo>
                    <a:cubicBezTo>
                      <a:pt x="336500" y="481823"/>
                      <a:pt x="341290" y="481823"/>
                      <a:pt x="344332" y="478916"/>
                    </a:cubicBezTo>
                    <a:cubicBezTo>
                      <a:pt x="347313" y="475904"/>
                      <a:pt x="347313" y="471054"/>
                      <a:pt x="344332" y="468042"/>
                    </a:cubicBezTo>
                    <a:cubicBezTo>
                      <a:pt x="341760" y="464637"/>
                      <a:pt x="336916" y="463961"/>
                      <a:pt x="333511" y="466532"/>
                    </a:cubicBezTo>
                    <a:cubicBezTo>
                      <a:pt x="330104" y="469104"/>
                      <a:pt x="329429" y="473949"/>
                      <a:pt x="332000" y="477354"/>
                    </a:cubicBezTo>
                    <a:cubicBezTo>
                      <a:pt x="332226" y="477654"/>
                      <a:pt x="332475" y="477937"/>
                      <a:pt x="332742" y="478201"/>
                    </a:cubicBezTo>
                    <a:moveTo>
                      <a:pt x="296545" y="511680"/>
                    </a:moveTo>
                    <a:cubicBezTo>
                      <a:pt x="299254" y="514446"/>
                      <a:pt x="303693" y="514492"/>
                      <a:pt x="306458" y="511782"/>
                    </a:cubicBezTo>
                    <a:cubicBezTo>
                      <a:pt x="306493" y="511747"/>
                      <a:pt x="306527" y="511715"/>
                      <a:pt x="306560" y="511680"/>
                    </a:cubicBezTo>
                    <a:cubicBezTo>
                      <a:pt x="309381" y="508915"/>
                      <a:pt x="309427" y="504385"/>
                      <a:pt x="306661" y="501563"/>
                    </a:cubicBezTo>
                    <a:cubicBezTo>
                      <a:pt x="303896" y="498742"/>
                      <a:pt x="299366" y="498698"/>
                      <a:pt x="296545" y="501463"/>
                    </a:cubicBezTo>
                    <a:cubicBezTo>
                      <a:pt x="293723" y="504229"/>
                      <a:pt x="293677" y="508757"/>
                      <a:pt x="296443" y="511579"/>
                    </a:cubicBezTo>
                    <a:cubicBezTo>
                      <a:pt x="296477" y="511613"/>
                      <a:pt x="296510" y="511647"/>
                      <a:pt x="296545" y="511680"/>
                    </a:cubicBezTo>
                    <a:moveTo>
                      <a:pt x="259631" y="544444"/>
                    </a:moveTo>
                    <a:cubicBezTo>
                      <a:pt x="262184" y="546915"/>
                      <a:pt x="266236" y="546915"/>
                      <a:pt x="268788" y="544444"/>
                    </a:cubicBezTo>
                    <a:cubicBezTo>
                      <a:pt x="271187" y="541863"/>
                      <a:pt x="271187" y="537869"/>
                      <a:pt x="268788" y="535288"/>
                    </a:cubicBezTo>
                    <a:cubicBezTo>
                      <a:pt x="266417" y="532601"/>
                      <a:pt x="262318" y="532345"/>
                      <a:pt x="259631" y="534715"/>
                    </a:cubicBezTo>
                    <a:cubicBezTo>
                      <a:pt x="256944" y="537086"/>
                      <a:pt x="256688" y="541185"/>
                      <a:pt x="259059" y="543872"/>
                    </a:cubicBezTo>
                    <a:moveTo>
                      <a:pt x="222003" y="576636"/>
                    </a:moveTo>
                    <a:cubicBezTo>
                      <a:pt x="224295" y="578927"/>
                      <a:pt x="228009" y="578925"/>
                      <a:pt x="230298" y="576633"/>
                    </a:cubicBezTo>
                    <a:cubicBezTo>
                      <a:pt x="232589" y="574343"/>
                      <a:pt x="232587" y="570628"/>
                      <a:pt x="230297" y="568338"/>
                    </a:cubicBezTo>
                    <a:cubicBezTo>
                      <a:pt x="228006" y="566049"/>
                      <a:pt x="224293" y="566049"/>
                      <a:pt x="222003" y="568338"/>
                    </a:cubicBezTo>
                    <a:cubicBezTo>
                      <a:pt x="219711" y="570628"/>
                      <a:pt x="219711" y="574343"/>
                      <a:pt x="222000" y="576633"/>
                    </a:cubicBezTo>
                    <a:cubicBezTo>
                      <a:pt x="222001" y="576635"/>
                      <a:pt x="222001" y="576635"/>
                      <a:pt x="222003" y="576636"/>
                    </a:cubicBezTo>
                    <a:moveTo>
                      <a:pt x="185662" y="610402"/>
                    </a:moveTo>
                    <a:cubicBezTo>
                      <a:pt x="187716" y="612482"/>
                      <a:pt x="191068" y="612502"/>
                      <a:pt x="193147" y="610449"/>
                    </a:cubicBezTo>
                    <a:cubicBezTo>
                      <a:pt x="195228" y="608394"/>
                      <a:pt x="195249" y="605042"/>
                      <a:pt x="193194" y="602962"/>
                    </a:cubicBezTo>
                    <a:cubicBezTo>
                      <a:pt x="191140" y="600882"/>
                      <a:pt x="187788" y="600862"/>
                      <a:pt x="185707" y="602915"/>
                    </a:cubicBezTo>
                    <a:cubicBezTo>
                      <a:pt x="185693" y="602930"/>
                      <a:pt x="185677" y="602946"/>
                      <a:pt x="185662" y="602962"/>
                    </a:cubicBezTo>
                    <a:cubicBezTo>
                      <a:pt x="183626" y="605024"/>
                      <a:pt x="183626" y="608340"/>
                      <a:pt x="185662" y="610402"/>
                    </a:cubicBezTo>
                    <a:moveTo>
                      <a:pt x="148748" y="642737"/>
                    </a:moveTo>
                    <a:cubicBezTo>
                      <a:pt x="150581" y="644518"/>
                      <a:pt x="153497" y="644518"/>
                      <a:pt x="155330" y="642737"/>
                    </a:cubicBezTo>
                    <a:cubicBezTo>
                      <a:pt x="157381" y="641127"/>
                      <a:pt x="157738" y="638158"/>
                      <a:pt x="156128" y="636108"/>
                    </a:cubicBezTo>
                    <a:cubicBezTo>
                      <a:pt x="154517" y="634056"/>
                      <a:pt x="151550" y="633699"/>
                      <a:pt x="149498" y="635310"/>
                    </a:cubicBezTo>
                    <a:cubicBezTo>
                      <a:pt x="149335" y="635439"/>
                      <a:pt x="149180" y="635577"/>
                      <a:pt x="149034" y="635726"/>
                    </a:cubicBezTo>
                    <a:cubicBezTo>
                      <a:pt x="147253" y="637559"/>
                      <a:pt x="147253" y="640475"/>
                      <a:pt x="149034" y="642308"/>
                    </a:cubicBezTo>
                    <a:moveTo>
                      <a:pt x="111978" y="675072"/>
                    </a:moveTo>
                    <a:cubicBezTo>
                      <a:pt x="113598" y="676691"/>
                      <a:pt x="116225" y="676691"/>
                      <a:pt x="117844" y="675072"/>
                    </a:cubicBezTo>
                    <a:cubicBezTo>
                      <a:pt x="119371" y="673469"/>
                      <a:pt x="119371" y="670951"/>
                      <a:pt x="117844" y="669349"/>
                    </a:cubicBezTo>
                    <a:cubicBezTo>
                      <a:pt x="116296" y="667768"/>
                      <a:pt x="113759" y="667742"/>
                      <a:pt x="112178" y="669291"/>
                    </a:cubicBezTo>
                    <a:cubicBezTo>
                      <a:pt x="112160" y="669310"/>
                      <a:pt x="112140" y="669329"/>
                      <a:pt x="112121" y="669349"/>
                    </a:cubicBezTo>
                    <a:cubicBezTo>
                      <a:pt x="110540" y="670897"/>
                      <a:pt x="110514" y="673433"/>
                      <a:pt x="112064" y="675014"/>
                    </a:cubicBezTo>
                    <a:cubicBezTo>
                      <a:pt x="112082" y="675033"/>
                      <a:pt x="112101" y="675053"/>
                      <a:pt x="112121" y="675072"/>
                    </a:cubicBezTo>
                    <a:moveTo>
                      <a:pt x="75208" y="707836"/>
                    </a:moveTo>
                    <a:cubicBezTo>
                      <a:pt x="76547" y="709179"/>
                      <a:pt x="78720" y="709184"/>
                      <a:pt x="80064" y="707844"/>
                    </a:cubicBezTo>
                    <a:cubicBezTo>
                      <a:pt x="80067" y="707842"/>
                      <a:pt x="80070" y="707839"/>
                      <a:pt x="80072" y="707836"/>
                    </a:cubicBezTo>
                    <a:cubicBezTo>
                      <a:pt x="81412" y="706492"/>
                      <a:pt x="81407" y="704318"/>
                      <a:pt x="80064" y="702980"/>
                    </a:cubicBezTo>
                    <a:cubicBezTo>
                      <a:pt x="78720" y="701641"/>
                      <a:pt x="76547" y="701645"/>
                      <a:pt x="75208" y="702988"/>
                    </a:cubicBezTo>
                    <a:cubicBezTo>
                      <a:pt x="73873" y="704328"/>
                      <a:pt x="73873" y="706495"/>
                      <a:pt x="75208" y="707836"/>
                    </a:cubicBezTo>
                    <a:moveTo>
                      <a:pt x="38295" y="740600"/>
                    </a:moveTo>
                    <a:cubicBezTo>
                      <a:pt x="39309" y="741706"/>
                      <a:pt x="41029" y="741780"/>
                      <a:pt x="42136" y="740765"/>
                    </a:cubicBezTo>
                    <a:cubicBezTo>
                      <a:pt x="42193" y="740713"/>
                      <a:pt x="42248" y="740657"/>
                      <a:pt x="42301" y="740600"/>
                    </a:cubicBezTo>
                    <a:cubicBezTo>
                      <a:pt x="43391" y="739487"/>
                      <a:pt x="43391" y="737707"/>
                      <a:pt x="42301" y="736594"/>
                    </a:cubicBezTo>
                    <a:cubicBezTo>
                      <a:pt x="41113" y="735554"/>
                      <a:pt x="39339" y="735554"/>
                      <a:pt x="38151" y="736594"/>
                    </a:cubicBezTo>
                    <a:cubicBezTo>
                      <a:pt x="37043" y="737754"/>
                      <a:pt x="37043" y="739583"/>
                      <a:pt x="38151" y="740743"/>
                    </a:cubicBezTo>
                    <a:moveTo>
                      <a:pt x="386539" y="389924"/>
                    </a:moveTo>
                    <a:cubicBezTo>
                      <a:pt x="389781" y="393596"/>
                      <a:pt x="395386" y="393944"/>
                      <a:pt x="399059" y="390702"/>
                    </a:cubicBezTo>
                    <a:cubicBezTo>
                      <a:pt x="402732" y="387460"/>
                      <a:pt x="403081" y="381854"/>
                      <a:pt x="399837" y="378181"/>
                    </a:cubicBezTo>
                    <a:cubicBezTo>
                      <a:pt x="396622" y="374540"/>
                      <a:pt x="391077" y="374161"/>
                      <a:pt x="387397" y="377333"/>
                    </a:cubicBezTo>
                    <a:cubicBezTo>
                      <a:pt x="383730" y="380597"/>
                      <a:pt x="383349" y="386194"/>
                      <a:pt x="386539" y="389924"/>
                    </a:cubicBezTo>
                    <a:moveTo>
                      <a:pt x="349625" y="422688"/>
                    </a:moveTo>
                    <a:cubicBezTo>
                      <a:pt x="352669" y="426114"/>
                      <a:pt x="357914" y="426426"/>
                      <a:pt x="361340" y="423383"/>
                    </a:cubicBezTo>
                    <a:cubicBezTo>
                      <a:pt x="364767" y="420341"/>
                      <a:pt x="365079" y="415096"/>
                      <a:pt x="362036" y="411668"/>
                    </a:cubicBezTo>
                    <a:cubicBezTo>
                      <a:pt x="359000" y="408249"/>
                      <a:pt x="353770" y="407930"/>
                      <a:pt x="350341" y="410956"/>
                    </a:cubicBezTo>
                    <a:cubicBezTo>
                      <a:pt x="346904" y="413987"/>
                      <a:pt x="346576" y="419231"/>
                      <a:pt x="349608" y="422668"/>
                    </a:cubicBezTo>
                    <a:cubicBezTo>
                      <a:pt x="349614" y="422675"/>
                      <a:pt x="349620" y="422682"/>
                      <a:pt x="349625" y="422688"/>
                    </a:cubicBezTo>
                    <a:moveTo>
                      <a:pt x="313284" y="455452"/>
                    </a:moveTo>
                    <a:cubicBezTo>
                      <a:pt x="316287" y="458484"/>
                      <a:pt x="321179" y="458506"/>
                      <a:pt x="324211" y="455505"/>
                    </a:cubicBezTo>
                    <a:cubicBezTo>
                      <a:pt x="327243" y="452502"/>
                      <a:pt x="327266" y="447610"/>
                      <a:pt x="324262" y="444578"/>
                    </a:cubicBezTo>
                    <a:cubicBezTo>
                      <a:pt x="321261" y="441546"/>
                      <a:pt x="316369" y="441523"/>
                      <a:pt x="313337" y="444525"/>
                    </a:cubicBezTo>
                    <a:cubicBezTo>
                      <a:pt x="313319" y="444542"/>
                      <a:pt x="313301" y="444561"/>
                      <a:pt x="313284" y="444578"/>
                    </a:cubicBezTo>
                    <a:cubicBezTo>
                      <a:pt x="310303" y="447590"/>
                      <a:pt x="310303" y="452440"/>
                      <a:pt x="313284" y="455452"/>
                    </a:cubicBezTo>
                    <a:moveTo>
                      <a:pt x="276228" y="488216"/>
                    </a:moveTo>
                    <a:cubicBezTo>
                      <a:pt x="279009" y="490943"/>
                      <a:pt x="283462" y="490943"/>
                      <a:pt x="286243" y="488216"/>
                    </a:cubicBezTo>
                    <a:cubicBezTo>
                      <a:pt x="288953" y="485450"/>
                      <a:pt x="288907" y="481012"/>
                      <a:pt x="286142" y="478302"/>
                    </a:cubicBezTo>
                    <a:cubicBezTo>
                      <a:pt x="283376" y="475592"/>
                      <a:pt x="278938" y="475637"/>
                      <a:pt x="276228" y="478402"/>
                    </a:cubicBezTo>
                    <a:cubicBezTo>
                      <a:pt x="273557" y="481129"/>
                      <a:pt x="273557" y="485490"/>
                      <a:pt x="276228" y="488216"/>
                    </a:cubicBezTo>
                    <a:moveTo>
                      <a:pt x="239315" y="520980"/>
                    </a:moveTo>
                    <a:cubicBezTo>
                      <a:pt x="241843" y="523591"/>
                      <a:pt x="246009" y="523658"/>
                      <a:pt x="248622" y="521130"/>
                    </a:cubicBezTo>
                    <a:cubicBezTo>
                      <a:pt x="251233" y="518601"/>
                      <a:pt x="251299" y="514434"/>
                      <a:pt x="248770" y="511823"/>
                    </a:cubicBezTo>
                    <a:cubicBezTo>
                      <a:pt x="246242" y="509212"/>
                      <a:pt x="242076" y="509145"/>
                      <a:pt x="239465" y="511673"/>
                    </a:cubicBezTo>
                    <a:cubicBezTo>
                      <a:pt x="239413" y="511723"/>
                      <a:pt x="239363" y="511773"/>
                      <a:pt x="239315" y="511823"/>
                    </a:cubicBezTo>
                    <a:cubicBezTo>
                      <a:pt x="236786" y="514323"/>
                      <a:pt x="236764" y="518400"/>
                      <a:pt x="239263" y="520929"/>
                    </a:cubicBezTo>
                    <a:cubicBezTo>
                      <a:pt x="239280" y="520946"/>
                      <a:pt x="239297" y="520963"/>
                      <a:pt x="239315" y="520980"/>
                    </a:cubicBezTo>
                    <a:moveTo>
                      <a:pt x="201829" y="553172"/>
                    </a:moveTo>
                    <a:cubicBezTo>
                      <a:pt x="204160" y="555422"/>
                      <a:pt x="207874" y="555357"/>
                      <a:pt x="210123" y="553025"/>
                    </a:cubicBezTo>
                    <a:cubicBezTo>
                      <a:pt x="212374" y="550694"/>
                      <a:pt x="212308" y="546981"/>
                      <a:pt x="209977" y="544731"/>
                    </a:cubicBezTo>
                    <a:cubicBezTo>
                      <a:pt x="207704" y="542537"/>
                      <a:pt x="204102" y="542537"/>
                      <a:pt x="201829" y="544731"/>
                    </a:cubicBezTo>
                    <a:cubicBezTo>
                      <a:pt x="199520" y="547071"/>
                      <a:pt x="199520" y="550831"/>
                      <a:pt x="201829" y="553172"/>
                    </a:cubicBezTo>
                    <a:moveTo>
                      <a:pt x="164773" y="585793"/>
                    </a:moveTo>
                    <a:cubicBezTo>
                      <a:pt x="166849" y="587852"/>
                      <a:pt x="170201" y="587836"/>
                      <a:pt x="172260" y="585760"/>
                    </a:cubicBezTo>
                    <a:cubicBezTo>
                      <a:pt x="174085" y="583919"/>
                      <a:pt x="174307" y="581024"/>
                      <a:pt x="172785" y="578925"/>
                    </a:cubicBezTo>
                    <a:cubicBezTo>
                      <a:pt x="171068" y="576559"/>
                      <a:pt x="167759" y="576031"/>
                      <a:pt x="165392" y="577748"/>
                    </a:cubicBezTo>
                    <a:cubicBezTo>
                      <a:pt x="163024" y="579465"/>
                      <a:pt x="162498" y="582774"/>
                      <a:pt x="164215" y="585141"/>
                    </a:cubicBezTo>
                    <a:cubicBezTo>
                      <a:pt x="164382" y="585374"/>
                      <a:pt x="164569" y="585591"/>
                      <a:pt x="164773" y="585793"/>
                    </a:cubicBezTo>
                    <a:moveTo>
                      <a:pt x="127287" y="619129"/>
                    </a:moveTo>
                    <a:cubicBezTo>
                      <a:pt x="129292" y="620798"/>
                      <a:pt x="132269" y="620524"/>
                      <a:pt x="133936" y="618520"/>
                    </a:cubicBezTo>
                    <a:cubicBezTo>
                      <a:pt x="135245" y="616946"/>
                      <a:pt x="135391" y="614707"/>
                      <a:pt x="134298" y="612977"/>
                    </a:cubicBezTo>
                    <a:cubicBezTo>
                      <a:pt x="132465" y="611196"/>
                      <a:pt x="129549" y="611196"/>
                      <a:pt x="127716" y="612977"/>
                    </a:cubicBezTo>
                    <a:cubicBezTo>
                      <a:pt x="125899" y="614736"/>
                      <a:pt x="125851" y="617634"/>
                      <a:pt x="127609" y="619451"/>
                    </a:cubicBezTo>
                    <a:cubicBezTo>
                      <a:pt x="127643" y="619487"/>
                      <a:pt x="127681" y="619523"/>
                      <a:pt x="127716" y="619559"/>
                    </a:cubicBezTo>
                    <a:moveTo>
                      <a:pt x="90946" y="651894"/>
                    </a:moveTo>
                    <a:cubicBezTo>
                      <a:pt x="92494" y="653474"/>
                      <a:pt x="95031" y="653500"/>
                      <a:pt x="96612" y="651951"/>
                    </a:cubicBezTo>
                    <a:cubicBezTo>
                      <a:pt x="96630" y="651932"/>
                      <a:pt x="96650" y="651914"/>
                      <a:pt x="96669" y="651894"/>
                    </a:cubicBezTo>
                    <a:cubicBezTo>
                      <a:pt x="98250" y="650345"/>
                      <a:pt x="98276" y="647809"/>
                      <a:pt x="96726" y="646228"/>
                    </a:cubicBezTo>
                    <a:cubicBezTo>
                      <a:pt x="96708" y="646209"/>
                      <a:pt x="96689" y="646189"/>
                      <a:pt x="96669" y="646171"/>
                    </a:cubicBezTo>
                    <a:cubicBezTo>
                      <a:pt x="95121" y="644590"/>
                      <a:pt x="92584" y="644564"/>
                      <a:pt x="91003" y="646113"/>
                    </a:cubicBezTo>
                    <a:cubicBezTo>
                      <a:pt x="90985" y="646132"/>
                      <a:pt x="90965" y="646151"/>
                      <a:pt x="90946" y="646171"/>
                    </a:cubicBezTo>
                    <a:cubicBezTo>
                      <a:pt x="89365" y="647719"/>
                      <a:pt x="89339" y="650255"/>
                      <a:pt x="90889" y="651836"/>
                    </a:cubicBezTo>
                    <a:cubicBezTo>
                      <a:pt x="90907" y="651855"/>
                      <a:pt x="90926" y="651875"/>
                      <a:pt x="90946" y="651894"/>
                    </a:cubicBezTo>
                    <a:moveTo>
                      <a:pt x="53890" y="684658"/>
                    </a:moveTo>
                    <a:cubicBezTo>
                      <a:pt x="55233" y="685997"/>
                      <a:pt x="57406" y="685993"/>
                      <a:pt x="58746" y="684649"/>
                    </a:cubicBezTo>
                    <a:cubicBezTo>
                      <a:pt x="60085" y="683306"/>
                      <a:pt x="60081" y="681132"/>
                      <a:pt x="58737" y="679793"/>
                    </a:cubicBezTo>
                    <a:cubicBezTo>
                      <a:pt x="57398" y="678458"/>
                      <a:pt x="55230" y="678458"/>
                      <a:pt x="53890" y="679793"/>
                    </a:cubicBezTo>
                    <a:cubicBezTo>
                      <a:pt x="52546" y="681132"/>
                      <a:pt x="52542" y="683306"/>
                      <a:pt x="53881" y="684649"/>
                    </a:cubicBezTo>
                    <a:cubicBezTo>
                      <a:pt x="53884" y="684652"/>
                      <a:pt x="53887" y="684655"/>
                      <a:pt x="53890" y="684658"/>
                    </a:cubicBezTo>
                    <a:moveTo>
                      <a:pt x="16976" y="717422"/>
                    </a:moveTo>
                    <a:cubicBezTo>
                      <a:pt x="18082" y="718551"/>
                      <a:pt x="19894" y="718569"/>
                      <a:pt x="21023" y="717462"/>
                    </a:cubicBezTo>
                    <a:cubicBezTo>
                      <a:pt x="22151" y="716356"/>
                      <a:pt x="22170" y="714545"/>
                      <a:pt x="21064" y="713416"/>
                    </a:cubicBezTo>
                    <a:cubicBezTo>
                      <a:pt x="19957" y="712287"/>
                      <a:pt x="18145" y="712270"/>
                      <a:pt x="17016" y="713376"/>
                    </a:cubicBezTo>
                    <a:cubicBezTo>
                      <a:pt x="17004" y="713388"/>
                      <a:pt x="16989" y="713403"/>
                      <a:pt x="16976" y="713416"/>
                    </a:cubicBezTo>
                    <a:cubicBezTo>
                      <a:pt x="15870" y="714432"/>
                      <a:pt x="15796" y="716150"/>
                      <a:pt x="16812" y="717257"/>
                    </a:cubicBezTo>
                    <a:cubicBezTo>
                      <a:pt x="16863" y="717315"/>
                      <a:pt x="16919" y="717369"/>
                      <a:pt x="16976" y="717422"/>
                    </a:cubicBezTo>
                    <a:moveTo>
                      <a:pt x="490840" y="507531"/>
                    </a:moveTo>
                    <a:cubicBezTo>
                      <a:pt x="494291" y="511008"/>
                      <a:pt x="499908" y="511028"/>
                      <a:pt x="503385" y="507577"/>
                    </a:cubicBezTo>
                    <a:cubicBezTo>
                      <a:pt x="503401" y="507561"/>
                      <a:pt x="503415" y="507547"/>
                      <a:pt x="503431" y="507531"/>
                    </a:cubicBezTo>
                    <a:cubicBezTo>
                      <a:pt x="506882" y="504054"/>
                      <a:pt x="506862" y="498437"/>
                      <a:pt x="503385" y="494986"/>
                    </a:cubicBezTo>
                    <a:cubicBezTo>
                      <a:pt x="499908" y="491535"/>
                      <a:pt x="494291" y="491555"/>
                      <a:pt x="490840" y="495032"/>
                    </a:cubicBezTo>
                    <a:cubicBezTo>
                      <a:pt x="487406" y="498490"/>
                      <a:pt x="487406" y="504071"/>
                      <a:pt x="490840" y="507531"/>
                    </a:cubicBezTo>
                    <a:moveTo>
                      <a:pt x="453927" y="540295"/>
                    </a:moveTo>
                    <a:cubicBezTo>
                      <a:pt x="456632" y="543995"/>
                      <a:pt x="461825" y="544801"/>
                      <a:pt x="465523" y="542095"/>
                    </a:cubicBezTo>
                    <a:cubicBezTo>
                      <a:pt x="469223" y="539390"/>
                      <a:pt x="470028" y="534197"/>
                      <a:pt x="467323" y="530499"/>
                    </a:cubicBezTo>
                    <a:cubicBezTo>
                      <a:pt x="467001" y="530057"/>
                      <a:pt x="466635" y="529648"/>
                      <a:pt x="466231" y="529278"/>
                    </a:cubicBezTo>
                    <a:cubicBezTo>
                      <a:pt x="463526" y="525579"/>
                      <a:pt x="458334" y="524773"/>
                      <a:pt x="454635" y="527479"/>
                    </a:cubicBezTo>
                    <a:cubicBezTo>
                      <a:pt x="450935" y="530184"/>
                      <a:pt x="450130" y="535376"/>
                      <a:pt x="452835" y="539075"/>
                    </a:cubicBezTo>
                    <a:cubicBezTo>
                      <a:pt x="453157" y="539517"/>
                      <a:pt x="453523" y="539926"/>
                      <a:pt x="453927" y="540295"/>
                    </a:cubicBezTo>
                    <a:moveTo>
                      <a:pt x="416870" y="573059"/>
                    </a:moveTo>
                    <a:cubicBezTo>
                      <a:pt x="419882" y="576041"/>
                      <a:pt x="424732" y="576041"/>
                      <a:pt x="427744" y="573059"/>
                    </a:cubicBezTo>
                    <a:cubicBezTo>
                      <a:pt x="430651" y="570018"/>
                      <a:pt x="430651" y="565227"/>
                      <a:pt x="427744" y="562186"/>
                    </a:cubicBezTo>
                    <a:cubicBezTo>
                      <a:pt x="424732" y="559204"/>
                      <a:pt x="419882" y="559204"/>
                      <a:pt x="416870" y="562186"/>
                    </a:cubicBezTo>
                    <a:cubicBezTo>
                      <a:pt x="413963" y="565227"/>
                      <a:pt x="413963" y="570018"/>
                      <a:pt x="416870" y="573059"/>
                    </a:cubicBezTo>
                    <a:moveTo>
                      <a:pt x="379957" y="605823"/>
                    </a:moveTo>
                    <a:cubicBezTo>
                      <a:pt x="382723" y="608645"/>
                      <a:pt x="387253" y="608691"/>
                      <a:pt x="390074" y="605925"/>
                    </a:cubicBezTo>
                    <a:cubicBezTo>
                      <a:pt x="392895" y="603159"/>
                      <a:pt x="392940" y="598630"/>
                      <a:pt x="390174" y="595808"/>
                    </a:cubicBezTo>
                    <a:cubicBezTo>
                      <a:pt x="387409" y="592987"/>
                      <a:pt x="382880" y="592941"/>
                      <a:pt x="380059" y="595707"/>
                    </a:cubicBezTo>
                    <a:cubicBezTo>
                      <a:pt x="380024" y="595741"/>
                      <a:pt x="379990" y="595774"/>
                      <a:pt x="379957" y="595808"/>
                    </a:cubicBezTo>
                    <a:cubicBezTo>
                      <a:pt x="377230" y="598590"/>
                      <a:pt x="377230" y="603042"/>
                      <a:pt x="379957" y="605823"/>
                    </a:cubicBezTo>
                    <a:moveTo>
                      <a:pt x="342901" y="639017"/>
                    </a:moveTo>
                    <a:cubicBezTo>
                      <a:pt x="345482" y="641416"/>
                      <a:pt x="349476" y="641416"/>
                      <a:pt x="352058" y="639017"/>
                    </a:cubicBezTo>
                    <a:cubicBezTo>
                      <a:pt x="354745" y="636646"/>
                      <a:pt x="355001" y="632547"/>
                      <a:pt x="352630" y="629860"/>
                    </a:cubicBezTo>
                    <a:cubicBezTo>
                      <a:pt x="350259" y="627173"/>
                      <a:pt x="346160" y="626917"/>
                      <a:pt x="343473" y="629288"/>
                    </a:cubicBezTo>
                    <a:cubicBezTo>
                      <a:pt x="341074" y="631869"/>
                      <a:pt x="341074" y="635863"/>
                      <a:pt x="343473" y="638444"/>
                    </a:cubicBezTo>
                    <a:moveTo>
                      <a:pt x="306560" y="671209"/>
                    </a:moveTo>
                    <a:cubicBezTo>
                      <a:pt x="308733" y="673658"/>
                      <a:pt x="312480" y="673883"/>
                      <a:pt x="314930" y="671709"/>
                    </a:cubicBezTo>
                    <a:cubicBezTo>
                      <a:pt x="317379" y="669536"/>
                      <a:pt x="317604" y="665789"/>
                      <a:pt x="315430" y="663339"/>
                    </a:cubicBezTo>
                    <a:cubicBezTo>
                      <a:pt x="313253" y="661048"/>
                      <a:pt x="309632" y="660954"/>
                      <a:pt x="307340" y="663132"/>
                    </a:cubicBezTo>
                    <a:cubicBezTo>
                      <a:pt x="307268" y="663199"/>
                      <a:pt x="307199" y="663268"/>
                      <a:pt x="307132" y="663339"/>
                    </a:cubicBezTo>
                    <a:cubicBezTo>
                      <a:pt x="304840" y="665630"/>
                      <a:pt x="304840" y="669344"/>
                      <a:pt x="307129" y="671635"/>
                    </a:cubicBezTo>
                    <a:cubicBezTo>
                      <a:pt x="307131" y="671636"/>
                      <a:pt x="307131" y="671636"/>
                      <a:pt x="307132" y="671638"/>
                    </a:cubicBezTo>
                    <a:moveTo>
                      <a:pt x="270219" y="704402"/>
                    </a:moveTo>
                    <a:cubicBezTo>
                      <a:pt x="272280" y="706438"/>
                      <a:pt x="275597" y="706438"/>
                      <a:pt x="277659" y="704402"/>
                    </a:cubicBezTo>
                    <a:cubicBezTo>
                      <a:pt x="279871" y="702466"/>
                      <a:pt x="280095" y="699103"/>
                      <a:pt x="278159" y="696891"/>
                    </a:cubicBezTo>
                    <a:cubicBezTo>
                      <a:pt x="276224" y="694679"/>
                      <a:pt x="272860" y="694454"/>
                      <a:pt x="270648" y="696390"/>
                    </a:cubicBezTo>
                    <a:cubicBezTo>
                      <a:pt x="268595" y="698500"/>
                      <a:pt x="268595" y="701862"/>
                      <a:pt x="270648" y="703973"/>
                    </a:cubicBezTo>
                    <a:moveTo>
                      <a:pt x="233592" y="736594"/>
                    </a:moveTo>
                    <a:cubicBezTo>
                      <a:pt x="235423" y="738451"/>
                      <a:pt x="238412" y="738472"/>
                      <a:pt x="240269" y="736641"/>
                    </a:cubicBezTo>
                    <a:cubicBezTo>
                      <a:pt x="240285" y="736625"/>
                      <a:pt x="240300" y="736610"/>
                      <a:pt x="240316" y="736594"/>
                    </a:cubicBezTo>
                    <a:cubicBezTo>
                      <a:pt x="242148" y="734737"/>
                      <a:pt x="242126" y="731748"/>
                      <a:pt x="240269" y="729917"/>
                    </a:cubicBezTo>
                    <a:cubicBezTo>
                      <a:pt x="238412" y="728087"/>
                      <a:pt x="235423" y="728108"/>
                      <a:pt x="233592" y="729964"/>
                    </a:cubicBezTo>
                    <a:cubicBezTo>
                      <a:pt x="231779" y="731802"/>
                      <a:pt x="231779" y="734755"/>
                      <a:pt x="233592" y="736594"/>
                    </a:cubicBezTo>
                    <a:moveTo>
                      <a:pt x="196678" y="769358"/>
                    </a:moveTo>
                    <a:cubicBezTo>
                      <a:pt x="198259" y="770906"/>
                      <a:pt x="200795" y="770880"/>
                      <a:pt x="202344" y="769301"/>
                    </a:cubicBezTo>
                    <a:cubicBezTo>
                      <a:pt x="203892" y="767720"/>
                      <a:pt x="203866" y="765183"/>
                      <a:pt x="202285" y="763635"/>
                    </a:cubicBezTo>
                    <a:cubicBezTo>
                      <a:pt x="200729" y="762108"/>
                      <a:pt x="198236" y="762108"/>
                      <a:pt x="196678" y="763635"/>
                    </a:cubicBezTo>
                    <a:cubicBezTo>
                      <a:pt x="195152" y="765237"/>
                      <a:pt x="195152" y="767756"/>
                      <a:pt x="196678" y="769358"/>
                    </a:cubicBezTo>
                    <a:moveTo>
                      <a:pt x="159765" y="802122"/>
                    </a:moveTo>
                    <a:cubicBezTo>
                      <a:pt x="161108" y="803461"/>
                      <a:pt x="163282" y="803457"/>
                      <a:pt x="164621" y="802113"/>
                    </a:cubicBezTo>
                    <a:cubicBezTo>
                      <a:pt x="165960" y="800770"/>
                      <a:pt x="165956" y="798597"/>
                      <a:pt x="164612" y="797258"/>
                    </a:cubicBezTo>
                    <a:cubicBezTo>
                      <a:pt x="163273" y="795923"/>
                      <a:pt x="161106" y="795923"/>
                      <a:pt x="159765" y="797258"/>
                    </a:cubicBezTo>
                    <a:cubicBezTo>
                      <a:pt x="158422" y="798597"/>
                      <a:pt x="158417" y="800770"/>
                      <a:pt x="159756" y="802113"/>
                    </a:cubicBezTo>
                    <a:cubicBezTo>
                      <a:pt x="159759" y="802116"/>
                      <a:pt x="159762" y="802119"/>
                      <a:pt x="159765" y="802122"/>
                    </a:cubicBezTo>
                    <a:moveTo>
                      <a:pt x="470667" y="483924"/>
                    </a:moveTo>
                    <a:cubicBezTo>
                      <a:pt x="473856" y="487644"/>
                      <a:pt x="479456" y="488074"/>
                      <a:pt x="483174" y="484885"/>
                    </a:cubicBezTo>
                    <a:cubicBezTo>
                      <a:pt x="486894" y="481697"/>
                      <a:pt x="487325" y="476098"/>
                      <a:pt x="484137" y="472378"/>
                    </a:cubicBezTo>
                    <a:cubicBezTo>
                      <a:pt x="484083" y="472315"/>
                      <a:pt x="484028" y="472253"/>
                      <a:pt x="483973" y="472192"/>
                    </a:cubicBezTo>
                    <a:cubicBezTo>
                      <a:pt x="480682" y="468562"/>
                      <a:pt x="475072" y="468288"/>
                      <a:pt x="471442" y="471579"/>
                    </a:cubicBezTo>
                    <a:cubicBezTo>
                      <a:pt x="467885" y="474806"/>
                      <a:pt x="467540" y="480277"/>
                      <a:pt x="470667" y="483924"/>
                    </a:cubicBezTo>
                    <a:moveTo>
                      <a:pt x="433753" y="516688"/>
                    </a:moveTo>
                    <a:cubicBezTo>
                      <a:pt x="436752" y="520155"/>
                      <a:pt x="441992" y="520532"/>
                      <a:pt x="445458" y="517535"/>
                    </a:cubicBezTo>
                    <a:cubicBezTo>
                      <a:pt x="448925" y="514536"/>
                      <a:pt x="449304" y="509295"/>
                      <a:pt x="446305" y="505830"/>
                    </a:cubicBezTo>
                    <a:cubicBezTo>
                      <a:pt x="443306" y="502363"/>
                      <a:pt x="438066" y="501984"/>
                      <a:pt x="434600" y="504983"/>
                    </a:cubicBezTo>
                    <a:cubicBezTo>
                      <a:pt x="434556" y="505022"/>
                      <a:pt x="434512" y="505060"/>
                      <a:pt x="434469" y="505099"/>
                    </a:cubicBezTo>
                    <a:cubicBezTo>
                      <a:pt x="431073" y="508059"/>
                      <a:pt x="430720" y="513210"/>
                      <a:pt x="433680" y="516605"/>
                    </a:cubicBezTo>
                    <a:cubicBezTo>
                      <a:pt x="433705" y="516633"/>
                      <a:pt x="433729" y="516661"/>
                      <a:pt x="433753" y="516688"/>
                    </a:cubicBezTo>
                    <a:moveTo>
                      <a:pt x="396840" y="549452"/>
                    </a:moveTo>
                    <a:cubicBezTo>
                      <a:pt x="399687" y="552415"/>
                      <a:pt x="404396" y="552510"/>
                      <a:pt x="407359" y="549664"/>
                    </a:cubicBezTo>
                    <a:cubicBezTo>
                      <a:pt x="407432" y="549594"/>
                      <a:pt x="407502" y="549524"/>
                      <a:pt x="407571" y="549452"/>
                    </a:cubicBezTo>
                    <a:cubicBezTo>
                      <a:pt x="410764" y="546744"/>
                      <a:pt x="411157" y="541958"/>
                      <a:pt x="408449" y="538764"/>
                    </a:cubicBezTo>
                    <a:cubicBezTo>
                      <a:pt x="408396" y="538701"/>
                      <a:pt x="408342" y="538640"/>
                      <a:pt x="408286" y="538578"/>
                    </a:cubicBezTo>
                    <a:cubicBezTo>
                      <a:pt x="405440" y="535462"/>
                      <a:pt x="400643" y="535147"/>
                      <a:pt x="397412" y="537863"/>
                    </a:cubicBezTo>
                    <a:cubicBezTo>
                      <a:pt x="394431" y="540875"/>
                      <a:pt x="394431" y="545725"/>
                      <a:pt x="397412" y="548737"/>
                    </a:cubicBezTo>
                    <a:moveTo>
                      <a:pt x="359068" y="581787"/>
                    </a:moveTo>
                    <a:cubicBezTo>
                      <a:pt x="361834" y="584497"/>
                      <a:pt x="366272" y="584451"/>
                      <a:pt x="368982" y="581685"/>
                    </a:cubicBezTo>
                    <a:cubicBezTo>
                      <a:pt x="371692" y="578920"/>
                      <a:pt x="371647" y="574481"/>
                      <a:pt x="368882" y="571772"/>
                    </a:cubicBezTo>
                    <a:cubicBezTo>
                      <a:pt x="366155" y="569100"/>
                      <a:pt x="361794" y="569100"/>
                      <a:pt x="359068" y="571772"/>
                    </a:cubicBezTo>
                    <a:cubicBezTo>
                      <a:pt x="356341" y="574553"/>
                      <a:pt x="356341" y="579006"/>
                      <a:pt x="359068" y="581787"/>
                    </a:cubicBezTo>
                    <a:moveTo>
                      <a:pt x="322155" y="614551"/>
                    </a:moveTo>
                    <a:cubicBezTo>
                      <a:pt x="324654" y="617079"/>
                      <a:pt x="328732" y="617102"/>
                      <a:pt x="331260" y="614602"/>
                    </a:cubicBezTo>
                    <a:cubicBezTo>
                      <a:pt x="331277" y="614585"/>
                      <a:pt x="331295" y="614568"/>
                      <a:pt x="331312" y="614551"/>
                    </a:cubicBezTo>
                    <a:cubicBezTo>
                      <a:pt x="333999" y="612180"/>
                      <a:pt x="334255" y="608081"/>
                      <a:pt x="331884" y="605394"/>
                    </a:cubicBezTo>
                    <a:cubicBezTo>
                      <a:pt x="329513" y="602707"/>
                      <a:pt x="325414" y="602451"/>
                      <a:pt x="322727" y="604822"/>
                    </a:cubicBezTo>
                    <a:cubicBezTo>
                      <a:pt x="320199" y="607321"/>
                      <a:pt x="320176" y="611399"/>
                      <a:pt x="322676" y="613927"/>
                    </a:cubicBezTo>
                    <a:cubicBezTo>
                      <a:pt x="322693" y="613944"/>
                      <a:pt x="322710" y="613962"/>
                      <a:pt x="322727" y="613979"/>
                    </a:cubicBezTo>
                    <a:moveTo>
                      <a:pt x="284669" y="647744"/>
                    </a:moveTo>
                    <a:cubicBezTo>
                      <a:pt x="286961" y="650035"/>
                      <a:pt x="290676" y="650034"/>
                      <a:pt x="292965" y="647741"/>
                    </a:cubicBezTo>
                    <a:cubicBezTo>
                      <a:pt x="295255" y="645451"/>
                      <a:pt x="295254" y="641737"/>
                      <a:pt x="292963" y="639446"/>
                    </a:cubicBezTo>
                    <a:cubicBezTo>
                      <a:pt x="290673" y="637157"/>
                      <a:pt x="286960" y="637157"/>
                      <a:pt x="284669" y="639446"/>
                    </a:cubicBezTo>
                    <a:cubicBezTo>
                      <a:pt x="282377" y="641737"/>
                      <a:pt x="282377" y="645451"/>
                      <a:pt x="284666" y="647741"/>
                    </a:cubicBezTo>
                    <a:cubicBezTo>
                      <a:pt x="284668" y="647743"/>
                      <a:pt x="284668" y="647743"/>
                      <a:pt x="284669" y="647744"/>
                    </a:cubicBezTo>
                    <a:moveTo>
                      <a:pt x="248185" y="680509"/>
                    </a:moveTo>
                    <a:cubicBezTo>
                      <a:pt x="250330" y="682496"/>
                      <a:pt x="253679" y="682368"/>
                      <a:pt x="255667" y="680224"/>
                    </a:cubicBezTo>
                    <a:cubicBezTo>
                      <a:pt x="257389" y="678364"/>
                      <a:pt x="257552" y="675544"/>
                      <a:pt x="256054" y="673498"/>
                    </a:cubicBezTo>
                    <a:cubicBezTo>
                      <a:pt x="254327" y="671139"/>
                      <a:pt x="251014" y="670628"/>
                      <a:pt x="248656" y="672355"/>
                    </a:cubicBezTo>
                    <a:cubicBezTo>
                      <a:pt x="246297" y="674082"/>
                      <a:pt x="245784" y="677394"/>
                      <a:pt x="247513" y="679753"/>
                    </a:cubicBezTo>
                    <a:cubicBezTo>
                      <a:pt x="247712" y="680026"/>
                      <a:pt x="247938" y="680278"/>
                      <a:pt x="248185" y="680509"/>
                    </a:cubicBezTo>
                    <a:moveTo>
                      <a:pt x="211272" y="713273"/>
                    </a:moveTo>
                    <a:cubicBezTo>
                      <a:pt x="213030" y="715090"/>
                      <a:pt x="215929" y="715138"/>
                      <a:pt x="217746" y="713380"/>
                    </a:cubicBezTo>
                    <a:cubicBezTo>
                      <a:pt x="217782" y="713346"/>
                      <a:pt x="217818" y="713310"/>
                      <a:pt x="217853" y="713273"/>
                    </a:cubicBezTo>
                    <a:cubicBezTo>
                      <a:pt x="219635" y="711440"/>
                      <a:pt x="219635" y="708524"/>
                      <a:pt x="217853" y="706691"/>
                    </a:cubicBezTo>
                    <a:cubicBezTo>
                      <a:pt x="216460" y="704486"/>
                      <a:pt x="213544" y="703830"/>
                      <a:pt x="211339" y="705223"/>
                    </a:cubicBezTo>
                    <a:cubicBezTo>
                      <a:pt x="209136" y="706615"/>
                      <a:pt x="208478" y="709533"/>
                      <a:pt x="209871" y="711736"/>
                    </a:cubicBezTo>
                    <a:cubicBezTo>
                      <a:pt x="210135" y="712154"/>
                      <a:pt x="210464" y="712527"/>
                      <a:pt x="210843" y="712843"/>
                    </a:cubicBezTo>
                    <a:moveTo>
                      <a:pt x="173786" y="745607"/>
                    </a:moveTo>
                    <a:cubicBezTo>
                      <a:pt x="175406" y="747227"/>
                      <a:pt x="178033" y="747227"/>
                      <a:pt x="179652" y="745607"/>
                    </a:cubicBezTo>
                    <a:cubicBezTo>
                      <a:pt x="181179" y="744005"/>
                      <a:pt x="181179" y="741487"/>
                      <a:pt x="179652" y="739885"/>
                    </a:cubicBezTo>
                    <a:cubicBezTo>
                      <a:pt x="178219" y="738304"/>
                      <a:pt x="175777" y="738185"/>
                      <a:pt x="174196" y="739618"/>
                    </a:cubicBezTo>
                    <a:cubicBezTo>
                      <a:pt x="174103" y="739703"/>
                      <a:pt x="174014" y="739792"/>
                      <a:pt x="173929" y="739885"/>
                    </a:cubicBezTo>
                    <a:cubicBezTo>
                      <a:pt x="172348" y="741433"/>
                      <a:pt x="172323" y="743969"/>
                      <a:pt x="173872" y="745550"/>
                    </a:cubicBezTo>
                    <a:cubicBezTo>
                      <a:pt x="173891" y="745569"/>
                      <a:pt x="173909" y="745589"/>
                      <a:pt x="173929" y="745607"/>
                    </a:cubicBezTo>
                    <a:moveTo>
                      <a:pt x="137302" y="778801"/>
                    </a:moveTo>
                    <a:cubicBezTo>
                      <a:pt x="138646" y="780140"/>
                      <a:pt x="140819" y="780136"/>
                      <a:pt x="142158" y="778792"/>
                    </a:cubicBezTo>
                    <a:cubicBezTo>
                      <a:pt x="143497" y="777449"/>
                      <a:pt x="143493" y="775275"/>
                      <a:pt x="142150" y="773936"/>
                    </a:cubicBezTo>
                    <a:cubicBezTo>
                      <a:pt x="140810" y="772601"/>
                      <a:pt x="138643" y="772601"/>
                      <a:pt x="137302" y="773936"/>
                    </a:cubicBezTo>
                    <a:cubicBezTo>
                      <a:pt x="135959" y="775275"/>
                      <a:pt x="135955" y="777449"/>
                      <a:pt x="137294" y="778792"/>
                    </a:cubicBezTo>
                    <a:cubicBezTo>
                      <a:pt x="137297" y="778795"/>
                      <a:pt x="137299" y="778798"/>
                      <a:pt x="137302" y="778801"/>
                    </a:cubicBezTo>
                    <a:moveTo>
                      <a:pt x="449205" y="460459"/>
                    </a:moveTo>
                    <a:cubicBezTo>
                      <a:pt x="452585" y="463896"/>
                      <a:pt x="458110" y="463943"/>
                      <a:pt x="461547" y="460565"/>
                    </a:cubicBezTo>
                    <a:cubicBezTo>
                      <a:pt x="461583" y="460530"/>
                      <a:pt x="461619" y="460495"/>
                      <a:pt x="461653" y="460459"/>
                    </a:cubicBezTo>
                    <a:cubicBezTo>
                      <a:pt x="465301" y="457246"/>
                      <a:pt x="465685" y="451695"/>
                      <a:pt x="462511" y="448012"/>
                    </a:cubicBezTo>
                    <a:cubicBezTo>
                      <a:pt x="459248" y="444345"/>
                      <a:pt x="453651" y="443964"/>
                      <a:pt x="449921" y="447153"/>
                    </a:cubicBezTo>
                    <a:cubicBezTo>
                      <a:pt x="446444" y="450604"/>
                      <a:pt x="446424" y="456222"/>
                      <a:pt x="449875" y="459698"/>
                    </a:cubicBezTo>
                    <a:cubicBezTo>
                      <a:pt x="449891" y="459714"/>
                      <a:pt x="449905" y="459728"/>
                      <a:pt x="449921" y="459744"/>
                    </a:cubicBezTo>
                    <a:moveTo>
                      <a:pt x="412864" y="492508"/>
                    </a:moveTo>
                    <a:cubicBezTo>
                      <a:pt x="415686" y="496121"/>
                      <a:pt x="420901" y="496762"/>
                      <a:pt x="424512" y="493940"/>
                    </a:cubicBezTo>
                    <a:cubicBezTo>
                      <a:pt x="428125" y="491120"/>
                      <a:pt x="428766" y="485905"/>
                      <a:pt x="425944" y="482293"/>
                    </a:cubicBezTo>
                    <a:cubicBezTo>
                      <a:pt x="423124" y="478681"/>
                      <a:pt x="417909" y="478039"/>
                      <a:pt x="414297" y="480860"/>
                    </a:cubicBezTo>
                    <a:cubicBezTo>
                      <a:pt x="413992" y="481098"/>
                      <a:pt x="413706" y="481357"/>
                      <a:pt x="413437" y="481635"/>
                    </a:cubicBezTo>
                    <a:cubicBezTo>
                      <a:pt x="410000" y="484666"/>
                      <a:pt x="409672" y="489910"/>
                      <a:pt x="412704" y="493347"/>
                    </a:cubicBezTo>
                    <a:cubicBezTo>
                      <a:pt x="412710" y="493354"/>
                      <a:pt x="412716" y="493359"/>
                      <a:pt x="412721" y="493367"/>
                    </a:cubicBezTo>
                    <a:moveTo>
                      <a:pt x="375236" y="525988"/>
                    </a:moveTo>
                    <a:cubicBezTo>
                      <a:pt x="378277" y="528895"/>
                      <a:pt x="383068" y="528895"/>
                      <a:pt x="386109" y="525988"/>
                    </a:cubicBezTo>
                    <a:cubicBezTo>
                      <a:pt x="389091" y="522976"/>
                      <a:pt x="389091" y="518126"/>
                      <a:pt x="386109" y="515114"/>
                    </a:cubicBezTo>
                    <a:cubicBezTo>
                      <a:pt x="383191" y="512111"/>
                      <a:pt x="378389" y="512044"/>
                      <a:pt x="375386" y="514964"/>
                    </a:cubicBezTo>
                    <a:cubicBezTo>
                      <a:pt x="375336" y="515012"/>
                      <a:pt x="375286" y="515062"/>
                      <a:pt x="375236" y="515114"/>
                    </a:cubicBezTo>
                    <a:cubicBezTo>
                      <a:pt x="372254" y="518126"/>
                      <a:pt x="372254" y="522976"/>
                      <a:pt x="375236" y="525988"/>
                    </a:cubicBezTo>
                    <a:moveTo>
                      <a:pt x="338179" y="558752"/>
                    </a:moveTo>
                    <a:cubicBezTo>
                      <a:pt x="340961" y="561479"/>
                      <a:pt x="345413" y="561479"/>
                      <a:pt x="348195" y="558752"/>
                    </a:cubicBezTo>
                    <a:cubicBezTo>
                      <a:pt x="351153" y="556254"/>
                      <a:pt x="351525" y="551830"/>
                      <a:pt x="349027" y="548873"/>
                    </a:cubicBezTo>
                    <a:cubicBezTo>
                      <a:pt x="348989" y="548827"/>
                      <a:pt x="348950" y="548781"/>
                      <a:pt x="348910" y="548737"/>
                    </a:cubicBezTo>
                    <a:cubicBezTo>
                      <a:pt x="346129" y="546010"/>
                      <a:pt x="341676" y="546010"/>
                      <a:pt x="338895" y="548737"/>
                    </a:cubicBezTo>
                    <a:cubicBezTo>
                      <a:pt x="336129" y="551446"/>
                      <a:pt x="336083" y="555885"/>
                      <a:pt x="338793" y="558650"/>
                    </a:cubicBezTo>
                    <a:cubicBezTo>
                      <a:pt x="338827" y="558685"/>
                      <a:pt x="338860" y="558719"/>
                      <a:pt x="338895" y="558752"/>
                    </a:cubicBezTo>
                    <a:moveTo>
                      <a:pt x="301981" y="591516"/>
                    </a:moveTo>
                    <a:cubicBezTo>
                      <a:pt x="304534" y="593987"/>
                      <a:pt x="308586" y="593987"/>
                      <a:pt x="311138" y="591516"/>
                    </a:cubicBezTo>
                    <a:cubicBezTo>
                      <a:pt x="313825" y="589145"/>
                      <a:pt x="314081" y="585046"/>
                      <a:pt x="311710" y="582359"/>
                    </a:cubicBezTo>
                    <a:cubicBezTo>
                      <a:pt x="309340" y="579672"/>
                      <a:pt x="305241" y="579416"/>
                      <a:pt x="302554" y="581787"/>
                    </a:cubicBezTo>
                    <a:cubicBezTo>
                      <a:pt x="300083" y="584339"/>
                      <a:pt x="300083" y="588391"/>
                      <a:pt x="302554" y="590944"/>
                    </a:cubicBezTo>
                    <a:moveTo>
                      <a:pt x="264353" y="624709"/>
                    </a:moveTo>
                    <a:cubicBezTo>
                      <a:pt x="266645" y="627000"/>
                      <a:pt x="270359" y="626999"/>
                      <a:pt x="272648" y="624706"/>
                    </a:cubicBezTo>
                    <a:cubicBezTo>
                      <a:pt x="274939" y="622416"/>
                      <a:pt x="274937" y="618702"/>
                      <a:pt x="272647" y="616411"/>
                    </a:cubicBezTo>
                    <a:cubicBezTo>
                      <a:pt x="270356" y="614122"/>
                      <a:pt x="266643" y="614122"/>
                      <a:pt x="264353" y="616411"/>
                    </a:cubicBezTo>
                    <a:cubicBezTo>
                      <a:pt x="262061" y="618702"/>
                      <a:pt x="262061" y="622416"/>
                      <a:pt x="264350" y="624706"/>
                    </a:cubicBezTo>
                    <a:cubicBezTo>
                      <a:pt x="264351" y="624708"/>
                      <a:pt x="264351" y="624708"/>
                      <a:pt x="264353" y="624709"/>
                    </a:cubicBezTo>
                    <a:moveTo>
                      <a:pt x="227439" y="657044"/>
                    </a:moveTo>
                    <a:cubicBezTo>
                      <a:pt x="229578" y="659026"/>
                      <a:pt x="232883" y="659026"/>
                      <a:pt x="235022" y="657044"/>
                    </a:cubicBezTo>
                    <a:cubicBezTo>
                      <a:pt x="236985" y="654952"/>
                      <a:pt x="236985" y="651696"/>
                      <a:pt x="235022" y="649604"/>
                    </a:cubicBezTo>
                    <a:cubicBezTo>
                      <a:pt x="233087" y="647392"/>
                      <a:pt x="229723" y="647168"/>
                      <a:pt x="227511" y="649104"/>
                    </a:cubicBezTo>
                    <a:cubicBezTo>
                      <a:pt x="225299" y="651039"/>
                      <a:pt x="225074" y="654403"/>
                      <a:pt x="227010" y="656615"/>
                    </a:cubicBezTo>
                    <a:moveTo>
                      <a:pt x="190097" y="689379"/>
                    </a:moveTo>
                    <a:cubicBezTo>
                      <a:pt x="191930" y="691160"/>
                      <a:pt x="194846" y="691160"/>
                      <a:pt x="196678" y="689379"/>
                    </a:cubicBezTo>
                    <a:cubicBezTo>
                      <a:pt x="198495" y="687621"/>
                      <a:pt x="198544" y="684722"/>
                      <a:pt x="196786" y="682905"/>
                    </a:cubicBezTo>
                    <a:cubicBezTo>
                      <a:pt x="196751" y="682869"/>
                      <a:pt x="196714" y="682833"/>
                      <a:pt x="196678" y="682798"/>
                    </a:cubicBezTo>
                    <a:cubicBezTo>
                      <a:pt x="194846" y="681016"/>
                      <a:pt x="191930" y="681016"/>
                      <a:pt x="190097" y="682798"/>
                    </a:cubicBezTo>
                    <a:cubicBezTo>
                      <a:pt x="188280" y="684556"/>
                      <a:pt x="188231" y="687455"/>
                      <a:pt x="189990" y="689272"/>
                    </a:cubicBezTo>
                    <a:cubicBezTo>
                      <a:pt x="190024" y="689308"/>
                      <a:pt x="190061" y="689343"/>
                      <a:pt x="190097" y="689379"/>
                    </a:cubicBezTo>
                    <a:moveTo>
                      <a:pt x="153184" y="722143"/>
                    </a:moveTo>
                    <a:cubicBezTo>
                      <a:pt x="154786" y="723670"/>
                      <a:pt x="157304" y="723670"/>
                      <a:pt x="158907" y="722143"/>
                    </a:cubicBezTo>
                    <a:cubicBezTo>
                      <a:pt x="160488" y="720710"/>
                      <a:pt x="160606" y="718267"/>
                      <a:pt x="159173" y="716686"/>
                    </a:cubicBezTo>
                    <a:cubicBezTo>
                      <a:pt x="159088" y="716593"/>
                      <a:pt x="159000" y="716505"/>
                      <a:pt x="158907" y="716420"/>
                    </a:cubicBezTo>
                    <a:cubicBezTo>
                      <a:pt x="157359" y="714839"/>
                      <a:pt x="154822" y="714814"/>
                      <a:pt x="153241" y="716363"/>
                    </a:cubicBezTo>
                    <a:cubicBezTo>
                      <a:pt x="153222" y="716382"/>
                      <a:pt x="153202" y="716400"/>
                      <a:pt x="153184" y="716420"/>
                    </a:cubicBezTo>
                    <a:cubicBezTo>
                      <a:pt x="151564" y="718040"/>
                      <a:pt x="151564" y="720667"/>
                      <a:pt x="153184" y="722286"/>
                    </a:cubicBezTo>
                    <a:moveTo>
                      <a:pt x="116127" y="755050"/>
                    </a:moveTo>
                    <a:cubicBezTo>
                      <a:pt x="117509" y="756461"/>
                      <a:pt x="119774" y="756484"/>
                      <a:pt x="121185" y="755101"/>
                    </a:cubicBezTo>
                    <a:cubicBezTo>
                      <a:pt x="122596" y="753718"/>
                      <a:pt x="122619" y="751454"/>
                      <a:pt x="121236" y="750043"/>
                    </a:cubicBezTo>
                    <a:cubicBezTo>
                      <a:pt x="119853" y="748632"/>
                      <a:pt x="117588" y="748609"/>
                      <a:pt x="116177" y="749993"/>
                    </a:cubicBezTo>
                    <a:cubicBezTo>
                      <a:pt x="116160" y="750008"/>
                      <a:pt x="116144" y="750026"/>
                      <a:pt x="116127" y="750043"/>
                    </a:cubicBezTo>
                    <a:cubicBezTo>
                      <a:pt x="114764" y="751434"/>
                      <a:pt x="114764" y="753660"/>
                      <a:pt x="116127" y="755050"/>
                    </a:cubicBezTo>
                    <a:moveTo>
                      <a:pt x="79214" y="787672"/>
                    </a:moveTo>
                    <a:cubicBezTo>
                      <a:pt x="80228" y="788777"/>
                      <a:pt x="81948" y="788852"/>
                      <a:pt x="83055" y="787838"/>
                    </a:cubicBezTo>
                    <a:cubicBezTo>
                      <a:pt x="83113" y="787785"/>
                      <a:pt x="83167" y="787729"/>
                      <a:pt x="83220" y="787672"/>
                    </a:cubicBezTo>
                    <a:cubicBezTo>
                      <a:pt x="84326" y="786657"/>
                      <a:pt x="84400" y="784937"/>
                      <a:pt x="83385" y="783830"/>
                    </a:cubicBezTo>
                    <a:cubicBezTo>
                      <a:pt x="83333" y="783773"/>
                      <a:pt x="83277" y="783718"/>
                      <a:pt x="83220" y="783665"/>
                    </a:cubicBezTo>
                    <a:cubicBezTo>
                      <a:pt x="82107" y="782575"/>
                      <a:pt x="80327" y="782575"/>
                      <a:pt x="79214" y="783665"/>
                    </a:cubicBezTo>
                    <a:cubicBezTo>
                      <a:pt x="78108" y="784680"/>
                      <a:pt x="78034" y="786400"/>
                      <a:pt x="79049" y="787506"/>
                    </a:cubicBezTo>
                    <a:cubicBezTo>
                      <a:pt x="79101" y="787564"/>
                      <a:pt x="79157" y="787619"/>
                      <a:pt x="79214" y="787672"/>
                    </a:cubicBezTo>
                    <a:moveTo>
                      <a:pt x="479823" y="391354"/>
                    </a:moveTo>
                    <a:cubicBezTo>
                      <a:pt x="476584" y="387640"/>
                      <a:pt x="470947" y="387257"/>
                      <a:pt x="467233" y="390496"/>
                    </a:cubicBezTo>
                    <a:cubicBezTo>
                      <a:pt x="463519" y="393735"/>
                      <a:pt x="463135" y="399372"/>
                      <a:pt x="466374" y="403086"/>
                    </a:cubicBezTo>
                    <a:cubicBezTo>
                      <a:pt x="469614" y="406801"/>
                      <a:pt x="475251" y="407184"/>
                      <a:pt x="478965" y="403945"/>
                    </a:cubicBezTo>
                    <a:cubicBezTo>
                      <a:pt x="482679" y="400706"/>
                      <a:pt x="483063" y="395069"/>
                      <a:pt x="479823" y="391354"/>
                    </a:cubicBezTo>
                    <a:moveTo>
                      <a:pt x="516737" y="358590"/>
                    </a:moveTo>
                    <a:cubicBezTo>
                      <a:pt x="513738" y="355123"/>
                      <a:pt x="508497" y="354746"/>
                      <a:pt x="505032" y="357743"/>
                    </a:cubicBezTo>
                    <a:cubicBezTo>
                      <a:pt x="501565" y="360742"/>
                      <a:pt x="501186" y="365983"/>
                      <a:pt x="504185" y="369448"/>
                    </a:cubicBezTo>
                    <a:cubicBezTo>
                      <a:pt x="507184" y="372915"/>
                      <a:pt x="512424" y="373294"/>
                      <a:pt x="515890" y="370295"/>
                    </a:cubicBezTo>
                    <a:cubicBezTo>
                      <a:pt x="515934" y="370257"/>
                      <a:pt x="515978" y="370218"/>
                      <a:pt x="516021" y="370179"/>
                    </a:cubicBezTo>
                    <a:cubicBezTo>
                      <a:pt x="519416" y="367219"/>
                      <a:pt x="519770" y="362068"/>
                      <a:pt x="516810" y="358673"/>
                    </a:cubicBezTo>
                    <a:cubicBezTo>
                      <a:pt x="516785" y="358646"/>
                      <a:pt x="516761" y="358617"/>
                      <a:pt x="516737" y="358590"/>
                    </a:cubicBezTo>
                    <a:moveTo>
                      <a:pt x="553650" y="325826"/>
                    </a:moveTo>
                    <a:cubicBezTo>
                      <a:pt x="550844" y="322666"/>
                      <a:pt x="546008" y="322377"/>
                      <a:pt x="542848" y="325182"/>
                    </a:cubicBezTo>
                    <a:cubicBezTo>
                      <a:pt x="539687" y="327988"/>
                      <a:pt x="539398" y="332824"/>
                      <a:pt x="542204" y="335984"/>
                    </a:cubicBezTo>
                    <a:cubicBezTo>
                      <a:pt x="545246" y="338892"/>
                      <a:pt x="550036" y="338892"/>
                      <a:pt x="553078" y="335984"/>
                    </a:cubicBezTo>
                    <a:cubicBezTo>
                      <a:pt x="556059" y="332973"/>
                      <a:pt x="556059" y="328122"/>
                      <a:pt x="553078" y="325111"/>
                    </a:cubicBezTo>
                    <a:moveTo>
                      <a:pt x="590134" y="292347"/>
                    </a:moveTo>
                    <a:cubicBezTo>
                      <a:pt x="587539" y="289581"/>
                      <a:pt x="583192" y="289444"/>
                      <a:pt x="580426" y="292039"/>
                    </a:cubicBezTo>
                    <a:cubicBezTo>
                      <a:pt x="580321" y="292138"/>
                      <a:pt x="580218" y="292241"/>
                      <a:pt x="580119" y="292347"/>
                    </a:cubicBezTo>
                    <a:cubicBezTo>
                      <a:pt x="577160" y="294845"/>
                      <a:pt x="576788" y="299269"/>
                      <a:pt x="579286" y="302226"/>
                    </a:cubicBezTo>
                    <a:cubicBezTo>
                      <a:pt x="579325" y="302272"/>
                      <a:pt x="579363" y="302317"/>
                      <a:pt x="579403" y="302362"/>
                    </a:cubicBezTo>
                    <a:cubicBezTo>
                      <a:pt x="582185" y="305089"/>
                      <a:pt x="586637" y="305089"/>
                      <a:pt x="589419" y="302362"/>
                    </a:cubicBezTo>
                    <a:cubicBezTo>
                      <a:pt x="592184" y="299652"/>
                      <a:pt x="592230" y="295214"/>
                      <a:pt x="589520" y="292448"/>
                    </a:cubicBezTo>
                    <a:cubicBezTo>
                      <a:pt x="589486" y="292414"/>
                      <a:pt x="589453" y="292379"/>
                      <a:pt x="589419" y="292347"/>
                    </a:cubicBezTo>
                    <a:moveTo>
                      <a:pt x="628049" y="260584"/>
                    </a:moveTo>
                    <a:cubicBezTo>
                      <a:pt x="625549" y="258056"/>
                      <a:pt x="621472" y="258033"/>
                      <a:pt x="618944" y="260532"/>
                    </a:cubicBezTo>
                    <a:cubicBezTo>
                      <a:pt x="618926" y="260550"/>
                      <a:pt x="618909" y="260567"/>
                      <a:pt x="618892" y="260584"/>
                    </a:cubicBezTo>
                    <a:cubicBezTo>
                      <a:pt x="616205" y="262955"/>
                      <a:pt x="615949" y="267054"/>
                      <a:pt x="618320" y="269741"/>
                    </a:cubicBezTo>
                    <a:cubicBezTo>
                      <a:pt x="620691" y="272428"/>
                      <a:pt x="624790" y="272684"/>
                      <a:pt x="627477" y="270313"/>
                    </a:cubicBezTo>
                    <a:cubicBezTo>
                      <a:pt x="630005" y="267814"/>
                      <a:pt x="630028" y="263736"/>
                      <a:pt x="627528" y="261208"/>
                    </a:cubicBezTo>
                    <a:cubicBezTo>
                      <a:pt x="627511" y="261191"/>
                      <a:pt x="627494" y="261173"/>
                      <a:pt x="627477" y="261156"/>
                    </a:cubicBezTo>
                    <a:moveTo>
                      <a:pt x="664390" y="228392"/>
                    </a:moveTo>
                    <a:cubicBezTo>
                      <a:pt x="662098" y="226101"/>
                      <a:pt x="658384" y="226103"/>
                      <a:pt x="656094" y="228395"/>
                    </a:cubicBezTo>
                    <a:cubicBezTo>
                      <a:pt x="653804" y="230686"/>
                      <a:pt x="653805" y="234400"/>
                      <a:pt x="656096" y="236690"/>
                    </a:cubicBezTo>
                    <a:cubicBezTo>
                      <a:pt x="658386" y="238980"/>
                      <a:pt x="662099" y="238980"/>
                      <a:pt x="664390" y="236690"/>
                    </a:cubicBezTo>
                    <a:cubicBezTo>
                      <a:pt x="666682" y="234400"/>
                      <a:pt x="666682" y="230686"/>
                      <a:pt x="664393" y="228395"/>
                    </a:cubicBezTo>
                    <a:cubicBezTo>
                      <a:pt x="664391" y="228394"/>
                      <a:pt x="664391" y="228394"/>
                      <a:pt x="664390" y="228392"/>
                    </a:cubicBezTo>
                    <a:moveTo>
                      <a:pt x="701303" y="195485"/>
                    </a:moveTo>
                    <a:cubicBezTo>
                      <a:pt x="699367" y="193273"/>
                      <a:pt x="696004" y="193048"/>
                      <a:pt x="693792" y="194984"/>
                    </a:cubicBezTo>
                    <a:cubicBezTo>
                      <a:pt x="691580" y="196920"/>
                      <a:pt x="691355" y="200284"/>
                      <a:pt x="693291" y="202496"/>
                    </a:cubicBezTo>
                    <a:cubicBezTo>
                      <a:pt x="695227" y="204708"/>
                      <a:pt x="698590" y="204932"/>
                      <a:pt x="700802" y="202996"/>
                    </a:cubicBezTo>
                    <a:cubicBezTo>
                      <a:pt x="703014" y="201061"/>
                      <a:pt x="703239" y="197697"/>
                      <a:pt x="701303" y="195485"/>
                    </a:cubicBezTo>
                    <a:moveTo>
                      <a:pt x="738216" y="162721"/>
                    </a:moveTo>
                    <a:cubicBezTo>
                      <a:pt x="736384" y="160940"/>
                      <a:pt x="733468" y="160940"/>
                      <a:pt x="731635" y="162721"/>
                    </a:cubicBezTo>
                    <a:cubicBezTo>
                      <a:pt x="729765" y="164538"/>
                      <a:pt x="729722" y="167527"/>
                      <a:pt x="731541" y="169397"/>
                    </a:cubicBezTo>
                    <a:cubicBezTo>
                      <a:pt x="733358" y="171267"/>
                      <a:pt x="736347" y="171310"/>
                      <a:pt x="738216" y="169493"/>
                    </a:cubicBezTo>
                    <a:cubicBezTo>
                      <a:pt x="740086" y="167675"/>
                      <a:pt x="740129" y="164685"/>
                      <a:pt x="738311" y="162815"/>
                    </a:cubicBezTo>
                    <a:cubicBezTo>
                      <a:pt x="738281" y="162784"/>
                      <a:pt x="738248" y="162752"/>
                      <a:pt x="738216" y="162721"/>
                    </a:cubicBezTo>
                    <a:moveTo>
                      <a:pt x="775130" y="129957"/>
                    </a:moveTo>
                    <a:cubicBezTo>
                      <a:pt x="773549" y="128409"/>
                      <a:pt x="771013" y="128434"/>
                      <a:pt x="769464" y="130014"/>
                    </a:cubicBezTo>
                    <a:cubicBezTo>
                      <a:pt x="767916" y="131595"/>
                      <a:pt x="767942" y="134132"/>
                      <a:pt x="769523" y="135680"/>
                    </a:cubicBezTo>
                    <a:cubicBezTo>
                      <a:pt x="771079" y="137206"/>
                      <a:pt x="773572" y="137206"/>
                      <a:pt x="775130" y="135680"/>
                    </a:cubicBezTo>
                    <a:cubicBezTo>
                      <a:pt x="776711" y="134246"/>
                      <a:pt x="776830" y="131804"/>
                      <a:pt x="775396" y="130223"/>
                    </a:cubicBezTo>
                    <a:cubicBezTo>
                      <a:pt x="775312" y="130130"/>
                      <a:pt x="775223" y="130041"/>
                      <a:pt x="775130" y="129957"/>
                    </a:cubicBezTo>
                    <a:moveTo>
                      <a:pt x="812186" y="97192"/>
                    </a:moveTo>
                    <a:cubicBezTo>
                      <a:pt x="810843" y="95853"/>
                      <a:pt x="808669" y="95858"/>
                      <a:pt x="807330" y="97201"/>
                    </a:cubicBezTo>
                    <a:cubicBezTo>
                      <a:pt x="805991" y="98545"/>
                      <a:pt x="805995" y="100718"/>
                      <a:pt x="807339" y="102057"/>
                    </a:cubicBezTo>
                    <a:cubicBezTo>
                      <a:pt x="808678" y="103392"/>
                      <a:pt x="810846" y="103392"/>
                      <a:pt x="812186" y="102057"/>
                    </a:cubicBezTo>
                    <a:cubicBezTo>
                      <a:pt x="813530" y="100718"/>
                      <a:pt x="813534" y="98545"/>
                      <a:pt x="812195" y="97201"/>
                    </a:cubicBezTo>
                    <a:cubicBezTo>
                      <a:pt x="812192" y="97198"/>
                      <a:pt x="812189" y="97195"/>
                      <a:pt x="812186" y="97192"/>
                    </a:cubicBezTo>
                    <a:moveTo>
                      <a:pt x="849099" y="64428"/>
                    </a:moveTo>
                    <a:cubicBezTo>
                      <a:pt x="848032" y="63244"/>
                      <a:pt x="846207" y="63146"/>
                      <a:pt x="845022" y="64214"/>
                    </a:cubicBezTo>
                    <a:cubicBezTo>
                      <a:pt x="843837" y="65281"/>
                      <a:pt x="843740" y="67107"/>
                      <a:pt x="844807" y="68291"/>
                    </a:cubicBezTo>
                    <a:cubicBezTo>
                      <a:pt x="845920" y="69382"/>
                      <a:pt x="847700" y="69382"/>
                      <a:pt x="848813" y="68291"/>
                    </a:cubicBezTo>
                    <a:cubicBezTo>
                      <a:pt x="849922" y="67131"/>
                      <a:pt x="849922" y="65303"/>
                      <a:pt x="848813" y="64142"/>
                    </a:cubicBezTo>
                    <a:moveTo>
                      <a:pt x="458648" y="368033"/>
                    </a:moveTo>
                    <a:cubicBezTo>
                      <a:pt x="455345" y="364410"/>
                      <a:pt x="449750" y="364091"/>
                      <a:pt x="446058" y="367318"/>
                    </a:cubicBezTo>
                    <a:cubicBezTo>
                      <a:pt x="442385" y="370561"/>
                      <a:pt x="442037" y="376167"/>
                      <a:pt x="445281" y="379838"/>
                    </a:cubicBezTo>
                    <a:cubicBezTo>
                      <a:pt x="445301" y="379863"/>
                      <a:pt x="445321" y="379885"/>
                      <a:pt x="445342" y="379908"/>
                    </a:cubicBezTo>
                    <a:cubicBezTo>
                      <a:pt x="448622" y="383583"/>
                      <a:pt x="454259" y="383903"/>
                      <a:pt x="457933" y="380624"/>
                    </a:cubicBezTo>
                    <a:cubicBezTo>
                      <a:pt x="461607" y="377344"/>
                      <a:pt x="461928" y="371707"/>
                      <a:pt x="458648" y="368033"/>
                    </a:cubicBezTo>
                    <a:moveTo>
                      <a:pt x="495562" y="335269"/>
                    </a:moveTo>
                    <a:cubicBezTo>
                      <a:pt x="492518" y="331842"/>
                      <a:pt x="487273" y="331530"/>
                      <a:pt x="483847" y="334574"/>
                    </a:cubicBezTo>
                    <a:cubicBezTo>
                      <a:pt x="480420" y="337615"/>
                      <a:pt x="480108" y="342861"/>
                      <a:pt x="483151" y="346289"/>
                    </a:cubicBezTo>
                    <a:cubicBezTo>
                      <a:pt x="486187" y="349708"/>
                      <a:pt x="491417" y="350027"/>
                      <a:pt x="494846" y="347001"/>
                    </a:cubicBezTo>
                    <a:cubicBezTo>
                      <a:pt x="498283" y="343969"/>
                      <a:pt x="498610" y="338726"/>
                      <a:pt x="495579" y="335289"/>
                    </a:cubicBezTo>
                    <a:cubicBezTo>
                      <a:pt x="495573" y="335282"/>
                      <a:pt x="495567" y="335276"/>
                      <a:pt x="495562" y="335269"/>
                    </a:cubicBezTo>
                    <a:moveTo>
                      <a:pt x="532618" y="302505"/>
                    </a:moveTo>
                    <a:cubicBezTo>
                      <a:pt x="529606" y="299523"/>
                      <a:pt x="524756" y="299523"/>
                      <a:pt x="521744" y="302505"/>
                    </a:cubicBezTo>
                    <a:cubicBezTo>
                      <a:pt x="518741" y="305424"/>
                      <a:pt x="518674" y="310225"/>
                      <a:pt x="521594" y="313228"/>
                    </a:cubicBezTo>
                    <a:cubicBezTo>
                      <a:pt x="521643" y="313278"/>
                      <a:pt x="521693" y="313328"/>
                      <a:pt x="521744" y="313379"/>
                    </a:cubicBezTo>
                    <a:cubicBezTo>
                      <a:pt x="524756" y="316360"/>
                      <a:pt x="529606" y="316360"/>
                      <a:pt x="532618" y="313379"/>
                    </a:cubicBezTo>
                    <a:cubicBezTo>
                      <a:pt x="535525" y="310337"/>
                      <a:pt x="535525" y="305547"/>
                      <a:pt x="532618" y="302505"/>
                    </a:cubicBezTo>
                    <a:moveTo>
                      <a:pt x="569531" y="269741"/>
                    </a:moveTo>
                    <a:cubicBezTo>
                      <a:pt x="566750" y="267014"/>
                      <a:pt x="562297" y="267014"/>
                      <a:pt x="559516" y="269741"/>
                    </a:cubicBezTo>
                    <a:cubicBezTo>
                      <a:pt x="556934" y="272731"/>
                      <a:pt x="557263" y="277248"/>
                      <a:pt x="560253" y="279830"/>
                    </a:cubicBezTo>
                    <a:cubicBezTo>
                      <a:pt x="562707" y="281951"/>
                      <a:pt x="566279" y="282155"/>
                      <a:pt x="568959" y="280328"/>
                    </a:cubicBezTo>
                    <a:cubicBezTo>
                      <a:pt x="571686" y="277547"/>
                      <a:pt x="571686" y="273094"/>
                      <a:pt x="568959" y="270313"/>
                    </a:cubicBezTo>
                    <a:moveTo>
                      <a:pt x="605872" y="237549"/>
                    </a:moveTo>
                    <a:cubicBezTo>
                      <a:pt x="603320" y="235078"/>
                      <a:pt x="599268" y="235078"/>
                      <a:pt x="596716" y="237549"/>
                    </a:cubicBezTo>
                    <a:cubicBezTo>
                      <a:pt x="594316" y="240130"/>
                      <a:pt x="594316" y="244125"/>
                      <a:pt x="596716" y="246706"/>
                    </a:cubicBezTo>
                    <a:cubicBezTo>
                      <a:pt x="599268" y="249177"/>
                      <a:pt x="603320" y="249177"/>
                      <a:pt x="605872" y="246706"/>
                    </a:cubicBezTo>
                    <a:cubicBezTo>
                      <a:pt x="608400" y="244206"/>
                      <a:pt x="608423" y="240129"/>
                      <a:pt x="605924" y="237600"/>
                    </a:cubicBezTo>
                    <a:cubicBezTo>
                      <a:pt x="605907" y="237583"/>
                      <a:pt x="605889" y="237566"/>
                      <a:pt x="605872" y="237549"/>
                    </a:cubicBezTo>
                    <a:moveTo>
                      <a:pt x="642929" y="204928"/>
                    </a:moveTo>
                    <a:cubicBezTo>
                      <a:pt x="640637" y="202637"/>
                      <a:pt x="636922" y="202639"/>
                      <a:pt x="634633" y="204931"/>
                    </a:cubicBezTo>
                    <a:cubicBezTo>
                      <a:pt x="632343" y="207221"/>
                      <a:pt x="632344" y="210936"/>
                      <a:pt x="634635" y="213226"/>
                    </a:cubicBezTo>
                    <a:cubicBezTo>
                      <a:pt x="636925" y="215515"/>
                      <a:pt x="640638" y="215515"/>
                      <a:pt x="642929" y="213226"/>
                    </a:cubicBezTo>
                    <a:cubicBezTo>
                      <a:pt x="645221" y="210936"/>
                      <a:pt x="645221" y="207221"/>
                      <a:pt x="642932" y="204931"/>
                    </a:cubicBezTo>
                    <a:cubicBezTo>
                      <a:pt x="642930" y="204929"/>
                      <a:pt x="642930" y="204929"/>
                      <a:pt x="642929" y="204928"/>
                    </a:cubicBezTo>
                    <a:moveTo>
                      <a:pt x="679842" y="172164"/>
                    </a:moveTo>
                    <a:cubicBezTo>
                      <a:pt x="677780" y="170128"/>
                      <a:pt x="674464" y="170128"/>
                      <a:pt x="672402" y="172164"/>
                    </a:cubicBezTo>
                    <a:cubicBezTo>
                      <a:pt x="670190" y="174100"/>
                      <a:pt x="669965" y="177463"/>
                      <a:pt x="671901" y="179675"/>
                    </a:cubicBezTo>
                    <a:cubicBezTo>
                      <a:pt x="673837" y="181887"/>
                      <a:pt x="677201" y="182112"/>
                      <a:pt x="679413" y="180176"/>
                    </a:cubicBezTo>
                    <a:cubicBezTo>
                      <a:pt x="681449" y="178114"/>
                      <a:pt x="681449" y="174798"/>
                      <a:pt x="679413" y="172736"/>
                    </a:cubicBezTo>
                    <a:moveTo>
                      <a:pt x="717328" y="138255"/>
                    </a:moveTo>
                    <a:cubicBezTo>
                      <a:pt x="715569" y="136438"/>
                      <a:pt x="712670" y="136389"/>
                      <a:pt x="710853" y="138148"/>
                    </a:cubicBezTo>
                    <a:cubicBezTo>
                      <a:pt x="710818" y="138182"/>
                      <a:pt x="710782" y="138219"/>
                      <a:pt x="710746" y="138255"/>
                    </a:cubicBezTo>
                    <a:cubicBezTo>
                      <a:pt x="708965" y="140088"/>
                      <a:pt x="708965" y="143004"/>
                      <a:pt x="710746" y="144836"/>
                    </a:cubicBezTo>
                    <a:cubicBezTo>
                      <a:pt x="712626" y="146635"/>
                      <a:pt x="715591" y="146635"/>
                      <a:pt x="717471" y="144836"/>
                    </a:cubicBezTo>
                    <a:cubicBezTo>
                      <a:pt x="719252" y="143004"/>
                      <a:pt x="719252" y="140088"/>
                      <a:pt x="717471" y="138255"/>
                    </a:cubicBezTo>
                    <a:moveTo>
                      <a:pt x="754527" y="105491"/>
                    </a:moveTo>
                    <a:cubicBezTo>
                      <a:pt x="752877" y="103946"/>
                      <a:pt x="750311" y="103946"/>
                      <a:pt x="748661" y="105491"/>
                    </a:cubicBezTo>
                    <a:cubicBezTo>
                      <a:pt x="747134" y="107093"/>
                      <a:pt x="747134" y="109611"/>
                      <a:pt x="748661" y="111214"/>
                    </a:cubicBezTo>
                    <a:cubicBezTo>
                      <a:pt x="750123" y="112912"/>
                      <a:pt x="752686" y="113105"/>
                      <a:pt x="754384" y="111643"/>
                    </a:cubicBezTo>
                    <a:cubicBezTo>
                      <a:pt x="756082" y="110181"/>
                      <a:pt x="756275" y="107618"/>
                      <a:pt x="754813" y="105920"/>
                    </a:cubicBezTo>
                    <a:moveTo>
                      <a:pt x="791726" y="73156"/>
                    </a:moveTo>
                    <a:cubicBezTo>
                      <a:pt x="790383" y="71817"/>
                      <a:pt x="788210" y="71821"/>
                      <a:pt x="786871" y="73165"/>
                    </a:cubicBezTo>
                    <a:cubicBezTo>
                      <a:pt x="785531" y="74508"/>
                      <a:pt x="785536" y="76681"/>
                      <a:pt x="786879" y="78021"/>
                    </a:cubicBezTo>
                    <a:cubicBezTo>
                      <a:pt x="788218" y="79355"/>
                      <a:pt x="790386" y="79355"/>
                      <a:pt x="791726" y="78021"/>
                    </a:cubicBezTo>
                    <a:cubicBezTo>
                      <a:pt x="793070" y="76681"/>
                      <a:pt x="793074" y="74508"/>
                      <a:pt x="791735" y="73165"/>
                    </a:cubicBezTo>
                    <a:cubicBezTo>
                      <a:pt x="791732" y="73162"/>
                      <a:pt x="791729" y="73159"/>
                      <a:pt x="791726" y="73156"/>
                    </a:cubicBezTo>
                    <a:moveTo>
                      <a:pt x="828354" y="40535"/>
                    </a:moveTo>
                    <a:cubicBezTo>
                      <a:pt x="827180" y="39476"/>
                      <a:pt x="825370" y="39569"/>
                      <a:pt x="824312" y="40744"/>
                    </a:cubicBezTo>
                    <a:cubicBezTo>
                      <a:pt x="823433" y="41718"/>
                      <a:pt x="823330" y="43165"/>
                      <a:pt x="824061" y="44255"/>
                    </a:cubicBezTo>
                    <a:cubicBezTo>
                      <a:pt x="825222" y="45364"/>
                      <a:pt x="827050" y="45364"/>
                      <a:pt x="828210" y="44255"/>
                    </a:cubicBezTo>
                    <a:cubicBezTo>
                      <a:pt x="829316" y="43240"/>
                      <a:pt x="829391" y="41521"/>
                      <a:pt x="828375" y="40413"/>
                    </a:cubicBezTo>
                    <a:cubicBezTo>
                      <a:pt x="828324" y="40356"/>
                      <a:pt x="828268" y="40302"/>
                      <a:pt x="828210" y="40249"/>
                    </a:cubicBezTo>
                    <a:moveTo>
                      <a:pt x="437759" y="344569"/>
                    </a:moveTo>
                    <a:cubicBezTo>
                      <a:pt x="434469" y="340939"/>
                      <a:pt x="428859" y="340666"/>
                      <a:pt x="425229" y="343957"/>
                    </a:cubicBezTo>
                    <a:cubicBezTo>
                      <a:pt x="421672" y="347183"/>
                      <a:pt x="421327" y="352654"/>
                      <a:pt x="424453" y="356301"/>
                    </a:cubicBezTo>
                    <a:cubicBezTo>
                      <a:pt x="427717" y="359968"/>
                      <a:pt x="433314" y="360349"/>
                      <a:pt x="437044" y="357159"/>
                    </a:cubicBezTo>
                    <a:cubicBezTo>
                      <a:pt x="440717" y="353916"/>
                      <a:pt x="441064" y="348310"/>
                      <a:pt x="437821" y="344639"/>
                    </a:cubicBezTo>
                    <a:cubicBezTo>
                      <a:pt x="437801" y="344615"/>
                      <a:pt x="437781" y="344592"/>
                      <a:pt x="437759" y="344569"/>
                    </a:cubicBezTo>
                    <a:moveTo>
                      <a:pt x="474816" y="311805"/>
                    </a:moveTo>
                    <a:cubicBezTo>
                      <a:pt x="471577" y="308563"/>
                      <a:pt x="466321" y="308561"/>
                      <a:pt x="463081" y="311802"/>
                    </a:cubicBezTo>
                    <a:cubicBezTo>
                      <a:pt x="459839" y="315041"/>
                      <a:pt x="459837" y="320295"/>
                      <a:pt x="463076" y="323537"/>
                    </a:cubicBezTo>
                    <a:cubicBezTo>
                      <a:pt x="466316" y="326779"/>
                      <a:pt x="471571" y="326780"/>
                      <a:pt x="474813" y="323540"/>
                    </a:cubicBezTo>
                    <a:cubicBezTo>
                      <a:pt x="474813" y="323540"/>
                      <a:pt x="474814" y="323538"/>
                      <a:pt x="474816" y="323537"/>
                    </a:cubicBezTo>
                    <a:cubicBezTo>
                      <a:pt x="478054" y="320296"/>
                      <a:pt x="478054" y="315045"/>
                      <a:pt x="474816" y="311805"/>
                    </a:cubicBezTo>
                    <a:moveTo>
                      <a:pt x="511729" y="279041"/>
                    </a:moveTo>
                    <a:cubicBezTo>
                      <a:pt x="508726" y="276009"/>
                      <a:pt x="503834" y="275986"/>
                      <a:pt x="500802" y="278988"/>
                    </a:cubicBezTo>
                    <a:cubicBezTo>
                      <a:pt x="497771" y="281991"/>
                      <a:pt x="497748" y="286883"/>
                      <a:pt x="500751" y="289914"/>
                    </a:cubicBezTo>
                    <a:cubicBezTo>
                      <a:pt x="503753" y="292946"/>
                      <a:pt x="508644" y="292969"/>
                      <a:pt x="511676" y="289967"/>
                    </a:cubicBezTo>
                    <a:cubicBezTo>
                      <a:pt x="511695" y="289950"/>
                      <a:pt x="511712" y="289931"/>
                      <a:pt x="511729" y="289914"/>
                    </a:cubicBezTo>
                    <a:cubicBezTo>
                      <a:pt x="514732" y="286996"/>
                      <a:pt x="514799" y="282194"/>
                      <a:pt x="511879" y="279191"/>
                    </a:cubicBezTo>
                    <a:cubicBezTo>
                      <a:pt x="511831" y="279141"/>
                      <a:pt x="511781" y="279091"/>
                      <a:pt x="511729" y="279041"/>
                    </a:cubicBezTo>
                    <a:moveTo>
                      <a:pt x="548642" y="246276"/>
                    </a:moveTo>
                    <a:cubicBezTo>
                      <a:pt x="545877" y="243455"/>
                      <a:pt x="541347" y="243409"/>
                      <a:pt x="538526" y="246175"/>
                    </a:cubicBezTo>
                    <a:cubicBezTo>
                      <a:pt x="535704" y="248940"/>
                      <a:pt x="535660" y="253470"/>
                      <a:pt x="538425" y="256292"/>
                    </a:cubicBezTo>
                    <a:cubicBezTo>
                      <a:pt x="541191" y="259113"/>
                      <a:pt x="545719" y="259159"/>
                      <a:pt x="548541" y="256393"/>
                    </a:cubicBezTo>
                    <a:cubicBezTo>
                      <a:pt x="548575" y="256359"/>
                      <a:pt x="548609" y="256326"/>
                      <a:pt x="548642" y="256292"/>
                    </a:cubicBezTo>
                    <a:cubicBezTo>
                      <a:pt x="551369" y="253510"/>
                      <a:pt x="551369" y="249058"/>
                      <a:pt x="548642" y="246276"/>
                    </a:cubicBezTo>
                    <a:moveTo>
                      <a:pt x="585126" y="213512"/>
                    </a:moveTo>
                    <a:cubicBezTo>
                      <a:pt x="582574" y="211041"/>
                      <a:pt x="578522" y="211041"/>
                      <a:pt x="575970" y="213512"/>
                    </a:cubicBezTo>
                    <a:cubicBezTo>
                      <a:pt x="573283" y="215883"/>
                      <a:pt x="573027" y="219982"/>
                      <a:pt x="575397" y="222669"/>
                    </a:cubicBezTo>
                    <a:cubicBezTo>
                      <a:pt x="577768" y="225356"/>
                      <a:pt x="581867" y="225612"/>
                      <a:pt x="584554" y="223241"/>
                    </a:cubicBezTo>
                    <a:cubicBezTo>
                      <a:pt x="586954" y="220660"/>
                      <a:pt x="586954" y="216666"/>
                      <a:pt x="584554" y="214085"/>
                    </a:cubicBezTo>
                    <a:moveTo>
                      <a:pt x="622612" y="181177"/>
                    </a:moveTo>
                    <a:cubicBezTo>
                      <a:pt x="620320" y="178887"/>
                      <a:pt x="616606" y="178888"/>
                      <a:pt x="614317" y="181180"/>
                    </a:cubicBezTo>
                    <a:cubicBezTo>
                      <a:pt x="612026" y="183471"/>
                      <a:pt x="612027" y="187185"/>
                      <a:pt x="614318" y="189476"/>
                    </a:cubicBezTo>
                    <a:cubicBezTo>
                      <a:pt x="616609" y="191765"/>
                      <a:pt x="620321" y="191765"/>
                      <a:pt x="622612" y="189476"/>
                    </a:cubicBezTo>
                    <a:cubicBezTo>
                      <a:pt x="624904" y="187185"/>
                      <a:pt x="624904" y="183471"/>
                      <a:pt x="622615" y="181180"/>
                    </a:cubicBezTo>
                    <a:cubicBezTo>
                      <a:pt x="622613" y="181179"/>
                      <a:pt x="622613" y="181179"/>
                      <a:pt x="622612" y="181177"/>
                    </a:cubicBezTo>
                    <a:moveTo>
                      <a:pt x="659525" y="148413"/>
                    </a:moveTo>
                    <a:cubicBezTo>
                      <a:pt x="657464" y="146377"/>
                      <a:pt x="654147" y="146377"/>
                      <a:pt x="652085" y="148413"/>
                    </a:cubicBezTo>
                    <a:cubicBezTo>
                      <a:pt x="650122" y="150505"/>
                      <a:pt x="650122" y="153761"/>
                      <a:pt x="652085" y="155853"/>
                    </a:cubicBezTo>
                    <a:cubicBezTo>
                      <a:pt x="654230" y="157840"/>
                      <a:pt x="657580" y="157713"/>
                      <a:pt x="659567" y="155568"/>
                    </a:cubicBezTo>
                    <a:cubicBezTo>
                      <a:pt x="661289" y="153708"/>
                      <a:pt x="661453" y="150888"/>
                      <a:pt x="659955" y="148843"/>
                    </a:cubicBezTo>
                    <a:moveTo>
                      <a:pt x="697011" y="116078"/>
                    </a:moveTo>
                    <a:cubicBezTo>
                      <a:pt x="695401" y="114027"/>
                      <a:pt x="692433" y="113670"/>
                      <a:pt x="690382" y="115280"/>
                    </a:cubicBezTo>
                    <a:cubicBezTo>
                      <a:pt x="688331" y="116891"/>
                      <a:pt x="687973" y="119858"/>
                      <a:pt x="689584" y="121910"/>
                    </a:cubicBezTo>
                    <a:cubicBezTo>
                      <a:pt x="689713" y="122073"/>
                      <a:pt x="689851" y="122228"/>
                      <a:pt x="690000" y="122374"/>
                    </a:cubicBezTo>
                    <a:cubicBezTo>
                      <a:pt x="691867" y="124195"/>
                      <a:pt x="694856" y="124158"/>
                      <a:pt x="696678" y="122291"/>
                    </a:cubicBezTo>
                    <a:cubicBezTo>
                      <a:pt x="698330" y="120597"/>
                      <a:pt x="698473" y="117940"/>
                      <a:pt x="697011" y="116078"/>
                    </a:cubicBezTo>
                    <a:moveTo>
                      <a:pt x="733924" y="83314"/>
                    </a:moveTo>
                    <a:cubicBezTo>
                      <a:pt x="732173" y="81836"/>
                      <a:pt x="729556" y="82057"/>
                      <a:pt x="728077" y="83808"/>
                    </a:cubicBezTo>
                    <a:cubicBezTo>
                      <a:pt x="726895" y="85207"/>
                      <a:pt x="726771" y="87216"/>
                      <a:pt x="727772" y="88751"/>
                    </a:cubicBezTo>
                    <a:cubicBezTo>
                      <a:pt x="729392" y="90371"/>
                      <a:pt x="732018" y="90371"/>
                      <a:pt x="733638" y="88751"/>
                    </a:cubicBezTo>
                    <a:cubicBezTo>
                      <a:pt x="735165" y="87149"/>
                      <a:pt x="735165" y="84631"/>
                      <a:pt x="733638" y="83028"/>
                    </a:cubicBezTo>
                    <a:moveTo>
                      <a:pt x="771124" y="49692"/>
                    </a:moveTo>
                    <a:cubicBezTo>
                      <a:pt x="769784" y="48348"/>
                      <a:pt x="767611" y="48344"/>
                      <a:pt x="766268" y="49683"/>
                    </a:cubicBezTo>
                    <a:cubicBezTo>
                      <a:pt x="766265" y="49686"/>
                      <a:pt x="766262" y="49689"/>
                      <a:pt x="766259" y="49692"/>
                    </a:cubicBezTo>
                    <a:cubicBezTo>
                      <a:pt x="764920" y="51035"/>
                      <a:pt x="764924" y="53208"/>
                      <a:pt x="766268" y="54548"/>
                    </a:cubicBezTo>
                    <a:cubicBezTo>
                      <a:pt x="767611" y="55887"/>
                      <a:pt x="769784" y="55883"/>
                      <a:pt x="771124" y="54539"/>
                    </a:cubicBezTo>
                    <a:cubicBezTo>
                      <a:pt x="772459" y="53200"/>
                      <a:pt x="772459" y="51032"/>
                      <a:pt x="771124" y="49692"/>
                    </a:cubicBezTo>
                    <a:moveTo>
                      <a:pt x="808180" y="16928"/>
                    </a:moveTo>
                    <a:cubicBezTo>
                      <a:pt x="807020" y="15819"/>
                      <a:pt x="805191" y="15819"/>
                      <a:pt x="804031" y="16928"/>
                    </a:cubicBezTo>
                    <a:cubicBezTo>
                      <a:pt x="802925" y="17942"/>
                      <a:pt x="802850" y="19662"/>
                      <a:pt x="803865" y="20769"/>
                    </a:cubicBezTo>
                    <a:cubicBezTo>
                      <a:pt x="803918" y="20826"/>
                      <a:pt x="803974" y="20881"/>
                      <a:pt x="804031" y="20934"/>
                    </a:cubicBezTo>
                    <a:cubicBezTo>
                      <a:pt x="805144" y="22024"/>
                      <a:pt x="806924" y="22024"/>
                      <a:pt x="808037" y="20934"/>
                    </a:cubicBezTo>
                    <a:cubicBezTo>
                      <a:pt x="809077" y="19746"/>
                      <a:pt x="809077" y="17972"/>
                      <a:pt x="808037" y="16784"/>
                    </a:cubicBezTo>
                    <a:moveTo>
                      <a:pt x="542204" y="462176"/>
                    </a:moveTo>
                    <a:cubicBezTo>
                      <a:pt x="538753" y="458700"/>
                      <a:pt x="533136" y="458680"/>
                      <a:pt x="529659" y="462131"/>
                    </a:cubicBezTo>
                    <a:cubicBezTo>
                      <a:pt x="529643" y="462146"/>
                      <a:pt x="529629" y="462161"/>
                      <a:pt x="529613" y="462176"/>
                    </a:cubicBezTo>
                    <a:cubicBezTo>
                      <a:pt x="526177" y="465556"/>
                      <a:pt x="526130" y="471081"/>
                      <a:pt x="529508" y="474518"/>
                    </a:cubicBezTo>
                    <a:cubicBezTo>
                      <a:pt x="529543" y="474554"/>
                      <a:pt x="529578" y="474589"/>
                      <a:pt x="529613" y="474624"/>
                    </a:cubicBezTo>
                    <a:cubicBezTo>
                      <a:pt x="532827" y="478272"/>
                      <a:pt x="538378" y="478656"/>
                      <a:pt x="542061" y="475482"/>
                    </a:cubicBezTo>
                    <a:cubicBezTo>
                      <a:pt x="545728" y="472219"/>
                      <a:pt x="546109" y="466622"/>
                      <a:pt x="542919" y="462892"/>
                    </a:cubicBezTo>
                    <a:moveTo>
                      <a:pt x="579833" y="430128"/>
                    </a:moveTo>
                    <a:cubicBezTo>
                      <a:pt x="576593" y="426886"/>
                      <a:pt x="571338" y="426884"/>
                      <a:pt x="568098" y="430125"/>
                    </a:cubicBezTo>
                    <a:cubicBezTo>
                      <a:pt x="564856" y="433364"/>
                      <a:pt x="564854" y="438618"/>
                      <a:pt x="568093" y="441860"/>
                    </a:cubicBezTo>
                    <a:cubicBezTo>
                      <a:pt x="571333" y="445102"/>
                      <a:pt x="576588" y="445103"/>
                      <a:pt x="579830" y="441863"/>
                    </a:cubicBezTo>
                    <a:cubicBezTo>
                      <a:pt x="579830" y="441863"/>
                      <a:pt x="579831" y="441861"/>
                      <a:pt x="579833" y="441860"/>
                    </a:cubicBezTo>
                    <a:cubicBezTo>
                      <a:pt x="583070" y="438619"/>
                      <a:pt x="583070" y="433368"/>
                      <a:pt x="579833" y="430128"/>
                    </a:cubicBezTo>
                    <a:moveTo>
                      <a:pt x="616746" y="397363"/>
                    </a:moveTo>
                    <a:cubicBezTo>
                      <a:pt x="613743" y="394445"/>
                      <a:pt x="608943" y="394512"/>
                      <a:pt x="606022" y="397514"/>
                    </a:cubicBezTo>
                    <a:cubicBezTo>
                      <a:pt x="603104" y="400517"/>
                      <a:pt x="603171" y="405318"/>
                      <a:pt x="606174" y="408237"/>
                    </a:cubicBezTo>
                    <a:cubicBezTo>
                      <a:pt x="609117" y="411099"/>
                      <a:pt x="613803" y="411099"/>
                      <a:pt x="616746" y="408237"/>
                    </a:cubicBezTo>
                    <a:cubicBezTo>
                      <a:pt x="619728" y="405225"/>
                      <a:pt x="619728" y="400375"/>
                      <a:pt x="616746" y="397363"/>
                    </a:cubicBezTo>
                    <a:moveTo>
                      <a:pt x="653802" y="364599"/>
                    </a:moveTo>
                    <a:cubicBezTo>
                      <a:pt x="651021" y="361872"/>
                      <a:pt x="646568" y="361872"/>
                      <a:pt x="643787" y="364599"/>
                    </a:cubicBezTo>
                    <a:cubicBezTo>
                      <a:pt x="641021" y="367195"/>
                      <a:pt x="640884" y="371541"/>
                      <a:pt x="643479" y="374307"/>
                    </a:cubicBezTo>
                    <a:cubicBezTo>
                      <a:pt x="643578" y="374413"/>
                      <a:pt x="643681" y="374516"/>
                      <a:pt x="643787" y="374615"/>
                    </a:cubicBezTo>
                    <a:cubicBezTo>
                      <a:pt x="646012" y="377880"/>
                      <a:pt x="650463" y="378721"/>
                      <a:pt x="653728" y="376496"/>
                    </a:cubicBezTo>
                    <a:cubicBezTo>
                      <a:pt x="656991" y="374271"/>
                      <a:pt x="657834" y="369820"/>
                      <a:pt x="655609" y="366555"/>
                    </a:cubicBezTo>
                    <a:cubicBezTo>
                      <a:pt x="655259" y="366043"/>
                      <a:pt x="654844" y="365578"/>
                      <a:pt x="654375" y="365172"/>
                    </a:cubicBezTo>
                    <a:moveTo>
                      <a:pt x="691288" y="332407"/>
                    </a:moveTo>
                    <a:cubicBezTo>
                      <a:pt x="688917" y="329721"/>
                      <a:pt x="684818" y="329464"/>
                      <a:pt x="682131" y="331835"/>
                    </a:cubicBezTo>
                    <a:cubicBezTo>
                      <a:pt x="679444" y="334206"/>
                      <a:pt x="679188" y="338305"/>
                      <a:pt x="681559" y="340992"/>
                    </a:cubicBezTo>
                    <a:cubicBezTo>
                      <a:pt x="683930" y="343679"/>
                      <a:pt x="688029" y="343935"/>
                      <a:pt x="690716" y="341564"/>
                    </a:cubicBezTo>
                    <a:cubicBezTo>
                      <a:pt x="693403" y="339194"/>
                      <a:pt x="693659" y="335094"/>
                      <a:pt x="691288" y="332407"/>
                    </a:cubicBezTo>
                    <a:moveTo>
                      <a:pt x="728201" y="299643"/>
                    </a:moveTo>
                    <a:cubicBezTo>
                      <a:pt x="725909" y="297353"/>
                      <a:pt x="722195" y="297354"/>
                      <a:pt x="719906" y="299646"/>
                    </a:cubicBezTo>
                    <a:cubicBezTo>
                      <a:pt x="717615" y="301937"/>
                      <a:pt x="717617" y="305651"/>
                      <a:pt x="719907" y="307942"/>
                    </a:cubicBezTo>
                    <a:cubicBezTo>
                      <a:pt x="722198" y="310231"/>
                      <a:pt x="725911" y="310231"/>
                      <a:pt x="728201" y="307942"/>
                    </a:cubicBezTo>
                    <a:cubicBezTo>
                      <a:pt x="730493" y="305651"/>
                      <a:pt x="730493" y="301937"/>
                      <a:pt x="728204" y="299646"/>
                    </a:cubicBezTo>
                    <a:cubicBezTo>
                      <a:pt x="728203" y="299645"/>
                      <a:pt x="728203" y="299645"/>
                      <a:pt x="728201" y="299643"/>
                    </a:cubicBezTo>
                    <a:moveTo>
                      <a:pt x="765258" y="266879"/>
                    </a:moveTo>
                    <a:cubicBezTo>
                      <a:pt x="763166" y="264916"/>
                      <a:pt x="759910" y="264916"/>
                      <a:pt x="757818" y="266879"/>
                    </a:cubicBezTo>
                    <a:cubicBezTo>
                      <a:pt x="755763" y="268846"/>
                      <a:pt x="755693" y="272107"/>
                      <a:pt x="757660" y="274162"/>
                    </a:cubicBezTo>
                    <a:cubicBezTo>
                      <a:pt x="757712" y="274215"/>
                      <a:pt x="757765" y="274268"/>
                      <a:pt x="757818" y="274319"/>
                    </a:cubicBezTo>
                    <a:cubicBezTo>
                      <a:pt x="759879" y="276355"/>
                      <a:pt x="763196" y="276355"/>
                      <a:pt x="765258" y="274319"/>
                    </a:cubicBezTo>
                    <a:cubicBezTo>
                      <a:pt x="767294" y="272257"/>
                      <a:pt x="767294" y="268941"/>
                      <a:pt x="765258" y="266879"/>
                    </a:cubicBezTo>
                    <a:moveTo>
                      <a:pt x="802171" y="234115"/>
                    </a:moveTo>
                    <a:cubicBezTo>
                      <a:pt x="800338" y="232334"/>
                      <a:pt x="797422" y="232334"/>
                      <a:pt x="795589" y="234115"/>
                    </a:cubicBezTo>
                    <a:cubicBezTo>
                      <a:pt x="793772" y="235873"/>
                      <a:pt x="793724" y="238772"/>
                      <a:pt x="795482" y="240589"/>
                    </a:cubicBezTo>
                    <a:cubicBezTo>
                      <a:pt x="795517" y="240625"/>
                      <a:pt x="795554" y="240661"/>
                      <a:pt x="795589" y="240697"/>
                    </a:cubicBezTo>
                    <a:cubicBezTo>
                      <a:pt x="797422" y="242478"/>
                      <a:pt x="800338" y="242478"/>
                      <a:pt x="802171" y="240697"/>
                    </a:cubicBezTo>
                    <a:cubicBezTo>
                      <a:pt x="803988" y="238938"/>
                      <a:pt x="804037" y="236039"/>
                      <a:pt x="802278" y="234222"/>
                    </a:cubicBezTo>
                    <a:cubicBezTo>
                      <a:pt x="802242" y="234187"/>
                      <a:pt x="802207" y="234151"/>
                      <a:pt x="802171" y="234115"/>
                    </a:cubicBezTo>
                    <a:moveTo>
                      <a:pt x="839084" y="201351"/>
                    </a:moveTo>
                    <a:cubicBezTo>
                      <a:pt x="837536" y="199770"/>
                      <a:pt x="834999" y="199744"/>
                      <a:pt x="833418" y="201294"/>
                    </a:cubicBezTo>
                    <a:cubicBezTo>
                      <a:pt x="833400" y="201312"/>
                      <a:pt x="833380" y="201331"/>
                      <a:pt x="833361" y="201351"/>
                    </a:cubicBezTo>
                    <a:cubicBezTo>
                      <a:pt x="831780" y="202785"/>
                      <a:pt x="831662" y="205227"/>
                      <a:pt x="833095" y="206808"/>
                    </a:cubicBezTo>
                    <a:cubicBezTo>
                      <a:pt x="833180" y="206901"/>
                      <a:pt x="833268" y="206990"/>
                      <a:pt x="833361" y="207074"/>
                    </a:cubicBezTo>
                    <a:cubicBezTo>
                      <a:pt x="834909" y="208655"/>
                      <a:pt x="837446" y="208681"/>
                      <a:pt x="839027" y="207131"/>
                    </a:cubicBezTo>
                    <a:cubicBezTo>
                      <a:pt x="839046" y="207113"/>
                      <a:pt x="839066" y="207094"/>
                      <a:pt x="839084" y="207074"/>
                    </a:cubicBezTo>
                    <a:cubicBezTo>
                      <a:pt x="840704" y="205454"/>
                      <a:pt x="840704" y="202827"/>
                      <a:pt x="839084" y="201208"/>
                    </a:cubicBezTo>
                    <a:moveTo>
                      <a:pt x="874710" y="166870"/>
                    </a:moveTo>
                    <a:cubicBezTo>
                      <a:pt x="873371" y="165526"/>
                      <a:pt x="871197" y="165522"/>
                      <a:pt x="869854" y="166861"/>
                    </a:cubicBezTo>
                    <a:cubicBezTo>
                      <a:pt x="869851" y="166864"/>
                      <a:pt x="869848" y="166867"/>
                      <a:pt x="869845" y="166870"/>
                    </a:cubicBezTo>
                    <a:cubicBezTo>
                      <a:pt x="868482" y="168261"/>
                      <a:pt x="868482" y="170487"/>
                      <a:pt x="869845" y="171878"/>
                    </a:cubicBezTo>
                    <a:cubicBezTo>
                      <a:pt x="871184" y="173221"/>
                      <a:pt x="873358" y="173225"/>
                      <a:pt x="874701" y="171886"/>
                    </a:cubicBezTo>
                    <a:cubicBezTo>
                      <a:pt x="874704" y="171883"/>
                      <a:pt x="874707" y="171880"/>
                      <a:pt x="874710" y="171878"/>
                    </a:cubicBezTo>
                    <a:cubicBezTo>
                      <a:pt x="876073" y="170487"/>
                      <a:pt x="876073" y="168261"/>
                      <a:pt x="874710" y="166870"/>
                    </a:cubicBezTo>
                    <a:moveTo>
                      <a:pt x="911623" y="134106"/>
                    </a:moveTo>
                    <a:cubicBezTo>
                      <a:pt x="910609" y="133000"/>
                      <a:pt x="908889" y="132925"/>
                      <a:pt x="907782" y="133941"/>
                    </a:cubicBezTo>
                    <a:cubicBezTo>
                      <a:pt x="907724" y="133993"/>
                      <a:pt x="907670" y="134049"/>
                      <a:pt x="907617" y="134106"/>
                    </a:cubicBezTo>
                    <a:cubicBezTo>
                      <a:pt x="906305" y="134987"/>
                      <a:pt x="905956" y="136764"/>
                      <a:pt x="906836" y="138076"/>
                    </a:cubicBezTo>
                    <a:cubicBezTo>
                      <a:pt x="907717" y="139388"/>
                      <a:pt x="909496" y="139739"/>
                      <a:pt x="910808" y="138857"/>
                    </a:cubicBezTo>
                    <a:cubicBezTo>
                      <a:pt x="911002" y="138726"/>
                      <a:pt x="911180" y="138573"/>
                      <a:pt x="911337" y="138398"/>
                    </a:cubicBezTo>
                    <a:cubicBezTo>
                      <a:pt x="912483" y="137309"/>
                      <a:pt x="912529" y="135498"/>
                      <a:pt x="911440" y="134352"/>
                    </a:cubicBezTo>
                    <a:cubicBezTo>
                      <a:pt x="911407" y="134318"/>
                      <a:pt x="911373" y="134283"/>
                      <a:pt x="911337" y="134249"/>
                    </a:cubicBezTo>
                    <a:moveTo>
                      <a:pt x="521172" y="438712"/>
                    </a:moveTo>
                    <a:cubicBezTo>
                      <a:pt x="517893" y="435038"/>
                      <a:pt x="512256" y="434717"/>
                      <a:pt x="508581" y="437997"/>
                    </a:cubicBezTo>
                    <a:cubicBezTo>
                      <a:pt x="504907" y="441276"/>
                      <a:pt x="504587" y="446913"/>
                      <a:pt x="507866" y="450587"/>
                    </a:cubicBezTo>
                    <a:cubicBezTo>
                      <a:pt x="511317" y="454064"/>
                      <a:pt x="516934" y="454084"/>
                      <a:pt x="520411" y="450633"/>
                    </a:cubicBezTo>
                    <a:cubicBezTo>
                      <a:pt x="520427" y="450617"/>
                      <a:pt x="520441" y="450603"/>
                      <a:pt x="520457" y="450587"/>
                    </a:cubicBezTo>
                    <a:cubicBezTo>
                      <a:pt x="524079" y="447284"/>
                      <a:pt x="524398" y="441689"/>
                      <a:pt x="521172" y="437997"/>
                    </a:cubicBezTo>
                    <a:moveTo>
                      <a:pt x="558085" y="405376"/>
                    </a:moveTo>
                    <a:cubicBezTo>
                      <a:pt x="554885" y="402207"/>
                      <a:pt x="549721" y="402231"/>
                      <a:pt x="546552" y="405431"/>
                    </a:cubicBezTo>
                    <a:cubicBezTo>
                      <a:pt x="543383" y="408632"/>
                      <a:pt x="543407" y="413796"/>
                      <a:pt x="546608" y="416965"/>
                    </a:cubicBezTo>
                    <a:cubicBezTo>
                      <a:pt x="549787" y="420112"/>
                      <a:pt x="554908" y="420112"/>
                      <a:pt x="558085" y="416965"/>
                    </a:cubicBezTo>
                    <a:cubicBezTo>
                      <a:pt x="561286" y="413909"/>
                      <a:pt x="561402" y="408837"/>
                      <a:pt x="558347" y="405636"/>
                    </a:cubicBezTo>
                    <a:cubicBezTo>
                      <a:pt x="558261" y="405547"/>
                      <a:pt x="558174" y="405460"/>
                      <a:pt x="558085" y="405376"/>
                    </a:cubicBezTo>
                    <a:moveTo>
                      <a:pt x="595142" y="372612"/>
                    </a:moveTo>
                    <a:cubicBezTo>
                      <a:pt x="592433" y="369418"/>
                      <a:pt x="587647" y="369025"/>
                      <a:pt x="584454" y="371733"/>
                    </a:cubicBezTo>
                    <a:cubicBezTo>
                      <a:pt x="584391" y="371786"/>
                      <a:pt x="584330" y="371840"/>
                      <a:pt x="584268" y="371896"/>
                    </a:cubicBezTo>
                    <a:cubicBezTo>
                      <a:pt x="581361" y="374938"/>
                      <a:pt x="581361" y="379728"/>
                      <a:pt x="584268" y="382770"/>
                    </a:cubicBezTo>
                    <a:cubicBezTo>
                      <a:pt x="587307" y="385764"/>
                      <a:pt x="592199" y="385730"/>
                      <a:pt x="595195" y="382690"/>
                    </a:cubicBezTo>
                    <a:cubicBezTo>
                      <a:pt x="597884" y="379960"/>
                      <a:pt x="598166" y="375670"/>
                      <a:pt x="595857" y="372612"/>
                    </a:cubicBezTo>
                    <a:moveTo>
                      <a:pt x="632770" y="339847"/>
                    </a:moveTo>
                    <a:cubicBezTo>
                      <a:pt x="630272" y="336889"/>
                      <a:pt x="625848" y="336517"/>
                      <a:pt x="622891" y="339015"/>
                    </a:cubicBezTo>
                    <a:cubicBezTo>
                      <a:pt x="622845" y="339053"/>
                      <a:pt x="622799" y="339092"/>
                      <a:pt x="622755" y="339132"/>
                    </a:cubicBezTo>
                    <a:cubicBezTo>
                      <a:pt x="620028" y="341913"/>
                      <a:pt x="620028" y="346366"/>
                      <a:pt x="622755" y="349147"/>
                    </a:cubicBezTo>
                    <a:cubicBezTo>
                      <a:pt x="625465" y="351913"/>
                      <a:pt x="629903" y="351959"/>
                      <a:pt x="632669" y="349249"/>
                    </a:cubicBezTo>
                    <a:cubicBezTo>
                      <a:pt x="632703" y="349215"/>
                      <a:pt x="632737" y="349182"/>
                      <a:pt x="632770" y="349147"/>
                    </a:cubicBezTo>
                    <a:cubicBezTo>
                      <a:pt x="635497" y="346366"/>
                      <a:pt x="635497" y="341913"/>
                      <a:pt x="632770" y="339132"/>
                    </a:cubicBezTo>
                    <a:moveTo>
                      <a:pt x="669684" y="306368"/>
                    </a:moveTo>
                    <a:cubicBezTo>
                      <a:pt x="667184" y="303840"/>
                      <a:pt x="663106" y="303817"/>
                      <a:pt x="660578" y="306316"/>
                    </a:cubicBezTo>
                    <a:cubicBezTo>
                      <a:pt x="660561" y="306334"/>
                      <a:pt x="660544" y="306351"/>
                      <a:pt x="660527" y="306368"/>
                    </a:cubicBezTo>
                    <a:cubicBezTo>
                      <a:pt x="657916" y="308896"/>
                      <a:pt x="657849" y="313062"/>
                      <a:pt x="660377" y="315675"/>
                    </a:cubicBezTo>
                    <a:cubicBezTo>
                      <a:pt x="662906" y="318286"/>
                      <a:pt x="667073" y="318352"/>
                      <a:pt x="669684" y="315824"/>
                    </a:cubicBezTo>
                    <a:cubicBezTo>
                      <a:pt x="672295" y="313296"/>
                      <a:pt x="672362" y="309129"/>
                      <a:pt x="669834" y="306518"/>
                    </a:cubicBezTo>
                    <a:cubicBezTo>
                      <a:pt x="669784" y="306467"/>
                      <a:pt x="669734" y="306417"/>
                      <a:pt x="669684" y="306368"/>
                    </a:cubicBezTo>
                    <a:moveTo>
                      <a:pt x="706740" y="273604"/>
                    </a:moveTo>
                    <a:cubicBezTo>
                      <a:pt x="704448" y="271313"/>
                      <a:pt x="700734" y="271315"/>
                      <a:pt x="698445" y="273607"/>
                    </a:cubicBezTo>
                    <a:cubicBezTo>
                      <a:pt x="696154" y="275897"/>
                      <a:pt x="696155" y="279611"/>
                      <a:pt x="698446" y="281902"/>
                    </a:cubicBezTo>
                    <a:cubicBezTo>
                      <a:pt x="700737" y="284191"/>
                      <a:pt x="704449" y="284191"/>
                      <a:pt x="706740" y="281902"/>
                    </a:cubicBezTo>
                    <a:cubicBezTo>
                      <a:pt x="709032" y="279611"/>
                      <a:pt x="709032" y="275897"/>
                      <a:pt x="706743" y="273607"/>
                    </a:cubicBezTo>
                    <a:cubicBezTo>
                      <a:pt x="706741" y="273605"/>
                      <a:pt x="706741" y="273605"/>
                      <a:pt x="706740" y="273604"/>
                    </a:cubicBezTo>
                    <a:moveTo>
                      <a:pt x="742509" y="242127"/>
                    </a:moveTo>
                    <a:cubicBezTo>
                      <a:pt x="740782" y="239768"/>
                      <a:pt x="737468" y="239257"/>
                      <a:pt x="735110" y="240984"/>
                    </a:cubicBezTo>
                    <a:cubicBezTo>
                      <a:pt x="732751" y="242711"/>
                      <a:pt x="732239" y="246023"/>
                      <a:pt x="733967" y="248383"/>
                    </a:cubicBezTo>
                    <a:cubicBezTo>
                      <a:pt x="734166" y="248656"/>
                      <a:pt x="734392" y="248908"/>
                      <a:pt x="734640" y="249138"/>
                    </a:cubicBezTo>
                    <a:cubicBezTo>
                      <a:pt x="736701" y="251174"/>
                      <a:pt x="740018" y="251174"/>
                      <a:pt x="742080" y="249138"/>
                    </a:cubicBezTo>
                    <a:cubicBezTo>
                      <a:pt x="744115" y="247076"/>
                      <a:pt x="744115" y="243760"/>
                      <a:pt x="742080" y="241698"/>
                    </a:cubicBezTo>
                    <a:moveTo>
                      <a:pt x="779851" y="209792"/>
                    </a:moveTo>
                    <a:cubicBezTo>
                      <a:pt x="778093" y="207975"/>
                      <a:pt x="775194" y="207927"/>
                      <a:pt x="773377" y="209685"/>
                    </a:cubicBezTo>
                    <a:cubicBezTo>
                      <a:pt x="773341" y="209719"/>
                      <a:pt x="773306" y="209757"/>
                      <a:pt x="773270" y="209792"/>
                    </a:cubicBezTo>
                    <a:cubicBezTo>
                      <a:pt x="771489" y="211625"/>
                      <a:pt x="771489" y="214541"/>
                      <a:pt x="773270" y="216374"/>
                    </a:cubicBezTo>
                    <a:cubicBezTo>
                      <a:pt x="775028" y="218191"/>
                      <a:pt x="777927" y="218240"/>
                      <a:pt x="779744" y="216481"/>
                    </a:cubicBezTo>
                    <a:cubicBezTo>
                      <a:pt x="779780" y="216445"/>
                      <a:pt x="779815" y="216410"/>
                      <a:pt x="779851" y="216374"/>
                    </a:cubicBezTo>
                    <a:cubicBezTo>
                      <a:pt x="781633" y="214541"/>
                      <a:pt x="781633" y="211625"/>
                      <a:pt x="779851" y="209792"/>
                    </a:cubicBezTo>
                    <a:moveTo>
                      <a:pt x="816908" y="177028"/>
                    </a:moveTo>
                    <a:cubicBezTo>
                      <a:pt x="815360" y="175447"/>
                      <a:pt x="812823" y="175422"/>
                      <a:pt x="811242" y="176971"/>
                    </a:cubicBezTo>
                    <a:cubicBezTo>
                      <a:pt x="811223" y="176990"/>
                      <a:pt x="811203" y="177008"/>
                      <a:pt x="811185" y="177028"/>
                    </a:cubicBezTo>
                    <a:cubicBezTo>
                      <a:pt x="809604" y="178576"/>
                      <a:pt x="809578" y="181113"/>
                      <a:pt x="811127" y="182694"/>
                    </a:cubicBezTo>
                    <a:cubicBezTo>
                      <a:pt x="811146" y="182713"/>
                      <a:pt x="811165" y="182733"/>
                      <a:pt x="811185" y="182751"/>
                    </a:cubicBezTo>
                    <a:cubicBezTo>
                      <a:pt x="812733" y="184332"/>
                      <a:pt x="815269" y="184358"/>
                      <a:pt x="816850" y="182808"/>
                    </a:cubicBezTo>
                    <a:cubicBezTo>
                      <a:pt x="816869" y="182790"/>
                      <a:pt x="816889" y="182771"/>
                      <a:pt x="816908" y="182751"/>
                    </a:cubicBezTo>
                    <a:cubicBezTo>
                      <a:pt x="818489" y="181203"/>
                      <a:pt x="818514" y="178666"/>
                      <a:pt x="816965" y="177085"/>
                    </a:cubicBezTo>
                    <a:cubicBezTo>
                      <a:pt x="816946" y="177067"/>
                      <a:pt x="816928" y="177047"/>
                      <a:pt x="816908" y="177028"/>
                    </a:cubicBezTo>
                    <a:moveTo>
                      <a:pt x="853821" y="144264"/>
                    </a:moveTo>
                    <a:cubicBezTo>
                      <a:pt x="852477" y="142925"/>
                      <a:pt x="850303" y="142929"/>
                      <a:pt x="848965" y="144273"/>
                    </a:cubicBezTo>
                    <a:cubicBezTo>
                      <a:pt x="847626" y="145616"/>
                      <a:pt x="847630" y="147790"/>
                      <a:pt x="848974" y="149129"/>
                    </a:cubicBezTo>
                    <a:cubicBezTo>
                      <a:pt x="850313" y="150464"/>
                      <a:pt x="852480" y="150464"/>
                      <a:pt x="853821" y="149129"/>
                    </a:cubicBezTo>
                    <a:cubicBezTo>
                      <a:pt x="855164" y="147790"/>
                      <a:pt x="855169" y="145616"/>
                      <a:pt x="853830" y="144273"/>
                    </a:cubicBezTo>
                    <a:cubicBezTo>
                      <a:pt x="853827" y="144270"/>
                      <a:pt x="853824" y="144267"/>
                      <a:pt x="853821" y="144264"/>
                    </a:cubicBezTo>
                    <a:moveTo>
                      <a:pt x="890734" y="111500"/>
                    </a:moveTo>
                    <a:cubicBezTo>
                      <a:pt x="889621" y="110410"/>
                      <a:pt x="887841" y="110410"/>
                      <a:pt x="886728" y="111500"/>
                    </a:cubicBezTo>
                    <a:cubicBezTo>
                      <a:pt x="885688" y="112688"/>
                      <a:pt x="885688" y="114462"/>
                      <a:pt x="886728" y="115649"/>
                    </a:cubicBezTo>
                    <a:cubicBezTo>
                      <a:pt x="887888" y="116758"/>
                      <a:pt x="889717" y="116758"/>
                      <a:pt x="890877" y="115649"/>
                    </a:cubicBezTo>
                    <a:cubicBezTo>
                      <a:pt x="891983" y="114635"/>
                      <a:pt x="892058" y="112915"/>
                      <a:pt x="891043" y="111808"/>
                    </a:cubicBezTo>
                    <a:cubicBezTo>
                      <a:pt x="890990" y="111750"/>
                      <a:pt x="890935" y="111696"/>
                      <a:pt x="890877" y="111643"/>
                    </a:cubicBezTo>
                    <a:moveTo>
                      <a:pt x="500283" y="415105"/>
                    </a:moveTo>
                    <a:cubicBezTo>
                      <a:pt x="497113" y="411473"/>
                      <a:pt x="491600" y="411100"/>
                      <a:pt x="487969" y="414271"/>
                    </a:cubicBezTo>
                    <a:cubicBezTo>
                      <a:pt x="487924" y="414309"/>
                      <a:pt x="487880" y="414349"/>
                      <a:pt x="487836" y="414389"/>
                    </a:cubicBezTo>
                    <a:cubicBezTo>
                      <a:pt x="484124" y="417587"/>
                      <a:pt x="483709" y="423188"/>
                      <a:pt x="486907" y="426900"/>
                    </a:cubicBezTo>
                    <a:cubicBezTo>
                      <a:pt x="486930" y="426927"/>
                      <a:pt x="486954" y="426953"/>
                      <a:pt x="486977" y="426980"/>
                    </a:cubicBezTo>
                    <a:cubicBezTo>
                      <a:pt x="490478" y="430397"/>
                      <a:pt x="496067" y="430397"/>
                      <a:pt x="499568" y="426980"/>
                    </a:cubicBezTo>
                    <a:cubicBezTo>
                      <a:pt x="503044" y="423529"/>
                      <a:pt x="503064" y="417912"/>
                      <a:pt x="499613" y="414435"/>
                    </a:cubicBezTo>
                    <a:cubicBezTo>
                      <a:pt x="499598" y="414419"/>
                      <a:pt x="499583" y="414405"/>
                      <a:pt x="499568" y="414389"/>
                    </a:cubicBezTo>
                    <a:moveTo>
                      <a:pt x="536624" y="381625"/>
                    </a:moveTo>
                    <a:cubicBezTo>
                      <a:pt x="533385" y="378383"/>
                      <a:pt x="528130" y="378382"/>
                      <a:pt x="524889" y="381622"/>
                    </a:cubicBezTo>
                    <a:cubicBezTo>
                      <a:pt x="521647" y="384862"/>
                      <a:pt x="521646" y="390115"/>
                      <a:pt x="524885" y="393357"/>
                    </a:cubicBezTo>
                    <a:cubicBezTo>
                      <a:pt x="528124" y="396599"/>
                      <a:pt x="533379" y="396601"/>
                      <a:pt x="536621" y="393360"/>
                    </a:cubicBezTo>
                    <a:cubicBezTo>
                      <a:pt x="536621" y="393360"/>
                      <a:pt x="536623" y="393359"/>
                      <a:pt x="536624" y="393357"/>
                    </a:cubicBezTo>
                    <a:cubicBezTo>
                      <a:pt x="539862" y="390117"/>
                      <a:pt x="539862" y="384866"/>
                      <a:pt x="536624" y="381625"/>
                    </a:cubicBezTo>
                    <a:moveTo>
                      <a:pt x="573537" y="348861"/>
                    </a:moveTo>
                    <a:cubicBezTo>
                      <a:pt x="570526" y="345879"/>
                      <a:pt x="565675" y="345879"/>
                      <a:pt x="562664" y="348861"/>
                    </a:cubicBezTo>
                    <a:cubicBezTo>
                      <a:pt x="559701" y="351820"/>
                      <a:pt x="559698" y="356621"/>
                      <a:pt x="562657" y="359585"/>
                    </a:cubicBezTo>
                    <a:cubicBezTo>
                      <a:pt x="562659" y="359587"/>
                      <a:pt x="562661" y="359589"/>
                      <a:pt x="562664" y="359592"/>
                    </a:cubicBezTo>
                    <a:cubicBezTo>
                      <a:pt x="565299" y="362744"/>
                      <a:pt x="569992" y="363163"/>
                      <a:pt x="573144" y="360526"/>
                    </a:cubicBezTo>
                    <a:cubicBezTo>
                      <a:pt x="573228" y="360454"/>
                      <a:pt x="573313" y="360381"/>
                      <a:pt x="573394" y="360307"/>
                    </a:cubicBezTo>
                    <a:cubicBezTo>
                      <a:pt x="576588" y="357599"/>
                      <a:pt x="576981" y="352813"/>
                      <a:pt x="574273" y="349619"/>
                    </a:cubicBezTo>
                    <a:cubicBezTo>
                      <a:pt x="574220" y="349556"/>
                      <a:pt x="574165" y="349495"/>
                      <a:pt x="574110" y="349433"/>
                    </a:cubicBezTo>
                    <a:moveTo>
                      <a:pt x="611023" y="316669"/>
                    </a:moveTo>
                    <a:cubicBezTo>
                      <a:pt x="608257" y="313848"/>
                      <a:pt x="603728" y="313802"/>
                      <a:pt x="600906" y="316568"/>
                    </a:cubicBezTo>
                    <a:cubicBezTo>
                      <a:pt x="598085" y="319333"/>
                      <a:pt x="598040" y="323863"/>
                      <a:pt x="600806" y="326684"/>
                    </a:cubicBezTo>
                    <a:cubicBezTo>
                      <a:pt x="603572" y="329506"/>
                      <a:pt x="608100" y="329552"/>
                      <a:pt x="610921" y="326786"/>
                    </a:cubicBezTo>
                    <a:cubicBezTo>
                      <a:pt x="610956" y="326752"/>
                      <a:pt x="610990" y="326719"/>
                      <a:pt x="611023" y="326684"/>
                    </a:cubicBezTo>
                    <a:cubicBezTo>
                      <a:pt x="613789" y="323975"/>
                      <a:pt x="613834" y="319536"/>
                      <a:pt x="611125" y="316771"/>
                    </a:cubicBezTo>
                    <a:cubicBezTo>
                      <a:pt x="611090" y="316737"/>
                      <a:pt x="611057" y="316702"/>
                      <a:pt x="611023" y="316669"/>
                    </a:cubicBezTo>
                    <a:moveTo>
                      <a:pt x="648079" y="283905"/>
                    </a:moveTo>
                    <a:cubicBezTo>
                      <a:pt x="645498" y="281506"/>
                      <a:pt x="641504" y="281506"/>
                      <a:pt x="638923" y="283905"/>
                    </a:cubicBezTo>
                    <a:cubicBezTo>
                      <a:pt x="636236" y="286276"/>
                      <a:pt x="635979" y="290375"/>
                      <a:pt x="638350" y="293062"/>
                    </a:cubicBezTo>
                    <a:cubicBezTo>
                      <a:pt x="640721" y="295749"/>
                      <a:pt x="644820" y="296005"/>
                      <a:pt x="647507" y="293634"/>
                    </a:cubicBezTo>
                    <a:cubicBezTo>
                      <a:pt x="649978" y="291082"/>
                      <a:pt x="649978" y="287030"/>
                      <a:pt x="647507" y="284477"/>
                    </a:cubicBezTo>
                    <a:moveTo>
                      <a:pt x="685279" y="251284"/>
                    </a:moveTo>
                    <a:cubicBezTo>
                      <a:pt x="683105" y="248835"/>
                      <a:pt x="679358" y="248610"/>
                      <a:pt x="676909" y="250783"/>
                    </a:cubicBezTo>
                    <a:cubicBezTo>
                      <a:pt x="674459" y="252957"/>
                      <a:pt x="674235" y="256704"/>
                      <a:pt x="676408" y="259153"/>
                    </a:cubicBezTo>
                    <a:cubicBezTo>
                      <a:pt x="678749" y="261462"/>
                      <a:pt x="682509" y="261462"/>
                      <a:pt x="684850" y="259153"/>
                    </a:cubicBezTo>
                    <a:cubicBezTo>
                      <a:pt x="687142" y="256863"/>
                      <a:pt x="687142" y="253148"/>
                      <a:pt x="684852" y="250858"/>
                    </a:cubicBezTo>
                    <a:cubicBezTo>
                      <a:pt x="684851" y="250856"/>
                      <a:pt x="684851" y="250856"/>
                      <a:pt x="684850" y="250855"/>
                    </a:cubicBezTo>
                    <a:moveTo>
                      <a:pt x="721763" y="218091"/>
                    </a:moveTo>
                    <a:cubicBezTo>
                      <a:pt x="720036" y="215731"/>
                      <a:pt x="716722" y="215221"/>
                      <a:pt x="714365" y="216948"/>
                    </a:cubicBezTo>
                    <a:cubicBezTo>
                      <a:pt x="712005" y="218674"/>
                      <a:pt x="711493" y="221987"/>
                      <a:pt x="713221" y="224346"/>
                    </a:cubicBezTo>
                    <a:cubicBezTo>
                      <a:pt x="713420" y="224619"/>
                      <a:pt x="713646" y="224871"/>
                      <a:pt x="713894" y="225101"/>
                    </a:cubicBezTo>
                    <a:cubicBezTo>
                      <a:pt x="715621" y="227461"/>
                      <a:pt x="718934" y="227971"/>
                      <a:pt x="721292" y="226245"/>
                    </a:cubicBezTo>
                    <a:cubicBezTo>
                      <a:pt x="723651" y="224518"/>
                      <a:pt x="724164" y="221205"/>
                      <a:pt x="722435" y="218846"/>
                    </a:cubicBezTo>
                    <a:cubicBezTo>
                      <a:pt x="722236" y="218573"/>
                      <a:pt x="722010" y="218321"/>
                      <a:pt x="721763" y="218091"/>
                    </a:cubicBezTo>
                    <a:moveTo>
                      <a:pt x="758819" y="185327"/>
                    </a:moveTo>
                    <a:cubicBezTo>
                      <a:pt x="756986" y="183545"/>
                      <a:pt x="754071" y="183545"/>
                      <a:pt x="752238" y="185327"/>
                    </a:cubicBezTo>
                    <a:cubicBezTo>
                      <a:pt x="750421" y="187085"/>
                      <a:pt x="750372" y="189984"/>
                      <a:pt x="752131" y="191801"/>
                    </a:cubicBezTo>
                    <a:cubicBezTo>
                      <a:pt x="752165" y="191837"/>
                      <a:pt x="752202" y="191872"/>
                      <a:pt x="752238" y="191908"/>
                    </a:cubicBezTo>
                    <a:cubicBezTo>
                      <a:pt x="754071" y="193689"/>
                      <a:pt x="756986" y="193689"/>
                      <a:pt x="758819" y="191908"/>
                    </a:cubicBezTo>
                    <a:cubicBezTo>
                      <a:pt x="760618" y="190028"/>
                      <a:pt x="760618" y="187064"/>
                      <a:pt x="758819" y="185184"/>
                    </a:cubicBezTo>
                    <a:moveTo>
                      <a:pt x="796019" y="152562"/>
                    </a:moveTo>
                    <a:cubicBezTo>
                      <a:pt x="794557" y="150864"/>
                      <a:pt x="791994" y="150671"/>
                      <a:pt x="790296" y="152133"/>
                    </a:cubicBezTo>
                    <a:cubicBezTo>
                      <a:pt x="788597" y="153595"/>
                      <a:pt x="788404" y="156158"/>
                      <a:pt x="789866" y="157856"/>
                    </a:cubicBezTo>
                    <a:cubicBezTo>
                      <a:pt x="791516" y="159401"/>
                      <a:pt x="794083" y="159401"/>
                      <a:pt x="795733" y="157856"/>
                    </a:cubicBezTo>
                    <a:cubicBezTo>
                      <a:pt x="797313" y="156308"/>
                      <a:pt x="797339" y="153771"/>
                      <a:pt x="795790" y="152190"/>
                    </a:cubicBezTo>
                    <a:cubicBezTo>
                      <a:pt x="795771" y="152172"/>
                      <a:pt x="795753" y="152152"/>
                      <a:pt x="795733" y="152133"/>
                    </a:cubicBezTo>
                    <a:moveTo>
                      <a:pt x="832646" y="119369"/>
                    </a:moveTo>
                    <a:cubicBezTo>
                      <a:pt x="831302" y="118030"/>
                      <a:pt x="829129" y="118034"/>
                      <a:pt x="827790" y="119378"/>
                    </a:cubicBezTo>
                    <a:cubicBezTo>
                      <a:pt x="826451" y="120721"/>
                      <a:pt x="826455" y="122894"/>
                      <a:pt x="827798" y="124234"/>
                    </a:cubicBezTo>
                    <a:cubicBezTo>
                      <a:pt x="829138" y="125569"/>
                      <a:pt x="831305" y="125569"/>
                      <a:pt x="832646" y="124234"/>
                    </a:cubicBezTo>
                    <a:cubicBezTo>
                      <a:pt x="833989" y="122894"/>
                      <a:pt x="833994" y="120721"/>
                      <a:pt x="832654" y="119378"/>
                    </a:cubicBezTo>
                    <a:cubicBezTo>
                      <a:pt x="832652" y="119375"/>
                      <a:pt x="832649" y="119372"/>
                      <a:pt x="832646" y="119369"/>
                    </a:cubicBezTo>
                    <a:moveTo>
                      <a:pt x="869702" y="86605"/>
                    </a:moveTo>
                    <a:cubicBezTo>
                      <a:pt x="868542" y="85496"/>
                      <a:pt x="866713" y="85496"/>
                      <a:pt x="865553" y="86605"/>
                    </a:cubicBezTo>
                    <a:cubicBezTo>
                      <a:pt x="864368" y="87672"/>
                      <a:pt x="864271" y="89498"/>
                      <a:pt x="865338" y="90683"/>
                    </a:cubicBezTo>
                    <a:cubicBezTo>
                      <a:pt x="866406" y="91867"/>
                      <a:pt x="868231" y="91965"/>
                      <a:pt x="869416" y="90897"/>
                    </a:cubicBezTo>
                    <a:cubicBezTo>
                      <a:pt x="870506" y="89784"/>
                      <a:pt x="870506" y="88004"/>
                      <a:pt x="869416" y="86891"/>
                    </a:cubicBezTo>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33" name="Freeform: Shape 432">
                <a:extLst>
                  <a:ext uri="{FF2B5EF4-FFF2-40B4-BE49-F238E27FC236}">
                    <a16:creationId xmlns:a16="http://schemas.microsoft.com/office/drawing/2014/main" id="{55ED8879-CE0A-45F7-B0B7-8120473339AC}"/>
                  </a:ext>
                </a:extLst>
              </p:cNvPr>
              <p:cNvSpPr/>
              <p:nvPr/>
            </p:nvSpPr>
            <p:spPr>
              <a:xfrm rot="8043926">
                <a:off x="7720650" y="4421757"/>
                <a:ext cx="1106638" cy="1006035"/>
              </a:xfrm>
              <a:custGeom>
                <a:avLst/>
                <a:gdLst>
                  <a:gd name="connsiteX0" fmla="*/ 412818 w 786911"/>
                  <a:gd name="connsiteY0" fmla="*/ 383011 h 715374"/>
                  <a:gd name="connsiteX1" fmla="*/ 412818 w 786911"/>
                  <a:gd name="connsiteY1" fmla="*/ 394457 h 715374"/>
                  <a:gd name="connsiteX2" fmla="*/ 401515 w 786911"/>
                  <a:gd name="connsiteY2" fmla="*/ 394457 h 715374"/>
                  <a:gd name="connsiteX3" fmla="*/ 401515 w 786911"/>
                  <a:gd name="connsiteY3" fmla="*/ 383154 h 715374"/>
                  <a:gd name="connsiteX4" fmla="*/ 412961 w 786911"/>
                  <a:gd name="connsiteY4" fmla="*/ 383154 h 715374"/>
                  <a:gd name="connsiteX5" fmla="*/ 445439 w 786911"/>
                  <a:gd name="connsiteY5" fmla="*/ 352679 h 715374"/>
                  <a:gd name="connsiteX6" fmla="*/ 434918 w 786911"/>
                  <a:gd name="connsiteY6" fmla="*/ 352745 h 715374"/>
                  <a:gd name="connsiteX7" fmla="*/ 434984 w 786911"/>
                  <a:gd name="connsiteY7" fmla="*/ 363267 h 715374"/>
                  <a:gd name="connsiteX8" fmla="*/ 445439 w 786911"/>
                  <a:gd name="connsiteY8" fmla="*/ 363267 h 715374"/>
                  <a:gd name="connsiteX9" fmla="*/ 445505 w 786911"/>
                  <a:gd name="connsiteY9" fmla="*/ 352745 h 715374"/>
                  <a:gd name="connsiteX10" fmla="*/ 445439 w 786911"/>
                  <a:gd name="connsiteY10" fmla="*/ 352679 h 715374"/>
                  <a:gd name="connsiteX11" fmla="*/ 477917 w 786911"/>
                  <a:gd name="connsiteY11" fmla="*/ 322205 h 715374"/>
                  <a:gd name="connsiteX12" fmla="*/ 468019 w 786911"/>
                  <a:gd name="connsiteY12" fmla="*/ 322788 h 715374"/>
                  <a:gd name="connsiteX13" fmla="*/ 467759 w 786911"/>
                  <a:gd name="connsiteY13" fmla="*/ 331791 h 715374"/>
                  <a:gd name="connsiteX14" fmla="*/ 477631 w 786911"/>
                  <a:gd name="connsiteY14" fmla="*/ 331791 h 715374"/>
                  <a:gd name="connsiteX15" fmla="*/ 477793 w 786911"/>
                  <a:gd name="connsiteY15" fmla="*/ 322080 h 715374"/>
                  <a:gd name="connsiteX16" fmla="*/ 477631 w 786911"/>
                  <a:gd name="connsiteY16" fmla="*/ 321918 h 715374"/>
                  <a:gd name="connsiteX17" fmla="*/ 510252 w 786911"/>
                  <a:gd name="connsiteY17" fmla="*/ 291587 h 715374"/>
                  <a:gd name="connsiteX18" fmla="*/ 501147 w 786911"/>
                  <a:gd name="connsiteY18" fmla="*/ 291495 h 715374"/>
                  <a:gd name="connsiteX19" fmla="*/ 501057 w 786911"/>
                  <a:gd name="connsiteY19" fmla="*/ 300600 h 715374"/>
                  <a:gd name="connsiteX20" fmla="*/ 510161 w 786911"/>
                  <a:gd name="connsiteY20" fmla="*/ 300692 h 715374"/>
                  <a:gd name="connsiteX21" fmla="*/ 510252 w 786911"/>
                  <a:gd name="connsiteY21" fmla="*/ 300600 h 715374"/>
                  <a:gd name="connsiteX22" fmla="*/ 510364 w 786911"/>
                  <a:gd name="connsiteY22" fmla="*/ 291698 h 715374"/>
                  <a:gd name="connsiteX23" fmla="*/ 510252 w 786911"/>
                  <a:gd name="connsiteY23" fmla="*/ 291587 h 715374"/>
                  <a:gd name="connsiteX24" fmla="*/ 542873 w 786911"/>
                  <a:gd name="connsiteY24" fmla="*/ 261112 h 715374"/>
                  <a:gd name="connsiteX25" fmla="*/ 534575 w 786911"/>
                  <a:gd name="connsiteY25" fmla="*/ 261112 h 715374"/>
                  <a:gd name="connsiteX26" fmla="*/ 534289 w 786911"/>
                  <a:gd name="connsiteY26" fmla="*/ 269410 h 715374"/>
                  <a:gd name="connsiteX27" fmla="*/ 542587 w 786911"/>
                  <a:gd name="connsiteY27" fmla="*/ 269696 h 715374"/>
                  <a:gd name="connsiteX28" fmla="*/ 542587 w 786911"/>
                  <a:gd name="connsiteY28" fmla="*/ 261398 h 715374"/>
                  <a:gd name="connsiteX29" fmla="*/ 575065 w 786911"/>
                  <a:gd name="connsiteY29" fmla="*/ 230923 h 715374"/>
                  <a:gd name="connsiteX30" fmla="*/ 567625 w 786911"/>
                  <a:gd name="connsiteY30" fmla="*/ 230923 h 715374"/>
                  <a:gd name="connsiteX31" fmla="*/ 567625 w 786911"/>
                  <a:gd name="connsiteY31" fmla="*/ 238506 h 715374"/>
                  <a:gd name="connsiteX32" fmla="*/ 575065 w 786911"/>
                  <a:gd name="connsiteY32" fmla="*/ 238506 h 715374"/>
                  <a:gd name="connsiteX33" fmla="*/ 575065 w 786911"/>
                  <a:gd name="connsiteY33" fmla="*/ 230923 h 715374"/>
                  <a:gd name="connsiteX34" fmla="*/ 607543 w 786911"/>
                  <a:gd name="connsiteY34" fmla="*/ 200162 h 715374"/>
                  <a:gd name="connsiteX35" fmla="*/ 600819 w 786911"/>
                  <a:gd name="connsiteY35" fmla="*/ 200019 h 715374"/>
                  <a:gd name="connsiteX36" fmla="*/ 600676 w 786911"/>
                  <a:gd name="connsiteY36" fmla="*/ 206743 h 715374"/>
                  <a:gd name="connsiteX37" fmla="*/ 607400 w 786911"/>
                  <a:gd name="connsiteY37" fmla="*/ 206886 h 715374"/>
                  <a:gd name="connsiteX38" fmla="*/ 607543 w 786911"/>
                  <a:gd name="connsiteY38" fmla="*/ 200162 h 715374"/>
                  <a:gd name="connsiteX39" fmla="*/ 640164 w 786911"/>
                  <a:gd name="connsiteY39" fmla="*/ 169687 h 715374"/>
                  <a:gd name="connsiteX40" fmla="*/ 634298 w 786911"/>
                  <a:gd name="connsiteY40" fmla="*/ 169544 h 715374"/>
                  <a:gd name="connsiteX41" fmla="*/ 634155 w 786911"/>
                  <a:gd name="connsiteY41" fmla="*/ 169687 h 715374"/>
                  <a:gd name="connsiteX42" fmla="*/ 633951 w 786911"/>
                  <a:gd name="connsiteY42" fmla="*/ 175348 h 715374"/>
                  <a:gd name="connsiteX43" fmla="*/ 634155 w 786911"/>
                  <a:gd name="connsiteY43" fmla="*/ 175553 h 715374"/>
                  <a:gd name="connsiteX44" fmla="*/ 640021 w 786911"/>
                  <a:gd name="connsiteY44" fmla="*/ 175553 h 715374"/>
                  <a:gd name="connsiteX45" fmla="*/ 640021 w 786911"/>
                  <a:gd name="connsiteY45" fmla="*/ 169544 h 715374"/>
                  <a:gd name="connsiteX46" fmla="*/ 672499 w 786911"/>
                  <a:gd name="connsiteY46" fmla="*/ 139069 h 715374"/>
                  <a:gd name="connsiteX47" fmla="*/ 667253 w 786911"/>
                  <a:gd name="connsiteY47" fmla="*/ 139452 h 715374"/>
                  <a:gd name="connsiteX48" fmla="*/ 667062 w 786911"/>
                  <a:gd name="connsiteY48" fmla="*/ 144076 h 715374"/>
                  <a:gd name="connsiteX49" fmla="*/ 672356 w 786911"/>
                  <a:gd name="connsiteY49" fmla="*/ 144076 h 715374"/>
                  <a:gd name="connsiteX50" fmla="*/ 672449 w 786911"/>
                  <a:gd name="connsiteY50" fmla="*/ 139019 h 715374"/>
                  <a:gd name="connsiteX51" fmla="*/ 672356 w 786911"/>
                  <a:gd name="connsiteY51" fmla="*/ 138926 h 715374"/>
                  <a:gd name="connsiteX52" fmla="*/ 704834 w 786911"/>
                  <a:gd name="connsiteY52" fmla="*/ 108451 h 715374"/>
                  <a:gd name="connsiteX53" fmla="*/ 700383 w 786911"/>
                  <a:gd name="connsiteY53" fmla="*/ 108435 h 715374"/>
                  <a:gd name="connsiteX54" fmla="*/ 700367 w 786911"/>
                  <a:gd name="connsiteY54" fmla="*/ 112886 h 715374"/>
                  <a:gd name="connsiteX55" fmla="*/ 704818 w 786911"/>
                  <a:gd name="connsiteY55" fmla="*/ 112902 h 715374"/>
                  <a:gd name="connsiteX56" fmla="*/ 704834 w 786911"/>
                  <a:gd name="connsiteY56" fmla="*/ 112886 h 715374"/>
                  <a:gd name="connsiteX57" fmla="*/ 704834 w 786911"/>
                  <a:gd name="connsiteY57" fmla="*/ 108451 h 715374"/>
                  <a:gd name="connsiteX58" fmla="*/ 737312 w 786911"/>
                  <a:gd name="connsiteY58" fmla="*/ 77976 h 715374"/>
                  <a:gd name="connsiteX59" fmla="*/ 733735 w 786911"/>
                  <a:gd name="connsiteY59" fmla="*/ 77976 h 715374"/>
                  <a:gd name="connsiteX60" fmla="*/ 733664 w 786911"/>
                  <a:gd name="connsiteY60" fmla="*/ 81624 h 715374"/>
                  <a:gd name="connsiteX61" fmla="*/ 737312 w 786911"/>
                  <a:gd name="connsiteY61" fmla="*/ 81696 h 715374"/>
                  <a:gd name="connsiteX62" fmla="*/ 737452 w 786911"/>
                  <a:gd name="connsiteY62" fmla="*/ 78259 h 715374"/>
                  <a:gd name="connsiteX63" fmla="*/ 737312 w 786911"/>
                  <a:gd name="connsiteY63" fmla="*/ 78119 h 715374"/>
                  <a:gd name="connsiteX64" fmla="*/ 432133 w 786911"/>
                  <a:gd name="connsiteY64" fmla="*/ 403185 h 715374"/>
                  <a:gd name="connsiteX65" fmla="*/ 421546 w 786911"/>
                  <a:gd name="connsiteY65" fmla="*/ 403185 h 715374"/>
                  <a:gd name="connsiteX66" fmla="*/ 421546 w 786911"/>
                  <a:gd name="connsiteY66" fmla="*/ 414631 h 715374"/>
                  <a:gd name="connsiteX67" fmla="*/ 432992 w 786911"/>
                  <a:gd name="connsiteY67" fmla="*/ 414631 h 715374"/>
                  <a:gd name="connsiteX68" fmla="*/ 432992 w 786911"/>
                  <a:gd name="connsiteY68" fmla="*/ 403328 h 715374"/>
                  <a:gd name="connsiteX69" fmla="*/ 464468 w 786911"/>
                  <a:gd name="connsiteY69" fmla="*/ 373282 h 715374"/>
                  <a:gd name="connsiteX70" fmla="*/ 453947 w 786911"/>
                  <a:gd name="connsiteY70" fmla="*/ 373216 h 715374"/>
                  <a:gd name="connsiteX71" fmla="*/ 453881 w 786911"/>
                  <a:gd name="connsiteY71" fmla="*/ 373282 h 715374"/>
                  <a:gd name="connsiteX72" fmla="*/ 453755 w 786911"/>
                  <a:gd name="connsiteY72" fmla="*/ 383601 h 715374"/>
                  <a:gd name="connsiteX73" fmla="*/ 453881 w 786911"/>
                  <a:gd name="connsiteY73" fmla="*/ 383727 h 715374"/>
                  <a:gd name="connsiteX74" fmla="*/ 464403 w 786911"/>
                  <a:gd name="connsiteY74" fmla="*/ 383793 h 715374"/>
                  <a:gd name="connsiteX75" fmla="*/ 464468 w 786911"/>
                  <a:gd name="connsiteY75" fmla="*/ 383727 h 715374"/>
                  <a:gd name="connsiteX76" fmla="*/ 464468 w 786911"/>
                  <a:gd name="connsiteY76" fmla="*/ 373139 h 715374"/>
                  <a:gd name="connsiteX77" fmla="*/ 496946 w 786911"/>
                  <a:gd name="connsiteY77" fmla="*/ 342664 h 715374"/>
                  <a:gd name="connsiteX78" fmla="*/ 487236 w 786911"/>
                  <a:gd name="connsiteY78" fmla="*/ 342503 h 715374"/>
                  <a:gd name="connsiteX79" fmla="*/ 487074 w 786911"/>
                  <a:gd name="connsiteY79" fmla="*/ 342664 h 715374"/>
                  <a:gd name="connsiteX80" fmla="*/ 487074 w 786911"/>
                  <a:gd name="connsiteY80" fmla="*/ 352393 h 715374"/>
                  <a:gd name="connsiteX81" fmla="*/ 496785 w 786911"/>
                  <a:gd name="connsiteY81" fmla="*/ 352555 h 715374"/>
                  <a:gd name="connsiteX82" fmla="*/ 496946 w 786911"/>
                  <a:gd name="connsiteY82" fmla="*/ 352393 h 715374"/>
                  <a:gd name="connsiteX83" fmla="*/ 496946 w 786911"/>
                  <a:gd name="connsiteY83" fmla="*/ 342664 h 715374"/>
                  <a:gd name="connsiteX84" fmla="*/ 529424 w 786911"/>
                  <a:gd name="connsiteY84" fmla="*/ 312189 h 715374"/>
                  <a:gd name="connsiteX85" fmla="*/ 520319 w 786911"/>
                  <a:gd name="connsiteY85" fmla="*/ 312098 h 715374"/>
                  <a:gd name="connsiteX86" fmla="*/ 520229 w 786911"/>
                  <a:gd name="connsiteY86" fmla="*/ 321203 h 715374"/>
                  <a:gd name="connsiteX87" fmla="*/ 529333 w 786911"/>
                  <a:gd name="connsiteY87" fmla="*/ 321295 h 715374"/>
                  <a:gd name="connsiteX88" fmla="*/ 529424 w 786911"/>
                  <a:gd name="connsiteY88" fmla="*/ 321203 h 715374"/>
                  <a:gd name="connsiteX89" fmla="*/ 529536 w 786911"/>
                  <a:gd name="connsiteY89" fmla="*/ 312301 h 715374"/>
                  <a:gd name="connsiteX90" fmla="*/ 529424 w 786911"/>
                  <a:gd name="connsiteY90" fmla="*/ 312189 h 715374"/>
                  <a:gd name="connsiteX91" fmla="*/ 561902 w 786911"/>
                  <a:gd name="connsiteY91" fmla="*/ 281714 h 715374"/>
                  <a:gd name="connsiteX92" fmla="*/ 554016 w 786911"/>
                  <a:gd name="connsiteY92" fmla="*/ 281445 h 715374"/>
                  <a:gd name="connsiteX93" fmla="*/ 553747 w 786911"/>
                  <a:gd name="connsiteY93" fmla="*/ 281714 h 715374"/>
                  <a:gd name="connsiteX94" fmla="*/ 553540 w 786911"/>
                  <a:gd name="connsiteY94" fmla="*/ 289805 h 715374"/>
                  <a:gd name="connsiteX95" fmla="*/ 553747 w 786911"/>
                  <a:gd name="connsiteY95" fmla="*/ 290013 h 715374"/>
                  <a:gd name="connsiteX96" fmla="*/ 561902 w 786911"/>
                  <a:gd name="connsiteY96" fmla="*/ 290013 h 715374"/>
                  <a:gd name="connsiteX97" fmla="*/ 562110 w 786911"/>
                  <a:gd name="connsiteY97" fmla="*/ 281922 h 715374"/>
                  <a:gd name="connsiteX98" fmla="*/ 561902 w 786911"/>
                  <a:gd name="connsiteY98" fmla="*/ 281714 h 715374"/>
                  <a:gd name="connsiteX99" fmla="*/ 594523 w 786911"/>
                  <a:gd name="connsiteY99" fmla="*/ 251239 h 715374"/>
                  <a:gd name="connsiteX100" fmla="*/ 586940 w 786911"/>
                  <a:gd name="connsiteY100" fmla="*/ 251239 h 715374"/>
                  <a:gd name="connsiteX101" fmla="*/ 586940 w 786911"/>
                  <a:gd name="connsiteY101" fmla="*/ 258679 h 715374"/>
                  <a:gd name="connsiteX102" fmla="*/ 594523 w 786911"/>
                  <a:gd name="connsiteY102" fmla="*/ 258679 h 715374"/>
                  <a:gd name="connsiteX103" fmla="*/ 594523 w 786911"/>
                  <a:gd name="connsiteY103" fmla="*/ 251239 h 715374"/>
                  <a:gd name="connsiteX104" fmla="*/ 627001 w 786911"/>
                  <a:gd name="connsiteY104" fmla="*/ 220764 h 715374"/>
                  <a:gd name="connsiteX105" fmla="*/ 620324 w 786911"/>
                  <a:gd name="connsiteY105" fmla="*/ 220812 h 715374"/>
                  <a:gd name="connsiteX106" fmla="*/ 620371 w 786911"/>
                  <a:gd name="connsiteY106" fmla="*/ 227489 h 715374"/>
                  <a:gd name="connsiteX107" fmla="*/ 627001 w 786911"/>
                  <a:gd name="connsiteY107" fmla="*/ 227489 h 715374"/>
                  <a:gd name="connsiteX108" fmla="*/ 627049 w 786911"/>
                  <a:gd name="connsiteY108" fmla="*/ 220812 h 715374"/>
                  <a:gd name="connsiteX109" fmla="*/ 627001 w 786911"/>
                  <a:gd name="connsiteY109" fmla="*/ 220764 h 715374"/>
                  <a:gd name="connsiteX110" fmla="*/ 659479 w 786911"/>
                  <a:gd name="connsiteY110" fmla="*/ 190290 h 715374"/>
                  <a:gd name="connsiteX111" fmla="*/ 653470 w 786911"/>
                  <a:gd name="connsiteY111" fmla="*/ 190290 h 715374"/>
                  <a:gd name="connsiteX112" fmla="*/ 653470 w 786911"/>
                  <a:gd name="connsiteY112" fmla="*/ 196299 h 715374"/>
                  <a:gd name="connsiteX113" fmla="*/ 659479 w 786911"/>
                  <a:gd name="connsiteY113" fmla="*/ 196299 h 715374"/>
                  <a:gd name="connsiteX114" fmla="*/ 659479 w 786911"/>
                  <a:gd name="connsiteY114" fmla="*/ 190433 h 715374"/>
                  <a:gd name="connsiteX115" fmla="*/ 692243 w 786911"/>
                  <a:gd name="connsiteY115" fmla="*/ 159958 h 715374"/>
                  <a:gd name="connsiteX116" fmla="*/ 687186 w 786911"/>
                  <a:gd name="connsiteY116" fmla="*/ 159865 h 715374"/>
                  <a:gd name="connsiteX117" fmla="*/ 687093 w 786911"/>
                  <a:gd name="connsiteY117" fmla="*/ 159958 h 715374"/>
                  <a:gd name="connsiteX118" fmla="*/ 687093 w 786911"/>
                  <a:gd name="connsiteY118" fmla="*/ 165251 h 715374"/>
                  <a:gd name="connsiteX119" fmla="*/ 692150 w 786911"/>
                  <a:gd name="connsiteY119" fmla="*/ 165344 h 715374"/>
                  <a:gd name="connsiteX120" fmla="*/ 692243 w 786911"/>
                  <a:gd name="connsiteY120" fmla="*/ 165251 h 715374"/>
                  <a:gd name="connsiteX121" fmla="*/ 692336 w 786911"/>
                  <a:gd name="connsiteY121" fmla="*/ 160194 h 715374"/>
                  <a:gd name="connsiteX122" fmla="*/ 692243 w 786911"/>
                  <a:gd name="connsiteY122" fmla="*/ 160101 h 715374"/>
                  <a:gd name="connsiteX123" fmla="*/ 724864 w 786911"/>
                  <a:gd name="connsiteY123" fmla="*/ 129483 h 715374"/>
                  <a:gd name="connsiteX124" fmla="*/ 720429 w 786911"/>
                  <a:gd name="connsiteY124" fmla="*/ 129483 h 715374"/>
                  <a:gd name="connsiteX125" fmla="*/ 720176 w 786911"/>
                  <a:gd name="connsiteY125" fmla="*/ 133522 h 715374"/>
                  <a:gd name="connsiteX126" fmla="*/ 720429 w 786911"/>
                  <a:gd name="connsiteY126" fmla="*/ 133775 h 715374"/>
                  <a:gd name="connsiteX127" fmla="*/ 724674 w 786911"/>
                  <a:gd name="connsiteY127" fmla="*/ 133965 h 715374"/>
                  <a:gd name="connsiteX128" fmla="*/ 724864 w 786911"/>
                  <a:gd name="connsiteY128" fmla="*/ 133775 h 715374"/>
                  <a:gd name="connsiteX129" fmla="*/ 724864 w 786911"/>
                  <a:gd name="connsiteY129" fmla="*/ 129340 h 715374"/>
                  <a:gd name="connsiteX130" fmla="*/ 757343 w 786911"/>
                  <a:gd name="connsiteY130" fmla="*/ 98865 h 715374"/>
                  <a:gd name="connsiteX131" fmla="*/ 753623 w 786911"/>
                  <a:gd name="connsiteY131" fmla="*/ 98865 h 715374"/>
                  <a:gd name="connsiteX132" fmla="*/ 753551 w 786911"/>
                  <a:gd name="connsiteY132" fmla="*/ 102513 h 715374"/>
                  <a:gd name="connsiteX133" fmla="*/ 757199 w 786911"/>
                  <a:gd name="connsiteY133" fmla="*/ 102585 h 715374"/>
                  <a:gd name="connsiteX134" fmla="*/ 757199 w 786911"/>
                  <a:gd name="connsiteY134" fmla="*/ 98865 h 715374"/>
                  <a:gd name="connsiteX135" fmla="*/ 451592 w 786911"/>
                  <a:gd name="connsiteY135" fmla="*/ 424503 h 715374"/>
                  <a:gd name="connsiteX136" fmla="*/ 440260 w 786911"/>
                  <a:gd name="connsiteY136" fmla="*/ 424474 h 715374"/>
                  <a:gd name="connsiteX137" fmla="*/ 440233 w 786911"/>
                  <a:gd name="connsiteY137" fmla="*/ 435806 h 715374"/>
                  <a:gd name="connsiteX138" fmla="*/ 451563 w 786911"/>
                  <a:gd name="connsiteY138" fmla="*/ 435835 h 715374"/>
                  <a:gd name="connsiteX139" fmla="*/ 451592 w 786911"/>
                  <a:gd name="connsiteY139" fmla="*/ 435806 h 715374"/>
                  <a:gd name="connsiteX140" fmla="*/ 451592 w 786911"/>
                  <a:gd name="connsiteY140" fmla="*/ 424503 h 715374"/>
                  <a:gd name="connsiteX141" fmla="*/ 484070 w 786911"/>
                  <a:gd name="connsiteY141" fmla="*/ 394028 h 715374"/>
                  <a:gd name="connsiteX142" fmla="*/ 473754 w 786911"/>
                  <a:gd name="connsiteY142" fmla="*/ 393756 h 715374"/>
                  <a:gd name="connsiteX143" fmla="*/ 473482 w 786911"/>
                  <a:gd name="connsiteY143" fmla="*/ 394028 h 715374"/>
                  <a:gd name="connsiteX144" fmla="*/ 473196 w 786911"/>
                  <a:gd name="connsiteY144" fmla="*/ 404616 h 715374"/>
                  <a:gd name="connsiteX145" fmla="*/ 483783 w 786911"/>
                  <a:gd name="connsiteY145" fmla="*/ 404902 h 715374"/>
                  <a:gd name="connsiteX146" fmla="*/ 483909 w 786911"/>
                  <a:gd name="connsiteY146" fmla="*/ 394583 h 715374"/>
                  <a:gd name="connsiteX147" fmla="*/ 483783 w 786911"/>
                  <a:gd name="connsiteY147" fmla="*/ 394457 h 715374"/>
                  <a:gd name="connsiteX148" fmla="*/ 516261 w 786911"/>
                  <a:gd name="connsiteY148" fmla="*/ 363839 h 715374"/>
                  <a:gd name="connsiteX149" fmla="*/ 506532 w 786911"/>
                  <a:gd name="connsiteY149" fmla="*/ 363839 h 715374"/>
                  <a:gd name="connsiteX150" fmla="*/ 506371 w 786911"/>
                  <a:gd name="connsiteY150" fmla="*/ 373550 h 715374"/>
                  <a:gd name="connsiteX151" fmla="*/ 506532 w 786911"/>
                  <a:gd name="connsiteY151" fmla="*/ 373711 h 715374"/>
                  <a:gd name="connsiteX152" fmla="*/ 516261 w 786911"/>
                  <a:gd name="connsiteY152" fmla="*/ 373711 h 715374"/>
                  <a:gd name="connsiteX153" fmla="*/ 516423 w 786911"/>
                  <a:gd name="connsiteY153" fmla="*/ 364001 h 715374"/>
                  <a:gd name="connsiteX154" fmla="*/ 516261 w 786911"/>
                  <a:gd name="connsiteY154" fmla="*/ 363839 h 715374"/>
                  <a:gd name="connsiteX155" fmla="*/ 548883 w 786911"/>
                  <a:gd name="connsiteY155" fmla="*/ 333364 h 715374"/>
                  <a:gd name="connsiteX156" fmla="*/ 539726 w 786911"/>
                  <a:gd name="connsiteY156" fmla="*/ 333364 h 715374"/>
                  <a:gd name="connsiteX157" fmla="*/ 539726 w 786911"/>
                  <a:gd name="connsiteY157" fmla="*/ 342521 h 715374"/>
                  <a:gd name="connsiteX158" fmla="*/ 548883 w 786911"/>
                  <a:gd name="connsiteY158" fmla="*/ 342521 h 715374"/>
                  <a:gd name="connsiteX159" fmla="*/ 548883 w 786911"/>
                  <a:gd name="connsiteY159" fmla="*/ 333364 h 715374"/>
                  <a:gd name="connsiteX160" fmla="*/ 581647 w 786911"/>
                  <a:gd name="connsiteY160" fmla="*/ 303033 h 715374"/>
                  <a:gd name="connsiteX161" fmla="*/ 573348 w 786911"/>
                  <a:gd name="connsiteY161" fmla="*/ 302746 h 715374"/>
                  <a:gd name="connsiteX162" fmla="*/ 573062 w 786911"/>
                  <a:gd name="connsiteY162" fmla="*/ 311045 h 715374"/>
                  <a:gd name="connsiteX163" fmla="*/ 581153 w 786911"/>
                  <a:gd name="connsiteY163" fmla="*/ 311252 h 715374"/>
                  <a:gd name="connsiteX164" fmla="*/ 581360 w 786911"/>
                  <a:gd name="connsiteY164" fmla="*/ 311045 h 715374"/>
                  <a:gd name="connsiteX165" fmla="*/ 581363 w 786911"/>
                  <a:gd name="connsiteY165" fmla="*/ 302749 h 715374"/>
                  <a:gd name="connsiteX166" fmla="*/ 581360 w 786911"/>
                  <a:gd name="connsiteY166" fmla="*/ 302746 h 715374"/>
                  <a:gd name="connsiteX167" fmla="*/ 613839 w 786911"/>
                  <a:gd name="connsiteY167" fmla="*/ 272271 h 715374"/>
                  <a:gd name="connsiteX168" fmla="*/ 606353 w 786911"/>
                  <a:gd name="connsiteY168" fmla="*/ 272369 h 715374"/>
                  <a:gd name="connsiteX169" fmla="*/ 606450 w 786911"/>
                  <a:gd name="connsiteY169" fmla="*/ 279854 h 715374"/>
                  <a:gd name="connsiteX170" fmla="*/ 613839 w 786911"/>
                  <a:gd name="connsiteY170" fmla="*/ 279854 h 715374"/>
                  <a:gd name="connsiteX171" fmla="*/ 613839 w 786911"/>
                  <a:gd name="connsiteY171" fmla="*/ 272271 h 715374"/>
                  <a:gd name="connsiteX172" fmla="*/ 646316 w 786911"/>
                  <a:gd name="connsiteY172" fmla="*/ 241797 h 715374"/>
                  <a:gd name="connsiteX173" fmla="*/ 639639 w 786911"/>
                  <a:gd name="connsiteY173" fmla="*/ 241844 h 715374"/>
                  <a:gd name="connsiteX174" fmla="*/ 639686 w 786911"/>
                  <a:gd name="connsiteY174" fmla="*/ 248521 h 715374"/>
                  <a:gd name="connsiteX175" fmla="*/ 646316 w 786911"/>
                  <a:gd name="connsiteY175" fmla="*/ 248521 h 715374"/>
                  <a:gd name="connsiteX176" fmla="*/ 646364 w 786911"/>
                  <a:gd name="connsiteY176" fmla="*/ 241844 h 715374"/>
                  <a:gd name="connsiteX177" fmla="*/ 646316 w 786911"/>
                  <a:gd name="connsiteY177" fmla="*/ 241797 h 715374"/>
                  <a:gd name="connsiteX178" fmla="*/ 679081 w 786911"/>
                  <a:gd name="connsiteY178" fmla="*/ 211035 h 715374"/>
                  <a:gd name="connsiteX179" fmla="*/ 673011 w 786911"/>
                  <a:gd name="connsiteY179" fmla="*/ 211118 h 715374"/>
                  <a:gd name="connsiteX180" fmla="*/ 673094 w 786911"/>
                  <a:gd name="connsiteY180" fmla="*/ 217188 h 715374"/>
                  <a:gd name="connsiteX181" fmla="*/ 679081 w 786911"/>
                  <a:gd name="connsiteY181" fmla="*/ 217188 h 715374"/>
                  <a:gd name="connsiteX182" fmla="*/ 679081 w 786911"/>
                  <a:gd name="connsiteY182" fmla="*/ 211179 h 715374"/>
                  <a:gd name="connsiteX183" fmla="*/ 711559 w 786911"/>
                  <a:gd name="connsiteY183" fmla="*/ 180704 h 715374"/>
                  <a:gd name="connsiteX184" fmla="*/ 706501 w 786911"/>
                  <a:gd name="connsiteY184" fmla="*/ 180611 h 715374"/>
                  <a:gd name="connsiteX185" fmla="*/ 706408 w 786911"/>
                  <a:gd name="connsiteY185" fmla="*/ 180704 h 715374"/>
                  <a:gd name="connsiteX186" fmla="*/ 706315 w 786911"/>
                  <a:gd name="connsiteY186" fmla="*/ 185761 h 715374"/>
                  <a:gd name="connsiteX187" fmla="*/ 706408 w 786911"/>
                  <a:gd name="connsiteY187" fmla="*/ 185854 h 715374"/>
                  <a:gd name="connsiteX188" fmla="*/ 711466 w 786911"/>
                  <a:gd name="connsiteY188" fmla="*/ 185947 h 715374"/>
                  <a:gd name="connsiteX189" fmla="*/ 711559 w 786911"/>
                  <a:gd name="connsiteY189" fmla="*/ 185854 h 715374"/>
                  <a:gd name="connsiteX190" fmla="*/ 711559 w 786911"/>
                  <a:gd name="connsiteY190" fmla="*/ 180560 h 715374"/>
                  <a:gd name="connsiteX191" fmla="*/ 744037 w 786911"/>
                  <a:gd name="connsiteY191" fmla="*/ 150086 h 715374"/>
                  <a:gd name="connsiteX192" fmla="*/ 739601 w 786911"/>
                  <a:gd name="connsiteY192" fmla="*/ 150086 h 715374"/>
                  <a:gd name="connsiteX193" fmla="*/ 739601 w 786911"/>
                  <a:gd name="connsiteY193" fmla="*/ 154521 h 715374"/>
                  <a:gd name="connsiteX194" fmla="*/ 744037 w 786911"/>
                  <a:gd name="connsiteY194" fmla="*/ 154521 h 715374"/>
                  <a:gd name="connsiteX195" fmla="*/ 744227 w 786911"/>
                  <a:gd name="connsiteY195" fmla="*/ 150276 h 715374"/>
                  <a:gd name="connsiteX196" fmla="*/ 744037 w 786911"/>
                  <a:gd name="connsiteY196" fmla="*/ 150086 h 715374"/>
                  <a:gd name="connsiteX197" fmla="*/ 776658 w 786911"/>
                  <a:gd name="connsiteY197" fmla="*/ 119611 h 715374"/>
                  <a:gd name="connsiteX198" fmla="*/ 773016 w 786911"/>
                  <a:gd name="connsiteY198" fmla="*/ 119689 h 715374"/>
                  <a:gd name="connsiteX199" fmla="*/ 773095 w 786911"/>
                  <a:gd name="connsiteY199" fmla="*/ 123331 h 715374"/>
                  <a:gd name="connsiteX200" fmla="*/ 776658 w 786911"/>
                  <a:gd name="connsiteY200" fmla="*/ 123331 h 715374"/>
                  <a:gd name="connsiteX201" fmla="*/ 776658 w 786911"/>
                  <a:gd name="connsiteY201" fmla="*/ 119611 h 715374"/>
                  <a:gd name="connsiteX202" fmla="*/ 354587 w 786911"/>
                  <a:gd name="connsiteY202" fmla="*/ 320917 h 715374"/>
                  <a:gd name="connsiteX203" fmla="*/ 343284 w 786911"/>
                  <a:gd name="connsiteY203" fmla="*/ 320917 h 715374"/>
                  <a:gd name="connsiteX204" fmla="*/ 343526 w 786911"/>
                  <a:gd name="connsiteY204" fmla="*/ 332246 h 715374"/>
                  <a:gd name="connsiteX205" fmla="*/ 354158 w 786911"/>
                  <a:gd name="connsiteY205" fmla="*/ 332649 h 715374"/>
                  <a:gd name="connsiteX206" fmla="*/ 354158 w 786911"/>
                  <a:gd name="connsiteY206" fmla="*/ 321203 h 715374"/>
                  <a:gd name="connsiteX207" fmla="*/ 386636 w 786911"/>
                  <a:gd name="connsiteY207" fmla="*/ 290728 h 715374"/>
                  <a:gd name="connsiteX208" fmla="*/ 376114 w 786911"/>
                  <a:gd name="connsiteY208" fmla="*/ 290794 h 715374"/>
                  <a:gd name="connsiteX209" fmla="*/ 376180 w 786911"/>
                  <a:gd name="connsiteY209" fmla="*/ 301316 h 715374"/>
                  <a:gd name="connsiteX210" fmla="*/ 386636 w 786911"/>
                  <a:gd name="connsiteY210" fmla="*/ 301316 h 715374"/>
                  <a:gd name="connsiteX211" fmla="*/ 386702 w 786911"/>
                  <a:gd name="connsiteY211" fmla="*/ 290794 h 715374"/>
                  <a:gd name="connsiteX212" fmla="*/ 386636 w 786911"/>
                  <a:gd name="connsiteY212" fmla="*/ 290728 h 715374"/>
                  <a:gd name="connsiteX213" fmla="*/ 419543 w 786911"/>
                  <a:gd name="connsiteY213" fmla="*/ 260110 h 715374"/>
                  <a:gd name="connsiteX214" fmla="*/ 409814 w 786911"/>
                  <a:gd name="connsiteY214" fmla="*/ 260110 h 715374"/>
                  <a:gd name="connsiteX215" fmla="*/ 409652 w 786911"/>
                  <a:gd name="connsiteY215" fmla="*/ 269821 h 715374"/>
                  <a:gd name="connsiteX216" fmla="*/ 409814 w 786911"/>
                  <a:gd name="connsiteY216" fmla="*/ 269982 h 715374"/>
                  <a:gd name="connsiteX217" fmla="*/ 419543 w 786911"/>
                  <a:gd name="connsiteY217" fmla="*/ 269982 h 715374"/>
                  <a:gd name="connsiteX218" fmla="*/ 419705 w 786911"/>
                  <a:gd name="connsiteY218" fmla="*/ 260272 h 715374"/>
                  <a:gd name="connsiteX219" fmla="*/ 419543 w 786911"/>
                  <a:gd name="connsiteY219" fmla="*/ 260110 h 715374"/>
                  <a:gd name="connsiteX220" fmla="*/ 452164 w 786911"/>
                  <a:gd name="connsiteY220" fmla="*/ 229635 h 715374"/>
                  <a:gd name="connsiteX221" fmla="*/ 443060 w 786911"/>
                  <a:gd name="connsiteY221" fmla="*/ 229762 h 715374"/>
                  <a:gd name="connsiteX222" fmla="*/ 442721 w 786911"/>
                  <a:gd name="connsiteY222" fmla="*/ 238363 h 715374"/>
                  <a:gd name="connsiteX223" fmla="*/ 451878 w 786911"/>
                  <a:gd name="connsiteY223" fmla="*/ 238363 h 715374"/>
                  <a:gd name="connsiteX224" fmla="*/ 451989 w 786911"/>
                  <a:gd name="connsiteY224" fmla="*/ 229461 h 715374"/>
                  <a:gd name="connsiteX225" fmla="*/ 451878 w 786911"/>
                  <a:gd name="connsiteY225" fmla="*/ 229349 h 715374"/>
                  <a:gd name="connsiteX226" fmla="*/ 484356 w 786911"/>
                  <a:gd name="connsiteY226" fmla="*/ 198874 h 715374"/>
                  <a:gd name="connsiteX227" fmla="*/ 476057 w 786911"/>
                  <a:gd name="connsiteY227" fmla="*/ 198588 h 715374"/>
                  <a:gd name="connsiteX228" fmla="*/ 475771 w 786911"/>
                  <a:gd name="connsiteY228" fmla="*/ 206886 h 715374"/>
                  <a:gd name="connsiteX229" fmla="*/ 484070 w 786911"/>
                  <a:gd name="connsiteY229" fmla="*/ 207172 h 715374"/>
                  <a:gd name="connsiteX230" fmla="*/ 484356 w 786911"/>
                  <a:gd name="connsiteY230" fmla="*/ 198874 h 715374"/>
                  <a:gd name="connsiteX231" fmla="*/ 516834 w 786911"/>
                  <a:gd name="connsiteY231" fmla="*/ 168399 h 715374"/>
                  <a:gd name="connsiteX232" fmla="*/ 509394 w 786911"/>
                  <a:gd name="connsiteY232" fmla="*/ 168399 h 715374"/>
                  <a:gd name="connsiteX233" fmla="*/ 509149 w 786911"/>
                  <a:gd name="connsiteY233" fmla="*/ 176084 h 715374"/>
                  <a:gd name="connsiteX234" fmla="*/ 516834 w 786911"/>
                  <a:gd name="connsiteY234" fmla="*/ 176330 h 715374"/>
                  <a:gd name="connsiteX235" fmla="*/ 517078 w 786911"/>
                  <a:gd name="connsiteY235" fmla="*/ 168644 h 715374"/>
                  <a:gd name="connsiteX236" fmla="*/ 516834 w 786911"/>
                  <a:gd name="connsiteY236" fmla="*/ 168399 h 715374"/>
                  <a:gd name="connsiteX237" fmla="*/ 550313 w 786911"/>
                  <a:gd name="connsiteY237" fmla="*/ 138067 h 715374"/>
                  <a:gd name="connsiteX238" fmla="*/ 543446 w 786911"/>
                  <a:gd name="connsiteY238" fmla="*/ 138067 h 715374"/>
                  <a:gd name="connsiteX239" fmla="*/ 543303 w 786911"/>
                  <a:gd name="connsiteY239" fmla="*/ 144792 h 715374"/>
                  <a:gd name="connsiteX240" fmla="*/ 550027 w 786911"/>
                  <a:gd name="connsiteY240" fmla="*/ 144935 h 715374"/>
                  <a:gd name="connsiteX241" fmla="*/ 550027 w 786911"/>
                  <a:gd name="connsiteY241" fmla="*/ 138210 h 715374"/>
                  <a:gd name="connsiteX242" fmla="*/ 582505 w 786911"/>
                  <a:gd name="connsiteY242" fmla="*/ 107735 h 715374"/>
                  <a:gd name="connsiteX243" fmla="*/ 576496 w 786911"/>
                  <a:gd name="connsiteY243" fmla="*/ 107735 h 715374"/>
                  <a:gd name="connsiteX244" fmla="*/ 576281 w 786911"/>
                  <a:gd name="connsiteY244" fmla="*/ 113673 h 715374"/>
                  <a:gd name="connsiteX245" fmla="*/ 582219 w 786911"/>
                  <a:gd name="connsiteY245" fmla="*/ 113888 h 715374"/>
                  <a:gd name="connsiteX246" fmla="*/ 582219 w 786911"/>
                  <a:gd name="connsiteY246" fmla="*/ 107878 h 715374"/>
                  <a:gd name="connsiteX247" fmla="*/ 614697 w 786911"/>
                  <a:gd name="connsiteY247" fmla="*/ 77404 h 715374"/>
                  <a:gd name="connsiteX248" fmla="*/ 609639 w 786911"/>
                  <a:gd name="connsiteY248" fmla="*/ 77311 h 715374"/>
                  <a:gd name="connsiteX249" fmla="*/ 609546 w 786911"/>
                  <a:gd name="connsiteY249" fmla="*/ 77404 h 715374"/>
                  <a:gd name="connsiteX250" fmla="*/ 609403 w 786911"/>
                  <a:gd name="connsiteY250" fmla="*/ 82554 h 715374"/>
                  <a:gd name="connsiteX251" fmla="*/ 614554 w 786911"/>
                  <a:gd name="connsiteY251" fmla="*/ 82697 h 715374"/>
                  <a:gd name="connsiteX252" fmla="*/ 614647 w 786911"/>
                  <a:gd name="connsiteY252" fmla="*/ 77640 h 715374"/>
                  <a:gd name="connsiteX253" fmla="*/ 614554 w 786911"/>
                  <a:gd name="connsiteY253" fmla="*/ 77547 h 715374"/>
                  <a:gd name="connsiteX254" fmla="*/ 647032 w 786911"/>
                  <a:gd name="connsiteY254" fmla="*/ 47072 h 715374"/>
                  <a:gd name="connsiteX255" fmla="*/ 642596 w 786911"/>
                  <a:gd name="connsiteY255" fmla="*/ 47072 h 715374"/>
                  <a:gd name="connsiteX256" fmla="*/ 642596 w 786911"/>
                  <a:gd name="connsiteY256" fmla="*/ 51507 h 715374"/>
                  <a:gd name="connsiteX257" fmla="*/ 647032 w 786911"/>
                  <a:gd name="connsiteY257" fmla="*/ 51507 h 715374"/>
                  <a:gd name="connsiteX258" fmla="*/ 647222 w 786911"/>
                  <a:gd name="connsiteY258" fmla="*/ 47262 h 715374"/>
                  <a:gd name="connsiteX259" fmla="*/ 647032 w 786911"/>
                  <a:gd name="connsiteY259" fmla="*/ 47072 h 715374"/>
                  <a:gd name="connsiteX260" fmla="*/ 679796 w 786911"/>
                  <a:gd name="connsiteY260" fmla="*/ 16883 h 715374"/>
                  <a:gd name="connsiteX261" fmla="*/ 676155 w 786911"/>
                  <a:gd name="connsiteY261" fmla="*/ 16819 h 715374"/>
                  <a:gd name="connsiteX262" fmla="*/ 676090 w 786911"/>
                  <a:gd name="connsiteY262" fmla="*/ 20460 h 715374"/>
                  <a:gd name="connsiteX263" fmla="*/ 679732 w 786911"/>
                  <a:gd name="connsiteY263" fmla="*/ 20524 h 715374"/>
                  <a:gd name="connsiteX264" fmla="*/ 679796 w 786911"/>
                  <a:gd name="connsiteY264" fmla="*/ 20460 h 715374"/>
                  <a:gd name="connsiteX265" fmla="*/ 679796 w 786911"/>
                  <a:gd name="connsiteY265" fmla="*/ 16883 h 715374"/>
                  <a:gd name="connsiteX266" fmla="*/ 373902 w 786911"/>
                  <a:gd name="connsiteY266" fmla="*/ 341663 h 715374"/>
                  <a:gd name="connsiteX267" fmla="*/ 362599 w 786911"/>
                  <a:gd name="connsiteY267" fmla="*/ 341663 h 715374"/>
                  <a:gd name="connsiteX268" fmla="*/ 362241 w 786911"/>
                  <a:gd name="connsiteY268" fmla="*/ 353037 h 715374"/>
                  <a:gd name="connsiteX269" fmla="*/ 373616 w 786911"/>
                  <a:gd name="connsiteY269" fmla="*/ 353395 h 715374"/>
                  <a:gd name="connsiteX270" fmla="*/ 373616 w 786911"/>
                  <a:gd name="connsiteY270" fmla="*/ 342092 h 715374"/>
                  <a:gd name="connsiteX271" fmla="*/ 407238 w 786911"/>
                  <a:gd name="connsiteY271" fmla="*/ 311188 h 715374"/>
                  <a:gd name="connsiteX272" fmla="*/ 396651 w 786911"/>
                  <a:gd name="connsiteY272" fmla="*/ 310759 h 715374"/>
                  <a:gd name="connsiteX273" fmla="*/ 396222 w 786911"/>
                  <a:gd name="connsiteY273" fmla="*/ 321346 h 715374"/>
                  <a:gd name="connsiteX274" fmla="*/ 406537 w 786911"/>
                  <a:gd name="connsiteY274" fmla="*/ 321618 h 715374"/>
                  <a:gd name="connsiteX275" fmla="*/ 406809 w 786911"/>
                  <a:gd name="connsiteY275" fmla="*/ 321346 h 715374"/>
                  <a:gd name="connsiteX276" fmla="*/ 406809 w 786911"/>
                  <a:gd name="connsiteY276" fmla="*/ 310759 h 715374"/>
                  <a:gd name="connsiteX277" fmla="*/ 439287 w 786911"/>
                  <a:gd name="connsiteY277" fmla="*/ 280284 h 715374"/>
                  <a:gd name="connsiteX278" fmla="*/ 429577 w 786911"/>
                  <a:gd name="connsiteY278" fmla="*/ 280122 h 715374"/>
                  <a:gd name="connsiteX279" fmla="*/ 429415 w 786911"/>
                  <a:gd name="connsiteY279" fmla="*/ 280284 h 715374"/>
                  <a:gd name="connsiteX280" fmla="*/ 429415 w 786911"/>
                  <a:gd name="connsiteY280" fmla="*/ 290013 h 715374"/>
                  <a:gd name="connsiteX281" fmla="*/ 439126 w 786911"/>
                  <a:gd name="connsiteY281" fmla="*/ 290174 h 715374"/>
                  <a:gd name="connsiteX282" fmla="*/ 439287 w 786911"/>
                  <a:gd name="connsiteY282" fmla="*/ 290013 h 715374"/>
                  <a:gd name="connsiteX283" fmla="*/ 439287 w 786911"/>
                  <a:gd name="connsiteY283" fmla="*/ 280284 h 715374"/>
                  <a:gd name="connsiteX284" fmla="*/ 471765 w 786911"/>
                  <a:gd name="connsiteY284" fmla="*/ 249809 h 715374"/>
                  <a:gd name="connsiteX285" fmla="*/ 462660 w 786911"/>
                  <a:gd name="connsiteY285" fmla="*/ 249717 h 715374"/>
                  <a:gd name="connsiteX286" fmla="*/ 462570 w 786911"/>
                  <a:gd name="connsiteY286" fmla="*/ 258822 h 715374"/>
                  <a:gd name="connsiteX287" fmla="*/ 471674 w 786911"/>
                  <a:gd name="connsiteY287" fmla="*/ 258914 h 715374"/>
                  <a:gd name="connsiteX288" fmla="*/ 471765 w 786911"/>
                  <a:gd name="connsiteY288" fmla="*/ 258822 h 715374"/>
                  <a:gd name="connsiteX289" fmla="*/ 471877 w 786911"/>
                  <a:gd name="connsiteY289" fmla="*/ 249920 h 715374"/>
                  <a:gd name="connsiteX290" fmla="*/ 471765 w 786911"/>
                  <a:gd name="connsiteY290" fmla="*/ 249809 h 715374"/>
                  <a:gd name="connsiteX291" fmla="*/ 504386 w 786911"/>
                  <a:gd name="connsiteY291" fmla="*/ 219334 h 715374"/>
                  <a:gd name="connsiteX292" fmla="*/ 496088 w 786911"/>
                  <a:gd name="connsiteY292" fmla="*/ 219048 h 715374"/>
                  <a:gd name="connsiteX293" fmla="*/ 495802 w 786911"/>
                  <a:gd name="connsiteY293" fmla="*/ 227346 h 715374"/>
                  <a:gd name="connsiteX294" fmla="*/ 504100 w 786911"/>
                  <a:gd name="connsiteY294" fmla="*/ 227632 h 715374"/>
                  <a:gd name="connsiteX295" fmla="*/ 504386 w 786911"/>
                  <a:gd name="connsiteY295" fmla="*/ 219334 h 715374"/>
                  <a:gd name="connsiteX296" fmla="*/ 536006 w 786911"/>
                  <a:gd name="connsiteY296" fmla="*/ 189288 h 715374"/>
                  <a:gd name="connsiteX297" fmla="*/ 528520 w 786911"/>
                  <a:gd name="connsiteY297" fmla="*/ 189241 h 715374"/>
                  <a:gd name="connsiteX298" fmla="*/ 528473 w 786911"/>
                  <a:gd name="connsiteY298" fmla="*/ 196728 h 715374"/>
                  <a:gd name="connsiteX299" fmla="*/ 535959 w 786911"/>
                  <a:gd name="connsiteY299" fmla="*/ 196774 h 715374"/>
                  <a:gd name="connsiteX300" fmla="*/ 536006 w 786911"/>
                  <a:gd name="connsiteY300" fmla="*/ 196728 h 715374"/>
                  <a:gd name="connsiteX301" fmla="*/ 536006 w 786911"/>
                  <a:gd name="connsiteY301" fmla="*/ 189288 h 715374"/>
                  <a:gd name="connsiteX302" fmla="*/ 568484 w 786911"/>
                  <a:gd name="connsiteY302" fmla="*/ 158813 h 715374"/>
                  <a:gd name="connsiteX303" fmla="*/ 561806 w 786911"/>
                  <a:gd name="connsiteY303" fmla="*/ 158860 h 715374"/>
                  <a:gd name="connsiteX304" fmla="*/ 561854 w 786911"/>
                  <a:gd name="connsiteY304" fmla="*/ 165538 h 715374"/>
                  <a:gd name="connsiteX305" fmla="*/ 568484 w 786911"/>
                  <a:gd name="connsiteY305" fmla="*/ 165538 h 715374"/>
                  <a:gd name="connsiteX306" fmla="*/ 568531 w 786911"/>
                  <a:gd name="connsiteY306" fmla="*/ 158860 h 715374"/>
                  <a:gd name="connsiteX307" fmla="*/ 568484 w 786911"/>
                  <a:gd name="connsiteY307" fmla="*/ 158813 h 715374"/>
                  <a:gd name="connsiteX308" fmla="*/ 600962 w 786911"/>
                  <a:gd name="connsiteY308" fmla="*/ 128338 h 715374"/>
                  <a:gd name="connsiteX309" fmla="*/ 595096 w 786911"/>
                  <a:gd name="connsiteY309" fmla="*/ 128338 h 715374"/>
                  <a:gd name="connsiteX310" fmla="*/ 595096 w 786911"/>
                  <a:gd name="connsiteY310" fmla="*/ 134347 h 715374"/>
                  <a:gd name="connsiteX311" fmla="*/ 600962 w 786911"/>
                  <a:gd name="connsiteY311" fmla="*/ 134490 h 715374"/>
                  <a:gd name="connsiteX312" fmla="*/ 601105 w 786911"/>
                  <a:gd name="connsiteY312" fmla="*/ 134347 h 715374"/>
                  <a:gd name="connsiteX313" fmla="*/ 601309 w 786911"/>
                  <a:gd name="connsiteY313" fmla="*/ 128686 h 715374"/>
                  <a:gd name="connsiteX314" fmla="*/ 601105 w 786911"/>
                  <a:gd name="connsiteY314" fmla="*/ 128481 h 715374"/>
                  <a:gd name="connsiteX315" fmla="*/ 633726 w 786911"/>
                  <a:gd name="connsiteY315" fmla="*/ 98006 h 715374"/>
                  <a:gd name="connsiteX316" fmla="*/ 628466 w 786911"/>
                  <a:gd name="connsiteY316" fmla="*/ 97898 h 715374"/>
                  <a:gd name="connsiteX317" fmla="*/ 628358 w 786911"/>
                  <a:gd name="connsiteY317" fmla="*/ 103157 h 715374"/>
                  <a:gd name="connsiteX318" fmla="*/ 633617 w 786911"/>
                  <a:gd name="connsiteY318" fmla="*/ 103266 h 715374"/>
                  <a:gd name="connsiteX319" fmla="*/ 633726 w 786911"/>
                  <a:gd name="connsiteY319" fmla="*/ 103157 h 715374"/>
                  <a:gd name="connsiteX320" fmla="*/ 633726 w 786911"/>
                  <a:gd name="connsiteY320" fmla="*/ 98006 h 715374"/>
                  <a:gd name="connsiteX321" fmla="*/ 666204 w 786911"/>
                  <a:gd name="connsiteY321" fmla="*/ 67531 h 715374"/>
                  <a:gd name="connsiteX322" fmla="*/ 661959 w 786911"/>
                  <a:gd name="connsiteY322" fmla="*/ 67341 h 715374"/>
                  <a:gd name="connsiteX323" fmla="*/ 661769 w 786911"/>
                  <a:gd name="connsiteY323" fmla="*/ 67531 h 715374"/>
                  <a:gd name="connsiteX324" fmla="*/ 661769 w 786911"/>
                  <a:gd name="connsiteY324" fmla="*/ 71967 h 715374"/>
                  <a:gd name="connsiteX325" fmla="*/ 666204 w 786911"/>
                  <a:gd name="connsiteY325" fmla="*/ 71967 h 715374"/>
                  <a:gd name="connsiteX326" fmla="*/ 666204 w 786911"/>
                  <a:gd name="connsiteY326" fmla="*/ 67531 h 715374"/>
                  <a:gd name="connsiteX327" fmla="*/ 699111 w 786911"/>
                  <a:gd name="connsiteY327" fmla="*/ 36913 h 715374"/>
                  <a:gd name="connsiteX328" fmla="*/ 695470 w 786911"/>
                  <a:gd name="connsiteY328" fmla="*/ 36849 h 715374"/>
                  <a:gd name="connsiteX329" fmla="*/ 695405 w 786911"/>
                  <a:gd name="connsiteY329" fmla="*/ 40490 h 715374"/>
                  <a:gd name="connsiteX330" fmla="*/ 699047 w 786911"/>
                  <a:gd name="connsiteY330" fmla="*/ 40555 h 715374"/>
                  <a:gd name="connsiteX331" fmla="*/ 699111 w 786911"/>
                  <a:gd name="connsiteY331" fmla="*/ 40490 h 715374"/>
                  <a:gd name="connsiteX332" fmla="*/ 699251 w 786911"/>
                  <a:gd name="connsiteY332" fmla="*/ 37054 h 715374"/>
                  <a:gd name="connsiteX333" fmla="*/ 699111 w 786911"/>
                  <a:gd name="connsiteY333" fmla="*/ 36913 h 715374"/>
                  <a:gd name="connsiteX334" fmla="*/ 392931 w 786911"/>
                  <a:gd name="connsiteY334" fmla="*/ 362409 h 715374"/>
                  <a:gd name="connsiteX335" fmla="*/ 381599 w 786911"/>
                  <a:gd name="connsiteY335" fmla="*/ 362380 h 715374"/>
                  <a:gd name="connsiteX336" fmla="*/ 381572 w 786911"/>
                  <a:gd name="connsiteY336" fmla="*/ 373711 h 715374"/>
                  <a:gd name="connsiteX337" fmla="*/ 392902 w 786911"/>
                  <a:gd name="connsiteY337" fmla="*/ 373740 h 715374"/>
                  <a:gd name="connsiteX338" fmla="*/ 392931 w 786911"/>
                  <a:gd name="connsiteY338" fmla="*/ 373711 h 715374"/>
                  <a:gd name="connsiteX339" fmla="*/ 392931 w 786911"/>
                  <a:gd name="connsiteY339" fmla="*/ 362409 h 715374"/>
                  <a:gd name="connsiteX340" fmla="*/ 425838 w 786911"/>
                  <a:gd name="connsiteY340" fmla="*/ 331647 h 715374"/>
                  <a:gd name="connsiteX341" fmla="*/ 415322 w 786911"/>
                  <a:gd name="connsiteY341" fmla="*/ 331290 h 715374"/>
                  <a:gd name="connsiteX342" fmla="*/ 414965 w 786911"/>
                  <a:gd name="connsiteY342" fmla="*/ 341806 h 715374"/>
                  <a:gd name="connsiteX343" fmla="*/ 425552 w 786911"/>
                  <a:gd name="connsiteY343" fmla="*/ 341806 h 715374"/>
                  <a:gd name="connsiteX344" fmla="*/ 425618 w 786911"/>
                  <a:gd name="connsiteY344" fmla="*/ 331284 h 715374"/>
                  <a:gd name="connsiteX345" fmla="*/ 425552 w 786911"/>
                  <a:gd name="connsiteY345" fmla="*/ 331218 h 715374"/>
                  <a:gd name="connsiteX346" fmla="*/ 458173 w 786911"/>
                  <a:gd name="connsiteY346" fmla="*/ 300743 h 715374"/>
                  <a:gd name="connsiteX347" fmla="*/ 448461 w 786911"/>
                  <a:gd name="connsiteY347" fmla="*/ 300761 h 715374"/>
                  <a:gd name="connsiteX348" fmla="*/ 448478 w 786911"/>
                  <a:gd name="connsiteY348" fmla="*/ 310472 h 715374"/>
                  <a:gd name="connsiteX349" fmla="*/ 458173 w 786911"/>
                  <a:gd name="connsiteY349" fmla="*/ 310472 h 715374"/>
                  <a:gd name="connsiteX350" fmla="*/ 458190 w 786911"/>
                  <a:gd name="connsiteY350" fmla="*/ 300761 h 715374"/>
                  <a:gd name="connsiteX351" fmla="*/ 458173 w 786911"/>
                  <a:gd name="connsiteY351" fmla="*/ 300743 h 715374"/>
                  <a:gd name="connsiteX352" fmla="*/ 490651 w 786911"/>
                  <a:gd name="connsiteY352" fmla="*/ 270268 h 715374"/>
                  <a:gd name="connsiteX353" fmla="*/ 481677 w 786911"/>
                  <a:gd name="connsiteY353" fmla="*/ 268727 h 715374"/>
                  <a:gd name="connsiteX354" fmla="*/ 480137 w 786911"/>
                  <a:gd name="connsiteY354" fmla="*/ 277701 h 715374"/>
                  <a:gd name="connsiteX355" fmla="*/ 481351 w 786911"/>
                  <a:gd name="connsiteY355" fmla="*/ 278996 h 715374"/>
                  <a:gd name="connsiteX356" fmla="*/ 490405 w 786911"/>
                  <a:gd name="connsiteY356" fmla="*/ 278027 h 715374"/>
                  <a:gd name="connsiteX357" fmla="*/ 490651 w 786911"/>
                  <a:gd name="connsiteY357" fmla="*/ 270268 h 715374"/>
                  <a:gd name="connsiteX358" fmla="*/ 523129 w 786911"/>
                  <a:gd name="connsiteY358" fmla="*/ 239650 h 715374"/>
                  <a:gd name="connsiteX359" fmla="*/ 514831 w 786911"/>
                  <a:gd name="connsiteY359" fmla="*/ 239364 h 715374"/>
                  <a:gd name="connsiteX360" fmla="*/ 514545 w 786911"/>
                  <a:gd name="connsiteY360" fmla="*/ 247663 h 715374"/>
                  <a:gd name="connsiteX361" fmla="*/ 522843 w 786911"/>
                  <a:gd name="connsiteY361" fmla="*/ 247949 h 715374"/>
                  <a:gd name="connsiteX362" fmla="*/ 523129 w 786911"/>
                  <a:gd name="connsiteY362" fmla="*/ 239650 h 715374"/>
                  <a:gd name="connsiteX363" fmla="*/ 555607 w 786911"/>
                  <a:gd name="connsiteY363" fmla="*/ 209175 h 715374"/>
                  <a:gd name="connsiteX364" fmla="*/ 548096 w 786911"/>
                  <a:gd name="connsiteY364" fmla="*/ 208961 h 715374"/>
                  <a:gd name="connsiteX365" fmla="*/ 547881 w 786911"/>
                  <a:gd name="connsiteY365" fmla="*/ 216472 h 715374"/>
                  <a:gd name="connsiteX366" fmla="*/ 555392 w 786911"/>
                  <a:gd name="connsiteY366" fmla="*/ 216687 h 715374"/>
                  <a:gd name="connsiteX367" fmla="*/ 555607 w 786911"/>
                  <a:gd name="connsiteY367" fmla="*/ 209175 h 715374"/>
                  <a:gd name="connsiteX368" fmla="*/ 588228 w 786911"/>
                  <a:gd name="connsiteY368" fmla="*/ 178701 h 715374"/>
                  <a:gd name="connsiteX369" fmla="*/ 581350 w 786911"/>
                  <a:gd name="connsiteY369" fmla="*/ 178547 h 715374"/>
                  <a:gd name="connsiteX370" fmla="*/ 581197 w 786911"/>
                  <a:gd name="connsiteY370" fmla="*/ 185425 h 715374"/>
                  <a:gd name="connsiteX371" fmla="*/ 588075 w 786911"/>
                  <a:gd name="connsiteY371" fmla="*/ 185578 h 715374"/>
                  <a:gd name="connsiteX372" fmla="*/ 588228 w 786911"/>
                  <a:gd name="connsiteY372" fmla="*/ 185425 h 715374"/>
                  <a:gd name="connsiteX373" fmla="*/ 588275 w 786911"/>
                  <a:gd name="connsiteY373" fmla="*/ 178748 h 715374"/>
                  <a:gd name="connsiteX374" fmla="*/ 588228 w 786911"/>
                  <a:gd name="connsiteY374" fmla="*/ 178701 h 715374"/>
                  <a:gd name="connsiteX375" fmla="*/ 620706 w 786911"/>
                  <a:gd name="connsiteY375" fmla="*/ 148226 h 715374"/>
                  <a:gd name="connsiteX376" fmla="*/ 614637 w 786911"/>
                  <a:gd name="connsiteY376" fmla="*/ 148165 h 715374"/>
                  <a:gd name="connsiteX377" fmla="*/ 614575 w 786911"/>
                  <a:gd name="connsiteY377" fmla="*/ 154235 h 715374"/>
                  <a:gd name="connsiteX378" fmla="*/ 620646 w 786911"/>
                  <a:gd name="connsiteY378" fmla="*/ 154295 h 715374"/>
                  <a:gd name="connsiteX379" fmla="*/ 620706 w 786911"/>
                  <a:gd name="connsiteY379" fmla="*/ 154235 h 715374"/>
                  <a:gd name="connsiteX380" fmla="*/ 620706 w 786911"/>
                  <a:gd name="connsiteY380" fmla="*/ 148226 h 715374"/>
                  <a:gd name="connsiteX381" fmla="*/ 653184 w 786911"/>
                  <a:gd name="connsiteY381" fmla="*/ 117751 h 715374"/>
                  <a:gd name="connsiteX382" fmla="*/ 648132 w 786911"/>
                  <a:gd name="connsiteY382" fmla="*/ 117991 h 715374"/>
                  <a:gd name="connsiteX383" fmla="*/ 648372 w 786911"/>
                  <a:gd name="connsiteY383" fmla="*/ 123044 h 715374"/>
                  <a:gd name="connsiteX384" fmla="*/ 653184 w 786911"/>
                  <a:gd name="connsiteY384" fmla="*/ 123044 h 715374"/>
                  <a:gd name="connsiteX385" fmla="*/ 653184 w 786911"/>
                  <a:gd name="connsiteY385" fmla="*/ 117751 h 715374"/>
                  <a:gd name="connsiteX386" fmla="*/ 686091 w 786911"/>
                  <a:gd name="connsiteY386" fmla="*/ 88420 h 715374"/>
                  <a:gd name="connsiteX387" fmla="*/ 681656 w 786911"/>
                  <a:gd name="connsiteY387" fmla="*/ 88420 h 715374"/>
                  <a:gd name="connsiteX388" fmla="*/ 681466 w 786911"/>
                  <a:gd name="connsiteY388" fmla="*/ 92665 h 715374"/>
                  <a:gd name="connsiteX389" fmla="*/ 681656 w 786911"/>
                  <a:gd name="connsiteY389" fmla="*/ 92856 h 715374"/>
                  <a:gd name="connsiteX390" fmla="*/ 686091 w 786911"/>
                  <a:gd name="connsiteY390" fmla="*/ 92856 h 715374"/>
                  <a:gd name="connsiteX391" fmla="*/ 686091 w 786911"/>
                  <a:gd name="connsiteY391" fmla="*/ 88420 h 715374"/>
                  <a:gd name="connsiteX392" fmla="*/ 718569 w 786911"/>
                  <a:gd name="connsiteY392" fmla="*/ 57945 h 715374"/>
                  <a:gd name="connsiteX393" fmla="*/ 714849 w 786911"/>
                  <a:gd name="connsiteY393" fmla="*/ 57945 h 715374"/>
                  <a:gd name="connsiteX394" fmla="*/ 714849 w 786911"/>
                  <a:gd name="connsiteY394" fmla="*/ 61665 h 715374"/>
                  <a:gd name="connsiteX395" fmla="*/ 718569 w 786911"/>
                  <a:gd name="connsiteY395" fmla="*/ 61808 h 715374"/>
                  <a:gd name="connsiteX396" fmla="*/ 718712 w 786911"/>
                  <a:gd name="connsiteY396" fmla="*/ 58088 h 715374"/>
                  <a:gd name="connsiteX397" fmla="*/ 367750 w 786911"/>
                  <a:gd name="connsiteY397" fmla="*/ 425218 h 715374"/>
                  <a:gd name="connsiteX398" fmla="*/ 379081 w 786911"/>
                  <a:gd name="connsiteY398" fmla="*/ 425247 h 715374"/>
                  <a:gd name="connsiteX399" fmla="*/ 379109 w 786911"/>
                  <a:gd name="connsiteY399" fmla="*/ 413915 h 715374"/>
                  <a:gd name="connsiteX400" fmla="*/ 367778 w 786911"/>
                  <a:gd name="connsiteY400" fmla="*/ 413887 h 715374"/>
                  <a:gd name="connsiteX401" fmla="*/ 367750 w 786911"/>
                  <a:gd name="connsiteY401" fmla="*/ 413915 h 715374"/>
                  <a:gd name="connsiteX402" fmla="*/ 367750 w 786911"/>
                  <a:gd name="connsiteY402" fmla="*/ 425218 h 715374"/>
                  <a:gd name="connsiteX403" fmla="*/ 335701 w 786911"/>
                  <a:gd name="connsiteY403" fmla="*/ 455693 h 715374"/>
                  <a:gd name="connsiteX404" fmla="*/ 346217 w 786911"/>
                  <a:gd name="connsiteY404" fmla="*/ 456051 h 715374"/>
                  <a:gd name="connsiteX405" fmla="*/ 346575 w 786911"/>
                  <a:gd name="connsiteY405" fmla="*/ 445535 h 715374"/>
                  <a:gd name="connsiteX406" fmla="*/ 335987 w 786911"/>
                  <a:gd name="connsiteY406" fmla="*/ 445535 h 715374"/>
                  <a:gd name="connsiteX407" fmla="*/ 335921 w 786911"/>
                  <a:gd name="connsiteY407" fmla="*/ 456057 h 715374"/>
                  <a:gd name="connsiteX408" fmla="*/ 335987 w 786911"/>
                  <a:gd name="connsiteY408" fmla="*/ 456123 h 715374"/>
                  <a:gd name="connsiteX409" fmla="*/ 302651 w 786911"/>
                  <a:gd name="connsiteY409" fmla="*/ 486168 h 715374"/>
                  <a:gd name="connsiteX410" fmla="*/ 312523 w 786911"/>
                  <a:gd name="connsiteY410" fmla="*/ 486168 h 715374"/>
                  <a:gd name="connsiteX411" fmla="*/ 312523 w 786911"/>
                  <a:gd name="connsiteY411" fmla="*/ 476296 h 715374"/>
                  <a:gd name="connsiteX412" fmla="*/ 302794 w 786911"/>
                  <a:gd name="connsiteY412" fmla="*/ 476296 h 715374"/>
                  <a:gd name="connsiteX413" fmla="*/ 302777 w 786911"/>
                  <a:gd name="connsiteY413" fmla="*/ 486008 h 715374"/>
                  <a:gd name="connsiteX414" fmla="*/ 302794 w 786911"/>
                  <a:gd name="connsiteY414" fmla="*/ 486025 h 715374"/>
                  <a:gd name="connsiteX415" fmla="*/ 270316 w 786911"/>
                  <a:gd name="connsiteY415" fmla="*/ 516500 h 715374"/>
                  <a:gd name="connsiteX416" fmla="*/ 279290 w 786911"/>
                  <a:gd name="connsiteY416" fmla="*/ 518041 h 715374"/>
                  <a:gd name="connsiteX417" fmla="*/ 280830 w 786911"/>
                  <a:gd name="connsiteY417" fmla="*/ 509067 h 715374"/>
                  <a:gd name="connsiteX418" fmla="*/ 279616 w 786911"/>
                  <a:gd name="connsiteY418" fmla="*/ 507773 h 715374"/>
                  <a:gd name="connsiteX419" fmla="*/ 270642 w 786911"/>
                  <a:gd name="connsiteY419" fmla="*/ 506232 h 715374"/>
                  <a:gd name="connsiteX420" fmla="*/ 269101 w 786911"/>
                  <a:gd name="connsiteY420" fmla="*/ 515205 h 715374"/>
                  <a:gd name="connsiteX421" fmla="*/ 270316 w 786911"/>
                  <a:gd name="connsiteY421" fmla="*/ 516500 h 715374"/>
                  <a:gd name="connsiteX422" fmla="*/ 237838 w 786911"/>
                  <a:gd name="connsiteY422" fmla="*/ 547118 h 715374"/>
                  <a:gd name="connsiteX423" fmla="*/ 246136 w 786911"/>
                  <a:gd name="connsiteY423" fmla="*/ 547404 h 715374"/>
                  <a:gd name="connsiteX424" fmla="*/ 246422 w 786911"/>
                  <a:gd name="connsiteY424" fmla="*/ 539106 h 715374"/>
                  <a:gd name="connsiteX425" fmla="*/ 238124 w 786911"/>
                  <a:gd name="connsiteY425" fmla="*/ 538820 h 715374"/>
                  <a:gd name="connsiteX426" fmla="*/ 237838 w 786911"/>
                  <a:gd name="connsiteY426" fmla="*/ 547118 h 715374"/>
                  <a:gd name="connsiteX427" fmla="*/ 205217 w 786911"/>
                  <a:gd name="connsiteY427" fmla="*/ 577736 h 715374"/>
                  <a:gd name="connsiteX428" fmla="*/ 212728 w 786911"/>
                  <a:gd name="connsiteY428" fmla="*/ 577951 h 715374"/>
                  <a:gd name="connsiteX429" fmla="*/ 212943 w 786911"/>
                  <a:gd name="connsiteY429" fmla="*/ 570439 h 715374"/>
                  <a:gd name="connsiteX430" fmla="*/ 205431 w 786911"/>
                  <a:gd name="connsiteY430" fmla="*/ 570225 h 715374"/>
                  <a:gd name="connsiteX431" fmla="*/ 205217 w 786911"/>
                  <a:gd name="connsiteY431" fmla="*/ 577736 h 715374"/>
                  <a:gd name="connsiteX432" fmla="*/ 172596 w 786911"/>
                  <a:gd name="connsiteY432" fmla="*/ 608211 h 715374"/>
                  <a:gd name="connsiteX433" fmla="*/ 179473 w 786911"/>
                  <a:gd name="connsiteY433" fmla="*/ 608364 h 715374"/>
                  <a:gd name="connsiteX434" fmla="*/ 179626 w 786911"/>
                  <a:gd name="connsiteY434" fmla="*/ 601487 h 715374"/>
                  <a:gd name="connsiteX435" fmla="*/ 172749 w 786911"/>
                  <a:gd name="connsiteY435" fmla="*/ 601333 h 715374"/>
                  <a:gd name="connsiteX436" fmla="*/ 172596 w 786911"/>
                  <a:gd name="connsiteY436" fmla="*/ 601487 h 715374"/>
                  <a:gd name="connsiteX437" fmla="*/ 172549 w 786911"/>
                  <a:gd name="connsiteY437" fmla="*/ 608164 h 715374"/>
                  <a:gd name="connsiteX438" fmla="*/ 172596 w 786911"/>
                  <a:gd name="connsiteY438" fmla="*/ 608211 h 715374"/>
                  <a:gd name="connsiteX439" fmla="*/ 140118 w 786911"/>
                  <a:gd name="connsiteY439" fmla="*/ 638686 h 715374"/>
                  <a:gd name="connsiteX440" fmla="*/ 146187 w 786911"/>
                  <a:gd name="connsiteY440" fmla="*/ 638746 h 715374"/>
                  <a:gd name="connsiteX441" fmla="*/ 146249 w 786911"/>
                  <a:gd name="connsiteY441" fmla="*/ 632677 h 715374"/>
                  <a:gd name="connsiteX442" fmla="*/ 140178 w 786911"/>
                  <a:gd name="connsiteY442" fmla="*/ 632617 h 715374"/>
                  <a:gd name="connsiteX443" fmla="*/ 140118 w 786911"/>
                  <a:gd name="connsiteY443" fmla="*/ 632677 h 715374"/>
                  <a:gd name="connsiteX444" fmla="*/ 140118 w 786911"/>
                  <a:gd name="connsiteY444" fmla="*/ 638686 h 715374"/>
                  <a:gd name="connsiteX445" fmla="*/ 107640 w 786911"/>
                  <a:gd name="connsiteY445" fmla="*/ 669161 h 715374"/>
                  <a:gd name="connsiteX446" fmla="*/ 112693 w 786911"/>
                  <a:gd name="connsiteY446" fmla="*/ 668921 h 715374"/>
                  <a:gd name="connsiteX447" fmla="*/ 112451 w 786911"/>
                  <a:gd name="connsiteY447" fmla="*/ 663867 h 715374"/>
                  <a:gd name="connsiteX448" fmla="*/ 107640 w 786911"/>
                  <a:gd name="connsiteY448" fmla="*/ 663867 h 715374"/>
                  <a:gd name="connsiteX449" fmla="*/ 107640 w 786911"/>
                  <a:gd name="connsiteY449" fmla="*/ 669161 h 715374"/>
                  <a:gd name="connsiteX450" fmla="*/ 387208 w 786911"/>
                  <a:gd name="connsiteY450" fmla="*/ 446107 h 715374"/>
                  <a:gd name="connsiteX451" fmla="*/ 398511 w 786911"/>
                  <a:gd name="connsiteY451" fmla="*/ 446107 h 715374"/>
                  <a:gd name="connsiteX452" fmla="*/ 398511 w 786911"/>
                  <a:gd name="connsiteY452" fmla="*/ 434661 h 715374"/>
                  <a:gd name="connsiteX453" fmla="*/ 387208 w 786911"/>
                  <a:gd name="connsiteY453" fmla="*/ 434661 h 715374"/>
                  <a:gd name="connsiteX454" fmla="*/ 387032 w 786911"/>
                  <a:gd name="connsiteY454" fmla="*/ 445788 h 715374"/>
                  <a:gd name="connsiteX455" fmla="*/ 387208 w 786911"/>
                  <a:gd name="connsiteY455" fmla="*/ 445964 h 715374"/>
                  <a:gd name="connsiteX456" fmla="*/ 354587 w 786911"/>
                  <a:gd name="connsiteY456" fmla="*/ 476439 h 715374"/>
                  <a:gd name="connsiteX457" fmla="*/ 365109 w 786911"/>
                  <a:gd name="connsiteY457" fmla="*/ 476505 h 715374"/>
                  <a:gd name="connsiteX458" fmla="*/ 365174 w 786911"/>
                  <a:gd name="connsiteY458" fmla="*/ 476439 h 715374"/>
                  <a:gd name="connsiteX459" fmla="*/ 365174 w 786911"/>
                  <a:gd name="connsiteY459" fmla="*/ 465852 h 715374"/>
                  <a:gd name="connsiteX460" fmla="*/ 354478 w 786911"/>
                  <a:gd name="connsiteY460" fmla="*/ 466616 h 715374"/>
                  <a:gd name="connsiteX461" fmla="*/ 354158 w 786911"/>
                  <a:gd name="connsiteY461" fmla="*/ 476153 h 715374"/>
                  <a:gd name="connsiteX462" fmla="*/ 321680 w 786911"/>
                  <a:gd name="connsiteY462" fmla="*/ 506628 h 715374"/>
                  <a:gd name="connsiteX463" fmla="*/ 331390 w 786911"/>
                  <a:gd name="connsiteY463" fmla="*/ 506790 h 715374"/>
                  <a:gd name="connsiteX464" fmla="*/ 331552 w 786911"/>
                  <a:gd name="connsiteY464" fmla="*/ 506628 h 715374"/>
                  <a:gd name="connsiteX465" fmla="*/ 330968 w 786911"/>
                  <a:gd name="connsiteY465" fmla="*/ 496730 h 715374"/>
                  <a:gd name="connsiteX466" fmla="*/ 321966 w 786911"/>
                  <a:gd name="connsiteY466" fmla="*/ 496470 h 715374"/>
                  <a:gd name="connsiteX467" fmla="*/ 321966 w 786911"/>
                  <a:gd name="connsiteY467" fmla="*/ 506342 h 715374"/>
                  <a:gd name="connsiteX468" fmla="*/ 289488 w 786911"/>
                  <a:gd name="connsiteY468" fmla="*/ 536817 h 715374"/>
                  <a:gd name="connsiteX469" fmla="*/ 298593 w 786911"/>
                  <a:gd name="connsiteY469" fmla="*/ 536908 h 715374"/>
                  <a:gd name="connsiteX470" fmla="*/ 298683 w 786911"/>
                  <a:gd name="connsiteY470" fmla="*/ 527803 h 715374"/>
                  <a:gd name="connsiteX471" fmla="*/ 289579 w 786911"/>
                  <a:gd name="connsiteY471" fmla="*/ 527711 h 715374"/>
                  <a:gd name="connsiteX472" fmla="*/ 289488 w 786911"/>
                  <a:gd name="connsiteY472" fmla="*/ 527803 h 715374"/>
                  <a:gd name="connsiteX473" fmla="*/ 289376 w 786911"/>
                  <a:gd name="connsiteY473" fmla="*/ 536705 h 715374"/>
                  <a:gd name="connsiteX474" fmla="*/ 289488 w 786911"/>
                  <a:gd name="connsiteY474" fmla="*/ 536817 h 715374"/>
                  <a:gd name="connsiteX475" fmla="*/ 257010 w 786911"/>
                  <a:gd name="connsiteY475" fmla="*/ 567864 h 715374"/>
                  <a:gd name="connsiteX476" fmla="*/ 265305 w 786911"/>
                  <a:gd name="connsiteY476" fmla="*/ 567867 h 715374"/>
                  <a:gd name="connsiteX477" fmla="*/ 265308 w 786911"/>
                  <a:gd name="connsiteY477" fmla="*/ 567864 h 715374"/>
                  <a:gd name="connsiteX478" fmla="*/ 265516 w 786911"/>
                  <a:gd name="connsiteY478" fmla="*/ 559773 h 715374"/>
                  <a:gd name="connsiteX479" fmla="*/ 265308 w 786911"/>
                  <a:gd name="connsiteY479" fmla="*/ 559566 h 715374"/>
                  <a:gd name="connsiteX480" fmla="*/ 257010 w 786911"/>
                  <a:gd name="connsiteY480" fmla="*/ 559279 h 715374"/>
                  <a:gd name="connsiteX481" fmla="*/ 256724 w 786911"/>
                  <a:gd name="connsiteY481" fmla="*/ 567578 h 715374"/>
                  <a:gd name="connsiteX482" fmla="*/ 224246 w 786911"/>
                  <a:gd name="connsiteY482" fmla="*/ 598053 h 715374"/>
                  <a:gd name="connsiteX483" fmla="*/ 231731 w 786911"/>
                  <a:gd name="connsiteY483" fmla="*/ 598100 h 715374"/>
                  <a:gd name="connsiteX484" fmla="*/ 231779 w 786911"/>
                  <a:gd name="connsiteY484" fmla="*/ 590613 h 715374"/>
                  <a:gd name="connsiteX485" fmla="*/ 224292 w 786911"/>
                  <a:gd name="connsiteY485" fmla="*/ 590567 h 715374"/>
                  <a:gd name="connsiteX486" fmla="*/ 224246 w 786911"/>
                  <a:gd name="connsiteY486" fmla="*/ 590613 h 715374"/>
                  <a:gd name="connsiteX487" fmla="*/ 224246 w 786911"/>
                  <a:gd name="connsiteY487" fmla="*/ 598053 h 715374"/>
                  <a:gd name="connsiteX488" fmla="*/ 192626 w 786911"/>
                  <a:gd name="connsiteY488" fmla="*/ 628814 h 715374"/>
                  <a:gd name="connsiteX489" fmla="*/ 199304 w 786911"/>
                  <a:gd name="connsiteY489" fmla="*/ 628767 h 715374"/>
                  <a:gd name="connsiteX490" fmla="*/ 199256 w 786911"/>
                  <a:gd name="connsiteY490" fmla="*/ 622089 h 715374"/>
                  <a:gd name="connsiteX491" fmla="*/ 192626 w 786911"/>
                  <a:gd name="connsiteY491" fmla="*/ 622089 h 715374"/>
                  <a:gd name="connsiteX492" fmla="*/ 192579 w 786911"/>
                  <a:gd name="connsiteY492" fmla="*/ 628767 h 715374"/>
                  <a:gd name="connsiteX493" fmla="*/ 192626 w 786911"/>
                  <a:gd name="connsiteY493" fmla="*/ 628814 h 715374"/>
                  <a:gd name="connsiteX494" fmla="*/ 159576 w 786911"/>
                  <a:gd name="connsiteY494" fmla="*/ 659289 h 715374"/>
                  <a:gd name="connsiteX495" fmla="*/ 165442 w 786911"/>
                  <a:gd name="connsiteY495" fmla="*/ 659289 h 715374"/>
                  <a:gd name="connsiteX496" fmla="*/ 165442 w 786911"/>
                  <a:gd name="connsiteY496" fmla="*/ 653280 h 715374"/>
                  <a:gd name="connsiteX497" fmla="*/ 159576 w 786911"/>
                  <a:gd name="connsiteY497" fmla="*/ 653137 h 715374"/>
                  <a:gd name="connsiteX498" fmla="*/ 159433 w 786911"/>
                  <a:gd name="connsiteY498" fmla="*/ 653280 h 715374"/>
                  <a:gd name="connsiteX499" fmla="*/ 159228 w 786911"/>
                  <a:gd name="connsiteY499" fmla="*/ 658941 h 715374"/>
                  <a:gd name="connsiteX500" fmla="*/ 159433 w 786911"/>
                  <a:gd name="connsiteY500" fmla="*/ 659146 h 715374"/>
                  <a:gd name="connsiteX501" fmla="*/ 126955 w 786911"/>
                  <a:gd name="connsiteY501" fmla="*/ 689334 h 715374"/>
                  <a:gd name="connsiteX502" fmla="*/ 132214 w 786911"/>
                  <a:gd name="connsiteY502" fmla="*/ 689443 h 715374"/>
                  <a:gd name="connsiteX503" fmla="*/ 132323 w 786911"/>
                  <a:gd name="connsiteY503" fmla="*/ 684184 h 715374"/>
                  <a:gd name="connsiteX504" fmla="*/ 127064 w 786911"/>
                  <a:gd name="connsiteY504" fmla="*/ 684075 h 715374"/>
                  <a:gd name="connsiteX505" fmla="*/ 126955 w 786911"/>
                  <a:gd name="connsiteY505" fmla="*/ 684184 h 715374"/>
                  <a:gd name="connsiteX506" fmla="*/ 126955 w 786911"/>
                  <a:gd name="connsiteY506" fmla="*/ 689334 h 715374"/>
                  <a:gd name="connsiteX507" fmla="*/ 407238 w 786911"/>
                  <a:gd name="connsiteY507" fmla="*/ 466710 h 715374"/>
                  <a:gd name="connsiteX508" fmla="*/ 418541 w 786911"/>
                  <a:gd name="connsiteY508" fmla="*/ 466710 h 715374"/>
                  <a:gd name="connsiteX509" fmla="*/ 418300 w 786911"/>
                  <a:gd name="connsiteY509" fmla="*/ 455381 h 715374"/>
                  <a:gd name="connsiteX510" fmla="*/ 407668 w 786911"/>
                  <a:gd name="connsiteY510" fmla="*/ 454978 h 715374"/>
                  <a:gd name="connsiteX511" fmla="*/ 407668 w 786911"/>
                  <a:gd name="connsiteY511" fmla="*/ 466424 h 715374"/>
                  <a:gd name="connsiteX512" fmla="*/ 375190 w 786911"/>
                  <a:gd name="connsiteY512" fmla="*/ 496899 h 715374"/>
                  <a:gd name="connsiteX513" fmla="*/ 385711 w 786911"/>
                  <a:gd name="connsiteY513" fmla="*/ 496833 h 715374"/>
                  <a:gd name="connsiteX514" fmla="*/ 385646 w 786911"/>
                  <a:gd name="connsiteY514" fmla="*/ 486311 h 715374"/>
                  <a:gd name="connsiteX515" fmla="*/ 375190 w 786911"/>
                  <a:gd name="connsiteY515" fmla="*/ 486311 h 715374"/>
                  <a:gd name="connsiteX516" fmla="*/ 375124 w 786911"/>
                  <a:gd name="connsiteY516" fmla="*/ 496833 h 715374"/>
                  <a:gd name="connsiteX517" fmla="*/ 375190 w 786911"/>
                  <a:gd name="connsiteY517" fmla="*/ 496899 h 715374"/>
                  <a:gd name="connsiteX518" fmla="*/ 341567 w 786911"/>
                  <a:gd name="connsiteY518" fmla="*/ 527660 h 715374"/>
                  <a:gd name="connsiteX519" fmla="*/ 351296 w 786911"/>
                  <a:gd name="connsiteY519" fmla="*/ 527660 h 715374"/>
                  <a:gd name="connsiteX520" fmla="*/ 351458 w 786911"/>
                  <a:gd name="connsiteY520" fmla="*/ 517949 h 715374"/>
                  <a:gd name="connsiteX521" fmla="*/ 351296 w 786911"/>
                  <a:gd name="connsiteY521" fmla="*/ 517788 h 715374"/>
                  <a:gd name="connsiteX522" fmla="*/ 341567 w 786911"/>
                  <a:gd name="connsiteY522" fmla="*/ 517788 h 715374"/>
                  <a:gd name="connsiteX523" fmla="*/ 341405 w 786911"/>
                  <a:gd name="connsiteY523" fmla="*/ 527498 h 715374"/>
                  <a:gd name="connsiteX524" fmla="*/ 341567 w 786911"/>
                  <a:gd name="connsiteY524" fmla="*/ 527660 h 715374"/>
                  <a:gd name="connsiteX525" fmla="*/ 308946 w 786911"/>
                  <a:gd name="connsiteY525" fmla="*/ 558135 h 715374"/>
                  <a:gd name="connsiteX526" fmla="*/ 317848 w 786911"/>
                  <a:gd name="connsiteY526" fmla="*/ 558246 h 715374"/>
                  <a:gd name="connsiteX527" fmla="*/ 317960 w 786911"/>
                  <a:gd name="connsiteY527" fmla="*/ 558135 h 715374"/>
                  <a:gd name="connsiteX528" fmla="*/ 319501 w 786911"/>
                  <a:gd name="connsiteY528" fmla="*/ 549161 h 715374"/>
                  <a:gd name="connsiteX529" fmla="*/ 310527 w 786911"/>
                  <a:gd name="connsiteY529" fmla="*/ 547620 h 715374"/>
                  <a:gd name="connsiteX530" fmla="*/ 309232 w 786911"/>
                  <a:gd name="connsiteY530" fmla="*/ 548835 h 715374"/>
                  <a:gd name="connsiteX531" fmla="*/ 309121 w 786911"/>
                  <a:gd name="connsiteY531" fmla="*/ 557737 h 715374"/>
                  <a:gd name="connsiteX532" fmla="*/ 309232 w 786911"/>
                  <a:gd name="connsiteY532" fmla="*/ 557849 h 715374"/>
                  <a:gd name="connsiteX533" fmla="*/ 276468 w 786911"/>
                  <a:gd name="connsiteY533" fmla="*/ 589182 h 715374"/>
                  <a:gd name="connsiteX534" fmla="*/ 284766 w 786911"/>
                  <a:gd name="connsiteY534" fmla="*/ 589468 h 715374"/>
                  <a:gd name="connsiteX535" fmla="*/ 285053 w 786911"/>
                  <a:gd name="connsiteY535" fmla="*/ 581170 h 715374"/>
                  <a:gd name="connsiteX536" fmla="*/ 276754 w 786911"/>
                  <a:gd name="connsiteY536" fmla="*/ 580884 h 715374"/>
                  <a:gd name="connsiteX537" fmla="*/ 276468 w 786911"/>
                  <a:gd name="connsiteY537" fmla="*/ 589182 h 715374"/>
                  <a:gd name="connsiteX538" fmla="*/ 243990 w 786911"/>
                  <a:gd name="connsiteY538" fmla="*/ 619657 h 715374"/>
                  <a:gd name="connsiteX539" fmla="*/ 251430 w 786911"/>
                  <a:gd name="connsiteY539" fmla="*/ 619657 h 715374"/>
                  <a:gd name="connsiteX540" fmla="*/ 251675 w 786911"/>
                  <a:gd name="connsiteY540" fmla="*/ 611973 h 715374"/>
                  <a:gd name="connsiteX541" fmla="*/ 243990 w 786911"/>
                  <a:gd name="connsiteY541" fmla="*/ 611726 h 715374"/>
                  <a:gd name="connsiteX542" fmla="*/ 243745 w 786911"/>
                  <a:gd name="connsiteY542" fmla="*/ 619412 h 715374"/>
                  <a:gd name="connsiteX543" fmla="*/ 243990 w 786911"/>
                  <a:gd name="connsiteY543" fmla="*/ 619657 h 715374"/>
                  <a:gd name="connsiteX544" fmla="*/ 211369 w 786911"/>
                  <a:gd name="connsiteY544" fmla="*/ 650132 h 715374"/>
                  <a:gd name="connsiteX545" fmla="*/ 218237 w 786911"/>
                  <a:gd name="connsiteY545" fmla="*/ 650132 h 715374"/>
                  <a:gd name="connsiteX546" fmla="*/ 218380 w 786911"/>
                  <a:gd name="connsiteY546" fmla="*/ 643407 h 715374"/>
                  <a:gd name="connsiteX547" fmla="*/ 211655 w 786911"/>
                  <a:gd name="connsiteY547" fmla="*/ 643264 h 715374"/>
                  <a:gd name="connsiteX548" fmla="*/ 211655 w 786911"/>
                  <a:gd name="connsiteY548" fmla="*/ 649989 h 715374"/>
                  <a:gd name="connsiteX549" fmla="*/ 178319 w 786911"/>
                  <a:gd name="connsiteY549" fmla="*/ 680035 h 715374"/>
                  <a:gd name="connsiteX550" fmla="*/ 184328 w 786911"/>
                  <a:gd name="connsiteY550" fmla="*/ 680035 h 715374"/>
                  <a:gd name="connsiteX551" fmla="*/ 184328 w 786911"/>
                  <a:gd name="connsiteY551" fmla="*/ 674169 h 715374"/>
                  <a:gd name="connsiteX552" fmla="*/ 178319 w 786911"/>
                  <a:gd name="connsiteY552" fmla="*/ 674169 h 715374"/>
                  <a:gd name="connsiteX553" fmla="*/ 178319 w 786911"/>
                  <a:gd name="connsiteY553" fmla="*/ 680178 h 715374"/>
                  <a:gd name="connsiteX554" fmla="*/ 145841 w 786911"/>
                  <a:gd name="connsiteY554" fmla="*/ 710653 h 715374"/>
                  <a:gd name="connsiteX555" fmla="*/ 150898 w 786911"/>
                  <a:gd name="connsiteY555" fmla="*/ 710746 h 715374"/>
                  <a:gd name="connsiteX556" fmla="*/ 150991 w 786911"/>
                  <a:gd name="connsiteY556" fmla="*/ 710653 h 715374"/>
                  <a:gd name="connsiteX557" fmla="*/ 151135 w 786911"/>
                  <a:gd name="connsiteY557" fmla="*/ 705502 h 715374"/>
                  <a:gd name="connsiteX558" fmla="*/ 145984 w 786911"/>
                  <a:gd name="connsiteY558" fmla="*/ 705359 h 715374"/>
                  <a:gd name="connsiteX559" fmla="*/ 145891 w 786911"/>
                  <a:gd name="connsiteY559" fmla="*/ 710417 h 715374"/>
                  <a:gd name="connsiteX560" fmla="*/ 145984 w 786911"/>
                  <a:gd name="connsiteY560" fmla="*/ 710510 h 715374"/>
                  <a:gd name="connsiteX561" fmla="*/ 309518 w 786911"/>
                  <a:gd name="connsiteY561" fmla="*/ 363124 h 715374"/>
                  <a:gd name="connsiteX562" fmla="*/ 320850 w 786911"/>
                  <a:gd name="connsiteY562" fmla="*/ 363153 h 715374"/>
                  <a:gd name="connsiteX563" fmla="*/ 320877 w 786911"/>
                  <a:gd name="connsiteY563" fmla="*/ 351821 h 715374"/>
                  <a:gd name="connsiteX564" fmla="*/ 309547 w 786911"/>
                  <a:gd name="connsiteY564" fmla="*/ 351792 h 715374"/>
                  <a:gd name="connsiteX565" fmla="*/ 309518 w 786911"/>
                  <a:gd name="connsiteY565" fmla="*/ 351821 h 715374"/>
                  <a:gd name="connsiteX566" fmla="*/ 309518 w 786911"/>
                  <a:gd name="connsiteY566" fmla="*/ 363124 h 715374"/>
                  <a:gd name="connsiteX567" fmla="*/ 277040 w 786911"/>
                  <a:gd name="connsiteY567" fmla="*/ 393599 h 715374"/>
                  <a:gd name="connsiteX568" fmla="*/ 287356 w 786911"/>
                  <a:gd name="connsiteY568" fmla="*/ 393871 h 715374"/>
                  <a:gd name="connsiteX569" fmla="*/ 287628 w 786911"/>
                  <a:gd name="connsiteY569" fmla="*/ 393599 h 715374"/>
                  <a:gd name="connsiteX570" fmla="*/ 287914 w 786911"/>
                  <a:gd name="connsiteY570" fmla="*/ 383011 h 715374"/>
                  <a:gd name="connsiteX571" fmla="*/ 277327 w 786911"/>
                  <a:gd name="connsiteY571" fmla="*/ 382725 h 715374"/>
                  <a:gd name="connsiteX572" fmla="*/ 277201 w 786911"/>
                  <a:gd name="connsiteY572" fmla="*/ 393044 h 715374"/>
                  <a:gd name="connsiteX573" fmla="*/ 277327 w 786911"/>
                  <a:gd name="connsiteY573" fmla="*/ 393170 h 715374"/>
                  <a:gd name="connsiteX574" fmla="*/ 244849 w 786911"/>
                  <a:gd name="connsiteY574" fmla="*/ 423788 h 715374"/>
                  <a:gd name="connsiteX575" fmla="*/ 254578 w 786911"/>
                  <a:gd name="connsiteY575" fmla="*/ 423788 h 715374"/>
                  <a:gd name="connsiteX576" fmla="*/ 254739 w 786911"/>
                  <a:gd name="connsiteY576" fmla="*/ 414077 h 715374"/>
                  <a:gd name="connsiteX577" fmla="*/ 254578 w 786911"/>
                  <a:gd name="connsiteY577" fmla="*/ 413915 h 715374"/>
                  <a:gd name="connsiteX578" fmla="*/ 244849 w 786911"/>
                  <a:gd name="connsiteY578" fmla="*/ 413915 h 715374"/>
                  <a:gd name="connsiteX579" fmla="*/ 244687 w 786911"/>
                  <a:gd name="connsiteY579" fmla="*/ 423626 h 715374"/>
                  <a:gd name="connsiteX580" fmla="*/ 244849 w 786911"/>
                  <a:gd name="connsiteY580" fmla="*/ 423788 h 715374"/>
                  <a:gd name="connsiteX581" fmla="*/ 211941 w 786911"/>
                  <a:gd name="connsiteY581" fmla="*/ 454692 h 715374"/>
                  <a:gd name="connsiteX582" fmla="*/ 220816 w 786911"/>
                  <a:gd name="connsiteY582" fmla="*/ 456726 h 715374"/>
                  <a:gd name="connsiteX583" fmla="*/ 222851 w 786911"/>
                  <a:gd name="connsiteY583" fmla="*/ 447851 h 715374"/>
                  <a:gd name="connsiteX584" fmla="*/ 221241 w 786911"/>
                  <a:gd name="connsiteY584" fmla="*/ 446107 h 715374"/>
                  <a:gd name="connsiteX585" fmla="*/ 212084 w 786911"/>
                  <a:gd name="connsiteY585" fmla="*/ 445821 h 715374"/>
                  <a:gd name="connsiteX586" fmla="*/ 211798 w 786911"/>
                  <a:gd name="connsiteY586" fmla="*/ 454978 h 715374"/>
                  <a:gd name="connsiteX587" fmla="*/ 179320 w 786911"/>
                  <a:gd name="connsiteY587" fmla="*/ 485453 h 715374"/>
                  <a:gd name="connsiteX588" fmla="*/ 187619 w 786911"/>
                  <a:gd name="connsiteY588" fmla="*/ 485739 h 715374"/>
                  <a:gd name="connsiteX589" fmla="*/ 187905 w 786911"/>
                  <a:gd name="connsiteY589" fmla="*/ 477441 h 715374"/>
                  <a:gd name="connsiteX590" fmla="*/ 179814 w 786911"/>
                  <a:gd name="connsiteY590" fmla="*/ 477233 h 715374"/>
                  <a:gd name="connsiteX591" fmla="*/ 179606 w 786911"/>
                  <a:gd name="connsiteY591" fmla="*/ 477441 h 715374"/>
                  <a:gd name="connsiteX592" fmla="*/ 179604 w 786911"/>
                  <a:gd name="connsiteY592" fmla="*/ 485736 h 715374"/>
                  <a:gd name="connsiteX593" fmla="*/ 179606 w 786911"/>
                  <a:gd name="connsiteY593" fmla="*/ 485739 h 715374"/>
                  <a:gd name="connsiteX594" fmla="*/ 147128 w 786911"/>
                  <a:gd name="connsiteY594" fmla="*/ 516214 h 715374"/>
                  <a:gd name="connsiteX595" fmla="*/ 154640 w 786911"/>
                  <a:gd name="connsiteY595" fmla="*/ 516429 h 715374"/>
                  <a:gd name="connsiteX596" fmla="*/ 154855 w 786911"/>
                  <a:gd name="connsiteY596" fmla="*/ 508917 h 715374"/>
                  <a:gd name="connsiteX597" fmla="*/ 147272 w 786911"/>
                  <a:gd name="connsiteY597" fmla="*/ 508917 h 715374"/>
                  <a:gd name="connsiteX598" fmla="*/ 147272 w 786911"/>
                  <a:gd name="connsiteY598" fmla="*/ 516500 h 715374"/>
                  <a:gd name="connsiteX599" fmla="*/ 114507 w 786911"/>
                  <a:gd name="connsiteY599" fmla="*/ 546260 h 715374"/>
                  <a:gd name="connsiteX600" fmla="*/ 121185 w 786911"/>
                  <a:gd name="connsiteY600" fmla="*/ 546212 h 715374"/>
                  <a:gd name="connsiteX601" fmla="*/ 121137 w 786911"/>
                  <a:gd name="connsiteY601" fmla="*/ 539535 h 715374"/>
                  <a:gd name="connsiteX602" fmla="*/ 114507 w 786911"/>
                  <a:gd name="connsiteY602" fmla="*/ 539535 h 715374"/>
                  <a:gd name="connsiteX603" fmla="*/ 114460 w 786911"/>
                  <a:gd name="connsiteY603" fmla="*/ 546212 h 715374"/>
                  <a:gd name="connsiteX604" fmla="*/ 114507 w 786911"/>
                  <a:gd name="connsiteY604" fmla="*/ 546260 h 715374"/>
                  <a:gd name="connsiteX605" fmla="*/ 81886 w 786911"/>
                  <a:gd name="connsiteY605" fmla="*/ 576735 h 715374"/>
                  <a:gd name="connsiteX606" fmla="*/ 87956 w 786911"/>
                  <a:gd name="connsiteY606" fmla="*/ 576795 h 715374"/>
                  <a:gd name="connsiteX607" fmla="*/ 88017 w 786911"/>
                  <a:gd name="connsiteY607" fmla="*/ 570725 h 715374"/>
                  <a:gd name="connsiteX608" fmla="*/ 81946 w 786911"/>
                  <a:gd name="connsiteY608" fmla="*/ 570665 h 715374"/>
                  <a:gd name="connsiteX609" fmla="*/ 81886 w 786911"/>
                  <a:gd name="connsiteY609" fmla="*/ 570725 h 715374"/>
                  <a:gd name="connsiteX610" fmla="*/ 81886 w 786911"/>
                  <a:gd name="connsiteY610" fmla="*/ 576735 h 715374"/>
                  <a:gd name="connsiteX611" fmla="*/ 49551 w 786911"/>
                  <a:gd name="connsiteY611" fmla="*/ 607066 h 715374"/>
                  <a:gd name="connsiteX612" fmla="*/ 54609 w 786911"/>
                  <a:gd name="connsiteY612" fmla="*/ 607159 h 715374"/>
                  <a:gd name="connsiteX613" fmla="*/ 54702 w 786911"/>
                  <a:gd name="connsiteY613" fmla="*/ 607066 h 715374"/>
                  <a:gd name="connsiteX614" fmla="*/ 54795 w 786911"/>
                  <a:gd name="connsiteY614" fmla="*/ 602009 h 715374"/>
                  <a:gd name="connsiteX615" fmla="*/ 54702 w 786911"/>
                  <a:gd name="connsiteY615" fmla="*/ 601916 h 715374"/>
                  <a:gd name="connsiteX616" fmla="*/ 49644 w 786911"/>
                  <a:gd name="connsiteY616" fmla="*/ 601823 h 715374"/>
                  <a:gd name="connsiteX617" fmla="*/ 49551 w 786911"/>
                  <a:gd name="connsiteY617" fmla="*/ 601916 h 715374"/>
                  <a:gd name="connsiteX618" fmla="*/ 49551 w 786911"/>
                  <a:gd name="connsiteY618" fmla="*/ 607210 h 715374"/>
                  <a:gd name="connsiteX619" fmla="*/ 17073 w 786911"/>
                  <a:gd name="connsiteY619" fmla="*/ 637684 h 715374"/>
                  <a:gd name="connsiteX620" fmla="*/ 21509 w 786911"/>
                  <a:gd name="connsiteY620" fmla="*/ 637684 h 715374"/>
                  <a:gd name="connsiteX621" fmla="*/ 21509 w 786911"/>
                  <a:gd name="connsiteY621" fmla="*/ 633249 h 715374"/>
                  <a:gd name="connsiteX622" fmla="*/ 17073 w 786911"/>
                  <a:gd name="connsiteY622" fmla="*/ 633249 h 715374"/>
                  <a:gd name="connsiteX623" fmla="*/ 16883 w 786911"/>
                  <a:gd name="connsiteY623" fmla="*/ 637494 h 715374"/>
                  <a:gd name="connsiteX624" fmla="*/ 17073 w 786911"/>
                  <a:gd name="connsiteY624" fmla="*/ 637684 h 715374"/>
                  <a:gd name="connsiteX625" fmla="*/ 328977 w 786911"/>
                  <a:gd name="connsiteY625" fmla="*/ 383870 h 715374"/>
                  <a:gd name="connsiteX626" fmla="*/ 340279 w 786911"/>
                  <a:gd name="connsiteY626" fmla="*/ 383870 h 715374"/>
                  <a:gd name="connsiteX627" fmla="*/ 340279 w 786911"/>
                  <a:gd name="connsiteY627" fmla="*/ 372424 h 715374"/>
                  <a:gd name="connsiteX628" fmla="*/ 328833 w 786911"/>
                  <a:gd name="connsiteY628" fmla="*/ 372424 h 715374"/>
                  <a:gd name="connsiteX629" fmla="*/ 328833 w 786911"/>
                  <a:gd name="connsiteY629" fmla="*/ 383727 h 715374"/>
                  <a:gd name="connsiteX630" fmla="*/ 296212 w 786911"/>
                  <a:gd name="connsiteY630" fmla="*/ 414202 h 715374"/>
                  <a:gd name="connsiteX631" fmla="*/ 306734 w 786911"/>
                  <a:gd name="connsiteY631" fmla="*/ 414267 h 715374"/>
                  <a:gd name="connsiteX632" fmla="*/ 306800 w 786911"/>
                  <a:gd name="connsiteY632" fmla="*/ 414202 h 715374"/>
                  <a:gd name="connsiteX633" fmla="*/ 307158 w 786911"/>
                  <a:gd name="connsiteY633" fmla="*/ 403686 h 715374"/>
                  <a:gd name="connsiteX634" fmla="*/ 296642 w 786911"/>
                  <a:gd name="connsiteY634" fmla="*/ 403328 h 715374"/>
                  <a:gd name="connsiteX635" fmla="*/ 296642 w 786911"/>
                  <a:gd name="connsiteY635" fmla="*/ 413915 h 715374"/>
                  <a:gd name="connsiteX636" fmla="*/ 264164 w 786911"/>
                  <a:gd name="connsiteY636" fmla="*/ 444820 h 715374"/>
                  <a:gd name="connsiteX637" fmla="*/ 273874 w 786911"/>
                  <a:gd name="connsiteY637" fmla="*/ 444981 h 715374"/>
                  <a:gd name="connsiteX638" fmla="*/ 274036 w 786911"/>
                  <a:gd name="connsiteY638" fmla="*/ 444820 h 715374"/>
                  <a:gd name="connsiteX639" fmla="*/ 274036 w 786911"/>
                  <a:gd name="connsiteY639" fmla="*/ 435091 h 715374"/>
                  <a:gd name="connsiteX640" fmla="*/ 264325 w 786911"/>
                  <a:gd name="connsiteY640" fmla="*/ 434929 h 715374"/>
                  <a:gd name="connsiteX641" fmla="*/ 264164 w 786911"/>
                  <a:gd name="connsiteY641" fmla="*/ 435091 h 715374"/>
                  <a:gd name="connsiteX642" fmla="*/ 264164 w 786911"/>
                  <a:gd name="connsiteY642" fmla="*/ 444820 h 715374"/>
                  <a:gd name="connsiteX643" fmla="*/ 231400 w 786911"/>
                  <a:gd name="connsiteY643" fmla="*/ 474722 h 715374"/>
                  <a:gd name="connsiteX644" fmla="*/ 240505 w 786911"/>
                  <a:gd name="connsiteY644" fmla="*/ 474814 h 715374"/>
                  <a:gd name="connsiteX645" fmla="*/ 240595 w 786911"/>
                  <a:gd name="connsiteY645" fmla="*/ 465709 h 715374"/>
                  <a:gd name="connsiteX646" fmla="*/ 231491 w 786911"/>
                  <a:gd name="connsiteY646" fmla="*/ 465617 h 715374"/>
                  <a:gd name="connsiteX647" fmla="*/ 231400 w 786911"/>
                  <a:gd name="connsiteY647" fmla="*/ 465709 h 715374"/>
                  <a:gd name="connsiteX648" fmla="*/ 231288 w 786911"/>
                  <a:gd name="connsiteY648" fmla="*/ 474611 h 715374"/>
                  <a:gd name="connsiteX649" fmla="*/ 231400 w 786911"/>
                  <a:gd name="connsiteY649" fmla="*/ 474722 h 715374"/>
                  <a:gd name="connsiteX650" fmla="*/ 198922 w 786911"/>
                  <a:gd name="connsiteY650" fmla="*/ 505197 h 715374"/>
                  <a:gd name="connsiteX651" fmla="*/ 206808 w 786911"/>
                  <a:gd name="connsiteY651" fmla="*/ 505466 h 715374"/>
                  <a:gd name="connsiteX652" fmla="*/ 207077 w 786911"/>
                  <a:gd name="connsiteY652" fmla="*/ 505197 h 715374"/>
                  <a:gd name="connsiteX653" fmla="*/ 207284 w 786911"/>
                  <a:gd name="connsiteY653" fmla="*/ 497106 h 715374"/>
                  <a:gd name="connsiteX654" fmla="*/ 207077 w 786911"/>
                  <a:gd name="connsiteY654" fmla="*/ 496899 h 715374"/>
                  <a:gd name="connsiteX655" fmla="*/ 198922 w 786911"/>
                  <a:gd name="connsiteY655" fmla="*/ 496899 h 715374"/>
                  <a:gd name="connsiteX656" fmla="*/ 198714 w 786911"/>
                  <a:gd name="connsiteY656" fmla="*/ 504990 h 715374"/>
                  <a:gd name="connsiteX657" fmla="*/ 198922 w 786911"/>
                  <a:gd name="connsiteY657" fmla="*/ 505197 h 715374"/>
                  <a:gd name="connsiteX658" fmla="*/ 166300 w 786911"/>
                  <a:gd name="connsiteY658" fmla="*/ 536244 h 715374"/>
                  <a:gd name="connsiteX659" fmla="*/ 173883 w 786911"/>
                  <a:gd name="connsiteY659" fmla="*/ 536244 h 715374"/>
                  <a:gd name="connsiteX660" fmla="*/ 173883 w 786911"/>
                  <a:gd name="connsiteY660" fmla="*/ 528805 h 715374"/>
                  <a:gd name="connsiteX661" fmla="*/ 166300 w 786911"/>
                  <a:gd name="connsiteY661" fmla="*/ 528805 h 715374"/>
                  <a:gd name="connsiteX662" fmla="*/ 166300 w 786911"/>
                  <a:gd name="connsiteY662" fmla="*/ 536244 h 715374"/>
                  <a:gd name="connsiteX663" fmla="*/ 133822 w 786911"/>
                  <a:gd name="connsiteY663" fmla="*/ 566719 h 715374"/>
                  <a:gd name="connsiteX664" fmla="*/ 140500 w 786911"/>
                  <a:gd name="connsiteY664" fmla="*/ 566672 h 715374"/>
                  <a:gd name="connsiteX665" fmla="*/ 140453 w 786911"/>
                  <a:gd name="connsiteY665" fmla="*/ 559995 h 715374"/>
                  <a:gd name="connsiteX666" fmla="*/ 133822 w 786911"/>
                  <a:gd name="connsiteY666" fmla="*/ 559995 h 715374"/>
                  <a:gd name="connsiteX667" fmla="*/ 133775 w 786911"/>
                  <a:gd name="connsiteY667" fmla="*/ 566672 h 715374"/>
                  <a:gd name="connsiteX668" fmla="*/ 133822 w 786911"/>
                  <a:gd name="connsiteY668" fmla="*/ 566719 h 715374"/>
                  <a:gd name="connsiteX669" fmla="*/ 101345 w 786911"/>
                  <a:gd name="connsiteY669" fmla="*/ 597194 h 715374"/>
                  <a:gd name="connsiteX670" fmla="*/ 107354 w 786911"/>
                  <a:gd name="connsiteY670" fmla="*/ 597194 h 715374"/>
                  <a:gd name="connsiteX671" fmla="*/ 107354 w 786911"/>
                  <a:gd name="connsiteY671" fmla="*/ 591185 h 715374"/>
                  <a:gd name="connsiteX672" fmla="*/ 101345 w 786911"/>
                  <a:gd name="connsiteY672" fmla="*/ 591185 h 715374"/>
                  <a:gd name="connsiteX673" fmla="*/ 101345 w 786911"/>
                  <a:gd name="connsiteY673" fmla="*/ 597051 h 715374"/>
                  <a:gd name="connsiteX674" fmla="*/ 68867 w 786911"/>
                  <a:gd name="connsiteY674" fmla="*/ 627526 h 715374"/>
                  <a:gd name="connsiteX675" fmla="*/ 73924 w 786911"/>
                  <a:gd name="connsiteY675" fmla="*/ 627619 h 715374"/>
                  <a:gd name="connsiteX676" fmla="*/ 74017 w 786911"/>
                  <a:gd name="connsiteY676" fmla="*/ 627526 h 715374"/>
                  <a:gd name="connsiteX677" fmla="*/ 74017 w 786911"/>
                  <a:gd name="connsiteY677" fmla="*/ 622232 h 715374"/>
                  <a:gd name="connsiteX678" fmla="*/ 68960 w 786911"/>
                  <a:gd name="connsiteY678" fmla="*/ 622139 h 715374"/>
                  <a:gd name="connsiteX679" fmla="*/ 68867 w 786911"/>
                  <a:gd name="connsiteY679" fmla="*/ 622232 h 715374"/>
                  <a:gd name="connsiteX680" fmla="*/ 68774 w 786911"/>
                  <a:gd name="connsiteY680" fmla="*/ 627290 h 715374"/>
                  <a:gd name="connsiteX681" fmla="*/ 68867 w 786911"/>
                  <a:gd name="connsiteY681" fmla="*/ 627383 h 715374"/>
                  <a:gd name="connsiteX682" fmla="*/ 36245 w 786911"/>
                  <a:gd name="connsiteY682" fmla="*/ 658001 h 715374"/>
                  <a:gd name="connsiteX683" fmla="*/ 40681 w 786911"/>
                  <a:gd name="connsiteY683" fmla="*/ 658001 h 715374"/>
                  <a:gd name="connsiteX684" fmla="*/ 40724 w 786911"/>
                  <a:gd name="connsiteY684" fmla="*/ 653752 h 715374"/>
                  <a:gd name="connsiteX685" fmla="*/ 40681 w 786911"/>
                  <a:gd name="connsiteY685" fmla="*/ 653709 h 715374"/>
                  <a:gd name="connsiteX686" fmla="*/ 36436 w 786911"/>
                  <a:gd name="connsiteY686" fmla="*/ 653519 h 715374"/>
                  <a:gd name="connsiteX687" fmla="*/ 36245 w 786911"/>
                  <a:gd name="connsiteY687" fmla="*/ 653709 h 715374"/>
                  <a:gd name="connsiteX688" fmla="*/ 36245 w 786911"/>
                  <a:gd name="connsiteY688" fmla="*/ 658144 h 715374"/>
                  <a:gd name="connsiteX689" fmla="*/ 348292 w 786911"/>
                  <a:gd name="connsiteY689" fmla="*/ 404616 h 715374"/>
                  <a:gd name="connsiteX690" fmla="*/ 359738 w 786911"/>
                  <a:gd name="connsiteY690" fmla="*/ 404616 h 715374"/>
                  <a:gd name="connsiteX691" fmla="*/ 359738 w 786911"/>
                  <a:gd name="connsiteY691" fmla="*/ 393313 h 715374"/>
                  <a:gd name="connsiteX692" fmla="*/ 348435 w 786911"/>
                  <a:gd name="connsiteY692" fmla="*/ 393313 h 715374"/>
                  <a:gd name="connsiteX693" fmla="*/ 348435 w 786911"/>
                  <a:gd name="connsiteY693" fmla="*/ 404759 h 715374"/>
                  <a:gd name="connsiteX694" fmla="*/ 315957 w 786911"/>
                  <a:gd name="connsiteY694" fmla="*/ 435234 h 715374"/>
                  <a:gd name="connsiteX695" fmla="*/ 326478 w 786911"/>
                  <a:gd name="connsiteY695" fmla="*/ 435168 h 715374"/>
                  <a:gd name="connsiteX696" fmla="*/ 326413 w 786911"/>
                  <a:gd name="connsiteY696" fmla="*/ 424646 h 715374"/>
                  <a:gd name="connsiteX697" fmla="*/ 315957 w 786911"/>
                  <a:gd name="connsiteY697" fmla="*/ 424646 h 715374"/>
                  <a:gd name="connsiteX698" fmla="*/ 315891 w 786911"/>
                  <a:gd name="connsiteY698" fmla="*/ 435168 h 715374"/>
                  <a:gd name="connsiteX699" fmla="*/ 315957 w 786911"/>
                  <a:gd name="connsiteY699" fmla="*/ 435234 h 715374"/>
                  <a:gd name="connsiteX700" fmla="*/ 283479 w 786911"/>
                  <a:gd name="connsiteY700" fmla="*/ 465709 h 715374"/>
                  <a:gd name="connsiteX701" fmla="*/ 293377 w 786911"/>
                  <a:gd name="connsiteY701" fmla="*/ 465125 h 715374"/>
                  <a:gd name="connsiteX702" fmla="*/ 293637 w 786911"/>
                  <a:gd name="connsiteY702" fmla="*/ 456123 h 715374"/>
                  <a:gd name="connsiteX703" fmla="*/ 283765 w 786911"/>
                  <a:gd name="connsiteY703" fmla="*/ 456123 h 715374"/>
                  <a:gd name="connsiteX704" fmla="*/ 283603 w 786911"/>
                  <a:gd name="connsiteY704" fmla="*/ 465833 h 715374"/>
                  <a:gd name="connsiteX705" fmla="*/ 283765 w 786911"/>
                  <a:gd name="connsiteY705" fmla="*/ 465995 h 715374"/>
                  <a:gd name="connsiteX706" fmla="*/ 251287 w 786911"/>
                  <a:gd name="connsiteY706" fmla="*/ 496470 h 715374"/>
                  <a:gd name="connsiteX707" fmla="*/ 260392 w 786911"/>
                  <a:gd name="connsiteY707" fmla="*/ 496561 h 715374"/>
                  <a:gd name="connsiteX708" fmla="*/ 260482 w 786911"/>
                  <a:gd name="connsiteY708" fmla="*/ 487456 h 715374"/>
                  <a:gd name="connsiteX709" fmla="*/ 251378 w 786911"/>
                  <a:gd name="connsiteY709" fmla="*/ 487364 h 715374"/>
                  <a:gd name="connsiteX710" fmla="*/ 251287 w 786911"/>
                  <a:gd name="connsiteY710" fmla="*/ 487456 h 715374"/>
                  <a:gd name="connsiteX711" fmla="*/ 251175 w 786911"/>
                  <a:gd name="connsiteY711" fmla="*/ 496358 h 715374"/>
                  <a:gd name="connsiteX712" fmla="*/ 251287 w 786911"/>
                  <a:gd name="connsiteY712" fmla="*/ 496470 h 715374"/>
                  <a:gd name="connsiteX713" fmla="*/ 218666 w 786911"/>
                  <a:gd name="connsiteY713" fmla="*/ 526945 h 715374"/>
                  <a:gd name="connsiteX714" fmla="*/ 226964 w 786911"/>
                  <a:gd name="connsiteY714" fmla="*/ 526945 h 715374"/>
                  <a:gd name="connsiteX715" fmla="*/ 227250 w 786911"/>
                  <a:gd name="connsiteY715" fmla="*/ 518646 h 715374"/>
                  <a:gd name="connsiteX716" fmla="*/ 218952 w 786911"/>
                  <a:gd name="connsiteY716" fmla="*/ 518360 h 715374"/>
                  <a:gd name="connsiteX717" fmla="*/ 218952 w 786911"/>
                  <a:gd name="connsiteY717" fmla="*/ 526658 h 715374"/>
                  <a:gd name="connsiteX718" fmla="*/ 186474 w 786911"/>
                  <a:gd name="connsiteY718" fmla="*/ 557133 h 715374"/>
                  <a:gd name="connsiteX719" fmla="*/ 193914 w 786911"/>
                  <a:gd name="connsiteY719" fmla="*/ 557133 h 715374"/>
                  <a:gd name="connsiteX720" fmla="*/ 193914 w 786911"/>
                  <a:gd name="connsiteY720" fmla="*/ 549550 h 715374"/>
                  <a:gd name="connsiteX721" fmla="*/ 186474 w 786911"/>
                  <a:gd name="connsiteY721" fmla="*/ 549550 h 715374"/>
                  <a:gd name="connsiteX722" fmla="*/ 186474 w 786911"/>
                  <a:gd name="connsiteY722" fmla="*/ 557133 h 715374"/>
                  <a:gd name="connsiteX723" fmla="*/ 153996 w 786911"/>
                  <a:gd name="connsiteY723" fmla="*/ 587608 h 715374"/>
                  <a:gd name="connsiteX724" fmla="*/ 160673 w 786911"/>
                  <a:gd name="connsiteY724" fmla="*/ 587561 h 715374"/>
                  <a:gd name="connsiteX725" fmla="*/ 160626 w 786911"/>
                  <a:gd name="connsiteY725" fmla="*/ 580884 h 715374"/>
                  <a:gd name="connsiteX726" fmla="*/ 153996 w 786911"/>
                  <a:gd name="connsiteY726" fmla="*/ 580884 h 715374"/>
                  <a:gd name="connsiteX727" fmla="*/ 153949 w 786911"/>
                  <a:gd name="connsiteY727" fmla="*/ 587561 h 715374"/>
                  <a:gd name="connsiteX728" fmla="*/ 153996 w 786911"/>
                  <a:gd name="connsiteY728" fmla="*/ 587608 h 715374"/>
                  <a:gd name="connsiteX729" fmla="*/ 121089 w 786911"/>
                  <a:gd name="connsiteY729" fmla="*/ 617797 h 715374"/>
                  <a:gd name="connsiteX730" fmla="*/ 126955 w 786911"/>
                  <a:gd name="connsiteY730" fmla="*/ 617940 h 715374"/>
                  <a:gd name="connsiteX731" fmla="*/ 127098 w 786911"/>
                  <a:gd name="connsiteY731" fmla="*/ 617797 h 715374"/>
                  <a:gd name="connsiteX732" fmla="*/ 127303 w 786911"/>
                  <a:gd name="connsiteY732" fmla="*/ 612136 h 715374"/>
                  <a:gd name="connsiteX733" fmla="*/ 127098 w 786911"/>
                  <a:gd name="connsiteY733" fmla="*/ 611931 h 715374"/>
                  <a:gd name="connsiteX734" fmla="*/ 121232 w 786911"/>
                  <a:gd name="connsiteY734" fmla="*/ 611931 h 715374"/>
                  <a:gd name="connsiteX735" fmla="*/ 121089 w 786911"/>
                  <a:gd name="connsiteY735" fmla="*/ 617797 h 715374"/>
                  <a:gd name="connsiteX736" fmla="*/ 88182 w 786911"/>
                  <a:gd name="connsiteY736" fmla="*/ 648415 h 715374"/>
                  <a:gd name="connsiteX737" fmla="*/ 93428 w 786911"/>
                  <a:gd name="connsiteY737" fmla="*/ 648032 h 715374"/>
                  <a:gd name="connsiteX738" fmla="*/ 93619 w 786911"/>
                  <a:gd name="connsiteY738" fmla="*/ 643407 h 715374"/>
                  <a:gd name="connsiteX739" fmla="*/ 88325 w 786911"/>
                  <a:gd name="connsiteY739" fmla="*/ 643407 h 715374"/>
                  <a:gd name="connsiteX740" fmla="*/ 88232 w 786911"/>
                  <a:gd name="connsiteY740" fmla="*/ 648465 h 715374"/>
                  <a:gd name="connsiteX741" fmla="*/ 88325 w 786911"/>
                  <a:gd name="connsiteY741" fmla="*/ 648558 h 7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Lst>
                <a:rect l="l" t="t" r="r" b="b"/>
                <a:pathLst>
                  <a:path w="786911" h="715374">
                    <a:moveTo>
                      <a:pt x="412818" y="383011"/>
                    </a:moveTo>
                    <a:cubicBezTo>
                      <a:pt x="415946" y="386186"/>
                      <a:pt x="415946" y="391282"/>
                      <a:pt x="412818" y="394457"/>
                    </a:cubicBezTo>
                    <a:cubicBezTo>
                      <a:pt x="409692" y="397568"/>
                      <a:pt x="404642" y="397568"/>
                      <a:pt x="401515" y="394457"/>
                    </a:cubicBezTo>
                    <a:cubicBezTo>
                      <a:pt x="398405" y="391331"/>
                      <a:pt x="398405" y="386281"/>
                      <a:pt x="401515" y="383154"/>
                    </a:cubicBezTo>
                    <a:cubicBezTo>
                      <a:pt x="404720" y="380103"/>
                      <a:pt x="409757" y="380103"/>
                      <a:pt x="412961" y="383154"/>
                    </a:cubicBezTo>
                    <a:moveTo>
                      <a:pt x="445439" y="352679"/>
                    </a:moveTo>
                    <a:cubicBezTo>
                      <a:pt x="442516" y="349792"/>
                      <a:pt x="437805" y="349822"/>
                      <a:pt x="434918" y="352745"/>
                    </a:cubicBezTo>
                    <a:cubicBezTo>
                      <a:pt x="432031" y="355670"/>
                      <a:pt x="432061" y="360380"/>
                      <a:pt x="434984" y="363267"/>
                    </a:cubicBezTo>
                    <a:cubicBezTo>
                      <a:pt x="437882" y="366128"/>
                      <a:pt x="442542" y="366128"/>
                      <a:pt x="445439" y="363267"/>
                    </a:cubicBezTo>
                    <a:cubicBezTo>
                      <a:pt x="448362" y="360380"/>
                      <a:pt x="448393" y="355670"/>
                      <a:pt x="445505" y="352745"/>
                    </a:cubicBezTo>
                    <a:cubicBezTo>
                      <a:pt x="445484" y="352724"/>
                      <a:pt x="445461" y="352701"/>
                      <a:pt x="445439" y="352679"/>
                    </a:cubicBezTo>
                    <a:moveTo>
                      <a:pt x="477917" y="322205"/>
                    </a:moveTo>
                    <a:cubicBezTo>
                      <a:pt x="475023" y="319632"/>
                      <a:pt x="470592" y="319894"/>
                      <a:pt x="468019" y="322788"/>
                    </a:cubicBezTo>
                    <a:cubicBezTo>
                      <a:pt x="465762" y="325329"/>
                      <a:pt x="465652" y="329124"/>
                      <a:pt x="467759" y="331791"/>
                    </a:cubicBezTo>
                    <a:cubicBezTo>
                      <a:pt x="470522" y="334425"/>
                      <a:pt x="474868" y="334425"/>
                      <a:pt x="477631" y="331791"/>
                    </a:cubicBezTo>
                    <a:cubicBezTo>
                      <a:pt x="480357" y="329154"/>
                      <a:pt x="480430" y="324806"/>
                      <a:pt x="477793" y="322080"/>
                    </a:cubicBezTo>
                    <a:cubicBezTo>
                      <a:pt x="477740" y="322024"/>
                      <a:pt x="477686" y="321971"/>
                      <a:pt x="477631" y="321918"/>
                    </a:cubicBezTo>
                    <a:moveTo>
                      <a:pt x="510252" y="291587"/>
                    </a:moveTo>
                    <a:cubicBezTo>
                      <a:pt x="507763" y="289047"/>
                      <a:pt x="503687" y="289007"/>
                      <a:pt x="501147" y="291495"/>
                    </a:cubicBezTo>
                    <a:cubicBezTo>
                      <a:pt x="498607" y="293984"/>
                      <a:pt x="498567" y="298061"/>
                      <a:pt x="501057" y="300600"/>
                    </a:cubicBezTo>
                    <a:cubicBezTo>
                      <a:pt x="503545" y="303140"/>
                      <a:pt x="507621" y="303180"/>
                      <a:pt x="510161" y="300692"/>
                    </a:cubicBezTo>
                    <a:cubicBezTo>
                      <a:pt x="510192" y="300662"/>
                      <a:pt x="510222" y="300630"/>
                      <a:pt x="510252" y="300600"/>
                    </a:cubicBezTo>
                    <a:cubicBezTo>
                      <a:pt x="512742" y="298172"/>
                      <a:pt x="512792" y="294188"/>
                      <a:pt x="510364" y="291698"/>
                    </a:cubicBezTo>
                    <a:cubicBezTo>
                      <a:pt x="510327" y="291661"/>
                      <a:pt x="510289" y="291624"/>
                      <a:pt x="510252" y="291587"/>
                    </a:cubicBezTo>
                    <a:moveTo>
                      <a:pt x="542873" y="261112"/>
                    </a:moveTo>
                    <a:cubicBezTo>
                      <a:pt x="540551" y="258895"/>
                      <a:pt x="536897" y="258895"/>
                      <a:pt x="534575" y="261112"/>
                    </a:cubicBezTo>
                    <a:cubicBezTo>
                      <a:pt x="532204" y="263324"/>
                      <a:pt x="532077" y="267039"/>
                      <a:pt x="534289" y="269410"/>
                    </a:cubicBezTo>
                    <a:cubicBezTo>
                      <a:pt x="536501" y="271781"/>
                      <a:pt x="540216" y="271908"/>
                      <a:pt x="542587" y="269696"/>
                    </a:cubicBezTo>
                    <a:cubicBezTo>
                      <a:pt x="544803" y="267374"/>
                      <a:pt x="544803" y="263720"/>
                      <a:pt x="542587" y="261398"/>
                    </a:cubicBezTo>
                    <a:moveTo>
                      <a:pt x="575065" y="230923"/>
                    </a:moveTo>
                    <a:cubicBezTo>
                      <a:pt x="573003" y="228887"/>
                      <a:pt x="569687" y="228887"/>
                      <a:pt x="567625" y="230923"/>
                    </a:cubicBezTo>
                    <a:cubicBezTo>
                      <a:pt x="565572" y="233033"/>
                      <a:pt x="565572" y="236395"/>
                      <a:pt x="567625" y="238506"/>
                    </a:cubicBezTo>
                    <a:cubicBezTo>
                      <a:pt x="569687" y="240542"/>
                      <a:pt x="573003" y="240542"/>
                      <a:pt x="575065" y="238506"/>
                    </a:cubicBezTo>
                    <a:cubicBezTo>
                      <a:pt x="577118" y="236395"/>
                      <a:pt x="577118" y="233033"/>
                      <a:pt x="575065" y="230923"/>
                    </a:cubicBezTo>
                    <a:moveTo>
                      <a:pt x="607543" y="200162"/>
                    </a:moveTo>
                    <a:cubicBezTo>
                      <a:pt x="605726" y="198266"/>
                      <a:pt x="602716" y="198202"/>
                      <a:pt x="600819" y="200019"/>
                    </a:cubicBezTo>
                    <a:cubicBezTo>
                      <a:pt x="598923" y="201836"/>
                      <a:pt x="598859" y="204847"/>
                      <a:pt x="600676" y="206743"/>
                    </a:cubicBezTo>
                    <a:cubicBezTo>
                      <a:pt x="602493" y="208640"/>
                      <a:pt x="605503" y="208703"/>
                      <a:pt x="607400" y="206886"/>
                    </a:cubicBezTo>
                    <a:cubicBezTo>
                      <a:pt x="609296" y="205069"/>
                      <a:pt x="609360" y="202059"/>
                      <a:pt x="607543" y="200162"/>
                    </a:cubicBezTo>
                    <a:moveTo>
                      <a:pt x="640164" y="169687"/>
                    </a:moveTo>
                    <a:cubicBezTo>
                      <a:pt x="638583" y="168027"/>
                      <a:pt x="635958" y="167963"/>
                      <a:pt x="634298" y="169544"/>
                    </a:cubicBezTo>
                    <a:cubicBezTo>
                      <a:pt x="634250" y="169591"/>
                      <a:pt x="634201" y="169638"/>
                      <a:pt x="634155" y="169687"/>
                    </a:cubicBezTo>
                    <a:cubicBezTo>
                      <a:pt x="632536" y="171193"/>
                      <a:pt x="632444" y="173729"/>
                      <a:pt x="633951" y="175348"/>
                    </a:cubicBezTo>
                    <a:cubicBezTo>
                      <a:pt x="634016" y="175420"/>
                      <a:pt x="634085" y="175487"/>
                      <a:pt x="634155" y="175553"/>
                    </a:cubicBezTo>
                    <a:cubicBezTo>
                      <a:pt x="635775" y="177172"/>
                      <a:pt x="638402" y="177172"/>
                      <a:pt x="640021" y="175553"/>
                    </a:cubicBezTo>
                    <a:cubicBezTo>
                      <a:pt x="641657" y="173883"/>
                      <a:pt x="641657" y="171213"/>
                      <a:pt x="640021" y="169544"/>
                    </a:cubicBezTo>
                    <a:moveTo>
                      <a:pt x="672499" y="139069"/>
                    </a:moveTo>
                    <a:cubicBezTo>
                      <a:pt x="670944" y="137725"/>
                      <a:pt x="668596" y="137897"/>
                      <a:pt x="667253" y="139452"/>
                    </a:cubicBezTo>
                    <a:cubicBezTo>
                      <a:pt x="666121" y="140761"/>
                      <a:pt x="666042" y="142679"/>
                      <a:pt x="667062" y="144076"/>
                    </a:cubicBezTo>
                    <a:cubicBezTo>
                      <a:pt x="668550" y="145476"/>
                      <a:pt x="670870" y="145476"/>
                      <a:pt x="672356" y="144076"/>
                    </a:cubicBezTo>
                    <a:cubicBezTo>
                      <a:pt x="673778" y="142706"/>
                      <a:pt x="673820" y="140441"/>
                      <a:pt x="672449" y="139019"/>
                    </a:cubicBezTo>
                    <a:cubicBezTo>
                      <a:pt x="672419" y="138987"/>
                      <a:pt x="672388" y="138956"/>
                      <a:pt x="672356" y="138926"/>
                    </a:cubicBezTo>
                    <a:moveTo>
                      <a:pt x="704834" y="108451"/>
                    </a:moveTo>
                    <a:cubicBezTo>
                      <a:pt x="703609" y="107217"/>
                      <a:pt x="701616" y="107210"/>
                      <a:pt x="700383" y="108435"/>
                    </a:cubicBezTo>
                    <a:cubicBezTo>
                      <a:pt x="699148" y="109660"/>
                      <a:pt x="699141" y="111653"/>
                      <a:pt x="700367" y="112886"/>
                    </a:cubicBezTo>
                    <a:cubicBezTo>
                      <a:pt x="701592" y="114119"/>
                      <a:pt x="703585" y="114127"/>
                      <a:pt x="704818" y="112902"/>
                    </a:cubicBezTo>
                    <a:cubicBezTo>
                      <a:pt x="704824" y="112898"/>
                      <a:pt x="704828" y="112892"/>
                      <a:pt x="704834" y="112886"/>
                    </a:cubicBezTo>
                    <a:cubicBezTo>
                      <a:pt x="706053" y="111659"/>
                      <a:pt x="706053" y="109678"/>
                      <a:pt x="704834" y="108451"/>
                    </a:cubicBezTo>
                    <a:moveTo>
                      <a:pt x="737312" y="77976"/>
                    </a:moveTo>
                    <a:cubicBezTo>
                      <a:pt x="736315" y="77013"/>
                      <a:pt x="734732" y="77013"/>
                      <a:pt x="733735" y="77976"/>
                    </a:cubicBezTo>
                    <a:cubicBezTo>
                      <a:pt x="732708" y="78963"/>
                      <a:pt x="732676" y="80597"/>
                      <a:pt x="733664" y="81624"/>
                    </a:cubicBezTo>
                    <a:cubicBezTo>
                      <a:pt x="734651" y="82652"/>
                      <a:pt x="736285" y="82683"/>
                      <a:pt x="737312" y="81696"/>
                    </a:cubicBezTo>
                    <a:cubicBezTo>
                      <a:pt x="738299" y="80786"/>
                      <a:pt x="738362" y="79246"/>
                      <a:pt x="737452" y="78259"/>
                    </a:cubicBezTo>
                    <a:cubicBezTo>
                      <a:pt x="737408" y="78210"/>
                      <a:pt x="737361" y="78163"/>
                      <a:pt x="737312" y="78119"/>
                    </a:cubicBezTo>
                    <a:moveTo>
                      <a:pt x="432133" y="403185"/>
                    </a:moveTo>
                    <a:cubicBezTo>
                      <a:pt x="429107" y="400521"/>
                      <a:pt x="424572" y="400521"/>
                      <a:pt x="421546" y="403185"/>
                    </a:cubicBezTo>
                    <a:cubicBezTo>
                      <a:pt x="418418" y="406360"/>
                      <a:pt x="418418" y="411456"/>
                      <a:pt x="421546" y="414631"/>
                    </a:cubicBezTo>
                    <a:cubicBezTo>
                      <a:pt x="424751" y="417683"/>
                      <a:pt x="429787" y="417683"/>
                      <a:pt x="432992" y="414631"/>
                    </a:cubicBezTo>
                    <a:cubicBezTo>
                      <a:pt x="436102" y="411505"/>
                      <a:pt x="436102" y="406454"/>
                      <a:pt x="432992" y="403328"/>
                    </a:cubicBezTo>
                    <a:moveTo>
                      <a:pt x="464468" y="373282"/>
                    </a:moveTo>
                    <a:cubicBezTo>
                      <a:pt x="461581" y="370359"/>
                      <a:pt x="456871" y="370329"/>
                      <a:pt x="453947" y="373216"/>
                    </a:cubicBezTo>
                    <a:cubicBezTo>
                      <a:pt x="453925" y="373238"/>
                      <a:pt x="453902" y="373259"/>
                      <a:pt x="453881" y="373282"/>
                    </a:cubicBezTo>
                    <a:cubicBezTo>
                      <a:pt x="450996" y="376097"/>
                      <a:pt x="450941" y="380716"/>
                      <a:pt x="453755" y="383601"/>
                    </a:cubicBezTo>
                    <a:cubicBezTo>
                      <a:pt x="453796" y="383644"/>
                      <a:pt x="453838" y="383685"/>
                      <a:pt x="453881" y="383727"/>
                    </a:cubicBezTo>
                    <a:cubicBezTo>
                      <a:pt x="456768" y="386650"/>
                      <a:pt x="461478" y="386680"/>
                      <a:pt x="464403" y="383793"/>
                    </a:cubicBezTo>
                    <a:cubicBezTo>
                      <a:pt x="464424" y="383771"/>
                      <a:pt x="464447" y="383750"/>
                      <a:pt x="464468" y="383727"/>
                    </a:cubicBezTo>
                    <a:cubicBezTo>
                      <a:pt x="467340" y="380782"/>
                      <a:pt x="467340" y="376084"/>
                      <a:pt x="464468" y="373139"/>
                    </a:cubicBezTo>
                    <a:moveTo>
                      <a:pt x="496946" y="342664"/>
                    </a:moveTo>
                    <a:cubicBezTo>
                      <a:pt x="494310" y="339939"/>
                      <a:pt x="489961" y="339866"/>
                      <a:pt x="487236" y="342503"/>
                    </a:cubicBezTo>
                    <a:cubicBezTo>
                      <a:pt x="487180" y="342556"/>
                      <a:pt x="487127" y="342610"/>
                      <a:pt x="487074" y="342664"/>
                    </a:cubicBezTo>
                    <a:cubicBezTo>
                      <a:pt x="484457" y="345380"/>
                      <a:pt x="484457" y="349678"/>
                      <a:pt x="487074" y="352393"/>
                    </a:cubicBezTo>
                    <a:cubicBezTo>
                      <a:pt x="489711" y="355119"/>
                      <a:pt x="494059" y="355192"/>
                      <a:pt x="496785" y="352555"/>
                    </a:cubicBezTo>
                    <a:cubicBezTo>
                      <a:pt x="496841" y="352502"/>
                      <a:pt x="496893" y="352448"/>
                      <a:pt x="496946" y="352393"/>
                    </a:cubicBezTo>
                    <a:cubicBezTo>
                      <a:pt x="499563" y="349678"/>
                      <a:pt x="499563" y="345380"/>
                      <a:pt x="496946" y="342664"/>
                    </a:cubicBezTo>
                    <a:moveTo>
                      <a:pt x="529424" y="312189"/>
                    </a:moveTo>
                    <a:cubicBezTo>
                      <a:pt x="526935" y="309650"/>
                      <a:pt x="522859" y="309610"/>
                      <a:pt x="520319" y="312098"/>
                    </a:cubicBezTo>
                    <a:cubicBezTo>
                      <a:pt x="517781" y="314587"/>
                      <a:pt x="517739" y="318663"/>
                      <a:pt x="520229" y="321203"/>
                    </a:cubicBezTo>
                    <a:cubicBezTo>
                      <a:pt x="522717" y="323743"/>
                      <a:pt x="526793" y="323783"/>
                      <a:pt x="529333" y="321295"/>
                    </a:cubicBezTo>
                    <a:cubicBezTo>
                      <a:pt x="529364" y="321265"/>
                      <a:pt x="529394" y="321233"/>
                      <a:pt x="529424" y="321203"/>
                    </a:cubicBezTo>
                    <a:cubicBezTo>
                      <a:pt x="531914" y="318775"/>
                      <a:pt x="531964" y="314790"/>
                      <a:pt x="529536" y="312301"/>
                    </a:cubicBezTo>
                    <a:cubicBezTo>
                      <a:pt x="529499" y="312264"/>
                      <a:pt x="529462" y="312227"/>
                      <a:pt x="529424" y="312189"/>
                    </a:cubicBezTo>
                    <a:moveTo>
                      <a:pt x="561902" y="281714"/>
                    </a:moveTo>
                    <a:cubicBezTo>
                      <a:pt x="559799" y="279462"/>
                      <a:pt x="556268" y="279342"/>
                      <a:pt x="554016" y="281445"/>
                    </a:cubicBezTo>
                    <a:cubicBezTo>
                      <a:pt x="553923" y="281533"/>
                      <a:pt x="553833" y="281621"/>
                      <a:pt x="553747" y="281714"/>
                    </a:cubicBezTo>
                    <a:cubicBezTo>
                      <a:pt x="551455" y="283892"/>
                      <a:pt x="551362" y="287513"/>
                      <a:pt x="553540" y="289805"/>
                    </a:cubicBezTo>
                    <a:cubicBezTo>
                      <a:pt x="553607" y="289877"/>
                      <a:pt x="553676" y="289945"/>
                      <a:pt x="553747" y="290013"/>
                    </a:cubicBezTo>
                    <a:cubicBezTo>
                      <a:pt x="556021" y="292212"/>
                      <a:pt x="559629" y="292212"/>
                      <a:pt x="561902" y="290013"/>
                    </a:cubicBezTo>
                    <a:cubicBezTo>
                      <a:pt x="564194" y="287835"/>
                      <a:pt x="564287" y="284214"/>
                      <a:pt x="562110" y="281922"/>
                    </a:cubicBezTo>
                    <a:cubicBezTo>
                      <a:pt x="562043" y="281850"/>
                      <a:pt x="561974" y="281782"/>
                      <a:pt x="561902" y="281714"/>
                    </a:cubicBezTo>
                    <a:moveTo>
                      <a:pt x="594523" y="251239"/>
                    </a:moveTo>
                    <a:cubicBezTo>
                      <a:pt x="592413" y="249186"/>
                      <a:pt x="589051" y="249186"/>
                      <a:pt x="586940" y="251239"/>
                    </a:cubicBezTo>
                    <a:cubicBezTo>
                      <a:pt x="584904" y="253301"/>
                      <a:pt x="584904" y="256618"/>
                      <a:pt x="586940" y="258679"/>
                    </a:cubicBezTo>
                    <a:cubicBezTo>
                      <a:pt x="589051" y="260732"/>
                      <a:pt x="592413" y="260732"/>
                      <a:pt x="594523" y="258679"/>
                    </a:cubicBezTo>
                    <a:cubicBezTo>
                      <a:pt x="596559" y="256618"/>
                      <a:pt x="596559" y="253301"/>
                      <a:pt x="594523" y="251239"/>
                    </a:cubicBezTo>
                    <a:moveTo>
                      <a:pt x="627001" y="220764"/>
                    </a:moveTo>
                    <a:cubicBezTo>
                      <a:pt x="625144" y="218933"/>
                      <a:pt x="622155" y="218955"/>
                      <a:pt x="620324" y="220812"/>
                    </a:cubicBezTo>
                    <a:cubicBezTo>
                      <a:pt x="618494" y="222669"/>
                      <a:pt x="618516" y="225658"/>
                      <a:pt x="620371" y="227489"/>
                    </a:cubicBezTo>
                    <a:cubicBezTo>
                      <a:pt x="622210" y="229302"/>
                      <a:pt x="625163" y="229302"/>
                      <a:pt x="627001" y="227489"/>
                    </a:cubicBezTo>
                    <a:cubicBezTo>
                      <a:pt x="628858" y="225658"/>
                      <a:pt x="628880" y="222669"/>
                      <a:pt x="627049" y="220812"/>
                    </a:cubicBezTo>
                    <a:cubicBezTo>
                      <a:pt x="627033" y="220796"/>
                      <a:pt x="627017" y="220780"/>
                      <a:pt x="627001" y="220764"/>
                    </a:cubicBezTo>
                    <a:moveTo>
                      <a:pt x="659479" y="190290"/>
                    </a:moveTo>
                    <a:cubicBezTo>
                      <a:pt x="657810" y="188654"/>
                      <a:pt x="655140" y="188654"/>
                      <a:pt x="653470" y="190290"/>
                    </a:cubicBezTo>
                    <a:cubicBezTo>
                      <a:pt x="651906" y="191988"/>
                      <a:pt x="651906" y="194600"/>
                      <a:pt x="653470" y="196299"/>
                    </a:cubicBezTo>
                    <a:cubicBezTo>
                      <a:pt x="655140" y="197934"/>
                      <a:pt x="657810" y="197934"/>
                      <a:pt x="659479" y="196299"/>
                    </a:cubicBezTo>
                    <a:cubicBezTo>
                      <a:pt x="661099" y="194679"/>
                      <a:pt x="661099" y="192052"/>
                      <a:pt x="659479" y="190433"/>
                    </a:cubicBezTo>
                    <a:moveTo>
                      <a:pt x="692243" y="159958"/>
                    </a:moveTo>
                    <a:cubicBezTo>
                      <a:pt x="690873" y="158536"/>
                      <a:pt x="688608" y="158494"/>
                      <a:pt x="687186" y="159865"/>
                    </a:cubicBezTo>
                    <a:cubicBezTo>
                      <a:pt x="687154" y="159895"/>
                      <a:pt x="687123" y="159926"/>
                      <a:pt x="687093" y="159958"/>
                    </a:cubicBezTo>
                    <a:cubicBezTo>
                      <a:pt x="685693" y="161446"/>
                      <a:pt x="685693" y="163763"/>
                      <a:pt x="687093" y="165251"/>
                    </a:cubicBezTo>
                    <a:cubicBezTo>
                      <a:pt x="688463" y="166674"/>
                      <a:pt x="690728" y="166715"/>
                      <a:pt x="692150" y="165344"/>
                    </a:cubicBezTo>
                    <a:cubicBezTo>
                      <a:pt x="692182" y="165314"/>
                      <a:pt x="692213" y="165283"/>
                      <a:pt x="692243" y="165251"/>
                    </a:cubicBezTo>
                    <a:cubicBezTo>
                      <a:pt x="693666" y="163881"/>
                      <a:pt x="693707" y="161616"/>
                      <a:pt x="692336" y="160194"/>
                    </a:cubicBezTo>
                    <a:cubicBezTo>
                      <a:pt x="692306" y="160162"/>
                      <a:pt x="692275" y="160131"/>
                      <a:pt x="692243" y="160101"/>
                    </a:cubicBezTo>
                    <a:moveTo>
                      <a:pt x="724864" y="129483"/>
                    </a:moveTo>
                    <a:cubicBezTo>
                      <a:pt x="723637" y="128264"/>
                      <a:pt x="721657" y="128264"/>
                      <a:pt x="720429" y="129483"/>
                    </a:cubicBezTo>
                    <a:cubicBezTo>
                      <a:pt x="719245" y="130529"/>
                      <a:pt x="719130" y="132336"/>
                      <a:pt x="720176" y="133522"/>
                    </a:cubicBezTo>
                    <a:cubicBezTo>
                      <a:pt x="720255" y="133612"/>
                      <a:pt x="720339" y="133696"/>
                      <a:pt x="720429" y="133775"/>
                    </a:cubicBezTo>
                    <a:cubicBezTo>
                      <a:pt x="721549" y="135000"/>
                      <a:pt x="723449" y="135086"/>
                      <a:pt x="724674" y="133965"/>
                    </a:cubicBezTo>
                    <a:cubicBezTo>
                      <a:pt x="724740" y="133905"/>
                      <a:pt x="724804" y="133841"/>
                      <a:pt x="724864" y="133775"/>
                    </a:cubicBezTo>
                    <a:cubicBezTo>
                      <a:pt x="726084" y="132547"/>
                      <a:pt x="726084" y="130567"/>
                      <a:pt x="724864" y="129340"/>
                    </a:cubicBezTo>
                    <a:moveTo>
                      <a:pt x="757343" y="98865"/>
                    </a:moveTo>
                    <a:cubicBezTo>
                      <a:pt x="756297" y="97883"/>
                      <a:pt x="754668" y="97883"/>
                      <a:pt x="753623" y="98865"/>
                    </a:cubicBezTo>
                    <a:cubicBezTo>
                      <a:pt x="752595" y="99852"/>
                      <a:pt x="752564" y="101486"/>
                      <a:pt x="753551" y="102513"/>
                    </a:cubicBezTo>
                    <a:cubicBezTo>
                      <a:pt x="754538" y="103540"/>
                      <a:pt x="756172" y="103572"/>
                      <a:pt x="757199" y="102585"/>
                    </a:cubicBezTo>
                    <a:cubicBezTo>
                      <a:pt x="758181" y="101539"/>
                      <a:pt x="758181" y="99911"/>
                      <a:pt x="757199" y="98865"/>
                    </a:cubicBezTo>
                    <a:moveTo>
                      <a:pt x="451592" y="424503"/>
                    </a:moveTo>
                    <a:cubicBezTo>
                      <a:pt x="448470" y="421367"/>
                      <a:pt x="443398" y="421354"/>
                      <a:pt x="440260" y="424474"/>
                    </a:cubicBezTo>
                    <a:cubicBezTo>
                      <a:pt x="437124" y="427596"/>
                      <a:pt x="437111" y="432670"/>
                      <a:pt x="440233" y="435806"/>
                    </a:cubicBezTo>
                    <a:cubicBezTo>
                      <a:pt x="443353" y="438942"/>
                      <a:pt x="448427" y="438955"/>
                      <a:pt x="451563" y="435835"/>
                    </a:cubicBezTo>
                    <a:cubicBezTo>
                      <a:pt x="451573" y="435825"/>
                      <a:pt x="451582" y="435816"/>
                      <a:pt x="451592" y="435806"/>
                    </a:cubicBezTo>
                    <a:cubicBezTo>
                      <a:pt x="454702" y="432680"/>
                      <a:pt x="454702" y="427629"/>
                      <a:pt x="451592" y="424503"/>
                    </a:cubicBezTo>
                    <a:moveTo>
                      <a:pt x="484070" y="394028"/>
                    </a:moveTo>
                    <a:cubicBezTo>
                      <a:pt x="481297" y="391105"/>
                      <a:pt x="476677" y="390982"/>
                      <a:pt x="473754" y="393756"/>
                    </a:cubicBezTo>
                    <a:cubicBezTo>
                      <a:pt x="473661" y="393845"/>
                      <a:pt x="473571" y="393935"/>
                      <a:pt x="473482" y="394028"/>
                    </a:cubicBezTo>
                    <a:cubicBezTo>
                      <a:pt x="470479" y="396872"/>
                      <a:pt x="470352" y="401612"/>
                      <a:pt x="473196" y="404616"/>
                    </a:cubicBezTo>
                    <a:cubicBezTo>
                      <a:pt x="476040" y="407619"/>
                      <a:pt x="480780" y="407746"/>
                      <a:pt x="483783" y="404902"/>
                    </a:cubicBezTo>
                    <a:cubicBezTo>
                      <a:pt x="486668" y="402088"/>
                      <a:pt x="486724" y="397468"/>
                      <a:pt x="483909" y="394583"/>
                    </a:cubicBezTo>
                    <a:cubicBezTo>
                      <a:pt x="483868" y="394540"/>
                      <a:pt x="483826" y="394499"/>
                      <a:pt x="483783" y="394457"/>
                    </a:cubicBezTo>
                    <a:moveTo>
                      <a:pt x="516261" y="363839"/>
                    </a:moveTo>
                    <a:cubicBezTo>
                      <a:pt x="513546" y="361222"/>
                      <a:pt x="509248" y="361222"/>
                      <a:pt x="506532" y="363839"/>
                    </a:cubicBezTo>
                    <a:cubicBezTo>
                      <a:pt x="503807" y="366476"/>
                      <a:pt x="503734" y="370824"/>
                      <a:pt x="506371" y="373550"/>
                    </a:cubicBezTo>
                    <a:cubicBezTo>
                      <a:pt x="506424" y="373604"/>
                      <a:pt x="506478" y="373658"/>
                      <a:pt x="506532" y="373711"/>
                    </a:cubicBezTo>
                    <a:cubicBezTo>
                      <a:pt x="509248" y="376328"/>
                      <a:pt x="513546" y="376328"/>
                      <a:pt x="516261" y="373711"/>
                    </a:cubicBezTo>
                    <a:cubicBezTo>
                      <a:pt x="518987" y="371075"/>
                      <a:pt x="519060" y="366727"/>
                      <a:pt x="516423" y="364001"/>
                    </a:cubicBezTo>
                    <a:cubicBezTo>
                      <a:pt x="516370" y="363947"/>
                      <a:pt x="516316" y="363892"/>
                      <a:pt x="516261" y="363839"/>
                    </a:cubicBezTo>
                    <a:moveTo>
                      <a:pt x="548883" y="333364"/>
                    </a:moveTo>
                    <a:cubicBezTo>
                      <a:pt x="546330" y="330893"/>
                      <a:pt x="542278" y="330893"/>
                      <a:pt x="539726" y="333364"/>
                    </a:cubicBezTo>
                    <a:cubicBezTo>
                      <a:pt x="537326" y="335945"/>
                      <a:pt x="537326" y="339940"/>
                      <a:pt x="539726" y="342521"/>
                    </a:cubicBezTo>
                    <a:cubicBezTo>
                      <a:pt x="542278" y="344992"/>
                      <a:pt x="546330" y="344992"/>
                      <a:pt x="548883" y="342521"/>
                    </a:cubicBezTo>
                    <a:cubicBezTo>
                      <a:pt x="551282" y="339940"/>
                      <a:pt x="551282" y="335945"/>
                      <a:pt x="548883" y="333364"/>
                    </a:cubicBezTo>
                    <a:moveTo>
                      <a:pt x="581647" y="303033"/>
                    </a:moveTo>
                    <a:cubicBezTo>
                      <a:pt x="579435" y="300662"/>
                      <a:pt x="575719" y="300534"/>
                      <a:pt x="573348" y="302746"/>
                    </a:cubicBezTo>
                    <a:cubicBezTo>
                      <a:pt x="570978" y="304958"/>
                      <a:pt x="570850" y="308674"/>
                      <a:pt x="573062" y="311045"/>
                    </a:cubicBezTo>
                    <a:cubicBezTo>
                      <a:pt x="575240" y="313337"/>
                      <a:pt x="578861" y="313430"/>
                      <a:pt x="581153" y="311252"/>
                    </a:cubicBezTo>
                    <a:cubicBezTo>
                      <a:pt x="581225" y="311185"/>
                      <a:pt x="581293" y="311116"/>
                      <a:pt x="581360" y="311045"/>
                    </a:cubicBezTo>
                    <a:cubicBezTo>
                      <a:pt x="583653" y="308754"/>
                      <a:pt x="583653" y="305040"/>
                      <a:pt x="581363" y="302749"/>
                    </a:cubicBezTo>
                    <a:cubicBezTo>
                      <a:pt x="581362" y="302748"/>
                      <a:pt x="581362" y="302748"/>
                      <a:pt x="581360" y="302746"/>
                    </a:cubicBezTo>
                    <a:moveTo>
                      <a:pt x="613839" y="272271"/>
                    </a:moveTo>
                    <a:cubicBezTo>
                      <a:pt x="611744" y="270231"/>
                      <a:pt x="608393" y="270274"/>
                      <a:pt x="606353" y="272369"/>
                    </a:cubicBezTo>
                    <a:cubicBezTo>
                      <a:pt x="604313" y="274462"/>
                      <a:pt x="604355" y="277814"/>
                      <a:pt x="606450" y="279854"/>
                    </a:cubicBezTo>
                    <a:cubicBezTo>
                      <a:pt x="608505" y="281857"/>
                      <a:pt x="611783" y="281857"/>
                      <a:pt x="613839" y="279854"/>
                    </a:cubicBezTo>
                    <a:cubicBezTo>
                      <a:pt x="615892" y="277744"/>
                      <a:pt x="615892" y="274382"/>
                      <a:pt x="613839" y="272271"/>
                    </a:cubicBezTo>
                    <a:moveTo>
                      <a:pt x="646316" y="241797"/>
                    </a:moveTo>
                    <a:cubicBezTo>
                      <a:pt x="644459" y="239965"/>
                      <a:pt x="641471" y="239987"/>
                      <a:pt x="639639" y="241844"/>
                    </a:cubicBezTo>
                    <a:cubicBezTo>
                      <a:pt x="637809" y="243701"/>
                      <a:pt x="637831" y="246690"/>
                      <a:pt x="639686" y="248521"/>
                    </a:cubicBezTo>
                    <a:cubicBezTo>
                      <a:pt x="641525" y="250334"/>
                      <a:pt x="644478" y="250334"/>
                      <a:pt x="646316" y="248521"/>
                    </a:cubicBezTo>
                    <a:cubicBezTo>
                      <a:pt x="648174" y="246690"/>
                      <a:pt x="648195" y="243701"/>
                      <a:pt x="646364" y="241844"/>
                    </a:cubicBezTo>
                    <a:cubicBezTo>
                      <a:pt x="646348" y="241828"/>
                      <a:pt x="646332" y="241812"/>
                      <a:pt x="646316" y="241797"/>
                    </a:cubicBezTo>
                    <a:moveTo>
                      <a:pt x="679081" y="211035"/>
                    </a:moveTo>
                    <a:cubicBezTo>
                      <a:pt x="677382" y="209381"/>
                      <a:pt x="674664" y="209419"/>
                      <a:pt x="673011" y="211118"/>
                    </a:cubicBezTo>
                    <a:cubicBezTo>
                      <a:pt x="671357" y="212817"/>
                      <a:pt x="671395" y="215534"/>
                      <a:pt x="673094" y="217188"/>
                    </a:cubicBezTo>
                    <a:cubicBezTo>
                      <a:pt x="674760" y="218809"/>
                      <a:pt x="677414" y="218809"/>
                      <a:pt x="679081" y="217188"/>
                    </a:cubicBezTo>
                    <a:cubicBezTo>
                      <a:pt x="680716" y="215518"/>
                      <a:pt x="680716" y="212848"/>
                      <a:pt x="679081" y="211179"/>
                    </a:cubicBezTo>
                    <a:moveTo>
                      <a:pt x="711559" y="180704"/>
                    </a:moveTo>
                    <a:cubicBezTo>
                      <a:pt x="710188" y="179281"/>
                      <a:pt x="707923" y="179240"/>
                      <a:pt x="706501" y="180611"/>
                    </a:cubicBezTo>
                    <a:cubicBezTo>
                      <a:pt x="706469" y="180641"/>
                      <a:pt x="706438" y="180672"/>
                      <a:pt x="706408" y="180704"/>
                    </a:cubicBezTo>
                    <a:cubicBezTo>
                      <a:pt x="704986" y="182074"/>
                      <a:pt x="704944" y="184339"/>
                      <a:pt x="706315" y="185761"/>
                    </a:cubicBezTo>
                    <a:cubicBezTo>
                      <a:pt x="706345" y="185793"/>
                      <a:pt x="706376" y="185824"/>
                      <a:pt x="706408" y="185854"/>
                    </a:cubicBezTo>
                    <a:cubicBezTo>
                      <a:pt x="707779" y="187276"/>
                      <a:pt x="710043" y="187318"/>
                      <a:pt x="711466" y="185947"/>
                    </a:cubicBezTo>
                    <a:cubicBezTo>
                      <a:pt x="711497" y="185917"/>
                      <a:pt x="711529" y="185886"/>
                      <a:pt x="711559" y="185854"/>
                    </a:cubicBezTo>
                    <a:cubicBezTo>
                      <a:pt x="712958" y="184368"/>
                      <a:pt x="712958" y="182048"/>
                      <a:pt x="711559" y="180560"/>
                    </a:cubicBezTo>
                    <a:moveTo>
                      <a:pt x="744037" y="150086"/>
                    </a:moveTo>
                    <a:cubicBezTo>
                      <a:pt x="742809" y="148867"/>
                      <a:pt x="740829" y="148867"/>
                      <a:pt x="739601" y="150086"/>
                    </a:cubicBezTo>
                    <a:cubicBezTo>
                      <a:pt x="738455" y="151342"/>
                      <a:pt x="738455" y="153265"/>
                      <a:pt x="739601" y="154521"/>
                    </a:cubicBezTo>
                    <a:cubicBezTo>
                      <a:pt x="740829" y="155740"/>
                      <a:pt x="742809" y="155740"/>
                      <a:pt x="744037" y="154521"/>
                    </a:cubicBezTo>
                    <a:cubicBezTo>
                      <a:pt x="745261" y="153402"/>
                      <a:pt x="745347" y="151501"/>
                      <a:pt x="744227" y="150276"/>
                    </a:cubicBezTo>
                    <a:cubicBezTo>
                      <a:pt x="744167" y="150210"/>
                      <a:pt x="744102" y="150146"/>
                      <a:pt x="744037" y="150086"/>
                    </a:cubicBezTo>
                    <a:moveTo>
                      <a:pt x="776658" y="119611"/>
                    </a:moveTo>
                    <a:cubicBezTo>
                      <a:pt x="775630" y="118626"/>
                      <a:pt x="774001" y="118662"/>
                      <a:pt x="773016" y="119689"/>
                    </a:cubicBezTo>
                    <a:cubicBezTo>
                      <a:pt x="772032" y="120717"/>
                      <a:pt x="772068" y="122346"/>
                      <a:pt x="773095" y="123331"/>
                    </a:cubicBezTo>
                    <a:cubicBezTo>
                      <a:pt x="774091" y="124285"/>
                      <a:pt x="775662" y="124285"/>
                      <a:pt x="776658" y="123331"/>
                    </a:cubicBezTo>
                    <a:cubicBezTo>
                      <a:pt x="777573" y="122260"/>
                      <a:pt x="777573" y="120681"/>
                      <a:pt x="776658" y="119611"/>
                    </a:cubicBezTo>
                    <a:moveTo>
                      <a:pt x="354587" y="320917"/>
                    </a:moveTo>
                    <a:cubicBezTo>
                      <a:pt x="351461" y="317806"/>
                      <a:pt x="346410" y="317806"/>
                      <a:pt x="343284" y="320917"/>
                    </a:cubicBezTo>
                    <a:cubicBezTo>
                      <a:pt x="340222" y="324112"/>
                      <a:pt x="340331" y="329184"/>
                      <a:pt x="343526" y="332246"/>
                    </a:cubicBezTo>
                    <a:cubicBezTo>
                      <a:pt x="346456" y="335053"/>
                      <a:pt x="351023" y="335227"/>
                      <a:pt x="354158" y="332649"/>
                    </a:cubicBezTo>
                    <a:cubicBezTo>
                      <a:pt x="357285" y="329474"/>
                      <a:pt x="357285" y="324378"/>
                      <a:pt x="354158" y="321203"/>
                    </a:cubicBezTo>
                    <a:moveTo>
                      <a:pt x="386636" y="290728"/>
                    </a:moveTo>
                    <a:cubicBezTo>
                      <a:pt x="383713" y="287841"/>
                      <a:pt x="379001" y="287871"/>
                      <a:pt x="376114" y="290794"/>
                    </a:cubicBezTo>
                    <a:cubicBezTo>
                      <a:pt x="373227" y="293718"/>
                      <a:pt x="373257" y="298428"/>
                      <a:pt x="376180" y="301316"/>
                    </a:cubicBezTo>
                    <a:cubicBezTo>
                      <a:pt x="379078" y="304177"/>
                      <a:pt x="383738" y="304177"/>
                      <a:pt x="386636" y="301316"/>
                    </a:cubicBezTo>
                    <a:cubicBezTo>
                      <a:pt x="389559" y="298428"/>
                      <a:pt x="389589" y="293718"/>
                      <a:pt x="386702" y="290794"/>
                    </a:cubicBezTo>
                    <a:cubicBezTo>
                      <a:pt x="386680" y="290772"/>
                      <a:pt x="386659" y="290750"/>
                      <a:pt x="386636" y="290728"/>
                    </a:cubicBezTo>
                    <a:moveTo>
                      <a:pt x="419543" y="260110"/>
                    </a:moveTo>
                    <a:cubicBezTo>
                      <a:pt x="416827" y="257493"/>
                      <a:pt x="412529" y="257493"/>
                      <a:pt x="409814" y="260110"/>
                    </a:cubicBezTo>
                    <a:cubicBezTo>
                      <a:pt x="407088" y="262747"/>
                      <a:pt x="407015" y="267095"/>
                      <a:pt x="409652" y="269821"/>
                    </a:cubicBezTo>
                    <a:cubicBezTo>
                      <a:pt x="409705" y="269875"/>
                      <a:pt x="409759" y="269929"/>
                      <a:pt x="409814" y="269982"/>
                    </a:cubicBezTo>
                    <a:cubicBezTo>
                      <a:pt x="412529" y="272599"/>
                      <a:pt x="416827" y="272599"/>
                      <a:pt x="419543" y="269982"/>
                    </a:cubicBezTo>
                    <a:cubicBezTo>
                      <a:pt x="422268" y="267345"/>
                      <a:pt x="422341" y="262997"/>
                      <a:pt x="419705" y="260272"/>
                    </a:cubicBezTo>
                    <a:cubicBezTo>
                      <a:pt x="419652" y="260217"/>
                      <a:pt x="419597" y="260163"/>
                      <a:pt x="419543" y="260110"/>
                    </a:cubicBezTo>
                    <a:moveTo>
                      <a:pt x="452164" y="229635"/>
                    </a:moveTo>
                    <a:cubicBezTo>
                      <a:pt x="449614" y="227156"/>
                      <a:pt x="445538" y="227213"/>
                      <a:pt x="443060" y="229762"/>
                    </a:cubicBezTo>
                    <a:cubicBezTo>
                      <a:pt x="440765" y="232122"/>
                      <a:pt x="440619" y="235830"/>
                      <a:pt x="442721" y="238363"/>
                    </a:cubicBezTo>
                    <a:cubicBezTo>
                      <a:pt x="445273" y="240834"/>
                      <a:pt x="449325" y="240834"/>
                      <a:pt x="451878" y="238363"/>
                    </a:cubicBezTo>
                    <a:cubicBezTo>
                      <a:pt x="454367" y="235935"/>
                      <a:pt x="454417" y="231950"/>
                      <a:pt x="451989" y="229461"/>
                    </a:cubicBezTo>
                    <a:cubicBezTo>
                      <a:pt x="451952" y="229423"/>
                      <a:pt x="451915" y="229386"/>
                      <a:pt x="451878" y="229349"/>
                    </a:cubicBezTo>
                    <a:moveTo>
                      <a:pt x="484356" y="198874"/>
                    </a:moveTo>
                    <a:cubicBezTo>
                      <a:pt x="482144" y="196503"/>
                      <a:pt x="478428" y="196376"/>
                      <a:pt x="476057" y="198588"/>
                    </a:cubicBezTo>
                    <a:cubicBezTo>
                      <a:pt x="473687" y="200800"/>
                      <a:pt x="473559" y="204515"/>
                      <a:pt x="475771" y="206886"/>
                    </a:cubicBezTo>
                    <a:cubicBezTo>
                      <a:pt x="477983" y="209257"/>
                      <a:pt x="481699" y="209384"/>
                      <a:pt x="484070" y="207172"/>
                    </a:cubicBezTo>
                    <a:cubicBezTo>
                      <a:pt x="486440" y="204960"/>
                      <a:pt x="486568" y="201245"/>
                      <a:pt x="484356" y="198874"/>
                    </a:cubicBezTo>
                    <a:moveTo>
                      <a:pt x="516834" y="168399"/>
                    </a:moveTo>
                    <a:cubicBezTo>
                      <a:pt x="514772" y="166363"/>
                      <a:pt x="511456" y="166363"/>
                      <a:pt x="509394" y="168399"/>
                    </a:cubicBezTo>
                    <a:cubicBezTo>
                      <a:pt x="507205" y="170454"/>
                      <a:pt x="507095" y="173895"/>
                      <a:pt x="509149" y="176084"/>
                    </a:cubicBezTo>
                    <a:cubicBezTo>
                      <a:pt x="511204" y="178274"/>
                      <a:pt x="514645" y="178383"/>
                      <a:pt x="516834" y="176330"/>
                    </a:cubicBezTo>
                    <a:cubicBezTo>
                      <a:pt x="519024" y="174275"/>
                      <a:pt x="519133" y="170834"/>
                      <a:pt x="517078" y="168644"/>
                    </a:cubicBezTo>
                    <a:cubicBezTo>
                      <a:pt x="517000" y="168559"/>
                      <a:pt x="516918" y="168478"/>
                      <a:pt x="516834" y="168399"/>
                    </a:cubicBezTo>
                    <a:moveTo>
                      <a:pt x="550313" y="138067"/>
                    </a:moveTo>
                    <a:cubicBezTo>
                      <a:pt x="548415" y="136176"/>
                      <a:pt x="545344" y="136176"/>
                      <a:pt x="543446" y="138067"/>
                    </a:cubicBezTo>
                    <a:cubicBezTo>
                      <a:pt x="541550" y="139884"/>
                      <a:pt x="541486" y="142896"/>
                      <a:pt x="543303" y="144792"/>
                    </a:cubicBezTo>
                    <a:cubicBezTo>
                      <a:pt x="545120" y="146689"/>
                      <a:pt x="548130" y="146752"/>
                      <a:pt x="550027" y="144935"/>
                    </a:cubicBezTo>
                    <a:cubicBezTo>
                      <a:pt x="551826" y="143055"/>
                      <a:pt x="551826" y="140090"/>
                      <a:pt x="550027" y="138210"/>
                    </a:cubicBezTo>
                    <a:moveTo>
                      <a:pt x="582505" y="107735"/>
                    </a:moveTo>
                    <a:cubicBezTo>
                      <a:pt x="580835" y="106100"/>
                      <a:pt x="578166" y="106100"/>
                      <a:pt x="576496" y="107735"/>
                    </a:cubicBezTo>
                    <a:cubicBezTo>
                      <a:pt x="574798" y="109316"/>
                      <a:pt x="574700" y="111975"/>
                      <a:pt x="576281" y="113673"/>
                    </a:cubicBezTo>
                    <a:cubicBezTo>
                      <a:pt x="577862" y="115371"/>
                      <a:pt x="580521" y="115469"/>
                      <a:pt x="582219" y="113888"/>
                    </a:cubicBezTo>
                    <a:cubicBezTo>
                      <a:pt x="583854" y="112218"/>
                      <a:pt x="583854" y="109548"/>
                      <a:pt x="582219" y="107878"/>
                    </a:cubicBezTo>
                    <a:moveTo>
                      <a:pt x="614697" y="77404"/>
                    </a:moveTo>
                    <a:cubicBezTo>
                      <a:pt x="613326" y="75981"/>
                      <a:pt x="611061" y="75940"/>
                      <a:pt x="609639" y="77311"/>
                    </a:cubicBezTo>
                    <a:cubicBezTo>
                      <a:pt x="609608" y="77341"/>
                      <a:pt x="609576" y="77372"/>
                      <a:pt x="609546" y="77404"/>
                    </a:cubicBezTo>
                    <a:cubicBezTo>
                      <a:pt x="608084" y="78786"/>
                      <a:pt x="608020" y="81092"/>
                      <a:pt x="609403" y="82554"/>
                    </a:cubicBezTo>
                    <a:cubicBezTo>
                      <a:pt x="610785" y="84016"/>
                      <a:pt x="613092" y="84079"/>
                      <a:pt x="614554" y="82697"/>
                    </a:cubicBezTo>
                    <a:cubicBezTo>
                      <a:pt x="615976" y="81327"/>
                      <a:pt x="616018" y="79062"/>
                      <a:pt x="614647" y="77640"/>
                    </a:cubicBezTo>
                    <a:cubicBezTo>
                      <a:pt x="614617" y="77608"/>
                      <a:pt x="614585" y="77577"/>
                      <a:pt x="614554" y="77547"/>
                    </a:cubicBezTo>
                    <a:moveTo>
                      <a:pt x="647032" y="47072"/>
                    </a:moveTo>
                    <a:cubicBezTo>
                      <a:pt x="645804" y="45853"/>
                      <a:pt x="643824" y="45853"/>
                      <a:pt x="642596" y="47072"/>
                    </a:cubicBezTo>
                    <a:cubicBezTo>
                      <a:pt x="641451" y="48328"/>
                      <a:pt x="641451" y="50251"/>
                      <a:pt x="642596" y="51507"/>
                    </a:cubicBezTo>
                    <a:cubicBezTo>
                      <a:pt x="643824" y="52726"/>
                      <a:pt x="645804" y="52726"/>
                      <a:pt x="647032" y="51507"/>
                    </a:cubicBezTo>
                    <a:cubicBezTo>
                      <a:pt x="648257" y="50387"/>
                      <a:pt x="648342" y="48487"/>
                      <a:pt x="647222" y="47262"/>
                    </a:cubicBezTo>
                    <a:cubicBezTo>
                      <a:pt x="647162" y="47196"/>
                      <a:pt x="647098" y="47132"/>
                      <a:pt x="647032" y="47072"/>
                    </a:cubicBezTo>
                    <a:moveTo>
                      <a:pt x="679796" y="16883"/>
                    </a:moveTo>
                    <a:cubicBezTo>
                      <a:pt x="678809" y="15860"/>
                      <a:pt x="677178" y="15830"/>
                      <a:pt x="676155" y="16819"/>
                    </a:cubicBezTo>
                    <a:cubicBezTo>
                      <a:pt x="675132" y="17806"/>
                      <a:pt x="675102" y="19437"/>
                      <a:pt x="676090" y="20460"/>
                    </a:cubicBezTo>
                    <a:cubicBezTo>
                      <a:pt x="677078" y="21483"/>
                      <a:pt x="678709" y="21513"/>
                      <a:pt x="679732" y="20524"/>
                    </a:cubicBezTo>
                    <a:cubicBezTo>
                      <a:pt x="679753" y="20503"/>
                      <a:pt x="679775" y="20481"/>
                      <a:pt x="679796" y="20460"/>
                    </a:cubicBezTo>
                    <a:cubicBezTo>
                      <a:pt x="680759" y="19463"/>
                      <a:pt x="680759" y="17880"/>
                      <a:pt x="679796" y="16883"/>
                    </a:cubicBezTo>
                    <a:moveTo>
                      <a:pt x="373902" y="341663"/>
                    </a:moveTo>
                    <a:cubicBezTo>
                      <a:pt x="370776" y="338552"/>
                      <a:pt x="365725" y="338552"/>
                      <a:pt x="362599" y="341663"/>
                    </a:cubicBezTo>
                    <a:cubicBezTo>
                      <a:pt x="359360" y="344704"/>
                      <a:pt x="359200" y="349798"/>
                      <a:pt x="362241" y="353037"/>
                    </a:cubicBezTo>
                    <a:cubicBezTo>
                      <a:pt x="365283" y="356276"/>
                      <a:pt x="370377" y="356437"/>
                      <a:pt x="373616" y="353395"/>
                    </a:cubicBezTo>
                    <a:cubicBezTo>
                      <a:pt x="376726" y="350269"/>
                      <a:pt x="376726" y="345218"/>
                      <a:pt x="373616" y="342092"/>
                    </a:cubicBezTo>
                    <a:moveTo>
                      <a:pt x="407238" y="311188"/>
                    </a:moveTo>
                    <a:cubicBezTo>
                      <a:pt x="404433" y="308146"/>
                      <a:pt x="399693" y="307953"/>
                      <a:pt x="396651" y="310759"/>
                    </a:cubicBezTo>
                    <a:cubicBezTo>
                      <a:pt x="393609" y="313564"/>
                      <a:pt x="393416" y="318304"/>
                      <a:pt x="396222" y="321346"/>
                    </a:cubicBezTo>
                    <a:cubicBezTo>
                      <a:pt x="398996" y="324269"/>
                      <a:pt x="403614" y="324392"/>
                      <a:pt x="406537" y="321618"/>
                    </a:cubicBezTo>
                    <a:cubicBezTo>
                      <a:pt x="406630" y="321529"/>
                      <a:pt x="406721" y="321439"/>
                      <a:pt x="406809" y="321346"/>
                    </a:cubicBezTo>
                    <a:cubicBezTo>
                      <a:pt x="409681" y="318402"/>
                      <a:pt x="409681" y="313703"/>
                      <a:pt x="406809" y="310759"/>
                    </a:cubicBezTo>
                    <a:moveTo>
                      <a:pt x="439287" y="280284"/>
                    </a:moveTo>
                    <a:cubicBezTo>
                      <a:pt x="436650" y="277558"/>
                      <a:pt x="432302" y="277485"/>
                      <a:pt x="429577" y="280122"/>
                    </a:cubicBezTo>
                    <a:cubicBezTo>
                      <a:pt x="429521" y="280175"/>
                      <a:pt x="429468" y="280229"/>
                      <a:pt x="429415" y="280284"/>
                    </a:cubicBezTo>
                    <a:cubicBezTo>
                      <a:pt x="426798" y="282999"/>
                      <a:pt x="426798" y="287297"/>
                      <a:pt x="429415" y="290013"/>
                    </a:cubicBezTo>
                    <a:cubicBezTo>
                      <a:pt x="432052" y="292738"/>
                      <a:pt x="436400" y="292811"/>
                      <a:pt x="439126" y="290174"/>
                    </a:cubicBezTo>
                    <a:cubicBezTo>
                      <a:pt x="439181" y="290121"/>
                      <a:pt x="439234" y="290067"/>
                      <a:pt x="439287" y="290013"/>
                    </a:cubicBezTo>
                    <a:cubicBezTo>
                      <a:pt x="441904" y="287297"/>
                      <a:pt x="441904" y="282999"/>
                      <a:pt x="439287" y="280284"/>
                    </a:cubicBezTo>
                    <a:moveTo>
                      <a:pt x="471765" y="249809"/>
                    </a:moveTo>
                    <a:cubicBezTo>
                      <a:pt x="469276" y="247269"/>
                      <a:pt x="465200" y="247229"/>
                      <a:pt x="462660" y="249717"/>
                    </a:cubicBezTo>
                    <a:cubicBezTo>
                      <a:pt x="460122" y="252207"/>
                      <a:pt x="460080" y="256283"/>
                      <a:pt x="462570" y="258822"/>
                    </a:cubicBezTo>
                    <a:cubicBezTo>
                      <a:pt x="465058" y="261362"/>
                      <a:pt x="469134" y="261402"/>
                      <a:pt x="471674" y="258914"/>
                    </a:cubicBezTo>
                    <a:cubicBezTo>
                      <a:pt x="471705" y="258884"/>
                      <a:pt x="471735" y="258852"/>
                      <a:pt x="471765" y="258822"/>
                    </a:cubicBezTo>
                    <a:cubicBezTo>
                      <a:pt x="474255" y="256394"/>
                      <a:pt x="474305" y="252410"/>
                      <a:pt x="471877" y="249920"/>
                    </a:cubicBezTo>
                    <a:cubicBezTo>
                      <a:pt x="471840" y="249883"/>
                      <a:pt x="471802" y="249846"/>
                      <a:pt x="471765" y="249809"/>
                    </a:cubicBezTo>
                    <a:moveTo>
                      <a:pt x="504386" y="219334"/>
                    </a:moveTo>
                    <a:cubicBezTo>
                      <a:pt x="502174" y="216963"/>
                      <a:pt x="498459" y="216836"/>
                      <a:pt x="496088" y="219048"/>
                    </a:cubicBezTo>
                    <a:cubicBezTo>
                      <a:pt x="493717" y="221260"/>
                      <a:pt x="493590" y="224975"/>
                      <a:pt x="495802" y="227346"/>
                    </a:cubicBezTo>
                    <a:cubicBezTo>
                      <a:pt x="498014" y="229717"/>
                      <a:pt x="501729" y="229844"/>
                      <a:pt x="504100" y="227632"/>
                    </a:cubicBezTo>
                    <a:cubicBezTo>
                      <a:pt x="506471" y="225420"/>
                      <a:pt x="506598" y="221704"/>
                      <a:pt x="504386" y="219334"/>
                    </a:cubicBezTo>
                    <a:moveTo>
                      <a:pt x="536006" y="189288"/>
                    </a:moveTo>
                    <a:cubicBezTo>
                      <a:pt x="533951" y="187208"/>
                      <a:pt x="530599" y="187188"/>
                      <a:pt x="528520" y="189241"/>
                    </a:cubicBezTo>
                    <a:cubicBezTo>
                      <a:pt x="526440" y="191295"/>
                      <a:pt x="526418" y="194648"/>
                      <a:pt x="528473" y="196728"/>
                    </a:cubicBezTo>
                    <a:cubicBezTo>
                      <a:pt x="530528" y="198808"/>
                      <a:pt x="533880" y="198828"/>
                      <a:pt x="535959" y="196774"/>
                    </a:cubicBezTo>
                    <a:cubicBezTo>
                      <a:pt x="535974" y="196759"/>
                      <a:pt x="535990" y="196744"/>
                      <a:pt x="536006" y="196728"/>
                    </a:cubicBezTo>
                    <a:cubicBezTo>
                      <a:pt x="538042" y="194666"/>
                      <a:pt x="538042" y="191350"/>
                      <a:pt x="536006" y="189288"/>
                    </a:cubicBezTo>
                    <a:moveTo>
                      <a:pt x="568484" y="158813"/>
                    </a:moveTo>
                    <a:cubicBezTo>
                      <a:pt x="566627" y="156982"/>
                      <a:pt x="563638" y="157003"/>
                      <a:pt x="561806" y="158860"/>
                    </a:cubicBezTo>
                    <a:cubicBezTo>
                      <a:pt x="559977" y="160717"/>
                      <a:pt x="559997" y="163706"/>
                      <a:pt x="561854" y="165538"/>
                    </a:cubicBezTo>
                    <a:cubicBezTo>
                      <a:pt x="563692" y="167350"/>
                      <a:pt x="566645" y="167350"/>
                      <a:pt x="568484" y="165538"/>
                    </a:cubicBezTo>
                    <a:cubicBezTo>
                      <a:pt x="570341" y="163706"/>
                      <a:pt x="570362" y="160717"/>
                      <a:pt x="568531" y="158860"/>
                    </a:cubicBezTo>
                    <a:cubicBezTo>
                      <a:pt x="568515" y="158845"/>
                      <a:pt x="568500" y="158829"/>
                      <a:pt x="568484" y="158813"/>
                    </a:cubicBezTo>
                    <a:moveTo>
                      <a:pt x="600962" y="128338"/>
                    </a:moveTo>
                    <a:cubicBezTo>
                      <a:pt x="599342" y="126719"/>
                      <a:pt x="596715" y="126719"/>
                      <a:pt x="595096" y="128338"/>
                    </a:cubicBezTo>
                    <a:cubicBezTo>
                      <a:pt x="593460" y="130008"/>
                      <a:pt x="593460" y="132678"/>
                      <a:pt x="595096" y="134347"/>
                    </a:cubicBezTo>
                    <a:cubicBezTo>
                      <a:pt x="596677" y="136007"/>
                      <a:pt x="599302" y="136071"/>
                      <a:pt x="600962" y="134490"/>
                    </a:cubicBezTo>
                    <a:cubicBezTo>
                      <a:pt x="601010" y="134443"/>
                      <a:pt x="601059" y="134396"/>
                      <a:pt x="601105" y="134347"/>
                    </a:cubicBezTo>
                    <a:cubicBezTo>
                      <a:pt x="602724" y="132841"/>
                      <a:pt x="602816" y="130305"/>
                      <a:pt x="601309" y="128686"/>
                    </a:cubicBezTo>
                    <a:cubicBezTo>
                      <a:pt x="601244" y="128614"/>
                      <a:pt x="601175" y="128547"/>
                      <a:pt x="601105" y="128481"/>
                    </a:cubicBezTo>
                    <a:moveTo>
                      <a:pt x="633726" y="98006"/>
                    </a:moveTo>
                    <a:cubicBezTo>
                      <a:pt x="632304" y="96524"/>
                      <a:pt x="629949" y="96475"/>
                      <a:pt x="628466" y="97898"/>
                    </a:cubicBezTo>
                    <a:cubicBezTo>
                      <a:pt x="626984" y="99320"/>
                      <a:pt x="626936" y="101675"/>
                      <a:pt x="628358" y="103157"/>
                    </a:cubicBezTo>
                    <a:cubicBezTo>
                      <a:pt x="629780" y="104639"/>
                      <a:pt x="632135" y="104688"/>
                      <a:pt x="633617" y="103266"/>
                    </a:cubicBezTo>
                    <a:cubicBezTo>
                      <a:pt x="633654" y="103230"/>
                      <a:pt x="633690" y="103194"/>
                      <a:pt x="633726" y="103157"/>
                    </a:cubicBezTo>
                    <a:cubicBezTo>
                      <a:pt x="635107" y="101718"/>
                      <a:pt x="635107" y="99446"/>
                      <a:pt x="633726" y="98006"/>
                    </a:cubicBezTo>
                    <a:moveTo>
                      <a:pt x="666204" y="67531"/>
                    </a:moveTo>
                    <a:cubicBezTo>
                      <a:pt x="665084" y="66307"/>
                      <a:pt x="663184" y="66221"/>
                      <a:pt x="661959" y="67341"/>
                    </a:cubicBezTo>
                    <a:cubicBezTo>
                      <a:pt x="661893" y="67401"/>
                      <a:pt x="661829" y="67466"/>
                      <a:pt x="661769" y="67531"/>
                    </a:cubicBezTo>
                    <a:cubicBezTo>
                      <a:pt x="660550" y="68759"/>
                      <a:pt x="660550" y="70739"/>
                      <a:pt x="661769" y="71967"/>
                    </a:cubicBezTo>
                    <a:cubicBezTo>
                      <a:pt x="663025" y="73113"/>
                      <a:pt x="664948" y="73113"/>
                      <a:pt x="666204" y="71967"/>
                    </a:cubicBezTo>
                    <a:cubicBezTo>
                      <a:pt x="667423" y="70739"/>
                      <a:pt x="667423" y="68759"/>
                      <a:pt x="666204" y="67531"/>
                    </a:cubicBezTo>
                    <a:moveTo>
                      <a:pt x="699111" y="36913"/>
                    </a:moveTo>
                    <a:cubicBezTo>
                      <a:pt x="698124" y="35890"/>
                      <a:pt x="696493" y="35860"/>
                      <a:pt x="695470" y="36849"/>
                    </a:cubicBezTo>
                    <a:cubicBezTo>
                      <a:pt x="694447" y="37836"/>
                      <a:pt x="694417" y="39467"/>
                      <a:pt x="695405" y="40490"/>
                    </a:cubicBezTo>
                    <a:cubicBezTo>
                      <a:pt x="696393" y="41513"/>
                      <a:pt x="698024" y="41543"/>
                      <a:pt x="699047" y="40555"/>
                    </a:cubicBezTo>
                    <a:cubicBezTo>
                      <a:pt x="699068" y="40533"/>
                      <a:pt x="699090" y="40512"/>
                      <a:pt x="699111" y="40490"/>
                    </a:cubicBezTo>
                    <a:cubicBezTo>
                      <a:pt x="700098" y="39580"/>
                      <a:pt x="700161" y="38041"/>
                      <a:pt x="699251" y="37054"/>
                    </a:cubicBezTo>
                    <a:cubicBezTo>
                      <a:pt x="699207" y="37005"/>
                      <a:pt x="699160" y="36958"/>
                      <a:pt x="699111" y="36913"/>
                    </a:cubicBezTo>
                    <a:moveTo>
                      <a:pt x="392931" y="362409"/>
                    </a:moveTo>
                    <a:cubicBezTo>
                      <a:pt x="389809" y="359272"/>
                      <a:pt x="384737" y="359259"/>
                      <a:pt x="381599" y="362380"/>
                    </a:cubicBezTo>
                    <a:cubicBezTo>
                      <a:pt x="378463" y="365502"/>
                      <a:pt x="378450" y="370575"/>
                      <a:pt x="381572" y="373711"/>
                    </a:cubicBezTo>
                    <a:cubicBezTo>
                      <a:pt x="384693" y="376848"/>
                      <a:pt x="389766" y="376861"/>
                      <a:pt x="392902" y="373740"/>
                    </a:cubicBezTo>
                    <a:cubicBezTo>
                      <a:pt x="392912" y="373730"/>
                      <a:pt x="392921" y="373721"/>
                      <a:pt x="392931" y="373711"/>
                    </a:cubicBezTo>
                    <a:cubicBezTo>
                      <a:pt x="396041" y="370585"/>
                      <a:pt x="396041" y="365535"/>
                      <a:pt x="392931" y="362409"/>
                    </a:cubicBezTo>
                    <a:moveTo>
                      <a:pt x="425838" y="331647"/>
                    </a:moveTo>
                    <a:cubicBezTo>
                      <a:pt x="423032" y="328644"/>
                      <a:pt x="418325" y="328484"/>
                      <a:pt x="415322" y="331290"/>
                    </a:cubicBezTo>
                    <a:cubicBezTo>
                      <a:pt x="412319" y="334095"/>
                      <a:pt x="412159" y="338803"/>
                      <a:pt x="414965" y="341806"/>
                    </a:cubicBezTo>
                    <a:cubicBezTo>
                      <a:pt x="417909" y="344677"/>
                      <a:pt x="422608" y="344677"/>
                      <a:pt x="425552" y="341806"/>
                    </a:cubicBezTo>
                    <a:cubicBezTo>
                      <a:pt x="428475" y="338919"/>
                      <a:pt x="428505" y="334209"/>
                      <a:pt x="425618" y="331284"/>
                    </a:cubicBezTo>
                    <a:cubicBezTo>
                      <a:pt x="425596" y="331263"/>
                      <a:pt x="425574" y="331240"/>
                      <a:pt x="425552" y="331218"/>
                    </a:cubicBezTo>
                    <a:moveTo>
                      <a:pt x="458173" y="300743"/>
                    </a:moveTo>
                    <a:cubicBezTo>
                      <a:pt x="455486" y="298066"/>
                      <a:pt x="451138" y="298074"/>
                      <a:pt x="448461" y="300761"/>
                    </a:cubicBezTo>
                    <a:cubicBezTo>
                      <a:pt x="445784" y="303447"/>
                      <a:pt x="445791" y="307795"/>
                      <a:pt x="448478" y="310472"/>
                    </a:cubicBezTo>
                    <a:cubicBezTo>
                      <a:pt x="451158" y="313144"/>
                      <a:pt x="455493" y="313144"/>
                      <a:pt x="458173" y="310472"/>
                    </a:cubicBezTo>
                    <a:cubicBezTo>
                      <a:pt x="460860" y="307795"/>
                      <a:pt x="460867" y="303447"/>
                      <a:pt x="458190" y="300761"/>
                    </a:cubicBezTo>
                    <a:cubicBezTo>
                      <a:pt x="458185" y="300755"/>
                      <a:pt x="458179" y="300749"/>
                      <a:pt x="458173" y="300743"/>
                    </a:cubicBezTo>
                    <a:moveTo>
                      <a:pt x="490651" y="270268"/>
                    </a:moveTo>
                    <a:cubicBezTo>
                      <a:pt x="488598" y="267365"/>
                      <a:pt x="484580" y="266674"/>
                      <a:pt x="481677" y="268727"/>
                    </a:cubicBezTo>
                    <a:cubicBezTo>
                      <a:pt x="478773" y="270781"/>
                      <a:pt x="478083" y="274798"/>
                      <a:pt x="480137" y="277701"/>
                    </a:cubicBezTo>
                    <a:cubicBezTo>
                      <a:pt x="480480" y="278188"/>
                      <a:pt x="480889" y="278623"/>
                      <a:pt x="481351" y="278996"/>
                    </a:cubicBezTo>
                    <a:cubicBezTo>
                      <a:pt x="484118" y="281228"/>
                      <a:pt x="488173" y="280794"/>
                      <a:pt x="490405" y="278027"/>
                    </a:cubicBezTo>
                    <a:cubicBezTo>
                      <a:pt x="492212" y="275787"/>
                      <a:pt x="492312" y="272619"/>
                      <a:pt x="490651" y="270268"/>
                    </a:cubicBezTo>
                    <a:moveTo>
                      <a:pt x="523129" y="239650"/>
                    </a:moveTo>
                    <a:cubicBezTo>
                      <a:pt x="520917" y="237280"/>
                      <a:pt x="517201" y="237152"/>
                      <a:pt x="514831" y="239364"/>
                    </a:cubicBezTo>
                    <a:cubicBezTo>
                      <a:pt x="512460" y="241576"/>
                      <a:pt x="512333" y="245292"/>
                      <a:pt x="514545" y="247663"/>
                    </a:cubicBezTo>
                    <a:cubicBezTo>
                      <a:pt x="516757" y="250033"/>
                      <a:pt x="520472" y="250161"/>
                      <a:pt x="522843" y="247949"/>
                    </a:cubicBezTo>
                    <a:cubicBezTo>
                      <a:pt x="525214" y="245737"/>
                      <a:pt x="525341" y="242021"/>
                      <a:pt x="523129" y="239650"/>
                    </a:cubicBezTo>
                    <a:moveTo>
                      <a:pt x="555607" y="209175"/>
                    </a:moveTo>
                    <a:cubicBezTo>
                      <a:pt x="553593" y="207042"/>
                      <a:pt x="550229" y="206946"/>
                      <a:pt x="548096" y="208961"/>
                    </a:cubicBezTo>
                    <a:cubicBezTo>
                      <a:pt x="545962" y="210975"/>
                      <a:pt x="545867" y="214339"/>
                      <a:pt x="547881" y="216472"/>
                    </a:cubicBezTo>
                    <a:cubicBezTo>
                      <a:pt x="549896" y="218605"/>
                      <a:pt x="553259" y="218701"/>
                      <a:pt x="555392" y="216687"/>
                    </a:cubicBezTo>
                    <a:cubicBezTo>
                      <a:pt x="557526" y="214672"/>
                      <a:pt x="557622" y="211309"/>
                      <a:pt x="555607" y="209175"/>
                    </a:cubicBezTo>
                    <a:moveTo>
                      <a:pt x="588228" y="178701"/>
                    </a:moveTo>
                    <a:cubicBezTo>
                      <a:pt x="586371" y="176759"/>
                      <a:pt x="583292" y="176690"/>
                      <a:pt x="581350" y="178547"/>
                    </a:cubicBezTo>
                    <a:cubicBezTo>
                      <a:pt x="579409" y="180405"/>
                      <a:pt x="579340" y="183483"/>
                      <a:pt x="581197" y="185425"/>
                    </a:cubicBezTo>
                    <a:cubicBezTo>
                      <a:pt x="583054" y="187367"/>
                      <a:pt x="586133" y="187435"/>
                      <a:pt x="588075" y="185578"/>
                    </a:cubicBezTo>
                    <a:cubicBezTo>
                      <a:pt x="588126" y="185528"/>
                      <a:pt x="588178" y="185477"/>
                      <a:pt x="588228" y="185425"/>
                    </a:cubicBezTo>
                    <a:cubicBezTo>
                      <a:pt x="590085" y="183595"/>
                      <a:pt x="590107" y="180605"/>
                      <a:pt x="588275" y="178748"/>
                    </a:cubicBezTo>
                    <a:cubicBezTo>
                      <a:pt x="588260" y="178732"/>
                      <a:pt x="588244" y="178716"/>
                      <a:pt x="588228" y="178701"/>
                    </a:cubicBezTo>
                    <a:moveTo>
                      <a:pt x="620706" y="148226"/>
                    </a:moveTo>
                    <a:cubicBezTo>
                      <a:pt x="619046" y="146533"/>
                      <a:pt x="616329" y="146506"/>
                      <a:pt x="614637" y="148165"/>
                    </a:cubicBezTo>
                    <a:cubicBezTo>
                      <a:pt x="612943" y="149824"/>
                      <a:pt x="612916" y="152542"/>
                      <a:pt x="614575" y="154235"/>
                    </a:cubicBezTo>
                    <a:cubicBezTo>
                      <a:pt x="616235" y="155927"/>
                      <a:pt x="618952" y="155954"/>
                      <a:pt x="620646" y="154295"/>
                    </a:cubicBezTo>
                    <a:cubicBezTo>
                      <a:pt x="620666" y="154275"/>
                      <a:pt x="620686" y="154255"/>
                      <a:pt x="620706" y="154235"/>
                    </a:cubicBezTo>
                    <a:cubicBezTo>
                      <a:pt x="622341" y="152565"/>
                      <a:pt x="622341" y="149895"/>
                      <a:pt x="620706" y="148226"/>
                    </a:cubicBezTo>
                    <a:moveTo>
                      <a:pt x="653184" y="117751"/>
                    </a:moveTo>
                    <a:cubicBezTo>
                      <a:pt x="651722" y="116421"/>
                      <a:pt x="649460" y="116530"/>
                      <a:pt x="648132" y="117991"/>
                    </a:cubicBezTo>
                    <a:cubicBezTo>
                      <a:pt x="646803" y="119453"/>
                      <a:pt x="646910" y="121715"/>
                      <a:pt x="648372" y="123044"/>
                    </a:cubicBezTo>
                    <a:cubicBezTo>
                      <a:pt x="649737" y="124285"/>
                      <a:pt x="651821" y="124285"/>
                      <a:pt x="653184" y="123044"/>
                    </a:cubicBezTo>
                    <a:cubicBezTo>
                      <a:pt x="654583" y="121558"/>
                      <a:pt x="654583" y="119239"/>
                      <a:pt x="653184" y="117751"/>
                    </a:cubicBezTo>
                    <a:moveTo>
                      <a:pt x="686091" y="88420"/>
                    </a:moveTo>
                    <a:cubicBezTo>
                      <a:pt x="684864" y="87201"/>
                      <a:pt x="682884" y="87201"/>
                      <a:pt x="681656" y="88420"/>
                    </a:cubicBezTo>
                    <a:cubicBezTo>
                      <a:pt x="680431" y="89541"/>
                      <a:pt x="680345" y="91441"/>
                      <a:pt x="681466" y="92665"/>
                    </a:cubicBezTo>
                    <a:cubicBezTo>
                      <a:pt x="681526" y="92731"/>
                      <a:pt x="681590" y="92796"/>
                      <a:pt x="681656" y="92856"/>
                    </a:cubicBezTo>
                    <a:cubicBezTo>
                      <a:pt x="682884" y="94075"/>
                      <a:pt x="684864" y="94075"/>
                      <a:pt x="686091" y="92856"/>
                    </a:cubicBezTo>
                    <a:cubicBezTo>
                      <a:pt x="687237" y="91599"/>
                      <a:pt x="687237" y="89676"/>
                      <a:pt x="686091" y="88420"/>
                    </a:cubicBezTo>
                    <a:moveTo>
                      <a:pt x="718569" y="57945"/>
                    </a:moveTo>
                    <a:cubicBezTo>
                      <a:pt x="717523" y="56964"/>
                      <a:pt x="715895" y="56964"/>
                      <a:pt x="714849" y="57945"/>
                    </a:cubicBezTo>
                    <a:cubicBezTo>
                      <a:pt x="713934" y="59016"/>
                      <a:pt x="713934" y="60595"/>
                      <a:pt x="714849" y="61665"/>
                    </a:cubicBezTo>
                    <a:cubicBezTo>
                      <a:pt x="715837" y="62733"/>
                      <a:pt x="717502" y="62796"/>
                      <a:pt x="718569" y="61808"/>
                    </a:cubicBezTo>
                    <a:cubicBezTo>
                      <a:pt x="719637" y="60821"/>
                      <a:pt x="719699" y="59156"/>
                      <a:pt x="718712" y="58088"/>
                    </a:cubicBezTo>
                    <a:moveTo>
                      <a:pt x="367750" y="425218"/>
                    </a:moveTo>
                    <a:cubicBezTo>
                      <a:pt x="370872" y="428355"/>
                      <a:pt x="375944" y="428367"/>
                      <a:pt x="379081" y="425247"/>
                    </a:cubicBezTo>
                    <a:cubicBezTo>
                      <a:pt x="382218" y="422125"/>
                      <a:pt x="382230" y="417052"/>
                      <a:pt x="379109" y="413915"/>
                    </a:cubicBezTo>
                    <a:cubicBezTo>
                      <a:pt x="375988" y="410779"/>
                      <a:pt x="370915" y="410766"/>
                      <a:pt x="367778" y="413887"/>
                    </a:cubicBezTo>
                    <a:cubicBezTo>
                      <a:pt x="367768" y="413897"/>
                      <a:pt x="367760" y="413905"/>
                      <a:pt x="367750" y="413915"/>
                    </a:cubicBezTo>
                    <a:cubicBezTo>
                      <a:pt x="364639" y="417042"/>
                      <a:pt x="364639" y="422092"/>
                      <a:pt x="367750" y="425218"/>
                    </a:cubicBezTo>
                    <a:moveTo>
                      <a:pt x="335701" y="455693"/>
                    </a:moveTo>
                    <a:cubicBezTo>
                      <a:pt x="338507" y="458696"/>
                      <a:pt x="343214" y="458857"/>
                      <a:pt x="346217" y="456051"/>
                    </a:cubicBezTo>
                    <a:cubicBezTo>
                      <a:pt x="349220" y="453245"/>
                      <a:pt x="349380" y="448538"/>
                      <a:pt x="346575" y="445535"/>
                    </a:cubicBezTo>
                    <a:cubicBezTo>
                      <a:pt x="343630" y="442663"/>
                      <a:pt x="338932" y="442663"/>
                      <a:pt x="335987" y="445535"/>
                    </a:cubicBezTo>
                    <a:cubicBezTo>
                      <a:pt x="333064" y="448422"/>
                      <a:pt x="333034" y="453132"/>
                      <a:pt x="335921" y="456057"/>
                    </a:cubicBezTo>
                    <a:cubicBezTo>
                      <a:pt x="335943" y="456078"/>
                      <a:pt x="335964" y="456101"/>
                      <a:pt x="335987" y="456123"/>
                    </a:cubicBezTo>
                    <a:moveTo>
                      <a:pt x="302651" y="486168"/>
                    </a:moveTo>
                    <a:cubicBezTo>
                      <a:pt x="305384" y="488878"/>
                      <a:pt x="309790" y="488878"/>
                      <a:pt x="312523" y="486168"/>
                    </a:cubicBezTo>
                    <a:cubicBezTo>
                      <a:pt x="315157" y="483404"/>
                      <a:pt x="315157" y="479060"/>
                      <a:pt x="312523" y="476296"/>
                    </a:cubicBezTo>
                    <a:cubicBezTo>
                      <a:pt x="309807" y="473679"/>
                      <a:pt x="305509" y="473679"/>
                      <a:pt x="302794" y="476296"/>
                    </a:cubicBezTo>
                    <a:cubicBezTo>
                      <a:pt x="300107" y="478973"/>
                      <a:pt x="300100" y="483321"/>
                      <a:pt x="302777" y="486008"/>
                    </a:cubicBezTo>
                    <a:cubicBezTo>
                      <a:pt x="302782" y="486014"/>
                      <a:pt x="302788" y="486019"/>
                      <a:pt x="302794" y="486025"/>
                    </a:cubicBezTo>
                    <a:moveTo>
                      <a:pt x="270316" y="516500"/>
                    </a:moveTo>
                    <a:cubicBezTo>
                      <a:pt x="272369" y="519403"/>
                      <a:pt x="276387" y="520094"/>
                      <a:pt x="279290" y="518041"/>
                    </a:cubicBezTo>
                    <a:cubicBezTo>
                      <a:pt x="282194" y="515988"/>
                      <a:pt x="282884" y="511970"/>
                      <a:pt x="280830" y="509067"/>
                    </a:cubicBezTo>
                    <a:cubicBezTo>
                      <a:pt x="280487" y="508581"/>
                      <a:pt x="280079" y="508146"/>
                      <a:pt x="279616" y="507773"/>
                    </a:cubicBezTo>
                    <a:cubicBezTo>
                      <a:pt x="277563" y="504870"/>
                      <a:pt x="273545" y="504179"/>
                      <a:pt x="270642" y="506232"/>
                    </a:cubicBezTo>
                    <a:cubicBezTo>
                      <a:pt x="267738" y="508285"/>
                      <a:pt x="267048" y="512302"/>
                      <a:pt x="269101" y="515205"/>
                    </a:cubicBezTo>
                    <a:cubicBezTo>
                      <a:pt x="269445" y="515690"/>
                      <a:pt x="269852" y="516127"/>
                      <a:pt x="270316" y="516500"/>
                    </a:cubicBezTo>
                    <a:moveTo>
                      <a:pt x="237838" y="547118"/>
                    </a:moveTo>
                    <a:cubicBezTo>
                      <a:pt x="240050" y="549489"/>
                      <a:pt x="243765" y="549616"/>
                      <a:pt x="246136" y="547404"/>
                    </a:cubicBezTo>
                    <a:cubicBezTo>
                      <a:pt x="248507" y="545192"/>
                      <a:pt x="248634" y="541477"/>
                      <a:pt x="246422" y="539106"/>
                    </a:cubicBezTo>
                    <a:cubicBezTo>
                      <a:pt x="244210" y="536735"/>
                      <a:pt x="240495" y="536608"/>
                      <a:pt x="238124" y="538820"/>
                    </a:cubicBezTo>
                    <a:cubicBezTo>
                      <a:pt x="235753" y="541032"/>
                      <a:pt x="235626" y="544747"/>
                      <a:pt x="237838" y="547118"/>
                    </a:cubicBezTo>
                    <a:moveTo>
                      <a:pt x="205217" y="577736"/>
                    </a:moveTo>
                    <a:cubicBezTo>
                      <a:pt x="207231" y="579869"/>
                      <a:pt x="210595" y="579965"/>
                      <a:pt x="212728" y="577951"/>
                    </a:cubicBezTo>
                    <a:cubicBezTo>
                      <a:pt x="214862" y="575936"/>
                      <a:pt x="214957" y="572573"/>
                      <a:pt x="212943" y="570439"/>
                    </a:cubicBezTo>
                    <a:cubicBezTo>
                      <a:pt x="210928" y="568306"/>
                      <a:pt x="207565" y="568210"/>
                      <a:pt x="205431" y="570225"/>
                    </a:cubicBezTo>
                    <a:cubicBezTo>
                      <a:pt x="203298" y="572239"/>
                      <a:pt x="203202" y="575603"/>
                      <a:pt x="205217" y="577736"/>
                    </a:cubicBezTo>
                    <a:moveTo>
                      <a:pt x="172596" y="608211"/>
                    </a:moveTo>
                    <a:cubicBezTo>
                      <a:pt x="174453" y="610153"/>
                      <a:pt x="177532" y="610221"/>
                      <a:pt x="179473" y="608364"/>
                    </a:cubicBezTo>
                    <a:cubicBezTo>
                      <a:pt x="181415" y="606507"/>
                      <a:pt x="181484" y="603428"/>
                      <a:pt x="179626" y="601487"/>
                    </a:cubicBezTo>
                    <a:cubicBezTo>
                      <a:pt x="177769" y="599545"/>
                      <a:pt x="174690" y="599476"/>
                      <a:pt x="172749" y="601333"/>
                    </a:cubicBezTo>
                    <a:cubicBezTo>
                      <a:pt x="172697" y="601384"/>
                      <a:pt x="172646" y="601435"/>
                      <a:pt x="172596" y="601487"/>
                    </a:cubicBezTo>
                    <a:cubicBezTo>
                      <a:pt x="170739" y="603318"/>
                      <a:pt x="170717" y="606307"/>
                      <a:pt x="172549" y="608164"/>
                    </a:cubicBezTo>
                    <a:cubicBezTo>
                      <a:pt x="172564" y="608180"/>
                      <a:pt x="172580" y="608195"/>
                      <a:pt x="172596" y="608211"/>
                    </a:cubicBezTo>
                    <a:moveTo>
                      <a:pt x="140118" y="638686"/>
                    </a:moveTo>
                    <a:cubicBezTo>
                      <a:pt x="141777" y="640379"/>
                      <a:pt x="144494" y="640406"/>
                      <a:pt x="146187" y="638746"/>
                    </a:cubicBezTo>
                    <a:cubicBezTo>
                      <a:pt x="147881" y="637088"/>
                      <a:pt x="147908" y="634369"/>
                      <a:pt x="146249" y="632677"/>
                    </a:cubicBezTo>
                    <a:cubicBezTo>
                      <a:pt x="144589" y="630984"/>
                      <a:pt x="141872" y="630957"/>
                      <a:pt x="140178" y="632617"/>
                    </a:cubicBezTo>
                    <a:cubicBezTo>
                      <a:pt x="140158" y="632637"/>
                      <a:pt x="140138" y="632657"/>
                      <a:pt x="140118" y="632677"/>
                    </a:cubicBezTo>
                    <a:cubicBezTo>
                      <a:pt x="138482" y="634347"/>
                      <a:pt x="138482" y="637016"/>
                      <a:pt x="140118" y="638686"/>
                    </a:cubicBezTo>
                    <a:moveTo>
                      <a:pt x="107640" y="669161"/>
                    </a:moveTo>
                    <a:cubicBezTo>
                      <a:pt x="109102" y="670490"/>
                      <a:pt x="111364" y="670381"/>
                      <a:pt x="112693" y="668921"/>
                    </a:cubicBezTo>
                    <a:cubicBezTo>
                      <a:pt x="114021" y="667458"/>
                      <a:pt x="113914" y="665196"/>
                      <a:pt x="112451" y="663867"/>
                    </a:cubicBezTo>
                    <a:cubicBezTo>
                      <a:pt x="111088" y="662627"/>
                      <a:pt x="109005" y="662627"/>
                      <a:pt x="107640" y="663867"/>
                    </a:cubicBezTo>
                    <a:cubicBezTo>
                      <a:pt x="106241" y="665355"/>
                      <a:pt x="106241" y="667674"/>
                      <a:pt x="107640" y="669161"/>
                    </a:cubicBezTo>
                    <a:moveTo>
                      <a:pt x="387208" y="446107"/>
                    </a:moveTo>
                    <a:cubicBezTo>
                      <a:pt x="390334" y="449218"/>
                      <a:pt x="395385" y="449218"/>
                      <a:pt x="398511" y="446107"/>
                    </a:cubicBezTo>
                    <a:cubicBezTo>
                      <a:pt x="401638" y="442932"/>
                      <a:pt x="401638" y="437836"/>
                      <a:pt x="398511" y="434661"/>
                    </a:cubicBezTo>
                    <a:cubicBezTo>
                      <a:pt x="395385" y="431551"/>
                      <a:pt x="390334" y="431551"/>
                      <a:pt x="387208" y="434661"/>
                    </a:cubicBezTo>
                    <a:cubicBezTo>
                      <a:pt x="384086" y="437686"/>
                      <a:pt x="384007" y="442668"/>
                      <a:pt x="387032" y="445788"/>
                    </a:cubicBezTo>
                    <a:cubicBezTo>
                      <a:pt x="387089" y="445848"/>
                      <a:pt x="387148" y="445907"/>
                      <a:pt x="387208" y="445964"/>
                    </a:cubicBezTo>
                    <a:moveTo>
                      <a:pt x="354587" y="476439"/>
                    </a:moveTo>
                    <a:cubicBezTo>
                      <a:pt x="357474" y="479362"/>
                      <a:pt x="362184" y="479392"/>
                      <a:pt x="365109" y="476505"/>
                    </a:cubicBezTo>
                    <a:cubicBezTo>
                      <a:pt x="365130" y="476484"/>
                      <a:pt x="365153" y="476462"/>
                      <a:pt x="365174" y="476439"/>
                    </a:cubicBezTo>
                    <a:cubicBezTo>
                      <a:pt x="368046" y="473495"/>
                      <a:pt x="368046" y="468796"/>
                      <a:pt x="365174" y="465852"/>
                    </a:cubicBezTo>
                    <a:cubicBezTo>
                      <a:pt x="362010" y="463109"/>
                      <a:pt x="357221" y="463451"/>
                      <a:pt x="354478" y="466616"/>
                    </a:cubicBezTo>
                    <a:cubicBezTo>
                      <a:pt x="352133" y="469320"/>
                      <a:pt x="352000" y="473297"/>
                      <a:pt x="354158" y="476153"/>
                    </a:cubicBezTo>
                    <a:moveTo>
                      <a:pt x="321680" y="506628"/>
                    </a:moveTo>
                    <a:cubicBezTo>
                      <a:pt x="324317" y="509354"/>
                      <a:pt x="328665" y="509426"/>
                      <a:pt x="331390" y="506790"/>
                    </a:cubicBezTo>
                    <a:cubicBezTo>
                      <a:pt x="331445" y="506737"/>
                      <a:pt x="331499" y="506682"/>
                      <a:pt x="331552" y="506628"/>
                    </a:cubicBezTo>
                    <a:cubicBezTo>
                      <a:pt x="334124" y="503734"/>
                      <a:pt x="333863" y="499302"/>
                      <a:pt x="330968" y="496730"/>
                    </a:cubicBezTo>
                    <a:cubicBezTo>
                      <a:pt x="328427" y="494472"/>
                      <a:pt x="324633" y="494364"/>
                      <a:pt x="321966" y="496470"/>
                    </a:cubicBezTo>
                    <a:cubicBezTo>
                      <a:pt x="319332" y="499234"/>
                      <a:pt x="319332" y="503578"/>
                      <a:pt x="321966" y="506342"/>
                    </a:cubicBezTo>
                    <a:moveTo>
                      <a:pt x="289488" y="536817"/>
                    </a:moveTo>
                    <a:cubicBezTo>
                      <a:pt x="291977" y="539356"/>
                      <a:pt x="296054" y="539396"/>
                      <a:pt x="298593" y="536908"/>
                    </a:cubicBezTo>
                    <a:cubicBezTo>
                      <a:pt x="301133" y="534419"/>
                      <a:pt x="301173" y="530343"/>
                      <a:pt x="298683" y="527803"/>
                    </a:cubicBezTo>
                    <a:cubicBezTo>
                      <a:pt x="296195" y="525263"/>
                      <a:pt x="292118" y="525223"/>
                      <a:pt x="289579" y="527711"/>
                    </a:cubicBezTo>
                    <a:cubicBezTo>
                      <a:pt x="289548" y="527742"/>
                      <a:pt x="289518" y="527773"/>
                      <a:pt x="289488" y="527803"/>
                    </a:cubicBezTo>
                    <a:cubicBezTo>
                      <a:pt x="286998" y="530231"/>
                      <a:pt x="286948" y="534216"/>
                      <a:pt x="289376" y="536705"/>
                    </a:cubicBezTo>
                    <a:cubicBezTo>
                      <a:pt x="289414" y="536742"/>
                      <a:pt x="289451" y="536780"/>
                      <a:pt x="289488" y="536817"/>
                    </a:cubicBezTo>
                    <a:moveTo>
                      <a:pt x="257010" y="567864"/>
                    </a:moveTo>
                    <a:cubicBezTo>
                      <a:pt x="259301" y="570156"/>
                      <a:pt x="263015" y="570156"/>
                      <a:pt x="265305" y="567867"/>
                    </a:cubicBezTo>
                    <a:cubicBezTo>
                      <a:pt x="265307" y="567865"/>
                      <a:pt x="265307" y="567865"/>
                      <a:pt x="265308" y="567864"/>
                    </a:cubicBezTo>
                    <a:cubicBezTo>
                      <a:pt x="267600" y="565686"/>
                      <a:pt x="267693" y="562065"/>
                      <a:pt x="265516" y="559773"/>
                    </a:cubicBezTo>
                    <a:cubicBezTo>
                      <a:pt x="265448" y="559702"/>
                      <a:pt x="265380" y="559633"/>
                      <a:pt x="265308" y="559566"/>
                    </a:cubicBezTo>
                    <a:cubicBezTo>
                      <a:pt x="263096" y="557195"/>
                      <a:pt x="259381" y="557068"/>
                      <a:pt x="257010" y="559279"/>
                    </a:cubicBezTo>
                    <a:cubicBezTo>
                      <a:pt x="254639" y="561491"/>
                      <a:pt x="254512" y="565207"/>
                      <a:pt x="256724" y="567578"/>
                    </a:cubicBezTo>
                    <a:moveTo>
                      <a:pt x="224246" y="598053"/>
                    </a:moveTo>
                    <a:cubicBezTo>
                      <a:pt x="226300" y="600133"/>
                      <a:pt x="229653" y="600153"/>
                      <a:pt x="231731" y="598100"/>
                    </a:cubicBezTo>
                    <a:cubicBezTo>
                      <a:pt x="233812" y="596045"/>
                      <a:pt x="233833" y="592693"/>
                      <a:pt x="231779" y="590613"/>
                    </a:cubicBezTo>
                    <a:cubicBezTo>
                      <a:pt x="229724" y="588533"/>
                      <a:pt x="226372" y="588513"/>
                      <a:pt x="224292" y="590567"/>
                    </a:cubicBezTo>
                    <a:cubicBezTo>
                      <a:pt x="224277" y="590581"/>
                      <a:pt x="224262" y="590597"/>
                      <a:pt x="224246" y="590613"/>
                    </a:cubicBezTo>
                    <a:cubicBezTo>
                      <a:pt x="222210" y="592675"/>
                      <a:pt x="222210" y="595991"/>
                      <a:pt x="224246" y="598053"/>
                    </a:cubicBezTo>
                    <a:moveTo>
                      <a:pt x="192626" y="628814"/>
                    </a:moveTo>
                    <a:cubicBezTo>
                      <a:pt x="194483" y="630644"/>
                      <a:pt x="197472" y="630624"/>
                      <a:pt x="199304" y="628767"/>
                    </a:cubicBezTo>
                    <a:cubicBezTo>
                      <a:pt x="201133" y="626910"/>
                      <a:pt x="201112" y="623919"/>
                      <a:pt x="199256" y="622089"/>
                    </a:cubicBezTo>
                    <a:cubicBezTo>
                      <a:pt x="197418" y="620277"/>
                      <a:pt x="194465" y="620277"/>
                      <a:pt x="192626" y="622089"/>
                    </a:cubicBezTo>
                    <a:cubicBezTo>
                      <a:pt x="190769" y="623919"/>
                      <a:pt x="190748" y="626910"/>
                      <a:pt x="192579" y="628767"/>
                    </a:cubicBezTo>
                    <a:cubicBezTo>
                      <a:pt x="192595" y="628782"/>
                      <a:pt x="192611" y="628798"/>
                      <a:pt x="192626" y="628814"/>
                    </a:cubicBezTo>
                    <a:moveTo>
                      <a:pt x="159576" y="659289"/>
                    </a:moveTo>
                    <a:cubicBezTo>
                      <a:pt x="161196" y="660908"/>
                      <a:pt x="163822" y="660908"/>
                      <a:pt x="165442" y="659289"/>
                    </a:cubicBezTo>
                    <a:cubicBezTo>
                      <a:pt x="167077" y="657619"/>
                      <a:pt x="167077" y="654949"/>
                      <a:pt x="165442" y="653280"/>
                    </a:cubicBezTo>
                    <a:cubicBezTo>
                      <a:pt x="163861" y="651620"/>
                      <a:pt x="161236" y="651556"/>
                      <a:pt x="159576" y="653137"/>
                    </a:cubicBezTo>
                    <a:cubicBezTo>
                      <a:pt x="159527" y="653184"/>
                      <a:pt x="159480" y="653231"/>
                      <a:pt x="159433" y="653280"/>
                    </a:cubicBezTo>
                    <a:cubicBezTo>
                      <a:pt x="157813" y="654786"/>
                      <a:pt x="157722" y="657321"/>
                      <a:pt x="159228" y="658941"/>
                    </a:cubicBezTo>
                    <a:cubicBezTo>
                      <a:pt x="159294" y="659013"/>
                      <a:pt x="159363" y="659080"/>
                      <a:pt x="159433" y="659146"/>
                    </a:cubicBezTo>
                    <a:moveTo>
                      <a:pt x="126955" y="689334"/>
                    </a:moveTo>
                    <a:cubicBezTo>
                      <a:pt x="128377" y="690817"/>
                      <a:pt x="130732" y="690865"/>
                      <a:pt x="132214" y="689443"/>
                    </a:cubicBezTo>
                    <a:cubicBezTo>
                      <a:pt x="133697" y="688021"/>
                      <a:pt x="133745" y="685666"/>
                      <a:pt x="132323" y="684184"/>
                    </a:cubicBezTo>
                    <a:cubicBezTo>
                      <a:pt x="130901" y="682702"/>
                      <a:pt x="128546" y="682653"/>
                      <a:pt x="127064" y="684075"/>
                    </a:cubicBezTo>
                    <a:cubicBezTo>
                      <a:pt x="127026" y="684111"/>
                      <a:pt x="126991" y="684147"/>
                      <a:pt x="126955" y="684184"/>
                    </a:cubicBezTo>
                    <a:cubicBezTo>
                      <a:pt x="125574" y="685623"/>
                      <a:pt x="125574" y="687895"/>
                      <a:pt x="126955" y="689334"/>
                    </a:cubicBezTo>
                    <a:moveTo>
                      <a:pt x="407238" y="466710"/>
                    </a:moveTo>
                    <a:cubicBezTo>
                      <a:pt x="410365" y="469820"/>
                      <a:pt x="415415" y="469820"/>
                      <a:pt x="418541" y="466710"/>
                    </a:cubicBezTo>
                    <a:cubicBezTo>
                      <a:pt x="421603" y="463515"/>
                      <a:pt x="421494" y="458443"/>
                      <a:pt x="418300" y="455381"/>
                    </a:cubicBezTo>
                    <a:cubicBezTo>
                      <a:pt x="415369" y="452574"/>
                      <a:pt x="410802" y="452400"/>
                      <a:pt x="407668" y="454978"/>
                    </a:cubicBezTo>
                    <a:cubicBezTo>
                      <a:pt x="404540" y="458153"/>
                      <a:pt x="404540" y="463249"/>
                      <a:pt x="407668" y="466424"/>
                    </a:cubicBezTo>
                    <a:moveTo>
                      <a:pt x="375190" y="496899"/>
                    </a:moveTo>
                    <a:cubicBezTo>
                      <a:pt x="378113" y="499786"/>
                      <a:pt x="382824" y="499756"/>
                      <a:pt x="385711" y="496833"/>
                    </a:cubicBezTo>
                    <a:cubicBezTo>
                      <a:pt x="388599" y="493909"/>
                      <a:pt x="388569" y="489199"/>
                      <a:pt x="385646" y="486311"/>
                    </a:cubicBezTo>
                    <a:cubicBezTo>
                      <a:pt x="382747" y="483450"/>
                      <a:pt x="378087" y="483450"/>
                      <a:pt x="375190" y="486311"/>
                    </a:cubicBezTo>
                    <a:cubicBezTo>
                      <a:pt x="372267" y="489199"/>
                      <a:pt x="372237" y="493909"/>
                      <a:pt x="375124" y="496833"/>
                    </a:cubicBezTo>
                    <a:cubicBezTo>
                      <a:pt x="375145" y="496855"/>
                      <a:pt x="375167" y="496877"/>
                      <a:pt x="375190" y="496899"/>
                    </a:cubicBezTo>
                    <a:moveTo>
                      <a:pt x="341567" y="527660"/>
                    </a:moveTo>
                    <a:cubicBezTo>
                      <a:pt x="344283" y="530277"/>
                      <a:pt x="348581" y="530277"/>
                      <a:pt x="351296" y="527660"/>
                    </a:cubicBezTo>
                    <a:cubicBezTo>
                      <a:pt x="354022" y="525023"/>
                      <a:pt x="354095" y="520675"/>
                      <a:pt x="351458" y="517949"/>
                    </a:cubicBezTo>
                    <a:cubicBezTo>
                      <a:pt x="351405" y="517895"/>
                      <a:pt x="351351" y="517841"/>
                      <a:pt x="351296" y="517788"/>
                    </a:cubicBezTo>
                    <a:cubicBezTo>
                      <a:pt x="348581" y="515171"/>
                      <a:pt x="344283" y="515171"/>
                      <a:pt x="341567" y="517788"/>
                    </a:cubicBezTo>
                    <a:cubicBezTo>
                      <a:pt x="338842" y="520425"/>
                      <a:pt x="338769" y="524773"/>
                      <a:pt x="341405" y="527498"/>
                    </a:cubicBezTo>
                    <a:cubicBezTo>
                      <a:pt x="341458" y="527553"/>
                      <a:pt x="341513" y="527607"/>
                      <a:pt x="341567" y="527660"/>
                    </a:cubicBezTo>
                    <a:moveTo>
                      <a:pt x="308946" y="558135"/>
                    </a:moveTo>
                    <a:cubicBezTo>
                      <a:pt x="311374" y="560624"/>
                      <a:pt x="315359" y="560674"/>
                      <a:pt x="317848" y="558246"/>
                    </a:cubicBezTo>
                    <a:cubicBezTo>
                      <a:pt x="317885" y="558209"/>
                      <a:pt x="317923" y="558172"/>
                      <a:pt x="317960" y="558135"/>
                    </a:cubicBezTo>
                    <a:cubicBezTo>
                      <a:pt x="320863" y="556082"/>
                      <a:pt x="321554" y="552064"/>
                      <a:pt x="319501" y="549161"/>
                    </a:cubicBezTo>
                    <a:cubicBezTo>
                      <a:pt x="317448" y="546257"/>
                      <a:pt x="313430" y="545567"/>
                      <a:pt x="310527" y="547620"/>
                    </a:cubicBezTo>
                    <a:cubicBezTo>
                      <a:pt x="310041" y="547964"/>
                      <a:pt x="309606" y="548373"/>
                      <a:pt x="309232" y="548835"/>
                    </a:cubicBezTo>
                    <a:cubicBezTo>
                      <a:pt x="306743" y="551263"/>
                      <a:pt x="306693" y="555248"/>
                      <a:pt x="309121" y="557737"/>
                    </a:cubicBezTo>
                    <a:cubicBezTo>
                      <a:pt x="309158" y="557774"/>
                      <a:pt x="309195" y="557812"/>
                      <a:pt x="309232" y="557849"/>
                    </a:cubicBezTo>
                    <a:moveTo>
                      <a:pt x="276468" y="589182"/>
                    </a:moveTo>
                    <a:cubicBezTo>
                      <a:pt x="278680" y="591553"/>
                      <a:pt x="282396" y="591680"/>
                      <a:pt x="284766" y="589468"/>
                    </a:cubicBezTo>
                    <a:cubicBezTo>
                      <a:pt x="287137" y="587256"/>
                      <a:pt x="287265" y="583541"/>
                      <a:pt x="285053" y="581170"/>
                    </a:cubicBezTo>
                    <a:cubicBezTo>
                      <a:pt x="282841" y="578799"/>
                      <a:pt x="279125" y="578672"/>
                      <a:pt x="276754" y="580884"/>
                    </a:cubicBezTo>
                    <a:cubicBezTo>
                      <a:pt x="274383" y="583096"/>
                      <a:pt x="274256" y="586811"/>
                      <a:pt x="276468" y="589182"/>
                    </a:cubicBezTo>
                    <a:moveTo>
                      <a:pt x="243990" y="619657"/>
                    </a:moveTo>
                    <a:cubicBezTo>
                      <a:pt x="246052" y="621693"/>
                      <a:pt x="249368" y="621693"/>
                      <a:pt x="251430" y="619657"/>
                    </a:cubicBezTo>
                    <a:cubicBezTo>
                      <a:pt x="253620" y="617602"/>
                      <a:pt x="253729" y="614162"/>
                      <a:pt x="251675" y="611973"/>
                    </a:cubicBezTo>
                    <a:cubicBezTo>
                      <a:pt x="249620" y="609782"/>
                      <a:pt x="246181" y="609673"/>
                      <a:pt x="243990" y="611726"/>
                    </a:cubicBezTo>
                    <a:cubicBezTo>
                      <a:pt x="241800" y="613781"/>
                      <a:pt x="241691" y="617222"/>
                      <a:pt x="243745" y="619412"/>
                    </a:cubicBezTo>
                    <a:cubicBezTo>
                      <a:pt x="243824" y="619497"/>
                      <a:pt x="243906" y="619578"/>
                      <a:pt x="243990" y="619657"/>
                    </a:cubicBezTo>
                    <a:moveTo>
                      <a:pt x="211369" y="650132"/>
                    </a:moveTo>
                    <a:cubicBezTo>
                      <a:pt x="213268" y="652023"/>
                      <a:pt x="216338" y="652023"/>
                      <a:pt x="218237" y="650132"/>
                    </a:cubicBezTo>
                    <a:cubicBezTo>
                      <a:pt x="220134" y="648315"/>
                      <a:pt x="220197" y="645305"/>
                      <a:pt x="218380" y="643407"/>
                    </a:cubicBezTo>
                    <a:cubicBezTo>
                      <a:pt x="216563" y="641512"/>
                      <a:pt x="213551" y="641447"/>
                      <a:pt x="211655" y="643264"/>
                    </a:cubicBezTo>
                    <a:cubicBezTo>
                      <a:pt x="209857" y="645144"/>
                      <a:pt x="209857" y="648109"/>
                      <a:pt x="211655" y="649989"/>
                    </a:cubicBezTo>
                    <a:moveTo>
                      <a:pt x="178319" y="680035"/>
                    </a:moveTo>
                    <a:cubicBezTo>
                      <a:pt x="179988" y="681670"/>
                      <a:pt x="182658" y="681670"/>
                      <a:pt x="184328" y="680035"/>
                    </a:cubicBezTo>
                    <a:cubicBezTo>
                      <a:pt x="185948" y="678415"/>
                      <a:pt x="185948" y="675788"/>
                      <a:pt x="184328" y="674169"/>
                    </a:cubicBezTo>
                    <a:cubicBezTo>
                      <a:pt x="182658" y="672533"/>
                      <a:pt x="179987" y="672533"/>
                      <a:pt x="178319" y="674169"/>
                    </a:cubicBezTo>
                    <a:cubicBezTo>
                      <a:pt x="176755" y="675867"/>
                      <a:pt x="176755" y="678479"/>
                      <a:pt x="178319" y="680178"/>
                    </a:cubicBezTo>
                    <a:moveTo>
                      <a:pt x="145841" y="710653"/>
                    </a:moveTo>
                    <a:cubicBezTo>
                      <a:pt x="147211" y="712075"/>
                      <a:pt x="149476" y="712116"/>
                      <a:pt x="150898" y="710746"/>
                    </a:cubicBezTo>
                    <a:cubicBezTo>
                      <a:pt x="150930" y="710716"/>
                      <a:pt x="150961" y="710684"/>
                      <a:pt x="150991" y="710653"/>
                    </a:cubicBezTo>
                    <a:cubicBezTo>
                      <a:pt x="152454" y="709269"/>
                      <a:pt x="152518" y="706964"/>
                      <a:pt x="151135" y="705502"/>
                    </a:cubicBezTo>
                    <a:cubicBezTo>
                      <a:pt x="149751" y="704040"/>
                      <a:pt x="147446" y="703975"/>
                      <a:pt x="145984" y="705359"/>
                    </a:cubicBezTo>
                    <a:cubicBezTo>
                      <a:pt x="144562" y="706729"/>
                      <a:pt x="144520" y="708994"/>
                      <a:pt x="145891" y="710417"/>
                    </a:cubicBezTo>
                    <a:cubicBezTo>
                      <a:pt x="145921" y="710448"/>
                      <a:pt x="145952" y="710479"/>
                      <a:pt x="145984" y="710510"/>
                    </a:cubicBezTo>
                    <a:moveTo>
                      <a:pt x="309518" y="363124"/>
                    </a:moveTo>
                    <a:cubicBezTo>
                      <a:pt x="312639" y="366260"/>
                      <a:pt x="317712" y="366273"/>
                      <a:pt x="320850" y="363153"/>
                    </a:cubicBezTo>
                    <a:cubicBezTo>
                      <a:pt x="323986" y="360031"/>
                      <a:pt x="323999" y="354957"/>
                      <a:pt x="320877" y="351821"/>
                    </a:cubicBezTo>
                    <a:cubicBezTo>
                      <a:pt x="317757" y="348685"/>
                      <a:pt x="312683" y="348672"/>
                      <a:pt x="309547" y="351792"/>
                    </a:cubicBezTo>
                    <a:cubicBezTo>
                      <a:pt x="309537" y="351802"/>
                      <a:pt x="309528" y="351811"/>
                      <a:pt x="309518" y="351821"/>
                    </a:cubicBezTo>
                    <a:cubicBezTo>
                      <a:pt x="306408" y="354947"/>
                      <a:pt x="306408" y="359998"/>
                      <a:pt x="309518" y="363124"/>
                    </a:cubicBezTo>
                    <a:moveTo>
                      <a:pt x="277040" y="393599"/>
                    </a:moveTo>
                    <a:cubicBezTo>
                      <a:pt x="279815" y="396522"/>
                      <a:pt x="284433" y="396645"/>
                      <a:pt x="287356" y="393871"/>
                    </a:cubicBezTo>
                    <a:cubicBezTo>
                      <a:pt x="287449" y="393782"/>
                      <a:pt x="287539" y="393692"/>
                      <a:pt x="287628" y="393599"/>
                    </a:cubicBezTo>
                    <a:cubicBezTo>
                      <a:pt x="290631" y="390755"/>
                      <a:pt x="290758" y="386014"/>
                      <a:pt x="287914" y="383011"/>
                    </a:cubicBezTo>
                    <a:cubicBezTo>
                      <a:pt x="285070" y="380008"/>
                      <a:pt x="280330" y="379881"/>
                      <a:pt x="277327" y="382725"/>
                    </a:cubicBezTo>
                    <a:cubicBezTo>
                      <a:pt x="274442" y="385539"/>
                      <a:pt x="274386" y="390159"/>
                      <a:pt x="277201" y="393044"/>
                    </a:cubicBezTo>
                    <a:cubicBezTo>
                      <a:pt x="277242" y="393087"/>
                      <a:pt x="277284" y="393128"/>
                      <a:pt x="277327" y="393170"/>
                    </a:cubicBezTo>
                    <a:moveTo>
                      <a:pt x="244849" y="423788"/>
                    </a:moveTo>
                    <a:cubicBezTo>
                      <a:pt x="247564" y="426404"/>
                      <a:pt x="251862" y="426404"/>
                      <a:pt x="254578" y="423788"/>
                    </a:cubicBezTo>
                    <a:cubicBezTo>
                      <a:pt x="257303" y="421151"/>
                      <a:pt x="257376" y="416803"/>
                      <a:pt x="254739" y="414077"/>
                    </a:cubicBezTo>
                    <a:cubicBezTo>
                      <a:pt x="254686" y="414023"/>
                      <a:pt x="254632" y="413968"/>
                      <a:pt x="254578" y="413915"/>
                    </a:cubicBezTo>
                    <a:cubicBezTo>
                      <a:pt x="251862" y="411299"/>
                      <a:pt x="247564" y="411299"/>
                      <a:pt x="244849" y="413915"/>
                    </a:cubicBezTo>
                    <a:cubicBezTo>
                      <a:pt x="242123" y="416552"/>
                      <a:pt x="242050" y="420900"/>
                      <a:pt x="244687" y="423626"/>
                    </a:cubicBezTo>
                    <a:cubicBezTo>
                      <a:pt x="244740" y="423680"/>
                      <a:pt x="244794" y="423735"/>
                      <a:pt x="244849" y="423788"/>
                    </a:cubicBezTo>
                    <a:moveTo>
                      <a:pt x="211941" y="454692"/>
                    </a:moveTo>
                    <a:cubicBezTo>
                      <a:pt x="213830" y="457705"/>
                      <a:pt x="217805" y="458615"/>
                      <a:pt x="220816" y="456726"/>
                    </a:cubicBezTo>
                    <a:cubicBezTo>
                      <a:pt x="223829" y="454836"/>
                      <a:pt x="224739" y="450863"/>
                      <a:pt x="222851" y="447851"/>
                    </a:cubicBezTo>
                    <a:cubicBezTo>
                      <a:pt x="222427" y="447175"/>
                      <a:pt x="221881" y="446584"/>
                      <a:pt x="221241" y="446107"/>
                    </a:cubicBezTo>
                    <a:cubicBezTo>
                      <a:pt x="218792" y="443499"/>
                      <a:pt x="214693" y="443372"/>
                      <a:pt x="212084" y="445821"/>
                    </a:cubicBezTo>
                    <a:cubicBezTo>
                      <a:pt x="209476" y="448271"/>
                      <a:pt x="209349" y="452370"/>
                      <a:pt x="211798" y="454978"/>
                    </a:cubicBezTo>
                    <a:moveTo>
                      <a:pt x="179320" y="485453"/>
                    </a:moveTo>
                    <a:cubicBezTo>
                      <a:pt x="181532" y="487824"/>
                      <a:pt x="185248" y="487951"/>
                      <a:pt x="187619" y="485739"/>
                    </a:cubicBezTo>
                    <a:cubicBezTo>
                      <a:pt x="189989" y="483527"/>
                      <a:pt x="190117" y="479811"/>
                      <a:pt x="187905" y="477441"/>
                    </a:cubicBezTo>
                    <a:cubicBezTo>
                      <a:pt x="185727" y="475149"/>
                      <a:pt x="182106" y="475056"/>
                      <a:pt x="179814" y="477233"/>
                    </a:cubicBezTo>
                    <a:cubicBezTo>
                      <a:pt x="179742" y="477300"/>
                      <a:pt x="179674" y="477369"/>
                      <a:pt x="179606" y="477441"/>
                    </a:cubicBezTo>
                    <a:cubicBezTo>
                      <a:pt x="177314" y="479731"/>
                      <a:pt x="177314" y="483446"/>
                      <a:pt x="179604" y="485736"/>
                    </a:cubicBezTo>
                    <a:cubicBezTo>
                      <a:pt x="179605" y="485738"/>
                      <a:pt x="179605" y="485738"/>
                      <a:pt x="179606" y="485739"/>
                    </a:cubicBezTo>
                    <a:moveTo>
                      <a:pt x="147128" y="516214"/>
                    </a:moveTo>
                    <a:cubicBezTo>
                      <a:pt x="149143" y="518347"/>
                      <a:pt x="152507" y="518443"/>
                      <a:pt x="154640" y="516429"/>
                    </a:cubicBezTo>
                    <a:cubicBezTo>
                      <a:pt x="156773" y="514414"/>
                      <a:pt x="156869" y="511050"/>
                      <a:pt x="154855" y="508917"/>
                    </a:cubicBezTo>
                    <a:cubicBezTo>
                      <a:pt x="152744" y="506864"/>
                      <a:pt x="149382" y="506864"/>
                      <a:pt x="147272" y="508917"/>
                    </a:cubicBezTo>
                    <a:cubicBezTo>
                      <a:pt x="145290" y="511056"/>
                      <a:pt x="145290" y="514361"/>
                      <a:pt x="147272" y="516500"/>
                    </a:cubicBezTo>
                    <a:moveTo>
                      <a:pt x="114507" y="546260"/>
                    </a:moveTo>
                    <a:cubicBezTo>
                      <a:pt x="116365" y="548091"/>
                      <a:pt x="119353" y="548070"/>
                      <a:pt x="121185" y="546212"/>
                    </a:cubicBezTo>
                    <a:cubicBezTo>
                      <a:pt x="123015" y="544355"/>
                      <a:pt x="122993" y="541367"/>
                      <a:pt x="121137" y="539535"/>
                    </a:cubicBezTo>
                    <a:cubicBezTo>
                      <a:pt x="119299" y="537722"/>
                      <a:pt x="116346" y="537722"/>
                      <a:pt x="114507" y="539535"/>
                    </a:cubicBezTo>
                    <a:cubicBezTo>
                      <a:pt x="112650" y="541367"/>
                      <a:pt x="112629" y="544355"/>
                      <a:pt x="114460" y="546212"/>
                    </a:cubicBezTo>
                    <a:cubicBezTo>
                      <a:pt x="114476" y="546228"/>
                      <a:pt x="114492" y="546244"/>
                      <a:pt x="114507" y="546260"/>
                    </a:cubicBezTo>
                    <a:moveTo>
                      <a:pt x="81886" y="576735"/>
                    </a:moveTo>
                    <a:cubicBezTo>
                      <a:pt x="83546" y="578427"/>
                      <a:pt x="86263" y="578454"/>
                      <a:pt x="87956" y="576795"/>
                    </a:cubicBezTo>
                    <a:cubicBezTo>
                      <a:pt x="89650" y="575137"/>
                      <a:pt x="89677" y="572418"/>
                      <a:pt x="88017" y="570725"/>
                    </a:cubicBezTo>
                    <a:cubicBezTo>
                      <a:pt x="86357" y="569033"/>
                      <a:pt x="83640" y="569006"/>
                      <a:pt x="81946" y="570665"/>
                    </a:cubicBezTo>
                    <a:cubicBezTo>
                      <a:pt x="81926" y="570685"/>
                      <a:pt x="81906" y="570705"/>
                      <a:pt x="81886" y="570725"/>
                    </a:cubicBezTo>
                    <a:cubicBezTo>
                      <a:pt x="80251" y="572394"/>
                      <a:pt x="80251" y="575065"/>
                      <a:pt x="81886" y="576735"/>
                    </a:cubicBezTo>
                    <a:moveTo>
                      <a:pt x="49551" y="607066"/>
                    </a:moveTo>
                    <a:cubicBezTo>
                      <a:pt x="50922" y="608489"/>
                      <a:pt x="53187" y="608530"/>
                      <a:pt x="54609" y="607159"/>
                    </a:cubicBezTo>
                    <a:cubicBezTo>
                      <a:pt x="54641" y="607129"/>
                      <a:pt x="54672" y="607098"/>
                      <a:pt x="54702" y="607066"/>
                    </a:cubicBezTo>
                    <a:cubicBezTo>
                      <a:pt x="56124" y="605696"/>
                      <a:pt x="56166" y="603431"/>
                      <a:pt x="54795" y="602009"/>
                    </a:cubicBezTo>
                    <a:cubicBezTo>
                      <a:pt x="54765" y="601977"/>
                      <a:pt x="54734" y="601946"/>
                      <a:pt x="54702" y="601916"/>
                    </a:cubicBezTo>
                    <a:cubicBezTo>
                      <a:pt x="53331" y="600494"/>
                      <a:pt x="51067" y="600452"/>
                      <a:pt x="49644" y="601823"/>
                    </a:cubicBezTo>
                    <a:cubicBezTo>
                      <a:pt x="49613" y="601853"/>
                      <a:pt x="49582" y="601884"/>
                      <a:pt x="49551" y="601916"/>
                    </a:cubicBezTo>
                    <a:cubicBezTo>
                      <a:pt x="48152" y="603402"/>
                      <a:pt x="48152" y="605723"/>
                      <a:pt x="49551" y="607210"/>
                    </a:cubicBezTo>
                    <a:moveTo>
                      <a:pt x="17073" y="637684"/>
                    </a:moveTo>
                    <a:cubicBezTo>
                      <a:pt x="18301" y="638903"/>
                      <a:pt x="20281" y="638903"/>
                      <a:pt x="21509" y="637684"/>
                    </a:cubicBezTo>
                    <a:cubicBezTo>
                      <a:pt x="22655" y="636428"/>
                      <a:pt x="22655" y="634505"/>
                      <a:pt x="21509" y="633249"/>
                    </a:cubicBezTo>
                    <a:cubicBezTo>
                      <a:pt x="20281" y="632030"/>
                      <a:pt x="18301" y="632030"/>
                      <a:pt x="17073" y="633249"/>
                    </a:cubicBezTo>
                    <a:cubicBezTo>
                      <a:pt x="15849" y="634369"/>
                      <a:pt x="15763" y="636269"/>
                      <a:pt x="16883" y="637494"/>
                    </a:cubicBezTo>
                    <a:cubicBezTo>
                      <a:pt x="16943" y="637560"/>
                      <a:pt x="17008" y="637624"/>
                      <a:pt x="17073" y="637684"/>
                    </a:cubicBezTo>
                    <a:moveTo>
                      <a:pt x="328977" y="383870"/>
                    </a:moveTo>
                    <a:cubicBezTo>
                      <a:pt x="332103" y="386980"/>
                      <a:pt x="337153" y="386980"/>
                      <a:pt x="340279" y="383870"/>
                    </a:cubicBezTo>
                    <a:cubicBezTo>
                      <a:pt x="343407" y="380695"/>
                      <a:pt x="343407" y="375599"/>
                      <a:pt x="340279" y="372424"/>
                    </a:cubicBezTo>
                    <a:cubicBezTo>
                      <a:pt x="337075" y="369372"/>
                      <a:pt x="332038" y="369372"/>
                      <a:pt x="328833" y="372424"/>
                    </a:cubicBezTo>
                    <a:cubicBezTo>
                      <a:pt x="325723" y="375550"/>
                      <a:pt x="325723" y="380601"/>
                      <a:pt x="328833" y="383727"/>
                    </a:cubicBezTo>
                    <a:moveTo>
                      <a:pt x="296212" y="414202"/>
                    </a:moveTo>
                    <a:cubicBezTo>
                      <a:pt x="299100" y="417125"/>
                      <a:pt x="303810" y="417155"/>
                      <a:pt x="306734" y="414267"/>
                    </a:cubicBezTo>
                    <a:cubicBezTo>
                      <a:pt x="306756" y="414246"/>
                      <a:pt x="306778" y="414225"/>
                      <a:pt x="306800" y="414202"/>
                    </a:cubicBezTo>
                    <a:cubicBezTo>
                      <a:pt x="309803" y="411396"/>
                      <a:pt x="309963" y="406689"/>
                      <a:pt x="307158" y="403686"/>
                    </a:cubicBezTo>
                    <a:cubicBezTo>
                      <a:pt x="304352" y="400682"/>
                      <a:pt x="299645" y="400522"/>
                      <a:pt x="296642" y="403328"/>
                    </a:cubicBezTo>
                    <a:cubicBezTo>
                      <a:pt x="293770" y="406272"/>
                      <a:pt x="293770" y="410971"/>
                      <a:pt x="296642" y="413915"/>
                    </a:cubicBezTo>
                    <a:moveTo>
                      <a:pt x="264164" y="444820"/>
                    </a:moveTo>
                    <a:cubicBezTo>
                      <a:pt x="266801" y="447545"/>
                      <a:pt x="271149" y="447618"/>
                      <a:pt x="273874" y="444981"/>
                    </a:cubicBezTo>
                    <a:cubicBezTo>
                      <a:pt x="273928" y="444928"/>
                      <a:pt x="273983" y="444874"/>
                      <a:pt x="274036" y="444820"/>
                    </a:cubicBezTo>
                    <a:cubicBezTo>
                      <a:pt x="276653" y="442104"/>
                      <a:pt x="276653" y="437806"/>
                      <a:pt x="274036" y="435091"/>
                    </a:cubicBezTo>
                    <a:cubicBezTo>
                      <a:pt x="271399" y="432365"/>
                      <a:pt x="267051" y="432292"/>
                      <a:pt x="264325" y="434929"/>
                    </a:cubicBezTo>
                    <a:cubicBezTo>
                      <a:pt x="264271" y="434982"/>
                      <a:pt x="264217" y="435036"/>
                      <a:pt x="264164" y="435091"/>
                    </a:cubicBezTo>
                    <a:cubicBezTo>
                      <a:pt x="261547" y="437806"/>
                      <a:pt x="261547" y="442104"/>
                      <a:pt x="264164" y="444820"/>
                    </a:cubicBezTo>
                    <a:moveTo>
                      <a:pt x="231400" y="474722"/>
                    </a:moveTo>
                    <a:cubicBezTo>
                      <a:pt x="233889" y="477262"/>
                      <a:pt x="237965" y="477302"/>
                      <a:pt x="240505" y="474814"/>
                    </a:cubicBezTo>
                    <a:cubicBezTo>
                      <a:pt x="243043" y="472324"/>
                      <a:pt x="243084" y="468248"/>
                      <a:pt x="240595" y="465709"/>
                    </a:cubicBezTo>
                    <a:cubicBezTo>
                      <a:pt x="238107" y="463169"/>
                      <a:pt x="234029" y="463129"/>
                      <a:pt x="231491" y="465617"/>
                    </a:cubicBezTo>
                    <a:cubicBezTo>
                      <a:pt x="231460" y="465647"/>
                      <a:pt x="231430" y="465679"/>
                      <a:pt x="231400" y="465709"/>
                    </a:cubicBezTo>
                    <a:cubicBezTo>
                      <a:pt x="228910" y="468137"/>
                      <a:pt x="228860" y="472121"/>
                      <a:pt x="231288" y="474611"/>
                    </a:cubicBezTo>
                    <a:cubicBezTo>
                      <a:pt x="231325" y="474648"/>
                      <a:pt x="231362" y="474685"/>
                      <a:pt x="231400" y="474722"/>
                    </a:cubicBezTo>
                    <a:moveTo>
                      <a:pt x="198922" y="505197"/>
                    </a:moveTo>
                    <a:cubicBezTo>
                      <a:pt x="201025" y="507449"/>
                      <a:pt x="204556" y="507569"/>
                      <a:pt x="206808" y="505466"/>
                    </a:cubicBezTo>
                    <a:cubicBezTo>
                      <a:pt x="206901" y="505379"/>
                      <a:pt x="206991" y="505290"/>
                      <a:pt x="207077" y="505197"/>
                    </a:cubicBezTo>
                    <a:cubicBezTo>
                      <a:pt x="209369" y="503020"/>
                      <a:pt x="209462" y="499398"/>
                      <a:pt x="207284" y="497106"/>
                    </a:cubicBezTo>
                    <a:cubicBezTo>
                      <a:pt x="207217" y="497035"/>
                      <a:pt x="207148" y="496966"/>
                      <a:pt x="207077" y="496899"/>
                    </a:cubicBezTo>
                    <a:cubicBezTo>
                      <a:pt x="204803" y="494700"/>
                      <a:pt x="201195" y="494700"/>
                      <a:pt x="198922" y="496899"/>
                    </a:cubicBezTo>
                    <a:cubicBezTo>
                      <a:pt x="196629" y="499076"/>
                      <a:pt x="196536" y="502698"/>
                      <a:pt x="198714" y="504990"/>
                    </a:cubicBezTo>
                    <a:cubicBezTo>
                      <a:pt x="198781" y="505061"/>
                      <a:pt x="198850" y="505130"/>
                      <a:pt x="198922" y="505197"/>
                    </a:cubicBezTo>
                    <a:moveTo>
                      <a:pt x="166300" y="536244"/>
                    </a:moveTo>
                    <a:cubicBezTo>
                      <a:pt x="168411" y="538298"/>
                      <a:pt x="171773" y="538298"/>
                      <a:pt x="173883" y="536244"/>
                    </a:cubicBezTo>
                    <a:cubicBezTo>
                      <a:pt x="175919" y="534183"/>
                      <a:pt x="175919" y="530866"/>
                      <a:pt x="173883" y="528805"/>
                    </a:cubicBezTo>
                    <a:cubicBezTo>
                      <a:pt x="171773" y="526751"/>
                      <a:pt x="168411" y="526751"/>
                      <a:pt x="166300" y="528805"/>
                    </a:cubicBezTo>
                    <a:cubicBezTo>
                      <a:pt x="164265" y="530866"/>
                      <a:pt x="164265" y="534183"/>
                      <a:pt x="166300" y="536244"/>
                    </a:cubicBezTo>
                    <a:moveTo>
                      <a:pt x="133822" y="566719"/>
                    </a:moveTo>
                    <a:cubicBezTo>
                      <a:pt x="135680" y="568551"/>
                      <a:pt x="138668" y="568529"/>
                      <a:pt x="140500" y="566672"/>
                    </a:cubicBezTo>
                    <a:cubicBezTo>
                      <a:pt x="142330" y="564815"/>
                      <a:pt x="142308" y="561826"/>
                      <a:pt x="140453" y="559995"/>
                    </a:cubicBezTo>
                    <a:cubicBezTo>
                      <a:pt x="138614" y="558182"/>
                      <a:pt x="135661" y="558182"/>
                      <a:pt x="133822" y="559995"/>
                    </a:cubicBezTo>
                    <a:cubicBezTo>
                      <a:pt x="131965" y="561826"/>
                      <a:pt x="131944" y="564815"/>
                      <a:pt x="133775" y="566672"/>
                    </a:cubicBezTo>
                    <a:cubicBezTo>
                      <a:pt x="133791" y="566688"/>
                      <a:pt x="133807" y="566704"/>
                      <a:pt x="133822" y="566719"/>
                    </a:cubicBezTo>
                    <a:moveTo>
                      <a:pt x="101345" y="597194"/>
                    </a:moveTo>
                    <a:cubicBezTo>
                      <a:pt x="103014" y="598830"/>
                      <a:pt x="105684" y="598830"/>
                      <a:pt x="107354" y="597194"/>
                    </a:cubicBezTo>
                    <a:cubicBezTo>
                      <a:pt x="108917" y="595496"/>
                      <a:pt x="108917" y="592883"/>
                      <a:pt x="107354" y="591185"/>
                    </a:cubicBezTo>
                    <a:cubicBezTo>
                      <a:pt x="105684" y="589550"/>
                      <a:pt x="103013" y="589550"/>
                      <a:pt x="101345" y="591185"/>
                    </a:cubicBezTo>
                    <a:cubicBezTo>
                      <a:pt x="99725" y="592805"/>
                      <a:pt x="99725" y="595432"/>
                      <a:pt x="101345" y="597051"/>
                    </a:cubicBezTo>
                    <a:moveTo>
                      <a:pt x="68867" y="627526"/>
                    </a:moveTo>
                    <a:cubicBezTo>
                      <a:pt x="70237" y="628948"/>
                      <a:pt x="72502" y="628990"/>
                      <a:pt x="73924" y="627619"/>
                    </a:cubicBezTo>
                    <a:cubicBezTo>
                      <a:pt x="73956" y="627589"/>
                      <a:pt x="73987" y="627558"/>
                      <a:pt x="74017" y="627526"/>
                    </a:cubicBezTo>
                    <a:cubicBezTo>
                      <a:pt x="75417" y="626038"/>
                      <a:pt x="75417" y="623719"/>
                      <a:pt x="74017" y="622232"/>
                    </a:cubicBezTo>
                    <a:cubicBezTo>
                      <a:pt x="72647" y="620810"/>
                      <a:pt x="70382" y="620769"/>
                      <a:pt x="68960" y="622139"/>
                    </a:cubicBezTo>
                    <a:cubicBezTo>
                      <a:pt x="68928" y="622169"/>
                      <a:pt x="68897" y="622201"/>
                      <a:pt x="68867" y="622232"/>
                    </a:cubicBezTo>
                    <a:cubicBezTo>
                      <a:pt x="67444" y="623603"/>
                      <a:pt x="67403" y="625868"/>
                      <a:pt x="68774" y="627290"/>
                    </a:cubicBezTo>
                    <a:cubicBezTo>
                      <a:pt x="68804" y="627322"/>
                      <a:pt x="68835" y="627353"/>
                      <a:pt x="68867" y="627383"/>
                    </a:cubicBezTo>
                    <a:moveTo>
                      <a:pt x="36245" y="658001"/>
                    </a:moveTo>
                    <a:cubicBezTo>
                      <a:pt x="37473" y="659220"/>
                      <a:pt x="39453" y="659220"/>
                      <a:pt x="40681" y="658001"/>
                    </a:cubicBezTo>
                    <a:cubicBezTo>
                      <a:pt x="41865" y="656839"/>
                      <a:pt x="41885" y="654938"/>
                      <a:pt x="40724" y="653752"/>
                    </a:cubicBezTo>
                    <a:cubicBezTo>
                      <a:pt x="40709" y="653737"/>
                      <a:pt x="40695" y="653723"/>
                      <a:pt x="40681" y="653709"/>
                    </a:cubicBezTo>
                    <a:cubicBezTo>
                      <a:pt x="39562" y="652484"/>
                      <a:pt x="37660" y="652398"/>
                      <a:pt x="36436" y="653519"/>
                    </a:cubicBezTo>
                    <a:cubicBezTo>
                      <a:pt x="36370" y="653579"/>
                      <a:pt x="36306" y="653643"/>
                      <a:pt x="36245" y="653709"/>
                    </a:cubicBezTo>
                    <a:cubicBezTo>
                      <a:pt x="35026" y="654936"/>
                      <a:pt x="35026" y="656917"/>
                      <a:pt x="36245" y="658144"/>
                    </a:cubicBezTo>
                    <a:moveTo>
                      <a:pt x="348292" y="404616"/>
                    </a:moveTo>
                    <a:cubicBezTo>
                      <a:pt x="351497" y="407667"/>
                      <a:pt x="356533" y="407667"/>
                      <a:pt x="359738" y="404616"/>
                    </a:cubicBezTo>
                    <a:cubicBezTo>
                      <a:pt x="362848" y="401489"/>
                      <a:pt x="362848" y="396439"/>
                      <a:pt x="359738" y="393313"/>
                    </a:cubicBezTo>
                    <a:cubicBezTo>
                      <a:pt x="356611" y="390202"/>
                      <a:pt x="351561" y="390202"/>
                      <a:pt x="348435" y="393313"/>
                    </a:cubicBezTo>
                    <a:cubicBezTo>
                      <a:pt x="345307" y="396488"/>
                      <a:pt x="345307" y="401584"/>
                      <a:pt x="348435" y="404759"/>
                    </a:cubicBezTo>
                    <a:moveTo>
                      <a:pt x="315957" y="435234"/>
                    </a:moveTo>
                    <a:cubicBezTo>
                      <a:pt x="318880" y="438121"/>
                      <a:pt x="323591" y="438091"/>
                      <a:pt x="326478" y="435168"/>
                    </a:cubicBezTo>
                    <a:cubicBezTo>
                      <a:pt x="329366" y="432243"/>
                      <a:pt x="329336" y="427533"/>
                      <a:pt x="326413" y="424646"/>
                    </a:cubicBezTo>
                    <a:cubicBezTo>
                      <a:pt x="323514" y="421785"/>
                      <a:pt x="318854" y="421785"/>
                      <a:pt x="315957" y="424646"/>
                    </a:cubicBezTo>
                    <a:cubicBezTo>
                      <a:pt x="313034" y="427533"/>
                      <a:pt x="313004" y="432243"/>
                      <a:pt x="315891" y="435168"/>
                    </a:cubicBezTo>
                    <a:cubicBezTo>
                      <a:pt x="315912" y="435189"/>
                      <a:pt x="315934" y="435212"/>
                      <a:pt x="315957" y="435234"/>
                    </a:cubicBezTo>
                    <a:moveTo>
                      <a:pt x="283479" y="465709"/>
                    </a:moveTo>
                    <a:cubicBezTo>
                      <a:pt x="286373" y="468281"/>
                      <a:pt x="290804" y="468019"/>
                      <a:pt x="293377" y="465125"/>
                    </a:cubicBezTo>
                    <a:cubicBezTo>
                      <a:pt x="295634" y="462584"/>
                      <a:pt x="295743" y="458789"/>
                      <a:pt x="293637" y="456123"/>
                    </a:cubicBezTo>
                    <a:cubicBezTo>
                      <a:pt x="290873" y="453489"/>
                      <a:pt x="286528" y="453489"/>
                      <a:pt x="283765" y="456123"/>
                    </a:cubicBezTo>
                    <a:cubicBezTo>
                      <a:pt x="281039" y="458759"/>
                      <a:pt x="280966" y="463107"/>
                      <a:pt x="283603" y="465833"/>
                    </a:cubicBezTo>
                    <a:cubicBezTo>
                      <a:pt x="283656" y="465887"/>
                      <a:pt x="283711" y="465942"/>
                      <a:pt x="283765" y="465995"/>
                    </a:cubicBezTo>
                    <a:moveTo>
                      <a:pt x="251287" y="496470"/>
                    </a:moveTo>
                    <a:cubicBezTo>
                      <a:pt x="253776" y="499009"/>
                      <a:pt x="257853" y="499049"/>
                      <a:pt x="260392" y="496561"/>
                    </a:cubicBezTo>
                    <a:cubicBezTo>
                      <a:pt x="262930" y="494072"/>
                      <a:pt x="262972" y="489996"/>
                      <a:pt x="260482" y="487456"/>
                    </a:cubicBezTo>
                    <a:cubicBezTo>
                      <a:pt x="257994" y="484916"/>
                      <a:pt x="253917" y="484876"/>
                      <a:pt x="251378" y="487364"/>
                    </a:cubicBezTo>
                    <a:cubicBezTo>
                      <a:pt x="251347" y="487394"/>
                      <a:pt x="251317" y="487426"/>
                      <a:pt x="251287" y="487456"/>
                    </a:cubicBezTo>
                    <a:cubicBezTo>
                      <a:pt x="248797" y="489884"/>
                      <a:pt x="248747" y="493869"/>
                      <a:pt x="251175" y="496358"/>
                    </a:cubicBezTo>
                    <a:cubicBezTo>
                      <a:pt x="251213" y="496395"/>
                      <a:pt x="251250" y="496432"/>
                      <a:pt x="251287" y="496470"/>
                    </a:cubicBezTo>
                    <a:moveTo>
                      <a:pt x="218666" y="526945"/>
                    </a:moveTo>
                    <a:cubicBezTo>
                      <a:pt x="220988" y="529161"/>
                      <a:pt x="224642" y="529161"/>
                      <a:pt x="226964" y="526945"/>
                    </a:cubicBezTo>
                    <a:cubicBezTo>
                      <a:pt x="229335" y="524733"/>
                      <a:pt x="229462" y="521017"/>
                      <a:pt x="227250" y="518646"/>
                    </a:cubicBezTo>
                    <a:cubicBezTo>
                      <a:pt x="225038" y="516275"/>
                      <a:pt x="221323" y="516148"/>
                      <a:pt x="218952" y="518360"/>
                    </a:cubicBezTo>
                    <a:cubicBezTo>
                      <a:pt x="216736" y="520682"/>
                      <a:pt x="216736" y="524336"/>
                      <a:pt x="218952" y="526658"/>
                    </a:cubicBezTo>
                    <a:moveTo>
                      <a:pt x="186474" y="557133"/>
                    </a:moveTo>
                    <a:cubicBezTo>
                      <a:pt x="188536" y="559169"/>
                      <a:pt x="191852" y="559169"/>
                      <a:pt x="193914" y="557133"/>
                    </a:cubicBezTo>
                    <a:cubicBezTo>
                      <a:pt x="195967" y="555023"/>
                      <a:pt x="195967" y="551661"/>
                      <a:pt x="193914" y="549550"/>
                    </a:cubicBezTo>
                    <a:cubicBezTo>
                      <a:pt x="191852" y="547514"/>
                      <a:pt x="188536" y="547514"/>
                      <a:pt x="186474" y="549550"/>
                    </a:cubicBezTo>
                    <a:cubicBezTo>
                      <a:pt x="184421" y="551661"/>
                      <a:pt x="184421" y="555023"/>
                      <a:pt x="186474" y="557133"/>
                    </a:cubicBezTo>
                    <a:moveTo>
                      <a:pt x="153996" y="587608"/>
                    </a:moveTo>
                    <a:cubicBezTo>
                      <a:pt x="155853" y="589440"/>
                      <a:pt x="158842" y="589418"/>
                      <a:pt x="160673" y="587561"/>
                    </a:cubicBezTo>
                    <a:cubicBezTo>
                      <a:pt x="162503" y="585704"/>
                      <a:pt x="162482" y="582715"/>
                      <a:pt x="160626" y="580884"/>
                    </a:cubicBezTo>
                    <a:cubicBezTo>
                      <a:pt x="158788" y="579071"/>
                      <a:pt x="155835" y="579071"/>
                      <a:pt x="153996" y="580884"/>
                    </a:cubicBezTo>
                    <a:cubicBezTo>
                      <a:pt x="152139" y="582715"/>
                      <a:pt x="152117" y="585704"/>
                      <a:pt x="153949" y="587561"/>
                    </a:cubicBezTo>
                    <a:cubicBezTo>
                      <a:pt x="153965" y="587577"/>
                      <a:pt x="153980" y="587593"/>
                      <a:pt x="153996" y="587608"/>
                    </a:cubicBezTo>
                    <a:moveTo>
                      <a:pt x="121089" y="617797"/>
                    </a:moveTo>
                    <a:cubicBezTo>
                      <a:pt x="122670" y="619457"/>
                      <a:pt x="125295" y="619521"/>
                      <a:pt x="126955" y="617940"/>
                    </a:cubicBezTo>
                    <a:cubicBezTo>
                      <a:pt x="127004" y="617894"/>
                      <a:pt x="127051" y="617846"/>
                      <a:pt x="127098" y="617797"/>
                    </a:cubicBezTo>
                    <a:cubicBezTo>
                      <a:pt x="128718" y="616290"/>
                      <a:pt x="128809" y="613755"/>
                      <a:pt x="127303" y="612136"/>
                    </a:cubicBezTo>
                    <a:cubicBezTo>
                      <a:pt x="127237" y="612064"/>
                      <a:pt x="127168" y="611997"/>
                      <a:pt x="127098" y="611931"/>
                    </a:cubicBezTo>
                    <a:cubicBezTo>
                      <a:pt x="125478" y="610311"/>
                      <a:pt x="122852" y="610311"/>
                      <a:pt x="121232" y="611931"/>
                    </a:cubicBezTo>
                    <a:cubicBezTo>
                      <a:pt x="119647" y="613543"/>
                      <a:pt x="119584" y="616109"/>
                      <a:pt x="121089" y="617797"/>
                    </a:cubicBezTo>
                    <a:moveTo>
                      <a:pt x="88182" y="648415"/>
                    </a:moveTo>
                    <a:cubicBezTo>
                      <a:pt x="89737" y="649759"/>
                      <a:pt x="92086" y="649587"/>
                      <a:pt x="93428" y="648032"/>
                    </a:cubicBezTo>
                    <a:cubicBezTo>
                      <a:pt x="94560" y="646722"/>
                      <a:pt x="94639" y="644805"/>
                      <a:pt x="93619" y="643407"/>
                    </a:cubicBezTo>
                    <a:cubicBezTo>
                      <a:pt x="92132" y="642008"/>
                      <a:pt x="89813" y="642008"/>
                      <a:pt x="88325" y="643407"/>
                    </a:cubicBezTo>
                    <a:cubicBezTo>
                      <a:pt x="86903" y="644778"/>
                      <a:pt x="86861" y="647043"/>
                      <a:pt x="88232" y="648465"/>
                    </a:cubicBezTo>
                    <a:cubicBezTo>
                      <a:pt x="88262" y="648497"/>
                      <a:pt x="88293" y="648528"/>
                      <a:pt x="88325" y="648558"/>
                    </a:cubicBezTo>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423" name="Group 422">
              <a:extLst>
                <a:ext uri="{FF2B5EF4-FFF2-40B4-BE49-F238E27FC236}">
                  <a16:creationId xmlns:a16="http://schemas.microsoft.com/office/drawing/2014/main" id="{43E18F09-8958-48B5-ADFE-67E5EF11B975}"/>
                </a:ext>
              </a:extLst>
            </p:cNvPr>
            <p:cNvGrpSpPr/>
            <p:nvPr/>
          </p:nvGrpSpPr>
          <p:grpSpPr>
            <a:xfrm>
              <a:off x="4920252" y="4617286"/>
              <a:ext cx="2244758" cy="840924"/>
              <a:chOff x="4832317" y="4492648"/>
              <a:chExt cx="2424911" cy="908412"/>
            </a:xfrm>
          </p:grpSpPr>
          <p:grpSp>
            <p:nvGrpSpPr>
              <p:cNvPr id="424" name="Group 423">
                <a:extLst>
                  <a:ext uri="{FF2B5EF4-FFF2-40B4-BE49-F238E27FC236}">
                    <a16:creationId xmlns:a16="http://schemas.microsoft.com/office/drawing/2014/main" id="{237EF467-26D8-4EC9-BC9D-51F84350FFEA}"/>
                  </a:ext>
                </a:extLst>
              </p:cNvPr>
              <p:cNvGrpSpPr/>
              <p:nvPr/>
            </p:nvGrpSpPr>
            <p:grpSpPr>
              <a:xfrm flipH="1">
                <a:off x="4875721" y="4652916"/>
                <a:ext cx="1955997" cy="740542"/>
                <a:chOff x="3440113" y="5662613"/>
                <a:chExt cx="769938" cy="292100"/>
              </a:xfrm>
            </p:grpSpPr>
            <p:sp>
              <p:nvSpPr>
                <p:cNvPr id="429" name="Freeform 84">
                  <a:extLst>
                    <a:ext uri="{FF2B5EF4-FFF2-40B4-BE49-F238E27FC236}">
                      <a16:creationId xmlns:a16="http://schemas.microsoft.com/office/drawing/2014/main" id="{59EBD649-CEE9-482A-9534-226210AD70FB}"/>
                    </a:ext>
                  </a:extLst>
                </p:cNvPr>
                <p:cNvSpPr>
                  <a:spLocks/>
                </p:cNvSpPr>
                <p:nvPr/>
              </p:nvSpPr>
              <p:spPr bwMode="auto">
                <a:xfrm>
                  <a:off x="3440113" y="566261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4 h 46"/>
                    <a:gd name="T46" fmla="*/ 355 w 358"/>
                    <a:gd name="T47" fmla="*/ 41 h 46"/>
                    <a:gd name="T48" fmla="*/ 342 w 358"/>
                    <a:gd name="T49" fmla="*/ 36 h 46"/>
                    <a:gd name="T50" fmla="*/ 327 w 358"/>
                    <a:gd name="T51" fmla="*/ 14 h 46"/>
                    <a:gd name="T52" fmla="*/ 305 w 358"/>
                    <a:gd name="T53" fmla="*/ 1 h 46"/>
                    <a:gd name="T54" fmla="*/ 288 w 358"/>
                    <a:gd name="T55" fmla="*/ 8 h 46"/>
                    <a:gd name="T56" fmla="*/ 273 w 358"/>
                    <a:gd name="T57" fmla="*/ 30 h 46"/>
                    <a:gd name="T58" fmla="*/ 254 w 358"/>
                    <a:gd name="T59" fmla="*/ 41 h 46"/>
                    <a:gd name="T60" fmla="*/ 241 w 358"/>
                    <a:gd name="T61" fmla="*/ 36 h 46"/>
                    <a:gd name="T62" fmla="*/ 226 w 358"/>
                    <a:gd name="T63" fmla="*/ 14 h 46"/>
                    <a:gd name="T64" fmla="*/ 204 w 358"/>
                    <a:gd name="T65" fmla="*/ 1 h 46"/>
                    <a:gd name="T66" fmla="*/ 187 w 358"/>
                    <a:gd name="T67" fmla="*/ 8 h 46"/>
                    <a:gd name="T68" fmla="*/ 172 w 358"/>
                    <a:gd name="T69" fmla="*/ 30 h 46"/>
                    <a:gd name="T70" fmla="*/ 154 w 358"/>
                    <a:gd name="T71" fmla="*/ 41 h 46"/>
                    <a:gd name="T72" fmla="*/ 140 w 358"/>
                    <a:gd name="T73" fmla="*/ 36 h 46"/>
                    <a:gd name="T74" fmla="*/ 126 w 358"/>
                    <a:gd name="T75" fmla="*/ 14 h 46"/>
                    <a:gd name="T76" fmla="*/ 103 w 358"/>
                    <a:gd name="T77" fmla="*/ 1 h 46"/>
                    <a:gd name="T78" fmla="*/ 87 w 358"/>
                    <a:gd name="T79" fmla="*/ 8 h 46"/>
                    <a:gd name="T80" fmla="*/ 72 w 358"/>
                    <a:gd name="T81" fmla="*/ 30 h 46"/>
                    <a:gd name="T82" fmla="*/ 53 w 358"/>
                    <a:gd name="T83" fmla="*/ 41 h 46"/>
                    <a:gd name="T84" fmla="*/ 40 w 358"/>
                    <a:gd name="T85" fmla="*/ 36 h 46"/>
                    <a:gd name="T86" fmla="*/ 25 w 358"/>
                    <a:gd name="T87" fmla="*/ 14 h 46"/>
                    <a:gd name="T88" fmla="*/ 3 w 358"/>
                    <a:gd name="T89" fmla="*/ 1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5"/>
                        <a:pt x="31" y="32"/>
                      </a:cubicBezTo>
                      <a:cubicBezTo>
                        <a:pt x="36" y="40"/>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5"/>
                        <a:pt x="131" y="32"/>
                      </a:cubicBezTo>
                      <a:cubicBezTo>
                        <a:pt x="137" y="40"/>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5"/>
                        <a:pt x="232" y="32"/>
                      </a:cubicBezTo>
                      <a:cubicBezTo>
                        <a:pt x="237" y="40"/>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5"/>
                        <a:pt x="333" y="32"/>
                      </a:cubicBezTo>
                      <a:cubicBezTo>
                        <a:pt x="338" y="40"/>
                        <a:pt x="345" y="46"/>
                        <a:pt x="355" y="46"/>
                      </a:cubicBezTo>
                      <a:cubicBezTo>
                        <a:pt x="356" y="46"/>
                        <a:pt x="358" y="45"/>
                        <a:pt x="358" y="44"/>
                      </a:cubicBezTo>
                      <a:cubicBezTo>
                        <a:pt x="358" y="43"/>
                        <a:pt x="356" y="41"/>
                        <a:pt x="355" y="41"/>
                      </a:cubicBezTo>
                      <a:cubicBezTo>
                        <a:pt x="350" y="41"/>
                        <a:pt x="346" y="39"/>
                        <a:pt x="342" y="36"/>
                      </a:cubicBezTo>
                      <a:cubicBezTo>
                        <a:pt x="336" y="30"/>
                        <a:pt x="332" y="22"/>
                        <a:pt x="327" y="14"/>
                      </a:cubicBezTo>
                      <a:cubicBezTo>
                        <a:pt x="322" y="7"/>
                        <a:pt x="315" y="0"/>
                        <a:pt x="305" y="1"/>
                      </a:cubicBezTo>
                      <a:cubicBezTo>
                        <a:pt x="298" y="0"/>
                        <a:pt x="292" y="3"/>
                        <a:pt x="288" y="8"/>
                      </a:cubicBezTo>
                      <a:cubicBezTo>
                        <a:pt x="282" y="14"/>
                        <a:pt x="278" y="23"/>
                        <a:pt x="273" y="30"/>
                      </a:cubicBezTo>
                      <a:cubicBezTo>
                        <a:pt x="268" y="37"/>
                        <a:pt x="263" y="41"/>
                        <a:pt x="254" y="41"/>
                      </a:cubicBezTo>
                      <a:cubicBezTo>
                        <a:pt x="249" y="41"/>
                        <a:pt x="245" y="39"/>
                        <a:pt x="241" y="36"/>
                      </a:cubicBezTo>
                      <a:cubicBezTo>
                        <a:pt x="236" y="30"/>
                        <a:pt x="232" y="22"/>
                        <a:pt x="226" y="14"/>
                      </a:cubicBezTo>
                      <a:cubicBezTo>
                        <a:pt x="221" y="7"/>
                        <a:pt x="215" y="0"/>
                        <a:pt x="204" y="1"/>
                      </a:cubicBezTo>
                      <a:cubicBezTo>
                        <a:pt x="197" y="0"/>
                        <a:pt x="192" y="3"/>
                        <a:pt x="187" y="8"/>
                      </a:cubicBezTo>
                      <a:cubicBezTo>
                        <a:pt x="181" y="14"/>
                        <a:pt x="177" y="23"/>
                        <a:pt x="172" y="30"/>
                      </a:cubicBezTo>
                      <a:cubicBezTo>
                        <a:pt x="167" y="37"/>
                        <a:pt x="162" y="41"/>
                        <a:pt x="154" y="41"/>
                      </a:cubicBezTo>
                      <a:cubicBezTo>
                        <a:pt x="148" y="41"/>
                        <a:pt x="144" y="39"/>
                        <a:pt x="140" y="36"/>
                      </a:cubicBezTo>
                      <a:cubicBezTo>
                        <a:pt x="135" y="30"/>
                        <a:pt x="131" y="22"/>
                        <a:pt x="126" y="14"/>
                      </a:cubicBezTo>
                      <a:cubicBezTo>
                        <a:pt x="121" y="7"/>
                        <a:pt x="114" y="0"/>
                        <a:pt x="103" y="1"/>
                      </a:cubicBezTo>
                      <a:cubicBezTo>
                        <a:pt x="96" y="0"/>
                        <a:pt x="91" y="3"/>
                        <a:pt x="87" y="8"/>
                      </a:cubicBezTo>
                      <a:cubicBezTo>
                        <a:pt x="81" y="14"/>
                        <a:pt x="76" y="23"/>
                        <a:pt x="72" y="30"/>
                      </a:cubicBezTo>
                      <a:cubicBezTo>
                        <a:pt x="67" y="37"/>
                        <a:pt x="61" y="41"/>
                        <a:pt x="53" y="41"/>
                      </a:cubicBezTo>
                      <a:cubicBezTo>
                        <a:pt x="48" y="41"/>
                        <a:pt x="44" y="39"/>
                        <a:pt x="40" y="36"/>
                      </a:cubicBezTo>
                      <a:cubicBezTo>
                        <a:pt x="34" y="30"/>
                        <a:pt x="30" y="22"/>
                        <a:pt x="25" y="14"/>
                      </a:cubicBezTo>
                      <a:cubicBezTo>
                        <a:pt x="20" y="7"/>
                        <a:pt x="13" y="0"/>
                        <a:pt x="3" y="1"/>
                      </a:cubicBezTo>
                      <a:cubicBezTo>
                        <a:pt x="2" y="1"/>
                        <a:pt x="0" y="2"/>
                        <a:pt x="0" y="3"/>
                      </a:cubicBezTo>
                      <a:cubicBezTo>
                        <a:pt x="0" y="4"/>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0" name="Freeform 85">
                  <a:extLst>
                    <a:ext uri="{FF2B5EF4-FFF2-40B4-BE49-F238E27FC236}">
                      <a16:creationId xmlns:a16="http://schemas.microsoft.com/office/drawing/2014/main" id="{00EBE12B-AE7E-40F2-ADCB-859508EE8808}"/>
                    </a:ext>
                  </a:extLst>
                </p:cNvPr>
                <p:cNvSpPr>
                  <a:spLocks/>
                </p:cNvSpPr>
                <p:nvPr/>
              </p:nvSpPr>
              <p:spPr bwMode="auto">
                <a:xfrm>
                  <a:off x="3440113" y="575786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4"/>
                        <a:pt x="31" y="32"/>
                      </a:cubicBezTo>
                      <a:cubicBezTo>
                        <a:pt x="36" y="39"/>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4"/>
                        <a:pt x="131" y="32"/>
                      </a:cubicBezTo>
                      <a:cubicBezTo>
                        <a:pt x="137" y="39"/>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4"/>
                        <a:pt x="232" y="32"/>
                      </a:cubicBezTo>
                      <a:cubicBezTo>
                        <a:pt x="237" y="39"/>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4"/>
                        <a:pt x="333" y="32"/>
                      </a:cubicBezTo>
                      <a:cubicBezTo>
                        <a:pt x="338" y="39"/>
                        <a:pt x="345" y="46"/>
                        <a:pt x="355" y="46"/>
                      </a:cubicBezTo>
                      <a:cubicBezTo>
                        <a:pt x="356" y="46"/>
                        <a:pt x="358" y="45"/>
                        <a:pt x="358" y="43"/>
                      </a:cubicBezTo>
                      <a:cubicBezTo>
                        <a:pt x="358" y="42"/>
                        <a:pt x="356" y="41"/>
                        <a:pt x="355" y="41"/>
                      </a:cubicBezTo>
                      <a:cubicBezTo>
                        <a:pt x="350" y="41"/>
                        <a:pt x="346" y="39"/>
                        <a:pt x="342" y="35"/>
                      </a:cubicBezTo>
                      <a:cubicBezTo>
                        <a:pt x="336" y="30"/>
                        <a:pt x="332" y="22"/>
                        <a:pt x="327" y="14"/>
                      </a:cubicBezTo>
                      <a:cubicBezTo>
                        <a:pt x="322" y="7"/>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2"/>
                        <a:pt x="226" y="14"/>
                      </a:cubicBezTo>
                      <a:cubicBezTo>
                        <a:pt x="221" y="7"/>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2"/>
                        <a:pt x="126" y="14"/>
                      </a:cubicBezTo>
                      <a:cubicBezTo>
                        <a:pt x="121" y="7"/>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2"/>
                        <a:pt x="25" y="14"/>
                      </a:cubicBezTo>
                      <a:cubicBezTo>
                        <a:pt x="20" y="7"/>
                        <a:pt x="13" y="0"/>
                        <a:pt x="3" y="0"/>
                      </a:cubicBezTo>
                      <a:cubicBezTo>
                        <a:pt x="2" y="0"/>
                        <a:pt x="0" y="1"/>
                        <a:pt x="0" y="3"/>
                      </a:cubicBezTo>
                      <a:cubicBezTo>
                        <a:pt x="0" y="4"/>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1" name="Freeform 86">
                  <a:extLst>
                    <a:ext uri="{FF2B5EF4-FFF2-40B4-BE49-F238E27FC236}">
                      <a16:creationId xmlns:a16="http://schemas.microsoft.com/office/drawing/2014/main" id="{D4BC869E-3F5E-49AF-96AE-BE11193F88C7}"/>
                    </a:ext>
                  </a:extLst>
                </p:cNvPr>
                <p:cNvSpPr>
                  <a:spLocks/>
                </p:cNvSpPr>
                <p:nvPr/>
              </p:nvSpPr>
              <p:spPr bwMode="auto">
                <a:xfrm>
                  <a:off x="3440113" y="5853113"/>
                  <a:ext cx="769938" cy="101600"/>
                </a:xfrm>
                <a:custGeom>
                  <a:avLst/>
                  <a:gdLst>
                    <a:gd name="T0" fmla="*/ 3 w 358"/>
                    <a:gd name="T1" fmla="*/ 5 h 46"/>
                    <a:gd name="T2" fmla="*/ 16 w 358"/>
                    <a:gd name="T3" fmla="*/ 10 h 46"/>
                    <a:gd name="T4" fmla="*/ 31 w 358"/>
                    <a:gd name="T5" fmla="*/ 32 h 46"/>
                    <a:gd name="T6" fmla="*/ 53 w 358"/>
                    <a:gd name="T7" fmla="*/ 45 h 46"/>
                    <a:gd name="T8" fmla="*/ 70 w 358"/>
                    <a:gd name="T9" fmla="*/ 38 h 46"/>
                    <a:gd name="T10" fmla="*/ 85 w 358"/>
                    <a:gd name="T11" fmla="*/ 16 h 46"/>
                    <a:gd name="T12" fmla="*/ 103 w 358"/>
                    <a:gd name="T13" fmla="*/ 5 h 46"/>
                    <a:gd name="T14" fmla="*/ 117 w 358"/>
                    <a:gd name="T15" fmla="*/ 10 h 46"/>
                    <a:gd name="T16" fmla="*/ 131 w 358"/>
                    <a:gd name="T17" fmla="*/ 32 h 46"/>
                    <a:gd name="T18" fmla="*/ 154 w 358"/>
                    <a:gd name="T19" fmla="*/ 45 h 46"/>
                    <a:gd name="T20" fmla="*/ 170 w 358"/>
                    <a:gd name="T21" fmla="*/ 38 h 46"/>
                    <a:gd name="T22" fmla="*/ 186 w 358"/>
                    <a:gd name="T23" fmla="*/ 16 h 46"/>
                    <a:gd name="T24" fmla="*/ 204 w 358"/>
                    <a:gd name="T25" fmla="*/ 5 h 46"/>
                    <a:gd name="T26" fmla="*/ 217 w 358"/>
                    <a:gd name="T27" fmla="*/ 10 h 46"/>
                    <a:gd name="T28" fmla="*/ 232 w 358"/>
                    <a:gd name="T29" fmla="*/ 32 h 46"/>
                    <a:gd name="T30" fmla="*/ 254 w 358"/>
                    <a:gd name="T31" fmla="*/ 45 h 46"/>
                    <a:gd name="T32" fmla="*/ 271 w 358"/>
                    <a:gd name="T33" fmla="*/ 38 h 46"/>
                    <a:gd name="T34" fmla="*/ 286 w 358"/>
                    <a:gd name="T35" fmla="*/ 16 h 46"/>
                    <a:gd name="T36" fmla="*/ 305 w 358"/>
                    <a:gd name="T37" fmla="*/ 5 h 46"/>
                    <a:gd name="T38" fmla="*/ 318 w 358"/>
                    <a:gd name="T39" fmla="*/ 10 h 46"/>
                    <a:gd name="T40" fmla="*/ 333 w 358"/>
                    <a:gd name="T41" fmla="*/ 32 h 46"/>
                    <a:gd name="T42" fmla="*/ 355 w 358"/>
                    <a:gd name="T43" fmla="*/ 45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2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0"/>
                      </a:cubicBezTo>
                      <a:cubicBezTo>
                        <a:pt x="22" y="16"/>
                        <a:pt x="26" y="24"/>
                        <a:pt x="31" y="32"/>
                      </a:cubicBezTo>
                      <a:cubicBezTo>
                        <a:pt x="36" y="39"/>
                        <a:pt x="43" y="46"/>
                        <a:pt x="53" y="45"/>
                      </a:cubicBezTo>
                      <a:cubicBezTo>
                        <a:pt x="60" y="46"/>
                        <a:pt x="66" y="43"/>
                        <a:pt x="70" y="38"/>
                      </a:cubicBezTo>
                      <a:cubicBezTo>
                        <a:pt x="76" y="32"/>
                        <a:pt x="80" y="23"/>
                        <a:pt x="85" y="16"/>
                      </a:cubicBezTo>
                      <a:cubicBezTo>
                        <a:pt x="90" y="9"/>
                        <a:pt x="95" y="5"/>
                        <a:pt x="103" y="5"/>
                      </a:cubicBezTo>
                      <a:cubicBezTo>
                        <a:pt x="109" y="5"/>
                        <a:pt x="113" y="7"/>
                        <a:pt x="117" y="10"/>
                      </a:cubicBezTo>
                      <a:cubicBezTo>
                        <a:pt x="122" y="16"/>
                        <a:pt x="126" y="24"/>
                        <a:pt x="131" y="32"/>
                      </a:cubicBezTo>
                      <a:cubicBezTo>
                        <a:pt x="137" y="39"/>
                        <a:pt x="143" y="46"/>
                        <a:pt x="154" y="45"/>
                      </a:cubicBezTo>
                      <a:cubicBezTo>
                        <a:pt x="161" y="46"/>
                        <a:pt x="166" y="43"/>
                        <a:pt x="170" y="38"/>
                      </a:cubicBezTo>
                      <a:cubicBezTo>
                        <a:pt x="177" y="32"/>
                        <a:pt x="181" y="23"/>
                        <a:pt x="186" y="16"/>
                      </a:cubicBezTo>
                      <a:cubicBezTo>
                        <a:pt x="191" y="9"/>
                        <a:pt x="196" y="5"/>
                        <a:pt x="204" y="5"/>
                      </a:cubicBezTo>
                      <a:cubicBezTo>
                        <a:pt x="210" y="5"/>
                        <a:pt x="214" y="7"/>
                        <a:pt x="217" y="10"/>
                      </a:cubicBezTo>
                      <a:cubicBezTo>
                        <a:pt x="223" y="16"/>
                        <a:pt x="227" y="24"/>
                        <a:pt x="232" y="32"/>
                      </a:cubicBezTo>
                      <a:cubicBezTo>
                        <a:pt x="237" y="39"/>
                        <a:pt x="244" y="46"/>
                        <a:pt x="254" y="45"/>
                      </a:cubicBezTo>
                      <a:cubicBezTo>
                        <a:pt x="261" y="46"/>
                        <a:pt x="267" y="43"/>
                        <a:pt x="271" y="38"/>
                      </a:cubicBezTo>
                      <a:cubicBezTo>
                        <a:pt x="277" y="32"/>
                        <a:pt x="281" y="23"/>
                        <a:pt x="286" y="16"/>
                      </a:cubicBezTo>
                      <a:cubicBezTo>
                        <a:pt x="291" y="9"/>
                        <a:pt x="296" y="5"/>
                        <a:pt x="305" y="5"/>
                      </a:cubicBezTo>
                      <a:cubicBezTo>
                        <a:pt x="310" y="5"/>
                        <a:pt x="314" y="7"/>
                        <a:pt x="318" y="10"/>
                      </a:cubicBezTo>
                      <a:cubicBezTo>
                        <a:pt x="324" y="16"/>
                        <a:pt x="328" y="24"/>
                        <a:pt x="333" y="32"/>
                      </a:cubicBezTo>
                      <a:cubicBezTo>
                        <a:pt x="338" y="39"/>
                        <a:pt x="345" y="46"/>
                        <a:pt x="355" y="45"/>
                      </a:cubicBezTo>
                      <a:cubicBezTo>
                        <a:pt x="356" y="45"/>
                        <a:pt x="358" y="44"/>
                        <a:pt x="358" y="43"/>
                      </a:cubicBezTo>
                      <a:cubicBezTo>
                        <a:pt x="358" y="42"/>
                        <a:pt x="356" y="41"/>
                        <a:pt x="355" y="41"/>
                      </a:cubicBezTo>
                      <a:cubicBezTo>
                        <a:pt x="350" y="41"/>
                        <a:pt x="346" y="39"/>
                        <a:pt x="342" y="35"/>
                      </a:cubicBezTo>
                      <a:cubicBezTo>
                        <a:pt x="336" y="30"/>
                        <a:pt x="332" y="21"/>
                        <a:pt x="327" y="14"/>
                      </a:cubicBezTo>
                      <a:cubicBezTo>
                        <a:pt x="322" y="6"/>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1"/>
                        <a:pt x="226" y="14"/>
                      </a:cubicBezTo>
                      <a:cubicBezTo>
                        <a:pt x="221" y="6"/>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1"/>
                        <a:pt x="126" y="14"/>
                      </a:cubicBezTo>
                      <a:cubicBezTo>
                        <a:pt x="121" y="6"/>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1"/>
                        <a:pt x="25" y="14"/>
                      </a:cubicBezTo>
                      <a:cubicBezTo>
                        <a:pt x="20" y="6"/>
                        <a:pt x="13" y="0"/>
                        <a:pt x="3" y="0"/>
                      </a:cubicBezTo>
                      <a:cubicBezTo>
                        <a:pt x="2" y="0"/>
                        <a:pt x="0" y="1"/>
                        <a:pt x="0" y="2"/>
                      </a:cubicBezTo>
                      <a:cubicBezTo>
                        <a:pt x="0" y="3"/>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25" name="Freeform: Shape 424">
                <a:extLst>
                  <a:ext uri="{FF2B5EF4-FFF2-40B4-BE49-F238E27FC236}">
                    <a16:creationId xmlns:a16="http://schemas.microsoft.com/office/drawing/2014/main" id="{1C9E6924-9642-4D32-89D3-4BFF20DB01AB}"/>
                  </a:ext>
                </a:extLst>
              </p:cNvPr>
              <p:cNvSpPr/>
              <p:nvPr/>
            </p:nvSpPr>
            <p:spPr>
              <a:xfrm flipH="1">
                <a:off x="4832317" y="4517997"/>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chemeClr val="accent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6" name="Freeform: Shape 425">
                <a:extLst>
                  <a:ext uri="{FF2B5EF4-FFF2-40B4-BE49-F238E27FC236}">
                    <a16:creationId xmlns:a16="http://schemas.microsoft.com/office/drawing/2014/main" id="{611B4603-4696-4932-A6BD-A9C07DB61EC9}"/>
                  </a:ext>
                </a:extLst>
              </p:cNvPr>
              <p:cNvSpPr/>
              <p:nvPr/>
            </p:nvSpPr>
            <p:spPr>
              <a:xfrm flipH="1">
                <a:off x="4886241" y="4492648"/>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7" name="Freeform: Shape 426">
                <a:extLst>
                  <a:ext uri="{FF2B5EF4-FFF2-40B4-BE49-F238E27FC236}">
                    <a16:creationId xmlns:a16="http://schemas.microsoft.com/office/drawing/2014/main" id="{AF13E521-FDC9-41A1-8E94-52A3F9E6851F}"/>
                  </a:ext>
                </a:extLst>
              </p:cNvPr>
              <p:cNvSpPr/>
              <p:nvPr/>
            </p:nvSpPr>
            <p:spPr>
              <a:xfrm flipH="1">
                <a:off x="6680167" y="4877923"/>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428" name="Freeform: Shape 427">
                <a:extLst>
                  <a:ext uri="{FF2B5EF4-FFF2-40B4-BE49-F238E27FC236}">
                    <a16:creationId xmlns:a16="http://schemas.microsoft.com/office/drawing/2014/main" id="{54599249-3FC4-4667-AFE7-D15142433549}"/>
                  </a:ext>
                </a:extLst>
              </p:cNvPr>
              <p:cNvSpPr/>
              <p:nvPr/>
            </p:nvSpPr>
            <p:spPr>
              <a:xfrm flipH="1">
                <a:off x="6734091" y="4852574"/>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chemeClr val="accent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sp>
        <p:nvSpPr>
          <p:cNvPr id="434" name="Rectangle 433">
            <a:extLst>
              <a:ext uri="{FF2B5EF4-FFF2-40B4-BE49-F238E27FC236}">
                <a16:creationId xmlns:a16="http://schemas.microsoft.com/office/drawing/2014/main" id="{3B34B9A2-C76A-43EB-A3D1-BA3556BB6A97}"/>
              </a:ext>
            </a:extLst>
          </p:cNvPr>
          <p:cNvSpPr/>
          <p:nvPr/>
        </p:nvSpPr>
        <p:spPr>
          <a:xfrm>
            <a:off x="6780155" y="4524770"/>
            <a:ext cx="3100593" cy="18466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dirty="0">
                <a:solidFill>
                  <a:schemeClr val="accent1"/>
                </a:solidFill>
              </a:rPr>
              <a:t>001101 001101 10010101010100 1001</a:t>
            </a:r>
          </a:p>
        </p:txBody>
      </p:sp>
      <p:pic>
        <p:nvPicPr>
          <p:cNvPr id="435" name="Graphic 434">
            <a:extLst>
              <a:ext uri="{FF2B5EF4-FFF2-40B4-BE49-F238E27FC236}">
                <a16:creationId xmlns:a16="http://schemas.microsoft.com/office/drawing/2014/main" id="{DDC8382E-398C-4B86-BB97-BFD0A9E274E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a:fillRect/>
          </a:stretch>
        </p:blipFill>
        <p:spPr>
          <a:xfrm>
            <a:off x="961414" y="3686048"/>
            <a:ext cx="1932281" cy="1964333"/>
          </a:xfrm>
          <a:custGeom>
            <a:avLst/>
            <a:gdLst>
              <a:gd name="connsiteX0" fmla="*/ 0 w 2740583"/>
              <a:gd name="connsiteY0" fmla="*/ 0 h 2786043"/>
              <a:gd name="connsiteX1" fmla="*/ 2740583 w 2740583"/>
              <a:gd name="connsiteY1" fmla="*/ 0 h 2786043"/>
              <a:gd name="connsiteX2" fmla="*/ 2740583 w 2740583"/>
              <a:gd name="connsiteY2" fmla="*/ 534603 h 2786043"/>
              <a:gd name="connsiteX3" fmla="*/ 2448484 w 2740583"/>
              <a:gd name="connsiteY3" fmla="*/ 309543 h 2786043"/>
              <a:gd name="connsiteX4" fmla="*/ 111684 w 2740583"/>
              <a:gd name="connsiteY4" fmla="*/ 1897043 h 2786043"/>
              <a:gd name="connsiteX5" fmla="*/ 209020 w 2740583"/>
              <a:gd name="connsiteY5" fmla="*/ 2786043 h 2786043"/>
              <a:gd name="connsiteX6" fmla="*/ 0 w 2740583"/>
              <a:gd name="connsiteY6" fmla="*/ 2786043 h 2786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0583" h="2786043">
                <a:moveTo>
                  <a:pt x="0" y="0"/>
                </a:moveTo>
                <a:lnTo>
                  <a:pt x="2740583" y="0"/>
                </a:lnTo>
                <a:lnTo>
                  <a:pt x="2740583" y="534603"/>
                </a:lnTo>
                <a:lnTo>
                  <a:pt x="2448484" y="309543"/>
                </a:lnTo>
                <a:lnTo>
                  <a:pt x="111684" y="1897043"/>
                </a:lnTo>
                <a:lnTo>
                  <a:pt x="209020" y="2786043"/>
                </a:lnTo>
                <a:lnTo>
                  <a:pt x="0" y="2786043"/>
                </a:lnTo>
                <a:close/>
              </a:path>
            </a:pathLst>
          </a:custGeom>
        </p:spPr>
      </p:pic>
      <p:sp>
        <p:nvSpPr>
          <p:cNvPr id="436" name="Google Shape;2115;p430">
            <a:extLst>
              <a:ext uri="{FF2B5EF4-FFF2-40B4-BE49-F238E27FC236}">
                <a16:creationId xmlns:a16="http://schemas.microsoft.com/office/drawing/2014/main" id="{5F5AF9A6-7BA3-46D3-8D59-556F1A04E695}"/>
              </a:ext>
            </a:extLst>
          </p:cNvPr>
          <p:cNvSpPr txBox="1"/>
          <p:nvPr/>
        </p:nvSpPr>
        <p:spPr>
          <a:xfrm>
            <a:off x="4687997" y="5818583"/>
            <a:ext cx="2450246" cy="246221"/>
          </a:xfrm>
          <a:prstGeom prst="rect">
            <a:avLst/>
          </a:prstGeom>
          <a:noFill/>
          <a:ln>
            <a:noFill/>
          </a:ln>
        </p:spPr>
        <p:txBody>
          <a:bodyPr spcFirstLastPara="1" wrap="square" lIns="0" tIns="0" rIns="0" bIns="0" anchor="t" anchorCtr="0">
            <a:spAutoFit/>
          </a:bodyPr>
          <a:lstStyle/>
          <a:p>
            <a:pPr marR="0" indent="0" algn="ctr">
              <a:lnSpc>
                <a:spcPct val="100000"/>
              </a:lnSpc>
              <a:spcBef>
                <a:spcPts val="0"/>
              </a:spcBef>
              <a:spcAft>
                <a:spcPts val="0"/>
              </a:spcAft>
              <a:buClr>
                <a:srgbClr val="000000"/>
              </a:buClr>
              <a:buSzPts val="1400"/>
              <a:buFont typeface="Arial"/>
              <a:buNone/>
            </a:pPr>
            <a:r>
              <a:rPr lang="en" sz="1600" dirty="0">
                <a:solidFill>
                  <a:schemeClr val="tx2"/>
                </a:solidFill>
                <a:sym typeface="Helvetica Neue"/>
              </a:rPr>
              <a:t>Remote </a:t>
            </a:r>
            <a:r>
              <a:rPr lang="en-US" sz="1600" dirty="0">
                <a:solidFill>
                  <a:schemeClr val="tx2"/>
                </a:solidFill>
                <a:sym typeface="Helvetica Neue"/>
              </a:rPr>
              <a:t>workers</a:t>
            </a:r>
            <a:endParaRPr sz="1600" dirty="0">
              <a:solidFill>
                <a:schemeClr val="tx2"/>
              </a:solidFill>
              <a:sym typeface="Helvetica Neue"/>
            </a:endParaRPr>
          </a:p>
        </p:txBody>
      </p:sp>
      <p:grpSp>
        <p:nvGrpSpPr>
          <p:cNvPr id="437" name="Group 436">
            <a:extLst>
              <a:ext uri="{FF2B5EF4-FFF2-40B4-BE49-F238E27FC236}">
                <a16:creationId xmlns:a16="http://schemas.microsoft.com/office/drawing/2014/main" id="{15E6B47E-BC22-4B33-B567-E2DB446CCC80}"/>
              </a:ext>
            </a:extLst>
          </p:cNvPr>
          <p:cNvGrpSpPr/>
          <p:nvPr/>
        </p:nvGrpSpPr>
        <p:grpSpPr>
          <a:xfrm>
            <a:off x="5244929" y="1180151"/>
            <a:ext cx="1336383" cy="1086594"/>
            <a:chOff x="5427809" y="1327217"/>
            <a:chExt cx="1336383" cy="1086594"/>
          </a:xfrm>
        </p:grpSpPr>
        <p:grpSp>
          <p:nvGrpSpPr>
            <p:cNvPr id="438" name="Group 437">
              <a:extLst>
                <a:ext uri="{FF2B5EF4-FFF2-40B4-BE49-F238E27FC236}">
                  <a16:creationId xmlns:a16="http://schemas.microsoft.com/office/drawing/2014/main" id="{E13C4FCF-466D-4212-8DA4-75BE22495B3F}"/>
                </a:ext>
              </a:extLst>
            </p:cNvPr>
            <p:cNvGrpSpPr/>
            <p:nvPr/>
          </p:nvGrpSpPr>
          <p:grpSpPr>
            <a:xfrm>
              <a:off x="5427809" y="1327217"/>
              <a:ext cx="1336383" cy="1086594"/>
              <a:chOff x="3759440" y="1151356"/>
              <a:chExt cx="1568209" cy="1275088"/>
            </a:xfrm>
          </p:grpSpPr>
          <p:grpSp>
            <p:nvGrpSpPr>
              <p:cNvPr id="440" name="Group 439">
                <a:extLst>
                  <a:ext uri="{FF2B5EF4-FFF2-40B4-BE49-F238E27FC236}">
                    <a16:creationId xmlns:a16="http://schemas.microsoft.com/office/drawing/2014/main" id="{A98FDF4F-6970-4BFB-A300-C207C8C8C1B1}"/>
                  </a:ext>
                </a:extLst>
              </p:cNvPr>
              <p:cNvGrpSpPr/>
              <p:nvPr/>
            </p:nvGrpSpPr>
            <p:grpSpPr>
              <a:xfrm>
                <a:off x="3759440" y="1276552"/>
                <a:ext cx="1517617" cy="1065498"/>
                <a:chOff x="4152412" y="1648888"/>
                <a:chExt cx="1015503" cy="712971"/>
              </a:xfrm>
            </p:grpSpPr>
            <p:sp>
              <p:nvSpPr>
                <p:cNvPr id="444" name="Freeform: Shape 443">
                  <a:extLst>
                    <a:ext uri="{FF2B5EF4-FFF2-40B4-BE49-F238E27FC236}">
                      <a16:creationId xmlns:a16="http://schemas.microsoft.com/office/drawing/2014/main" id="{9CF223B6-3799-432E-9E79-B568991B910C}"/>
                    </a:ext>
                  </a:extLst>
                </p:cNvPr>
                <p:cNvSpPr/>
                <p:nvPr/>
              </p:nvSpPr>
              <p:spPr>
                <a:xfrm>
                  <a:off x="4215997" y="1684114"/>
                  <a:ext cx="951918" cy="677745"/>
                </a:xfrm>
                <a:custGeom>
                  <a:avLst/>
                  <a:gdLst>
                    <a:gd name="connsiteX0" fmla="*/ 520466 w 951918"/>
                    <a:gd name="connsiteY0" fmla="*/ 0 h 677745"/>
                    <a:gd name="connsiteX1" fmla="*/ 761261 w 951918"/>
                    <a:gd name="connsiteY1" fmla="*/ 160530 h 677745"/>
                    <a:gd name="connsiteX2" fmla="*/ 761261 w 951918"/>
                    <a:gd name="connsiteY2" fmla="*/ 162676 h 677745"/>
                    <a:gd name="connsiteX3" fmla="*/ 791020 w 951918"/>
                    <a:gd name="connsiteY3" fmla="*/ 171976 h 677745"/>
                    <a:gd name="connsiteX4" fmla="*/ 931106 w 951918"/>
                    <a:gd name="connsiteY4" fmla="*/ 516918 h 677745"/>
                    <a:gd name="connsiteX5" fmla="*/ 689723 w 951918"/>
                    <a:gd name="connsiteY5" fmla="*/ 677745 h 677745"/>
                    <a:gd name="connsiteX6" fmla="*/ 489419 w 951918"/>
                    <a:gd name="connsiteY6" fmla="*/ 582171 h 677745"/>
                    <a:gd name="connsiteX7" fmla="*/ 476828 w 951918"/>
                    <a:gd name="connsiteY7" fmla="*/ 561426 h 677745"/>
                    <a:gd name="connsiteX8" fmla="*/ 476828 w 951918"/>
                    <a:gd name="connsiteY8" fmla="*/ 561426 h 677745"/>
                    <a:gd name="connsiteX9" fmla="*/ 113338 w 951918"/>
                    <a:gd name="connsiteY9" fmla="*/ 628748 h 677745"/>
                    <a:gd name="connsiteX10" fmla="*/ 46016 w 951918"/>
                    <a:gd name="connsiteY10" fmla="*/ 265258 h 677745"/>
                    <a:gd name="connsiteX11" fmla="*/ 260499 w 951918"/>
                    <a:gd name="connsiteY11" fmla="*/ 151946 h 677745"/>
                    <a:gd name="connsiteX12" fmla="*/ 284249 w 951918"/>
                    <a:gd name="connsiteY12" fmla="*/ 154378 h 677745"/>
                    <a:gd name="connsiteX13" fmla="*/ 304995 w 951918"/>
                    <a:gd name="connsiteY13" fmla="*/ 115891 h 677745"/>
                    <a:gd name="connsiteX14" fmla="*/ 520466 w 951918"/>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918" h="677745">
                      <a:moveTo>
                        <a:pt x="520466" y="0"/>
                      </a:moveTo>
                      <a:cubicBezTo>
                        <a:pt x="625802" y="-87"/>
                        <a:pt x="720826" y="63263"/>
                        <a:pt x="761261" y="160530"/>
                      </a:cubicBezTo>
                      <a:lnTo>
                        <a:pt x="761261" y="162676"/>
                      </a:lnTo>
                      <a:lnTo>
                        <a:pt x="791020" y="171976"/>
                      </a:lnTo>
                      <a:cubicBezTo>
                        <a:pt x="924957" y="228545"/>
                        <a:pt x="987677" y="382981"/>
                        <a:pt x="931106" y="516918"/>
                      </a:cubicBezTo>
                      <a:cubicBezTo>
                        <a:pt x="890097" y="614016"/>
                        <a:pt x="795125" y="677293"/>
                        <a:pt x="689723" y="677745"/>
                      </a:cubicBezTo>
                      <a:cubicBezTo>
                        <a:pt x="612000" y="677542"/>
                        <a:pt x="538473" y="642459"/>
                        <a:pt x="489419" y="582171"/>
                      </a:cubicBezTo>
                      <a:lnTo>
                        <a:pt x="476828" y="561426"/>
                      </a:lnTo>
                      <a:lnTo>
                        <a:pt x="476828" y="561426"/>
                      </a:lnTo>
                      <a:cubicBezTo>
                        <a:pt x="395044" y="680391"/>
                        <a:pt x="232303" y="710532"/>
                        <a:pt x="113338" y="628748"/>
                      </a:cubicBezTo>
                      <a:cubicBezTo>
                        <a:pt x="-5627" y="546964"/>
                        <a:pt x="-35769" y="384223"/>
                        <a:pt x="46016" y="265258"/>
                      </a:cubicBezTo>
                      <a:cubicBezTo>
                        <a:pt x="94595" y="194592"/>
                        <a:pt x="174746" y="152249"/>
                        <a:pt x="260499" y="151946"/>
                      </a:cubicBezTo>
                      <a:lnTo>
                        <a:pt x="284249" y="154378"/>
                      </a:lnTo>
                      <a:lnTo>
                        <a:pt x="304995" y="115891"/>
                      </a:lnTo>
                      <a:cubicBezTo>
                        <a:pt x="353000" y="43745"/>
                        <a:pt x="433810" y="282"/>
                        <a:pt x="520466" y="0"/>
                      </a:cubicBezTo>
                      <a:close/>
                    </a:path>
                  </a:pathLst>
                </a:custGeom>
                <a:solidFill>
                  <a:srgbClr val="B8B8BB"/>
                </a:solidFill>
                <a:ln w="14288" cap="flat">
                  <a:noFill/>
                  <a:prstDash val="solid"/>
                  <a:miter/>
                </a:ln>
              </p:spPr>
              <p:txBody>
                <a:bodyPr rtlCol="0" anchor="ctr"/>
                <a:lstStyle/>
                <a:p>
                  <a:endParaRPr lang="en-IN" dirty="0"/>
                </a:p>
              </p:txBody>
            </p:sp>
            <p:sp>
              <p:nvSpPr>
                <p:cNvPr id="445" name="Freeform: Shape 444">
                  <a:extLst>
                    <a:ext uri="{FF2B5EF4-FFF2-40B4-BE49-F238E27FC236}">
                      <a16:creationId xmlns:a16="http://schemas.microsoft.com/office/drawing/2014/main" id="{3349567C-91E4-4984-845A-57E2E49B33F8}"/>
                    </a:ext>
                  </a:extLst>
                </p:cNvPr>
                <p:cNvSpPr/>
                <p:nvPr/>
              </p:nvSpPr>
              <p:spPr>
                <a:xfrm>
                  <a:off x="4152412" y="1648888"/>
                  <a:ext cx="951307" cy="677745"/>
                </a:xfrm>
                <a:custGeom>
                  <a:avLst/>
                  <a:gdLst>
                    <a:gd name="connsiteX0" fmla="*/ 520664 w 951307"/>
                    <a:gd name="connsiteY0" fmla="*/ 0 h 677745"/>
                    <a:gd name="connsiteX1" fmla="*/ 761459 w 951307"/>
                    <a:gd name="connsiteY1" fmla="*/ 160530 h 677745"/>
                    <a:gd name="connsiteX2" fmla="*/ 762317 w 951307"/>
                    <a:gd name="connsiteY2" fmla="*/ 163391 h 677745"/>
                    <a:gd name="connsiteX3" fmla="*/ 792077 w 951307"/>
                    <a:gd name="connsiteY3" fmla="*/ 172691 h 677745"/>
                    <a:gd name="connsiteX4" fmla="*/ 929786 w 951307"/>
                    <a:gd name="connsiteY4" fmla="*/ 518589 h 677745"/>
                    <a:gd name="connsiteX5" fmla="*/ 689921 w 951307"/>
                    <a:gd name="connsiteY5" fmla="*/ 677745 h 677745"/>
                    <a:gd name="connsiteX6" fmla="*/ 489616 w 951307"/>
                    <a:gd name="connsiteY6" fmla="*/ 582028 h 677745"/>
                    <a:gd name="connsiteX7" fmla="*/ 477026 w 951307"/>
                    <a:gd name="connsiteY7" fmla="*/ 561282 h 677745"/>
                    <a:gd name="connsiteX8" fmla="*/ 477026 w 951307"/>
                    <a:gd name="connsiteY8" fmla="*/ 561282 h 677745"/>
                    <a:gd name="connsiteX9" fmla="*/ 113626 w 951307"/>
                    <a:gd name="connsiteY9" fmla="*/ 629089 h 677745"/>
                    <a:gd name="connsiteX10" fmla="*/ 45820 w 951307"/>
                    <a:gd name="connsiteY10" fmla="*/ 265688 h 677745"/>
                    <a:gd name="connsiteX11" fmla="*/ 260697 w 951307"/>
                    <a:gd name="connsiteY11" fmla="*/ 152089 h 677745"/>
                    <a:gd name="connsiteX12" fmla="*/ 284447 w 951307"/>
                    <a:gd name="connsiteY12" fmla="*/ 154521 h 677745"/>
                    <a:gd name="connsiteX13" fmla="*/ 305193 w 951307"/>
                    <a:gd name="connsiteY13" fmla="*/ 115891 h 677745"/>
                    <a:gd name="connsiteX14" fmla="*/ 520664 w 951307"/>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307" h="677745">
                      <a:moveTo>
                        <a:pt x="520664" y="0"/>
                      </a:moveTo>
                      <a:cubicBezTo>
                        <a:pt x="625977" y="-10"/>
                        <a:pt x="720963" y="63314"/>
                        <a:pt x="761459" y="160530"/>
                      </a:cubicBezTo>
                      <a:lnTo>
                        <a:pt x="762317" y="163391"/>
                      </a:lnTo>
                      <a:lnTo>
                        <a:pt x="792077" y="172691"/>
                      </a:lnTo>
                      <a:cubicBezTo>
                        <a:pt x="925621" y="230182"/>
                        <a:pt x="987275" y="385044"/>
                        <a:pt x="929786" y="518589"/>
                      </a:cubicBezTo>
                      <a:cubicBezTo>
                        <a:pt x="888485" y="614528"/>
                        <a:pt x="794370" y="676976"/>
                        <a:pt x="689921" y="677745"/>
                      </a:cubicBezTo>
                      <a:cubicBezTo>
                        <a:pt x="612179" y="677486"/>
                        <a:pt x="538655" y="642353"/>
                        <a:pt x="489616" y="582028"/>
                      </a:cubicBezTo>
                      <a:lnTo>
                        <a:pt x="477026" y="561282"/>
                      </a:lnTo>
                      <a:lnTo>
                        <a:pt x="477026" y="561282"/>
                      </a:lnTo>
                      <a:cubicBezTo>
                        <a:pt x="395400" y="680356"/>
                        <a:pt x="232700" y="710714"/>
                        <a:pt x="113626" y="629089"/>
                      </a:cubicBezTo>
                      <a:cubicBezTo>
                        <a:pt x="-5450" y="547463"/>
                        <a:pt x="-35807" y="384762"/>
                        <a:pt x="45820" y="265688"/>
                      </a:cubicBezTo>
                      <a:cubicBezTo>
                        <a:pt x="94414" y="194799"/>
                        <a:pt x="174752" y="152327"/>
                        <a:pt x="260697" y="152089"/>
                      </a:cubicBezTo>
                      <a:lnTo>
                        <a:pt x="284447" y="154521"/>
                      </a:lnTo>
                      <a:lnTo>
                        <a:pt x="305193" y="115891"/>
                      </a:lnTo>
                      <a:cubicBezTo>
                        <a:pt x="353250" y="43804"/>
                        <a:pt x="434028" y="358"/>
                        <a:pt x="520664" y="0"/>
                      </a:cubicBezTo>
                      <a:close/>
                    </a:path>
                  </a:pathLst>
                </a:custGeom>
                <a:solidFill>
                  <a:srgbClr val="0D274D"/>
                </a:solidFill>
                <a:ln w="14288" cap="flat">
                  <a:noFill/>
                  <a:prstDash val="solid"/>
                  <a:miter/>
                </a:ln>
              </p:spPr>
              <p:txBody>
                <a:bodyPr rtlCol="0" anchor="ctr"/>
                <a:lstStyle/>
                <a:p>
                  <a:endParaRPr lang="en-IN" dirty="0"/>
                </a:p>
              </p:txBody>
            </p:sp>
          </p:grpSp>
          <p:sp>
            <p:nvSpPr>
              <p:cNvPr id="441" name="Freeform: Shape 440">
                <a:extLst>
                  <a:ext uri="{FF2B5EF4-FFF2-40B4-BE49-F238E27FC236}">
                    <a16:creationId xmlns:a16="http://schemas.microsoft.com/office/drawing/2014/main" id="{6F6E8BAE-71B6-423C-A61C-46A2C8066429}"/>
                  </a:ext>
                </a:extLst>
              </p:cNvPr>
              <p:cNvSpPr/>
              <p:nvPr/>
            </p:nvSpPr>
            <p:spPr>
              <a:xfrm>
                <a:off x="4351709" y="1151356"/>
                <a:ext cx="245802" cy="245802"/>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442" name="Freeform: Shape 441">
                <a:extLst>
                  <a:ext uri="{FF2B5EF4-FFF2-40B4-BE49-F238E27FC236}">
                    <a16:creationId xmlns:a16="http://schemas.microsoft.com/office/drawing/2014/main" id="{81D48F9F-D3B9-4CB6-BD2C-C6AD9FDA550D}"/>
                  </a:ext>
                </a:extLst>
              </p:cNvPr>
              <p:cNvSpPr/>
              <p:nvPr/>
            </p:nvSpPr>
            <p:spPr>
              <a:xfrm>
                <a:off x="3771600" y="2018825"/>
                <a:ext cx="178275" cy="178275"/>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443" name="Freeform: Shape 442">
                <a:extLst>
                  <a:ext uri="{FF2B5EF4-FFF2-40B4-BE49-F238E27FC236}">
                    <a16:creationId xmlns:a16="http://schemas.microsoft.com/office/drawing/2014/main" id="{65ACF140-8B29-41DD-98D9-512AD2079010}"/>
                  </a:ext>
                </a:extLst>
              </p:cNvPr>
              <p:cNvSpPr/>
              <p:nvPr/>
            </p:nvSpPr>
            <p:spPr>
              <a:xfrm>
                <a:off x="5025218" y="2124013"/>
                <a:ext cx="302431" cy="302431"/>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grpSp>
        <p:sp>
          <p:nvSpPr>
            <p:cNvPr id="439" name="Freeform 752">
              <a:extLst>
                <a:ext uri="{FF2B5EF4-FFF2-40B4-BE49-F238E27FC236}">
                  <a16:creationId xmlns:a16="http://schemas.microsoft.com/office/drawing/2014/main" id="{1EAEFE96-77EC-4272-9847-2D31CE0D441F}"/>
                </a:ext>
              </a:extLst>
            </p:cNvPr>
            <p:cNvSpPr>
              <a:spLocks/>
            </p:cNvSpPr>
            <p:nvPr/>
          </p:nvSpPr>
          <p:spPr bwMode="auto">
            <a:xfrm>
              <a:off x="5559471" y="1746035"/>
              <a:ext cx="949094" cy="287453"/>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noFill/>
            <a:ln>
              <a:noFill/>
            </a:ln>
          </p:spPr>
          <p:txBody>
            <a:bodyPr vert="horz" wrap="square" lIns="91440" tIns="45720" rIns="91440" bIns="45720" numCol="1" anchor="t" anchorCtr="0" compatLnSpc="1">
              <a:prstTxWarp prst="textNoShape">
                <a:avLst/>
              </a:prstTxWarp>
            </a:bodyPr>
            <a:lstStyle/>
            <a:p>
              <a:pPr algn="ctr"/>
              <a:r>
                <a:rPr lang="en-US" sz="1400" dirty="0">
                  <a:solidFill>
                    <a:schemeClr val="bg2"/>
                  </a:solidFill>
                </a:rPr>
                <a:t>Internet</a:t>
              </a:r>
              <a:endParaRPr lang="en-US" sz="1600" dirty="0">
                <a:solidFill>
                  <a:schemeClr val="bg2"/>
                </a:solidFill>
              </a:endParaRPr>
            </a:p>
          </p:txBody>
        </p:sp>
      </p:grpSp>
      <p:grpSp>
        <p:nvGrpSpPr>
          <p:cNvPr id="446" name="Group 445">
            <a:extLst>
              <a:ext uri="{FF2B5EF4-FFF2-40B4-BE49-F238E27FC236}">
                <a16:creationId xmlns:a16="http://schemas.microsoft.com/office/drawing/2014/main" id="{1F982403-7B8C-49E4-9B80-79E4FAFB1B02}"/>
              </a:ext>
            </a:extLst>
          </p:cNvPr>
          <p:cNvGrpSpPr/>
          <p:nvPr/>
        </p:nvGrpSpPr>
        <p:grpSpPr>
          <a:xfrm>
            <a:off x="1023811" y="1389617"/>
            <a:ext cx="1336383" cy="1086594"/>
            <a:chOff x="1109937" y="1612791"/>
            <a:chExt cx="1336383" cy="1086594"/>
          </a:xfrm>
        </p:grpSpPr>
        <p:grpSp>
          <p:nvGrpSpPr>
            <p:cNvPr id="447" name="Group 446">
              <a:extLst>
                <a:ext uri="{FF2B5EF4-FFF2-40B4-BE49-F238E27FC236}">
                  <a16:creationId xmlns:a16="http://schemas.microsoft.com/office/drawing/2014/main" id="{2992E5AF-73CB-4CEE-881E-E64AE5CB2077}"/>
                </a:ext>
              </a:extLst>
            </p:cNvPr>
            <p:cNvGrpSpPr/>
            <p:nvPr/>
          </p:nvGrpSpPr>
          <p:grpSpPr>
            <a:xfrm>
              <a:off x="1109937" y="1612791"/>
              <a:ext cx="1336383" cy="1086594"/>
              <a:chOff x="3759440" y="1151356"/>
              <a:chExt cx="1568209" cy="1275088"/>
            </a:xfrm>
          </p:grpSpPr>
          <p:grpSp>
            <p:nvGrpSpPr>
              <p:cNvPr id="449" name="Group 448">
                <a:extLst>
                  <a:ext uri="{FF2B5EF4-FFF2-40B4-BE49-F238E27FC236}">
                    <a16:creationId xmlns:a16="http://schemas.microsoft.com/office/drawing/2014/main" id="{9185E26D-F8D1-4E1D-8391-C28747D53737}"/>
                  </a:ext>
                </a:extLst>
              </p:cNvPr>
              <p:cNvGrpSpPr/>
              <p:nvPr/>
            </p:nvGrpSpPr>
            <p:grpSpPr>
              <a:xfrm>
                <a:off x="3759440" y="1276552"/>
                <a:ext cx="1517617" cy="1065498"/>
                <a:chOff x="4152412" y="1648888"/>
                <a:chExt cx="1015503" cy="712971"/>
              </a:xfrm>
            </p:grpSpPr>
            <p:sp>
              <p:nvSpPr>
                <p:cNvPr id="453" name="Freeform: Shape 452">
                  <a:extLst>
                    <a:ext uri="{FF2B5EF4-FFF2-40B4-BE49-F238E27FC236}">
                      <a16:creationId xmlns:a16="http://schemas.microsoft.com/office/drawing/2014/main" id="{8BF2ACF4-B84C-4AB6-9B8B-11FE66E6E819}"/>
                    </a:ext>
                  </a:extLst>
                </p:cNvPr>
                <p:cNvSpPr/>
                <p:nvPr/>
              </p:nvSpPr>
              <p:spPr>
                <a:xfrm>
                  <a:off x="4215997" y="1684114"/>
                  <a:ext cx="951918" cy="677745"/>
                </a:xfrm>
                <a:custGeom>
                  <a:avLst/>
                  <a:gdLst>
                    <a:gd name="connsiteX0" fmla="*/ 520466 w 951918"/>
                    <a:gd name="connsiteY0" fmla="*/ 0 h 677745"/>
                    <a:gd name="connsiteX1" fmla="*/ 761261 w 951918"/>
                    <a:gd name="connsiteY1" fmla="*/ 160530 h 677745"/>
                    <a:gd name="connsiteX2" fmla="*/ 761261 w 951918"/>
                    <a:gd name="connsiteY2" fmla="*/ 162676 h 677745"/>
                    <a:gd name="connsiteX3" fmla="*/ 791020 w 951918"/>
                    <a:gd name="connsiteY3" fmla="*/ 171976 h 677745"/>
                    <a:gd name="connsiteX4" fmla="*/ 931106 w 951918"/>
                    <a:gd name="connsiteY4" fmla="*/ 516918 h 677745"/>
                    <a:gd name="connsiteX5" fmla="*/ 689723 w 951918"/>
                    <a:gd name="connsiteY5" fmla="*/ 677745 h 677745"/>
                    <a:gd name="connsiteX6" fmla="*/ 489419 w 951918"/>
                    <a:gd name="connsiteY6" fmla="*/ 582171 h 677745"/>
                    <a:gd name="connsiteX7" fmla="*/ 476828 w 951918"/>
                    <a:gd name="connsiteY7" fmla="*/ 561426 h 677745"/>
                    <a:gd name="connsiteX8" fmla="*/ 476828 w 951918"/>
                    <a:gd name="connsiteY8" fmla="*/ 561426 h 677745"/>
                    <a:gd name="connsiteX9" fmla="*/ 113338 w 951918"/>
                    <a:gd name="connsiteY9" fmla="*/ 628748 h 677745"/>
                    <a:gd name="connsiteX10" fmla="*/ 46016 w 951918"/>
                    <a:gd name="connsiteY10" fmla="*/ 265258 h 677745"/>
                    <a:gd name="connsiteX11" fmla="*/ 260499 w 951918"/>
                    <a:gd name="connsiteY11" fmla="*/ 151946 h 677745"/>
                    <a:gd name="connsiteX12" fmla="*/ 284249 w 951918"/>
                    <a:gd name="connsiteY12" fmla="*/ 154378 h 677745"/>
                    <a:gd name="connsiteX13" fmla="*/ 304995 w 951918"/>
                    <a:gd name="connsiteY13" fmla="*/ 115891 h 677745"/>
                    <a:gd name="connsiteX14" fmla="*/ 520466 w 951918"/>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918" h="677745">
                      <a:moveTo>
                        <a:pt x="520466" y="0"/>
                      </a:moveTo>
                      <a:cubicBezTo>
                        <a:pt x="625802" y="-87"/>
                        <a:pt x="720826" y="63263"/>
                        <a:pt x="761261" y="160530"/>
                      </a:cubicBezTo>
                      <a:lnTo>
                        <a:pt x="761261" y="162676"/>
                      </a:lnTo>
                      <a:lnTo>
                        <a:pt x="791020" y="171976"/>
                      </a:lnTo>
                      <a:cubicBezTo>
                        <a:pt x="924957" y="228545"/>
                        <a:pt x="987677" y="382981"/>
                        <a:pt x="931106" y="516918"/>
                      </a:cubicBezTo>
                      <a:cubicBezTo>
                        <a:pt x="890097" y="614016"/>
                        <a:pt x="795125" y="677293"/>
                        <a:pt x="689723" y="677745"/>
                      </a:cubicBezTo>
                      <a:cubicBezTo>
                        <a:pt x="612000" y="677542"/>
                        <a:pt x="538473" y="642459"/>
                        <a:pt x="489419" y="582171"/>
                      </a:cubicBezTo>
                      <a:lnTo>
                        <a:pt x="476828" y="561426"/>
                      </a:lnTo>
                      <a:lnTo>
                        <a:pt x="476828" y="561426"/>
                      </a:lnTo>
                      <a:cubicBezTo>
                        <a:pt x="395044" y="680391"/>
                        <a:pt x="232303" y="710532"/>
                        <a:pt x="113338" y="628748"/>
                      </a:cubicBezTo>
                      <a:cubicBezTo>
                        <a:pt x="-5627" y="546964"/>
                        <a:pt x="-35769" y="384223"/>
                        <a:pt x="46016" y="265258"/>
                      </a:cubicBezTo>
                      <a:cubicBezTo>
                        <a:pt x="94595" y="194592"/>
                        <a:pt x="174746" y="152249"/>
                        <a:pt x="260499" y="151946"/>
                      </a:cubicBezTo>
                      <a:lnTo>
                        <a:pt x="284249" y="154378"/>
                      </a:lnTo>
                      <a:lnTo>
                        <a:pt x="304995" y="115891"/>
                      </a:lnTo>
                      <a:cubicBezTo>
                        <a:pt x="353000" y="43745"/>
                        <a:pt x="433810" y="282"/>
                        <a:pt x="520466" y="0"/>
                      </a:cubicBezTo>
                      <a:close/>
                    </a:path>
                  </a:pathLst>
                </a:custGeom>
                <a:solidFill>
                  <a:srgbClr val="B8B8BB"/>
                </a:solidFill>
                <a:ln w="14288" cap="flat">
                  <a:noFill/>
                  <a:prstDash val="solid"/>
                  <a:miter/>
                </a:ln>
              </p:spPr>
              <p:txBody>
                <a:bodyPr rtlCol="0" anchor="ctr"/>
                <a:lstStyle/>
                <a:p>
                  <a:endParaRPr lang="en-IN" dirty="0"/>
                </a:p>
              </p:txBody>
            </p:sp>
            <p:sp>
              <p:nvSpPr>
                <p:cNvPr id="454" name="Freeform: Shape 453">
                  <a:extLst>
                    <a:ext uri="{FF2B5EF4-FFF2-40B4-BE49-F238E27FC236}">
                      <a16:creationId xmlns:a16="http://schemas.microsoft.com/office/drawing/2014/main" id="{4F874DC9-6355-4221-9C59-A930E929D7DE}"/>
                    </a:ext>
                  </a:extLst>
                </p:cNvPr>
                <p:cNvSpPr/>
                <p:nvPr/>
              </p:nvSpPr>
              <p:spPr>
                <a:xfrm>
                  <a:off x="4152412" y="1648888"/>
                  <a:ext cx="951307" cy="677745"/>
                </a:xfrm>
                <a:custGeom>
                  <a:avLst/>
                  <a:gdLst>
                    <a:gd name="connsiteX0" fmla="*/ 520664 w 951307"/>
                    <a:gd name="connsiteY0" fmla="*/ 0 h 677745"/>
                    <a:gd name="connsiteX1" fmla="*/ 761459 w 951307"/>
                    <a:gd name="connsiteY1" fmla="*/ 160530 h 677745"/>
                    <a:gd name="connsiteX2" fmla="*/ 762317 w 951307"/>
                    <a:gd name="connsiteY2" fmla="*/ 163391 h 677745"/>
                    <a:gd name="connsiteX3" fmla="*/ 792077 w 951307"/>
                    <a:gd name="connsiteY3" fmla="*/ 172691 h 677745"/>
                    <a:gd name="connsiteX4" fmla="*/ 929786 w 951307"/>
                    <a:gd name="connsiteY4" fmla="*/ 518589 h 677745"/>
                    <a:gd name="connsiteX5" fmla="*/ 689921 w 951307"/>
                    <a:gd name="connsiteY5" fmla="*/ 677745 h 677745"/>
                    <a:gd name="connsiteX6" fmla="*/ 489616 w 951307"/>
                    <a:gd name="connsiteY6" fmla="*/ 582028 h 677745"/>
                    <a:gd name="connsiteX7" fmla="*/ 477026 w 951307"/>
                    <a:gd name="connsiteY7" fmla="*/ 561282 h 677745"/>
                    <a:gd name="connsiteX8" fmla="*/ 477026 w 951307"/>
                    <a:gd name="connsiteY8" fmla="*/ 561282 h 677745"/>
                    <a:gd name="connsiteX9" fmla="*/ 113626 w 951307"/>
                    <a:gd name="connsiteY9" fmla="*/ 629089 h 677745"/>
                    <a:gd name="connsiteX10" fmla="*/ 45820 w 951307"/>
                    <a:gd name="connsiteY10" fmla="*/ 265688 h 677745"/>
                    <a:gd name="connsiteX11" fmla="*/ 260697 w 951307"/>
                    <a:gd name="connsiteY11" fmla="*/ 152089 h 677745"/>
                    <a:gd name="connsiteX12" fmla="*/ 284447 w 951307"/>
                    <a:gd name="connsiteY12" fmla="*/ 154521 h 677745"/>
                    <a:gd name="connsiteX13" fmla="*/ 305193 w 951307"/>
                    <a:gd name="connsiteY13" fmla="*/ 115891 h 677745"/>
                    <a:gd name="connsiteX14" fmla="*/ 520664 w 951307"/>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307" h="677745">
                      <a:moveTo>
                        <a:pt x="520664" y="0"/>
                      </a:moveTo>
                      <a:cubicBezTo>
                        <a:pt x="625977" y="-10"/>
                        <a:pt x="720963" y="63314"/>
                        <a:pt x="761459" y="160530"/>
                      </a:cubicBezTo>
                      <a:lnTo>
                        <a:pt x="762317" y="163391"/>
                      </a:lnTo>
                      <a:lnTo>
                        <a:pt x="792077" y="172691"/>
                      </a:lnTo>
                      <a:cubicBezTo>
                        <a:pt x="925621" y="230182"/>
                        <a:pt x="987275" y="385044"/>
                        <a:pt x="929786" y="518589"/>
                      </a:cubicBezTo>
                      <a:cubicBezTo>
                        <a:pt x="888485" y="614528"/>
                        <a:pt x="794370" y="676976"/>
                        <a:pt x="689921" y="677745"/>
                      </a:cubicBezTo>
                      <a:cubicBezTo>
                        <a:pt x="612179" y="677486"/>
                        <a:pt x="538655" y="642353"/>
                        <a:pt x="489616" y="582028"/>
                      </a:cubicBezTo>
                      <a:lnTo>
                        <a:pt x="477026" y="561282"/>
                      </a:lnTo>
                      <a:lnTo>
                        <a:pt x="477026" y="561282"/>
                      </a:lnTo>
                      <a:cubicBezTo>
                        <a:pt x="395400" y="680356"/>
                        <a:pt x="232700" y="710714"/>
                        <a:pt x="113626" y="629089"/>
                      </a:cubicBezTo>
                      <a:cubicBezTo>
                        <a:pt x="-5450" y="547463"/>
                        <a:pt x="-35807" y="384762"/>
                        <a:pt x="45820" y="265688"/>
                      </a:cubicBezTo>
                      <a:cubicBezTo>
                        <a:pt x="94414" y="194799"/>
                        <a:pt x="174752" y="152327"/>
                        <a:pt x="260697" y="152089"/>
                      </a:cubicBezTo>
                      <a:lnTo>
                        <a:pt x="284447" y="154521"/>
                      </a:lnTo>
                      <a:lnTo>
                        <a:pt x="305193" y="115891"/>
                      </a:lnTo>
                      <a:cubicBezTo>
                        <a:pt x="353250" y="43804"/>
                        <a:pt x="434028" y="358"/>
                        <a:pt x="520664" y="0"/>
                      </a:cubicBezTo>
                      <a:close/>
                    </a:path>
                  </a:pathLst>
                </a:custGeom>
                <a:solidFill>
                  <a:srgbClr val="0D274D"/>
                </a:solidFill>
                <a:ln w="14288" cap="flat">
                  <a:noFill/>
                  <a:prstDash val="solid"/>
                  <a:miter/>
                </a:ln>
              </p:spPr>
              <p:txBody>
                <a:bodyPr rtlCol="0" anchor="ctr"/>
                <a:lstStyle/>
                <a:p>
                  <a:endParaRPr lang="en-IN" dirty="0"/>
                </a:p>
              </p:txBody>
            </p:sp>
          </p:grpSp>
          <p:sp>
            <p:nvSpPr>
              <p:cNvPr id="450" name="Freeform: Shape 449">
                <a:extLst>
                  <a:ext uri="{FF2B5EF4-FFF2-40B4-BE49-F238E27FC236}">
                    <a16:creationId xmlns:a16="http://schemas.microsoft.com/office/drawing/2014/main" id="{458F65AA-3BD7-4C05-90BC-9D82C6DD7B60}"/>
                  </a:ext>
                </a:extLst>
              </p:cNvPr>
              <p:cNvSpPr/>
              <p:nvPr/>
            </p:nvSpPr>
            <p:spPr>
              <a:xfrm>
                <a:off x="4351709" y="1151356"/>
                <a:ext cx="245802" cy="245802"/>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451" name="Freeform: Shape 450">
                <a:extLst>
                  <a:ext uri="{FF2B5EF4-FFF2-40B4-BE49-F238E27FC236}">
                    <a16:creationId xmlns:a16="http://schemas.microsoft.com/office/drawing/2014/main" id="{D4952A17-A621-4F39-A25F-B719133B7745}"/>
                  </a:ext>
                </a:extLst>
              </p:cNvPr>
              <p:cNvSpPr/>
              <p:nvPr/>
            </p:nvSpPr>
            <p:spPr>
              <a:xfrm>
                <a:off x="3771600" y="2018825"/>
                <a:ext cx="178275" cy="178275"/>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452" name="Freeform: Shape 451">
                <a:extLst>
                  <a:ext uri="{FF2B5EF4-FFF2-40B4-BE49-F238E27FC236}">
                    <a16:creationId xmlns:a16="http://schemas.microsoft.com/office/drawing/2014/main" id="{62A51E41-8567-4683-861F-A4B6C19A5346}"/>
                  </a:ext>
                </a:extLst>
              </p:cNvPr>
              <p:cNvSpPr/>
              <p:nvPr/>
            </p:nvSpPr>
            <p:spPr>
              <a:xfrm>
                <a:off x="5025218" y="2124013"/>
                <a:ext cx="302431" cy="302431"/>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grpSp>
        <p:sp>
          <p:nvSpPr>
            <p:cNvPr id="448" name="Freeform 752">
              <a:extLst>
                <a:ext uri="{FF2B5EF4-FFF2-40B4-BE49-F238E27FC236}">
                  <a16:creationId xmlns:a16="http://schemas.microsoft.com/office/drawing/2014/main" id="{8E865DBF-DDE7-48B3-BEB6-41815F2E952F}"/>
                </a:ext>
              </a:extLst>
            </p:cNvPr>
            <p:cNvSpPr>
              <a:spLocks/>
            </p:cNvSpPr>
            <p:nvPr/>
          </p:nvSpPr>
          <p:spPr bwMode="auto">
            <a:xfrm>
              <a:off x="1132004" y="2031609"/>
              <a:ext cx="1168284" cy="287453"/>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noFill/>
            <a:ln>
              <a:noFill/>
            </a:ln>
          </p:spPr>
          <p:txBody>
            <a:bodyPr vert="horz" wrap="square" lIns="91440" tIns="45720" rIns="91440" bIns="45720" numCol="1" anchor="t" anchorCtr="0" compatLnSpc="1">
              <a:prstTxWarp prst="textNoShape">
                <a:avLst/>
              </a:prstTxWarp>
            </a:bodyPr>
            <a:lstStyle/>
            <a:p>
              <a:pPr algn="ctr"/>
              <a:r>
                <a:rPr lang="en-US" sz="1400" dirty="0">
                  <a:solidFill>
                    <a:schemeClr val="bg2"/>
                  </a:solidFill>
                </a:rPr>
                <a:t>Cloud Apps</a:t>
              </a:r>
            </a:p>
          </p:txBody>
        </p:sp>
      </p:grpSp>
      <p:sp>
        <p:nvSpPr>
          <p:cNvPr id="455" name="Rectangle 454">
            <a:extLst>
              <a:ext uri="{FF2B5EF4-FFF2-40B4-BE49-F238E27FC236}">
                <a16:creationId xmlns:a16="http://schemas.microsoft.com/office/drawing/2014/main" id="{BF038C07-7339-4F82-A4FD-E4641D5B9338}"/>
              </a:ext>
            </a:extLst>
          </p:cNvPr>
          <p:cNvSpPr/>
          <p:nvPr/>
        </p:nvSpPr>
        <p:spPr>
          <a:xfrm rot="5400000">
            <a:off x="5163213" y="2716472"/>
            <a:ext cx="1499815" cy="3693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dirty="0">
                <a:solidFill>
                  <a:schemeClr val="accent1"/>
                </a:solidFill>
              </a:rPr>
              <a:t>00101 001 1011 1010 </a:t>
            </a:r>
          </a:p>
        </p:txBody>
      </p:sp>
      <p:sp>
        <p:nvSpPr>
          <p:cNvPr id="456" name="Freeform: Shape 455">
            <a:extLst>
              <a:ext uri="{FF2B5EF4-FFF2-40B4-BE49-F238E27FC236}">
                <a16:creationId xmlns:a16="http://schemas.microsoft.com/office/drawing/2014/main" id="{B0C7F1C7-AD38-4A3C-849C-D86C9A16E8E9}"/>
              </a:ext>
            </a:extLst>
          </p:cNvPr>
          <p:cNvSpPr/>
          <p:nvPr/>
        </p:nvSpPr>
        <p:spPr>
          <a:xfrm>
            <a:off x="7013805" y="2972431"/>
            <a:ext cx="353279" cy="921994"/>
          </a:xfrm>
          <a:custGeom>
            <a:avLst/>
            <a:gdLst>
              <a:gd name="connsiteX0" fmla="*/ 255 w 859512"/>
              <a:gd name="connsiteY0" fmla="*/ 0 h 2243174"/>
              <a:gd name="connsiteX1" fmla="*/ 78812 w 859512"/>
              <a:gd name="connsiteY1" fmla="*/ 22637 h 2243174"/>
              <a:gd name="connsiteX2" fmla="*/ 722687 w 859512"/>
              <a:gd name="connsiteY2" fmla="*/ 282200 h 2243174"/>
              <a:gd name="connsiteX3" fmla="*/ 859512 w 859512"/>
              <a:gd name="connsiteY3" fmla="*/ 443170 h 2243174"/>
              <a:gd name="connsiteX4" fmla="*/ 859512 w 859512"/>
              <a:gd name="connsiteY4" fmla="*/ 1180273 h 2243174"/>
              <a:gd name="connsiteX5" fmla="*/ 677080 w 859512"/>
              <a:gd name="connsiteY5" fmla="*/ 1665864 h 2243174"/>
              <a:gd name="connsiteX6" fmla="*/ 141856 w 859512"/>
              <a:gd name="connsiteY6" fmla="*/ 2190358 h 2243174"/>
              <a:gd name="connsiteX7" fmla="*/ 3 w 859512"/>
              <a:gd name="connsiteY7" fmla="*/ 2243174 h 2243174"/>
              <a:gd name="connsiteX8" fmla="*/ 0 w 859512"/>
              <a:gd name="connsiteY8" fmla="*/ 2243174 h 2243174"/>
              <a:gd name="connsiteX9" fmla="*/ 0 w 859512"/>
              <a:gd name="connsiteY9" fmla="*/ 36 h 2243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9512" h="2243174">
                <a:moveTo>
                  <a:pt x="255" y="0"/>
                </a:moveTo>
                <a:cubicBezTo>
                  <a:pt x="27670" y="0"/>
                  <a:pt x="55001" y="7546"/>
                  <a:pt x="78812" y="22637"/>
                </a:cubicBezTo>
                <a:cubicBezTo>
                  <a:pt x="278010" y="150742"/>
                  <a:pt x="491964" y="239944"/>
                  <a:pt x="722687" y="282200"/>
                </a:cubicBezTo>
                <a:cubicBezTo>
                  <a:pt x="801160" y="296956"/>
                  <a:pt x="859512" y="363354"/>
                  <a:pt x="859512" y="443170"/>
                </a:cubicBezTo>
                <a:lnTo>
                  <a:pt x="859512" y="1180273"/>
                </a:lnTo>
                <a:cubicBezTo>
                  <a:pt x="859512" y="1359351"/>
                  <a:pt x="795122" y="1531723"/>
                  <a:pt x="677080" y="1665864"/>
                </a:cubicBezTo>
                <a:cubicBezTo>
                  <a:pt x="521475" y="1842932"/>
                  <a:pt x="341057" y="2017314"/>
                  <a:pt x="141856" y="2190358"/>
                </a:cubicBezTo>
                <a:cubicBezTo>
                  <a:pt x="101280" y="2225569"/>
                  <a:pt x="50642" y="2243174"/>
                  <a:pt x="3" y="2243174"/>
                </a:cubicBezTo>
                <a:lnTo>
                  <a:pt x="0" y="2243174"/>
                </a:lnTo>
                <a:lnTo>
                  <a:pt x="0" y="36"/>
                </a:lnTo>
                <a:close/>
              </a:path>
            </a:pathLst>
          </a:custGeom>
          <a:noFill/>
          <a:ln w="7144" cap="flat">
            <a:solidFill>
              <a:srgbClr val="0D274D"/>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82828"/>
              </a:solidFill>
              <a:effectLst/>
              <a:uLnTx/>
              <a:uFillTx/>
            </a:endParaRPr>
          </a:p>
        </p:txBody>
      </p:sp>
      <p:sp>
        <p:nvSpPr>
          <p:cNvPr id="457" name="Freeform: Shape 456">
            <a:extLst>
              <a:ext uri="{FF2B5EF4-FFF2-40B4-BE49-F238E27FC236}">
                <a16:creationId xmlns:a16="http://schemas.microsoft.com/office/drawing/2014/main" id="{6B502338-89F6-4456-9858-9528C0F03802}"/>
              </a:ext>
            </a:extLst>
          </p:cNvPr>
          <p:cNvSpPr/>
          <p:nvPr/>
        </p:nvSpPr>
        <p:spPr>
          <a:xfrm>
            <a:off x="6732452" y="3064496"/>
            <a:ext cx="565446" cy="737863"/>
          </a:xfrm>
          <a:custGeom>
            <a:avLst/>
            <a:gdLst>
              <a:gd name="connsiteX0" fmla="*/ 565726 w 614648"/>
              <a:gd name="connsiteY0" fmla="*/ 100903 h 802065"/>
              <a:gd name="connsiteX1" fmla="*/ 335503 w 614648"/>
              <a:gd name="connsiteY1" fmla="*/ 8094 h 802065"/>
              <a:gd name="connsiteX2" fmla="*/ 279146 w 614648"/>
              <a:gd name="connsiteY2" fmla="*/ 8094 h 802065"/>
              <a:gd name="connsiteX3" fmla="*/ 48922 w 614648"/>
              <a:gd name="connsiteY3" fmla="*/ 100903 h 802065"/>
              <a:gd name="connsiteX4" fmla="*/ 0 w 614648"/>
              <a:gd name="connsiteY4" fmla="*/ 158459 h 802065"/>
              <a:gd name="connsiteX5" fmla="*/ 0 w 614648"/>
              <a:gd name="connsiteY5" fmla="*/ 422016 h 802065"/>
              <a:gd name="connsiteX6" fmla="*/ 65230 w 614648"/>
              <a:gd name="connsiteY6" fmla="*/ 595643 h 802065"/>
              <a:gd name="connsiteX7" fmla="*/ 256603 w 614648"/>
              <a:gd name="connsiteY7" fmla="*/ 783180 h 802065"/>
              <a:gd name="connsiteX8" fmla="*/ 358045 w 614648"/>
              <a:gd name="connsiteY8" fmla="*/ 783180 h 802065"/>
              <a:gd name="connsiteX9" fmla="*/ 549419 w 614648"/>
              <a:gd name="connsiteY9" fmla="*/ 595643 h 802065"/>
              <a:gd name="connsiteX10" fmla="*/ 614649 w 614648"/>
              <a:gd name="connsiteY10" fmla="*/ 422016 h 802065"/>
              <a:gd name="connsiteX11" fmla="*/ 614649 w 614648"/>
              <a:gd name="connsiteY11" fmla="*/ 158459 h 802065"/>
              <a:gd name="connsiteX12" fmla="*/ 565726 w 614648"/>
              <a:gd name="connsiteY12" fmla="*/ 100903 h 802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4648" h="802065">
                <a:moveTo>
                  <a:pt x="565726" y="100903"/>
                </a:moveTo>
                <a:cubicBezTo>
                  <a:pt x="483229" y="85794"/>
                  <a:pt x="406728" y="53899"/>
                  <a:pt x="335503" y="8094"/>
                </a:cubicBezTo>
                <a:cubicBezTo>
                  <a:pt x="318476" y="-2698"/>
                  <a:pt x="296413" y="-2698"/>
                  <a:pt x="279146" y="8094"/>
                </a:cubicBezTo>
                <a:cubicBezTo>
                  <a:pt x="207921" y="53659"/>
                  <a:pt x="131419" y="85794"/>
                  <a:pt x="48922" y="100903"/>
                </a:cubicBezTo>
                <a:cubicBezTo>
                  <a:pt x="20864" y="105939"/>
                  <a:pt x="0" y="129920"/>
                  <a:pt x="0" y="158459"/>
                </a:cubicBezTo>
                <a:lnTo>
                  <a:pt x="0" y="422016"/>
                </a:lnTo>
                <a:cubicBezTo>
                  <a:pt x="0" y="485807"/>
                  <a:pt x="23022" y="547680"/>
                  <a:pt x="65230" y="595643"/>
                </a:cubicBezTo>
                <a:cubicBezTo>
                  <a:pt x="120867" y="658715"/>
                  <a:pt x="185378" y="721067"/>
                  <a:pt x="256603" y="783180"/>
                </a:cubicBezTo>
                <a:cubicBezTo>
                  <a:pt x="285621" y="808360"/>
                  <a:pt x="329028" y="808360"/>
                  <a:pt x="358045" y="783180"/>
                </a:cubicBezTo>
                <a:cubicBezTo>
                  <a:pt x="429271" y="721307"/>
                  <a:pt x="493781" y="658955"/>
                  <a:pt x="549419" y="595643"/>
                </a:cubicBezTo>
                <a:cubicBezTo>
                  <a:pt x="591626" y="547680"/>
                  <a:pt x="614649" y="486047"/>
                  <a:pt x="614649" y="422016"/>
                </a:cubicBezTo>
                <a:lnTo>
                  <a:pt x="614649" y="158459"/>
                </a:lnTo>
                <a:cubicBezTo>
                  <a:pt x="614649" y="129920"/>
                  <a:pt x="593785" y="106179"/>
                  <a:pt x="565726" y="100903"/>
                </a:cubicBezTo>
                <a:close/>
              </a:path>
            </a:pathLst>
          </a:custGeom>
          <a:solidFill>
            <a:srgbClr val="1E4471"/>
          </a:solidFill>
          <a:ln w="1428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82828"/>
              </a:solidFill>
              <a:effectLst/>
              <a:uLnTx/>
              <a:uFillTx/>
            </a:endParaRPr>
          </a:p>
        </p:txBody>
      </p:sp>
      <p:sp>
        <p:nvSpPr>
          <p:cNvPr id="458" name="Freeform: Shape 457">
            <a:extLst>
              <a:ext uri="{FF2B5EF4-FFF2-40B4-BE49-F238E27FC236}">
                <a16:creationId xmlns:a16="http://schemas.microsoft.com/office/drawing/2014/main" id="{0335CDE4-09D2-4C8E-A7B4-9A8E2157D55F}"/>
              </a:ext>
            </a:extLst>
          </p:cNvPr>
          <p:cNvSpPr/>
          <p:nvPr/>
        </p:nvSpPr>
        <p:spPr>
          <a:xfrm rot="5400000">
            <a:off x="6784818" y="3605220"/>
            <a:ext cx="268729" cy="238928"/>
          </a:xfrm>
          <a:custGeom>
            <a:avLst/>
            <a:gdLst>
              <a:gd name="connsiteX0" fmla="*/ 93595 w 929392"/>
              <a:gd name="connsiteY0" fmla="*/ 826261 h 826323"/>
              <a:gd name="connsiteX1" fmla="*/ 20197 w 929392"/>
              <a:gd name="connsiteY1" fmla="*/ 712946 h 826323"/>
              <a:gd name="connsiteX2" fmla="*/ 395769 w 929392"/>
              <a:gd name="connsiteY2" fmla="*/ 69109 h 826323"/>
              <a:gd name="connsiteX3" fmla="*/ 539845 w 929392"/>
              <a:gd name="connsiteY3" fmla="*/ 69109 h 826323"/>
              <a:gd name="connsiteX4" fmla="*/ 904257 w 929392"/>
              <a:gd name="connsiteY4" fmla="*/ 704361 h 826323"/>
              <a:gd name="connsiteX5" fmla="*/ 847027 w 929392"/>
              <a:gd name="connsiteY5" fmla="*/ 823543 h 826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9392" h="826323">
                <a:moveTo>
                  <a:pt x="93595" y="826261"/>
                </a:moveTo>
                <a:cubicBezTo>
                  <a:pt x="4173" y="828264"/>
                  <a:pt x="-23154" y="781908"/>
                  <a:pt x="20197" y="712946"/>
                </a:cubicBezTo>
                <a:lnTo>
                  <a:pt x="395769" y="69109"/>
                </a:lnTo>
                <a:cubicBezTo>
                  <a:pt x="443842" y="-24462"/>
                  <a:pt x="494633" y="-21600"/>
                  <a:pt x="539845" y="69109"/>
                </a:cubicBezTo>
                <a:lnTo>
                  <a:pt x="904257" y="704361"/>
                </a:lnTo>
                <a:cubicBezTo>
                  <a:pt x="958911" y="772465"/>
                  <a:pt x="917420" y="823543"/>
                  <a:pt x="847027" y="823543"/>
                </a:cubicBezTo>
                <a:close/>
              </a:path>
            </a:pathLst>
          </a:custGeom>
          <a:solidFill>
            <a:srgbClr val="00BCE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nvGrpSpPr>
          <p:cNvPr id="459" name="Group 458">
            <a:extLst>
              <a:ext uri="{FF2B5EF4-FFF2-40B4-BE49-F238E27FC236}">
                <a16:creationId xmlns:a16="http://schemas.microsoft.com/office/drawing/2014/main" id="{60D8A874-E0FB-4CAD-A2E6-CC450C3C9D42}"/>
              </a:ext>
            </a:extLst>
          </p:cNvPr>
          <p:cNvGrpSpPr/>
          <p:nvPr/>
        </p:nvGrpSpPr>
        <p:grpSpPr>
          <a:xfrm>
            <a:off x="6511505" y="3620426"/>
            <a:ext cx="270655" cy="208516"/>
            <a:chOff x="3442578" y="3133255"/>
            <a:chExt cx="406928" cy="313502"/>
          </a:xfrm>
          <a:solidFill>
            <a:srgbClr val="00BCEB"/>
          </a:solidFill>
        </p:grpSpPr>
        <p:grpSp>
          <p:nvGrpSpPr>
            <p:cNvPr id="460" name="Graphic 3">
              <a:extLst>
                <a:ext uri="{FF2B5EF4-FFF2-40B4-BE49-F238E27FC236}">
                  <a16:creationId xmlns:a16="http://schemas.microsoft.com/office/drawing/2014/main" id="{A23978A1-2D15-4C3C-A73C-EE9F592ED223}"/>
                </a:ext>
              </a:extLst>
            </p:cNvPr>
            <p:cNvGrpSpPr/>
            <p:nvPr/>
          </p:nvGrpSpPr>
          <p:grpSpPr>
            <a:xfrm>
              <a:off x="3442578" y="3133255"/>
              <a:ext cx="406928" cy="26971"/>
              <a:chOff x="9280892" y="2080036"/>
              <a:chExt cx="2259045" cy="149726"/>
            </a:xfrm>
            <a:grpFill/>
          </p:grpSpPr>
          <p:sp>
            <p:nvSpPr>
              <p:cNvPr id="516" name="Freeform: Shape 515">
                <a:extLst>
                  <a:ext uri="{FF2B5EF4-FFF2-40B4-BE49-F238E27FC236}">
                    <a16:creationId xmlns:a16="http://schemas.microsoft.com/office/drawing/2014/main" id="{B2A6A72F-DF58-4F3F-9915-1BDF72F84D2E}"/>
                  </a:ext>
                </a:extLst>
              </p:cNvPr>
              <p:cNvSpPr/>
              <p:nvPr/>
            </p:nvSpPr>
            <p:spPr>
              <a:xfrm>
                <a:off x="11390211" y="2080036"/>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17" name="Freeform: Shape 516">
                <a:extLst>
                  <a:ext uri="{FF2B5EF4-FFF2-40B4-BE49-F238E27FC236}">
                    <a16:creationId xmlns:a16="http://schemas.microsoft.com/office/drawing/2014/main" id="{767D7B2F-D3A4-4F29-85F5-D9AE91FE8D27}"/>
                  </a:ext>
                </a:extLst>
              </p:cNvPr>
              <p:cNvSpPr/>
              <p:nvPr/>
            </p:nvSpPr>
            <p:spPr>
              <a:xfrm>
                <a:off x="11155798" y="2084948"/>
                <a:ext cx="139903" cy="139902"/>
              </a:xfrm>
              <a:custGeom>
                <a:avLst/>
                <a:gdLst>
                  <a:gd name="connsiteX0" fmla="*/ 139903 w 139903"/>
                  <a:gd name="connsiteY0" fmla="*/ 69951 h 139902"/>
                  <a:gd name="connsiteX1" fmla="*/ 69952 w 139903"/>
                  <a:gd name="connsiteY1" fmla="*/ 139903 h 139902"/>
                  <a:gd name="connsiteX2" fmla="*/ 1 w 139903"/>
                  <a:gd name="connsiteY2" fmla="*/ 69951 h 139902"/>
                  <a:gd name="connsiteX3" fmla="*/ 69952 w 139903"/>
                  <a:gd name="connsiteY3" fmla="*/ 0 h 139902"/>
                  <a:gd name="connsiteX4" fmla="*/ 139903 w 139903"/>
                  <a:gd name="connsiteY4" fmla="*/ 69951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1"/>
                    </a:moveTo>
                    <a:cubicBezTo>
                      <a:pt x="139903" y="108585"/>
                      <a:pt x="108584" y="139903"/>
                      <a:pt x="69952" y="139903"/>
                    </a:cubicBezTo>
                    <a:cubicBezTo>
                      <a:pt x="31318" y="139903"/>
                      <a:pt x="1" y="108585"/>
                      <a:pt x="1" y="69951"/>
                    </a:cubicBezTo>
                    <a:cubicBezTo>
                      <a:pt x="1" y="31318"/>
                      <a:pt x="31319" y="0"/>
                      <a:pt x="69952" y="0"/>
                    </a:cubicBezTo>
                    <a:cubicBezTo>
                      <a:pt x="108585" y="0"/>
                      <a:pt x="139903" y="31318"/>
                      <a:pt x="139903" y="6995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18" name="Freeform: Shape 517">
                <a:extLst>
                  <a:ext uri="{FF2B5EF4-FFF2-40B4-BE49-F238E27FC236}">
                    <a16:creationId xmlns:a16="http://schemas.microsoft.com/office/drawing/2014/main" id="{625C693B-915C-4131-8F37-6EF86D1B085E}"/>
                  </a:ext>
                </a:extLst>
              </p:cNvPr>
              <p:cNvSpPr/>
              <p:nvPr/>
            </p:nvSpPr>
            <p:spPr>
              <a:xfrm>
                <a:off x="10920989" y="2089384"/>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19" name="Freeform: Shape 518">
                <a:extLst>
                  <a:ext uri="{FF2B5EF4-FFF2-40B4-BE49-F238E27FC236}">
                    <a16:creationId xmlns:a16="http://schemas.microsoft.com/office/drawing/2014/main" id="{E0901E62-163F-40F2-8CD4-A825EE2FE975}"/>
                  </a:ext>
                </a:extLst>
              </p:cNvPr>
              <p:cNvSpPr/>
              <p:nvPr/>
            </p:nvSpPr>
            <p:spPr>
              <a:xfrm>
                <a:off x="10686894" y="2094613"/>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20" name="Freeform: Shape 519">
                <a:extLst>
                  <a:ext uri="{FF2B5EF4-FFF2-40B4-BE49-F238E27FC236}">
                    <a16:creationId xmlns:a16="http://schemas.microsoft.com/office/drawing/2014/main" id="{CB6C65DD-E4F6-498A-8554-42392F0F7670}"/>
                  </a:ext>
                </a:extLst>
              </p:cNvPr>
              <p:cNvSpPr/>
              <p:nvPr/>
            </p:nvSpPr>
            <p:spPr>
              <a:xfrm>
                <a:off x="10452005" y="2099049"/>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21" name="Freeform: Shape 520">
                <a:extLst>
                  <a:ext uri="{FF2B5EF4-FFF2-40B4-BE49-F238E27FC236}">
                    <a16:creationId xmlns:a16="http://schemas.microsoft.com/office/drawing/2014/main" id="{5B41C78B-A841-428F-834B-80D9563DA43B}"/>
                  </a:ext>
                </a:extLst>
              </p:cNvPr>
              <p:cNvSpPr/>
              <p:nvPr/>
            </p:nvSpPr>
            <p:spPr>
              <a:xfrm>
                <a:off x="10217513" y="2103882"/>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22" name="Freeform: Shape 521">
                <a:extLst>
                  <a:ext uri="{FF2B5EF4-FFF2-40B4-BE49-F238E27FC236}">
                    <a16:creationId xmlns:a16="http://schemas.microsoft.com/office/drawing/2014/main" id="{ABDAB3FE-6D4F-4B2F-A454-CDD794206A93}"/>
                  </a:ext>
                </a:extLst>
              </p:cNvPr>
              <p:cNvSpPr/>
              <p:nvPr/>
            </p:nvSpPr>
            <p:spPr>
              <a:xfrm>
                <a:off x="9983021" y="2108714"/>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23" name="Freeform: Shape 522">
                <a:extLst>
                  <a:ext uri="{FF2B5EF4-FFF2-40B4-BE49-F238E27FC236}">
                    <a16:creationId xmlns:a16="http://schemas.microsoft.com/office/drawing/2014/main" id="{3899CD3C-441C-4A9C-A7F7-F4B7D4EEAD1C}"/>
                  </a:ext>
                </a:extLst>
              </p:cNvPr>
              <p:cNvSpPr/>
              <p:nvPr/>
            </p:nvSpPr>
            <p:spPr>
              <a:xfrm>
                <a:off x="9749401" y="2114339"/>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24" name="Freeform: Shape 523">
                <a:extLst>
                  <a:ext uri="{FF2B5EF4-FFF2-40B4-BE49-F238E27FC236}">
                    <a16:creationId xmlns:a16="http://schemas.microsoft.com/office/drawing/2014/main" id="{D5025112-01D4-4CCA-AEA7-B31A7B3E0B0A}"/>
                  </a:ext>
                </a:extLst>
              </p:cNvPr>
              <p:cNvSpPr/>
              <p:nvPr/>
            </p:nvSpPr>
            <p:spPr>
              <a:xfrm>
                <a:off x="9514830" y="2119092"/>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25" name="Freeform: Shape 524">
                <a:extLst>
                  <a:ext uri="{FF2B5EF4-FFF2-40B4-BE49-F238E27FC236}">
                    <a16:creationId xmlns:a16="http://schemas.microsoft.com/office/drawing/2014/main" id="{B3ADFD8E-F811-40E2-8E93-641E61E756E7}"/>
                  </a:ext>
                </a:extLst>
              </p:cNvPr>
              <p:cNvSpPr/>
              <p:nvPr/>
            </p:nvSpPr>
            <p:spPr>
              <a:xfrm>
                <a:off x="9280892" y="2124479"/>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461" name="Graphic 3">
              <a:extLst>
                <a:ext uri="{FF2B5EF4-FFF2-40B4-BE49-F238E27FC236}">
                  <a16:creationId xmlns:a16="http://schemas.microsoft.com/office/drawing/2014/main" id="{8B3FD136-4177-41BB-86F8-75038BB61C95}"/>
                </a:ext>
              </a:extLst>
            </p:cNvPr>
            <p:cNvGrpSpPr/>
            <p:nvPr/>
          </p:nvGrpSpPr>
          <p:grpSpPr>
            <a:xfrm>
              <a:off x="3442578" y="3190564"/>
              <a:ext cx="406928" cy="26971"/>
              <a:chOff x="9280892" y="2398185"/>
              <a:chExt cx="2259045" cy="149726"/>
            </a:xfrm>
            <a:grpFill/>
          </p:grpSpPr>
          <p:sp>
            <p:nvSpPr>
              <p:cNvPr id="506" name="Freeform: Shape 505">
                <a:extLst>
                  <a:ext uri="{FF2B5EF4-FFF2-40B4-BE49-F238E27FC236}">
                    <a16:creationId xmlns:a16="http://schemas.microsoft.com/office/drawing/2014/main" id="{EF844A70-D243-4843-A91A-93665CD751B0}"/>
                  </a:ext>
                </a:extLst>
              </p:cNvPr>
              <p:cNvSpPr/>
              <p:nvPr/>
            </p:nvSpPr>
            <p:spPr>
              <a:xfrm>
                <a:off x="11390211" y="2398185"/>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07" name="Freeform: Shape 506">
                <a:extLst>
                  <a:ext uri="{FF2B5EF4-FFF2-40B4-BE49-F238E27FC236}">
                    <a16:creationId xmlns:a16="http://schemas.microsoft.com/office/drawing/2014/main" id="{8B56B3D1-C426-4CD0-8DE2-3F6EAD317C24}"/>
                  </a:ext>
                </a:extLst>
              </p:cNvPr>
              <p:cNvSpPr/>
              <p:nvPr/>
            </p:nvSpPr>
            <p:spPr>
              <a:xfrm>
                <a:off x="11155798" y="2403097"/>
                <a:ext cx="139903" cy="139902"/>
              </a:xfrm>
              <a:custGeom>
                <a:avLst/>
                <a:gdLst>
                  <a:gd name="connsiteX0" fmla="*/ 139903 w 139903"/>
                  <a:gd name="connsiteY0" fmla="*/ 69952 h 139902"/>
                  <a:gd name="connsiteX1" fmla="*/ 69952 w 139903"/>
                  <a:gd name="connsiteY1" fmla="*/ 139903 h 139902"/>
                  <a:gd name="connsiteX2" fmla="*/ 1 w 139903"/>
                  <a:gd name="connsiteY2" fmla="*/ 69952 h 139902"/>
                  <a:gd name="connsiteX3" fmla="*/ 69952 w 139903"/>
                  <a:gd name="connsiteY3" fmla="*/ 0 h 139902"/>
                  <a:gd name="connsiteX4" fmla="*/ 139903 w 139903"/>
                  <a:gd name="connsiteY4" fmla="*/ 69952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2"/>
                    </a:moveTo>
                    <a:cubicBezTo>
                      <a:pt x="139903" y="108585"/>
                      <a:pt x="108584" y="139903"/>
                      <a:pt x="69952" y="139903"/>
                    </a:cubicBezTo>
                    <a:cubicBezTo>
                      <a:pt x="31318" y="139903"/>
                      <a:pt x="1" y="108585"/>
                      <a:pt x="1" y="69952"/>
                    </a:cubicBezTo>
                    <a:cubicBezTo>
                      <a:pt x="1" y="31318"/>
                      <a:pt x="31319" y="0"/>
                      <a:pt x="69952" y="0"/>
                    </a:cubicBezTo>
                    <a:cubicBezTo>
                      <a:pt x="108585" y="0"/>
                      <a:pt x="139903" y="31318"/>
                      <a:pt x="139903" y="69952"/>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08" name="Freeform: Shape 507">
                <a:extLst>
                  <a:ext uri="{FF2B5EF4-FFF2-40B4-BE49-F238E27FC236}">
                    <a16:creationId xmlns:a16="http://schemas.microsoft.com/office/drawing/2014/main" id="{872CF7E7-388D-4A19-96AF-C04269F3801E}"/>
                  </a:ext>
                </a:extLst>
              </p:cNvPr>
              <p:cNvSpPr/>
              <p:nvPr/>
            </p:nvSpPr>
            <p:spPr>
              <a:xfrm>
                <a:off x="10920989" y="2407533"/>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09" name="Freeform: Shape 508">
                <a:extLst>
                  <a:ext uri="{FF2B5EF4-FFF2-40B4-BE49-F238E27FC236}">
                    <a16:creationId xmlns:a16="http://schemas.microsoft.com/office/drawing/2014/main" id="{8BDD8A62-8398-44C1-B043-9944C6E1486D}"/>
                  </a:ext>
                </a:extLst>
              </p:cNvPr>
              <p:cNvSpPr/>
              <p:nvPr/>
            </p:nvSpPr>
            <p:spPr>
              <a:xfrm>
                <a:off x="10686894" y="2412761"/>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10" name="Freeform: Shape 509">
                <a:extLst>
                  <a:ext uri="{FF2B5EF4-FFF2-40B4-BE49-F238E27FC236}">
                    <a16:creationId xmlns:a16="http://schemas.microsoft.com/office/drawing/2014/main" id="{0B0B6046-0844-4756-9D46-80BF732C1399}"/>
                  </a:ext>
                </a:extLst>
              </p:cNvPr>
              <p:cNvSpPr/>
              <p:nvPr/>
            </p:nvSpPr>
            <p:spPr>
              <a:xfrm>
                <a:off x="10452005" y="2417198"/>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11" name="Freeform: Shape 510">
                <a:extLst>
                  <a:ext uri="{FF2B5EF4-FFF2-40B4-BE49-F238E27FC236}">
                    <a16:creationId xmlns:a16="http://schemas.microsoft.com/office/drawing/2014/main" id="{786DD40B-3768-4623-AFC2-230172A9F96E}"/>
                  </a:ext>
                </a:extLst>
              </p:cNvPr>
              <p:cNvSpPr/>
              <p:nvPr/>
            </p:nvSpPr>
            <p:spPr>
              <a:xfrm>
                <a:off x="10217513" y="2422030"/>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12" name="Freeform: Shape 511">
                <a:extLst>
                  <a:ext uri="{FF2B5EF4-FFF2-40B4-BE49-F238E27FC236}">
                    <a16:creationId xmlns:a16="http://schemas.microsoft.com/office/drawing/2014/main" id="{5B6EFB8A-BE06-49CA-9F48-F7C885531891}"/>
                  </a:ext>
                </a:extLst>
              </p:cNvPr>
              <p:cNvSpPr/>
              <p:nvPr/>
            </p:nvSpPr>
            <p:spPr>
              <a:xfrm>
                <a:off x="9983021" y="2426863"/>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13" name="Freeform: Shape 512">
                <a:extLst>
                  <a:ext uri="{FF2B5EF4-FFF2-40B4-BE49-F238E27FC236}">
                    <a16:creationId xmlns:a16="http://schemas.microsoft.com/office/drawing/2014/main" id="{A9D4560B-DA5C-47FA-8A88-C5C1237D5D3D}"/>
                  </a:ext>
                </a:extLst>
              </p:cNvPr>
              <p:cNvSpPr/>
              <p:nvPr/>
            </p:nvSpPr>
            <p:spPr>
              <a:xfrm>
                <a:off x="9749401" y="2432487"/>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14" name="Freeform: Shape 513">
                <a:extLst>
                  <a:ext uri="{FF2B5EF4-FFF2-40B4-BE49-F238E27FC236}">
                    <a16:creationId xmlns:a16="http://schemas.microsoft.com/office/drawing/2014/main" id="{028A7658-4DC9-4F3E-AB03-76797CF68C81}"/>
                  </a:ext>
                </a:extLst>
              </p:cNvPr>
              <p:cNvSpPr/>
              <p:nvPr/>
            </p:nvSpPr>
            <p:spPr>
              <a:xfrm>
                <a:off x="9514830" y="2437241"/>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15" name="Freeform: Shape 514">
                <a:extLst>
                  <a:ext uri="{FF2B5EF4-FFF2-40B4-BE49-F238E27FC236}">
                    <a16:creationId xmlns:a16="http://schemas.microsoft.com/office/drawing/2014/main" id="{39F8DAD9-1425-4A1D-AE5D-E0AA5B74CC25}"/>
                  </a:ext>
                </a:extLst>
              </p:cNvPr>
              <p:cNvSpPr/>
              <p:nvPr/>
            </p:nvSpPr>
            <p:spPr>
              <a:xfrm>
                <a:off x="9280892" y="2442627"/>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462" name="Graphic 3">
              <a:extLst>
                <a:ext uri="{FF2B5EF4-FFF2-40B4-BE49-F238E27FC236}">
                  <a16:creationId xmlns:a16="http://schemas.microsoft.com/office/drawing/2014/main" id="{33627AC2-5295-4D98-B155-6CC8278D850B}"/>
                </a:ext>
              </a:extLst>
            </p:cNvPr>
            <p:cNvGrpSpPr/>
            <p:nvPr/>
          </p:nvGrpSpPr>
          <p:grpSpPr>
            <a:xfrm>
              <a:off x="3442578" y="3247873"/>
              <a:ext cx="406928" cy="26971"/>
              <a:chOff x="9280892" y="2716333"/>
              <a:chExt cx="2259045" cy="149726"/>
            </a:xfrm>
            <a:grpFill/>
          </p:grpSpPr>
          <p:sp>
            <p:nvSpPr>
              <p:cNvPr id="496" name="Freeform: Shape 495">
                <a:extLst>
                  <a:ext uri="{FF2B5EF4-FFF2-40B4-BE49-F238E27FC236}">
                    <a16:creationId xmlns:a16="http://schemas.microsoft.com/office/drawing/2014/main" id="{D095B462-7DE2-4AA7-B83C-96833CAD8DEE}"/>
                  </a:ext>
                </a:extLst>
              </p:cNvPr>
              <p:cNvSpPr/>
              <p:nvPr/>
            </p:nvSpPr>
            <p:spPr>
              <a:xfrm>
                <a:off x="11390211" y="2716333"/>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97" name="Freeform: Shape 496">
                <a:extLst>
                  <a:ext uri="{FF2B5EF4-FFF2-40B4-BE49-F238E27FC236}">
                    <a16:creationId xmlns:a16="http://schemas.microsoft.com/office/drawing/2014/main" id="{C8C2119C-C2CD-42C0-811D-F6F6BCA9EF1F}"/>
                  </a:ext>
                </a:extLst>
              </p:cNvPr>
              <p:cNvSpPr/>
              <p:nvPr/>
            </p:nvSpPr>
            <p:spPr>
              <a:xfrm>
                <a:off x="11155798" y="2721245"/>
                <a:ext cx="139903" cy="139902"/>
              </a:xfrm>
              <a:custGeom>
                <a:avLst/>
                <a:gdLst>
                  <a:gd name="connsiteX0" fmla="*/ 139903 w 139903"/>
                  <a:gd name="connsiteY0" fmla="*/ 69951 h 139902"/>
                  <a:gd name="connsiteX1" fmla="*/ 69952 w 139903"/>
                  <a:gd name="connsiteY1" fmla="*/ 139903 h 139902"/>
                  <a:gd name="connsiteX2" fmla="*/ 1 w 139903"/>
                  <a:gd name="connsiteY2" fmla="*/ 69951 h 139902"/>
                  <a:gd name="connsiteX3" fmla="*/ 69952 w 139903"/>
                  <a:gd name="connsiteY3" fmla="*/ 0 h 139902"/>
                  <a:gd name="connsiteX4" fmla="*/ 139903 w 139903"/>
                  <a:gd name="connsiteY4" fmla="*/ 69951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1"/>
                    </a:moveTo>
                    <a:cubicBezTo>
                      <a:pt x="139903" y="108585"/>
                      <a:pt x="108584" y="139903"/>
                      <a:pt x="69952" y="139903"/>
                    </a:cubicBezTo>
                    <a:cubicBezTo>
                      <a:pt x="31318" y="139903"/>
                      <a:pt x="1" y="108585"/>
                      <a:pt x="1" y="69951"/>
                    </a:cubicBezTo>
                    <a:cubicBezTo>
                      <a:pt x="1" y="31318"/>
                      <a:pt x="31319" y="0"/>
                      <a:pt x="69952" y="0"/>
                    </a:cubicBezTo>
                    <a:cubicBezTo>
                      <a:pt x="108585" y="0"/>
                      <a:pt x="139903" y="31318"/>
                      <a:pt x="139903" y="6995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98" name="Freeform: Shape 497">
                <a:extLst>
                  <a:ext uri="{FF2B5EF4-FFF2-40B4-BE49-F238E27FC236}">
                    <a16:creationId xmlns:a16="http://schemas.microsoft.com/office/drawing/2014/main" id="{5D6782E4-C6E9-4EC9-BFF9-861D788608B9}"/>
                  </a:ext>
                </a:extLst>
              </p:cNvPr>
              <p:cNvSpPr/>
              <p:nvPr/>
            </p:nvSpPr>
            <p:spPr>
              <a:xfrm>
                <a:off x="10920989" y="2725681"/>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99" name="Freeform: Shape 498">
                <a:extLst>
                  <a:ext uri="{FF2B5EF4-FFF2-40B4-BE49-F238E27FC236}">
                    <a16:creationId xmlns:a16="http://schemas.microsoft.com/office/drawing/2014/main" id="{F46E246F-8CEA-4FB9-89F2-F6E9B8B24868}"/>
                  </a:ext>
                </a:extLst>
              </p:cNvPr>
              <p:cNvSpPr/>
              <p:nvPr/>
            </p:nvSpPr>
            <p:spPr>
              <a:xfrm>
                <a:off x="10686894" y="2730910"/>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00" name="Freeform: Shape 499">
                <a:extLst>
                  <a:ext uri="{FF2B5EF4-FFF2-40B4-BE49-F238E27FC236}">
                    <a16:creationId xmlns:a16="http://schemas.microsoft.com/office/drawing/2014/main" id="{BAF3541B-CB45-4F06-B511-4B64169826DC}"/>
                  </a:ext>
                </a:extLst>
              </p:cNvPr>
              <p:cNvSpPr/>
              <p:nvPr/>
            </p:nvSpPr>
            <p:spPr>
              <a:xfrm>
                <a:off x="10452005" y="2735346"/>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01" name="Freeform: Shape 500">
                <a:extLst>
                  <a:ext uri="{FF2B5EF4-FFF2-40B4-BE49-F238E27FC236}">
                    <a16:creationId xmlns:a16="http://schemas.microsoft.com/office/drawing/2014/main" id="{D7F14C63-962B-4114-837D-02DFC07587DA}"/>
                  </a:ext>
                </a:extLst>
              </p:cNvPr>
              <p:cNvSpPr/>
              <p:nvPr/>
            </p:nvSpPr>
            <p:spPr>
              <a:xfrm>
                <a:off x="10217513" y="2740179"/>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02" name="Freeform: Shape 501">
                <a:extLst>
                  <a:ext uri="{FF2B5EF4-FFF2-40B4-BE49-F238E27FC236}">
                    <a16:creationId xmlns:a16="http://schemas.microsoft.com/office/drawing/2014/main" id="{0929B1C5-76E8-4B40-8D5F-7C8134DAA93F}"/>
                  </a:ext>
                </a:extLst>
              </p:cNvPr>
              <p:cNvSpPr/>
              <p:nvPr/>
            </p:nvSpPr>
            <p:spPr>
              <a:xfrm>
                <a:off x="9983021" y="2745011"/>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03" name="Freeform: Shape 502">
                <a:extLst>
                  <a:ext uri="{FF2B5EF4-FFF2-40B4-BE49-F238E27FC236}">
                    <a16:creationId xmlns:a16="http://schemas.microsoft.com/office/drawing/2014/main" id="{3F3EF3BB-140F-4E91-9C21-9E188901A238}"/>
                  </a:ext>
                </a:extLst>
              </p:cNvPr>
              <p:cNvSpPr/>
              <p:nvPr/>
            </p:nvSpPr>
            <p:spPr>
              <a:xfrm>
                <a:off x="9749401" y="2750636"/>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04" name="Freeform: Shape 503">
                <a:extLst>
                  <a:ext uri="{FF2B5EF4-FFF2-40B4-BE49-F238E27FC236}">
                    <a16:creationId xmlns:a16="http://schemas.microsoft.com/office/drawing/2014/main" id="{099C6C60-E34B-4166-B83F-4CD093DB2405}"/>
                  </a:ext>
                </a:extLst>
              </p:cNvPr>
              <p:cNvSpPr/>
              <p:nvPr/>
            </p:nvSpPr>
            <p:spPr>
              <a:xfrm>
                <a:off x="9514830" y="2755389"/>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05" name="Freeform: Shape 504">
                <a:extLst>
                  <a:ext uri="{FF2B5EF4-FFF2-40B4-BE49-F238E27FC236}">
                    <a16:creationId xmlns:a16="http://schemas.microsoft.com/office/drawing/2014/main" id="{67911395-BA40-44EB-BEE6-A5AA9D3EF210}"/>
                  </a:ext>
                </a:extLst>
              </p:cNvPr>
              <p:cNvSpPr/>
              <p:nvPr/>
            </p:nvSpPr>
            <p:spPr>
              <a:xfrm>
                <a:off x="9280892" y="2760776"/>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463" name="Graphic 3">
              <a:extLst>
                <a:ext uri="{FF2B5EF4-FFF2-40B4-BE49-F238E27FC236}">
                  <a16:creationId xmlns:a16="http://schemas.microsoft.com/office/drawing/2014/main" id="{3BDEA925-8FA6-491E-987E-B663709BF896}"/>
                </a:ext>
              </a:extLst>
            </p:cNvPr>
            <p:cNvGrpSpPr/>
            <p:nvPr/>
          </p:nvGrpSpPr>
          <p:grpSpPr>
            <a:xfrm>
              <a:off x="3442578" y="3305168"/>
              <a:ext cx="406928" cy="26971"/>
              <a:chOff x="9280892" y="3034403"/>
              <a:chExt cx="2259045" cy="149726"/>
            </a:xfrm>
            <a:grpFill/>
          </p:grpSpPr>
          <p:sp>
            <p:nvSpPr>
              <p:cNvPr id="486" name="Freeform: Shape 485">
                <a:extLst>
                  <a:ext uri="{FF2B5EF4-FFF2-40B4-BE49-F238E27FC236}">
                    <a16:creationId xmlns:a16="http://schemas.microsoft.com/office/drawing/2014/main" id="{038CA084-E864-45F8-A771-163F49ADDEE1}"/>
                  </a:ext>
                </a:extLst>
              </p:cNvPr>
              <p:cNvSpPr/>
              <p:nvPr/>
            </p:nvSpPr>
            <p:spPr>
              <a:xfrm>
                <a:off x="11390211" y="3034403"/>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87" name="Freeform: Shape 486">
                <a:extLst>
                  <a:ext uri="{FF2B5EF4-FFF2-40B4-BE49-F238E27FC236}">
                    <a16:creationId xmlns:a16="http://schemas.microsoft.com/office/drawing/2014/main" id="{8F96B4D3-A1A8-4884-81A7-BBB5BFCC1F61}"/>
                  </a:ext>
                </a:extLst>
              </p:cNvPr>
              <p:cNvSpPr/>
              <p:nvPr/>
            </p:nvSpPr>
            <p:spPr>
              <a:xfrm>
                <a:off x="11155798" y="3039315"/>
                <a:ext cx="139903" cy="139902"/>
              </a:xfrm>
              <a:custGeom>
                <a:avLst/>
                <a:gdLst>
                  <a:gd name="connsiteX0" fmla="*/ 139903 w 139903"/>
                  <a:gd name="connsiteY0" fmla="*/ 69951 h 139902"/>
                  <a:gd name="connsiteX1" fmla="*/ 69952 w 139903"/>
                  <a:gd name="connsiteY1" fmla="*/ 139903 h 139902"/>
                  <a:gd name="connsiteX2" fmla="*/ 1 w 139903"/>
                  <a:gd name="connsiteY2" fmla="*/ 69951 h 139902"/>
                  <a:gd name="connsiteX3" fmla="*/ 69952 w 139903"/>
                  <a:gd name="connsiteY3" fmla="*/ 0 h 139902"/>
                  <a:gd name="connsiteX4" fmla="*/ 139903 w 139903"/>
                  <a:gd name="connsiteY4" fmla="*/ 69951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1"/>
                    </a:moveTo>
                    <a:cubicBezTo>
                      <a:pt x="139903" y="108585"/>
                      <a:pt x="108584" y="139903"/>
                      <a:pt x="69952" y="139903"/>
                    </a:cubicBezTo>
                    <a:cubicBezTo>
                      <a:pt x="31318" y="139903"/>
                      <a:pt x="1" y="108585"/>
                      <a:pt x="1" y="69951"/>
                    </a:cubicBezTo>
                    <a:cubicBezTo>
                      <a:pt x="1" y="31318"/>
                      <a:pt x="31319" y="0"/>
                      <a:pt x="69952" y="0"/>
                    </a:cubicBezTo>
                    <a:cubicBezTo>
                      <a:pt x="108585" y="0"/>
                      <a:pt x="139903" y="31318"/>
                      <a:pt x="139903" y="6995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88" name="Freeform: Shape 487">
                <a:extLst>
                  <a:ext uri="{FF2B5EF4-FFF2-40B4-BE49-F238E27FC236}">
                    <a16:creationId xmlns:a16="http://schemas.microsoft.com/office/drawing/2014/main" id="{53044F1B-D8DD-4202-A279-12F0CA0F20A5}"/>
                  </a:ext>
                </a:extLst>
              </p:cNvPr>
              <p:cNvSpPr/>
              <p:nvPr/>
            </p:nvSpPr>
            <p:spPr>
              <a:xfrm>
                <a:off x="10920989" y="3043751"/>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89" name="Freeform: Shape 488">
                <a:extLst>
                  <a:ext uri="{FF2B5EF4-FFF2-40B4-BE49-F238E27FC236}">
                    <a16:creationId xmlns:a16="http://schemas.microsoft.com/office/drawing/2014/main" id="{4519C948-D2EA-4581-9C14-364088B37994}"/>
                  </a:ext>
                </a:extLst>
              </p:cNvPr>
              <p:cNvSpPr/>
              <p:nvPr/>
            </p:nvSpPr>
            <p:spPr>
              <a:xfrm>
                <a:off x="10686894" y="3048979"/>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90" name="Freeform: Shape 489">
                <a:extLst>
                  <a:ext uri="{FF2B5EF4-FFF2-40B4-BE49-F238E27FC236}">
                    <a16:creationId xmlns:a16="http://schemas.microsoft.com/office/drawing/2014/main" id="{200EFE1A-64DB-4EE4-867B-455A1B70EF30}"/>
                  </a:ext>
                </a:extLst>
              </p:cNvPr>
              <p:cNvSpPr/>
              <p:nvPr/>
            </p:nvSpPr>
            <p:spPr>
              <a:xfrm>
                <a:off x="10452005" y="3053416"/>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5"/>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91" name="Freeform: Shape 490">
                <a:extLst>
                  <a:ext uri="{FF2B5EF4-FFF2-40B4-BE49-F238E27FC236}">
                    <a16:creationId xmlns:a16="http://schemas.microsoft.com/office/drawing/2014/main" id="{95C3C13C-281B-4599-A661-8F421BBF08AC}"/>
                  </a:ext>
                </a:extLst>
              </p:cNvPr>
              <p:cNvSpPr/>
              <p:nvPr/>
            </p:nvSpPr>
            <p:spPr>
              <a:xfrm>
                <a:off x="10217513" y="3058248"/>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92" name="Freeform: Shape 491">
                <a:extLst>
                  <a:ext uri="{FF2B5EF4-FFF2-40B4-BE49-F238E27FC236}">
                    <a16:creationId xmlns:a16="http://schemas.microsoft.com/office/drawing/2014/main" id="{F754387E-63C3-4FF5-BFEE-704DDB8C3A9C}"/>
                  </a:ext>
                </a:extLst>
              </p:cNvPr>
              <p:cNvSpPr/>
              <p:nvPr/>
            </p:nvSpPr>
            <p:spPr>
              <a:xfrm>
                <a:off x="9983021" y="3063081"/>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93" name="Freeform: Shape 492">
                <a:extLst>
                  <a:ext uri="{FF2B5EF4-FFF2-40B4-BE49-F238E27FC236}">
                    <a16:creationId xmlns:a16="http://schemas.microsoft.com/office/drawing/2014/main" id="{E387ADB0-4A30-4285-B83C-FB7BFC9B9D6A}"/>
                  </a:ext>
                </a:extLst>
              </p:cNvPr>
              <p:cNvSpPr/>
              <p:nvPr/>
            </p:nvSpPr>
            <p:spPr>
              <a:xfrm>
                <a:off x="9749401" y="3068705"/>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94" name="Freeform: Shape 493">
                <a:extLst>
                  <a:ext uri="{FF2B5EF4-FFF2-40B4-BE49-F238E27FC236}">
                    <a16:creationId xmlns:a16="http://schemas.microsoft.com/office/drawing/2014/main" id="{62C04EB2-47FF-415E-BB58-655282675FC9}"/>
                  </a:ext>
                </a:extLst>
              </p:cNvPr>
              <p:cNvSpPr/>
              <p:nvPr/>
            </p:nvSpPr>
            <p:spPr>
              <a:xfrm>
                <a:off x="9514830" y="3073458"/>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3"/>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95" name="Freeform: Shape 494">
                <a:extLst>
                  <a:ext uri="{FF2B5EF4-FFF2-40B4-BE49-F238E27FC236}">
                    <a16:creationId xmlns:a16="http://schemas.microsoft.com/office/drawing/2014/main" id="{92CC6615-9BF8-43D8-B186-812C9921E5E6}"/>
                  </a:ext>
                </a:extLst>
              </p:cNvPr>
              <p:cNvSpPr/>
              <p:nvPr/>
            </p:nvSpPr>
            <p:spPr>
              <a:xfrm>
                <a:off x="9280892" y="3078845"/>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464" name="Graphic 3">
              <a:extLst>
                <a:ext uri="{FF2B5EF4-FFF2-40B4-BE49-F238E27FC236}">
                  <a16:creationId xmlns:a16="http://schemas.microsoft.com/office/drawing/2014/main" id="{1A7DBE8B-AF3E-48DC-A3C9-A8A51B50DDBC}"/>
                </a:ext>
              </a:extLst>
            </p:cNvPr>
            <p:cNvGrpSpPr/>
            <p:nvPr/>
          </p:nvGrpSpPr>
          <p:grpSpPr>
            <a:xfrm>
              <a:off x="3442578" y="3362477"/>
              <a:ext cx="406928" cy="26971"/>
              <a:chOff x="9280892" y="3352551"/>
              <a:chExt cx="2259045" cy="149726"/>
            </a:xfrm>
            <a:grpFill/>
          </p:grpSpPr>
          <p:sp>
            <p:nvSpPr>
              <p:cNvPr id="476" name="Freeform: Shape 475">
                <a:extLst>
                  <a:ext uri="{FF2B5EF4-FFF2-40B4-BE49-F238E27FC236}">
                    <a16:creationId xmlns:a16="http://schemas.microsoft.com/office/drawing/2014/main" id="{66A085D8-8FFA-4C86-AB60-187D8D10FED7}"/>
                  </a:ext>
                </a:extLst>
              </p:cNvPr>
              <p:cNvSpPr/>
              <p:nvPr/>
            </p:nvSpPr>
            <p:spPr>
              <a:xfrm>
                <a:off x="11390211" y="3352551"/>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77" name="Freeform: Shape 476">
                <a:extLst>
                  <a:ext uri="{FF2B5EF4-FFF2-40B4-BE49-F238E27FC236}">
                    <a16:creationId xmlns:a16="http://schemas.microsoft.com/office/drawing/2014/main" id="{D0810ED7-0499-41AD-B6D7-2E2448715628}"/>
                  </a:ext>
                </a:extLst>
              </p:cNvPr>
              <p:cNvSpPr/>
              <p:nvPr/>
            </p:nvSpPr>
            <p:spPr>
              <a:xfrm>
                <a:off x="11155798" y="3357463"/>
                <a:ext cx="139903" cy="139902"/>
              </a:xfrm>
              <a:custGeom>
                <a:avLst/>
                <a:gdLst>
                  <a:gd name="connsiteX0" fmla="*/ 139903 w 139903"/>
                  <a:gd name="connsiteY0" fmla="*/ 69952 h 139902"/>
                  <a:gd name="connsiteX1" fmla="*/ 69952 w 139903"/>
                  <a:gd name="connsiteY1" fmla="*/ 139903 h 139902"/>
                  <a:gd name="connsiteX2" fmla="*/ 1 w 139903"/>
                  <a:gd name="connsiteY2" fmla="*/ 69952 h 139902"/>
                  <a:gd name="connsiteX3" fmla="*/ 69952 w 139903"/>
                  <a:gd name="connsiteY3" fmla="*/ 0 h 139902"/>
                  <a:gd name="connsiteX4" fmla="*/ 139903 w 139903"/>
                  <a:gd name="connsiteY4" fmla="*/ 69952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2"/>
                    </a:moveTo>
                    <a:cubicBezTo>
                      <a:pt x="139903" y="108585"/>
                      <a:pt x="108584" y="139903"/>
                      <a:pt x="69952" y="139903"/>
                    </a:cubicBezTo>
                    <a:cubicBezTo>
                      <a:pt x="31318" y="139903"/>
                      <a:pt x="1" y="108585"/>
                      <a:pt x="1" y="69952"/>
                    </a:cubicBezTo>
                    <a:cubicBezTo>
                      <a:pt x="1" y="31318"/>
                      <a:pt x="31319" y="0"/>
                      <a:pt x="69952" y="0"/>
                    </a:cubicBezTo>
                    <a:cubicBezTo>
                      <a:pt x="108585" y="0"/>
                      <a:pt x="139903" y="31318"/>
                      <a:pt x="139903" y="69952"/>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78" name="Freeform: Shape 477">
                <a:extLst>
                  <a:ext uri="{FF2B5EF4-FFF2-40B4-BE49-F238E27FC236}">
                    <a16:creationId xmlns:a16="http://schemas.microsoft.com/office/drawing/2014/main" id="{FD3FE497-6BCB-4EC8-A4A9-2C43550C54CB}"/>
                  </a:ext>
                </a:extLst>
              </p:cNvPr>
              <p:cNvSpPr/>
              <p:nvPr/>
            </p:nvSpPr>
            <p:spPr>
              <a:xfrm>
                <a:off x="10920989" y="3361899"/>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79" name="Freeform: Shape 478">
                <a:extLst>
                  <a:ext uri="{FF2B5EF4-FFF2-40B4-BE49-F238E27FC236}">
                    <a16:creationId xmlns:a16="http://schemas.microsoft.com/office/drawing/2014/main" id="{F14E9136-B439-4BFE-BFB1-860DA1E69B42}"/>
                  </a:ext>
                </a:extLst>
              </p:cNvPr>
              <p:cNvSpPr/>
              <p:nvPr/>
            </p:nvSpPr>
            <p:spPr>
              <a:xfrm>
                <a:off x="10686894" y="3367128"/>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80" name="Freeform: Shape 479">
                <a:extLst>
                  <a:ext uri="{FF2B5EF4-FFF2-40B4-BE49-F238E27FC236}">
                    <a16:creationId xmlns:a16="http://schemas.microsoft.com/office/drawing/2014/main" id="{5727A023-E339-4C7E-A142-4A9C76F66A33}"/>
                  </a:ext>
                </a:extLst>
              </p:cNvPr>
              <p:cNvSpPr/>
              <p:nvPr/>
            </p:nvSpPr>
            <p:spPr>
              <a:xfrm>
                <a:off x="10452005" y="3371564"/>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81" name="Freeform: Shape 480">
                <a:extLst>
                  <a:ext uri="{FF2B5EF4-FFF2-40B4-BE49-F238E27FC236}">
                    <a16:creationId xmlns:a16="http://schemas.microsoft.com/office/drawing/2014/main" id="{23C9758C-4DD3-4E3D-B2A0-9B193C83A6B3}"/>
                  </a:ext>
                </a:extLst>
              </p:cNvPr>
              <p:cNvSpPr/>
              <p:nvPr/>
            </p:nvSpPr>
            <p:spPr>
              <a:xfrm>
                <a:off x="10217513" y="3376397"/>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82" name="Freeform: Shape 481">
                <a:extLst>
                  <a:ext uri="{FF2B5EF4-FFF2-40B4-BE49-F238E27FC236}">
                    <a16:creationId xmlns:a16="http://schemas.microsoft.com/office/drawing/2014/main" id="{9B88C803-0BC8-41B3-8509-C33780B33174}"/>
                  </a:ext>
                </a:extLst>
              </p:cNvPr>
              <p:cNvSpPr/>
              <p:nvPr/>
            </p:nvSpPr>
            <p:spPr>
              <a:xfrm>
                <a:off x="9983021" y="3381229"/>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83" name="Freeform: Shape 482">
                <a:extLst>
                  <a:ext uri="{FF2B5EF4-FFF2-40B4-BE49-F238E27FC236}">
                    <a16:creationId xmlns:a16="http://schemas.microsoft.com/office/drawing/2014/main" id="{99772CC0-0127-4AC3-ABF6-43669D75B9E9}"/>
                  </a:ext>
                </a:extLst>
              </p:cNvPr>
              <p:cNvSpPr/>
              <p:nvPr/>
            </p:nvSpPr>
            <p:spPr>
              <a:xfrm>
                <a:off x="9749401" y="3386854"/>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84" name="Freeform: Shape 483">
                <a:extLst>
                  <a:ext uri="{FF2B5EF4-FFF2-40B4-BE49-F238E27FC236}">
                    <a16:creationId xmlns:a16="http://schemas.microsoft.com/office/drawing/2014/main" id="{56E293DB-942D-401C-819A-230943FE1106}"/>
                  </a:ext>
                </a:extLst>
              </p:cNvPr>
              <p:cNvSpPr/>
              <p:nvPr/>
            </p:nvSpPr>
            <p:spPr>
              <a:xfrm>
                <a:off x="9514830" y="3391607"/>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85" name="Freeform: Shape 484">
                <a:extLst>
                  <a:ext uri="{FF2B5EF4-FFF2-40B4-BE49-F238E27FC236}">
                    <a16:creationId xmlns:a16="http://schemas.microsoft.com/office/drawing/2014/main" id="{CD181419-E419-490F-B3D6-F25C8BB16A42}"/>
                  </a:ext>
                </a:extLst>
              </p:cNvPr>
              <p:cNvSpPr/>
              <p:nvPr/>
            </p:nvSpPr>
            <p:spPr>
              <a:xfrm>
                <a:off x="9280892" y="3396994"/>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465" name="Graphic 3">
              <a:extLst>
                <a:ext uri="{FF2B5EF4-FFF2-40B4-BE49-F238E27FC236}">
                  <a16:creationId xmlns:a16="http://schemas.microsoft.com/office/drawing/2014/main" id="{9D708C2F-53B9-4075-8C94-BC9DC585AD4F}"/>
                </a:ext>
              </a:extLst>
            </p:cNvPr>
            <p:cNvGrpSpPr/>
            <p:nvPr/>
          </p:nvGrpSpPr>
          <p:grpSpPr>
            <a:xfrm>
              <a:off x="3442578" y="3419786"/>
              <a:ext cx="406928" cy="26971"/>
              <a:chOff x="9280892" y="3670700"/>
              <a:chExt cx="2259045" cy="149726"/>
            </a:xfrm>
            <a:grpFill/>
          </p:grpSpPr>
          <p:sp>
            <p:nvSpPr>
              <p:cNvPr id="466" name="Freeform: Shape 465">
                <a:extLst>
                  <a:ext uri="{FF2B5EF4-FFF2-40B4-BE49-F238E27FC236}">
                    <a16:creationId xmlns:a16="http://schemas.microsoft.com/office/drawing/2014/main" id="{0B068076-24BE-4747-AC76-3EF7A01CDF2A}"/>
                  </a:ext>
                </a:extLst>
              </p:cNvPr>
              <p:cNvSpPr/>
              <p:nvPr/>
            </p:nvSpPr>
            <p:spPr>
              <a:xfrm>
                <a:off x="11390211" y="3670700"/>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67" name="Freeform: Shape 466">
                <a:extLst>
                  <a:ext uri="{FF2B5EF4-FFF2-40B4-BE49-F238E27FC236}">
                    <a16:creationId xmlns:a16="http://schemas.microsoft.com/office/drawing/2014/main" id="{49B80645-B49A-41AB-A547-23E749E598B9}"/>
                  </a:ext>
                </a:extLst>
              </p:cNvPr>
              <p:cNvSpPr/>
              <p:nvPr/>
            </p:nvSpPr>
            <p:spPr>
              <a:xfrm>
                <a:off x="11155798" y="3675612"/>
                <a:ext cx="139903" cy="139902"/>
              </a:xfrm>
              <a:custGeom>
                <a:avLst/>
                <a:gdLst>
                  <a:gd name="connsiteX0" fmla="*/ 139903 w 139903"/>
                  <a:gd name="connsiteY0" fmla="*/ 69952 h 139902"/>
                  <a:gd name="connsiteX1" fmla="*/ 69952 w 139903"/>
                  <a:gd name="connsiteY1" fmla="*/ 139903 h 139902"/>
                  <a:gd name="connsiteX2" fmla="*/ 1 w 139903"/>
                  <a:gd name="connsiteY2" fmla="*/ 69952 h 139902"/>
                  <a:gd name="connsiteX3" fmla="*/ 69952 w 139903"/>
                  <a:gd name="connsiteY3" fmla="*/ 0 h 139902"/>
                  <a:gd name="connsiteX4" fmla="*/ 139903 w 139903"/>
                  <a:gd name="connsiteY4" fmla="*/ 69952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2"/>
                    </a:moveTo>
                    <a:cubicBezTo>
                      <a:pt x="139903" y="108585"/>
                      <a:pt x="108584" y="139903"/>
                      <a:pt x="69952" y="139903"/>
                    </a:cubicBezTo>
                    <a:cubicBezTo>
                      <a:pt x="31318" y="139903"/>
                      <a:pt x="1" y="108585"/>
                      <a:pt x="1" y="69952"/>
                    </a:cubicBezTo>
                    <a:cubicBezTo>
                      <a:pt x="1" y="31318"/>
                      <a:pt x="31319" y="0"/>
                      <a:pt x="69952" y="0"/>
                    </a:cubicBezTo>
                    <a:cubicBezTo>
                      <a:pt x="108585" y="0"/>
                      <a:pt x="139903" y="31318"/>
                      <a:pt x="139903" y="69952"/>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68" name="Freeform: Shape 467">
                <a:extLst>
                  <a:ext uri="{FF2B5EF4-FFF2-40B4-BE49-F238E27FC236}">
                    <a16:creationId xmlns:a16="http://schemas.microsoft.com/office/drawing/2014/main" id="{AC068D21-A99A-41C2-AB19-3190C53C4854}"/>
                  </a:ext>
                </a:extLst>
              </p:cNvPr>
              <p:cNvSpPr/>
              <p:nvPr/>
            </p:nvSpPr>
            <p:spPr>
              <a:xfrm>
                <a:off x="10920989" y="3680048"/>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69" name="Freeform: Shape 468">
                <a:extLst>
                  <a:ext uri="{FF2B5EF4-FFF2-40B4-BE49-F238E27FC236}">
                    <a16:creationId xmlns:a16="http://schemas.microsoft.com/office/drawing/2014/main" id="{EDED975F-3470-4BF2-8D8A-C12383F942EA}"/>
                  </a:ext>
                </a:extLst>
              </p:cNvPr>
              <p:cNvSpPr/>
              <p:nvPr/>
            </p:nvSpPr>
            <p:spPr>
              <a:xfrm>
                <a:off x="10686894" y="3685277"/>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70" name="Freeform: Shape 469">
                <a:extLst>
                  <a:ext uri="{FF2B5EF4-FFF2-40B4-BE49-F238E27FC236}">
                    <a16:creationId xmlns:a16="http://schemas.microsoft.com/office/drawing/2014/main" id="{8E2759A4-8961-41BA-9070-354677BF1AEC}"/>
                  </a:ext>
                </a:extLst>
              </p:cNvPr>
              <p:cNvSpPr/>
              <p:nvPr/>
            </p:nvSpPr>
            <p:spPr>
              <a:xfrm>
                <a:off x="10452005" y="3689713"/>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71" name="Freeform: Shape 470">
                <a:extLst>
                  <a:ext uri="{FF2B5EF4-FFF2-40B4-BE49-F238E27FC236}">
                    <a16:creationId xmlns:a16="http://schemas.microsoft.com/office/drawing/2014/main" id="{8AD67DE7-3414-4717-9C01-454CA7353972}"/>
                  </a:ext>
                </a:extLst>
              </p:cNvPr>
              <p:cNvSpPr/>
              <p:nvPr/>
            </p:nvSpPr>
            <p:spPr>
              <a:xfrm>
                <a:off x="10217513" y="3694545"/>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72" name="Freeform: Shape 471">
                <a:extLst>
                  <a:ext uri="{FF2B5EF4-FFF2-40B4-BE49-F238E27FC236}">
                    <a16:creationId xmlns:a16="http://schemas.microsoft.com/office/drawing/2014/main" id="{1BB21C52-8E50-4935-8023-27FA832B517E}"/>
                  </a:ext>
                </a:extLst>
              </p:cNvPr>
              <p:cNvSpPr/>
              <p:nvPr/>
            </p:nvSpPr>
            <p:spPr>
              <a:xfrm>
                <a:off x="9983021" y="3699378"/>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73" name="Freeform: Shape 472">
                <a:extLst>
                  <a:ext uri="{FF2B5EF4-FFF2-40B4-BE49-F238E27FC236}">
                    <a16:creationId xmlns:a16="http://schemas.microsoft.com/office/drawing/2014/main" id="{B3ED0195-F29E-4E38-8A11-D5BC33651DC6}"/>
                  </a:ext>
                </a:extLst>
              </p:cNvPr>
              <p:cNvSpPr/>
              <p:nvPr/>
            </p:nvSpPr>
            <p:spPr>
              <a:xfrm>
                <a:off x="9749401" y="3705002"/>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74" name="Freeform: Shape 473">
                <a:extLst>
                  <a:ext uri="{FF2B5EF4-FFF2-40B4-BE49-F238E27FC236}">
                    <a16:creationId xmlns:a16="http://schemas.microsoft.com/office/drawing/2014/main" id="{A29B5288-C3F7-4FF1-8129-55294D573E5B}"/>
                  </a:ext>
                </a:extLst>
              </p:cNvPr>
              <p:cNvSpPr/>
              <p:nvPr/>
            </p:nvSpPr>
            <p:spPr>
              <a:xfrm>
                <a:off x="9514830" y="3709756"/>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475" name="Freeform: Shape 474">
                <a:extLst>
                  <a:ext uri="{FF2B5EF4-FFF2-40B4-BE49-F238E27FC236}">
                    <a16:creationId xmlns:a16="http://schemas.microsoft.com/office/drawing/2014/main" id="{F78F4FFB-73E3-4026-8F66-E7DC3C7051A0}"/>
                  </a:ext>
                </a:extLst>
              </p:cNvPr>
              <p:cNvSpPr/>
              <p:nvPr/>
            </p:nvSpPr>
            <p:spPr>
              <a:xfrm>
                <a:off x="9280892" y="3715143"/>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sp>
        <p:nvSpPr>
          <p:cNvPr id="526" name="Freeform: Shape 525">
            <a:extLst>
              <a:ext uri="{FF2B5EF4-FFF2-40B4-BE49-F238E27FC236}">
                <a16:creationId xmlns:a16="http://schemas.microsoft.com/office/drawing/2014/main" id="{2EC06CFA-E672-4F4E-96DA-7CA789A0ACD1}"/>
              </a:ext>
            </a:extLst>
          </p:cNvPr>
          <p:cNvSpPr/>
          <p:nvPr/>
        </p:nvSpPr>
        <p:spPr>
          <a:xfrm>
            <a:off x="7177000" y="3603383"/>
            <a:ext cx="164023" cy="163975"/>
          </a:xfrm>
          <a:custGeom>
            <a:avLst/>
            <a:gdLst>
              <a:gd name="connsiteX0" fmla="*/ 0 w 4948808"/>
              <a:gd name="connsiteY0" fmla="*/ 412242 h 3203828"/>
              <a:gd name="connsiteX1" fmla="*/ 413385 w 4948808"/>
              <a:gd name="connsiteY1" fmla="*/ 0 h 3203828"/>
              <a:gd name="connsiteX2" fmla="*/ 4535519 w 4948808"/>
              <a:gd name="connsiteY2" fmla="*/ 0 h 3203828"/>
              <a:gd name="connsiteX3" fmla="*/ 4948809 w 4948808"/>
              <a:gd name="connsiteY3" fmla="*/ 412242 h 3203828"/>
              <a:gd name="connsiteX4" fmla="*/ 4948809 w 4948808"/>
              <a:gd name="connsiteY4" fmla="*/ 2791587 h 3203828"/>
              <a:gd name="connsiteX5" fmla="*/ 4535519 w 4948808"/>
              <a:gd name="connsiteY5" fmla="*/ 3203829 h 3203828"/>
              <a:gd name="connsiteX6" fmla="*/ 413385 w 4948808"/>
              <a:gd name="connsiteY6" fmla="*/ 3203829 h 3203828"/>
              <a:gd name="connsiteX7" fmla="*/ 95 w 4948808"/>
              <a:gd name="connsiteY7" fmla="*/ 2791587 h 3203828"/>
              <a:gd name="connsiteX8" fmla="*/ 95 w 4948808"/>
              <a:gd name="connsiteY8" fmla="*/ 412242 h 320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8808" h="3203828">
                <a:moveTo>
                  <a:pt x="0" y="412242"/>
                </a:moveTo>
                <a:cubicBezTo>
                  <a:pt x="0" y="184594"/>
                  <a:pt x="185071" y="0"/>
                  <a:pt x="413385" y="0"/>
                </a:cubicBezTo>
                <a:lnTo>
                  <a:pt x="4535519" y="0"/>
                </a:lnTo>
                <a:cubicBezTo>
                  <a:pt x="4763738" y="0"/>
                  <a:pt x="4948809" y="184594"/>
                  <a:pt x="4948809" y="412242"/>
                </a:cubicBezTo>
                <a:lnTo>
                  <a:pt x="4948809" y="2791587"/>
                </a:lnTo>
                <a:cubicBezTo>
                  <a:pt x="4948809" y="3019235"/>
                  <a:pt x="4763738" y="3203829"/>
                  <a:pt x="4535519" y="3203829"/>
                </a:cubicBezTo>
                <a:lnTo>
                  <a:pt x="413385" y="3203829"/>
                </a:lnTo>
                <a:cubicBezTo>
                  <a:pt x="185166" y="3203829"/>
                  <a:pt x="95" y="3019235"/>
                  <a:pt x="95" y="2791587"/>
                </a:cubicBezTo>
                <a:lnTo>
                  <a:pt x="95" y="412242"/>
                </a:lnTo>
                <a:close/>
              </a:path>
            </a:pathLst>
          </a:custGeom>
          <a:noFill/>
          <a:ln w="7144" cap="flat">
            <a:solidFill>
              <a:srgbClr val="6EBE4A"/>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27" name="Freeform: Shape 526">
            <a:extLst>
              <a:ext uri="{FF2B5EF4-FFF2-40B4-BE49-F238E27FC236}">
                <a16:creationId xmlns:a16="http://schemas.microsoft.com/office/drawing/2014/main" id="{5D12B204-95B4-489E-9A51-44A4999918C0}"/>
              </a:ext>
            </a:extLst>
          </p:cNvPr>
          <p:cNvSpPr/>
          <p:nvPr/>
        </p:nvSpPr>
        <p:spPr>
          <a:xfrm>
            <a:off x="7273825" y="3676480"/>
            <a:ext cx="139342" cy="139303"/>
          </a:xfrm>
          <a:custGeom>
            <a:avLst/>
            <a:gdLst>
              <a:gd name="connsiteX0" fmla="*/ 0 w 4948808"/>
              <a:gd name="connsiteY0" fmla="*/ 412242 h 3203828"/>
              <a:gd name="connsiteX1" fmla="*/ 413385 w 4948808"/>
              <a:gd name="connsiteY1" fmla="*/ 0 h 3203828"/>
              <a:gd name="connsiteX2" fmla="*/ 4535519 w 4948808"/>
              <a:gd name="connsiteY2" fmla="*/ 0 h 3203828"/>
              <a:gd name="connsiteX3" fmla="*/ 4948809 w 4948808"/>
              <a:gd name="connsiteY3" fmla="*/ 412242 h 3203828"/>
              <a:gd name="connsiteX4" fmla="*/ 4948809 w 4948808"/>
              <a:gd name="connsiteY4" fmla="*/ 2791587 h 3203828"/>
              <a:gd name="connsiteX5" fmla="*/ 4535519 w 4948808"/>
              <a:gd name="connsiteY5" fmla="*/ 3203829 h 3203828"/>
              <a:gd name="connsiteX6" fmla="*/ 413385 w 4948808"/>
              <a:gd name="connsiteY6" fmla="*/ 3203829 h 3203828"/>
              <a:gd name="connsiteX7" fmla="*/ 95 w 4948808"/>
              <a:gd name="connsiteY7" fmla="*/ 2791587 h 3203828"/>
              <a:gd name="connsiteX8" fmla="*/ 95 w 4948808"/>
              <a:gd name="connsiteY8" fmla="*/ 412242 h 320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8808" h="3203828">
                <a:moveTo>
                  <a:pt x="0" y="412242"/>
                </a:moveTo>
                <a:cubicBezTo>
                  <a:pt x="0" y="184594"/>
                  <a:pt x="185071" y="0"/>
                  <a:pt x="413385" y="0"/>
                </a:cubicBezTo>
                <a:lnTo>
                  <a:pt x="4535519" y="0"/>
                </a:lnTo>
                <a:cubicBezTo>
                  <a:pt x="4763738" y="0"/>
                  <a:pt x="4948809" y="184594"/>
                  <a:pt x="4948809" y="412242"/>
                </a:cubicBezTo>
                <a:lnTo>
                  <a:pt x="4948809" y="2791587"/>
                </a:lnTo>
                <a:cubicBezTo>
                  <a:pt x="4948809" y="3019235"/>
                  <a:pt x="4763738" y="3203829"/>
                  <a:pt x="4535519" y="3203829"/>
                </a:cubicBezTo>
                <a:lnTo>
                  <a:pt x="413385" y="3203829"/>
                </a:lnTo>
                <a:cubicBezTo>
                  <a:pt x="185166" y="3203829"/>
                  <a:pt x="95" y="3019235"/>
                  <a:pt x="95" y="2791587"/>
                </a:cubicBezTo>
                <a:lnTo>
                  <a:pt x="95" y="412242"/>
                </a:lnTo>
                <a:close/>
              </a:path>
            </a:pathLst>
          </a:custGeom>
          <a:noFill/>
          <a:ln w="7144" cap="flat">
            <a:solidFill>
              <a:srgbClr val="6EBE4A"/>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nvGrpSpPr>
          <p:cNvPr id="528" name="Group 527">
            <a:extLst>
              <a:ext uri="{FF2B5EF4-FFF2-40B4-BE49-F238E27FC236}">
                <a16:creationId xmlns:a16="http://schemas.microsoft.com/office/drawing/2014/main" id="{89F001D7-7C0B-40D4-A8E5-E67236B04A9F}"/>
              </a:ext>
            </a:extLst>
          </p:cNvPr>
          <p:cNvGrpSpPr/>
          <p:nvPr/>
        </p:nvGrpSpPr>
        <p:grpSpPr>
          <a:xfrm rot="2678579">
            <a:off x="6976596" y="3002530"/>
            <a:ext cx="322553" cy="571727"/>
            <a:chOff x="8288242" y="2488354"/>
            <a:chExt cx="1927860" cy="3417146"/>
          </a:xfrm>
          <a:solidFill>
            <a:srgbClr val="6EBE4A"/>
          </a:solidFill>
        </p:grpSpPr>
        <p:sp>
          <p:nvSpPr>
            <p:cNvPr id="529" name="Oval 528">
              <a:extLst>
                <a:ext uri="{FF2B5EF4-FFF2-40B4-BE49-F238E27FC236}">
                  <a16:creationId xmlns:a16="http://schemas.microsoft.com/office/drawing/2014/main" id="{FABDABC9-1118-42CE-9FA4-ACFEDE106557}"/>
                </a:ext>
              </a:extLst>
            </p:cNvPr>
            <p:cNvSpPr/>
            <p:nvPr/>
          </p:nvSpPr>
          <p:spPr>
            <a:xfrm>
              <a:off x="879116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30" name="Oval 529">
              <a:extLst>
                <a:ext uri="{FF2B5EF4-FFF2-40B4-BE49-F238E27FC236}">
                  <a16:creationId xmlns:a16="http://schemas.microsoft.com/office/drawing/2014/main" id="{BED0A5D4-864B-4636-BFF6-23560E329DB4}"/>
                </a:ext>
              </a:extLst>
            </p:cNvPr>
            <p:cNvSpPr/>
            <p:nvPr/>
          </p:nvSpPr>
          <p:spPr>
            <a:xfrm>
              <a:off x="904262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31" name="Oval 530">
              <a:extLst>
                <a:ext uri="{FF2B5EF4-FFF2-40B4-BE49-F238E27FC236}">
                  <a16:creationId xmlns:a16="http://schemas.microsoft.com/office/drawing/2014/main" id="{6559C774-DA4D-42B1-A38B-57443607E6C7}"/>
                </a:ext>
              </a:extLst>
            </p:cNvPr>
            <p:cNvSpPr/>
            <p:nvPr/>
          </p:nvSpPr>
          <p:spPr>
            <a:xfrm>
              <a:off x="929408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32" name="Oval 531">
              <a:extLst>
                <a:ext uri="{FF2B5EF4-FFF2-40B4-BE49-F238E27FC236}">
                  <a16:creationId xmlns:a16="http://schemas.microsoft.com/office/drawing/2014/main" id="{4616C159-0368-42D0-B619-251744015EEE}"/>
                </a:ext>
              </a:extLst>
            </p:cNvPr>
            <p:cNvSpPr/>
            <p:nvPr/>
          </p:nvSpPr>
          <p:spPr>
            <a:xfrm>
              <a:off x="879116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33" name="Oval 532">
              <a:extLst>
                <a:ext uri="{FF2B5EF4-FFF2-40B4-BE49-F238E27FC236}">
                  <a16:creationId xmlns:a16="http://schemas.microsoft.com/office/drawing/2014/main" id="{C3473AA7-DCFF-419D-9912-2DA1F7935E2F}"/>
                </a:ext>
              </a:extLst>
            </p:cNvPr>
            <p:cNvSpPr/>
            <p:nvPr/>
          </p:nvSpPr>
          <p:spPr>
            <a:xfrm>
              <a:off x="904262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34" name="Oval 533">
              <a:extLst>
                <a:ext uri="{FF2B5EF4-FFF2-40B4-BE49-F238E27FC236}">
                  <a16:creationId xmlns:a16="http://schemas.microsoft.com/office/drawing/2014/main" id="{311549AA-B26A-42F4-BA0D-DA4AE43A689C}"/>
                </a:ext>
              </a:extLst>
            </p:cNvPr>
            <p:cNvSpPr/>
            <p:nvPr/>
          </p:nvSpPr>
          <p:spPr>
            <a:xfrm>
              <a:off x="929408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35" name="Oval 534">
              <a:extLst>
                <a:ext uri="{FF2B5EF4-FFF2-40B4-BE49-F238E27FC236}">
                  <a16:creationId xmlns:a16="http://schemas.microsoft.com/office/drawing/2014/main" id="{699CD0FE-87CA-4B4B-B208-A2A18F2E8A04}"/>
                </a:ext>
              </a:extLst>
            </p:cNvPr>
            <p:cNvSpPr/>
            <p:nvPr/>
          </p:nvSpPr>
          <p:spPr>
            <a:xfrm>
              <a:off x="879116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36" name="Oval 535">
              <a:extLst>
                <a:ext uri="{FF2B5EF4-FFF2-40B4-BE49-F238E27FC236}">
                  <a16:creationId xmlns:a16="http://schemas.microsoft.com/office/drawing/2014/main" id="{BFC79328-B17D-46B9-9E9F-899329D5F2ED}"/>
                </a:ext>
              </a:extLst>
            </p:cNvPr>
            <p:cNvSpPr/>
            <p:nvPr/>
          </p:nvSpPr>
          <p:spPr>
            <a:xfrm>
              <a:off x="904262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37" name="Oval 536">
              <a:extLst>
                <a:ext uri="{FF2B5EF4-FFF2-40B4-BE49-F238E27FC236}">
                  <a16:creationId xmlns:a16="http://schemas.microsoft.com/office/drawing/2014/main" id="{214ABCC9-37D9-4FA2-AE8B-CAB48654DAB7}"/>
                </a:ext>
              </a:extLst>
            </p:cNvPr>
            <p:cNvSpPr/>
            <p:nvPr/>
          </p:nvSpPr>
          <p:spPr>
            <a:xfrm>
              <a:off x="929408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nvGrpSpPr>
            <p:cNvPr id="538" name="Group 537">
              <a:extLst>
                <a:ext uri="{FF2B5EF4-FFF2-40B4-BE49-F238E27FC236}">
                  <a16:creationId xmlns:a16="http://schemas.microsoft.com/office/drawing/2014/main" id="{050AA822-189B-4060-AFEE-A39C47ED1A11}"/>
                </a:ext>
              </a:extLst>
            </p:cNvPr>
            <p:cNvGrpSpPr/>
            <p:nvPr/>
          </p:nvGrpSpPr>
          <p:grpSpPr>
            <a:xfrm>
              <a:off x="9545542" y="5234940"/>
              <a:ext cx="670560" cy="670560"/>
              <a:chOff x="3208242" y="4511040"/>
              <a:chExt cx="670560" cy="670560"/>
            </a:xfrm>
            <a:grpFill/>
          </p:grpSpPr>
          <p:sp>
            <p:nvSpPr>
              <p:cNvPr id="580" name="Oval 579">
                <a:extLst>
                  <a:ext uri="{FF2B5EF4-FFF2-40B4-BE49-F238E27FC236}">
                    <a16:creationId xmlns:a16="http://schemas.microsoft.com/office/drawing/2014/main" id="{BC0CC25C-732C-4893-8AB3-131C776BA426}"/>
                  </a:ext>
                </a:extLst>
              </p:cNvPr>
              <p:cNvSpPr/>
              <p:nvPr/>
            </p:nvSpPr>
            <p:spPr>
              <a:xfrm>
                <a:off x="320824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81" name="Oval 580">
                <a:extLst>
                  <a:ext uri="{FF2B5EF4-FFF2-40B4-BE49-F238E27FC236}">
                    <a16:creationId xmlns:a16="http://schemas.microsoft.com/office/drawing/2014/main" id="{615D468E-FC75-418D-B8B2-0187019FC79A}"/>
                  </a:ext>
                </a:extLst>
              </p:cNvPr>
              <p:cNvSpPr/>
              <p:nvPr/>
            </p:nvSpPr>
            <p:spPr>
              <a:xfrm>
                <a:off x="345970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82" name="Oval 581">
                <a:extLst>
                  <a:ext uri="{FF2B5EF4-FFF2-40B4-BE49-F238E27FC236}">
                    <a16:creationId xmlns:a16="http://schemas.microsoft.com/office/drawing/2014/main" id="{50D888E8-CD6B-452D-9AEE-276082FB5E34}"/>
                  </a:ext>
                </a:extLst>
              </p:cNvPr>
              <p:cNvSpPr/>
              <p:nvPr/>
            </p:nvSpPr>
            <p:spPr>
              <a:xfrm>
                <a:off x="371116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83" name="Oval 582">
                <a:extLst>
                  <a:ext uri="{FF2B5EF4-FFF2-40B4-BE49-F238E27FC236}">
                    <a16:creationId xmlns:a16="http://schemas.microsoft.com/office/drawing/2014/main" id="{AB63F655-4BD0-45DF-92A2-C4F3B85A67E1}"/>
                  </a:ext>
                </a:extLst>
              </p:cNvPr>
              <p:cNvSpPr/>
              <p:nvPr/>
            </p:nvSpPr>
            <p:spPr>
              <a:xfrm>
                <a:off x="320824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84" name="Oval 583">
                <a:extLst>
                  <a:ext uri="{FF2B5EF4-FFF2-40B4-BE49-F238E27FC236}">
                    <a16:creationId xmlns:a16="http://schemas.microsoft.com/office/drawing/2014/main" id="{B0C08B28-B378-4178-940B-E54E24E0C21B}"/>
                  </a:ext>
                </a:extLst>
              </p:cNvPr>
              <p:cNvSpPr/>
              <p:nvPr/>
            </p:nvSpPr>
            <p:spPr>
              <a:xfrm>
                <a:off x="345970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85" name="Oval 584">
                <a:extLst>
                  <a:ext uri="{FF2B5EF4-FFF2-40B4-BE49-F238E27FC236}">
                    <a16:creationId xmlns:a16="http://schemas.microsoft.com/office/drawing/2014/main" id="{CA85F64F-4856-4183-958F-5727E4D40DCC}"/>
                  </a:ext>
                </a:extLst>
              </p:cNvPr>
              <p:cNvSpPr/>
              <p:nvPr/>
            </p:nvSpPr>
            <p:spPr>
              <a:xfrm>
                <a:off x="371116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86" name="Oval 585">
                <a:extLst>
                  <a:ext uri="{FF2B5EF4-FFF2-40B4-BE49-F238E27FC236}">
                    <a16:creationId xmlns:a16="http://schemas.microsoft.com/office/drawing/2014/main" id="{CBCBCB5B-16B7-4DD5-B649-0C7E08DBB038}"/>
                  </a:ext>
                </a:extLst>
              </p:cNvPr>
              <p:cNvSpPr/>
              <p:nvPr/>
            </p:nvSpPr>
            <p:spPr>
              <a:xfrm>
                <a:off x="320824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87" name="Oval 586">
                <a:extLst>
                  <a:ext uri="{FF2B5EF4-FFF2-40B4-BE49-F238E27FC236}">
                    <a16:creationId xmlns:a16="http://schemas.microsoft.com/office/drawing/2014/main" id="{F28E5314-0D01-4CF8-A623-3EAC0152BC04}"/>
                  </a:ext>
                </a:extLst>
              </p:cNvPr>
              <p:cNvSpPr/>
              <p:nvPr/>
            </p:nvSpPr>
            <p:spPr>
              <a:xfrm>
                <a:off x="345970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88" name="Oval 587">
                <a:extLst>
                  <a:ext uri="{FF2B5EF4-FFF2-40B4-BE49-F238E27FC236}">
                    <a16:creationId xmlns:a16="http://schemas.microsoft.com/office/drawing/2014/main" id="{86032962-C477-4832-B9D3-F943E5E875A9}"/>
                  </a:ext>
                </a:extLst>
              </p:cNvPr>
              <p:cNvSpPr/>
              <p:nvPr/>
            </p:nvSpPr>
            <p:spPr>
              <a:xfrm>
                <a:off x="371116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grpSp>
          <p:nvGrpSpPr>
            <p:cNvPr id="539" name="Group 538">
              <a:extLst>
                <a:ext uri="{FF2B5EF4-FFF2-40B4-BE49-F238E27FC236}">
                  <a16:creationId xmlns:a16="http://schemas.microsoft.com/office/drawing/2014/main" id="{F9B536E7-6B44-46E7-AAD2-E48E21C76CC5}"/>
                </a:ext>
              </a:extLst>
            </p:cNvPr>
            <p:cNvGrpSpPr/>
            <p:nvPr/>
          </p:nvGrpSpPr>
          <p:grpSpPr>
            <a:xfrm>
              <a:off x="9545542" y="4485640"/>
              <a:ext cx="670560" cy="670560"/>
              <a:chOff x="3208242" y="4511040"/>
              <a:chExt cx="670560" cy="670560"/>
            </a:xfrm>
            <a:grpFill/>
          </p:grpSpPr>
          <p:sp>
            <p:nvSpPr>
              <p:cNvPr id="571" name="Oval 570">
                <a:extLst>
                  <a:ext uri="{FF2B5EF4-FFF2-40B4-BE49-F238E27FC236}">
                    <a16:creationId xmlns:a16="http://schemas.microsoft.com/office/drawing/2014/main" id="{CB878707-D16D-45F7-922A-17EF4198AD7D}"/>
                  </a:ext>
                </a:extLst>
              </p:cNvPr>
              <p:cNvSpPr/>
              <p:nvPr/>
            </p:nvSpPr>
            <p:spPr>
              <a:xfrm>
                <a:off x="320824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72" name="Oval 571">
                <a:extLst>
                  <a:ext uri="{FF2B5EF4-FFF2-40B4-BE49-F238E27FC236}">
                    <a16:creationId xmlns:a16="http://schemas.microsoft.com/office/drawing/2014/main" id="{9FBA0BEA-696E-45E5-9E4D-E4EE28AE4FF5}"/>
                  </a:ext>
                </a:extLst>
              </p:cNvPr>
              <p:cNvSpPr/>
              <p:nvPr/>
            </p:nvSpPr>
            <p:spPr>
              <a:xfrm>
                <a:off x="345970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73" name="Oval 572">
                <a:extLst>
                  <a:ext uri="{FF2B5EF4-FFF2-40B4-BE49-F238E27FC236}">
                    <a16:creationId xmlns:a16="http://schemas.microsoft.com/office/drawing/2014/main" id="{C28BD756-A3D3-42A4-BE91-4DE63AE1F477}"/>
                  </a:ext>
                </a:extLst>
              </p:cNvPr>
              <p:cNvSpPr/>
              <p:nvPr/>
            </p:nvSpPr>
            <p:spPr>
              <a:xfrm>
                <a:off x="371116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74" name="Oval 573">
                <a:extLst>
                  <a:ext uri="{FF2B5EF4-FFF2-40B4-BE49-F238E27FC236}">
                    <a16:creationId xmlns:a16="http://schemas.microsoft.com/office/drawing/2014/main" id="{F5155CDD-60D2-4BC7-927C-B4E1FF2F3467}"/>
                  </a:ext>
                </a:extLst>
              </p:cNvPr>
              <p:cNvSpPr/>
              <p:nvPr/>
            </p:nvSpPr>
            <p:spPr>
              <a:xfrm>
                <a:off x="320824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75" name="Oval 574">
                <a:extLst>
                  <a:ext uri="{FF2B5EF4-FFF2-40B4-BE49-F238E27FC236}">
                    <a16:creationId xmlns:a16="http://schemas.microsoft.com/office/drawing/2014/main" id="{E7D9D2C6-941E-4248-A71E-694B5A73A397}"/>
                  </a:ext>
                </a:extLst>
              </p:cNvPr>
              <p:cNvSpPr/>
              <p:nvPr/>
            </p:nvSpPr>
            <p:spPr>
              <a:xfrm>
                <a:off x="345970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76" name="Oval 575">
                <a:extLst>
                  <a:ext uri="{FF2B5EF4-FFF2-40B4-BE49-F238E27FC236}">
                    <a16:creationId xmlns:a16="http://schemas.microsoft.com/office/drawing/2014/main" id="{2FB685DC-3216-486C-AE6B-247FCD52D235}"/>
                  </a:ext>
                </a:extLst>
              </p:cNvPr>
              <p:cNvSpPr/>
              <p:nvPr/>
            </p:nvSpPr>
            <p:spPr>
              <a:xfrm>
                <a:off x="371116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77" name="Oval 576">
                <a:extLst>
                  <a:ext uri="{FF2B5EF4-FFF2-40B4-BE49-F238E27FC236}">
                    <a16:creationId xmlns:a16="http://schemas.microsoft.com/office/drawing/2014/main" id="{4DA448FC-F30C-49E4-AB16-EA940ABEC27E}"/>
                  </a:ext>
                </a:extLst>
              </p:cNvPr>
              <p:cNvSpPr/>
              <p:nvPr/>
            </p:nvSpPr>
            <p:spPr>
              <a:xfrm>
                <a:off x="320824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78" name="Oval 577">
                <a:extLst>
                  <a:ext uri="{FF2B5EF4-FFF2-40B4-BE49-F238E27FC236}">
                    <a16:creationId xmlns:a16="http://schemas.microsoft.com/office/drawing/2014/main" id="{490E0448-C39B-4924-99C2-FDE9BFA1E238}"/>
                  </a:ext>
                </a:extLst>
              </p:cNvPr>
              <p:cNvSpPr/>
              <p:nvPr/>
            </p:nvSpPr>
            <p:spPr>
              <a:xfrm>
                <a:off x="345970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79" name="Oval 578">
                <a:extLst>
                  <a:ext uri="{FF2B5EF4-FFF2-40B4-BE49-F238E27FC236}">
                    <a16:creationId xmlns:a16="http://schemas.microsoft.com/office/drawing/2014/main" id="{C1EE1AD6-4AE6-4F89-BED4-FBB6B817680D}"/>
                  </a:ext>
                </a:extLst>
              </p:cNvPr>
              <p:cNvSpPr/>
              <p:nvPr/>
            </p:nvSpPr>
            <p:spPr>
              <a:xfrm>
                <a:off x="371116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grpSp>
          <p:nvGrpSpPr>
            <p:cNvPr id="540" name="Group 539">
              <a:extLst>
                <a:ext uri="{FF2B5EF4-FFF2-40B4-BE49-F238E27FC236}">
                  <a16:creationId xmlns:a16="http://schemas.microsoft.com/office/drawing/2014/main" id="{889B3B89-F342-4C33-91F8-1FE557F87FC1}"/>
                </a:ext>
              </a:extLst>
            </p:cNvPr>
            <p:cNvGrpSpPr/>
            <p:nvPr/>
          </p:nvGrpSpPr>
          <p:grpSpPr>
            <a:xfrm>
              <a:off x="9545542" y="3736340"/>
              <a:ext cx="670560" cy="670560"/>
              <a:chOff x="3208242" y="4511040"/>
              <a:chExt cx="670560" cy="670560"/>
            </a:xfrm>
            <a:grpFill/>
          </p:grpSpPr>
          <p:sp>
            <p:nvSpPr>
              <p:cNvPr id="562" name="Oval 561">
                <a:extLst>
                  <a:ext uri="{FF2B5EF4-FFF2-40B4-BE49-F238E27FC236}">
                    <a16:creationId xmlns:a16="http://schemas.microsoft.com/office/drawing/2014/main" id="{0A75709D-74EA-4E3E-A958-D800515460B3}"/>
                  </a:ext>
                </a:extLst>
              </p:cNvPr>
              <p:cNvSpPr/>
              <p:nvPr/>
            </p:nvSpPr>
            <p:spPr>
              <a:xfrm>
                <a:off x="320824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63" name="Oval 562">
                <a:extLst>
                  <a:ext uri="{FF2B5EF4-FFF2-40B4-BE49-F238E27FC236}">
                    <a16:creationId xmlns:a16="http://schemas.microsoft.com/office/drawing/2014/main" id="{32AC1E85-FB11-448E-A696-51AE139AA2DA}"/>
                  </a:ext>
                </a:extLst>
              </p:cNvPr>
              <p:cNvSpPr/>
              <p:nvPr/>
            </p:nvSpPr>
            <p:spPr>
              <a:xfrm>
                <a:off x="345970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64" name="Oval 563">
                <a:extLst>
                  <a:ext uri="{FF2B5EF4-FFF2-40B4-BE49-F238E27FC236}">
                    <a16:creationId xmlns:a16="http://schemas.microsoft.com/office/drawing/2014/main" id="{9644A2D7-64FC-47AA-9786-EA51C1B6FB36}"/>
                  </a:ext>
                </a:extLst>
              </p:cNvPr>
              <p:cNvSpPr/>
              <p:nvPr/>
            </p:nvSpPr>
            <p:spPr>
              <a:xfrm>
                <a:off x="371116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65" name="Oval 564">
                <a:extLst>
                  <a:ext uri="{FF2B5EF4-FFF2-40B4-BE49-F238E27FC236}">
                    <a16:creationId xmlns:a16="http://schemas.microsoft.com/office/drawing/2014/main" id="{1158B0CD-B425-4222-B765-7BAE2271FF96}"/>
                  </a:ext>
                </a:extLst>
              </p:cNvPr>
              <p:cNvSpPr/>
              <p:nvPr/>
            </p:nvSpPr>
            <p:spPr>
              <a:xfrm>
                <a:off x="320824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66" name="Oval 565">
                <a:extLst>
                  <a:ext uri="{FF2B5EF4-FFF2-40B4-BE49-F238E27FC236}">
                    <a16:creationId xmlns:a16="http://schemas.microsoft.com/office/drawing/2014/main" id="{95A095D6-294C-44D5-A674-0EA34F7DBAA8}"/>
                  </a:ext>
                </a:extLst>
              </p:cNvPr>
              <p:cNvSpPr/>
              <p:nvPr/>
            </p:nvSpPr>
            <p:spPr>
              <a:xfrm>
                <a:off x="345970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67" name="Oval 566">
                <a:extLst>
                  <a:ext uri="{FF2B5EF4-FFF2-40B4-BE49-F238E27FC236}">
                    <a16:creationId xmlns:a16="http://schemas.microsoft.com/office/drawing/2014/main" id="{F049361E-AAA3-4CCC-BE52-2C41149D3644}"/>
                  </a:ext>
                </a:extLst>
              </p:cNvPr>
              <p:cNvSpPr/>
              <p:nvPr/>
            </p:nvSpPr>
            <p:spPr>
              <a:xfrm>
                <a:off x="371116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68" name="Oval 567">
                <a:extLst>
                  <a:ext uri="{FF2B5EF4-FFF2-40B4-BE49-F238E27FC236}">
                    <a16:creationId xmlns:a16="http://schemas.microsoft.com/office/drawing/2014/main" id="{3A318B7B-40CF-4A3D-B26B-89A3B192CFC1}"/>
                  </a:ext>
                </a:extLst>
              </p:cNvPr>
              <p:cNvSpPr/>
              <p:nvPr/>
            </p:nvSpPr>
            <p:spPr>
              <a:xfrm>
                <a:off x="320824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69" name="Oval 568">
                <a:extLst>
                  <a:ext uri="{FF2B5EF4-FFF2-40B4-BE49-F238E27FC236}">
                    <a16:creationId xmlns:a16="http://schemas.microsoft.com/office/drawing/2014/main" id="{ED9239EC-19BB-4428-9D42-77BAE4FCA3A2}"/>
                  </a:ext>
                </a:extLst>
              </p:cNvPr>
              <p:cNvSpPr/>
              <p:nvPr/>
            </p:nvSpPr>
            <p:spPr>
              <a:xfrm>
                <a:off x="345970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70" name="Oval 569">
                <a:extLst>
                  <a:ext uri="{FF2B5EF4-FFF2-40B4-BE49-F238E27FC236}">
                    <a16:creationId xmlns:a16="http://schemas.microsoft.com/office/drawing/2014/main" id="{121D2E87-0194-422F-87FE-A3CB18907AB9}"/>
                  </a:ext>
                </a:extLst>
              </p:cNvPr>
              <p:cNvSpPr/>
              <p:nvPr/>
            </p:nvSpPr>
            <p:spPr>
              <a:xfrm>
                <a:off x="371116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sp>
          <p:nvSpPr>
            <p:cNvPr id="541" name="Oval 540">
              <a:extLst>
                <a:ext uri="{FF2B5EF4-FFF2-40B4-BE49-F238E27FC236}">
                  <a16:creationId xmlns:a16="http://schemas.microsoft.com/office/drawing/2014/main" id="{2712C7F6-E342-4BD1-92BF-96A73475C005}"/>
                </a:ext>
              </a:extLst>
            </p:cNvPr>
            <p:cNvSpPr/>
            <p:nvPr/>
          </p:nvSpPr>
          <p:spPr>
            <a:xfrm>
              <a:off x="9545542" y="2987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42" name="Oval 541">
              <a:extLst>
                <a:ext uri="{FF2B5EF4-FFF2-40B4-BE49-F238E27FC236}">
                  <a16:creationId xmlns:a16="http://schemas.microsoft.com/office/drawing/2014/main" id="{71156A91-9030-402D-A6D0-B2E3BE01F90C}"/>
                </a:ext>
              </a:extLst>
            </p:cNvPr>
            <p:cNvSpPr/>
            <p:nvPr/>
          </p:nvSpPr>
          <p:spPr>
            <a:xfrm>
              <a:off x="9797002" y="2987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43" name="Oval 542">
              <a:extLst>
                <a:ext uri="{FF2B5EF4-FFF2-40B4-BE49-F238E27FC236}">
                  <a16:creationId xmlns:a16="http://schemas.microsoft.com/office/drawing/2014/main" id="{A1A80756-0A69-480A-802F-9CCB0CD3FCFF}"/>
                </a:ext>
              </a:extLst>
            </p:cNvPr>
            <p:cNvSpPr/>
            <p:nvPr/>
          </p:nvSpPr>
          <p:spPr>
            <a:xfrm>
              <a:off x="10048462" y="2987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44" name="Oval 543">
              <a:extLst>
                <a:ext uri="{FF2B5EF4-FFF2-40B4-BE49-F238E27FC236}">
                  <a16:creationId xmlns:a16="http://schemas.microsoft.com/office/drawing/2014/main" id="{E7A945F8-7A32-43D1-9F19-E1EACFDA7D84}"/>
                </a:ext>
              </a:extLst>
            </p:cNvPr>
            <p:cNvSpPr/>
            <p:nvPr/>
          </p:nvSpPr>
          <p:spPr>
            <a:xfrm>
              <a:off x="9545542" y="3238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45" name="Oval 544">
              <a:extLst>
                <a:ext uri="{FF2B5EF4-FFF2-40B4-BE49-F238E27FC236}">
                  <a16:creationId xmlns:a16="http://schemas.microsoft.com/office/drawing/2014/main" id="{6CAD888F-55FB-4CEE-8666-6B948029A676}"/>
                </a:ext>
              </a:extLst>
            </p:cNvPr>
            <p:cNvSpPr/>
            <p:nvPr/>
          </p:nvSpPr>
          <p:spPr>
            <a:xfrm>
              <a:off x="9797002" y="3238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46" name="Oval 545">
              <a:extLst>
                <a:ext uri="{FF2B5EF4-FFF2-40B4-BE49-F238E27FC236}">
                  <a16:creationId xmlns:a16="http://schemas.microsoft.com/office/drawing/2014/main" id="{0ADA4A8B-2765-4EF2-B578-DA586ED43458}"/>
                </a:ext>
              </a:extLst>
            </p:cNvPr>
            <p:cNvSpPr/>
            <p:nvPr/>
          </p:nvSpPr>
          <p:spPr>
            <a:xfrm>
              <a:off x="10048462" y="3238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47" name="Oval 546">
              <a:extLst>
                <a:ext uri="{FF2B5EF4-FFF2-40B4-BE49-F238E27FC236}">
                  <a16:creationId xmlns:a16="http://schemas.microsoft.com/office/drawing/2014/main" id="{6531D758-5F37-4BC5-8E5D-1878E1E79B5D}"/>
                </a:ext>
              </a:extLst>
            </p:cNvPr>
            <p:cNvSpPr/>
            <p:nvPr/>
          </p:nvSpPr>
          <p:spPr>
            <a:xfrm>
              <a:off x="9545542" y="3489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48" name="Oval 547">
              <a:extLst>
                <a:ext uri="{FF2B5EF4-FFF2-40B4-BE49-F238E27FC236}">
                  <a16:creationId xmlns:a16="http://schemas.microsoft.com/office/drawing/2014/main" id="{75F3FCE1-64C9-47E7-9900-D09C712E0CA6}"/>
                </a:ext>
              </a:extLst>
            </p:cNvPr>
            <p:cNvSpPr/>
            <p:nvPr/>
          </p:nvSpPr>
          <p:spPr>
            <a:xfrm>
              <a:off x="9797002" y="3489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49" name="Oval 548">
              <a:extLst>
                <a:ext uri="{FF2B5EF4-FFF2-40B4-BE49-F238E27FC236}">
                  <a16:creationId xmlns:a16="http://schemas.microsoft.com/office/drawing/2014/main" id="{E5329524-311C-4248-A836-BCA48DDB9452}"/>
                </a:ext>
              </a:extLst>
            </p:cNvPr>
            <p:cNvSpPr/>
            <p:nvPr/>
          </p:nvSpPr>
          <p:spPr>
            <a:xfrm>
              <a:off x="10048462" y="3489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50" name="Oval 549">
              <a:extLst>
                <a:ext uri="{FF2B5EF4-FFF2-40B4-BE49-F238E27FC236}">
                  <a16:creationId xmlns:a16="http://schemas.microsoft.com/office/drawing/2014/main" id="{6F857CA2-7D6E-45D2-85AC-DD0C098625CE}"/>
                </a:ext>
              </a:extLst>
            </p:cNvPr>
            <p:cNvSpPr/>
            <p:nvPr/>
          </p:nvSpPr>
          <p:spPr>
            <a:xfrm>
              <a:off x="853970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51" name="Oval 550">
              <a:extLst>
                <a:ext uri="{FF2B5EF4-FFF2-40B4-BE49-F238E27FC236}">
                  <a16:creationId xmlns:a16="http://schemas.microsoft.com/office/drawing/2014/main" id="{5F5807B6-324C-434B-B4A3-0A07456D4F2D}"/>
                </a:ext>
              </a:extLst>
            </p:cNvPr>
            <p:cNvSpPr/>
            <p:nvPr/>
          </p:nvSpPr>
          <p:spPr>
            <a:xfrm>
              <a:off x="853970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52" name="Oval 551">
              <a:extLst>
                <a:ext uri="{FF2B5EF4-FFF2-40B4-BE49-F238E27FC236}">
                  <a16:creationId xmlns:a16="http://schemas.microsoft.com/office/drawing/2014/main" id="{FADBE6B4-9525-4710-89F4-A459950AA0ED}"/>
                </a:ext>
              </a:extLst>
            </p:cNvPr>
            <p:cNvSpPr/>
            <p:nvPr/>
          </p:nvSpPr>
          <p:spPr>
            <a:xfrm>
              <a:off x="853970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53" name="Oval 552">
              <a:extLst>
                <a:ext uri="{FF2B5EF4-FFF2-40B4-BE49-F238E27FC236}">
                  <a16:creationId xmlns:a16="http://schemas.microsoft.com/office/drawing/2014/main" id="{8D6C313D-1403-438B-8D80-A2169F1E247C}"/>
                </a:ext>
              </a:extLst>
            </p:cNvPr>
            <p:cNvSpPr/>
            <p:nvPr/>
          </p:nvSpPr>
          <p:spPr>
            <a:xfrm>
              <a:off x="828824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54" name="Oval 553">
              <a:extLst>
                <a:ext uri="{FF2B5EF4-FFF2-40B4-BE49-F238E27FC236}">
                  <a16:creationId xmlns:a16="http://schemas.microsoft.com/office/drawing/2014/main" id="{5E514683-3231-40F4-A150-19A36269A823}"/>
                </a:ext>
              </a:extLst>
            </p:cNvPr>
            <p:cNvSpPr/>
            <p:nvPr/>
          </p:nvSpPr>
          <p:spPr>
            <a:xfrm>
              <a:off x="828824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55" name="Oval 554">
              <a:extLst>
                <a:ext uri="{FF2B5EF4-FFF2-40B4-BE49-F238E27FC236}">
                  <a16:creationId xmlns:a16="http://schemas.microsoft.com/office/drawing/2014/main" id="{E8C6C4CF-7C02-4DBD-8029-5880B4B1493A}"/>
                </a:ext>
              </a:extLst>
            </p:cNvPr>
            <p:cNvSpPr/>
            <p:nvPr/>
          </p:nvSpPr>
          <p:spPr>
            <a:xfrm>
              <a:off x="828824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56" name="Oval 555">
              <a:extLst>
                <a:ext uri="{FF2B5EF4-FFF2-40B4-BE49-F238E27FC236}">
                  <a16:creationId xmlns:a16="http://schemas.microsoft.com/office/drawing/2014/main" id="{5D42BB40-A96F-4A4F-9957-271125F1ABBF}"/>
                </a:ext>
              </a:extLst>
            </p:cNvPr>
            <p:cNvSpPr/>
            <p:nvPr/>
          </p:nvSpPr>
          <p:spPr>
            <a:xfrm>
              <a:off x="9545542" y="248835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57" name="Oval 556">
              <a:extLst>
                <a:ext uri="{FF2B5EF4-FFF2-40B4-BE49-F238E27FC236}">
                  <a16:creationId xmlns:a16="http://schemas.microsoft.com/office/drawing/2014/main" id="{1D931A6F-29E1-49E9-9ABD-A5806810D520}"/>
                </a:ext>
              </a:extLst>
            </p:cNvPr>
            <p:cNvSpPr/>
            <p:nvPr/>
          </p:nvSpPr>
          <p:spPr>
            <a:xfrm>
              <a:off x="9797002" y="248835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58" name="Oval 557">
              <a:extLst>
                <a:ext uri="{FF2B5EF4-FFF2-40B4-BE49-F238E27FC236}">
                  <a16:creationId xmlns:a16="http://schemas.microsoft.com/office/drawing/2014/main" id="{EF563214-C729-4842-9265-FDCB674EA4BE}"/>
                </a:ext>
              </a:extLst>
            </p:cNvPr>
            <p:cNvSpPr/>
            <p:nvPr/>
          </p:nvSpPr>
          <p:spPr>
            <a:xfrm>
              <a:off x="10048462" y="248835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59" name="Oval 558">
              <a:extLst>
                <a:ext uri="{FF2B5EF4-FFF2-40B4-BE49-F238E27FC236}">
                  <a16:creationId xmlns:a16="http://schemas.microsoft.com/office/drawing/2014/main" id="{7F809039-A6C8-44C1-AF52-4B15CB1F9F23}"/>
                </a:ext>
              </a:extLst>
            </p:cNvPr>
            <p:cNvSpPr/>
            <p:nvPr/>
          </p:nvSpPr>
          <p:spPr>
            <a:xfrm>
              <a:off x="9545542" y="273981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60" name="Oval 559">
              <a:extLst>
                <a:ext uri="{FF2B5EF4-FFF2-40B4-BE49-F238E27FC236}">
                  <a16:creationId xmlns:a16="http://schemas.microsoft.com/office/drawing/2014/main" id="{CE8D8A3E-8733-4865-85FA-4944DE00CB94}"/>
                </a:ext>
              </a:extLst>
            </p:cNvPr>
            <p:cNvSpPr/>
            <p:nvPr/>
          </p:nvSpPr>
          <p:spPr>
            <a:xfrm>
              <a:off x="9797002" y="273981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561" name="Oval 560">
              <a:extLst>
                <a:ext uri="{FF2B5EF4-FFF2-40B4-BE49-F238E27FC236}">
                  <a16:creationId xmlns:a16="http://schemas.microsoft.com/office/drawing/2014/main" id="{E364EEAC-3C9A-4A57-8982-0EA3C60BBFB8}"/>
                </a:ext>
              </a:extLst>
            </p:cNvPr>
            <p:cNvSpPr/>
            <p:nvPr/>
          </p:nvSpPr>
          <p:spPr>
            <a:xfrm>
              <a:off x="10048462" y="273981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sp>
        <p:nvSpPr>
          <p:cNvPr id="589" name="Freeform: Shape 588">
            <a:extLst>
              <a:ext uri="{FF2B5EF4-FFF2-40B4-BE49-F238E27FC236}">
                <a16:creationId xmlns:a16="http://schemas.microsoft.com/office/drawing/2014/main" id="{F80F2705-94BD-4937-BFBF-780CB26C46C3}"/>
              </a:ext>
            </a:extLst>
          </p:cNvPr>
          <p:cNvSpPr/>
          <p:nvPr/>
        </p:nvSpPr>
        <p:spPr>
          <a:xfrm>
            <a:off x="6706683" y="3061097"/>
            <a:ext cx="200764" cy="200586"/>
          </a:xfrm>
          <a:custGeom>
            <a:avLst/>
            <a:gdLst>
              <a:gd name="connsiteX0" fmla="*/ 0 w 401324"/>
              <a:gd name="connsiteY0" fmla="*/ 200662 h 400967"/>
              <a:gd name="connsiteX1" fmla="*/ 200662 w 401324"/>
              <a:gd name="connsiteY1" fmla="*/ 0 h 400967"/>
              <a:gd name="connsiteX2" fmla="*/ 401325 w 401324"/>
              <a:gd name="connsiteY2" fmla="*/ 200662 h 400967"/>
              <a:gd name="connsiteX3" fmla="*/ 201020 w 401324"/>
              <a:gd name="connsiteY3" fmla="*/ 400967 h 400967"/>
              <a:gd name="connsiteX4" fmla="*/ 715 w 401324"/>
              <a:gd name="connsiteY4" fmla="*/ 200662 h 400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324" h="400967">
                <a:moveTo>
                  <a:pt x="0" y="200662"/>
                </a:moveTo>
                <a:cubicBezTo>
                  <a:pt x="0" y="89840"/>
                  <a:pt x="89840" y="0"/>
                  <a:pt x="200662" y="0"/>
                </a:cubicBezTo>
                <a:cubicBezTo>
                  <a:pt x="311485" y="0"/>
                  <a:pt x="401325" y="89840"/>
                  <a:pt x="401325" y="200662"/>
                </a:cubicBezTo>
                <a:cubicBezTo>
                  <a:pt x="401325" y="311288"/>
                  <a:pt x="311646" y="400967"/>
                  <a:pt x="201020" y="400967"/>
                </a:cubicBezTo>
                <a:cubicBezTo>
                  <a:pt x="90395" y="400967"/>
                  <a:pt x="715" y="311288"/>
                  <a:pt x="715" y="200662"/>
                </a:cubicBezTo>
                <a:close/>
              </a:path>
            </a:pathLst>
          </a:custGeom>
          <a:solidFill>
            <a:srgbClr val="00BCE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90" name="Freeform: Shape 589">
            <a:extLst>
              <a:ext uri="{FF2B5EF4-FFF2-40B4-BE49-F238E27FC236}">
                <a16:creationId xmlns:a16="http://schemas.microsoft.com/office/drawing/2014/main" id="{1E939885-250B-4FF7-B10A-2F595E7DD685}"/>
              </a:ext>
            </a:extLst>
          </p:cNvPr>
          <p:cNvSpPr/>
          <p:nvPr/>
        </p:nvSpPr>
        <p:spPr>
          <a:xfrm>
            <a:off x="6641678" y="3047214"/>
            <a:ext cx="200406" cy="200406"/>
          </a:xfrm>
          <a:custGeom>
            <a:avLst/>
            <a:gdLst>
              <a:gd name="connsiteX0" fmla="*/ 0 w 400609"/>
              <a:gd name="connsiteY0" fmla="*/ 200305 h 400609"/>
              <a:gd name="connsiteX1" fmla="*/ 200305 w 400609"/>
              <a:gd name="connsiteY1" fmla="*/ 0 h 400609"/>
              <a:gd name="connsiteX2" fmla="*/ 400609 w 400609"/>
              <a:gd name="connsiteY2" fmla="*/ 200305 h 400609"/>
              <a:gd name="connsiteX3" fmla="*/ 200305 w 400609"/>
              <a:gd name="connsiteY3" fmla="*/ 400609 h 400609"/>
              <a:gd name="connsiteX4" fmla="*/ 0 w 400609"/>
              <a:gd name="connsiteY4" fmla="*/ 200305 h 400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09" h="400609">
                <a:moveTo>
                  <a:pt x="0" y="200305"/>
                </a:moveTo>
                <a:cubicBezTo>
                  <a:pt x="0" y="89679"/>
                  <a:pt x="89679" y="0"/>
                  <a:pt x="200305" y="0"/>
                </a:cubicBezTo>
                <a:cubicBezTo>
                  <a:pt x="310930" y="0"/>
                  <a:pt x="400609" y="89679"/>
                  <a:pt x="400609" y="200305"/>
                </a:cubicBezTo>
                <a:cubicBezTo>
                  <a:pt x="400609" y="310930"/>
                  <a:pt x="310930" y="400609"/>
                  <a:pt x="200305" y="400609"/>
                </a:cubicBezTo>
                <a:cubicBezTo>
                  <a:pt x="89679" y="400609"/>
                  <a:pt x="0" y="310930"/>
                  <a:pt x="0" y="200305"/>
                </a:cubicBezTo>
                <a:close/>
              </a:path>
            </a:pathLst>
          </a:custGeom>
          <a:noFill/>
          <a:ln w="7144" cap="flat">
            <a:solidFill>
              <a:srgbClr val="0D274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592" name="Oval 591">
            <a:extLst>
              <a:ext uri="{FF2B5EF4-FFF2-40B4-BE49-F238E27FC236}">
                <a16:creationId xmlns:a16="http://schemas.microsoft.com/office/drawing/2014/main" id="{711A4F79-47BD-4AC5-9FEF-3AA67ED4D8F6}"/>
              </a:ext>
            </a:extLst>
          </p:cNvPr>
          <p:cNvSpPr/>
          <p:nvPr/>
        </p:nvSpPr>
        <p:spPr>
          <a:xfrm>
            <a:off x="2926892" y="1836421"/>
            <a:ext cx="1453896" cy="1453896"/>
          </a:xfrm>
          <a:prstGeom prst="ellipse">
            <a:avLst/>
          </a:prstGeom>
          <a:noFill/>
          <a:ln w="9525" cap="rnd">
            <a:solidFill>
              <a:schemeClr val="accent3"/>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4" name="Arc 593">
            <a:extLst>
              <a:ext uri="{FF2B5EF4-FFF2-40B4-BE49-F238E27FC236}">
                <a16:creationId xmlns:a16="http://schemas.microsoft.com/office/drawing/2014/main" id="{138E613E-5D1A-44F7-9396-8D470E15C47C}"/>
              </a:ext>
            </a:extLst>
          </p:cNvPr>
          <p:cNvSpPr/>
          <p:nvPr/>
        </p:nvSpPr>
        <p:spPr>
          <a:xfrm>
            <a:off x="1121138" y="3882947"/>
            <a:ext cx="1724932" cy="1724932"/>
          </a:xfrm>
          <a:prstGeom prst="arc">
            <a:avLst>
              <a:gd name="adj1" fmla="val 1095341"/>
              <a:gd name="adj2" fmla="val 0"/>
            </a:avLst>
          </a:prstGeom>
          <a:solidFill>
            <a:schemeClr val="bg2"/>
          </a:solidFill>
          <a:ln w="9525" cap="rnd">
            <a:solidFill>
              <a:schemeClr val="accent3"/>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5" name="Freeform: Shape 594">
            <a:extLst>
              <a:ext uri="{FF2B5EF4-FFF2-40B4-BE49-F238E27FC236}">
                <a16:creationId xmlns:a16="http://schemas.microsoft.com/office/drawing/2014/main" id="{27951422-A7FD-449B-8365-9640B19B9A32}"/>
              </a:ext>
            </a:extLst>
          </p:cNvPr>
          <p:cNvSpPr/>
          <p:nvPr/>
        </p:nvSpPr>
        <p:spPr>
          <a:xfrm>
            <a:off x="2601585" y="4167032"/>
            <a:ext cx="618344" cy="1156762"/>
          </a:xfrm>
          <a:custGeom>
            <a:avLst/>
            <a:gdLst>
              <a:gd name="connsiteX0" fmla="*/ 0 w 656476"/>
              <a:gd name="connsiteY0" fmla="*/ 44270 h 1228097"/>
              <a:gd name="connsiteX1" fmla="*/ 0 w 656476"/>
              <a:gd name="connsiteY1" fmla="*/ 1183829 h 1228097"/>
              <a:gd name="connsiteX2" fmla="*/ 75455 w 656476"/>
              <a:gd name="connsiteY2" fmla="*/ 1215075 h 1228097"/>
              <a:gd name="connsiteX3" fmla="*/ 643521 w 656476"/>
              <a:gd name="connsiteY3" fmla="*/ 647009 h 1228097"/>
              <a:gd name="connsiteX4" fmla="*/ 643627 w 656476"/>
              <a:gd name="connsiteY4" fmla="*/ 584622 h 1228097"/>
              <a:gd name="connsiteX5" fmla="*/ 75560 w 656476"/>
              <a:gd name="connsiteY5" fmla="*/ 13130 h 1228097"/>
              <a:gd name="connsiteX6" fmla="*/ 0 w 656476"/>
              <a:gd name="connsiteY6" fmla="*/ 44270 h 122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476" h="1228097">
                <a:moveTo>
                  <a:pt x="0" y="44270"/>
                </a:moveTo>
                <a:lnTo>
                  <a:pt x="0" y="1183829"/>
                </a:lnTo>
                <a:cubicBezTo>
                  <a:pt x="0" y="1223190"/>
                  <a:pt x="47581" y="1242896"/>
                  <a:pt x="75455" y="1215075"/>
                </a:cubicBezTo>
                <a:lnTo>
                  <a:pt x="643521" y="647009"/>
                </a:lnTo>
                <a:cubicBezTo>
                  <a:pt x="660751" y="629778"/>
                  <a:pt x="660804" y="601852"/>
                  <a:pt x="643627" y="584622"/>
                </a:cubicBezTo>
                <a:lnTo>
                  <a:pt x="75560" y="13130"/>
                </a:lnTo>
                <a:cubicBezTo>
                  <a:pt x="47739" y="-14849"/>
                  <a:pt x="0" y="4857"/>
                  <a:pt x="0" y="44270"/>
                </a:cubicBezTo>
                <a:close/>
              </a:path>
            </a:pathLst>
          </a:custGeom>
          <a:solidFill>
            <a:srgbClr val="21BDEA"/>
          </a:solidFill>
          <a:ln w="5266" cap="flat">
            <a:noFill/>
            <a:prstDash val="solid"/>
            <a:miter/>
          </a:ln>
        </p:spPr>
        <p:txBody>
          <a:bodyPr rtlCol="0" anchor="ctr"/>
          <a:lstStyle/>
          <a:p>
            <a:endParaRPr lang="en-IN" dirty="0"/>
          </a:p>
        </p:txBody>
      </p:sp>
      <p:grpSp>
        <p:nvGrpSpPr>
          <p:cNvPr id="596" name="Group 595">
            <a:extLst>
              <a:ext uri="{FF2B5EF4-FFF2-40B4-BE49-F238E27FC236}">
                <a16:creationId xmlns:a16="http://schemas.microsoft.com/office/drawing/2014/main" id="{96212555-D98D-42F0-AD8A-A6F08DC7B1B8}"/>
              </a:ext>
            </a:extLst>
          </p:cNvPr>
          <p:cNvGrpSpPr/>
          <p:nvPr/>
        </p:nvGrpSpPr>
        <p:grpSpPr>
          <a:xfrm>
            <a:off x="9558528" y="3602439"/>
            <a:ext cx="2337045" cy="2272680"/>
            <a:chOff x="9765771" y="3773889"/>
            <a:chExt cx="2129802" cy="2071145"/>
          </a:xfrm>
        </p:grpSpPr>
        <p:sp>
          <p:nvSpPr>
            <p:cNvPr id="597" name="Google Shape;2115;p430">
              <a:extLst>
                <a:ext uri="{FF2B5EF4-FFF2-40B4-BE49-F238E27FC236}">
                  <a16:creationId xmlns:a16="http://schemas.microsoft.com/office/drawing/2014/main" id="{8599686F-D721-4F27-9A19-608A44ED500F}"/>
                </a:ext>
              </a:extLst>
            </p:cNvPr>
            <p:cNvSpPr txBox="1"/>
            <p:nvPr/>
          </p:nvSpPr>
          <p:spPr>
            <a:xfrm>
              <a:off x="9765771" y="5620647"/>
              <a:ext cx="1872316" cy="224387"/>
            </a:xfrm>
            <a:prstGeom prst="rect">
              <a:avLst/>
            </a:prstGeom>
            <a:noFill/>
            <a:ln>
              <a:noFill/>
            </a:ln>
          </p:spPr>
          <p:txBody>
            <a:bodyPr spcFirstLastPara="1" wrap="square" lIns="0" tIns="0" rIns="0" bIns="0" anchor="t" anchorCtr="0">
              <a:spAutoFit/>
            </a:bodyPr>
            <a:lstStyle/>
            <a:p>
              <a:pPr lvl="0" algn="ctr">
                <a:buClr>
                  <a:srgbClr val="000000"/>
                </a:buClr>
                <a:buSzPts val="1400"/>
              </a:pPr>
              <a:r>
                <a:rPr lang="en-IN" sz="1600" dirty="0">
                  <a:solidFill>
                    <a:schemeClr val="tx2"/>
                  </a:solidFill>
                  <a:sym typeface="Helvetica Neue"/>
                </a:rPr>
                <a:t>Corporate Network</a:t>
              </a:r>
            </a:p>
          </p:txBody>
        </p:sp>
        <p:grpSp>
          <p:nvGrpSpPr>
            <p:cNvPr id="598" name="Group 597">
              <a:extLst>
                <a:ext uri="{FF2B5EF4-FFF2-40B4-BE49-F238E27FC236}">
                  <a16:creationId xmlns:a16="http://schemas.microsoft.com/office/drawing/2014/main" id="{F2D6DC15-1586-4BBB-938E-353E76B6D1B7}"/>
                </a:ext>
              </a:extLst>
            </p:cNvPr>
            <p:cNvGrpSpPr/>
            <p:nvPr/>
          </p:nvGrpSpPr>
          <p:grpSpPr>
            <a:xfrm>
              <a:off x="9789030" y="3773889"/>
              <a:ext cx="2106543" cy="1807488"/>
              <a:chOff x="9789030" y="3558266"/>
              <a:chExt cx="2106543" cy="1807488"/>
            </a:xfrm>
          </p:grpSpPr>
          <p:sp>
            <p:nvSpPr>
              <p:cNvPr id="599" name="Rectangle: Rounded Corners 598">
                <a:extLst>
                  <a:ext uri="{FF2B5EF4-FFF2-40B4-BE49-F238E27FC236}">
                    <a16:creationId xmlns:a16="http://schemas.microsoft.com/office/drawing/2014/main" id="{9F630CFA-D549-4249-B8E3-F985CF152D57}"/>
                  </a:ext>
                </a:extLst>
              </p:cNvPr>
              <p:cNvSpPr/>
              <p:nvPr/>
            </p:nvSpPr>
            <p:spPr>
              <a:xfrm>
                <a:off x="10801350" y="3558266"/>
                <a:ext cx="843087" cy="856743"/>
              </a:xfrm>
              <a:prstGeom prst="roundRect">
                <a:avLst>
                  <a:gd name="adj" fmla="val 5623"/>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00" name="Group 599">
                <a:extLst>
                  <a:ext uri="{FF2B5EF4-FFF2-40B4-BE49-F238E27FC236}">
                    <a16:creationId xmlns:a16="http://schemas.microsoft.com/office/drawing/2014/main" id="{7218D1CE-389D-47F9-A981-7657D2EBE7AC}"/>
                  </a:ext>
                </a:extLst>
              </p:cNvPr>
              <p:cNvGrpSpPr/>
              <p:nvPr/>
            </p:nvGrpSpPr>
            <p:grpSpPr>
              <a:xfrm>
                <a:off x="9789030" y="5161319"/>
                <a:ext cx="1743734" cy="204435"/>
                <a:chOff x="3500791" y="3888237"/>
                <a:chExt cx="1743734" cy="204435"/>
              </a:xfrm>
            </p:grpSpPr>
            <p:sp>
              <p:nvSpPr>
                <p:cNvPr id="607" name="Freeform: Shape 606">
                  <a:extLst>
                    <a:ext uri="{FF2B5EF4-FFF2-40B4-BE49-F238E27FC236}">
                      <a16:creationId xmlns:a16="http://schemas.microsoft.com/office/drawing/2014/main" id="{25CBEDC2-A58B-4061-A9F3-8E884CCB8A28}"/>
                    </a:ext>
                  </a:extLst>
                </p:cNvPr>
                <p:cNvSpPr/>
                <p:nvPr/>
              </p:nvSpPr>
              <p:spPr>
                <a:xfrm rot="1833945">
                  <a:off x="3538962"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08" name="Freeform: Shape 607">
                  <a:extLst>
                    <a:ext uri="{FF2B5EF4-FFF2-40B4-BE49-F238E27FC236}">
                      <a16:creationId xmlns:a16="http://schemas.microsoft.com/office/drawing/2014/main" id="{68ECDB70-A706-41F5-A80E-7C67090AAA29}"/>
                    </a:ext>
                  </a:extLst>
                </p:cNvPr>
                <p:cNvSpPr/>
                <p:nvPr/>
              </p:nvSpPr>
              <p:spPr>
                <a:xfrm rot="1833945">
                  <a:off x="3618096"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09" name="Freeform: Shape 608">
                  <a:extLst>
                    <a:ext uri="{FF2B5EF4-FFF2-40B4-BE49-F238E27FC236}">
                      <a16:creationId xmlns:a16="http://schemas.microsoft.com/office/drawing/2014/main" id="{F1158792-5BE0-49C6-8498-3DEFC2B6B625}"/>
                    </a:ext>
                  </a:extLst>
                </p:cNvPr>
                <p:cNvSpPr/>
                <p:nvPr/>
              </p:nvSpPr>
              <p:spPr>
                <a:xfrm rot="1833945">
                  <a:off x="3697233" y="3982514"/>
                  <a:ext cx="443847" cy="5492"/>
                </a:xfrm>
                <a:custGeom>
                  <a:avLst/>
                  <a:gdLst>
                    <a:gd name="connsiteX0" fmla="*/ 0 w 443847"/>
                    <a:gd name="connsiteY0" fmla="*/ 5492 h 5492"/>
                    <a:gd name="connsiteX1" fmla="*/ 9298 w 443847"/>
                    <a:gd name="connsiteY1" fmla="*/ 0 h 5492"/>
                    <a:gd name="connsiteX2" fmla="*/ 443847 w 443847"/>
                    <a:gd name="connsiteY2" fmla="*/ 1 h 5492"/>
                    <a:gd name="connsiteX3" fmla="*/ 434549 w 443847"/>
                    <a:gd name="connsiteY3" fmla="*/ 5492 h 5492"/>
                    <a:gd name="connsiteX4" fmla="*/ 0 w 443847"/>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2">
                      <a:moveTo>
                        <a:pt x="0" y="5492"/>
                      </a:moveTo>
                      <a:lnTo>
                        <a:pt x="9298" y="0"/>
                      </a:lnTo>
                      <a:lnTo>
                        <a:pt x="443847" y="1"/>
                      </a:lnTo>
                      <a:lnTo>
                        <a:pt x="434549" y="5492"/>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10" name="Freeform: Shape 609">
                  <a:extLst>
                    <a:ext uri="{FF2B5EF4-FFF2-40B4-BE49-F238E27FC236}">
                      <a16:creationId xmlns:a16="http://schemas.microsoft.com/office/drawing/2014/main" id="{BC9BFE0C-E52E-4FFA-8F23-AB18B8D16EDB}"/>
                    </a:ext>
                  </a:extLst>
                </p:cNvPr>
                <p:cNvSpPr/>
                <p:nvPr/>
              </p:nvSpPr>
              <p:spPr>
                <a:xfrm rot="1833945">
                  <a:off x="3776364"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50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50"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11" name="Freeform: Shape 610">
                  <a:extLst>
                    <a:ext uri="{FF2B5EF4-FFF2-40B4-BE49-F238E27FC236}">
                      <a16:creationId xmlns:a16="http://schemas.microsoft.com/office/drawing/2014/main" id="{09658486-A25E-4B53-973A-F0B68DB72B7A}"/>
                    </a:ext>
                  </a:extLst>
                </p:cNvPr>
                <p:cNvSpPr/>
                <p:nvPr/>
              </p:nvSpPr>
              <p:spPr>
                <a:xfrm rot="1833945">
                  <a:off x="3855500"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12" name="Freeform: Shape 611">
                  <a:extLst>
                    <a:ext uri="{FF2B5EF4-FFF2-40B4-BE49-F238E27FC236}">
                      <a16:creationId xmlns:a16="http://schemas.microsoft.com/office/drawing/2014/main" id="{46B94CB8-2467-4F58-B0DA-3906DD51414A}"/>
                    </a:ext>
                  </a:extLst>
                </p:cNvPr>
                <p:cNvSpPr/>
                <p:nvPr/>
              </p:nvSpPr>
              <p:spPr>
                <a:xfrm rot="1833945">
                  <a:off x="3934634" y="3982514"/>
                  <a:ext cx="443847" cy="5492"/>
                </a:xfrm>
                <a:custGeom>
                  <a:avLst/>
                  <a:gdLst>
                    <a:gd name="connsiteX0" fmla="*/ 0 w 443847"/>
                    <a:gd name="connsiteY0" fmla="*/ 5492 h 5492"/>
                    <a:gd name="connsiteX1" fmla="*/ 9298 w 443847"/>
                    <a:gd name="connsiteY1" fmla="*/ 0 h 5492"/>
                    <a:gd name="connsiteX2" fmla="*/ 443847 w 443847"/>
                    <a:gd name="connsiteY2" fmla="*/ 0 h 5492"/>
                    <a:gd name="connsiteX3" fmla="*/ 434549 w 443847"/>
                    <a:gd name="connsiteY3" fmla="*/ 5491 h 5492"/>
                    <a:gd name="connsiteX4" fmla="*/ 0 w 443847"/>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2">
                      <a:moveTo>
                        <a:pt x="0" y="5492"/>
                      </a:moveTo>
                      <a:lnTo>
                        <a:pt x="9298" y="0"/>
                      </a:lnTo>
                      <a:lnTo>
                        <a:pt x="443847" y="0"/>
                      </a:lnTo>
                      <a:lnTo>
                        <a:pt x="434549"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13" name="Freeform: Shape 612">
                  <a:extLst>
                    <a:ext uri="{FF2B5EF4-FFF2-40B4-BE49-F238E27FC236}">
                      <a16:creationId xmlns:a16="http://schemas.microsoft.com/office/drawing/2014/main" id="{1224FF67-2097-4E5E-B82A-30231BF26194}"/>
                    </a:ext>
                  </a:extLst>
                </p:cNvPr>
                <p:cNvSpPr/>
                <p:nvPr/>
              </p:nvSpPr>
              <p:spPr>
                <a:xfrm rot="1833945">
                  <a:off x="4013769"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14" name="Freeform: Shape 613">
                  <a:extLst>
                    <a:ext uri="{FF2B5EF4-FFF2-40B4-BE49-F238E27FC236}">
                      <a16:creationId xmlns:a16="http://schemas.microsoft.com/office/drawing/2014/main" id="{374B87B4-EC75-4E8E-9806-641260F2666E}"/>
                    </a:ext>
                  </a:extLst>
                </p:cNvPr>
                <p:cNvSpPr/>
                <p:nvPr/>
              </p:nvSpPr>
              <p:spPr>
                <a:xfrm rot="1833945">
                  <a:off x="4092903"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15" name="Freeform: Shape 614">
                  <a:extLst>
                    <a:ext uri="{FF2B5EF4-FFF2-40B4-BE49-F238E27FC236}">
                      <a16:creationId xmlns:a16="http://schemas.microsoft.com/office/drawing/2014/main" id="{40464EC3-485D-40F9-B7F5-CB49ECFB44A0}"/>
                    </a:ext>
                  </a:extLst>
                </p:cNvPr>
                <p:cNvSpPr/>
                <p:nvPr/>
              </p:nvSpPr>
              <p:spPr>
                <a:xfrm rot="1833945">
                  <a:off x="4172038" y="3982513"/>
                  <a:ext cx="443848" cy="5492"/>
                </a:xfrm>
                <a:custGeom>
                  <a:avLst/>
                  <a:gdLst>
                    <a:gd name="connsiteX0" fmla="*/ 0 w 443848"/>
                    <a:gd name="connsiteY0" fmla="*/ 5492 h 5492"/>
                    <a:gd name="connsiteX1" fmla="*/ 9298 w 443848"/>
                    <a:gd name="connsiteY1" fmla="*/ 0 h 5492"/>
                    <a:gd name="connsiteX2" fmla="*/ 443848 w 443848"/>
                    <a:gd name="connsiteY2" fmla="*/ 0 h 5492"/>
                    <a:gd name="connsiteX3" fmla="*/ 434550 w 443848"/>
                    <a:gd name="connsiteY3" fmla="*/ 5491 h 5492"/>
                    <a:gd name="connsiteX4" fmla="*/ 0 w 443848"/>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2">
                      <a:moveTo>
                        <a:pt x="0" y="5492"/>
                      </a:moveTo>
                      <a:lnTo>
                        <a:pt x="9298" y="0"/>
                      </a:lnTo>
                      <a:lnTo>
                        <a:pt x="443848" y="0"/>
                      </a:lnTo>
                      <a:lnTo>
                        <a:pt x="434550"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16" name="Freeform: Shape 615">
                  <a:extLst>
                    <a:ext uri="{FF2B5EF4-FFF2-40B4-BE49-F238E27FC236}">
                      <a16:creationId xmlns:a16="http://schemas.microsoft.com/office/drawing/2014/main" id="{F0DA79EC-337C-4FDB-A393-273CF5F1C214}"/>
                    </a:ext>
                  </a:extLst>
                </p:cNvPr>
                <p:cNvSpPr/>
                <p:nvPr/>
              </p:nvSpPr>
              <p:spPr>
                <a:xfrm rot="1833945">
                  <a:off x="4251171" y="3982513"/>
                  <a:ext cx="443848" cy="5492"/>
                </a:xfrm>
                <a:custGeom>
                  <a:avLst/>
                  <a:gdLst>
                    <a:gd name="connsiteX0" fmla="*/ 0 w 443848"/>
                    <a:gd name="connsiteY0" fmla="*/ 5492 h 5492"/>
                    <a:gd name="connsiteX1" fmla="*/ 9298 w 443848"/>
                    <a:gd name="connsiteY1" fmla="*/ 0 h 5492"/>
                    <a:gd name="connsiteX2" fmla="*/ 443848 w 443848"/>
                    <a:gd name="connsiteY2" fmla="*/ 0 h 5492"/>
                    <a:gd name="connsiteX3" fmla="*/ 434550 w 443848"/>
                    <a:gd name="connsiteY3" fmla="*/ 5492 h 5492"/>
                    <a:gd name="connsiteX4" fmla="*/ 0 w 443848"/>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2">
                      <a:moveTo>
                        <a:pt x="0" y="5492"/>
                      </a:moveTo>
                      <a:lnTo>
                        <a:pt x="9298" y="0"/>
                      </a:lnTo>
                      <a:lnTo>
                        <a:pt x="443848" y="0"/>
                      </a:lnTo>
                      <a:lnTo>
                        <a:pt x="434550" y="5492"/>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17" name="Freeform: Shape 616">
                  <a:extLst>
                    <a:ext uri="{FF2B5EF4-FFF2-40B4-BE49-F238E27FC236}">
                      <a16:creationId xmlns:a16="http://schemas.microsoft.com/office/drawing/2014/main" id="{C33C9B8C-89D7-4538-ADE8-632813376F4E}"/>
                    </a:ext>
                  </a:extLst>
                </p:cNvPr>
                <p:cNvSpPr/>
                <p:nvPr/>
              </p:nvSpPr>
              <p:spPr>
                <a:xfrm rot="1833945">
                  <a:off x="4330307"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18" name="Freeform: Shape 617">
                  <a:extLst>
                    <a:ext uri="{FF2B5EF4-FFF2-40B4-BE49-F238E27FC236}">
                      <a16:creationId xmlns:a16="http://schemas.microsoft.com/office/drawing/2014/main" id="{EF31632C-4EC9-4B85-B738-2DD6A070B8C5}"/>
                    </a:ext>
                  </a:extLst>
                </p:cNvPr>
                <p:cNvSpPr/>
                <p:nvPr/>
              </p:nvSpPr>
              <p:spPr>
                <a:xfrm rot="1833945">
                  <a:off x="4409438" y="3982515"/>
                  <a:ext cx="443848" cy="5491"/>
                </a:xfrm>
                <a:custGeom>
                  <a:avLst/>
                  <a:gdLst>
                    <a:gd name="connsiteX0" fmla="*/ 0 w 443848"/>
                    <a:gd name="connsiteY0" fmla="*/ 5491 h 5491"/>
                    <a:gd name="connsiteX1" fmla="*/ 9298 w 443848"/>
                    <a:gd name="connsiteY1" fmla="*/ 0 h 5491"/>
                    <a:gd name="connsiteX2" fmla="*/ 443848 w 443848"/>
                    <a:gd name="connsiteY2" fmla="*/ 0 h 5491"/>
                    <a:gd name="connsiteX3" fmla="*/ 434550 w 443848"/>
                    <a:gd name="connsiteY3" fmla="*/ 5491 h 5491"/>
                    <a:gd name="connsiteX4" fmla="*/ 0 w 443848"/>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1">
                      <a:moveTo>
                        <a:pt x="0" y="5491"/>
                      </a:moveTo>
                      <a:lnTo>
                        <a:pt x="9298" y="0"/>
                      </a:lnTo>
                      <a:lnTo>
                        <a:pt x="443848" y="0"/>
                      </a:lnTo>
                      <a:lnTo>
                        <a:pt x="434550"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19" name="Freeform: Shape 618">
                  <a:extLst>
                    <a:ext uri="{FF2B5EF4-FFF2-40B4-BE49-F238E27FC236}">
                      <a16:creationId xmlns:a16="http://schemas.microsoft.com/office/drawing/2014/main" id="{08AB969A-1BD9-4B69-9F2B-D58C4C8ACCD1}"/>
                    </a:ext>
                  </a:extLst>
                </p:cNvPr>
                <p:cNvSpPr/>
                <p:nvPr/>
              </p:nvSpPr>
              <p:spPr>
                <a:xfrm rot="1833945">
                  <a:off x="4488576" y="3982514"/>
                  <a:ext cx="443847" cy="5492"/>
                </a:xfrm>
                <a:custGeom>
                  <a:avLst/>
                  <a:gdLst>
                    <a:gd name="connsiteX0" fmla="*/ 0 w 443847"/>
                    <a:gd name="connsiteY0" fmla="*/ 5492 h 5492"/>
                    <a:gd name="connsiteX1" fmla="*/ 9298 w 443847"/>
                    <a:gd name="connsiteY1" fmla="*/ 0 h 5492"/>
                    <a:gd name="connsiteX2" fmla="*/ 443847 w 443847"/>
                    <a:gd name="connsiteY2" fmla="*/ 0 h 5492"/>
                    <a:gd name="connsiteX3" fmla="*/ 434549 w 443847"/>
                    <a:gd name="connsiteY3" fmla="*/ 5491 h 5492"/>
                    <a:gd name="connsiteX4" fmla="*/ 0 w 443847"/>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2">
                      <a:moveTo>
                        <a:pt x="0" y="5492"/>
                      </a:moveTo>
                      <a:lnTo>
                        <a:pt x="9298" y="0"/>
                      </a:lnTo>
                      <a:lnTo>
                        <a:pt x="443847" y="0"/>
                      </a:lnTo>
                      <a:lnTo>
                        <a:pt x="434549"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20" name="Freeform: Shape 619">
                  <a:extLst>
                    <a:ext uri="{FF2B5EF4-FFF2-40B4-BE49-F238E27FC236}">
                      <a16:creationId xmlns:a16="http://schemas.microsoft.com/office/drawing/2014/main" id="{49A9FECE-D378-418C-A3EB-83B9F9740192}"/>
                    </a:ext>
                  </a:extLst>
                </p:cNvPr>
                <p:cNvSpPr/>
                <p:nvPr/>
              </p:nvSpPr>
              <p:spPr>
                <a:xfrm rot="1833945">
                  <a:off x="4567706" y="3982513"/>
                  <a:ext cx="443848" cy="5492"/>
                </a:xfrm>
                <a:custGeom>
                  <a:avLst/>
                  <a:gdLst>
                    <a:gd name="connsiteX0" fmla="*/ 0 w 443848"/>
                    <a:gd name="connsiteY0" fmla="*/ 5492 h 5492"/>
                    <a:gd name="connsiteX1" fmla="*/ 9298 w 443848"/>
                    <a:gd name="connsiteY1" fmla="*/ 0 h 5492"/>
                    <a:gd name="connsiteX2" fmla="*/ 443848 w 443848"/>
                    <a:gd name="connsiteY2" fmla="*/ 0 h 5492"/>
                    <a:gd name="connsiteX3" fmla="*/ 434550 w 443848"/>
                    <a:gd name="connsiteY3" fmla="*/ 5492 h 5492"/>
                    <a:gd name="connsiteX4" fmla="*/ 0 w 443848"/>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2">
                      <a:moveTo>
                        <a:pt x="0" y="5492"/>
                      </a:moveTo>
                      <a:lnTo>
                        <a:pt x="9298" y="0"/>
                      </a:lnTo>
                      <a:lnTo>
                        <a:pt x="443848" y="0"/>
                      </a:lnTo>
                      <a:lnTo>
                        <a:pt x="434550" y="5492"/>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21" name="Freeform: Shape 620">
                  <a:extLst>
                    <a:ext uri="{FF2B5EF4-FFF2-40B4-BE49-F238E27FC236}">
                      <a16:creationId xmlns:a16="http://schemas.microsoft.com/office/drawing/2014/main" id="{6B433997-26D8-489C-81AE-DAFC38670E03}"/>
                    </a:ext>
                  </a:extLst>
                </p:cNvPr>
                <p:cNvSpPr/>
                <p:nvPr/>
              </p:nvSpPr>
              <p:spPr>
                <a:xfrm rot="1833945">
                  <a:off x="4646843"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22" name="Freeform: Shape 621">
                  <a:extLst>
                    <a:ext uri="{FF2B5EF4-FFF2-40B4-BE49-F238E27FC236}">
                      <a16:creationId xmlns:a16="http://schemas.microsoft.com/office/drawing/2014/main" id="{1827C978-4DBE-44F6-8360-F299CD7242D3}"/>
                    </a:ext>
                  </a:extLst>
                </p:cNvPr>
                <p:cNvSpPr/>
                <p:nvPr/>
              </p:nvSpPr>
              <p:spPr>
                <a:xfrm rot="1833945">
                  <a:off x="4725974" y="3982515"/>
                  <a:ext cx="443848" cy="5491"/>
                </a:xfrm>
                <a:custGeom>
                  <a:avLst/>
                  <a:gdLst>
                    <a:gd name="connsiteX0" fmla="*/ 0 w 443848"/>
                    <a:gd name="connsiteY0" fmla="*/ 5491 h 5491"/>
                    <a:gd name="connsiteX1" fmla="*/ 9298 w 443848"/>
                    <a:gd name="connsiteY1" fmla="*/ 0 h 5491"/>
                    <a:gd name="connsiteX2" fmla="*/ 443848 w 443848"/>
                    <a:gd name="connsiteY2" fmla="*/ 0 h 5491"/>
                    <a:gd name="connsiteX3" fmla="*/ 434550 w 443848"/>
                    <a:gd name="connsiteY3" fmla="*/ 5491 h 5491"/>
                    <a:gd name="connsiteX4" fmla="*/ 0 w 443848"/>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1">
                      <a:moveTo>
                        <a:pt x="0" y="5491"/>
                      </a:moveTo>
                      <a:lnTo>
                        <a:pt x="9298" y="0"/>
                      </a:lnTo>
                      <a:lnTo>
                        <a:pt x="443848" y="0"/>
                      </a:lnTo>
                      <a:lnTo>
                        <a:pt x="434550"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23" name="Freeform: Shape 622">
                  <a:extLst>
                    <a:ext uri="{FF2B5EF4-FFF2-40B4-BE49-F238E27FC236}">
                      <a16:creationId xmlns:a16="http://schemas.microsoft.com/office/drawing/2014/main" id="{86EAF76E-24CC-4F2A-B948-6853038B8298}"/>
                    </a:ext>
                  </a:extLst>
                </p:cNvPr>
                <p:cNvSpPr/>
                <p:nvPr/>
              </p:nvSpPr>
              <p:spPr>
                <a:xfrm rot="1833945">
                  <a:off x="4805441" y="3981302"/>
                  <a:ext cx="439084" cy="5492"/>
                </a:xfrm>
                <a:custGeom>
                  <a:avLst/>
                  <a:gdLst>
                    <a:gd name="connsiteX0" fmla="*/ 0 w 439084"/>
                    <a:gd name="connsiteY0" fmla="*/ 5492 h 5492"/>
                    <a:gd name="connsiteX1" fmla="*/ 9298 w 439084"/>
                    <a:gd name="connsiteY1" fmla="*/ 0 h 5492"/>
                    <a:gd name="connsiteX2" fmla="*/ 437423 w 439084"/>
                    <a:gd name="connsiteY2" fmla="*/ 0 h 5492"/>
                    <a:gd name="connsiteX3" fmla="*/ 439084 w 439084"/>
                    <a:gd name="connsiteY3" fmla="*/ 2813 h 5492"/>
                    <a:gd name="connsiteX4" fmla="*/ 434549 w 439084"/>
                    <a:gd name="connsiteY4" fmla="*/ 5491 h 5492"/>
                    <a:gd name="connsiteX5" fmla="*/ 0 w 439084"/>
                    <a:gd name="connsiteY5" fmla="*/ 5492 h 5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084" h="5492">
                      <a:moveTo>
                        <a:pt x="0" y="5492"/>
                      </a:moveTo>
                      <a:lnTo>
                        <a:pt x="9298" y="0"/>
                      </a:lnTo>
                      <a:lnTo>
                        <a:pt x="437423" y="0"/>
                      </a:lnTo>
                      <a:lnTo>
                        <a:pt x="439084" y="2813"/>
                      </a:lnTo>
                      <a:lnTo>
                        <a:pt x="434549"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24" name="Freeform: Shape 623">
                  <a:extLst>
                    <a:ext uri="{FF2B5EF4-FFF2-40B4-BE49-F238E27FC236}">
                      <a16:creationId xmlns:a16="http://schemas.microsoft.com/office/drawing/2014/main" id="{B0EE48E6-9E56-452D-ABF2-27AC5DFFD491}"/>
                    </a:ext>
                  </a:extLst>
                </p:cNvPr>
                <p:cNvSpPr/>
                <p:nvPr/>
              </p:nvSpPr>
              <p:spPr>
                <a:xfrm rot="1833945">
                  <a:off x="4890848" y="3958336"/>
                  <a:ext cx="348764" cy="5492"/>
                </a:xfrm>
                <a:custGeom>
                  <a:avLst/>
                  <a:gdLst>
                    <a:gd name="connsiteX0" fmla="*/ 0 w 348764"/>
                    <a:gd name="connsiteY0" fmla="*/ 5492 h 5492"/>
                    <a:gd name="connsiteX1" fmla="*/ 9298 w 348764"/>
                    <a:gd name="connsiteY1" fmla="*/ 0 h 5492"/>
                    <a:gd name="connsiteX2" fmla="*/ 345521 w 348764"/>
                    <a:gd name="connsiteY2" fmla="*/ 0 h 5492"/>
                    <a:gd name="connsiteX3" fmla="*/ 348764 w 348764"/>
                    <a:gd name="connsiteY3" fmla="*/ 5491 h 5492"/>
                    <a:gd name="connsiteX4" fmla="*/ 0 w 348764"/>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64" h="5492">
                      <a:moveTo>
                        <a:pt x="0" y="5492"/>
                      </a:moveTo>
                      <a:lnTo>
                        <a:pt x="9298" y="0"/>
                      </a:lnTo>
                      <a:lnTo>
                        <a:pt x="345521" y="0"/>
                      </a:lnTo>
                      <a:lnTo>
                        <a:pt x="348764"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25" name="Freeform: Shape 624">
                  <a:extLst>
                    <a:ext uri="{FF2B5EF4-FFF2-40B4-BE49-F238E27FC236}">
                      <a16:creationId xmlns:a16="http://schemas.microsoft.com/office/drawing/2014/main" id="{EE58592A-C30A-4367-8329-327306586B5A}"/>
                    </a:ext>
                  </a:extLst>
                </p:cNvPr>
                <p:cNvSpPr/>
                <p:nvPr/>
              </p:nvSpPr>
              <p:spPr>
                <a:xfrm rot="1833945">
                  <a:off x="4976371" y="3934970"/>
                  <a:ext cx="256857" cy="5491"/>
                </a:xfrm>
                <a:custGeom>
                  <a:avLst/>
                  <a:gdLst>
                    <a:gd name="connsiteX0" fmla="*/ 0 w 256857"/>
                    <a:gd name="connsiteY0" fmla="*/ 5491 h 5491"/>
                    <a:gd name="connsiteX1" fmla="*/ 9298 w 256857"/>
                    <a:gd name="connsiteY1" fmla="*/ 0 h 5491"/>
                    <a:gd name="connsiteX2" fmla="*/ 253614 w 256857"/>
                    <a:gd name="connsiteY2" fmla="*/ 0 h 5491"/>
                    <a:gd name="connsiteX3" fmla="*/ 256857 w 256857"/>
                    <a:gd name="connsiteY3" fmla="*/ 5491 h 5491"/>
                    <a:gd name="connsiteX4" fmla="*/ 0 w 25685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7" h="5491">
                      <a:moveTo>
                        <a:pt x="0" y="5491"/>
                      </a:moveTo>
                      <a:lnTo>
                        <a:pt x="9298" y="0"/>
                      </a:lnTo>
                      <a:lnTo>
                        <a:pt x="253614" y="0"/>
                      </a:lnTo>
                      <a:lnTo>
                        <a:pt x="256857"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26" name="Freeform: Shape 625">
                  <a:extLst>
                    <a:ext uri="{FF2B5EF4-FFF2-40B4-BE49-F238E27FC236}">
                      <a16:creationId xmlns:a16="http://schemas.microsoft.com/office/drawing/2014/main" id="{D9C46C97-8550-403D-9089-2E2A6108EAFE}"/>
                    </a:ext>
                  </a:extLst>
                </p:cNvPr>
                <p:cNvSpPr/>
                <p:nvPr/>
              </p:nvSpPr>
              <p:spPr>
                <a:xfrm rot="1833945">
                  <a:off x="5061888" y="3911603"/>
                  <a:ext cx="164955" cy="5491"/>
                </a:xfrm>
                <a:custGeom>
                  <a:avLst/>
                  <a:gdLst>
                    <a:gd name="connsiteX0" fmla="*/ 0 w 164955"/>
                    <a:gd name="connsiteY0" fmla="*/ 5491 h 5491"/>
                    <a:gd name="connsiteX1" fmla="*/ 9298 w 164955"/>
                    <a:gd name="connsiteY1" fmla="*/ 0 h 5491"/>
                    <a:gd name="connsiteX2" fmla="*/ 161712 w 164955"/>
                    <a:gd name="connsiteY2" fmla="*/ 0 h 5491"/>
                    <a:gd name="connsiteX3" fmla="*/ 164955 w 164955"/>
                    <a:gd name="connsiteY3" fmla="*/ 5491 h 5491"/>
                    <a:gd name="connsiteX4" fmla="*/ 0 w 164955"/>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955" h="5491">
                      <a:moveTo>
                        <a:pt x="0" y="5491"/>
                      </a:moveTo>
                      <a:lnTo>
                        <a:pt x="9298" y="0"/>
                      </a:lnTo>
                      <a:lnTo>
                        <a:pt x="161712" y="0"/>
                      </a:lnTo>
                      <a:lnTo>
                        <a:pt x="164955"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27" name="Freeform: Shape 626">
                  <a:extLst>
                    <a:ext uri="{FF2B5EF4-FFF2-40B4-BE49-F238E27FC236}">
                      <a16:creationId xmlns:a16="http://schemas.microsoft.com/office/drawing/2014/main" id="{7694A104-7EB8-4596-9206-F62E3BE0378D}"/>
                    </a:ext>
                  </a:extLst>
                </p:cNvPr>
                <p:cNvSpPr/>
                <p:nvPr/>
              </p:nvSpPr>
              <p:spPr>
                <a:xfrm rot="1833945">
                  <a:off x="5147399" y="3888237"/>
                  <a:ext cx="73059" cy="5491"/>
                </a:xfrm>
                <a:custGeom>
                  <a:avLst/>
                  <a:gdLst>
                    <a:gd name="connsiteX0" fmla="*/ 0 w 73059"/>
                    <a:gd name="connsiteY0" fmla="*/ 5491 h 5491"/>
                    <a:gd name="connsiteX1" fmla="*/ 9298 w 73059"/>
                    <a:gd name="connsiteY1" fmla="*/ 0 h 5491"/>
                    <a:gd name="connsiteX2" fmla="*/ 69816 w 73059"/>
                    <a:gd name="connsiteY2" fmla="*/ 0 h 5491"/>
                    <a:gd name="connsiteX3" fmla="*/ 73059 w 73059"/>
                    <a:gd name="connsiteY3" fmla="*/ 5491 h 5491"/>
                    <a:gd name="connsiteX4" fmla="*/ 0 w 73059"/>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059" h="5491">
                      <a:moveTo>
                        <a:pt x="0" y="5491"/>
                      </a:moveTo>
                      <a:lnTo>
                        <a:pt x="9298" y="0"/>
                      </a:lnTo>
                      <a:lnTo>
                        <a:pt x="69816" y="0"/>
                      </a:lnTo>
                      <a:lnTo>
                        <a:pt x="7305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28" name="Freeform: Shape 627">
                  <a:extLst>
                    <a:ext uri="{FF2B5EF4-FFF2-40B4-BE49-F238E27FC236}">
                      <a16:creationId xmlns:a16="http://schemas.microsoft.com/office/drawing/2014/main" id="{604E94F7-400E-46EB-91E5-4C4DDF8B3A96}"/>
                    </a:ext>
                  </a:extLst>
                </p:cNvPr>
                <p:cNvSpPr/>
                <p:nvPr/>
              </p:nvSpPr>
              <p:spPr>
                <a:xfrm rot="1833945">
                  <a:off x="3500791" y="3993706"/>
                  <a:ext cx="399824" cy="5492"/>
                </a:xfrm>
                <a:custGeom>
                  <a:avLst/>
                  <a:gdLst>
                    <a:gd name="connsiteX0" fmla="*/ 0 w 399824"/>
                    <a:gd name="connsiteY0" fmla="*/ 0 h 5492"/>
                    <a:gd name="connsiteX1" fmla="*/ 399824 w 399824"/>
                    <a:gd name="connsiteY1" fmla="*/ 1 h 5492"/>
                    <a:gd name="connsiteX2" fmla="*/ 390526 w 399824"/>
                    <a:gd name="connsiteY2" fmla="*/ 5492 h 5492"/>
                    <a:gd name="connsiteX3" fmla="*/ 3243 w 399824"/>
                    <a:gd name="connsiteY3" fmla="*/ 5492 h 5492"/>
                    <a:gd name="connsiteX4" fmla="*/ 0 w 399824"/>
                    <a:gd name="connsiteY4" fmla="*/ 0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824" h="5492">
                      <a:moveTo>
                        <a:pt x="0" y="0"/>
                      </a:moveTo>
                      <a:lnTo>
                        <a:pt x="399824" y="1"/>
                      </a:lnTo>
                      <a:lnTo>
                        <a:pt x="390526" y="5492"/>
                      </a:lnTo>
                      <a:lnTo>
                        <a:pt x="3243" y="5492"/>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29" name="Freeform: Shape 628">
                  <a:extLst>
                    <a:ext uri="{FF2B5EF4-FFF2-40B4-BE49-F238E27FC236}">
                      <a16:creationId xmlns:a16="http://schemas.microsoft.com/office/drawing/2014/main" id="{79E70A6C-01D1-49FE-9AC5-57C601106278}"/>
                    </a:ext>
                  </a:extLst>
                </p:cNvPr>
                <p:cNvSpPr/>
                <p:nvPr/>
              </p:nvSpPr>
              <p:spPr>
                <a:xfrm rot="1833945">
                  <a:off x="3507177" y="4017074"/>
                  <a:ext cx="307921" cy="5492"/>
                </a:xfrm>
                <a:custGeom>
                  <a:avLst/>
                  <a:gdLst>
                    <a:gd name="connsiteX0" fmla="*/ 0 w 307921"/>
                    <a:gd name="connsiteY0" fmla="*/ 0 h 5492"/>
                    <a:gd name="connsiteX1" fmla="*/ 307921 w 307921"/>
                    <a:gd name="connsiteY1" fmla="*/ 0 h 5492"/>
                    <a:gd name="connsiteX2" fmla="*/ 298623 w 307921"/>
                    <a:gd name="connsiteY2" fmla="*/ 5492 h 5492"/>
                    <a:gd name="connsiteX3" fmla="*/ 3243 w 307921"/>
                    <a:gd name="connsiteY3" fmla="*/ 5492 h 5492"/>
                    <a:gd name="connsiteX4" fmla="*/ 0 w 307921"/>
                    <a:gd name="connsiteY4" fmla="*/ 0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21" h="5492">
                      <a:moveTo>
                        <a:pt x="0" y="0"/>
                      </a:moveTo>
                      <a:lnTo>
                        <a:pt x="307921" y="0"/>
                      </a:lnTo>
                      <a:lnTo>
                        <a:pt x="298623" y="5492"/>
                      </a:lnTo>
                      <a:lnTo>
                        <a:pt x="3243" y="5492"/>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30" name="Freeform: Shape 629">
                  <a:extLst>
                    <a:ext uri="{FF2B5EF4-FFF2-40B4-BE49-F238E27FC236}">
                      <a16:creationId xmlns:a16="http://schemas.microsoft.com/office/drawing/2014/main" id="{D891FBB0-0E76-459B-899B-A394C2B7D299}"/>
                    </a:ext>
                  </a:extLst>
                </p:cNvPr>
                <p:cNvSpPr/>
                <p:nvPr/>
              </p:nvSpPr>
              <p:spPr>
                <a:xfrm rot="1833945">
                  <a:off x="3513562" y="4040444"/>
                  <a:ext cx="216015" cy="5491"/>
                </a:xfrm>
                <a:custGeom>
                  <a:avLst/>
                  <a:gdLst>
                    <a:gd name="connsiteX0" fmla="*/ 0 w 216015"/>
                    <a:gd name="connsiteY0" fmla="*/ 0 h 5491"/>
                    <a:gd name="connsiteX1" fmla="*/ 216015 w 216015"/>
                    <a:gd name="connsiteY1" fmla="*/ 0 h 5491"/>
                    <a:gd name="connsiteX2" fmla="*/ 206717 w 216015"/>
                    <a:gd name="connsiteY2" fmla="*/ 5491 h 5491"/>
                    <a:gd name="connsiteX3" fmla="*/ 3243 w 216015"/>
                    <a:gd name="connsiteY3" fmla="*/ 5491 h 5491"/>
                    <a:gd name="connsiteX4" fmla="*/ 0 w 216015"/>
                    <a:gd name="connsiteY4" fmla="*/ 0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15" h="5491">
                      <a:moveTo>
                        <a:pt x="0" y="0"/>
                      </a:moveTo>
                      <a:lnTo>
                        <a:pt x="216015" y="0"/>
                      </a:lnTo>
                      <a:lnTo>
                        <a:pt x="206717" y="5491"/>
                      </a:lnTo>
                      <a:lnTo>
                        <a:pt x="3243" y="5491"/>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31" name="Freeform: Shape 630">
                  <a:extLst>
                    <a:ext uri="{FF2B5EF4-FFF2-40B4-BE49-F238E27FC236}">
                      <a16:creationId xmlns:a16="http://schemas.microsoft.com/office/drawing/2014/main" id="{84B8A528-7478-4786-8B84-0BAEA5B3797F}"/>
                    </a:ext>
                  </a:extLst>
                </p:cNvPr>
                <p:cNvSpPr/>
                <p:nvPr/>
              </p:nvSpPr>
              <p:spPr>
                <a:xfrm rot="1833945">
                  <a:off x="3519946" y="4063813"/>
                  <a:ext cx="124111" cy="5491"/>
                </a:xfrm>
                <a:custGeom>
                  <a:avLst/>
                  <a:gdLst>
                    <a:gd name="connsiteX0" fmla="*/ 0 w 124111"/>
                    <a:gd name="connsiteY0" fmla="*/ 0 h 5491"/>
                    <a:gd name="connsiteX1" fmla="*/ 124111 w 124111"/>
                    <a:gd name="connsiteY1" fmla="*/ 0 h 5491"/>
                    <a:gd name="connsiteX2" fmla="*/ 114813 w 124111"/>
                    <a:gd name="connsiteY2" fmla="*/ 5491 h 5491"/>
                    <a:gd name="connsiteX3" fmla="*/ 3243 w 124111"/>
                    <a:gd name="connsiteY3" fmla="*/ 5491 h 5491"/>
                    <a:gd name="connsiteX4" fmla="*/ 0 w 124111"/>
                    <a:gd name="connsiteY4" fmla="*/ 0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11" h="5491">
                      <a:moveTo>
                        <a:pt x="0" y="0"/>
                      </a:moveTo>
                      <a:lnTo>
                        <a:pt x="124111" y="0"/>
                      </a:lnTo>
                      <a:lnTo>
                        <a:pt x="114813" y="5491"/>
                      </a:lnTo>
                      <a:lnTo>
                        <a:pt x="3243" y="5491"/>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632" name="Freeform: Shape 631">
                  <a:extLst>
                    <a:ext uri="{FF2B5EF4-FFF2-40B4-BE49-F238E27FC236}">
                      <a16:creationId xmlns:a16="http://schemas.microsoft.com/office/drawing/2014/main" id="{66781349-5234-4167-8650-1C296ECAA3D2}"/>
                    </a:ext>
                  </a:extLst>
                </p:cNvPr>
                <p:cNvSpPr/>
                <p:nvPr/>
              </p:nvSpPr>
              <p:spPr>
                <a:xfrm rot="1833945">
                  <a:off x="3526331" y="4087181"/>
                  <a:ext cx="32204" cy="5491"/>
                </a:xfrm>
                <a:custGeom>
                  <a:avLst/>
                  <a:gdLst>
                    <a:gd name="connsiteX0" fmla="*/ 0 w 32204"/>
                    <a:gd name="connsiteY0" fmla="*/ 0 h 5491"/>
                    <a:gd name="connsiteX1" fmla="*/ 32204 w 32204"/>
                    <a:gd name="connsiteY1" fmla="*/ 0 h 5491"/>
                    <a:gd name="connsiteX2" fmla="*/ 22906 w 32204"/>
                    <a:gd name="connsiteY2" fmla="*/ 5491 h 5491"/>
                    <a:gd name="connsiteX3" fmla="*/ 3243 w 32204"/>
                    <a:gd name="connsiteY3" fmla="*/ 5491 h 5491"/>
                    <a:gd name="connsiteX4" fmla="*/ 0 w 32204"/>
                    <a:gd name="connsiteY4" fmla="*/ 0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4" h="5491">
                      <a:moveTo>
                        <a:pt x="0" y="0"/>
                      </a:moveTo>
                      <a:lnTo>
                        <a:pt x="32204" y="0"/>
                      </a:lnTo>
                      <a:lnTo>
                        <a:pt x="22906" y="5491"/>
                      </a:lnTo>
                      <a:lnTo>
                        <a:pt x="3243" y="5491"/>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sp>
            <p:nvSpPr>
              <p:cNvPr id="601" name="Oval 294">
                <a:extLst>
                  <a:ext uri="{FF2B5EF4-FFF2-40B4-BE49-F238E27FC236}">
                    <a16:creationId xmlns:a16="http://schemas.microsoft.com/office/drawing/2014/main" id="{EC0F1F40-6009-491D-B092-09D0705783E1}"/>
                  </a:ext>
                </a:extLst>
              </p:cNvPr>
              <p:cNvSpPr/>
              <p:nvPr/>
            </p:nvSpPr>
            <p:spPr>
              <a:xfrm>
                <a:off x="9849356" y="3707987"/>
                <a:ext cx="1552005" cy="1551998"/>
              </a:xfrm>
              <a:prstGeom prst="ellipse">
                <a:avLst/>
              </a:prstGeom>
              <a:solidFill>
                <a:schemeClr val="accent1">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602" name="Picture 601" descr="A picture containing tower, black, white, clock&#10;&#10;Description automatically generated">
                <a:extLst>
                  <a:ext uri="{FF2B5EF4-FFF2-40B4-BE49-F238E27FC236}">
                    <a16:creationId xmlns:a16="http://schemas.microsoft.com/office/drawing/2014/main" id="{27BFC49E-1369-4ACC-BFF0-7F57CC7FBA7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968690" y="3834787"/>
                <a:ext cx="1384414" cy="1423013"/>
              </a:xfrm>
              <a:prstGeom prst="rect">
                <a:avLst/>
              </a:prstGeom>
            </p:spPr>
          </p:pic>
          <p:grpSp>
            <p:nvGrpSpPr>
              <p:cNvPr id="603" name="Group 602">
                <a:extLst>
                  <a:ext uri="{FF2B5EF4-FFF2-40B4-BE49-F238E27FC236}">
                    <a16:creationId xmlns:a16="http://schemas.microsoft.com/office/drawing/2014/main" id="{6BCB3568-B801-4C50-9529-A1A8F2FAB6C3}"/>
                  </a:ext>
                </a:extLst>
              </p:cNvPr>
              <p:cNvGrpSpPr/>
              <p:nvPr/>
            </p:nvGrpSpPr>
            <p:grpSpPr>
              <a:xfrm>
                <a:off x="11425861" y="4653427"/>
                <a:ext cx="469712" cy="442001"/>
                <a:chOff x="11417488" y="4500476"/>
                <a:chExt cx="776502" cy="730692"/>
              </a:xfrm>
            </p:grpSpPr>
            <p:sp>
              <p:nvSpPr>
                <p:cNvPr id="604" name="Freeform 25">
                  <a:extLst>
                    <a:ext uri="{FF2B5EF4-FFF2-40B4-BE49-F238E27FC236}">
                      <a16:creationId xmlns:a16="http://schemas.microsoft.com/office/drawing/2014/main" id="{FA9BBC7E-72E0-4782-B601-3EF9116755E5}"/>
                    </a:ext>
                  </a:extLst>
                </p:cNvPr>
                <p:cNvSpPr>
                  <a:spLocks noEditPoints="1"/>
                </p:cNvSpPr>
                <p:nvPr/>
              </p:nvSpPr>
              <p:spPr bwMode="auto">
                <a:xfrm>
                  <a:off x="11480492" y="4910496"/>
                  <a:ext cx="325231" cy="320672"/>
                </a:xfrm>
                <a:custGeom>
                  <a:avLst/>
                  <a:gdLst>
                    <a:gd name="T0" fmla="*/ 72 w 88"/>
                    <a:gd name="T1" fmla="*/ 91 h 91"/>
                    <a:gd name="T2" fmla="*/ 15 w 88"/>
                    <a:gd name="T3" fmla="*/ 91 h 91"/>
                    <a:gd name="T4" fmla="*/ 0 w 88"/>
                    <a:gd name="T5" fmla="*/ 75 h 91"/>
                    <a:gd name="T6" fmla="*/ 0 w 88"/>
                    <a:gd name="T7" fmla="*/ 16 h 91"/>
                    <a:gd name="T8" fmla="*/ 15 w 88"/>
                    <a:gd name="T9" fmla="*/ 0 h 91"/>
                    <a:gd name="T10" fmla="*/ 72 w 88"/>
                    <a:gd name="T11" fmla="*/ 0 h 91"/>
                    <a:gd name="T12" fmla="*/ 88 w 88"/>
                    <a:gd name="T13" fmla="*/ 16 h 91"/>
                    <a:gd name="T14" fmla="*/ 88 w 88"/>
                    <a:gd name="T15" fmla="*/ 75 h 91"/>
                    <a:gd name="T16" fmla="*/ 72 w 88"/>
                    <a:gd name="T17" fmla="*/ 91 h 91"/>
                    <a:gd name="T18" fmla="*/ 15 w 88"/>
                    <a:gd name="T19" fmla="*/ 3 h 91"/>
                    <a:gd name="T20" fmla="*/ 3 w 88"/>
                    <a:gd name="T21" fmla="*/ 16 h 91"/>
                    <a:gd name="T22" fmla="*/ 3 w 88"/>
                    <a:gd name="T23" fmla="*/ 75 h 91"/>
                    <a:gd name="T24" fmla="*/ 15 w 88"/>
                    <a:gd name="T25" fmla="*/ 88 h 91"/>
                    <a:gd name="T26" fmla="*/ 72 w 88"/>
                    <a:gd name="T27" fmla="*/ 88 h 91"/>
                    <a:gd name="T28" fmla="*/ 85 w 88"/>
                    <a:gd name="T29" fmla="*/ 75 h 91"/>
                    <a:gd name="T30" fmla="*/ 85 w 88"/>
                    <a:gd name="T31" fmla="*/ 16 h 91"/>
                    <a:gd name="T32" fmla="*/ 72 w 88"/>
                    <a:gd name="T33" fmla="*/ 3 h 91"/>
                    <a:gd name="T34" fmla="*/ 15 w 88"/>
                    <a:gd name="T35" fmla="*/ 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91">
                      <a:moveTo>
                        <a:pt x="72" y="91"/>
                      </a:moveTo>
                      <a:cubicBezTo>
                        <a:pt x="15" y="91"/>
                        <a:pt x="15" y="91"/>
                        <a:pt x="15" y="91"/>
                      </a:cubicBezTo>
                      <a:cubicBezTo>
                        <a:pt x="7" y="91"/>
                        <a:pt x="0" y="84"/>
                        <a:pt x="0" y="75"/>
                      </a:cubicBezTo>
                      <a:cubicBezTo>
                        <a:pt x="0" y="16"/>
                        <a:pt x="0" y="16"/>
                        <a:pt x="0" y="16"/>
                      </a:cubicBezTo>
                      <a:cubicBezTo>
                        <a:pt x="0" y="7"/>
                        <a:pt x="7" y="0"/>
                        <a:pt x="15" y="0"/>
                      </a:cubicBezTo>
                      <a:cubicBezTo>
                        <a:pt x="72" y="0"/>
                        <a:pt x="72" y="0"/>
                        <a:pt x="72" y="0"/>
                      </a:cubicBezTo>
                      <a:cubicBezTo>
                        <a:pt x="81" y="0"/>
                        <a:pt x="88" y="7"/>
                        <a:pt x="88" y="16"/>
                      </a:cubicBezTo>
                      <a:cubicBezTo>
                        <a:pt x="88" y="75"/>
                        <a:pt x="88" y="75"/>
                        <a:pt x="88" y="75"/>
                      </a:cubicBezTo>
                      <a:cubicBezTo>
                        <a:pt x="88" y="84"/>
                        <a:pt x="81" y="91"/>
                        <a:pt x="72" y="91"/>
                      </a:cubicBezTo>
                      <a:close/>
                      <a:moveTo>
                        <a:pt x="15" y="3"/>
                      </a:moveTo>
                      <a:cubicBezTo>
                        <a:pt x="8" y="3"/>
                        <a:pt x="3" y="9"/>
                        <a:pt x="3" y="16"/>
                      </a:cubicBezTo>
                      <a:cubicBezTo>
                        <a:pt x="3" y="75"/>
                        <a:pt x="3" y="75"/>
                        <a:pt x="3" y="75"/>
                      </a:cubicBezTo>
                      <a:cubicBezTo>
                        <a:pt x="3" y="83"/>
                        <a:pt x="8" y="88"/>
                        <a:pt x="15" y="88"/>
                      </a:cubicBezTo>
                      <a:cubicBezTo>
                        <a:pt x="72" y="88"/>
                        <a:pt x="72" y="88"/>
                        <a:pt x="72" y="88"/>
                      </a:cubicBezTo>
                      <a:cubicBezTo>
                        <a:pt x="79" y="88"/>
                        <a:pt x="85" y="83"/>
                        <a:pt x="85" y="75"/>
                      </a:cubicBezTo>
                      <a:cubicBezTo>
                        <a:pt x="85" y="16"/>
                        <a:pt x="85" y="16"/>
                        <a:pt x="85" y="16"/>
                      </a:cubicBezTo>
                      <a:cubicBezTo>
                        <a:pt x="85" y="9"/>
                        <a:pt x="79" y="3"/>
                        <a:pt x="72" y="3"/>
                      </a:cubicBezTo>
                      <a:lnTo>
                        <a:pt x="15" y="3"/>
                      </a:lnTo>
                      <a:close/>
                    </a:path>
                  </a:pathLst>
                </a:custGeom>
                <a:solidFill>
                  <a:srgbClr val="0D274D"/>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ＭＳ Ｐゴシック" charset="0"/>
                  </a:endParaRPr>
                </a:p>
              </p:txBody>
            </p:sp>
            <p:sp>
              <p:nvSpPr>
                <p:cNvPr id="605" name="Freeform 17">
                  <a:extLst>
                    <a:ext uri="{FF2B5EF4-FFF2-40B4-BE49-F238E27FC236}">
                      <a16:creationId xmlns:a16="http://schemas.microsoft.com/office/drawing/2014/main" id="{393FC44D-9C83-4EA0-87EC-514FDF4AA0ED}"/>
                    </a:ext>
                  </a:extLst>
                </p:cNvPr>
                <p:cNvSpPr>
                  <a:spLocks/>
                </p:cNvSpPr>
                <p:nvPr/>
              </p:nvSpPr>
              <p:spPr bwMode="auto">
                <a:xfrm>
                  <a:off x="11750863" y="4837469"/>
                  <a:ext cx="443127" cy="233363"/>
                </a:xfrm>
                <a:custGeom>
                  <a:avLst/>
                  <a:gdLst>
                    <a:gd name="T0" fmla="*/ 61 w 122"/>
                    <a:gd name="T1" fmla="*/ 0 h 62"/>
                    <a:gd name="T2" fmla="*/ 53 w 122"/>
                    <a:gd name="T3" fmla="*/ 3 h 62"/>
                    <a:gd name="T4" fmla="*/ 4 w 122"/>
                    <a:gd name="T5" fmla="*/ 54 h 62"/>
                    <a:gd name="T6" fmla="*/ 8 w 122"/>
                    <a:gd name="T7" fmla="*/ 62 h 62"/>
                    <a:gd name="T8" fmla="*/ 114 w 122"/>
                    <a:gd name="T9" fmla="*/ 62 h 62"/>
                    <a:gd name="T10" fmla="*/ 118 w 122"/>
                    <a:gd name="T11" fmla="*/ 54 h 62"/>
                    <a:gd name="T12" fmla="*/ 69 w 122"/>
                    <a:gd name="T13" fmla="*/ 3 h 62"/>
                    <a:gd name="T14" fmla="*/ 61 w 122"/>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62">
                      <a:moveTo>
                        <a:pt x="61" y="0"/>
                      </a:moveTo>
                      <a:cubicBezTo>
                        <a:pt x="58" y="0"/>
                        <a:pt x="55" y="1"/>
                        <a:pt x="53" y="3"/>
                      </a:cubicBezTo>
                      <a:cubicBezTo>
                        <a:pt x="4" y="54"/>
                        <a:pt x="4" y="54"/>
                        <a:pt x="4" y="54"/>
                      </a:cubicBezTo>
                      <a:cubicBezTo>
                        <a:pt x="0" y="59"/>
                        <a:pt x="1" y="62"/>
                        <a:pt x="8" y="62"/>
                      </a:cubicBezTo>
                      <a:cubicBezTo>
                        <a:pt x="114" y="62"/>
                        <a:pt x="114" y="62"/>
                        <a:pt x="114" y="62"/>
                      </a:cubicBezTo>
                      <a:cubicBezTo>
                        <a:pt x="121" y="62"/>
                        <a:pt x="122" y="59"/>
                        <a:pt x="118" y="54"/>
                      </a:cubicBezTo>
                      <a:cubicBezTo>
                        <a:pt x="69" y="3"/>
                        <a:pt x="69" y="3"/>
                        <a:pt x="69" y="3"/>
                      </a:cubicBezTo>
                      <a:cubicBezTo>
                        <a:pt x="67" y="1"/>
                        <a:pt x="64" y="0"/>
                        <a:pt x="61" y="0"/>
                      </a:cubicBezTo>
                    </a:path>
                  </a:pathLst>
                </a:custGeom>
                <a:solidFill>
                  <a:srgbClr val="0D274D"/>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ＭＳ Ｐゴシック" charset="0"/>
                  </a:endParaRPr>
                </a:p>
              </p:txBody>
            </p:sp>
            <p:sp>
              <p:nvSpPr>
                <p:cNvPr id="606" name="Freeform 17">
                  <a:extLst>
                    <a:ext uri="{FF2B5EF4-FFF2-40B4-BE49-F238E27FC236}">
                      <a16:creationId xmlns:a16="http://schemas.microsoft.com/office/drawing/2014/main" id="{2801589D-2A65-446F-B1EE-03F6F38303B1}"/>
                    </a:ext>
                  </a:extLst>
                </p:cNvPr>
                <p:cNvSpPr>
                  <a:spLocks/>
                </p:cNvSpPr>
                <p:nvPr/>
              </p:nvSpPr>
              <p:spPr bwMode="auto">
                <a:xfrm>
                  <a:off x="11417488" y="4500476"/>
                  <a:ext cx="443127" cy="233363"/>
                </a:xfrm>
                <a:custGeom>
                  <a:avLst/>
                  <a:gdLst>
                    <a:gd name="T0" fmla="*/ 61 w 122"/>
                    <a:gd name="T1" fmla="*/ 0 h 62"/>
                    <a:gd name="T2" fmla="*/ 53 w 122"/>
                    <a:gd name="T3" fmla="*/ 3 h 62"/>
                    <a:gd name="T4" fmla="*/ 4 w 122"/>
                    <a:gd name="T5" fmla="*/ 54 h 62"/>
                    <a:gd name="T6" fmla="*/ 8 w 122"/>
                    <a:gd name="T7" fmla="*/ 62 h 62"/>
                    <a:gd name="T8" fmla="*/ 114 w 122"/>
                    <a:gd name="T9" fmla="*/ 62 h 62"/>
                    <a:gd name="T10" fmla="*/ 118 w 122"/>
                    <a:gd name="T11" fmla="*/ 54 h 62"/>
                    <a:gd name="T12" fmla="*/ 69 w 122"/>
                    <a:gd name="T13" fmla="*/ 3 h 62"/>
                    <a:gd name="T14" fmla="*/ 61 w 122"/>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62">
                      <a:moveTo>
                        <a:pt x="61" y="0"/>
                      </a:moveTo>
                      <a:cubicBezTo>
                        <a:pt x="58" y="0"/>
                        <a:pt x="55" y="1"/>
                        <a:pt x="53" y="3"/>
                      </a:cubicBezTo>
                      <a:cubicBezTo>
                        <a:pt x="4" y="54"/>
                        <a:pt x="4" y="54"/>
                        <a:pt x="4" y="54"/>
                      </a:cubicBezTo>
                      <a:cubicBezTo>
                        <a:pt x="0" y="59"/>
                        <a:pt x="1" y="62"/>
                        <a:pt x="8" y="62"/>
                      </a:cubicBezTo>
                      <a:cubicBezTo>
                        <a:pt x="114" y="62"/>
                        <a:pt x="114" y="62"/>
                        <a:pt x="114" y="62"/>
                      </a:cubicBezTo>
                      <a:cubicBezTo>
                        <a:pt x="121" y="62"/>
                        <a:pt x="122" y="59"/>
                        <a:pt x="118" y="54"/>
                      </a:cubicBezTo>
                      <a:cubicBezTo>
                        <a:pt x="69" y="3"/>
                        <a:pt x="69" y="3"/>
                        <a:pt x="69" y="3"/>
                      </a:cubicBezTo>
                      <a:cubicBezTo>
                        <a:pt x="67" y="1"/>
                        <a:pt x="64" y="0"/>
                        <a:pt x="61" y="0"/>
                      </a:cubicBezTo>
                    </a:path>
                  </a:pathLst>
                </a:custGeom>
                <a:solidFill>
                  <a:srgbClr val="00BCEB"/>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ＭＳ Ｐゴシック" charset="0"/>
                  </a:endParaRPr>
                </a:p>
              </p:txBody>
            </p:sp>
          </p:grpSp>
        </p:grpSp>
      </p:grpSp>
      <p:grpSp>
        <p:nvGrpSpPr>
          <p:cNvPr id="633" name="Group 632">
            <a:extLst>
              <a:ext uri="{FF2B5EF4-FFF2-40B4-BE49-F238E27FC236}">
                <a16:creationId xmlns:a16="http://schemas.microsoft.com/office/drawing/2014/main" id="{1706E26B-4C91-42C9-9906-8C1D9173DFFC}"/>
              </a:ext>
            </a:extLst>
          </p:cNvPr>
          <p:cNvGrpSpPr/>
          <p:nvPr/>
        </p:nvGrpSpPr>
        <p:grpSpPr>
          <a:xfrm>
            <a:off x="1466969" y="4228778"/>
            <a:ext cx="1033271" cy="1033271"/>
            <a:chOff x="7921487" y="2025546"/>
            <a:chExt cx="2209800" cy="2209800"/>
          </a:xfrm>
        </p:grpSpPr>
        <p:sp>
          <p:nvSpPr>
            <p:cNvPr id="634" name="Oval 633">
              <a:extLst>
                <a:ext uri="{FF2B5EF4-FFF2-40B4-BE49-F238E27FC236}">
                  <a16:creationId xmlns:a16="http://schemas.microsoft.com/office/drawing/2014/main" id="{B09739D0-6EBA-47E9-8E87-85CC82B2627E}"/>
                </a:ext>
              </a:extLst>
            </p:cNvPr>
            <p:cNvSpPr/>
            <p:nvPr/>
          </p:nvSpPr>
          <p:spPr>
            <a:xfrm>
              <a:off x="7921487" y="2025546"/>
              <a:ext cx="2209800" cy="2209800"/>
            </a:xfrm>
            <a:prstGeom prst="ellipse">
              <a:avLst/>
            </a:prstGeom>
            <a:solidFill>
              <a:schemeClr val="tx2">
                <a:lumMod val="75000"/>
                <a:alpha val="7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35" name="Group 634">
              <a:extLst>
                <a:ext uri="{FF2B5EF4-FFF2-40B4-BE49-F238E27FC236}">
                  <a16:creationId xmlns:a16="http://schemas.microsoft.com/office/drawing/2014/main" id="{19569336-AEC3-4E83-BEC8-9D55F301EA47}"/>
                </a:ext>
              </a:extLst>
            </p:cNvPr>
            <p:cNvGrpSpPr/>
            <p:nvPr/>
          </p:nvGrpSpPr>
          <p:grpSpPr>
            <a:xfrm>
              <a:off x="8553963" y="2584050"/>
              <a:ext cx="944848" cy="1092792"/>
              <a:chOff x="8473444" y="-2023109"/>
              <a:chExt cx="1070612" cy="1238248"/>
            </a:xfrm>
            <a:solidFill>
              <a:schemeClr val="bg2"/>
            </a:solidFill>
          </p:grpSpPr>
          <p:sp>
            <p:nvSpPr>
              <p:cNvPr id="636" name="Freeform: Shape 635">
                <a:extLst>
                  <a:ext uri="{FF2B5EF4-FFF2-40B4-BE49-F238E27FC236}">
                    <a16:creationId xmlns:a16="http://schemas.microsoft.com/office/drawing/2014/main" id="{9109A87D-28B7-4754-9C2C-2A2D4FC2513C}"/>
                  </a:ext>
                </a:extLst>
              </p:cNvPr>
              <p:cNvSpPr/>
              <p:nvPr/>
            </p:nvSpPr>
            <p:spPr>
              <a:xfrm>
                <a:off x="8473444" y="-2023109"/>
                <a:ext cx="1070612" cy="1238248"/>
              </a:xfrm>
              <a:custGeom>
                <a:avLst/>
                <a:gdLst>
                  <a:gd name="connsiteX0" fmla="*/ 533401 w 1070612"/>
                  <a:gd name="connsiteY0" fmla="*/ 1238248 h 1238248"/>
                  <a:gd name="connsiteX1" fmla="*/ 0 w 1070612"/>
                  <a:gd name="connsiteY1" fmla="*/ 929639 h 1238248"/>
                  <a:gd name="connsiteX2" fmla="*/ 0 w 1070612"/>
                  <a:gd name="connsiteY2" fmla="*/ 308610 h 1238248"/>
                  <a:gd name="connsiteX3" fmla="*/ 533401 w 1070612"/>
                  <a:gd name="connsiteY3" fmla="*/ 0 h 1238248"/>
                  <a:gd name="connsiteX4" fmla="*/ 1070612 w 1070612"/>
                  <a:gd name="connsiteY4" fmla="*/ 308610 h 1238248"/>
                  <a:gd name="connsiteX5" fmla="*/ 1070612 w 1070612"/>
                  <a:gd name="connsiteY5" fmla="*/ 925829 h 1238248"/>
                  <a:gd name="connsiteX6" fmla="*/ 533401 w 1070612"/>
                  <a:gd name="connsiteY6" fmla="*/ 1238248 h 1238248"/>
                  <a:gd name="connsiteX7" fmla="*/ 34290 w 1070612"/>
                  <a:gd name="connsiteY7" fmla="*/ 906779 h 1238248"/>
                  <a:gd name="connsiteX8" fmla="*/ 529591 w 1070612"/>
                  <a:gd name="connsiteY8" fmla="*/ 1192528 h 1238248"/>
                  <a:gd name="connsiteX9" fmla="*/ 1028702 w 1070612"/>
                  <a:gd name="connsiteY9" fmla="*/ 906779 h 1238248"/>
                  <a:gd name="connsiteX10" fmla="*/ 1028702 w 1070612"/>
                  <a:gd name="connsiteY10" fmla="*/ 331470 h 1238248"/>
                  <a:gd name="connsiteX11" fmla="*/ 529591 w 1070612"/>
                  <a:gd name="connsiteY11" fmla="*/ 45720 h 1238248"/>
                  <a:gd name="connsiteX12" fmla="*/ 34290 w 1070612"/>
                  <a:gd name="connsiteY12" fmla="*/ 331470 h 1238248"/>
                  <a:gd name="connsiteX13" fmla="*/ 34290 w 1070612"/>
                  <a:gd name="connsiteY13" fmla="*/ 906779 h 1238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0612" h="1238248">
                    <a:moveTo>
                      <a:pt x="533401" y="1238248"/>
                    </a:moveTo>
                    <a:lnTo>
                      <a:pt x="0" y="929639"/>
                    </a:lnTo>
                    <a:lnTo>
                      <a:pt x="0" y="308610"/>
                    </a:lnTo>
                    <a:lnTo>
                      <a:pt x="533401" y="0"/>
                    </a:lnTo>
                    <a:lnTo>
                      <a:pt x="1070612" y="308610"/>
                    </a:lnTo>
                    <a:lnTo>
                      <a:pt x="1070612" y="925829"/>
                    </a:lnTo>
                    <a:lnTo>
                      <a:pt x="533401" y="1238248"/>
                    </a:lnTo>
                    <a:close/>
                    <a:moveTo>
                      <a:pt x="34290" y="906779"/>
                    </a:moveTo>
                    <a:lnTo>
                      <a:pt x="529591" y="1192528"/>
                    </a:lnTo>
                    <a:lnTo>
                      <a:pt x="1028702" y="906779"/>
                    </a:lnTo>
                    <a:lnTo>
                      <a:pt x="1028702" y="331470"/>
                    </a:lnTo>
                    <a:lnTo>
                      <a:pt x="529591" y="45720"/>
                    </a:lnTo>
                    <a:lnTo>
                      <a:pt x="34290" y="331470"/>
                    </a:lnTo>
                    <a:lnTo>
                      <a:pt x="34290" y="906779"/>
                    </a:lnTo>
                    <a:close/>
                  </a:path>
                </a:pathLst>
              </a:custGeom>
              <a:grpFill/>
              <a:ln w="38100" cap="flat">
                <a:noFill/>
                <a:prstDash val="solid"/>
                <a:miter/>
              </a:ln>
            </p:spPr>
            <p:txBody>
              <a:bodyPr rtlCol="0" anchor="ctr"/>
              <a:lstStyle/>
              <a:p>
                <a:endParaRPr lang="en-IN" dirty="0"/>
              </a:p>
            </p:txBody>
          </p:sp>
          <p:sp>
            <p:nvSpPr>
              <p:cNvPr id="637" name="Freeform: Shape 636">
                <a:extLst>
                  <a:ext uri="{FF2B5EF4-FFF2-40B4-BE49-F238E27FC236}">
                    <a16:creationId xmlns:a16="http://schemas.microsoft.com/office/drawing/2014/main" id="{CE8B4C6D-D6FB-49C8-A911-D44F4AB6829E}"/>
                  </a:ext>
                </a:extLst>
              </p:cNvPr>
              <p:cNvSpPr/>
              <p:nvPr/>
            </p:nvSpPr>
            <p:spPr>
              <a:xfrm>
                <a:off x="8763005" y="-1645919"/>
                <a:ext cx="487681" cy="487679"/>
              </a:xfrm>
              <a:custGeom>
                <a:avLst/>
                <a:gdLst>
                  <a:gd name="connsiteX0" fmla="*/ 243840 w 487681"/>
                  <a:gd name="connsiteY0" fmla="*/ 487679 h 487679"/>
                  <a:gd name="connsiteX1" fmla="*/ 0 w 487681"/>
                  <a:gd name="connsiteY1" fmla="*/ 243840 h 487679"/>
                  <a:gd name="connsiteX2" fmla="*/ 243840 w 487681"/>
                  <a:gd name="connsiteY2" fmla="*/ 0 h 487679"/>
                  <a:gd name="connsiteX3" fmla="*/ 487681 w 487681"/>
                  <a:gd name="connsiteY3" fmla="*/ 243840 h 487679"/>
                  <a:gd name="connsiteX4" fmla="*/ 243840 w 487681"/>
                  <a:gd name="connsiteY4" fmla="*/ 487679 h 487679"/>
                  <a:gd name="connsiteX5" fmla="*/ 243840 w 487681"/>
                  <a:gd name="connsiteY5" fmla="*/ 38100 h 487679"/>
                  <a:gd name="connsiteX6" fmla="*/ 38100 w 487681"/>
                  <a:gd name="connsiteY6" fmla="*/ 243840 h 487679"/>
                  <a:gd name="connsiteX7" fmla="*/ 243840 w 487681"/>
                  <a:gd name="connsiteY7" fmla="*/ 449579 h 487679"/>
                  <a:gd name="connsiteX8" fmla="*/ 449581 w 487681"/>
                  <a:gd name="connsiteY8" fmla="*/ 243840 h 487679"/>
                  <a:gd name="connsiteX9" fmla="*/ 243840 w 487681"/>
                  <a:gd name="connsiteY9" fmla="*/ 38100 h 48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681" h="487679">
                    <a:moveTo>
                      <a:pt x="243840" y="487679"/>
                    </a:moveTo>
                    <a:cubicBezTo>
                      <a:pt x="110490" y="487679"/>
                      <a:pt x="0" y="377189"/>
                      <a:pt x="0" y="243840"/>
                    </a:cubicBezTo>
                    <a:cubicBezTo>
                      <a:pt x="0" y="110490"/>
                      <a:pt x="110490" y="0"/>
                      <a:pt x="243840" y="0"/>
                    </a:cubicBezTo>
                    <a:cubicBezTo>
                      <a:pt x="377191" y="0"/>
                      <a:pt x="487681" y="110490"/>
                      <a:pt x="487681" y="243840"/>
                    </a:cubicBezTo>
                    <a:cubicBezTo>
                      <a:pt x="487681" y="377189"/>
                      <a:pt x="377191" y="487679"/>
                      <a:pt x="243840" y="487679"/>
                    </a:cubicBezTo>
                    <a:close/>
                    <a:moveTo>
                      <a:pt x="243840" y="38100"/>
                    </a:moveTo>
                    <a:cubicBezTo>
                      <a:pt x="129540" y="38100"/>
                      <a:pt x="38100" y="129540"/>
                      <a:pt x="38100" y="243840"/>
                    </a:cubicBezTo>
                    <a:cubicBezTo>
                      <a:pt x="38100" y="358139"/>
                      <a:pt x="129540" y="449579"/>
                      <a:pt x="243840" y="449579"/>
                    </a:cubicBezTo>
                    <a:cubicBezTo>
                      <a:pt x="358141" y="449579"/>
                      <a:pt x="449581" y="358139"/>
                      <a:pt x="449581" y="243840"/>
                    </a:cubicBezTo>
                    <a:cubicBezTo>
                      <a:pt x="449581" y="129540"/>
                      <a:pt x="358141" y="38100"/>
                      <a:pt x="243840" y="38100"/>
                    </a:cubicBezTo>
                    <a:close/>
                  </a:path>
                </a:pathLst>
              </a:custGeom>
              <a:grpFill/>
              <a:ln w="38100" cap="flat">
                <a:noFill/>
                <a:prstDash val="solid"/>
                <a:miter/>
              </a:ln>
            </p:spPr>
            <p:txBody>
              <a:bodyPr rtlCol="0" anchor="ctr"/>
              <a:lstStyle/>
              <a:p>
                <a:endParaRPr lang="en-IN" dirty="0"/>
              </a:p>
            </p:txBody>
          </p:sp>
        </p:grpSp>
      </p:grpSp>
      <p:sp>
        <p:nvSpPr>
          <p:cNvPr id="647" name="Rectangle 646">
            <a:extLst>
              <a:ext uri="{FF2B5EF4-FFF2-40B4-BE49-F238E27FC236}">
                <a16:creationId xmlns:a16="http://schemas.microsoft.com/office/drawing/2014/main" id="{7C4137AB-657A-4AAB-9B34-79DC324DBCC3}"/>
              </a:ext>
            </a:extLst>
          </p:cNvPr>
          <p:cNvSpPr/>
          <p:nvPr/>
        </p:nvSpPr>
        <p:spPr>
          <a:xfrm>
            <a:off x="3124881" y="1491247"/>
            <a:ext cx="1067254" cy="215444"/>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Duo</a:t>
            </a:r>
          </a:p>
        </p:txBody>
      </p:sp>
      <p:grpSp>
        <p:nvGrpSpPr>
          <p:cNvPr id="649" name="Group 648">
            <a:extLst>
              <a:ext uri="{FF2B5EF4-FFF2-40B4-BE49-F238E27FC236}">
                <a16:creationId xmlns:a16="http://schemas.microsoft.com/office/drawing/2014/main" id="{379D6A8E-7471-48A2-B2D2-DC146AD812DC}"/>
              </a:ext>
            </a:extLst>
          </p:cNvPr>
          <p:cNvGrpSpPr/>
          <p:nvPr/>
        </p:nvGrpSpPr>
        <p:grpSpPr>
          <a:xfrm>
            <a:off x="3148224" y="4469302"/>
            <a:ext cx="1717754" cy="560762"/>
            <a:chOff x="3148224" y="4469302"/>
            <a:chExt cx="1717754" cy="560762"/>
          </a:xfrm>
        </p:grpSpPr>
        <p:grpSp>
          <p:nvGrpSpPr>
            <p:cNvPr id="650" name="Group 649">
              <a:extLst>
                <a:ext uri="{FF2B5EF4-FFF2-40B4-BE49-F238E27FC236}">
                  <a16:creationId xmlns:a16="http://schemas.microsoft.com/office/drawing/2014/main" id="{0E8A5646-AA8D-4AAE-9E2F-91BB762055D2}"/>
                </a:ext>
              </a:extLst>
            </p:cNvPr>
            <p:cNvGrpSpPr/>
            <p:nvPr/>
          </p:nvGrpSpPr>
          <p:grpSpPr>
            <a:xfrm>
              <a:off x="3148224" y="4469302"/>
              <a:ext cx="1361534" cy="560762"/>
              <a:chOff x="3168702" y="4547644"/>
              <a:chExt cx="1647481" cy="407782"/>
            </a:xfrm>
          </p:grpSpPr>
          <p:sp>
            <p:nvSpPr>
              <p:cNvPr id="652" name="Freeform: Shape 651">
                <a:extLst>
                  <a:ext uri="{FF2B5EF4-FFF2-40B4-BE49-F238E27FC236}">
                    <a16:creationId xmlns:a16="http://schemas.microsoft.com/office/drawing/2014/main" id="{C1294024-C130-415A-ACC4-8B43F85DC8D1}"/>
                  </a:ext>
                </a:extLst>
              </p:cNvPr>
              <p:cNvSpPr/>
              <p:nvPr/>
            </p:nvSpPr>
            <p:spPr>
              <a:xfrm>
                <a:off x="3168702" y="4547644"/>
                <a:ext cx="309812"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69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1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69" y="210150"/>
                    </a:lnTo>
                    <a:lnTo>
                      <a:pt x="3020" y="12135"/>
                    </a:lnTo>
                    <a:cubicBezTo>
                      <a:pt x="-37" y="10186"/>
                      <a:pt x="-932" y="6076"/>
                      <a:pt x="1070" y="3020"/>
                    </a:cubicBezTo>
                    <a:cubicBezTo>
                      <a:pt x="3073" y="-36"/>
                      <a:pt x="7130" y="-932"/>
                      <a:pt x="10186" y="1070"/>
                    </a:cubicBezTo>
                    <a:lnTo>
                      <a:pt x="325913" y="204459"/>
                    </a:lnTo>
                    <a:cubicBezTo>
                      <a:pt x="327758" y="205671"/>
                      <a:pt x="328917" y="207673"/>
                      <a:pt x="328917" y="209886"/>
                    </a:cubicBezTo>
                    <a:cubicBezTo>
                      <a:pt x="328969" y="212100"/>
                      <a:pt x="327863" y="214155"/>
                      <a:pt x="326071" y="215419"/>
                    </a:cubicBezTo>
                    <a:lnTo>
                      <a:pt x="10344" y="431770"/>
                    </a:lnTo>
                    <a:cubicBezTo>
                      <a:pt x="9184" y="432561"/>
                      <a:pt x="7920"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653" name="Freeform: Shape 652">
                <a:extLst>
                  <a:ext uri="{FF2B5EF4-FFF2-40B4-BE49-F238E27FC236}">
                    <a16:creationId xmlns:a16="http://schemas.microsoft.com/office/drawing/2014/main" id="{939EBDAD-367C-439C-AC4A-F9A53CB279CD}"/>
                  </a:ext>
                </a:extLst>
              </p:cNvPr>
              <p:cNvSpPr/>
              <p:nvPr/>
            </p:nvSpPr>
            <p:spPr>
              <a:xfrm>
                <a:off x="3436807" y="4547644"/>
                <a:ext cx="309812" cy="407782"/>
              </a:xfrm>
              <a:custGeom>
                <a:avLst/>
                <a:gdLst>
                  <a:gd name="connsiteX0" fmla="*/ 6603 w 328918"/>
                  <a:gd name="connsiteY0" fmla="*/ 432930 h 432929"/>
                  <a:gd name="connsiteX1" fmla="*/ 1175 w 328918"/>
                  <a:gd name="connsiteY1" fmla="*/ 430084 h 432929"/>
                  <a:gd name="connsiteX2" fmla="*/ 2862 w 328918"/>
                  <a:gd name="connsiteY2" fmla="*/ 420916 h 432929"/>
                  <a:gd name="connsiteX3" fmla="*/ 310369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1 w 328918"/>
                  <a:gd name="connsiteY9" fmla="*/ 215419 h 432929"/>
                  <a:gd name="connsiteX10" fmla="*/ 10343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5" y="430084"/>
                    </a:cubicBezTo>
                    <a:cubicBezTo>
                      <a:pt x="-879" y="427081"/>
                      <a:pt x="-142" y="422971"/>
                      <a:pt x="2862" y="420916"/>
                    </a:cubicBezTo>
                    <a:lnTo>
                      <a:pt x="310369" y="210150"/>
                    </a:lnTo>
                    <a:lnTo>
                      <a:pt x="3020" y="12135"/>
                    </a:lnTo>
                    <a:cubicBezTo>
                      <a:pt x="-37" y="10186"/>
                      <a:pt x="-932" y="6076"/>
                      <a:pt x="1070" y="3020"/>
                    </a:cubicBezTo>
                    <a:cubicBezTo>
                      <a:pt x="3073" y="-36"/>
                      <a:pt x="7129" y="-932"/>
                      <a:pt x="10186" y="1070"/>
                    </a:cubicBezTo>
                    <a:lnTo>
                      <a:pt x="325913" y="204459"/>
                    </a:lnTo>
                    <a:cubicBezTo>
                      <a:pt x="327758" y="205671"/>
                      <a:pt x="328917" y="207673"/>
                      <a:pt x="328917" y="209886"/>
                    </a:cubicBezTo>
                    <a:cubicBezTo>
                      <a:pt x="328969" y="212100"/>
                      <a:pt x="327862" y="214155"/>
                      <a:pt x="326071" y="215419"/>
                    </a:cubicBezTo>
                    <a:lnTo>
                      <a:pt x="10343" y="431770"/>
                    </a:lnTo>
                    <a:cubicBezTo>
                      <a:pt x="9184" y="432561"/>
                      <a:pt x="7867"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654" name="Freeform: Shape 653">
                <a:extLst>
                  <a:ext uri="{FF2B5EF4-FFF2-40B4-BE49-F238E27FC236}">
                    <a16:creationId xmlns:a16="http://schemas.microsoft.com/office/drawing/2014/main" id="{23733830-1F99-4222-99DD-185D48AA95DB}"/>
                  </a:ext>
                </a:extLst>
              </p:cNvPr>
              <p:cNvSpPr/>
              <p:nvPr/>
            </p:nvSpPr>
            <p:spPr>
              <a:xfrm>
                <a:off x="3704913" y="4547644"/>
                <a:ext cx="309812"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70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2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70" y="210150"/>
                    </a:lnTo>
                    <a:lnTo>
                      <a:pt x="3020" y="12135"/>
                    </a:lnTo>
                    <a:cubicBezTo>
                      <a:pt x="-36" y="10186"/>
                      <a:pt x="-932" y="6076"/>
                      <a:pt x="1070" y="3020"/>
                    </a:cubicBezTo>
                    <a:cubicBezTo>
                      <a:pt x="3072" y="-36"/>
                      <a:pt x="7130" y="-932"/>
                      <a:pt x="10186" y="1070"/>
                    </a:cubicBezTo>
                    <a:lnTo>
                      <a:pt x="325913" y="204459"/>
                    </a:lnTo>
                    <a:cubicBezTo>
                      <a:pt x="327757" y="205671"/>
                      <a:pt x="328917" y="207673"/>
                      <a:pt x="328917" y="209886"/>
                    </a:cubicBezTo>
                    <a:cubicBezTo>
                      <a:pt x="328970" y="212100"/>
                      <a:pt x="327863" y="214155"/>
                      <a:pt x="326072" y="215419"/>
                    </a:cubicBezTo>
                    <a:lnTo>
                      <a:pt x="10344" y="431770"/>
                    </a:lnTo>
                    <a:cubicBezTo>
                      <a:pt x="9185" y="432561"/>
                      <a:pt x="7868"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655" name="Freeform: Shape 654">
                <a:extLst>
                  <a:ext uri="{FF2B5EF4-FFF2-40B4-BE49-F238E27FC236}">
                    <a16:creationId xmlns:a16="http://schemas.microsoft.com/office/drawing/2014/main" id="{93C78263-012C-4182-BF7A-EB5144A2983C}"/>
                  </a:ext>
                </a:extLst>
              </p:cNvPr>
              <p:cNvSpPr/>
              <p:nvPr/>
            </p:nvSpPr>
            <p:spPr>
              <a:xfrm>
                <a:off x="3972969" y="4547644"/>
                <a:ext cx="309812"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70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2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70" y="210150"/>
                    </a:lnTo>
                    <a:lnTo>
                      <a:pt x="3020" y="12135"/>
                    </a:lnTo>
                    <a:cubicBezTo>
                      <a:pt x="-36" y="10186"/>
                      <a:pt x="-932" y="6076"/>
                      <a:pt x="1070" y="3020"/>
                    </a:cubicBezTo>
                    <a:cubicBezTo>
                      <a:pt x="3072" y="-36"/>
                      <a:pt x="7130" y="-932"/>
                      <a:pt x="10186" y="1070"/>
                    </a:cubicBezTo>
                    <a:lnTo>
                      <a:pt x="325913" y="204459"/>
                    </a:lnTo>
                    <a:cubicBezTo>
                      <a:pt x="327757" y="205671"/>
                      <a:pt x="328917" y="207673"/>
                      <a:pt x="328917" y="209886"/>
                    </a:cubicBezTo>
                    <a:cubicBezTo>
                      <a:pt x="328969" y="212100"/>
                      <a:pt x="327863" y="214155"/>
                      <a:pt x="326072" y="215419"/>
                    </a:cubicBezTo>
                    <a:lnTo>
                      <a:pt x="10344" y="431770"/>
                    </a:lnTo>
                    <a:cubicBezTo>
                      <a:pt x="9185" y="432561"/>
                      <a:pt x="7920"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656" name="Freeform: Shape 655">
                <a:extLst>
                  <a:ext uri="{FF2B5EF4-FFF2-40B4-BE49-F238E27FC236}">
                    <a16:creationId xmlns:a16="http://schemas.microsoft.com/office/drawing/2014/main" id="{52207E51-A7B2-4D98-A2EC-1BE500CCEB87}"/>
                  </a:ext>
                </a:extLst>
              </p:cNvPr>
              <p:cNvSpPr/>
              <p:nvPr/>
            </p:nvSpPr>
            <p:spPr>
              <a:xfrm>
                <a:off x="4238313" y="4547644"/>
                <a:ext cx="309812"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70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2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70" y="210150"/>
                    </a:lnTo>
                    <a:lnTo>
                      <a:pt x="3020" y="12135"/>
                    </a:lnTo>
                    <a:cubicBezTo>
                      <a:pt x="-36" y="10186"/>
                      <a:pt x="-932" y="6076"/>
                      <a:pt x="1070" y="3020"/>
                    </a:cubicBezTo>
                    <a:cubicBezTo>
                      <a:pt x="3072" y="-36"/>
                      <a:pt x="7130" y="-932"/>
                      <a:pt x="10186" y="1070"/>
                    </a:cubicBezTo>
                    <a:lnTo>
                      <a:pt x="325913" y="204459"/>
                    </a:lnTo>
                    <a:cubicBezTo>
                      <a:pt x="327757" y="205671"/>
                      <a:pt x="328917" y="207673"/>
                      <a:pt x="328917" y="209886"/>
                    </a:cubicBezTo>
                    <a:cubicBezTo>
                      <a:pt x="328970" y="212100"/>
                      <a:pt x="327863" y="214155"/>
                      <a:pt x="326072" y="215419"/>
                    </a:cubicBezTo>
                    <a:lnTo>
                      <a:pt x="10344" y="431770"/>
                    </a:lnTo>
                    <a:cubicBezTo>
                      <a:pt x="9185" y="432561"/>
                      <a:pt x="7868"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657" name="Freeform: Shape 656">
                <a:extLst>
                  <a:ext uri="{FF2B5EF4-FFF2-40B4-BE49-F238E27FC236}">
                    <a16:creationId xmlns:a16="http://schemas.microsoft.com/office/drawing/2014/main" id="{0316C916-01D8-4B73-8436-417F9B110E5A}"/>
                  </a:ext>
                </a:extLst>
              </p:cNvPr>
              <p:cNvSpPr/>
              <p:nvPr/>
            </p:nvSpPr>
            <p:spPr>
              <a:xfrm>
                <a:off x="4506370" y="4547644"/>
                <a:ext cx="309813"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70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2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70" y="210150"/>
                    </a:lnTo>
                    <a:lnTo>
                      <a:pt x="3020" y="12135"/>
                    </a:lnTo>
                    <a:cubicBezTo>
                      <a:pt x="-36" y="10186"/>
                      <a:pt x="-932" y="6076"/>
                      <a:pt x="1070" y="3020"/>
                    </a:cubicBezTo>
                    <a:cubicBezTo>
                      <a:pt x="3072" y="-36"/>
                      <a:pt x="7130" y="-932"/>
                      <a:pt x="10186" y="1070"/>
                    </a:cubicBezTo>
                    <a:lnTo>
                      <a:pt x="325913" y="204459"/>
                    </a:lnTo>
                    <a:cubicBezTo>
                      <a:pt x="327757" y="205671"/>
                      <a:pt x="328917" y="207673"/>
                      <a:pt x="328917" y="209886"/>
                    </a:cubicBezTo>
                    <a:cubicBezTo>
                      <a:pt x="328969" y="212100"/>
                      <a:pt x="327863" y="214155"/>
                      <a:pt x="326072" y="215419"/>
                    </a:cubicBezTo>
                    <a:lnTo>
                      <a:pt x="10344" y="431770"/>
                    </a:lnTo>
                    <a:cubicBezTo>
                      <a:pt x="9185" y="432561"/>
                      <a:pt x="7920" y="432930"/>
                      <a:pt x="6603" y="432930"/>
                    </a:cubicBezTo>
                    <a:close/>
                  </a:path>
                </a:pathLst>
              </a:custGeom>
              <a:solidFill>
                <a:schemeClr val="accent1"/>
              </a:solidFill>
              <a:ln w="5266" cap="flat">
                <a:noFill/>
                <a:prstDash val="solid"/>
                <a:miter/>
              </a:ln>
            </p:spPr>
            <p:txBody>
              <a:bodyPr rtlCol="0" anchor="ctr"/>
              <a:lstStyle/>
              <a:p>
                <a:endParaRPr lang="en-IN" dirty="0"/>
              </a:p>
            </p:txBody>
          </p:sp>
        </p:grpSp>
        <p:sp>
          <p:nvSpPr>
            <p:cNvPr id="651" name="Freeform 205">
              <a:extLst>
                <a:ext uri="{FF2B5EF4-FFF2-40B4-BE49-F238E27FC236}">
                  <a16:creationId xmlns:a16="http://schemas.microsoft.com/office/drawing/2014/main" id="{DC806259-195E-4593-810F-0F4E9F8FDE4B}"/>
                </a:ext>
              </a:extLst>
            </p:cNvPr>
            <p:cNvSpPr>
              <a:spLocks noEditPoints="1"/>
            </p:cNvSpPr>
            <p:nvPr/>
          </p:nvSpPr>
          <p:spPr bwMode="auto">
            <a:xfrm>
              <a:off x="4623743" y="4606024"/>
              <a:ext cx="242235" cy="287318"/>
            </a:xfrm>
            <a:custGeom>
              <a:avLst/>
              <a:gdLst>
                <a:gd name="T0" fmla="*/ 21 w 266"/>
                <a:gd name="T1" fmla="*/ 311 h 311"/>
                <a:gd name="T2" fmla="*/ 11 w 266"/>
                <a:gd name="T3" fmla="*/ 308 h 311"/>
                <a:gd name="T4" fmla="*/ 0 w 266"/>
                <a:gd name="T5" fmla="*/ 289 h 311"/>
                <a:gd name="T6" fmla="*/ 0 w 266"/>
                <a:gd name="T7" fmla="*/ 23 h 311"/>
                <a:gd name="T8" fmla="*/ 11 w 266"/>
                <a:gd name="T9" fmla="*/ 4 h 311"/>
                <a:gd name="T10" fmla="*/ 32 w 266"/>
                <a:gd name="T11" fmla="*/ 4 h 311"/>
                <a:gd name="T12" fmla="*/ 256 w 266"/>
                <a:gd name="T13" fmla="*/ 138 h 311"/>
                <a:gd name="T14" fmla="*/ 266 w 266"/>
                <a:gd name="T15" fmla="*/ 156 h 311"/>
                <a:gd name="T16" fmla="*/ 256 w 266"/>
                <a:gd name="T17" fmla="*/ 174 h 311"/>
                <a:gd name="T18" fmla="*/ 32 w 266"/>
                <a:gd name="T19" fmla="*/ 308 h 311"/>
                <a:gd name="T20" fmla="*/ 21 w 266"/>
                <a:gd name="T21" fmla="*/ 311 h 311"/>
                <a:gd name="T22" fmla="*/ 21 w 266"/>
                <a:gd name="T23" fmla="*/ 13 h 311"/>
                <a:gd name="T24" fmla="*/ 17 w 266"/>
                <a:gd name="T25" fmla="*/ 14 h 311"/>
                <a:gd name="T26" fmla="*/ 12 w 266"/>
                <a:gd name="T27" fmla="*/ 23 h 311"/>
                <a:gd name="T28" fmla="*/ 12 w 266"/>
                <a:gd name="T29" fmla="*/ 289 h 311"/>
                <a:gd name="T30" fmla="*/ 17 w 266"/>
                <a:gd name="T31" fmla="*/ 298 h 311"/>
                <a:gd name="T32" fmla="*/ 26 w 266"/>
                <a:gd name="T33" fmla="*/ 297 h 311"/>
                <a:gd name="T34" fmla="*/ 250 w 266"/>
                <a:gd name="T35" fmla="*/ 164 h 311"/>
                <a:gd name="T36" fmla="*/ 254 w 266"/>
                <a:gd name="T37" fmla="*/ 156 h 311"/>
                <a:gd name="T38" fmla="*/ 250 w 266"/>
                <a:gd name="T39" fmla="*/ 148 h 311"/>
                <a:gd name="T40" fmla="*/ 250 w 266"/>
                <a:gd name="T41" fmla="*/ 148 h 311"/>
                <a:gd name="T42" fmla="*/ 26 w 266"/>
                <a:gd name="T43" fmla="*/ 15 h 311"/>
                <a:gd name="T44" fmla="*/ 21 w 266"/>
                <a:gd name="T45" fmla="*/ 13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311">
                  <a:moveTo>
                    <a:pt x="21" y="311"/>
                  </a:moveTo>
                  <a:cubicBezTo>
                    <a:pt x="18" y="311"/>
                    <a:pt x="14" y="310"/>
                    <a:pt x="11" y="308"/>
                  </a:cubicBezTo>
                  <a:cubicBezTo>
                    <a:pt x="4" y="304"/>
                    <a:pt x="0" y="297"/>
                    <a:pt x="0" y="289"/>
                  </a:cubicBezTo>
                  <a:cubicBezTo>
                    <a:pt x="0" y="23"/>
                    <a:pt x="0" y="23"/>
                    <a:pt x="0" y="23"/>
                  </a:cubicBezTo>
                  <a:cubicBezTo>
                    <a:pt x="0" y="15"/>
                    <a:pt x="4" y="8"/>
                    <a:pt x="11" y="4"/>
                  </a:cubicBezTo>
                  <a:cubicBezTo>
                    <a:pt x="17" y="0"/>
                    <a:pt x="25" y="0"/>
                    <a:pt x="32" y="4"/>
                  </a:cubicBezTo>
                  <a:cubicBezTo>
                    <a:pt x="256" y="138"/>
                    <a:pt x="256" y="138"/>
                    <a:pt x="256" y="138"/>
                  </a:cubicBezTo>
                  <a:cubicBezTo>
                    <a:pt x="262" y="142"/>
                    <a:pt x="266" y="148"/>
                    <a:pt x="266" y="156"/>
                  </a:cubicBezTo>
                  <a:cubicBezTo>
                    <a:pt x="266" y="164"/>
                    <a:pt x="262" y="170"/>
                    <a:pt x="256" y="174"/>
                  </a:cubicBezTo>
                  <a:cubicBezTo>
                    <a:pt x="32" y="308"/>
                    <a:pt x="32" y="308"/>
                    <a:pt x="32" y="308"/>
                  </a:cubicBezTo>
                  <a:cubicBezTo>
                    <a:pt x="29" y="310"/>
                    <a:pt x="25" y="311"/>
                    <a:pt x="21" y="311"/>
                  </a:cubicBezTo>
                  <a:close/>
                  <a:moveTo>
                    <a:pt x="21" y="13"/>
                  </a:moveTo>
                  <a:cubicBezTo>
                    <a:pt x="20" y="13"/>
                    <a:pt x="18" y="14"/>
                    <a:pt x="17" y="14"/>
                  </a:cubicBezTo>
                  <a:cubicBezTo>
                    <a:pt x="14" y="16"/>
                    <a:pt x="12" y="19"/>
                    <a:pt x="12" y="23"/>
                  </a:cubicBezTo>
                  <a:cubicBezTo>
                    <a:pt x="12" y="289"/>
                    <a:pt x="12" y="289"/>
                    <a:pt x="12" y="289"/>
                  </a:cubicBezTo>
                  <a:cubicBezTo>
                    <a:pt x="12" y="293"/>
                    <a:pt x="14" y="296"/>
                    <a:pt x="17" y="298"/>
                  </a:cubicBezTo>
                  <a:cubicBezTo>
                    <a:pt x="20" y="299"/>
                    <a:pt x="23" y="299"/>
                    <a:pt x="26" y="297"/>
                  </a:cubicBezTo>
                  <a:cubicBezTo>
                    <a:pt x="250" y="164"/>
                    <a:pt x="250" y="164"/>
                    <a:pt x="250" y="164"/>
                  </a:cubicBezTo>
                  <a:cubicBezTo>
                    <a:pt x="252" y="162"/>
                    <a:pt x="254" y="159"/>
                    <a:pt x="254" y="156"/>
                  </a:cubicBezTo>
                  <a:cubicBezTo>
                    <a:pt x="254" y="153"/>
                    <a:pt x="252" y="150"/>
                    <a:pt x="250" y="148"/>
                  </a:cubicBezTo>
                  <a:cubicBezTo>
                    <a:pt x="250" y="148"/>
                    <a:pt x="250" y="148"/>
                    <a:pt x="250" y="148"/>
                  </a:cubicBezTo>
                  <a:cubicBezTo>
                    <a:pt x="26" y="15"/>
                    <a:pt x="26" y="15"/>
                    <a:pt x="26" y="15"/>
                  </a:cubicBezTo>
                  <a:cubicBezTo>
                    <a:pt x="25" y="14"/>
                    <a:pt x="23" y="13"/>
                    <a:pt x="21" y="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9" name="Rectangle 8">
            <a:extLst>
              <a:ext uri="{FF2B5EF4-FFF2-40B4-BE49-F238E27FC236}">
                <a16:creationId xmlns:a16="http://schemas.microsoft.com/office/drawing/2014/main" id="{663C9BBB-D6E1-460B-9BD4-3188A56912D7}"/>
              </a:ext>
            </a:extLst>
          </p:cNvPr>
          <p:cNvSpPr/>
          <p:nvPr/>
        </p:nvSpPr>
        <p:spPr>
          <a:xfrm>
            <a:off x="0" y="1180151"/>
            <a:ext cx="12191999" cy="4914965"/>
          </a:xfrm>
          <a:prstGeom prst="rect">
            <a:avLst/>
          </a:prstGeom>
          <a:solidFill>
            <a:schemeClr val="bg2">
              <a:alpha val="8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8" name="Rectangle 417">
            <a:extLst>
              <a:ext uri="{FF2B5EF4-FFF2-40B4-BE49-F238E27FC236}">
                <a16:creationId xmlns:a16="http://schemas.microsoft.com/office/drawing/2014/main" id="{6F2285D2-297D-4255-B60B-F0B5EE5AEA26}"/>
              </a:ext>
            </a:extLst>
          </p:cNvPr>
          <p:cNvSpPr/>
          <p:nvPr/>
        </p:nvSpPr>
        <p:spPr>
          <a:xfrm>
            <a:off x="7849357" y="5476837"/>
            <a:ext cx="1177814" cy="430887"/>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AnyConnect</a:t>
            </a:r>
          </a:p>
        </p:txBody>
      </p:sp>
      <p:sp>
        <p:nvSpPr>
          <p:cNvPr id="648" name="Rectangle 647">
            <a:extLst>
              <a:ext uri="{FF2B5EF4-FFF2-40B4-BE49-F238E27FC236}">
                <a16:creationId xmlns:a16="http://schemas.microsoft.com/office/drawing/2014/main" id="{71D27749-5FCF-4256-808D-FB7E1865F0DD}"/>
              </a:ext>
            </a:extLst>
          </p:cNvPr>
          <p:cNvSpPr/>
          <p:nvPr/>
        </p:nvSpPr>
        <p:spPr>
          <a:xfrm>
            <a:off x="7778102" y="1491247"/>
            <a:ext cx="1323360" cy="215444"/>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Umbrella</a:t>
            </a:r>
          </a:p>
        </p:txBody>
      </p:sp>
      <p:sp>
        <p:nvSpPr>
          <p:cNvPr id="4" name="Title 3">
            <a:extLst>
              <a:ext uri="{FF2B5EF4-FFF2-40B4-BE49-F238E27FC236}">
                <a16:creationId xmlns:a16="http://schemas.microsoft.com/office/drawing/2014/main" id="{C0F7BC6D-3614-466C-975D-8CE9CDF1157B}"/>
              </a:ext>
            </a:extLst>
          </p:cNvPr>
          <p:cNvSpPr>
            <a:spLocks noGrp="1"/>
          </p:cNvSpPr>
          <p:nvPr>
            <p:ph type="title"/>
          </p:nvPr>
        </p:nvSpPr>
        <p:spPr>
          <a:xfrm>
            <a:off x="533400" y="481807"/>
            <a:ext cx="11127317" cy="403828"/>
          </a:xfrm>
        </p:spPr>
        <p:txBody>
          <a:bodyPr/>
          <a:lstStyle/>
          <a:p>
            <a:r>
              <a:rPr lang="en-US" sz="3200" dirty="0"/>
              <a:t>Cisco’s integrated approach protects users everywhere</a:t>
            </a:r>
          </a:p>
        </p:txBody>
      </p:sp>
      <p:grpSp>
        <p:nvGrpSpPr>
          <p:cNvPr id="261" name="Group 260">
            <a:extLst>
              <a:ext uri="{FF2B5EF4-FFF2-40B4-BE49-F238E27FC236}">
                <a16:creationId xmlns:a16="http://schemas.microsoft.com/office/drawing/2014/main" id="{9B058B57-C9FC-4010-8482-EDF86BEB6620}"/>
              </a:ext>
            </a:extLst>
          </p:cNvPr>
          <p:cNvGrpSpPr/>
          <p:nvPr/>
        </p:nvGrpSpPr>
        <p:grpSpPr>
          <a:xfrm>
            <a:off x="7824283" y="3917539"/>
            <a:ext cx="1264145" cy="1282553"/>
            <a:chOff x="7824283" y="3917539"/>
            <a:chExt cx="1264145" cy="1282553"/>
          </a:xfrm>
        </p:grpSpPr>
        <p:sp>
          <p:nvSpPr>
            <p:cNvPr id="262" name="Freeform: Shape 261">
              <a:extLst>
                <a:ext uri="{FF2B5EF4-FFF2-40B4-BE49-F238E27FC236}">
                  <a16:creationId xmlns:a16="http://schemas.microsoft.com/office/drawing/2014/main" id="{1109652B-CEDD-4B9C-8851-E441ED1A5D17}"/>
                </a:ext>
              </a:extLst>
            </p:cNvPr>
            <p:cNvSpPr>
              <a:spLocks/>
            </p:cNvSpPr>
            <p:nvPr/>
          </p:nvSpPr>
          <p:spPr bwMode="auto">
            <a:xfrm>
              <a:off x="7824283" y="3917539"/>
              <a:ext cx="1264145" cy="1282553"/>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263" name="Group 262">
              <a:extLst>
                <a:ext uri="{FF2B5EF4-FFF2-40B4-BE49-F238E27FC236}">
                  <a16:creationId xmlns:a16="http://schemas.microsoft.com/office/drawing/2014/main" id="{12C45680-2165-4A2E-A8B4-DB3C632CD280}"/>
                </a:ext>
              </a:extLst>
            </p:cNvPr>
            <p:cNvGrpSpPr/>
            <p:nvPr/>
          </p:nvGrpSpPr>
          <p:grpSpPr>
            <a:xfrm>
              <a:off x="7910639" y="4013099"/>
              <a:ext cx="1091432" cy="1091432"/>
              <a:chOff x="7910639" y="4013099"/>
              <a:chExt cx="1091432" cy="1091432"/>
            </a:xfrm>
          </p:grpSpPr>
          <p:sp>
            <p:nvSpPr>
              <p:cNvPr id="264" name="Oval 263">
                <a:extLst>
                  <a:ext uri="{FF2B5EF4-FFF2-40B4-BE49-F238E27FC236}">
                    <a16:creationId xmlns:a16="http://schemas.microsoft.com/office/drawing/2014/main" id="{92D1174C-AE00-4B4A-9475-009F6F849669}"/>
                  </a:ext>
                </a:extLst>
              </p:cNvPr>
              <p:cNvSpPr/>
              <p:nvPr/>
            </p:nvSpPr>
            <p:spPr>
              <a:xfrm>
                <a:off x="7910639" y="4013099"/>
                <a:ext cx="1091432" cy="1091432"/>
              </a:xfrm>
              <a:prstGeom prst="ellipse">
                <a:avLst/>
              </a:prstGeom>
              <a:solidFill>
                <a:schemeClr val="accent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65" name="Group 264">
                <a:extLst>
                  <a:ext uri="{FF2B5EF4-FFF2-40B4-BE49-F238E27FC236}">
                    <a16:creationId xmlns:a16="http://schemas.microsoft.com/office/drawing/2014/main" id="{BFE81730-4FE0-48D6-9FCB-A36BADCE27F4}"/>
                  </a:ext>
                </a:extLst>
              </p:cNvPr>
              <p:cNvGrpSpPr/>
              <p:nvPr/>
            </p:nvGrpSpPr>
            <p:grpSpPr>
              <a:xfrm>
                <a:off x="8098190" y="4148349"/>
                <a:ext cx="716330" cy="820932"/>
                <a:chOff x="4736130" y="-2038349"/>
                <a:chExt cx="1070499" cy="1226818"/>
              </a:xfrm>
              <a:solidFill>
                <a:schemeClr val="bg2"/>
              </a:solidFill>
            </p:grpSpPr>
            <p:sp>
              <p:nvSpPr>
                <p:cNvPr id="266" name="Freeform: Shape 265">
                  <a:extLst>
                    <a:ext uri="{FF2B5EF4-FFF2-40B4-BE49-F238E27FC236}">
                      <a16:creationId xmlns:a16="http://schemas.microsoft.com/office/drawing/2014/main" id="{3AC3C292-E088-452A-ABD1-F71FEC1F53FA}"/>
                    </a:ext>
                  </a:extLst>
                </p:cNvPr>
                <p:cNvSpPr/>
                <p:nvPr/>
              </p:nvSpPr>
              <p:spPr>
                <a:xfrm>
                  <a:off x="4964427" y="-2000249"/>
                  <a:ext cx="609601" cy="1188718"/>
                </a:xfrm>
                <a:custGeom>
                  <a:avLst/>
                  <a:gdLst>
                    <a:gd name="connsiteX0" fmla="*/ 304801 w 609601"/>
                    <a:gd name="connsiteY0" fmla="*/ 1188718 h 1188718"/>
                    <a:gd name="connsiteX1" fmla="*/ 0 w 609601"/>
                    <a:gd name="connsiteY1" fmla="*/ 594359 h 1188718"/>
                    <a:gd name="connsiteX2" fmla="*/ 304801 w 609601"/>
                    <a:gd name="connsiteY2" fmla="*/ 0 h 1188718"/>
                    <a:gd name="connsiteX3" fmla="*/ 609601 w 609601"/>
                    <a:gd name="connsiteY3" fmla="*/ 594359 h 1188718"/>
                    <a:gd name="connsiteX4" fmla="*/ 304801 w 609601"/>
                    <a:gd name="connsiteY4" fmla="*/ 1188718 h 1188718"/>
                    <a:gd name="connsiteX5" fmla="*/ 304801 w 609601"/>
                    <a:gd name="connsiteY5" fmla="*/ 41910 h 1188718"/>
                    <a:gd name="connsiteX6" fmla="*/ 38100 w 609601"/>
                    <a:gd name="connsiteY6" fmla="*/ 598169 h 1188718"/>
                    <a:gd name="connsiteX7" fmla="*/ 304801 w 609601"/>
                    <a:gd name="connsiteY7" fmla="*/ 1154428 h 1188718"/>
                    <a:gd name="connsiteX8" fmla="*/ 571501 w 609601"/>
                    <a:gd name="connsiteY8" fmla="*/ 598169 h 1188718"/>
                    <a:gd name="connsiteX9" fmla="*/ 304801 w 609601"/>
                    <a:gd name="connsiteY9" fmla="*/ 41910 h 118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1" h="1188718">
                      <a:moveTo>
                        <a:pt x="304801" y="1188718"/>
                      </a:moveTo>
                      <a:cubicBezTo>
                        <a:pt x="133350" y="1188718"/>
                        <a:pt x="0" y="929639"/>
                        <a:pt x="0" y="594359"/>
                      </a:cubicBezTo>
                      <a:cubicBezTo>
                        <a:pt x="0" y="259080"/>
                        <a:pt x="133350" y="0"/>
                        <a:pt x="304801" y="0"/>
                      </a:cubicBezTo>
                      <a:cubicBezTo>
                        <a:pt x="476251" y="0"/>
                        <a:pt x="609601" y="259080"/>
                        <a:pt x="609601" y="594359"/>
                      </a:cubicBezTo>
                      <a:cubicBezTo>
                        <a:pt x="609601" y="929639"/>
                        <a:pt x="476251" y="1188718"/>
                        <a:pt x="304801" y="1188718"/>
                      </a:cubicBezTo>
                      <a:close/>
                      <a:moveTo>
                        <a:pt x="304801" y="41910"/>
                      </a:moveTo>
                      <a:cubicBezTo>
                        <a:pt x="160020" y="41910"/>
                        <a:pt x="38100" y="297180"/>
                        <a:pt x="38100" y="598169"/>
                      </a:cubicBezTo>
                      <a:cubicBezTo>
                        <a:pt x="38100" y="899159"/>
                        <a:pt x="160020" y="1154428"/>
                        <a:pt x="304801" y="1154428"/>
                      </a:cubicBezTo>
                      <a:cubicBezTo>
                        <a:pt x="449581" y="1154428"/>
                        <a:pt x="571501" y="899159"/>
                        <a:pt x="571501" y="598169"/>
                      </a:cubicBezTo>
                      <a:cubicBezTo>
                        <a:pt x="571501" y="297180"/>
                        <a:pt x="449581" y="41910"/>
                        <a:pt x="304801" y="41910"/>
                      </a:cubicBezTo>
                      <a:close/>
                    </a:path>
                  </a:pathLst>
                </a:custGeom>
                <a:grpFill/>
                <a:ln w="38100" cap="flat">
                  <a:noFill/>
                  <a:prstDash val="solid"/>
                  <a:miter/>
                </a:ln>
              </p:spPr>
              <p:txBody>
                <a:bodyPr rtlCol="0" anchor="ctr"/>
                <a:lstStyle/>
                <a:p>
                  <a:endParaRPr lang="en-IN" dirty="0"/>
                </a:p>
              </p:txBody>
            </p:sp>
            <p:sp>
              <p:nvSpPr>
                <p:cNvPr id="267" name="Freeform: Shape 266">
                  <a:extLst>
                    <a:ext uri="{FF2B5EF4-FFF2-40B4-BE49-F238E27FC236}">
                      <a16:creationId xmlns:a16="http://schemas.microsoft.com/office/drawing/2014/main" id="{23DA0704-4A7C-46CA-8C10-603AC8EFD06B}"/>
                    </a:ext>
                  </a:extLst>
                </p:cNvPr>
                <p:cNvSpPr/>
                <p:nvPr/>
              </p:nvSpPr>
              <p:spPr>
                <a:xfrm>
                  <a:off x="4736130" y="-1803088"/>
                  <a:ext cx="1070499" cy="797247"/>
                </a:xfrm>
                <a:custGeom>
                  <a:avLst/>
                  <a:gdLst>
                    <a:gd name="connsiteX0" fmla="*/ 251157 w 1070499"/>
                    <a:gd name="connsiteY0" fmla="*/ 797248 h 797247"/>
                    <a:gd name="connsiteX1" fmla="*/ 22557 w 1070499"/>
                    <a:gd name="connsiteY1" fmla="*/ 694378 h 797247"/>
                    <a:gd name="connsiteX2" fmla="*/ 384507 w 1070499"/>
                    <a:gd name="connsiteY2" fmla="*/ 134309 h 797247"/>
                    <a:gd name="connsiteX3" fmla="*/ 384507 w 1070499"/>
                    <a:gd name="connsiteY3" fmla="*/ 134309 h 797247"/>
                    <a:gd name="connsiteX4" fmla="*/ 784558 w 1070499"/>
                    <a:gd name="connsiteY4" fmla="*/ 959 h 797247"/>
                    <a:gd name="connsiteX5" fmla="*/ 1047449 w 1070499"/>
                    <a:gd name="connsiteY5" fmla="*/ 103829 h 797247"/>
                    <a:gd name="connsiteX6" fmla="*/ 1001729 w 1070499"/>
                    <a:gd name="connsiteY6" fmla="*/ 381959 h 797247"/>
                    <a:gd name="connsiteX7" fmla="*/ 685498 w 1070499"/>
                    <a:gd name="connsiteY7" fmla="*/ 663898 h 797247"/>
                    <a:gd name="connsiteX8" fmla="*/ 285447 w 1070499"/>
                    <a:gd name="connsiteY8" fmla="*/ 797248 h 797247"/>
                    <a:gd name="connsiteX9" fmla="*/ 251157 w 1070499"/>
                    <a:gd name="connsiteY9" fmla="*/ 797248 h 797247"/>
                    <a:gd name="connsiteX10" fmla="*/ 399747 w 1070499"/>
                    <a:gd name="connsiteY10" fmla="*/ 168599 h 797247"/>
                    <a:gd name="connsiteX11" fmla="*/ 53037 w 1070499"/>
                    <a:gd name="connsiteY11" fmla="*/ 675328 h 797247"/>
                    <a:gd name="connsiteX12" fmla="*/ 281637 w 1070499"/>
                    <a:gd name="connsiteY12" fmla="*/ 755338 h 797247"/>
                    <a:gd name="connsiteX13" fmla="*/ 666448 w 1070499"/>
                    <a:gd name="connsiteY13" fmla="*/ 625798 h 797247"/>
                    <a:gd name="connsiteX14" fmla="*/ 971249 w 1070499"/>
                    <a:gd name="connsiteY14" fmla="*/ 355289 h 797247"/>
                    <a:gd name="connsiteX15" fmla="*/ 1016969 w 1070499"/>
                    <a:gd name="connsiteY15" fmla="*/ 115259 h 797247"/>
                    <a:gd name="connsiteX16" fmla="*/ 788368 w 1070499"/>
                    <a:gd name="connsiteY16" fmla="*/ 35249 h 797247"/>
                    <a:gd name="connsiteX17" fmla="*/ 399747 w 1070499"/>
                    <a:gd name="connsiteY17" fmla="*/ 168599 h 797247"/>
                    <a:gd name="connsiteX18" fmla="*/ 399747 w 1070499"/>
                    <a:gd name="connsiteY18" fmla="*/ 168599 h 79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0499" h="797247">
                      <a:moveTo>
                        <a:pt x="251157" y="797248"/>
                      </a:moveTo>
                      <a:cubicBezTo>
                        <a:pt x="140667" y="797248"/>
                        <a:pt x="60657" y="762958"/>
                        <a:pt x="22557" y="694378"/>
                      </a:cubicBezTo>
                      <a:cubicBezTo>
                        <a:pt x="-61264" y="545788"/>
                        <a:pt x="94947" y="301949"/>
                        <a:pt x="384507" y="134309"/>
                      </a:cubicBezTo>
                      <a:lnTo>
                        <a:pt x="384507" y="134309"/>
                      </a:lnTo>
                      <a:cubicBezTo>
                        <a:pt x="521668" y="54299"/>
                        <a:pt x="662638" y="8579"/>
                        <a:pt x="784558" y="959"/>
                      </a:cubicBezTo>
                      <a:cubicBezTo>
                        <a:pt x="910288" y="-6661"/>
                        <a:pt x="1005539" y="31439"/>
                        <a:pt x="1047449" y="103829"/>
                      </a:cubicBezTo>
                      <a:cubicBezTo>
                        <a:pt x="1089359" y="176219"/>
                        <a:pt x="1074119" y="275279"/>
                        <a:pt x="1001729" y="381959"/>
                      </a:cubicBezTo>
                      <a:cubicBezTo>
                        <a:pt x="933149" y="484828"/>
                        <a:pt x="822658" y="583888"/>
                        <a:pt x="685498" y="663898"/>
                      </a:cubicBezTo>
                      <a:cubicBezTo>
                        <a:pt x="548338" y="743908"/>
                        <a:pt x="407367" y="789628"/>
                        <a:pt x="285447" y="797248"/>
                      </a:cubicBezTo>
                      <a:cubicBezTo>
                        <a:pt x="274017" y="797248"/>
                        <a:pt x="262587" y="797248"/>
                        <a:pt x="251157" y="797248"/>
                      </a:cubicBezTo>
                      <a:close/>
                      <a:moveTo>
                        <a:pt x="399747" y="168599"/>
                      </a:moveTo>
                      <a:cubicBezTo>
                        <a:pt x="140667" y="320999"/>
                        <a:pt x="-19354" y="553408"/>
                        <a:pt x="53037" y="675328"/>
                      </a:cubicBezTo>
                      <a:cubicBezTo>
                        <a:pt x="87327" y="736288"/>
                        <a:pt x="167337" y="762958"/>
                        <a:pt x="281637" y="755338"/>
                      </a:cubicBezTo>
                      <a:cubicBezTo>
                        <a:pt x="399747" y="747718"/>
                        <a:pt x="536908" y="701998"/>
                        <a:pt x="666448" y="625798"/>
                      </a:cubicBezTo>
                      <a:cubicBezTo>
                        <a:pt x="795988" y="549598"/>
                        <a:pt x="906478" y="454349"/>
                        <a:pt x="971249" y="355289"/>
                      </a:cubicBezTo>
                      <a:cubicBezTo>
                        <a:pt x="1032209" y="260039"/>
                        <a:pt x="1051259" y="176219"/>
                        <a:pt x="1016969" y="115259"/>
                      </a:cubicBezTo>
                      <a:cubicBezTo>
                        <a:pt x="982679" y="54299"/>
                        <a:pt x="902668" y="27629"/>
                        <a:pt x="788368" y="35249"/>
                      </a:cubicBezTo>
                      <a:cubicBezTo>
                        <a:pt x="666448" y="46679"/>
                        <a:pt x="529288" y="92399"/>
                        <a:pt x="399747" y="168599"/>
                      </a:cubicBezTo>
                      <a:lnTo>
                        <a:pt x="399747" y="168599"/>
                      </a:lnTo>
                      <a:close/>
                    </a:path>
                  </a:pathLst>
                </a:custGeom>
                <a:grpFill/>
                <a:ln w="38100" cap="flat">
                  <a:noFill/>
                  <a:prstDash val="solid"/>
                  <a:miter/>
                </a:ln>
              </p:spPr>
              <p:txBody>
                <a:bodyPr rtlCol="0" anchor="ctr"/>
                <a:lstStyle/>
                <a:p>
                  <a:endParaRPr lang="en-IN" dirty="0"/>
                </a:p>
              </p:txBody>
            </p:sp>
            <p:sp>
              <p:nvSpPr>
                <p:cNvPr id="268" name="Freeform: Shape 267">
                  <a:extLst>
                    <a:ext uri="{FF2B5EF4-FFF2-40B4-BE49-F238E27FC236}">
                      <a16:creationId xmlns:a16="http://schemas.microsoft.com/office/drawing/2014/main" id="{FCF18695-B7C1-4E03-943C-C3949AE2FD3F}"/>
                    </a:ext>
                  </a:extLst>
                </p:cNvPr>
                <p:cNvSpPr/>
                <p:nvPr/>
              </p:nvSpPr>
              <p:spPr>
                <a:xfrm>
                  <a:off x="4736130" y="-1803088"/>
                  <a:ext cx="1070499" cy="797247"/>
                </a:xfrm>
                <a:custGeom>
                  <a:avLst/>
                  <a:gdLst>
                    <a:gd name="connsiteX0" fmla="*/ 818848 w 1070499"/>
                    <a:gd name="connsiteY0" fmla="*/ 797248 h 797247"/>
                    <a:gd name="connsiteX1" fmla="*/ 784558 w 1070499"/>
                    <a:gd name="connsiteY1" fmla="*/ 797248 h 797247"/>
                    <a:gd name="connsiteX2" fmla="*/ 384507 w 1070499"/>
                    <a:gd name="connsiteY2" fmla="*/ 663898 h 797247"/>
                    <a:gd name="connsiteX3" fmla="*/ 22557 w 1070499"/>
                    <a:gd name="connsiteY3" fmla="*/ 103829 h 797247"/>
                    <a:gd name="connsiteX4" fmla="*/ 285447 w 1070499"/>
                    <a:gd name="connsiteY4" fmla="*/ 959 h 797247"/>
                    <a:gd name="connsiteX5" fmla="*/ 685498 w 1070499"/>
                    <a:gd name="connsiteY5" fmla="*/ 134309 h 797247"/>
                    <a:gd name="connsiteX6" fmla="*/ 1001729 w 1070499"/>
                    <a:gd name="connsiteY6" fmla="*/ 416249 h 797247"/>
                    <a:gd name="connsiteX7" fmla="*/ 1047449 w 1070499"/>
                    <a:gd name="connsiteY7" fmla="*/ 694378 h 797247"/>
                    <a:gd name="connsiteX8" fmla="*/ 818848 w 1070499"/>
                    <a:gd name="connsiteY8" fmla="*/ 797248 h 797247"/>
                    <a:gd name="connsiteX9" fmla="*/ 251157 w 1070499"/>
                    <a:gd name="connsiteY9" fmla="*/ 39059 h 797247"/>
                    <a:gd name="connsiteX10" fmla="*/ 53037 w 1070499"/>
                    <a:gd name="connsiteY10" fmla="*/ 122879 h 797247"/>
                    <a:gd name="connsiteX11" fmla="*/ 399747 w 1070499"/>
                    <a:gd name="connsiteY11" fmla="*/ 629608 h 797247"/>
                    <a:gd name="connsiteX12" fmla="*/ 784558 w 1070499"/>
                    <a:gd name="connsiteY12" fmla="*/ 759148 h 797247"/>
                    <a:gd name="connsiteX13" fmla="*/ 1013159 w 1070499"/>
                    <a:gd name="connsiteY13" fmla="*/ 679138 h 797247"/>
                    <a:gd name="connsiteX14" fmla="*/ 967438 w 1070499"/>
                    <a:gd name="connsiteY14" fmla="*/ 439109 h 797247"/>
                    <a:gd name="connsiteX15" fmla="*/ 662638 w 1070499"/>
                    <a:gd name="connsiteY15" fmla="*/ 168599 h 797247"/>
                    <a:gd name="connsiteX16" fmla="*/ 277827 w 1070499"/>
                    <a:gd name="connsiteY16" fmla="*/ 39059 h 797247"/>
                    <a:gd name="connsiteX17" fmla="*/ 251157 w 1070499"/>
                    <a:gd name="connsiteY17" fmla="*/ 39059 h 79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0499" h="797247">
                      <a:moveTo>
                        <a:pt x="818848" y="797248"/>
                      </a:moveTo>
                      <a:cubicBezTo>
                        <a:pt x="807418" y="797248"/>
                        <a:pt x="795988" y="797248"/>
                        <a:pt x="784558" y="797248"/>
                      </a:cubicBezTo>
                      <a:cubicBezTo>
                        <a:pt x="662638" y="789628"/>
                        <a:pt x="517858" y="743908"/>
                        <a:pt x="384507" y="663898"/>
                      </a:cubicBezTo>
                      <a:cubicBezTo>
                        <a:pt x="94947" y="496258"/>
                        <a:pt x="-61264" y="252419"/>
                        <a:pt x="22557" y="103829"/>
                      </a:cubicBezTo>
                      <a:cubicBezTo>
                        <a:pt x="60657" y="31439"/>
                        <a:pt x="155907" y="-6661"/>
                        <a:pt x="285447" y="959"/>
                      </a:cubicBezTo>
                      <a:cubicBezTo>
                        <a:pt x="407367" y="8579"/>
                        <a:pt x="552148" y="54299"/>
                        <a:pt x="685498" y="134309"/>
                      </a:cubicBezTo>
                      <a:cubicBezTo>
                        <a:pt x="822658" y="214319"/>
                        <a:pt x="933149" y="313379"/>
                        <a:pt x="1001729" y="416249"/>
                      </a:cubicBezTo>
                      <a:cubicBezTo>
                        <a:pt x="1074119" y="522928"/>
                        <a:pt x="1089359" y="621988"/>
                        <a:pt x="1047449" y="694378"/>
                      </a:cubicBezTo>
                      <a:cubicBezTo>
                        <a:pt x="1009349" y="762958"/>
                        <a:pt x="929338" y="797248"/>
                        <a:pt x="818848" y="797248"/>
                      </a:cubicBezTo>
                      <a:close/>
                      <a:moveTo>
                        <a:pt x="251157" y="39059"/>
                      </a:moveTo>
                      <a:cubicBezTo>
                        <a:pt x="155907" y="39059"/>
                        <a:pt x="87327" y="69539"/>
                        <a:pt x="53037" y="122879"/>
                      </a:cubicBezTo>
                      <a:cubicBezTo>
                        <a:pt x="-19354" y="248609"/>
                        <a:pt x="140667" y="481018"/>
                        <a:pt x="399747" y="629608"/>
                      </a:cubicBezTo>
                      <a:cubicBezTo>
                        <a:pt x="529288" y="705808"/>
                        <a:pt x="666448" y="751528"/>
                        <a:pt x="784558" y="759148"/>
                      </a:cubicBezTo>
                      <a:cubicBezTo>
                        <a:pt x="898858" y="766768"/>
                        <a:pt x="978869" y="736288"/>
                        <a:pt x="1013159" y="679138"/>
                      </a:cubicBezTo>
                      <a:cubicBezTo>
                        <a:pt x="1047449" y="618178"/>
                        <a:pt x="1032209" y="534358"/>
                        <a:pt x="967438" y="439109"/>
                      </a:cubicBezTo>
                      <a:cubicBezTo>
                        <a:pt x="902668" y="340049"/>
                        <a:pt x="795988" y="244799"/>
                        <a:pt x="662638" y="168599"/>
                      </a:cubicBezTo>
                      <a:cubicBezTo>
                        <a:pt x="529288" y="92399"/>
                        <a:pt x="395937" y="46679"/>
                        <a:pt x="277827" y="39059"/>
                      </a:cubicBezTo>
                      <a:cubicBezTo>
                        <a:pt x="270207" y="39059"/>
                        <a:pt x="258777" y="39059"/>
                        <a:pt x="251157" y="39059"/>
                      </a:cubicBezTo>
                      <a:close/>
                    </a:path>
                  </a:pathLst>
                </a:custGeom>
                <a:grpFill/>
                <a:ln w="38100" cap="flat">
                  <a:noFill/>
                  <a:prstDash val="solid"/>
                  <a:miter/>
                </a:ln>
              </p:spPr>
              <p:txBody>
                <a:bodyPr rtlCol="0" anchor="ctr"/>
                <a:lstStyle/>
                <a:p>
                  <a:endParaRPr lang="en-IN" dirty="0"/>
                </a:p>
              </p:txBody>
            </p:sp>
            <p:sp>
              <p:nvSpPr>
                <p:cNvPr id="269" name="Freeform: Shape 268">
                  <a:extLst>
                    <a:ext uri="{FF2B5EF4-FFF2-40B4-BE49-F238E27FC236}">
                      <a16:creationId xmlns:a16="http://schemas.microsoft.com/office/drawing/2014/main" id="{F0CBB8AF-10FB-4A25-A90A-482573338FEB}"/>
                    </a:ext>
                  </a:extLst>
                </p:cNvPr>
                <p:cNvSpPr/>
                <p:nvPr/>
              </p:nvSpPr>
              <p:spPr>
                <a:xfrm>
                  <a:off x="4777737" y="-1463039"/>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7" y="0"/>
                        <a:pt x="121920" y="27293"/>
                        <a:pt x="121920" y="60960"/>
                      </a:cubicBezTo>
                      <a:close/>
                    </a:path>
                  </a:pathLst>
                </a:custGeom>
                <a:grpFill/>
                <a:ln w="38100" cap="flat">
                  <a:noFill/>
                  <a:prstDash val="solid"/>
                  <a:miter/>
                </a:ln>
              </p:spPr>
              <p:txBody>
                <a:bodyPr rtlCol="0" anchor="ctr"/>
                <a:lstStyle/>
                <a:p>
                  <a:endParaRPr lang="en-IN" dirty="0"/>
                </a:p>
              </p:txBody>
            </p:sp>
            <p:sp>
              <p:nvSpPr>
                <p:cNvPr id="270" name="Freeform: Shape 269">
                  <a:extLst>
                    <a:ext uri="{FF2B5EF4-FFF2-40B4-BE49-F238E27FC236}">
                      <a16:creationId xmlns:a16="http://schemas.microsoft.com/office/drawing/2014/main" id="{01A4C158-13EC-4503-B356-67F27F563DD7}"/>
                    </a:ext>
                  </a:extLst>
                </p:cNvPr>
                <p:cNvSpPr/>
                <p:nvPr/>
              </p:nvSpPr>
              <p:spPr>
                <a:xfrm>
                  <a:off x="5208268" y="-1146810"/>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8" y="0"/>
                        <a:pt x="121920" y="27293"/>
                        <a:pt x="121920" y="60960"/>
                      </a:cubicBezTo>
                      <a:close/>
                    </a:path>
                  </a:pathLst>
                </a:custGeom>
                <a:grpFill/>
                <a:ln w="38100" cap="flat">
                  <a:noFill/>
                  <a:prstDash val="solid"/>
                  <a:miter/>
                </a:ln>
              </p:spPr>
              <p:txBody>
                <a:bodyPr rtlCol="0" anchor="ctr"/>
                <a:lstStyle/>
                <a:p>
                  <a:endParaRPr lang="en-IN" dirty="0"/>
                </a:p>
              </p:txBody>
            </p:sp>
            <p:sp>
              <p:nvSpPr>
                <p:cNvPr id="271" name="Freeform: Shape 270">
                  <a:extLst>
                    <a:ext uri="{FF2B5EF4-FFF2-40B4-BE49-F238E27FC236}">
                      <a16:creationId xmlns:a16="http://schemas.microsoft.com/office/drawing/2014/main" id="{D68A2284-781C-41C2-BD3E-A1DF2FC0E63F}"/>
                    </a:ext>
                  </a:extLst>
                </p:cNvPr>
                <p:cNvSpPr/>
                <p:nvPr/>
              </p:nvSpPr>
              <p:spPr>
                <a:xfrm>
                  <a:off x="5208268" y="-2038349"/>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8" y="0"/>
                        <a:pt x="121920" y="27293"/>
                        <a:pt x="121920" y="60960"/>
                      </a:cubicBezTo>
                      <a:close/>
                    </a:path>
                  </a:pathLst>
                </a:custGeom>
                <a:grpFill/>
                <a:ln w="38100" cap="flat">
                  <a:noFill/>
                  <a:prstDash val="solid"/>
                  <a:miter/>
                </a:ln>
              </p:spPr>
              <p:txBody>
                <a:bodyPr rtlCol="0" anchor="ctr"/>
                <a:lstStyle/>
                <a:p>
                  <a:endParaRPr lang="en-IN" dirty="0"/>
                </a:p>
              </p:txBody>
            </p:sp>
          </p:grpSp>
        </p:grpSp>
      </p:grpSp>
      <p:sp>
        <p:nvSpPr>
          <p:cNvPr id="2" name="Rectangle: Rounded Corners 1">
            <a:extLst>
              <a:ext uri="{FF2B5EF4-FFF2-40B4-BE49-F238E27FC236}">
                <a16:creationId xmlns:a16="http://schemas.microsoft.com/office/drawing/2014/main" id="{5264CC7B-1A85-46FA-9BE3-761FD72775F0}"/>
              </a:ext>
            </a:extLst>
          </p:cNvPr>
          <p:cNvSpPr/>
          <p:nvPr/>
        </p:nvSpPr>
        <p:spPr>
          <a:xfrm>
            <a:off x="3795811" y="2266368"/>
            <a:ext cx="3848275" cy="2701242"/>
          </a:xfrm>
          <a:custGeom>
            <a:avLst/>
            <a:gdLst>
              <a:gd name="connsiteX0" fmla="*/ 0 w 4020695"/>
              <a:gd name="connsiteY0" fmla="*/ 172420 h 2701242"/>
              <a:gd name="connsiteX1" fmla="*/ 172420 w 4020695"/>
              <a:gd name="connsiteY1" fmla="*/ 0 h 2701242"/>
              <a:gd name="connsiteX2" fmla="*/ 3848275 w 4020695"/>
              <a:gd name="connsiteY2" fmla="*/ 0 h 2701242"/>
              <a:gd name="connsiteX3" fmla="*/ 4020695 w 4020695"/>
              <a:gd name="connsiteY3" fmla="*/ 172420 h 2701242"/>
              <a:gd name="connsiteX4" fmla="*/ 4020695 w 4020695"/>
              <a:gd name="connsiteY4" fmla="*/ 2528822 h 2701242"/>
              <a:gd name="connsiteX5" fmla="*/ 3848275 w 4020695"/>
              <a:gd name="connsiteY5" fmla="*/ 2701242 h 2701242"/>
              <a:gd name="connsiteX6" fmla="*/ 172420 w 4020695"/>
              <a:gd name="connsiteY6" fmla="*/ 2701242 h 2701242"/>
              <a:gd name="connsiteX7" fmla="*/ 0 w 4020695"/>
              <a:gd name="connsiteY7" fmla="*/ 2528822 h 2701242"/>
              <a:gd name="connsiteX8" fmla="*/ 0 w 4020695"/>
              <a:gd name="connsiteY8" fmla="*/ 172420 h 2701242"/>
              <a:gd name="connsiteX0" fmla="*/ 4020695 w 4112135"/>
              <a:gd name="connsiteY0" fmla="*/ 172420 h 2701242"/>
              <a:gd name="connsiteX1" fmla="*/ 4020695 w 4112135"/>
              <a:gd name="connsiteY1" fmla="*/ 2528822 h 2701242"/>
              <a:gd name="connsiteX2" fmla="*/ 3848275 w 4112135"/>
              <a:gd name="connsiteY2" fmla="*/ 2701242 h 2701242"/>
              <a:gd name="connsiteX3" fmla="*/ 172420 w 4112135"/>
              <a:gd name="connsiteY3" fmla="*/ 2701242 h 2701242"/>
              <a:gd name="connsiteX4" fmla="*/ 0 w 4112135"/>
              <a:gd name="connsiteY4" fmla="*/ 2528822 h 2701242"/>
              <a:gd name="connsiteX5" fmla="*/ 0 w 4112135"/>
              <a:gd name="connsiteY5" fmla="*/ 172420 h 2701242"/>
              <a:gd name="connsiteX6" fmla="*/ 172420 w 4112135"/>
              <a:gd name="connsiteY6" fmla="*/ 0 h 2701242"/>
              <a:gd name="connsiteX7" fmla="*/ 3848275 w 4112135"/>
              <a:gd name="connsiteY7" fmla="*/ 0 h 2701242"/>
              <a:gd name="connsiteX8" fmla="*/ 4112135 w 4112135"/>
              <a:gd name="connsiteY8" fmla="*/ 263860 h 2701242"/>
              <a:gd name="connsiteX0" fmla="*/ 4020695 w 4020695"/>
              <a:gd name="connsiteY0" fmla="*/ 172420 h 2701242"/>
              <a:gd name="connsiteX1" fmla="*/ 4020695 w 4020695"/>
              <a:gd name="connsiteY1" fmla="*/ 2528822 h 2701242"/>
              <a:gd name="connsiteX2" fmla="*/ 3848275 w 4020695"/>
              <a:gd name="connsiteY2" fmla="*/ 2701242 h 2701242"/>
              <a:gd name="connsiteX3" fmla="*/ 172420 w 4020695"/>
              <a:gd name="connsiteY3" fmla="*/ 2701242 h 2701242"/>
              <a:gd name="connsiteX4" fmla="*/ 0 w 4020695"/>
              <a:gd name="connsiteY4" fmla="*/ 2528822 h 2701242"/>
              <a:gd name="connsiteX5" fmla="*/ 0 w 4020695"/>
              <a:gd name="connsiteY5" fmla="*/ 172420 h 2701242"/>
              <a:gd name="connsiteX6" fmla="*/ 172420 w 4020695"/>
              <a:gd name="connsiteY6" fmla="*/ 0 h 2701242"/>
              <a:gd name="connsiteX7" fmla="*/ 3848275 w 4020695"/>
              <a:gd name="connsiteY7" fmla="*/ 0 h 2701242"/>
              <a:gd name="connsiteX0" fmla="*/ 4020695 w 4020695"/>
              <a:gd name="connsiteY0" fmla="*/ 2528822 h 2701242"/>
              <a:gd name="connsiteX1" fmla="*/ 3848275 w 4020695"/>
              <a:gd name="connsiteY1" fmla="*/ 2701242 h 2701242"/>
              <a:gd name="connsiteX2" fmla="*/ 172420 w 4020695"/>
              <a:gd name="connsiteY2" fmla="*/ 2701242 h 2701242"/>
              <a:gd name="connsiteX3" fmla="*/ 0 w 4020695"/>
              <a:gd name="connsiteY3" fmla="*/ 2528822 h 2701242"/>
              <a:gd name="connsiteX4" fmla="*/ 0 w 4020695"/>
              <a:gd name="connsiteY4" fmla="*/ 172420 h 2701242"/>
              <a:gd name="connsiteX5" fmla="*/ 172420 w 4020695"/>
              <a:gd name="connsiteY5" fmla="*/ 0 h 2701242"/>
              <a:gd name="connsiteX6" fmla="*/ 3848275 w 4020695"/>
              <a:gd name="connsiteY6" fmla="*/ 0 h 2701242"/>
              <a:gd name="connsiteX0" fmla="*/ 3848275 w 3848275"/>
              <a:gd name="connsiteY0" fmla="*/ 2701242 h 2701242"/>
              <a:gd name="connsiteX1" fmla="*/ 172420 w 3848275"/>
              <a:gd name="connsiteY1" fmla="*/ 2701242 h 2701242"/>
              <a:gd name="connsiteX2" fmla="*/ 0 w 3848275"/>
              <a:gd name="connsiteY2" fmla="*/ 2528822 h 2701242"/>
              <a:gd name="connsiteX3" fmla="*/ 0 w 3848275"/>
              <a:gd name="connsiteY3" fmla="*/ 172420 h 2701242"/>
              <a:gd name="connsiteX4" fmla="*/ 172420 w 3848275"/>
              <a:gd name="connsiteY4" fmla="*/ 0 h 2701242"/>
              <a:gd name="connsiteX5" fmla="*/ 3848275 w 3848275"/>
              <a:gd name="connsiteY5" fmla="*/ 0 h 270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8275" h="2701242">
                <a:moveTo>
                  <a:pt x="3848275" y="2701242"/>
                </a:moveTo>
                <a:lnTo>
                  <a:pt x="172420" y="2701242"/>
                </a:lnTo>
                <a:cubicBezTo>
                  <a:pt x="77195" y="2701242"/>
                  <a:pt x="0" y="2624047"/>
                  <a:pt x="0" y="2528822"/>
                </a:cubicBezTo>
                <a:lnTo>
                  <a:pt x="0" y="172420"/>
                </a:lnTo>
                <a:cubicBezTo>
                  <a:pt x="0" y="77195"/>
                  <a:pt x="77195" y="0"/>
                  <a:pt x="172420" y="0"/>
                </a:cubicBezTo>
                <a:lnTo>
                  <a:pt x="3848275" y="0"/>
                </a:lnTo>
              </a:path>
            </a:pathLst>
          </a:custGeom>
          <a:solidFill>
            <a:schemeClr val="bg2">
              <a:alpha val="50000"/>
            </a:schemeClr>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marL="231775" indent="-231775">
              <a:spcBef>
                <a:spcPts val="600"/>
              </a:spcBef>
              <a:buFont typeface="Arial" panose="020B0604020202020204" pitchFamily="34" charset="0"/>
              <a:buChar char="•"/>
            </a:pPr>
            <a:r>
              <a:rPr lang="en-US" dirty="0"/>
              <a:t>Roaming users get DNS protection via Umbrella and AnyConnect</a:t>
            </a:r>
          </a:p>
          <a:p>
            <a:pPr marL="231775" indent="-231775">
              <a:spcBef>
                <a:spcPts val="600"/>
              </a:spcBef>
              <a:buFont typeface="Arial" panose="020B0604020202020204" pitchFamily="34" charset="0"/>
              <a:buChar char="•"/>
            </a:pPr>
            <a:r>
              <a:rPr lang="en-US" dirty="0"/>
              <a:t>Don’t have to be on VPN to be protected</a:t>
            </a:r>
          </a:p>
        </p:txBody>
      </p:sp>
      <p:sp>
        <p:nvSpPr>
          <p:cNvPr id="280" name="Freeform: Shape 279">
            <a:extLst>
              <a:ext uri="{FF2B5EF4-FFF2-40B4-BE49-F238E27FC236}">
                <a16:creationId xmlns:a16="http://schemas.microsoft.com/office/drawing/2014/main" id="{8EE2E886-4B81-47FE-96D4-69D0C31E898D}"/>
              </a:ext>
            </a:extLst>
          </p:cNvPr>
          <p:cNvSpPr/>
          <p:nvPr/>
        </p:nvSpPr>
        <p:spPr>
          <a:xfrm>
            <a:off x="8072476" y="2300243"/>
            <a:ext cx="812444" cy="417910"/>
          </a:xfrm>
          <a:custGeom>
            <a:avLst/>
            <a:gdLst>
              <a:gd name="connsiteX0" fmla="*/ 2426859 w 2427461"/>
              <a:gd name="connsiteY0" fmla="*/ 1305036 h 2496364"/>
              <a:gd name="connsiteX1" fmla="*/ 2275440 w 2427461"/>
              <a:gd name="connsiteY1" fmla="*/ 725154 h 2496364"/>
              <a:gd name="connsiteX2" fmla="*/ 2275440 w 2427461"/>
              <a:gd name="connsiteY2" fmla="*/ 516753 h 2496364"/>
              <a:gd name="connsiteX3" fmla="*/ 2203637 w 2427461"/>
              <a:gd name="connsiteY3" fmla="*/ 516753 h 2496364"/>
              <a:gd name="connsiteX4" fmla="*/ 2203637 w 2427461"/>
              <a:gd name="connsiteY4" fmla="*/ 611418 h 2496364"/>
              <a:gd name="connsiteX5" fmla="*/ 2122988 w 2427461"/>
              <a:gd name="connsiteY5" fmla="*/ 509601 h 2496364"/>
              <a:gd name="connsiteX6" fmla="*/ 2122988 w 2427461"/>
              <a:gd name="connsiteY6" fmla="*/ 353444 h 2496364"/>
              <a:gd name="connsiteX7" fmla="*/ 2051185 w 2427461"/>
              <a:gd name="connsiteY7" fmla="*/ 353444 h 2496364"/>
              <a:gd name="connsiteX8" fmla="*/ 2051185 w 2427461"/>
              <a:gd name="connsiteY8" fmla="*/ 434897 h 2496364"/>
              <a:gd name="connsiteX9" fmla="*/ 1956204 w 2427461"/>
              <a:gd name="connsiteY9" fmla="*/ 352984 h 2496364"/>
              <a:gd name="connsiteX10" fmla="*/ 1956204 w 2427461"/>
              <a:gd name="connsiteY10" fmla="*/ 224715 h 2496364"/>
              <a:gd name="connsiteX11" fmla="*/ 1884401 w 2427461"/>
              <a:gd name="connsiteY11" fmla="*/ 224715 h 2496364"/>
              <a:gd name="connsiteX12" fmla="*/ 1884401 w 2427461"/>
              <a:gd name="connsiteY12" fmla="*/ 301027 h 2496364"/>
              <a:gd name="connsiteX13" fmla="*/ 1814350 w 2427461"/>
              <a:gd name="connsiteY13" fmla="*/ 257945 h 2496364"/>
              <a:gd name="connsiteX14" fmla="*/ 1814350 w 2427461"/>
              <a:gd name="connsiteY14" fmla="*/ 172040 h 2496364"/>
              <a:gd name="connsiteX15" fmla="*/ 1742546 w 2427461"/>
              <a:gd name="connsiteY15" fmla="*/ 172040 h 2496364"/>
              <a:gd name="connsiteX16" fmla="*/ 1742546 w 2427461"/>
              <a:gd name="connsiteY16" fmla="*/ 219717 h 2496364"/>
              <a:gd name="connsiteX17" fmla="*/ 1684616 w 2427461"/>
              <a:gd name="connsiteY17" fmla="*/ 193294 h 2496364"/>
              <a:gd name="connsiteX18" fmla="*/ 1684616 w 2427461"/>
              <a:gd name="connsiteY18" fmla="*/ 138465 h 2496364"/>
              <a:gd name="connsiteX19" fmla="*/ 1612813 w 2427461"/>
              <a:gd name="connsiteY19" fmla="*/ 138465 h 2496364"/>
              <a:gd name="connsiteX20" fmla="*/ 1612813 w 2427461"/>
              <a:gd name="connsiteY20" fmla="*/ 165894 h 2496364"/>
              <a:gd name="connsiteX21" fmla="*/ 1543795 w 2427461"/>
              <a:gd name="connsiteY21" fmla="*/ 144152 h 2496364"/>
              <a:gd name="connsiteX22" fmla="*/ 1543795 w 2427461"/>
              <a:gd name="connsiteY22" fmla="*/ 4509 h 2496364"/>
              <a:gd name="connsiteX23" fmla="*/ 1471992 w 2427461"/>
              <a:gd name="connsiteY23" fmla="*/ 4509 h 2496364"/>
              <a:gd name="connsiteX24" fmla="*/ 1471992 w 2427461"/>
              <a:gd name="connsiteY24" fmla="*/ 126058 h 2496364"/>
              <a:gd name="connsiteX25" fmla="*/ 1243084 w 2427461"/>
              <a:gd name="connsiteY25" fmla="*/ 98801 h 2496364"/>
              <a:gd name="connsiteX26" fmla="*/ 1243084 w 2427461"/>
              <a:gd name="connsiteY26" fmla="*/ 0 h 2496364"/>
              <a:gd name="connsiteX27" fmla="*/ 1171281 w 2427461"/>
              <a:gd name="connsiteY27" fmla="*/ 0 h 2496364"/>
              <a:gd name="connsiteX28" fmla="*/ 1171281 w 2427461"/>
              <a:gd name="connsiteY28" fmla="*/ 99117 h 2496364"/>
              <a:gd name="connsiteX29" fmla="*/ 958973 w 2427461"/>
              <a:gd name="connsiteY29" fmla="*/ 125110 h 2496364"/>
              <a:gd name="connsiteX30" fmla="*/ 958973 w 2427461"/>
              <a:gd name="connsiteY30" fmla="*/ 0 h 2496364"/>
              <a:gd name="connsiteX31" fmla="*/ 887170 w 2427461"/>
              <a:gd name="connsiteY31" fmla="*/ 0 h 2496364"/>
              <a:gd name="connsiteX32" fmla="*/ 887170 w 2427461"/>
              <a:gd name="connsiteY32" fmla="*/ 142974 h 2496364"/>
              <a:gd name="connsiteX33" fmla="*/ 817493 w 2427461"/>
              <a:gd name="connsiteY33" fmla="*/ 164745 h 2496364"/>
              <a:gd name="connsiteX34" fmla="*/ 817493 w 2427461"/>
              <a:gd name="connsiteY34" fmla="*/ 133956 h 2496364"/>
              <a:gd name="connsiteX35" fmla="*/ 745690 w 2427461"/>
              <a:gd name="connsiteY35" fmla="*/ 133956 h 2496364"/>
              <a:gd name="connsiteX36" fmla="*/ 745690 w 2427461"/>
              <a:gd name="connsiteY36" fmla="*/ 191944 h 2496364"/>
              <a:gd name="connsiteX37" fmla="*/ 687156 w 2427461"/>
              <a:gd name="connsiteY37" fmla="*/ 218253 h 2496364"/>
              <a:gd name="connsiteX38" fmla="*/ 687156 w 2427461"/>
              <a:gd name="connsiteY38" fmla="*/ 167560 h 2496364"/>
              <a:gd name="connsiteX39" fmla="*/ 615353 w 2427461"/>
              <a:gd name="connsiteY39" fmla="*/ 167560 h 2496364"/>
              <a:gd name="connsiteX40" fmla="*/ 615353 w 2427461"/>
              <a:gd name="connsiteY40" fmla="*/ 256337 h 2496364"/>
              <a:gd name="connsiteX41" fmla="*/ 544641 w 2427461"/>
              <a:gd name="connsiteY41" fmla="*/ 299706 h 2496364"/>
              <a:gd name="connsiteX42" fmla="*/ 544641 w 2427461"/>
              <a:gd name="connsiteY42" fmla="*/ 220206 h 2496364"/>
              <a:gd name="connsiteX43" fmla="*/ 472838 w 2427461"/>
              <a:gd name="connsiteY43" fmla="*/ 220206 h 2496364"/>
              <a:gd name="connsiteX44" fmla="*/ 472838 w 2427461"/>
              <a:gd name="connsiteY44" fmla="*/ 351261 h 2496364"/>
              <a:gd name="connsiteX45" fmla="*/ 377110 w 2427461"/>
              <a:gd name="connsiteY45" fmla="*/ 433547 h 2496364"/>
              <a:gd name="connsiteX46" fmla="*/ 377110 w 2427461"/>
              <a:gd name="connsiteY46" fmla="*/ 348906 h 2496364"/>
              <a:gd name="connsiteX47" fmla="*/ 305307 w 2427461"/>
              <a:gd name="connsiteY47" fmla="*/ 348906 h 2496364"/>
              <a:gd name="connsiteX48" fmla="*/ 305307 w 2427461"/>
              <a:gd name="connsiteY48" fmla="*/ 507906 h 2496364"/>
              <a:gd name="connsiteX49" fmla="*/ 223940 w 2427461"/>
              <a:gd name="connsiteY49" fmla="*/ 610441 h 2496364"/>
              <a:gd name="connsiteX50" fmla="*/ 223940 w 2427461"/>
              <a:gd name="connsiteY50" fmla="*/ 512186 h 2496364"/>
              <a:gd name="connsiteX51" fmla="*/ 152136 w 2427461"/>
              <a:gd name="connsiteY51" fmla="*/ 512186 h 2496364"/>
              <a:gd name="connsiteX52" fmla="*/ 152136 w 2427461"/>
              <a:gd name="connsiteY52" fmla="*/ 722741 h 2496364"/>
              <a:gd name="connsiteX53" fmla="*/ 152912 w 2427461"/>
              <a:gd name="connsiteY53" fmla="*/ 722741 h 2496364"/>
              <a:gd name="connsiteX54" fmla="*/ 0 w 2427461"/>
              <a:gd name="connsiteY54" fmla="*/ 1311527 h 2496364"/>
              <a:gd name="connsiteX55" fmla="*/ 37740 w 2427461"/>
              <a:gd name="connsiteY55" fmla="*/ 1347428 h 2496364"/>
              <a:gd name="connsiteX56" fmla="*/ 73440 w 2427461"/>
              <a:gd name="connsiteY56" fmla="*/ 1315375 h 2496364"/>
              <a:gd name="connsiteX57" fmla="*/ 429210 w 2427461"/>
              <a:gd name="connsiteY57" fmla="*/ 1039565 h 2496364"/>
              <a:gd name="connsiteX58" fmla="*/ 781246 w 2427461"/>
              <a:gd name="connsiteY58" fmla="*/ 1292657 h 2496364"/>
              <a:gd name="connsiteX59" fmla="*/ 816459 w 2427461"/>
              <a:gd name="connsiteY59" fmla="*/ 1321579 h 2496364"/>
              <a:gd name="connsiteX60" fmla="*/ 851671 w 2427461"/>
              <a:gd name="connsiteY60" fmla="*/ 1292657 h 2496364"/>
              <a:gd name="connsiteX61" fmla="*/ 1171281 w 2427461"/>
              <a:gd name="connsiteY61" fmla="*/ 1040800 h 2496364"/>
              <a:gd name="connsiteX62" fmla="*/ 1171281 w 2427461"/>
              <a:gd name="connsiteY62" fmla="*/ 1175158 h 2496364"/>
              <a:gd name="connsiteX63" fmla="*/ 1147414 w 2427461"/>
              <a:gd name="connsiteY63" fmla="*/ 1175158 h 2496364"/>
              <a:gd name="connsiteX64" fmla="*/ 1111512 w 2427461"/>
              <a:gd name="connsiteY64" fmla="*/ 1211060 h 2496364"/>
              <a:gd name="connsiteX65" fmla="*/ 1147414 w 2427461"/>
              <a:gd name="connsiteY65" fmla="*/ 1246961 h 2496364"/>
              <a:gd name="connsiteX66" fmla="*/ 1171281 w 2427461"/>
              <a:gd name="connsiteY66" fmla="*/ 1246961 h 2496364"/>
              <a:gd name="connsiteX67" fmla="*/ 1171281 w 2427461"/>
              <a:gd name="connsiteY67" fmla="*/ 2137320 h 2496364"/>
              <a:gd name="connsiteX68" fmla="*/ 1147414 w 2427461"/>
              <a:gd name="connsiteY68" fmla="*/ 2137320 h 2496364"/>
              <a:gd name="connsiteX69" fmla="*/ 1111512 w 2427461"/>
              <a:gd name="connsiteY69" fmla="*/ 2173221 h 2496364"/>
              <a:gd name="connsiteX70" fmla="*/ 1147414 w 2427461"/>
              <a:gd name="connsiteY70" fmla="*/ 2209123 h 2496364"/>
              <a:gd name="connsiteX71" fmla="*/ 1171281 w 2427461"/>
              <a:gd name="connsiteY71" fmla="*/ 2209123 h 2496364"/>
              <a:gd name="connsiteX72" fmla="*/ 1171281 w 2427461"/>
              <a:gd name="connsiteY72" fmla="*/ 2345578 h 2496364"/>
              <a:gd name="connsiteX73" fmla="*/ 1092298 w 2427461"/>
              <a:gd name="connsiteY73" fmla="*/ 2424561 h 2496364"/>
              <a:gd name="connsiteX74" fmla="*/ 1013314 w 2427461"/>
              <a:gd name="connsiteY74" fmla="*/ 2345578 h 2496364"/>
              <a:gd name="connsiteX75" fmla="*/ 941511 w 2427461"/>
              <a:gd name="connsiteY75" fmla="*/ 2345578 h 2496364"/>
              <a:gd name="connsiteX76" fmla="*/ 1092298 w 2427461"/>
              <a:gd name="connsiteY76" fmla="*/ 2496364 h 2496364"/>
              <a:gd name="connsiteX77" fmla="*/ 1243084 w 2427461"/>
              <a:gd name="connsiteY77" fmla="*/ 2345578 h 2496364"/>
              <a:gd name="connsiteX78" fmla="*/ 1243084 w 2427461"/>
              <a:gd name="connsiteY78" fmla="*/ 2209152 h 2496364"/>
              <a:gd name="connsiteX79" fmla="*/ 1275912 w 2427461"/>
              <a:gd name="connsiteY79" fmla="*/ 2209152 h 2496364"/>
              <a:gd name="connsiteX80" fmla="*/ 1311814 w 2427461"/>
              <a:gd name="connsiteY80" fmla="*/ 2173250 h 2496364"/>
              <a:gd name="connsiteX81" fmla="*/ 1275912 w 2427461"/>
              <a:gd name="connsiteY81" fmla="*/ 2137349 h 2496364"/>
              <a:gd name="connsiteX82" fmla="*/ 1243084 w 2427461"/>
              <a:gd name="connsiteY82" fmla="*/ 2137349 h 2496364"/>
              <a:gd name="connsiteX83" fmla="*/ 1243084 w 2427461"/>
              <a:gd name="connsiteY83" fmla="*/ 1246990 h 2496364"/>
              <a:gd name="connsiteX84" fmla="*/ 1275912 w 2427461"/>
              <a:gd name="connsiteY84" fmla="*/ 1246990 h 2496364"/>
              <a:gd name="connsiteX85" fmla="*/ 1311814 w 2427461"/>
              <a:gd name="connsiteY85" fmla="*/ 1211089 h 2496364"/>
              <a:gd name="connsiteX86" fmla="*/ 1275912 w 2427461"/>
              <a:gd name="connsiteY86" fmla="*/ 1175187 h 2496364"/>
              <a:gd name="connsiteX87" fmla="*/ 1243084 w 2427461"/>
              <a:gd name="connsiteY87" fmla="*/ 1175187 h 2496364"/>
              <a:gd name="connsiteX88" fmla="*/ 1243084 w 2427461"/>
              <a:gd name="connsiteY88" fmla="*/ 1041576 h 2496364"/>
              <a:gd name="connsiteX89" fmla="*/ 1559449 w 2427461"/>
              <a:gd name="connsiteY89" fmla="*/ 1315404 h 2496364"/>
              <a:gd name="connsiteX90" fmla="*/ 1595149 w 2427461"/>
              <a:gd name="connsiteY90" fmla="*/ 1347457 h 2496364"/>
              <a:gd name="connsiteX91" fmla="*/ 1606207 w 2427461"/>
              <a:gd name="connsiteY91" fmla="*/ 1347457 h 2496364"/>
              <a:gd name="connsiteX92" fmla="*/ 1641907 w 2427461"/>
              <a:gd name="connsiteY92" fmla="*/ 1315404 h 2496364"/>
              <a:gd name="connsiteX93" fmla="*/ 1997706 w 2427461"/>
              <a:gd name="connsiteY93" fmla="*/ 1039594 h 2496364"/>
              <a:gd name="connsiteX94" fmla="*/ 2353447 w 2427461"/>
              <a:gd name="connsiteY94" fmla="*/ 1315404 h 2496364"/>
              <a:gd name="connsiteX95" fmla="*/ 2389148 w 2427461"/>
              <a:gd name="connsiteY95" fmla="*/ 1347457 h 2496364"/>
              <a:gd name="connsiteX96" fmla="*/ 2390986 w 2427461"/>
              <a:gd name="connsiteY96" fmla="*/ 1347457 h 2496364"/>
              <a:gd name="connsiteX97" fmla="*/ 2391560 w 2427461"/>
              <a:gd name="connsiteY97" fmla="*/ 1347457 h 2496364"/>
              <a:gd name="connsiteX98" fmla="*/ 2427462 w 2427461"/>
              <a:gd name="connsiteY98" fmla="*/ 1311556 h 2496364"/>
              <a:gd name="connsiteX99" fmla="*/ 2426859 w 2427461"/>
              <a:gd name="connsiteY99" fmla="*/ 1305036 h 2496364"/>
              <a:gd name="connsiteX100" fmla="*/ 88978 w 2427461"/>
              <a:gd name="connsiteY100" fmla="*/ 1113465 h 2496364"/>
              <a:gd name="connsiteX101" fmla="*/ 920889 w 2427461"/>
              <a:gd name="connsiteY101" fmla="*/ 208057 h 2496364"/>
              <a:gd name="connsiteX102" fmla="*/ 393050 w 2427461"/>
              <a:gd name="connsiteY102" fmla="*/ 969629 h 2496364"/>
              <a:gd name="connsiteX103" fmla="*/ 88978 w 2427461"/>
              <a:gd name="connsiteY103" fmla="*/ 1113465 h 2496364"/>
              <a:gd name="connsiteX104" fmla="*/ 467237 w 2427461"/>
              <a:gd name="connsiteY104" fmla="*/ 969399 h 2496364"/>
              <a:gd name="connsiteX105" fmla="*/ 1122800 w 2427461"/>
              <a:gd name="connsiteY105" fmla="*/ 201077 h 2496364"/>
              <a:gd name="connsiteX106" fmla="*/ 790409 w 2427461"/>
              <a:gd name="connsiteY106" fmla="*/ 1140635 h 2496364"/>
              <a:gd name="connsiteX107" fmla="*/ 467237 w 2427461"/>
              <a:gd name="connsiteY107" fmla="*/ 969399 h 2496364"/>
              <a:gd name="connsiteX108" fmla="*/ 863217 w 2427461"/>
              <a:gd name="connsiteY108" fmla="*/ 1114556 h 2496364"/>
              <a:gd name="connsiteX109" fmla="*/ 1171281 w 2427461"/>
              <a:gd name="connsiteY109" fmla="*/ 255418 h 2496364"/>
              <a:gd name="connsiteX110" fmla="*/ 1171281 w 2427461"/>
              <a:gd name="connsiteY110" fmla="*/ 968882 h 2496364"/>
              <a:gd name="connsiteX111" fmla="*/ 863217 w 2427461"/>
              <a:gd name="connsiteY111" fmla="*/ 1114556 h 2496364"/>
              <a:gd name="connsiteX112" fmla="*/ 1243084 w 2427461"/>
              <a:gd name="connsiteY112" fmla="*/ 969514 h 2496364"/>
              <a:gd name="connsiteX113" fmla="*/ 1243084 w 2427461"/>
              <a:gd name="connsiteY113" fmla="*/ 244849 h 2496364"/>
              <a:gd name="connsiteX114" fmla="*/ 1560368 w 2427461"/>
              <a:gd name="connsiteY114" fmla="*/ 1133886 h 2496364"/>
              <a:gd name="connsiteX115" fmla="*/ 1243084 w 2427461"/>
              <a:gd name="connsiteY115" fmla="*/ 969514 h 2496364"/>
              <a:gd name="connsiteX116" fmla="*/ 1632659 w 2427461"/>
              <a:gd name="connsiteY116" fmla="*/ 1145173 h 2496364"/>
              <a:gd name="connsiteX117" fmla="*/ 1300096 w 2427461"/>
              <a:gd name="connsiteY117" fmla="*/ 201077 h 2496364"/>
              <a:gd name="connsiteX118" fmla="*/ 1955744 w 2427461"/>
              <a:gd name="connsiteY118" fmla="*/ 969773 h 2496364"/>
              <a:gd name="connsiteX119" fmla="*/ 1632659 w 2427461"/>
              <a:gd name="connsiteY119" fmla="*/ 1145173 h 2496364"/>
              <a:gd name="connsiteX120" fmla="*/ 2029759 w 2427461"/>
              <a:gd name="connsiteY120" fmla="*/ 969428 h 2496364"/>
              <a:gd name="connsiteX121" fmla="*/ 1498789 w 2427461"/>
              <a:gd name="connsiteY121" fmla="*/ 206247 h 2496364"/>
              <a:gd name="connsiteX122" fmla="*/ 2337909 w 2427461"/>
              <a:gd name="connsiteY122" fmla="*/ 1113465 h 2496364"/>
              <a:gd name="connsiteX123" fmla="*/ 2029759 w 2427461"/>
              <a:gd name="connsiteY123" fmla="*/ 969428 h 2496364"/>
              <a:gd name="connsiteX0" fmla="*/ 2426859 w 2427462"/>
              <a:gd name="connsiteY0" fmla="*/ 1305036 h 2496364"/>
              <a:gd name="connsiteX1" fmla="*/ 2275440 w 2427462"/>
              <a:gd name="connsiteY1" fmla="*/ 725154 h 2496364"/>
              <a:gd name="connsiteX2" fmla="*/ 2275440 w 2427462"/>
              <a:gd name="connsiteY2" fmla="*/ 516753 h 2496364"/>
              <a:gd name="connsiteX3" fmla="*/ 2203637 w 2427462"/>
              <a:gd name="connsiteY3" fmla="*/ 516753 h 2496364"/>
              <a:gd name="connsiteX4" fmla="*/ 2203637 w 2427462"/>
              <a:gd name="connsiteY4" fmla="*/ 611418 h 2496364"/>
              <a:gd name="connsiteX5" fmla="*/ 2122988 w 2427462"/>
              <a:gd name="connsiteY5" fmla="*/ 509601 h 2496364"/>
              <a:gd name="connsiteX6" fmla="*/ 2122988 w 2427462"/>
              <a:gd name="connsiteY6" fmla="*/ 353444 h 2496364"/>
              <a:gd name="connsiteX7" fmla="*/ 2051185 w 2427462"/>
              <a:gd name="connsiteY7" fmla="*/ 353444 h 2496364"/>
              <a:gd name="connsiteX8" fmla="*/ 2051185 w 2427462"/>
              <a:gd name="connsiteY8" fmla="*/ 434897 h 2496364"/>
              <a:gd name="connsiteX9" fmla="*/ 1956204 w 2427462"/>
              <a:gd name="connsiteY9" fmla="*/ 352984 h 2496364"/>
              <a:gd name="connsiteX10" fmla="*/ 1956204 w 2427462"/>
              <a:gd name="connsiteY10" fmla="*/ 224715 h 2496364"/>
              <a:gd name="connsiteX11" fmla="*/ 1884401 w 2427462"/>
              <a:gd name="connsiteY11" fmla="*/ 224715 h 2496364"/>
              <a:gd name="connsiteX12" fmla="*/ 1884401 w 2427462"/>
              <a:gd name="connsiteY12" fmla="*/ 301027 h 2496364"/>
              <a:gd name="connsiteX13" fmla="*/ 1814350 w 2427462"/>
              <a:gd name="connsiteY13" fmla="*/ 257945 h 2496364"/>
              <a:gd name="connsiteX14" fmla="*/ 1814350 w 2427462"/>
              <a:gd name="connsiteY14" fmla="*/ 172040 h 2496364"/>
              <a:gd name="connsiteX15" fmla="*/ 1742546 w 2427462"/>
              <a:gd name="connsiteY15" fmla="*/ 172040 h 2496364"/>
              <a:gd name="connsiteX16" fmla="*/ 1742546 w 2427462"/>
              <a:gd name="connsiteY16" fmla="*/ 219717 h 2496364"/>
              <a:gd name="connsiteX17" fmla="*/ 1684616 w 2427462"/>
              <a:gd name="connsiteY17" fmla="*/ 193294 h 2496364"/>
              <a:gd name="connsiteX18" fmla="*/ 1684616 w 2427462"/>
              <a:gd name="connsiteY18" fmla="*/ 138465 h 2496364"/>
              <a:gd name="connsiteX19" fmla="*/ 1612813 w 2427462"/>
              <a:gd name="connsiteY19" fmla="*/ 138465 h 2496364"/>
              <a:gd name="connsiteX20" fmla="*/ 1612813 w 2427462"/>
              <a:gd name="connsiteY20" fmla="*/ 165894 h 2496364"/>
              <a:gd name="connsiteX21" fmla="*/ 1543795 w 2427462"/>
              <a:gd name="connsiteY21" fmla="*/ 144152 h 2496364"/>
              <a:gd name="connsiteX22" fmla="*/ 1543795 w 2427462"/>
              <a:gd name="connsiteY22" fmla="*/ 4509 h 2496364"/>
              <a:gd name="connsiteX23" fmla="*/ 1471992 w 2427462"/>
              <a:gd name="connsiteY23" fmla="*/ 4509 h 2496364"/>
              <a:gd name="connsiteX24" fmla="*/ 1471992 w 2427462"/>
              <a:gd name="connsiteY24" fmla="*/ 126058 h 2496364"/>
              <a:gd name="connsiteX25" fmla="*/ 1243084 w 2427462"/>
              <a:gd name="connsiteY25" fmla="*/ 98801 h 2496364"/>
              <a:gd name="connsiteX26" fmla="*/ 1243084 w 2427462"/>
              <a:gd name="connsiteY26" fmla="*/ 0 h 2496364"/>
              <a:gd name="connsiteX27" fmla="*/ 1171281 w 2427462"/>
              <a:gd name="connsiteY27" fmla="*/ 0 h 2496364"/>
              <a:gd name="connsiteX28" fmla="*/ 1171281 w 2427462"/>
              <a:gd name="connsiteY28" fmla="*/ 99117 h 2496364"/>
              <a:gd name="connsiteX29" fmla="*/ 958973 w 2427462"/>
              <a:gd name="connsiteY29" fmla="*/ 125110 h 2496364"/>
              <a:gd name="connsiteX30" fmla="*/ 958973 w 2427462"/>
              <a:gd name="connsiteY30" fmla="*/ 0 h 2496364"/>
              <a:gd name="connsiteX31" fmla="*/ 887170 w 2427462"/>
              <a:gd name="connsiteY31" fmla="*/ 0 h 2496364"/>
              <a:gd name="connsiteX32" fmla="*/ 887170 w 2427462"/>
              <a:gd name="connsiteY32" fmla="*/ 142974 h 2496364"/>
              <a:gd name="connsiteX33" fmla="*/ 817493 w 2427462"/>
              <a:gd name="connsiteY33" fmla="*/ 164745 h 2496364"/>
              <a:gd name="connsiteX34" fmla="*/ 817493 w 2427462"/>
              <a:gd name="connsiteY34" fmla="*/ 133956 h 2496364"/>
              <a:gd name="connsiteX35" fmla="*/ 745690 w 2427462"/>
              <a:gd name="connsiteY35" fmla="*/ 133956 h 2496364"/>
              <a:gd name="connsiteX36" fmla="*/ 745690 w 2427462"/>
              <a:gd name="connsiteY36" fmla="*/ 191944 h 2496364"/>
              <a:gd name="connsiteX37" fmla="*/ 687156 w 2427462"/>
              <a:gd name="connsiteY37" fmla="*/ 218253 h 2496364"/>
              <a:gd name="connsiteX38" fmla="*/ 687156 w 2427462"/>
              <a:gd name="connsiteY38" fmla="*/ 167560 h 2496364"/>
              <a:gd name="connsiteX39" fmla="*/ 615353 w 2427462"/>
              <a:gd name="connsiteY39" fmla="*/ 167560 h 2496364"/>
              <a:gd name="connsiteX40" fmla="*/ 615353 w 2427462"/>
              <a:gd name="connsiteY40" fmla="*/ 256337 h 2496364"/>
              <a:gd name="connsiteX41" fmla="*/ 544641 w 2427462"/>
              <a:gd name="connsiteY41" fmla="*/ 299706 h 2496364"/>
              <a:gd name="connsiteX42" fmla="*/ 544641 w 2427462"/>
              <a:gd name="connsiteY42" fmla="*/ 220206 h 2496364"/>
              <a:gd name="connsiteX43" fmla="*/ 472838 w 2427462"/>
              <a:gd name="connsiteY43" fmla="*/ 220206 h 2496364"/>
              <a:gd name="connsiteX44" fmla="*/ 472838 w 2427462"/>
              <a:gd name="connsiteY44" fmla="*/ 351261 h 2496364"/>
              <a:gd name="connsiteX45" fmla="*/ 377110 w 2427462"/>
              <a:gd name="connsiteY45" fmla="*/ 433547 h 2496364"/>
              <a:gd name="connsiteX46" fmla="*/ 377110 w 2427462"/>
              <a:gd name="connsiteY46" fmla="*/ 348906 h 2496364"/>
              <a:gd name="connsiteX47" fmla="*/ 305307 w 2427462"/>
              <a:gd name="connsiteY47" fmla="*/ 348906 h 2496364"/>
              <a:gd name="connsiteX48" fmla="*/ 305307 w 2427462"/>
              <a:gd name="connsiteY48" fmla="*/ 507906 h 2496364"/>
              <a:gd name="connsiteX49" fmla="*/ 223940 w 2427462"/>
              <a:gd name="connsiteY49" fmla="*/ 610441 h 2496364"/>
              <a:gd name="connsiteX50" fmla="*/ 223940 w 2427462"/>
              <a:gd name="connsiteY50" fmla="*/ 512186 h 2496364"/>
              <a:gd name="connsiteX51" fmla="*/ 152136 w 2427462"/>
              <a:gd name="connsiteY51" fmla="*/ 512186 h 2496364"/>
              <a:gd name="connsiteX52" fmla="*/ 152136 w 2427462"/>
              <a:gd name="connsiteY52" fmla="*/ 722741 h 2496364"/>
              <a:gd name="connsiteX53" fmla="*/ 152912 w 2427462"/>
              <a:gd name="connsiteY53" fmla="*/ 722741 h 2496364"/>
              <a:gd name="connsiteX54" fmla="*/ 0 w 2427462"/>
              <a:gd name="connsiteY54" fmla="*/ 1311527 h 2496364"/>
              <a:gd name="connsiteX55" fmla="*/ 37740 w 2427462"/>
              <a:gd name="connsiteY55" fmla="*/ 1347428 h 2496364"/>
              <a:gd name="connsiteX56" fmla="*/ 73440 w 2427462"/>
              <a:gd name="connsiteY56" fmla="*/ 1315375 h 2496364"/>
              <a:gd name="connsiteX57" fmla="*/ 429210 w 2427462"/>
              <a:gd name="connsiteY57" fmla="*/ 1039565 h 2496364"/>
              <a:gd name="connsiteX58" fmla="*/ 781246 w 2427462"/>
              <a:gd name="connsiteY58" fmla="*/ 1292657 h 2496364"/>
              <a:gd name="connsiteX59" fmla="*/ 816459 w 2427462"/>
              <a:gd name="connsiteY59" fmla="*/ 1321579 h 2496364"/>
              <a:gd name="connsiteX60" fmla="*/ 851671 w 2427462"/>
              <a:gd name="connsiteY60" fmla="*/ 1292657 h 2496364"/>
              <a:gd name="connsiteX61" fmla="*/ 1171281 w 2427462"/>
              <a:gd name="connsiteY61" fmla="*/ 1040800 h 2496364"/>
              <a:gd name="connsiteX62" fmla="*/ 1171281 w 2427462"/>
              <a:gd name="connsiteY62" fmla="*/ 1175158 h 2496364"/>
              <a:gd name="connsiteX63" fmla="*/ 1147414 w 2427462"/>
              <a:gd name="connsiteY63" fmla="*/ 1175158 h 2496364"/>
              <a:gd name="connsiteX64" fmla="*/ 1111512 w 2427462"/>
              <a:gd name="connsiteY64" fmla="*/ 1211060 h 2496364"/>
              <a:gd name="connsiteX65" fmla="*/ 1147414 w 2427462"/>
              <a:gd name="connsiteY65" fmla="*/ 1246961 h 2496364"/>
              <a:gd name="connsiteX66" fmla="*/ 1171281 w 2427462"/>
              <a:gd name="connsiteY66" fmla="*/ 1246961 h 2496364"/>
              <a:gd name="connsiteX67" fmla="*/ 1171281 w 2427462"/>
              <a:gd name="connsiteY67" fmla="*/ 2137320 h 2496364"/>
              <a:gd name="connsiteX68" fmla="*/ 1147414 w 2427462"/>
              <a:gd name="connsiteY68" fmla="*/ 2137320 h 2496364"/>
              <a:gd name="connsiteX69" fmla="*/ 1111512 w 2427462"/>
              <a:gd name="connsiteY69" fmla="*/ 2173221 h 2496364"/>
              <a:gd name="connsiteX70" fmla="*/ 1147414 w 2427462"/>
              <a:gd name="connsiteY70" fmla="*/ 2209123 h 2496364"/>
              <a:gd name="connsiteX71" fmla="*/ 1171281 w 2427462"/>
              <a:gd name="connsiteY71" fmla="*/ 2209123 h 2496364"/>
              <a:gd name="connsiteX72" fmla="*/ 1171281 w 2427462"/>
              <a:gd name="connsiteY72" fmla="*/ 2345578 h 2496364"/>
              <a:gd name="connsiteX73" fmla="*/ 1092298 w 2427462"/>
              <a:gd name="connsiteY73" fmla="*/ 2424561 h 2496364"/>
              <a:gd name="connsiteX74" fmla="*/ 1013314 w 2427462"/>
              <a:gd name="connsiteY74" fmla="*/ 2345578 h 2496364"/>
              <a:gd name="connsiteX75" fmla="*/ 1092298 w 2427462"/>
              <a:gd name="connsiteY75" fmla="*/ 2496364 h 2496364"/>
              <a:gd name="connsiteX76" fmla="*/ 1243084 w 2427462"/>
              <a:gd name="connsiteY76" fmla="*/ 2345578 h 2496364"/>
              <a:gd name="connsiteX77" fmla="*/ 1243084 w 2427462"/>
              <a:gd name="connsiteY77" fmla="*/ 2209152 h 2496364"/>
              <a:gd name="connsiteX78" fmla="*/ 1275912 w 2427462"/>
              <a:gd name="connsiteY78" fmla="*/ 2209152 h 2496364"/>
              <a:gd name="connsiteX79" fmla="*/ 1311814 w 2427462"/>
              <a:gd name="connsiteY79" fmla="*/ 2173250 h 2496364"/>
              <a:gd name="connsiteX80" fmla="*/ 1275912 w 2427462"/>
              <a:gd name="connsiteY80" fmla="*/ 2137349 h 2496364"/>
              <a:gd name="connsiteX81" fmla="*/ 1243084 w 2427462"/>
              <a:gd name="connsiteY81" fmla="*/ 2137349 h 2496364"/>
              <a:gd name="connsiteX82" fmla="*/ 1243084 w 2427462"/>
              <a:gd name="connsiteY82" fmla="*/ 1246990 h 2496364"/>
              <a:gd name="connsiteX83" fmla="*/ 1275912 w 2427462"/>
              <a:gd name="connsiteY83" fmla="*/ 1246990 h 2496364"/>
              <a:gd name="connsiteX84" fmla="*/ 1311814 w 2427462"/>
              <a:gd name="connsiteY84" fmla="*/ 1211089 h 2496364"/>
              <a:gd name="connsiteX85" fmla="*/ 1275912 w 2427462"/>
              <a:gd name="connsiteY85" fmla="*/ 1175187 h 2496364"/>
              <a:gd name="connsiteX86" fmla="*/ 1243084 w 2427462"/>
              <a:gd name="connsiteY86" fmla="*/ 1175187 h 2496364"/>
              <a:gd name="connsiteX87" fmla="*/ 1243084 w 2427462"/>
              <a:gd name="connsiteY87" fmla="*/ 1041576 h 2496364"/>
              <a:gd name="connsiteX88" fmla="*/ 1559449 w 2427462"/>
              <a:gd name="connsiteY88" fmla="*/ 1315404 h 2496364"/>
              <a:gd name="connsiteX89" fmla="*/ 1595149 w 2427462"/>
              <a:gd name="connsiteY89" fmla="*/ 1347457 h 2496364"/>
              <a:gd name="connsiteX90" fmla="*/ 1606207 w 2427462"/>
              <a:gd name="connsiteY90" fmla="*/ 1347457 h 2496364"/>
              <a:gd name="connsiteX91" fmla="*/ 1641907 w 2427462"/>
              <a:gd name="connsiteY91" fmla="*/ 1315404 h 2496364"/>
              <a:gd name="connsiteX92" fmla="*/ 1997706 w 2427462"/>
              <a:gd name="connsiteY92" fmla="*/ 1039594 h 2496364"/>
              <a:gd name="connsiteX93" fmla="*/ 2353447 w 2427462"/>
              <a:gd name="connsiteY93" fmla="*/ 1315404 h 2496364"/>
              <a:gd name="connsiteX94" fmla="*/ 2389148 w 2427462"/>
              <a:gd name="connsiteY94" fmla="*/ 1347457 h 2496364"/>
              <a:gd name="connsiteX95" fmla="*/ 2390986 w 2427462"/>
              <a:gd name="connsiteY95" fmla="*/ 1347457 h 2496364"/>
              <a:gd name="connsiteX96" fmla="*/ 2391560 w 2427462"/>
              <a:gd name="connsiteY96" fmla="*/ 1347457 h 2496364"/>
              <a:gd name="connsiteX97" fmla="*/ 2427462 w 2427462"/>
              <a:gd name="connsiteY97" fmla="*/ 1311556 h 2496364"/>
              <a:gd name="connsiteX98" fmla="*/ 2426859 w 2427462"/>
              <a:gd name="connsiteY98" fmla="*/ 1305036 h 2496364"/>
              <a:gd name="connsiteX99" fmla="*/ 88978 w 2427462"/>
              <a:gd name="connsiteY99" fmla="*/ 1113465 h 2496364"/>
              <a:gd name="connsiteX100" fmla="*/ 920889 w 2427462"/>
              <a:gd name="connsiteY100" fmla="*/ 208057 h 2496364"/>
              <a:gd name="connsiteX101" fmla="*/ 393050 w 2427462"/>
              <a:gd name="connsiteY101" fmla="*/ 969629 h 2496364"/>
              <a:gd name="connsiteX102" fmla="*/ 88978 w 2427462"/>
              <a:gd name="connsiteY102" fmla="*/ 1113465 h 2496364"/>
              <a:gd name="connsiteX103" fmla="*/ 467237 w 2427462"/>
              <a:gd name="connsiteY103" fmla="*/ 969399 h 2496364"/>
              <a:gd name="connsiteX104" fmla="*/ 1122800 w 2427462"/>
              <a:gd name="connsiteY104" fmla="*/ 201077 h 2496364"/>
              <a:gd name="connsiteX105" fmla="*/ 790409 w 2427462"/>
              <a:gd name="connsiteY105" fmla="*/ 1140635 h 2496364"/>
              <a:gd name="connsiteX106" fmla="*/ 467237 w 2427462"/>
              <a:gd name="connsiteY106" fmla="*/ 969399 h 2496364"/>
              <a:gd name="connsiteX107" fmla="*/ 863217 w 2427462"/>
              <a:gd name="connsiteY107" fmla="*/ 1114556 h 2496364"/>
              <a:gd name="connsiteX108" fmla="*/ 1171281 w 2427462"/>
              <a:gd name="connsiteY108" fmla="*/ 255418 h 2496364"/>
              <a:gd name="connsiteX109" fmla="*/ 1171281 w 2427462"/>
              <a:gd name="connsiteY109" fmla="*/ 968882 h 2496364"/>
              <a:gd name="connsiteX110" fmla="*/ 863217 w 2427462"/>
              <a:gd name="connsiteY110" fmla="*/ 1114556 h 2496364"/>
              <a:gd name="connsiteX111" fmla="*/ 1243084 w 2427462"/>
              <a:gd name="connsiteY111" fmla="*/ 969514 h 2496364"/>
              <a:gd name="connsiteX112" fmla="*/ 1243084 w 2427462"/>
              <a:gd name="connsiteY112" fmla="*/ 244849 h 2496364"/>
              <a:gd name="connsiteX113" fmla="*/ 1560368 w 2427462"/>
              <a:gd name="connsiteY113" fmla="*/ 1133886 h 2496364"/>
              <a:gd name="connsiteX114" fmla="*/ 1243084 w 2427462"/>
              <a:gd name="connsiteY114" fmla="*/ 969514 h 2496364"/>
              <a:gd name="connsiteX115" fmla="*/ 1632659 w 2427462"/>
              <a:gd name="connsiteY115" fmla="*/ 1145173 h 2496364"/>
              <a:gd name="connsiteX116" fmla="*/ 1300096 w 2427462"/>
              <a:gd name="connsiteY116" fmla="*/ 201077 h 2496364"/>
              <a:gd name="connsiteX117" fmla="*/ 1955744 w 2427462"/>
              <a:gd name="connsiteY117" fmla="*/ 969773 h 2496364"/>
              <a:gd name="connsiteX118" fmla="*/ 1632659 w 2427462"/>
              <a:gd name="connsiteY118" fmla="*/ 1145173 h 2496364"/>
              <a:gd name="connsiteX119" fmla="*/ 2029759 w 2427462"/>
              <a:gd name="connsiteY119" fmla="*/ 969428 h 2496364"/>
              <a:gd name="connsiteX120" fmla="*/ 1498789 w 2427462"/>
              <a:gd name="connsiteY120" fmla="*/ 206247 h 2496364"/>
              <a:gd name="connsiteX121" fmla="*/ 2337909 w 2427462"/>
              <a:gd name="connsiteY121" fmla="*/ 1113465 h 2496364"/>
              <a:gd name="connsiteX122" fmla="*/ 2029759 w 2427462"/>
              <a:gd name="connsiteY122" fmla="*/ 969428 h 2496364"/>
              <a:gd name="connsiteX0" fmla="*/ 2426859 w 2427462"/>
              <a:gd name="connsiteY0" fmla="*/ 1305036 h 2498232"/>
              <a:gd name="connsiteX1" fmla="*/ 2275440 w 2427462"/>
              <a:gd name="connsiteY1" fmla="*/ 725154 h 2498232"/>
              <a:gd name="connsiteX2" fmla="*/ 2275440 w 2427462"/>
              <a:gd name="connsiteY2" fmla="*/ 516753 h 2498232"/>
              <a:gd name="connsiteX3" fmla="*/ 2203637 w 2427462"/>
              <a:gd name="connsiteY3" fmla="*/ 516753 h 2498232"/>
              <a:gd name="connsiteX4" fmla="*/ 2203637 w 2427462"/>
              <a:gd name="connsiteY4" fmla="*/ 611418 h 2498232"/>
              <a:gd name="connsiteX5" fmla="*/ 2122988 w 2427462"/>
              <a:gd name="connsiteY5" fmla="*/ 509601 h 2498232"/>
              <a:gd name="connsiteX6" fmla="*/ 2122988 w 2427462"/>
              <a:gd name="connsiteY6" fmla="*/ 353444 h 2498232"/>
              <a:gd name="connsiteX7" fmla="*/ 2051185 w 2427462"/>
              <a:gd name="connsiteY7" fmla="*/ 353444 h 2498232"/>
              <a:gd name="connsiteX8" fmla="*/ 2051185 w 2427462"/>
              <a:gd name="connsiteY8" fmla="*/ 434897 h 2498232"/>
              <a:gd name="connsiteX9" fmla="*/ 1956204 w 2427462"/>
              <a:gd name="connsiteY9" fmla="*/ 352984 h 2498232"/>
              <a:gd name="connsiteX10" fmla="*/ 1956204 w 2427462"/>
              <a:gd name="connsiteY10" fmla="*/ 224715 h 2498232"/>
              <a:gd name="connsiteX11" fmla="*/ 1884401 w 2427462"/>
              <a:gd name="connsiteY11" fmla="*/ 224715 h 2498232"/>
              <a:gd name="connsiteX12" fmla="*/ 1884401 w 2427462"/>
              <a:gd name="connsiteY12" fmla="*/ 301027 h 2498232"/>
              <a:gd name="connsiteX13" fmla="*/ 1814350 w 2427462"/>
              <a:gd name="connsiteY13" fmla="*/ 257945 h 2498232"/>
              <a:gd name="connsiteX14" fmla="*/ 1814350 w 2427462"/>
              <a:gd name="connsiteY14" fmla="*/ 172040 h 2498232"/>
              <a:gd name="connsiteX15" fmla="*/ 1742546 w 2427462"/>
              <a:gd name="connsiteY15" fmla="*/ 172040 h 2498232"/>
              <a:gd name="connsiteX16" fmla="*/ 1742546 w 2427462"/>
              <a:gd name="connsiteY16" fmla="*/ 219717 h 2498232"/>
              <a:gd name="connsiteX17" fmla="*/ 1684616 w 2427462"/>
              <a:gd name="connsiteY17" fmla="*/ 193294 h 2498232"/>
              <a:gd name="connsiteX18" fmla="*/ 1684616 w 2427462"/>
              <a:gd name="connsiteY18" fmla="*/ 138465 h 2498232"/>
              <a:gd name="connsiteX19" fmla="*/ 1612813 w 2427462"/>
              <a:gd name="connsiteY19" fmla="*/ 138465 h 2498232"/>
              <a:gd name="connsiteX20" fmla="*/ 1612813 w 2427462"/>
              <a:gd name="connsiteY20" fmla="*/ 165894 h 2498232"/>
              <a:gd name="connsiteX21" fmla="*/ 1543795 w 2427462"/>
              <a:gd name="connsiteY21" fmla="*/ 144152 h 2498232"/>
              <a:gd name="connsiteX22" fmla="*/ 1543795 w 2427462"/>
              <a:gd name="connsiteY22" fmla="*/ 4509 h 2498232"/>
              <a:gd name="connsiteX23" fmla="*/ 1471992 w 2427462"/>
              <a:gd name="connsiteY23" fmla="*/ 4509 h 2498232"/>
              <a:gd name="connsiteX24" fmla="*/ 1471992 w 2427462"/>
              <a:gd name="connsiteY24" fmla="*/ 126058 h 2498232"/>
              <a:gd name="connsiteX25" fmla="*/ 1243084 w 2427462"/>
              <a:gd name="connsiteY25" fmla="*/ 98801 h 2498232"/>
              <a:gd name="connsiteX26" fmla="*/ 1243084 w 2427462"/>
              <a:gd name="connsiteY26" fmla="*/ 0 h 2498232"/>
              <a:gd name="connsiteX27" fmla="*/ 1171281 w 2427462"/>
              <a:gd name="connsiteY27" fmla="*/ 0 h 2498232"/>
              <a:gd name="connsiteX28" fmla="*/ 1171281 w 2427462"/>
              <a:gd name="connsiteY28" fmla="*/ 99117 h 2498232"/>
              <a:gd name="connsiteX29" fmla="*/ 958973 w 2427462"/>
              <a:gd name="connsiteY29" fmla="*/ 125110 h 2498232"/>
              <a:gd name="connsiteX30" fmla="*/ 958973 w 2427462"/>
              <a:gd name="connsiteY30" fmla="*/ 0 h 2498232"/>
              <a:gd name="connsiteX31" fmla="*/ 887170 w 2427462"/>
              <a:gd name="connsiteY31" fmla="*/ 0 h 2498232"/>
              <a:gd name="connsiteX32" fmla="*/ 887170 w 2427462"/>
              <a:gd name="connsiteY32" fmla="*/ 142974 h 2498232"/>
              <a:gd name="connsiteX33" fmla="*/ 817493 w 2427462"/>
              <a:gd name="connsiteY33" fmla="*/ 164745 h 2498232"/>
              <a:gd name="connsiteX34" fmla="*/ 817493 w 2427462"/>
              <a:gd name="connsiteY34" fmla="*/ 133956 h 2498232"/>
              <a:gd name="connsiteX35" fmla="*/ 745690 w 2427462"/>
              <a:gd name="connsiteY35" fmla="*/ 133956 h 2498232"/>
              <a:gd name="connsiteX36" fmla="*/ 745690 w 2427462"/>
              <a:gd name="connsiteY36" fmla="*/ 191944 h 2498232"/>
              <a:gd name="connsiteX37" fmla="*/ 687156 w 2427462"/>
              <a:gd name="connsiteY37" fmla="*/ 218253 h 2498232"/>
              <a:gd name="connsiteX38" fmla="*/ 687156 w 2427462"/>
              <a:gd name="connsiteY38" fmla="*/ 167560 h 2498232"/>
              <a:gd name="connsiteX39" fmla="*/ 615353 w 2427462"/>
              <a:gd name="connsiteY39" fmla="*/ 167560 h 2498232"/>
              <a:gd name="connsiteX40" fmla="*/ 615353 w 2427462"/>
              <a:gd name="connsiteY40" fmla="*/ 256337 h 2498232"/>
              <a:gd name="connsiteX41" fmla="*/ 544641 w 2427462"/>
              <a:gd name="connsiteY41" fmla="*/ 299706 h 2498232"/>
              <a:gd name="connsiteX42" fmla="*/ 544641 w 2427462"/>
              <a:gd name="connsiteY42" fmla="*/ 220206 h 2498232"/>
              <a:gd name="connsiteX43" fmla="*/ 472838 w 2427462"/>
              <a:gd name="connsiteY43" fmla="*/ 220206 h 2498232"/>
              <a:gd name="connsiteX44" fmla="*/ 472838 w 2427462"/>
              <a:gd name="connsiteY44" fmla="*/ 351261 h 2498232"/>
              <a:gd name="connsiteX45" fmla="*/ 377110 w 2427462"/>
              <a:gd name="connsiteY45" fmla="*/ 433547 h 2498232"/>
              <a:gd name="connsiteX46" fmla="*/ 377110 w 2427462"/>
              <a:gd name="connsiteY46" fmla="*/ 348906 h 2498232"/>
              <a:gd name="connsiteX47" fmla="*/ 305307 w 2427462"/>
              <a:gd name="connsiteY47" fmla="*/ 348906 h 2498232"/>
              <a:gd name="connsiteX48" fmla="*/ 305307 w 2427462"/>
              <a:gd name="connsiteY48" fmla="*/ 507906 h 2498232"/>
              <a:gd name="connsiteX49" fmla="*/ 223940 w 2427462"/>
              <a:gd name="connsiteY49" fmla="*/ 610441 h 2498232"/>
              <a:gd name="connsiteX50" fmla="*/ 223940 w 2427462"/>
              <a:gd name="connsiteY50" fmla="*/ 512186 h 2498232"/>
              <a:gd name="connsiteX51" fmla="*/ 152136 w 2427462"/>
              <a:gd name="connsiteY51" fmla="*/ 512186 h 2498232"/>
              <a:gd name="connsiteX52" fmla="*/ 152136 w 2427462"/>
              <a:gd name="connsiteY52" fmla="*/ 722741 h 2498232"/>
              <a:gd name="connsiteX53" fmla="*/ 152912 w 2427462"/>
              <a:gd name="connsiteY53" fmla="*/ 722741 h 2498232"/>
              <a:gd name="connsiteX54" fmla="*/ 0 w 2427462"/>
              <a:gd name="connsiteY54" fmla="*/ 1311527 h 2498232"/>
              <a:gd name="connsiteX55" fmla="*/ 37740 w 2427462"/>
              <a:gd name="connsiteY55" fmla="*/ 1347428 h 2498232"/>
              <a:gd name="connsiteX56" fmla="*/ 73440 w 2427462"/>
              <a:gd name="connsiteY56" fmla="*/ 1315375 h 2498232"/>
              <a:gd name="connsiteX57" fmla="*/ 429210 w 2427462"/>
              <a:gd name="connsiteY57" fmla="*/ 1039565 h 2498232"/>
              <a:gd name="connsiteX58" fmla="*/ 781246 w 2427462"/>
              <a:gd name="connsiteY58" fmla="*/ 1292657 h 2498232"/>
              <a:gd name="connsiteX59" fmla="*/ 816459 w 2427462"/>
              <a:gd name="connsiteY59" fmla="*/ 1321579 h 2498232"/>
              <a:gd name="connsiteX60" fmla="*/ 851671 w 2427462"/>
              <a:gd name="connsiteY60" fmla="*/ 1292657 h 2498232"/>
              <a:gd name="connsiteX61" fmla="*/ 1171281 w 2427462"/>
              <a:gd name="connsiteY61" fmla="*/ 1040800 h 2498232"/>
              <a:gd name="connsiteX62" fmla="*/ 1171281 w 2427462"/>
              <a:gd name="connsiteY62" fmla="*/ 1175158 h 2498232"/>
              <a:gd name="connsiteX63" fmla="*/ 1147414 w 2427462"/>
              <a:gd name="connsiteY63" fmla="*/ 1175158 h 2498232"/>
              <a:gd name="connsiteX64" fmla="*/ 1111512 w 2427462"/>
              <a:gd name="connsiteY64" fmla="*/ 1211060 h 2498232"/>
              <a:gd name="connsiteX65" fmla="*/ 1147414 w 2427462"/>
              <a:gd name="connsiteY65" fmla="*/ 1246961 h 2498232"/>
              <a:gd name="connsiteX66" fmla="*/ 1171281 w 2427462"/>
              <a:gd name="connsiteY66" fmla="*/ 1246961 h 2498232"/>
              <a:gd name="connsiteX67" fmla="*/ 1171281 w 2427462"/>
              <a:gd name="connsiteY67" fmla="*/ 2137320 h 2498232"/>
              <a:gd name="connsiteX68" fmla="*/ 1147414 w 2427462"/>
              <a:gd name="connsiteY68" fmla="*/ 2137320 h 2498232"/>
              <a:gd name="connsiteX69" fmla="*/ 1111512 w 2427462"/>
              <a:gd name="connsiteY69" fmla="*/ 2173221 h 2498232"/>
              <a:gd name="connsiteX70" fmla="*/ 1147414 w 2427462"/>
              <a:gd name="connsiteY70" fmla="*/ 2209123 h 2498232"/>
              <a:gd name="connsiteX71" fmla="*/ 1171281 w 2427462"/>
              <a:gd name="connsiteY71" fmla="*/ 2209123 h 2498232"/>
              <a:gd name="connsiteX72" fmla="*/ 1171281 w 2427462"/>
              <a:gd name="connsiteY72" fmla="*/ 2345578 h 2498232"/>
              <a:gd name="connsiteX73" fmla="*/ 1092298 w 2427462"/>
              <a:gd name="connsiteY73" fmla="*/ 2424561 h 2498232"/>
              <a:gd name="connsiteX74" fmla="*/ 1092298 w 2427462"/>
              <a:gd name="connsiteY74" fmla="*/ 2496364 h 2498232"/>
              <a:gd name="connsiteX75" fmla="*/ 1243084 w 2427462"/>
              <a:gd name="connsiteY75" fmla="*/ 2345578 h 2498232"/>
              <a:gd name="connsiteX76" fmla="*/ 1243084 w 2427462"/>
              <a:gd name="connsiteY76" fmla="*/ 2209152 h 2498232"/>
              <a:gd name="connsiteX77" fmla="*/ 1275912 w 2427462"/>
              <a:gd name="connsiteY77" fmla="*/ 2209152 h 2498232"/>
              <a:gd name="connsiteX78" fmla="*/ 1311814 w 2427462"/>
              <a:gd name="connsiteY78" fmla="*/ 2173250 h 2498232"/>
              <a:gd name="connsiteX79" fmla="*/ 1275912 w 2427462"/>
              <a:gd name="connsiteY79" fmla="*/ 2137349 h 2498232"/>
              <a:gd name="connsiteX80" fmla="*/ 1243084 w 2427462"/>
              <a:gd name="connsiteY80" fmla="*/ 2137349 h 2498232"/>
              <a:gd name="connsiteX81" fmla="*/ 1243084 w 2427462"/>
              <a:gd name="connsiteY81" fmla="*/ 1246990 h 2498232"/>
              <a:gd name="connsiteX82" fmla="*/ 1275912 w 2427462"/>
              <a:gd name="connsiteY82" fmla="*/ 1246990 h 2498232"/>
              <a:gd name="connsiteX83" fmla="*/ 1311814 w 2427462"/>
              <a:gd name="connsiteY83" fmla="*/ 1211089 h 2498232"/>
              <a:gd name="connsiteX84" fmla="*/ 1275912 w 2427462"/>
              <a:gd name="connsiteY84" fmla="*/ 1175187 h 2498232"/>
              <a:gd name="connsiteX85" fmla="*/ 1243084 w 2427462"/>
              <a:gd name="connsiteY85" fmla="*/ 1175187 h 2498232"/>
              <a:gd name="connsiteX86" fmla="*/ 1243084 w 2427462"/>
              <a:gd name="connsiteY86" fmla="*/ 1041576 h 2498232"/>
              <a:gd name="connsiteX87" fmla="*/ 1559449 w 2427462"/>
              <a:gd name="connsiteY87" fmla="*/ 1315404 h 2498232"/>
              <a:gd name="connsiteX88" fmla="*/ 1595149 w 2427462"/>
              <a:gd name="connsiteY88" fmla="*/ 1347457 h 2498232"/>
              <a:gd name="connsiteX89" fmla="*/ 1606207 w 2427462"/>
              <a:gd name="connsiteY89" fmla="*/ 1347457 h 2498232"/>
              <a:gd name="connsiteX90" fmla="*/ 1641907 w 2427462"/>
              <a:gd name="connsiteY90" fmla="*/ 1315404 h 2498232"/>
              <a:gd name="connsiteX91" fmla="*/ 1997706 w 2427462"/>
              <a:gd name="connsiteY91" fmla="*/ 1039594 h 2498232"/>
              <a:gd name="connsiteX92" fmla="*/ 2353447 w 2427462"/>
              <a:gd name="connsiteY92" fmla="*/ 1315404 h 2498232"/>
              <a:gd name="connsiteX93" fmla="*/ 2389148 w 2427462"/>
              <a:gd name="connsiteY93" fmla="*/ 1347457 h 2498232"/>
              <a:gd name="connsiteX94" fmla="*/ 2390986 w 2427462"/>
              <a:gd name="connsiteY94" fmla="*/ 1347457 h 2498232"/>
              <a:gd name="connsiteX95" fmla="*/ 2391560 w 2427462"/>
              <a:gd name="connsiteY95" fmla="*/ 1347457 h 2498232"/>
              <a:gd name="connsiteX96" fmla="*/ 2427462 w 2427462"/>
              <a:gd name="connsiteY96" fmla="*/ 1311556 h 2498232"/>
              <a:gd name="connsiteX97" fmla="*/ 2426859 w 2427462"/>
              <a:gd name="connsiteY97" fmla="*/ 1305036 h 2498232"/>
              <a:gd name="connsiteX98" fmla="*/ 88978 w 2427462"/>
              <a:gd name="connsiteY98" fmla="*/ 1113465 h 2498232"/>
              <a:gd name="connsiteX99" fmla="*/ 920889 w 2427462"/>
              <a:gd name="connsiteY99" fmla="*/ 208057 h 2498232"/>
              <a:gd name="connsiteX100" fmla="*/ 393050 w 2427462"/>
              <a:gd name="connsiteY100" fmla="*/ 969629 h 2498232"/>
              <a:gd name="connsiteX101" fmla="*/ 88978 w 2427462"/>
              <a:gd name="connsiteY101" fmla="*/ 1113465 h 2498232"/>
              <a:gd name="connsiteX102" fmla="*/ 467237 w 2427462"/>
              <a:gd name="connsiteY102" fmla="*/ 969399 h 2498232"/>
              <a:gd name="connsiteX103" fmla="*/ 1122800 w 2427462"/>
              <a:gd name="connsiteY103" fmla="*/ 201077 h 2498232"/>
              <a:gd name="connsiteX104" fmla="*/ 790409 w 2427462"/>
              <a:gd name="connsiteY104" fmla="*/ 1140635 h 2498232"/>
              <a:gd name="connsiteX105" fmla="*/ 467237 w 2427462"/>
              <a:gd name="connsiteY105" fmla="*/ 969399 h 2498232"/>
              <a:gd name="connsiteX106" fmla="*/ 863217 w 2427462"/>
              <a:gd name="connsiteY106" fmla="*/ 1114556 h 2498232"/>
              <a:gd name="connsiteX107" fmla="*/ 1171281 w 2427462"/>
              <a:gd name="connsiteY107" fmla="*/ 255418 h 2498232"/>
              <a:gd name="connsiteX108" fmla="*/ 1171281 w 2427462"/>
              <a:gd name="connsiteY108" fmla="*/ 968882 h 2498232"/>
              <a:gd name="connsiteX109" fmla="*/ 863217 w 2427462"/>
              <a:gd name="connsiteY109" fmla="*/ 1114556 h 2498232"/>
              <a:gd name="connsiteX110" fmla="*/ 1243084 w 2427462"/>
              <a:gd name="connsiteY110" fmla="*/ 969514 h 2498232"/>
              <a:gd name="connsiteX111" fmla="*/ 1243084 w 2427462"/>
              <a:gd name="connsiteY111" fmla="*/ 244849 h 2498232"/>
              <a:gd name="connsiteX112" fmla="*/ 1560368 w 2427462"/>
              <a:gd name="connsiteY112" fmla="*/ 1133886 h 2498232"/>
              <a:gd name="connsiteX113" fmla="*/ 1243084 w 2427462"/>
              <a:gd name="connsiteY113" fmla="*/ 969514 h 2498232"/>
              <a:gd name="connsiteX114" fmla="*/ 1632659 w 2427462"/>
              <a:gd name="connsiteY114" fmla="*/ 1145173 h 2498232"/>
              <a:gd name="connsiteX115" fmla="*/ 1300096 w 2427462"/>
              <a:gd name="connsiteY115" fmla="*/ 201077 h 2498232"/>
              <a:gd name="connsiteX116" fmla="*/ 1955744 w 2427462"/>
              <a:gd name="connsiteY116" fmla="*/ 969773 h 2498232"/>
              <a:gd name="connsiteX117" fmla="*/ 1632659 w 2427462"/>
              <a:gd name="connsiteY117" fmla="*/ 1145173 h 2498232"/>
              <a:gd name="connsiteX118" fmla="*/ 2029759 w 2427462"/>
              <a:gd name="connsiteY118" fmla="*/ 969428 h 2498232"/>
              <a:gd name="connsiteX119" fmla="*/ 1498789 w 2427462"/>
              <a:gd name="connsiteY119" fmla="*/ 206247 h 2498232"/>
              <a:gd name="connsiteX120" fmla="*/ 2337909 w 2427462"/>
              <a:gd name="connsiteY120" fmla="*/ 1113465 h 2498232"/>
              <a:gd name="connsiteX121" fmla="*/ 2029759 w 2427462"/>
              <a:gd name="connsiteY121" fmla="*/ 969428 h 2498232"/>
              <a:gd name="connsiteX0" fmla="*/ 2426859 w 2427462"/>
              <a:gd name="connsiteY0" fmla="*/ 1305036 h 2424561"/>
              <a:gd name="connsiteX1" fmla="*/ 2275440 w 2427462"/>
              <a:gd name="connsiteY1" fmla="*/ 725154 h 2424561"/>
              <a:gd name="connsiteX2" fmla="*/ 2275440 w 2427462"/>
              <a:gd name="connsiteY2" fmla="*/ 516753 h 2424561"/>
              <a:gd name="connsiteX3" fmla="*/ 2203637 w 2427462"/>
              <a:gd name="connsiteY3" fmla="*/ 516753 h 2424561"/>
              <a:gd name="connsiteX4" fmla="*/ 2203637 w 2427462"/>
              <a:gd name="connsiteY4" fmla="*/ 611418 h 2424561"/>
              <a:gd name="connsiteX5" fmla="*/ 2122988 w 2427462"/>
              <a:gd name="connsiteY5" fmla="*/ 509601 h 2424561"/>
              <a:gd name="connsiteX6" fmla="*/ 2122988 w 2427462"/>
              <a:gd name="connsiteY6" fmla="*/ 353444 h 2424561"/>
              <a:gd name="connsiteX7" fmla="*/ 2051185 w 2427462"/>
              <a:gd name="connsiteY7" fmla="*/ 353444 h 2424561"/>
              <a:gd name="connsiteX8" fmla="*/ 2051185 w 2427462"/>
              <a:gd name="connsiteY8" fmla="*/ 434897 h 2424561"/>
              <a:gd name="connsiteX9" fmla="*/ 1956204 w 2427462"/>
              <a:gd name="connsiteY9" fmla="*/ 352984 h 2424561"/>
              <a:gd name="connsiteX10" fmla="*/ 1956204 w 2427462"/>
              <a:gd name="connsiteY10" fmla="*/ 224715 h 2424561"/>
              <a:gd name="connsiteX11" fmla="*/ 1884401 w 2427462"/>
              <a:gd name="connsiteY11" fmla="*/ 224715 h 2424561"/>
              <a:gd name="connsiteX12" fmla="*/ 1884401 w 2427462"/>
              <a:gd name="connsiteY12" fmla="*/ 301027 h 2424561"/>
              <a:gd name="connsiteX13" fmla="*/ 1814350 w 2427462"/>
              <a:gd name="connsiteY13" fmla="*/ 257945 h 2424561"/>
              <a:gd name="connsiteX14" fmla="*/ 1814350 w 2427462"/>
              <a:gd name="connsiteY14" fmla="*/ 172040 h 2424561"/>
              <a:gd name="connsiteX15" fmla="*/ 1742546 w 2427462"/>
              <a:gd name="connsiteY15" fmla="*/ 172040 h 2424561"/>
              <a:gd name="connsiteX16" fmla="*/ 1742546 w 2427462"/>
              <a:gd name="connsiteY16" fmla="*/ 219717 h 2424561"/>
              <a:gd name="connsiteX17" fmla="*/ 1684616 w 2427462"/>
              <a:gd name="connsiteY17" fmla="*/ 193294 h 2424561"/>
              <a:gd name="connsiteX18" fmla="*/ 1684616 w 2427462"/>
              <a:gd name="connsiteY18" fmla="*/ 138465 h 2424561"/>
              <a:gd name="connsiteX19" fmla="*/ 1612813 w 2427462"/>
              <a:gd name="connsiteY19" fmla="*/ 138465 h 2424561"/>
              <a:gd name="connsiteX20" fmla="*/ 1612813 w 2427462"/>
              <a:gd name="connsiteY20" fmla="*/ 165894 h 2424561"/>
              <a:gd name="connsiteX21" fmla="*/ 1543795 w 2427462"/>
              <a:gd name="connsiteY21" fmla="*/ 144152 h 2424561"/>
              <a:gd name="connsiteX22" fmla="*/ 1543795 w 2427462"/>
              <a:gd name="connsiteY22" fmla="*/ 4509 h 2424561"/>
              <a:gd name="connsiteX23" fmla="*/ 1471992 w 2427462"/>
              <a:gd name="connsiteY23" fmla="*/ 4509 h 2424561"/>
              <a:gd name="connsiteX24" fmla="*/ 1471992 w 2427462"/>
              <a:gd name="connsiteY24" fmla="*/ 126058 h 2424561"/>
              <a:gd name="connsiteX25" fmla="*/ 1243084 w 2427462"/>
              <a:gd name="connsiteY25" fmla="*/ 98801 h 2424561"/>
              <a:gd name="connsiteX26" fmla="*/ 1243084 w 2427462"/>
              <a:gd name="connsiteY26" fmla="*/ 0 h 2424561"/>
              <a:gd name="connsiteX27" fmla="*/ 1171281 w 2427462"/>
              <a:gd name="connsiteY27" fmla="*/ 0 h 2424561"/>
              <a:gd name="connsiteX28" fmla="*/ 1171281 w 2427462"/>
              <a:gd name="connsiteY28" fmla="*/ 99117 h 2424561"/>
              <a:gd name="connsiteX29" fmla="*/ 958973 w 2427462"/>
              <a:gd name="connsiteY29" fmla="*/ 125110 h 2424561"/>
              <a:gd name="connsiteX30" fmla="*/ 958973 w 2427462"/>
              <a:gd name="connsiteY30" fmla="*/ 0 h 2424561"/>
              <a:gd name="connsiteX31" fmla="*/ 887170 w 2427462"/>
              <a:gd name="connsiteY31" fmla="*/ 0 h 2424561"/>
              <a:gd name="connsiteX32" fmla="*/ 887170 w 2427462"/>
              <a:gd name="connsiteY32" fmla="*/ 142974 h 2424561"/>
              <a:gd name="connsiteX33" fmla="*/ 817493 w 2427462"/>
              <a:gd name="connsiteY33" fmla="*/ 164745 h 2424561"/>
              <a:gd name="connsiteX34" fmla="*/ 817493 w 2427462"/>
              <a:gd name="connsiteY34" fmla="*/ 133956 h 2424561"/>
              <a:gd name="connsiteX35" fmla="*/ 745690 w 2427462"/>
              <a:gd name="connsiteY35" fmla="*/ 133956 h 2424561"/>
              <a:gd name="connsiteX36" fmla="*/ 745690 w 2427462"/>
              <a:gd name="connsiteY36" fmla="*/ 191944 h 2424561"/>
              <a:gd name="connsiteX37" fmla="*/ 687156 w 2427462"/>
              <a:gd name="connsiteY37" fmla="*/ 218253 h 2424561"/>
              <a:gd name="connsiteX38" fmla="*/ 687156 w 2427462"/>
              <a:gd name="connsiteY38" fmla="*/ 167560 h 2424561"/>
              <a:gd name="connsiteX39" fmla="*/ 615353 w 2427462"/>
              <a:gd name="connsiteY39" fmla="*/ 167560 h 2424561"/>
              <a:gd name="connsiteX40" fmla="*/ 615353 w 2427462"/>
              <a:gd name="connsiteY40" fmla="*/ 256337 h 2424561"/>
              <a:gd name="connsiteX41" fmla="*/ 544641 w 2427462"/>
              <a:gd name="connsiteY41" fmla="*/ 299706 h 2424561"/>
              <a:gd name="connsiteX42" fmla="*/ 544641 w 2427462"/>
              <a:gd name="connsiteY42" fmla="*/ 220206 h 2424561"/>
              <a:gd name="connsiteX43" fmla="*/ 472838 w 2427462"/>
              <a:gd name="connsiteY43" fmla="*/ 220206 h 2424561"/>
              <a:gd name="connsiteX44" fmla="*/ 472838 w 2427462"/>
              <a:gd name="connsiteY44" fmla="*/ 351261 h 2424561"/>
              <a:gd name="connsiteX45" fmla="*/ 377110 w 2427462"/>
              <a:gd name="connsiteY45" fmla="*/ 433547 h 2424561"/>
              <a:gd name="connsiteX46" fmla="*/ 377110 w 2427462"/>
              <a:gd name="connsiteY46" fmla="*/ 348906 h 2424561"/>
              <a:gd name="connsiteX47" fmla="*/ 305307 w 2427462"/>
              <a:gd name="connsiteY47" fmla="*/ 348906 h 2424561"/>
              <a:gd name="connsiteX48" fmla="*/ 305307 w 2427462"/>
              <a:gd name="connsiteY48" fmla="*/ 507906 h 2424561"/>
              <a:gd name="connsiteX49" fmla="*/ 223940 w 2427462"/>
              <a:gd name="connsiteY49" fmla="*/ 610441 h 2424561"/>
              <a:gd name="connsiteX50" fmla="*/ 223940 w 2427462"/>
              <a:gd name="connsiteY50" fmla="*/ 512186 h 2424561"/>
              <a:gd name="connsiteX51" fmla="*/ 152136 w 2427462"/>
              <a:gd name="connsiteY51" fmla="*/ 512186 h 2424561"/>
              <a:gd name="connsiteX52" fmla="*/ 152136 w 2427462"/>
              <a:gd name="connsiteY52" fmla="*/ 722741 h 2424561"/>
              <a:gd name="connsiteX53" fmla="*/ 152912 w 2427462"/>
              <a:gd name="connsiteY53" fmla="*/ 722741 h 2424561"/>
              <a:gd name="connsiteX54" fmla="*/ 0 w 2427462"/>
              <a:gd name="connsiteY54" fmla="*/ 1311527 h 2424561"/>
              <a:gd name="connsiteX55" fmla="*/ 37740 w 2427462"/>
              <a:gd name="connsiteY55" fmla="*/ 1347428 h 2424561"/>
              <a:gd name="connsiteX56" fmla="*/ 73440 w 2427462"/>
              <a:gd name="connsiteY56" fmla="*/ 1315375 h 2424561"/>
              <a:gd name="connsiteX57" fmla="*/ 429210 w 2427462"/>
              <a:gd name="connsiteY57" fmla="*/ 1039565 h 2424561"/>
              <a:gd name="connsiteX58" fmla="*/ 781246 w 2427462"/>
              <a:gd name="connsiteY58" fmla="*/ 1292657 h 2424561"/>
              <a:gd name="connsiteX59" fmla="*/ 816459 w 2427462"/>
              <a:gd name="connsiteY59" fmla="*/ 1321579 h 2424561"/>
              <a:gd name="connsiteX60" fmla="*/ 851671 w 2427462"/>
              <a:gd name="connsiteY60" fmla="*/ 1292657 h 2424561"/>
              <a:gd name="connsiteX61" fmla="*/ 1171281 w 2427462"/>
              <a:gd name="connsiteY61" fmla="*/ 1040800 h 2424561"/>
              <a:gd name="connsiteX62" fmla="*/ 1171281 w 2427462"/>
              <a:gd name="connsiteY62" fmla="*/ 1175158 h 2424561"/>
              <a:gd name="connsiteX63" fmla="*/ 1147414 w 2427462"/>
              <a:gd name="connsiteY63" fmla="*/ 1175158 h 2424561"/>
              <a:gd name="connsiteX64" fmla="*/ 1111512 w 2427462"/>
              <a:gd name="connsiteY64" fmla="*/ 1211060 h 2424561"/>
              <a:gd name="connsiteX65" fmla="*/ 1147414 w 2427462"/>
              <a:gd name="connsiteY65" fmla="*/ 1246961 h 2424561"/>
              <a:gd name="connsiteX66" fmla="*/ 1171281 w 2427462"/>
              <a:gd name="connsiteY66" fmla="*/ 1246961 h 2424561"/>
              <a:gd name="connsiteX67" fmla="*/ 1171281 w 2427462"/>
              <a:gd name="connsiteY67" fmla="*/ 2137320 h 2424561"/>
              <a:gd name="connsiteX68" fmla="*/ 1147414 w 2427462"/>
              <a:gd name="connsiteY68" fmla="*/ 2137320 h 2424561"/>
              <a:gd name="connsiteX69" fmla="*/ 1111512 w 2427462"/>
              <a:gd name="connsiteY69" fmla="*/ 2173221 h 2424561"/>
              <a:gd name="connsiteX70" fmla="*/ 1147414 w 2427462"/>
              <a:gd name="connsiteY70" fmla="*/ 2209123 h 2424561"/>
              <a:gd name="connsiteX71" fmla="*/ 1171281 w 2427462"/>
              <a:gd name="connsiteY71" fmla="*/ 2209123 h 2424561"/>
              <a:gd name="connsiteX72" fmla="*/ 1171281 w 2427462"/>
              <a:gd name="connsiteY72" fmla="*/ 2345578 h 2424561"/>
              <a:gd name="connsiteX73" fmla="*/ 1092298 w 2427462"/>
              <a:gd name="connsiteY73" fmla="*/ 2424561 h 2424561"/>
              <a:gd name="connsiteX74" fmla="*/ 1243084 w 2427462"/>
              <a:gd name="connsiteY74" fmla="*/ 2345578 h 2424561"/>
              <a:gd name="connsiteX75" fmla="*/ 1243084 w 2427462"/>
              <a:gd name="connsiteY75" fmla="*/ 2209152 h 2424561"/>
              <a:gd name="connsiteX76" fmla="*/ 1275912 w 2427462"/>
              <a:gd name="connsiteY76" fmla="*/ 2209152 h 2424561"/>
              <a:gd name="connsiteX77" fmla="*/ 1311814 w 2427462"/>
              <a:gd name="connsiteY77" fmla="*/ 2173250 h 2424561"/>
              <a:gd name="connsiteX78" fmla="*/ 1275912 w 2427462"/>
              <a:gd name="connsiteY78" fmla="*/ 2137349 h 2424561"/>
              <a:gd name="connsiteX79" fmla="*/ 1243084 w 2427462"/>
              <a:gd name="connsiteY79" fmla="*/ 2137349 h 2424561"/>
              <a:gd name="connsiteX80" fmla="*/ 1243084 w 2427462"/>
              <a:gd name="connsiteY80" fmla="*/ 1246990 h 2424561"/>
              <a:gd name="connsiteX81" fmla="*/ 1275912 w 2427462"/>
              <a:gd name="connsiteY81" fmla="*/ 1246990 h 2424561"/>
              <a:gd name="connsiteX82" fmla="*/ 1311814 w 2427462"/>
              <a:gd name="connsiteY82" fmla="*/ 1211089 h 2424561"/>
              <a:gd name="connsiteX83" fmla="*/ 1275912 w 2427462"/>
              <a:gd name="connsiteY83" fmla="*/ 1175187 h 2424561"/>
              <a:gd name="connsiteX84" fmla="*/ 1243084 w 2427462"/>
              <a:gd name="connsiteY84" fmla="*/ 1175187 h 2424561"/>
              <a:gd name="connsiteX85" fmla="*/ 1243084 w 2427462"/>
              <a:gd name="connsiteY85" fmla="*/ 1041576 h 2424561"/>
              <a:gd name="connsiteX86" fmla="*/ 1559449 w 2427462"/>
              <a:gd name="connsiteY86" fmla="*/ 1315404 h 2424561"/>
              <a:gd name="connsiteX87" fmla="*/ 1595149 w 2427462"/>
              <a:gd name="connsiteY87" fmla="*/ 1347457 h 2424561"/>
              <a:gd name="connsiteX88" fmla="*/ 1606207 w 2427462"/>
              <a:gd name="connsiteY88" fmla="*/ 1347457 h 2424561"/>
              <a:gd name="connsiteX89" fmla="*/ 1641907 w 2427462"/>
              <a:gd name="connsiteY89" fmla="*/ 1315404 h 2424561"/>
              <a:gd name="connsiteX90" fmla="*/ 1997706 w 2427462"/>
              <a:gd name="connsiteY90" fmla="*/ 1039594 h 2424561"/>
              <a:gd name="connsiteX91" fmla="*/ 2353447 w 2427462"/>
              <a:gd name="connsiteY91" fmla="*/ 1315404 h 2424561"/>
              <a:gd name="connsiteX92" fmla="*/ 2389148 w 2427462"/>
              <a:gd name="connsiteY92" fmla="*/ 1347457 h 2424561"/>
              <a:gd name="connsiteX93" fmla="*/ 2390986 w 2427462"/>
              <a:gd name="connsiteY93" fmla="*/ 1347457 h 2424561"/>
              <a:gd name="connsiteX94" fmla="*/ 2391560 w 2427462"/>
              <a:gd name="connsiteY94" fmla="*/ 1347457 h 2424561"/>
              <a:gd name="connsiteX95" fmla="*/ 2427462 w 2427462"/>
              <a:gd name="connsiteY95" fmla="*/ 1311556 h 2424561"/>
              <a:gd name="connsiteX96" fmla="*/ 2426859 w 2427462"/>
              <a:gd name="connsiteY96" fmla="*/ 1305036 h 2424561"/>
              <a:gd name="connsiteX97" fmla="*/ 88978 w 2427462"/>
              <a:gd name="connsiteY97" fmla="*/ 1113465 h 2424561"/>
              <a:gd name="connsiteX98" fmla="*/ 920889 w 2427462"/>
              <a:gd name="connsiteY98" fmla="*/ 208057 h 2424561"/>
              <a:gd name="connsiteX99" fmla="*/ 393050 w 2427462"/>
              <a:gd name="connsiteY99" fmla="*/ 969629 h 2424561"/>
              <a:gd name="connsiteX100" fmla="*/ 88978 w 2427462"/>
              <a:gd name="connsiteY100" fmla="*/ 1113465 h 2424561"/>
              <a:gd name="connsiteX101" fmla="*/ 467237 w 2427462"/>
              <a:gd name="connsiteY101" fmla="*/ 969399 h 2424561"/>
              <a:gd name="connsiteX102" fmla="*/ 1122800 w 2427462"/>
              <a:gd name="connsiteY102" fmla="*/ 201077 h 2424561"/>
              <a:gd name="connsiteX103" fmla="*/ 790409 w 2427462"/>
              <a:gd name="connsiteY103" fmla="*/ 1140635 h 2424561"/>
              <a:gd name="connsiteX104" fmla="*/ 467237 w 2427462"/>
              <a:gd name="connsiteY104" fmla="*/ 969399 h 2424561"/>
              <a:gd name="connsiteX105" fmla="*/ 863217 w 2427462"/>
              <a:gd name="connsiteY105" fmla="*/ 1114556 h 2424561"/>
              <a:gd name="connsiteX106" fmla="*/ 1171281 w 2427462"/>
              <a:gd name="connsiteY106" fmla="*/ 255418 h 2424561"/>
              <a:gd name="connsiteX107" fmla="*/ 1171281 w 2427462"/>
              <a:gd name="connsiteY107" fmla="*/ 968882 h 2424561"/>
              <a:gd name="connsiteX108" fmla="*/ 863217 w 2427462"/>
              <a:gd name="connsiteY108" fmla="*/ 1114556 h 2424561"/>
              <a:gd name="connsiteX109" fmla="*/ 1243084 w 2427462"/>
              <a:gd name="connsiteY109" fmla="*/ 969514 h 2424561"/>
              <a:gd name="connsiteX110" fmla="*/ 1243084 w 2427462"/>
              <a:gd name="connsiteY110" fmla="*/ 244849 h 2424561"/>
              <a:gd name="connsiteX111" fmla="*/ 1560368 w 2427462"/>
              <a:gd name="connsiteY111" fmla="*/ 1133886 h 2424561"/>
              <a:gd name="connsiteX112" fmla="*/ 1243084 w 2427462"/>
              <a:gd name="connsiteY112" fmla="*/ 969514 h 2424561"/>
              <a:gd name="connsiteX113" fmla="*/ 1632659 w 2427462"/>
              <a:gd name="connsiteY113" fmla="*/ 1145173 h 2424561"/>
              <a:gd name="connsiteX114" fmla="*/ 1300096 w 2427462"/>
              <a:gd name="connsiteY114" fmla="*/ 201077 h 2424561"/>
              <a:gd name="connsiteX115" fmla="*/ 1955744 w 2427462"/>
              <a:gd name="connsiteY115" fmla="*/ 969773 h 2424561"/>
              <a:gd name="connsiteX116" fmla="*/ 1632659 w 2427462"/>
              <a:gd name="connsiteY116" fmla="*/ 1145173 h 2424561"/>
              <a:gd name="connsiteX117" fmla="*/ 2029759 w 2427462"/>
              <a:gd name="connsiteY117" fmla="*/ 969428 h 2424561"/>
              <a:gd name="connsiteX118" fmla="*/ 1498789 w 2427462"/>
              <a:gd name="connsiteY118" fmla="*/ 206247 h 2424561"/>
              <a:gd name="connsiteX119" fmla="*/ 2337909 w 2427462"/>
              <a:gd name="connsiteY119" fmla="*/ 1113465 h 2424561"/>
              <a:gd name="connsiteX120" fmla="*/ 2029759 w 2427462"/>
              <a:gd name="connsiteY120" fmla="*/ 969428 h 2424561"/>
              <a:gd name="connsiteX0" fmla="*/ 2426859 w 2427462"/>
              <a:gd name="connsiteY0" fmla="*/ 1305036 h 2362633"/>
              <a:gd name="connsiteX1" fmla="*/ 2275440 w 2427462"/>
              <a:gd name="connsiteY1" fmla="*/ 725154 h 2362633"/>
              <a:gd name="connsiteX2" fmla="*/ 2275440 w 2427462"/>
              <a:gd name="connsiteY2" fmla="*/ 516753 h 2362633"/>
              <a:gd name="connsiteX3" fmla="*/ 2203637 w 2427462"/>
              <a:gd name="connsiteY3" fmla="*/ 516753 h 2362633"/>
              <a:gd name="connsiteX4" fmla="*/ 2203637 w 2427462"/>
              <a:gd name="connsiteY4" fmla="*/ 611418 h 2362633"/>
              <a:gd name="connsiteX5" fmla="*/ 2122988 w 2427462"/>
              <a:gd name="connsiteY5" fmla="*/ 509601 h 2362633"/>
              <a:gd name="connsiteX6" fmla="*/ 2122988 w 2427462"/>
              <a:gd name="connsiteY6" fmla="*/ 353444 h 2362633"/>
              <a:gd name="connsiteX7" fmla="*/ 2051185 w 2427462"/>
              <a:gd name="connsiteY7" fmla="*/ 353444 h 2362633"/>
              <a:gd name="connsiteX8" fmla="*/ 2051185 w 2427462"/>
              <a:gd name="connsiteY8" fmla="*/ 434897 h 2362633"/>
              <a:gd name="connsiteX9" fmla="*/ 1956204 w 2427462"/>
              <a:gd name="connsiteY9" fmla="*/ 352984 h 2362633"/>
              <a:gd name="connsiteX10" fmla="*/ 1956204 w 2427462"/>
              <a:gd name="connsiteY10" fmla="*/ 224715 h 2362633"/>
              <a:gd name="connsiteX11" fmla="*/ 1884401 w 2427462"/>
              <a:gd name="connsiteY11" fmla="*/ 224715 h 2362633"/>
              <a:gd name="connsiteX12" fmla="*/ 1884401 w 2427462"/>
              <a:gd name="connsiteY12" fmla="*/ 301027 h 2362633"/>
              <a:gd name="connsiteX13" fmla="*/ 1814350 w 2427462"/>
              <a:gd name="connsiteY13" fmla="*/ 257945 h 2362633"/>
              <a:gd name="connsiteX14" fmla="*/ 1814350 w 2427462"/>
              <a:gd name="connsiteY14" fmla="*/ 172040 h 2362633"/>
              <a:gd name="connsiteX15" fmla="*/ 1742546 w 2427462"/>
              <a:gd name="connsiteY15" fmla="*/ 172040 h 2362633"/>
              <a:gd name="connsiteX16" fmla="*/ 1742546 w 2427462"/>
              <a:gd name="connsiteY16" fmla="*/ 219717 h 2362633"/>
              <a:gd name="connsiteX17" fmla="*/ 1684616 w 2427462"/>
              <a:gd name="connsiteY17" fmla="*/ 193294 h 2362633"/>
              <a:gd name="connsiteX18" fmla="*/ 1684616 w 2427462"/>
              <a:gd name="connsiteY18" fmla="*/ 138465 h 2362633"/>
              <a:gd name="connsiteX19" fmla="*/ 1612813 w 2427462"/>
              <a:gd name="connsiteY19" fmla="*/ 138465 h 2362633"/>
              <a:gd name="connsiteX20" fmla="*/ 1612813 w 2427462"/>
              <a:gd name="connsiteY20" fmla="*/ 165894 h 2362633"/>
              <a:gd name="connsiteX21" fmla="*/ 1543795 w 2427462"/>
              <a:gd name="connsiteY21" fmla="*/ 144152 h 2362633"/>
              <a:gd name="connsiteX22" fmla="*/ 1543795 w 2427462"/>
              <a:gd name="connsiteY22" fmla="*/ 4509 h 2362633"/>
              <a:gd name="connsiteX23" fmla="*/ 1471992 w 2427462"/>
              <a:gd name="connsiteY23" fmla="*/ 4509 h 2362633"/>
              <a:gd name="connsiteX24" fmla="*/ 1471992 w 2427462"/>
              <a:gd name="connsiteY24" fmla="*/ 126058 h 2362633"/>
              <a:gd name="connsiteX25" fmla="*/ 1243084 w 2427462"/>
              <a:gd name="connsiteY25" fmla="*/ 98801 h 2362633"/>
              <a:gd name="connsiteX26" fmla="*/ 1243084 w 2427462"/>
              <a:gd name="connsiteY26" fmla="*/ 0 h 2362633"/>
              <a:gd name="connsiteX27" fmla="*/ 1171281 w 2427462"/>
              <a:gd name="connsiteY27" fmla="*/ 0 h 2362633"/>
              <a:gd name="connsiteX28" fmla="*/ 1171281 w 2427462"/>
              <a:gd name="connsiteY28" fmla="*/ 99117 h 2362633"/>
              <a:gd name="connsiteX29" fmla="*/ 958973 w 2427462"/>
              <a:gd name="connsiteY29" fmla="*/ 125110 h 2362633"/>
              <a:gd name="connsiteX30" fmla="*/ 958973 w 2427462"/>
              <a:gd name="connsiteY30" fmla="*/ 0 h 2362633"/>
              <a:gd name="connsiteX31" fmla="*/ 887170 w 2427462"/>
              <a:gd name="connsiteY31" fmla="*/ 0 h 2362633"/>
              <a:gd name="connsiteX32" fmla="*/ 887170 w 2427462"/>
              <a:gd name="connsiteY32" fmla="*/ 142974 h 2362633"/>
              <a:gd name="connsiteX33" fmla="*/ 817493 w 2427462"/>
              <a:gd name="connsiteY33" fmla="*/ 164745 h 2362633"/>
              <a:gd name="connsiteX34" fmla="*/ 817493 w 2427462"/>
              <a:gd name="connsiteY34" fmla="*/ 133956 h 2362633"/>
              <a:gd name="connsiteX35" fmla="*/ 745690 w 2427462"/>
              <a:gd name="connsiteY35" fmla="*/ 133956 h 2362633"/>
              <a:gd name="connsiteX36" fmla="*/ 745690 w 2427462"/>
              <a:gd name="connsiteY36" fmla="*/ 191944 h 2362633"/>
              <a:gd name="connsiteX37" fmla="*/ 687156 w 2427462"/>
              <a:gd name="connsiteY37" fmla="*/ 218253 h 2362633"/>
              <a:gd name="connsiteX38" fmla="*/ 687156 w 2427462"/>
              <a:gd name="connsiteY38" fmla="*/ 167560 h 2362633"/>
              <a:gd name="connsiteX39" fmla="*/ 615353 w 2427462"/>
              <a:gd name="connsiteY39" fmla="*/ 167560 h 2362633"/>
              <a:gd name="connsiteX40" fmla="*/ 615353 w 2427462"/>
              <a:gd name="connsiteY40" fmla="*/ 256337 h 2362633"/>
              <a:gd name="connsiteX41" fmla="*/ 544641 w 2427462"/>
              <a:gd name="connsiteY41" fmla="*/ 299706 h 2362633"/>
              <a:gd name="connsiteX42" fmla="*/ 544641 w 2427462"/>
              <a:gd name="connsiteY42" fmla="*/ 220206 h 2362633"/>
              <a:gd name="connsiteX43" fmla="*/ 472838 w 2427462"/>
              <a:gd name="connsiteY43" fmla="*/ 220206 h 2362633"/>
              <a:gd name="connsiteX44" fmla="*/ 472838 w 2427462"/>
              <a:gd name="connsiteY44" fmla="*/ 351261 h 2362633"/>
              <a:gd name="connsiteX45" fmla="*/ 377110 w 2427462"/>
              <a:gd name="connsiteY45" fmla="*/ 433547 h 2362633"/>
              <a:gd name="connsiteX46" fmla="*/ 377110 w 2427462"/>
              <a:gd name="connsiteY46" fmla="*/ 348906 h 2362633"/>
              <a:gd name="connsiteX47" fmla="*/ 305307 w 2427462"/>
              <a:gd name="connsiteY47" fmla="*/ 348906 h 2362633"/>
              <a:gd name="connsiteX48" fmla="*/ 305307 w 2427462"/>
              <a:gd name="connsiteY48" fmla="*/ 507906 h 2362633"/>
              <a:gd name="connsiteX49" fmla="*/ 223940 w 2427462"/>
              <a:gd name="connsiteY49" fmla="*/ 610441 h 2362633"/>
              <a:gd name="connsiteX50" fmla="*/ 223940 w 2427462"/>
              <a:gd name="connsiteY50" fmla="*/ 512186 h 2362633"/>
              <a:gd name="connsiteX51" fmla="*/ 152136 w 2427462"/>
              <a:gd name="connsiteY51" fmla="*/ 512186 h 2362633"/>
              <a:gd name="connsiteX52" fmla="*/ 152136 w 2427462"/>
              <a:gd name="connsiteY52" fmla="*/ 722741 h 2362633"/>
              <a:gd name="connsiteX53" fmla="*/ 152912 w 2427462"/>
              <a:gd name="connsiteY53" fmla="*/ 722741 h 2362633"/>
              <a:gd name="connsiteX54" fmla="*/ 0 w 2427462"/>
              <a:gd name="connsiteY54" fmla="*/ 1311527 h 2362633"/>
              <a:gd name="connsiteX55" fmla="*/ 37740 w 2427462"/>
              <a:gd name="connsiteY55" fmla="*/ 1347428 h 2362633"/>
              <a:gd name="connsiteX56" fmla="*/ 73440 w 2427462"/>
              <a:gd name="connsiteY56" fmla="*/ 1315375 h 2362633"/>
              <a:gd name="connsiteX57" fmla="*/ 429210 w 2427462"/>
              <a:gd name="connsiteY57" fmla="*/ 1039565 h 2362633"/>
              <a:gd name="connsiteX58" fmla="*/ 781246 w 2427462"/>
              <a:gd name="connsiteY58" fmla="*/ 1292657 h 2362633"/>
              <a:gd name="connsiteX59" fmla="*/ 816459 w 2427462"/>
              <a:gd name="connsiteY59" fmla="*/ 1321579 h 2362633"/>
              <a:gd name="connsiteX60" fmla="*/ 851671 w 2427462"/>
              <a:gd name="connsiteY60" fmla="*/ 1292657 h 2362633"/>
              <a:gd name="connsiteX61" fmla="*/ 1171281 w 2427462"/>
              <a:gd name="connsiteY61" fmla="*/ 1040800 h 2362633"/>
              <a:gd name="connsiteX62" fmla="*/ 1171281 w 2427462"/>
              <a:gd name="connsiteY62" fmla="*/ 1175158 h 2362633"/>
              <a:gd name="connsiteX63" fmla="*/ 1147414 w 2427462"/>
              <a:gd name="connsiteY63" fmla="*/ 1175158 h 2362633"/>
              <a:gd name="connsiteX64" fmla="*/ 1111512 w 2427462"/>
              <a:gd name="connsiteY64" fmla="*/ 1211060 h 2362633"/>
              <a:gd name="connsiteX65" fmla="*/ 1147414 w 2427462"/>
              <a:gd name="connsiteY65" fmla="*/ 1246961 h 2362633"/>
              <a:gd name="connsiteX66" fmla="*/ 1171281 w 2427462"/>
              <a:gd name="connsiteY66" fmla="*/ 1246961 h 2362633"/>
              <a:gd name="connsiteX67" fmla="*/ 1171281 w 2427462"/>
              <a:gd name="connsiteY67" fmla="*/ 2137320 h 2362633"/>
              <a:gd name="connsiteX68" fmla="*/ 1147414 w 2427462"/>
              <a:gd name="connsiteY68" fmla="*/ 2137320 h 2362633"/>
              <a:gd name="connsiteX69" fmla="*/ 1111512 w 2427462"/>
              <a:gd name="connsiteY69" fmla="*/ 2173221 h 2362633"/>
              <a:gd name="connsiteX70" fmla="*/ 1147414 w 2427462"/>
              <a:gd name="connsiteY70" fmla="*/ 2209123 h 2362633"/>
              <a:gd name="connsiteX71" fmla="*/ 1171281 w 2427462"/>
              <a:gd name="connsiteY71" fmla="*/ 2209123 h 2362633"/>
              <a:gd name="connsiteX72" fmla="*/ 1171281 w 2427462"/>
              <a:gd name="connsiteY72" fmla="*/ 2345578 h 2362633"/>
              <a:gd name="connsiteX73" fmla="*/ 1243084 w 2427462"/>
              <a:gd name="connsiteY73" fmla="*/ 2345578 h 2362633"/>
              <a:gd name="connsiteX74" fmla="*/ 1243084 w 2427462"/>
              <a:gd name="connsiteY74" fmla="*/ 2209152 h 2362633"/>
              <a:gd name="connsiteX75" fmla="*/ 1275912 w 2427462"/>
              <a:gd name="connsiteY75" fmla="*/ 2209152 h 2362633"/>
              <a:gd name="connsiteX76" fmla="*/ 1311814 w 2427462"/>
              <a:gd name="connsiteY76" fmla="*/ 2173250 h 2362633"/>
              <a:gd name="connsiteX77" fmla="*/ 1275912 w 2427462"/>
              <a:gd name="connsiteY77" fmla="*/ 2137349 h 2362633"/>
              <a:gd name="connsiteX78" fmla="*/ 1243084 w 2427462"/>
              <a:gd name="connsiteY78" fmla="*/ 2137349 h 2362633"/>
              <a:gd name="connsiteX79" fmla="*/ 1243084 w 2427462"/>
              <a:gd name="connsiteY79" fmla="*/ 1246990 h 2362633"/>
              <a:gd name="connsiteX80" fmla="*/ 1275912 w 2427462"/>
              <a:gd name="connsiteY80" fmla="*/ 1246990 h 2362633"/>
              <a:gd name="connsiteX81" fmla="*/ 1311814 w 2427462"/>
              <a:gd name="connsiteY81" fmla="*/ 1211089 h 2362633"/>
              <a:gd name="connsiteX82" fmla="*/ 1275912 w 2427462"/>
              <a:gd name="connsiteY82" fmla="*/ 1175187 h 2362633"/>
              <a:gd name="connsiteX83" fmla="*/ 1243084 w 2427462"/>
              <a:gd name="connsiteY83" fmla="*/ 1175187 h 2362633"/>
              <a:gd name="connsiteX84" fmla="*/ 1243084 w 2427462"/>
              <a:gd name="connsiteY84" fmla="*/ 1041576 h 2362633"/>
              <a:gd name="connsiteX85" fmla="*/ 1559449 w 2427462"/>
              <a:gd name="connsiteY85" fmla="*/ 1315404 h 2362633"/>
              <a:gd name="connsiteX86" fmla="*/ 1595149 w 2427462"/>
              <a:gd name="connsiteY86" fmla="*/ 1347457 h 2362633"/>
              <a:gd name="connsiteX87" fmla="*/ 1606207 w 2427462"/>
              <a:gd name="connsiteY87" fmla="*/ 1347457 h 2362633"/>
              <a:gd name="connsiteX88" fmla="*/ 1641907 w 2427462"/>
              <a:gd name="connsiteY88" fmla="*/ 1315404 h 2362633"/>
              <a:gd name="connsiteX89" fmla="*/ 1997706 w 2427462"/>
              <a:gd name="connsiteY89" fmla="*/ 1039594 h 2362633"/>
              <a:gd name="connsiteX90" fmla="*/ 2353447 w 2427462"/>
              <a:gd name="connsiteY90" fmla="*/ 1315404 h 2362633"/>
              <a:gd name="connsiteX91" fmla="*/ 2389148 w 2427462"/>
              <a:gd name="connsiteY91" fmla="*/ 1347457 h 2362633"/>
              <a:gd name="connsiteX92" fmla="*/ 2390986 w 2427462"/>
              <a:gd name="connsiteY92" fmla="*/ 1347457 h 2362633"/>
              <a:gd name="connsiteX93" fmla="*/ 2391560 w 2427462"/>
              <a:gd name="connsiteY93" fmla="*/ 1347457 h 2362633"/>
              <a:gd name="connsiteX94" fmla="*/ 2427462 w 2427462"/>
              <a:gd name="connsiteY94" fmla="*/ 1311556 h 2362633"/>
              <a:gd name="connsiteX95" fmla="*/ 2426859 w 2427462"/>
              <a:gd name="connsiteY95" fmla="*/ 1305036 h 2362633"/>
              <a:gd name="connsiteX96" fmla="*/ 88978 w 2427462"/>
              <a:gd name="connsiteY96" fmla="*/ 1113465 h 2362633"/>
              <a:gd name="connsiteX97" fmla="*/ 920889 w 2427462"/>
              <a:gd name="connsiteY97" fmla="*/ 208057 h 2362633"/>
              <a:gd name="connsiteX98" fmla="*/ 393050 w 2427462"/>
              <a:gd name="connsiteY98" fmla="*/ 969629 h 2362633"/>
              <a:gd name="connsiteX99" fmla="*/ 88978 w 2427462"/>
              <a:gd name="connsiteY99" fmla="*/ 1113465 h 2362633"/>
              <a:gd name="connsiteX100" fmla="*/ 467237 w 2427462"/>
              <a:gd name="connsiteY100" fmla="*/ 969399 h 2362633"/>
              <a:gd name="connsiteX101" fmla="*/ 1122800 w 2427462"/>
              <a:gd name="connsiteY101" fmla="*/ 201077 h 2362633"/>
              <a:gd name="connsiteX102" fmla="*/ 790409 w 2427462"/>
              <a:gd name="connsiteY102" fmla="*/ 1140635 h 2362633"/>
              <a:gd name="connsiteX103" fmla="*/ 467237 w 2427462"/>
              <a:gd name="connsiteY103" fmla="*/ 969399 h 2362633"/>
              <a:gd name="connsiteX104" fmla="*/ 863217 w 2427462"/>
              <a:gd name="connsiteY104" fmla="*/ 1114556 h 2362633"/>
              <a:gd name="connsiteX105" fmla="*/ 1171281 w 2427462"/>
              <a:gd name="connsiteY105" fmla="*/ 255418 h 2362633"/>
              <a:gd name="connsiteX106" fmla="*/ 1171281 w 2427462"/>
              <a:gd name="connsiteY106" fmla="*/ 968882 h 2362633"/>
              <a:gd name="connsiteX107" fmla="*/ 863217 w 2427462"/>
              <a:gd name="connsiteY107" fmla="*/ 1114556 h 2362633"/>
              <a:gd name="connsiteX108" fmla="*/ 1243084 w 2427462"/>
              <a:gd name="connsiteY108" fmla="*/ 969514 h 2362633"/>
              <a:gd name="connsiteX109" fmla="*/ 1243084 w 2427462"/>
              <a:gd name="connsiteY109" fmla="*/ 244849 h 2362633"/>
              <a:gd name="connsiteX110" fmla="*/ 1560368 w 2427462"/>
              <a:gd name="connsiteY110" fmla="*/ 1133886 h 2362633"/>
              <a:gd name="connsiteX111" fmla="*/ 1243084 w 2427462"/>
              <a:gd name="connsiteY111" fmla="*/ 969514 h 2362633"/>
              <a:gd name="connsiteX112" fmla="*/ 1632659 w 2427462"/>
              <a:gd name="connsiteY112" fmla="*/ 1145173 h 2362633"/>
              <a:gd name="connsiteX113" fmla="*/ 1300096 w 2427462"/>
              <a:gd name="connsiteY113" fmla="*/ 201077 h 2362633"/>
              <a:gd name="connsiteX114" fmla="*/ 1955744 w 2427462"/>
              <a:gd name="connsiteY114" fmla="*/ 969773 h 2362633"/>
              <a:gd name="connsiteX115" fmla="*/ 1632659 w 2427462"/>
              <a:gd name="connsiteY115" fmla="*/ 1145173 h 2362633"/>
              <a:gd name="connsiteX116" fmla="*/ 2029759 w 2427462"/>
              <a:gd name="connsiteY116" fmla="*/ 969428 h 2362633"/>
              <a:gd name="connsiteX117" fmla="*/ 1498789 w 2427462"/>
              <a:gd name="connsiteY117" fmla="*/ 206247 h 2362633"/>
              <a:gd name="connsiteX118" fmla="*/ 2337909 w 2427462"/>
              <a:gd name="connsiteY118" fmla="*/ 1113465 h 2362633"/>
              <a:gd name="connsiteX119" fmla="*/ 2029759 w 2427462"/>
              <a:gd name="connsiteY119" fmla="*/ 969428 h 2362633"/>
              <a:gd name="connsiteX0" fmla="*/ 2426859 w 2427462"/>
              <a:gd name="connsiteY0" fmla="*/ 1305036 h 2345578"/>
              <a:gd name="connsiteX1" fmla="*/ 2275440 w 2427462"/>
              <a:gd name="connsiteY1" fmla="*/ 725154 h 2345578"/>
              <a:gd name="connsiteX2" fmla="*/ 2275440 w 2427462"/>
              <a:gd name="connsiteY2" fmla="*/ 516753 h 2345578"/>
              <a:gd name="connsiteX3" fmla="*/ 2203637 w 2427462"/>
              <a:gd name="connsiteY3" fmla="*/ 516753 h 2345578"/>
              <a:gd name="connsiteX4" fmla="*/ 2203637 w 2427462"/>
              <a:gd name="connsiteY4" fmla="*/ 611418 h 2345578"/>
              <a:gd name="connsiteX5" fmla="*/ 2122988 w 2427462"/>
              <a:gd name="connsiteY5" fmla="*/ 509601 h 2345578"/>
              <a:gd name="connsiteX6" fmla="*/ 2122988 w 2427462"/>
              <a:gd name="connsiteY6" fmla="*/ 353444 h 2345578"/>
              <a:gd name="connsiteX7" fmla="*/ 2051185 w 2427462"/>
              <a:gd name="connsiteY7" fmla="*/ 353444 h 2345578"/>
              <a:gd name="connsiteX8" fmla="*/ 2051185 w 2427462"/>
              <a:gd name="connsiteY8" fmla="*/ 434897 h 2345578"/>
              <a:gd name="connsiteX9" fmla="*/ 1956204 w 2427462"/>
              <a:gd name="connsiteY9" fmla="*/ 352984 h 2345578"/>
              <a:gd name="connsiteX10" fmla="*/ 1956204 w 2427462"/>
              <a:gd name="connsiteY10" fmla="*/ 224715 h 2345578"/>
              <a:gd name="connsiteX11" fmla="*/ 1884401 w 2427462"/>
              <a:gd name="connsiteY11" fmla="*/ 224715 h 2345578"/>
              <a:gd name="connsiteX12" fmla="*/ 1884401 w 2427462"/>
              <a:gd name="connsiteY12" fmla="*/ 301027 h 2345578"/>
              <a:gd name="connsiteX13" fmla="*/ 1814350 w 2427462"/>
              <a:gd name="connsiteY13" fmla="*/ 257945 h 2345578"/>
              <a:gd name="connsiteX14" fmla="*/ 1814350 w 2427462"/>
              <a:gd name="connsiteY14" fmla="*/ 172040 h 2345578"/>
              <a:gd name="connsiteX15" fmla="*/ 1742546 w 2427462"/>
              <a:gd name="connsiteY15" fmla="*/ 172040 h 2345578"/>
              <a:gd name="connsiteX16" fmla="*/ 1742546 w 2427462"/>
              <a:gd name="connsiteY16" fmla="*/ 219717 h 2345578"/>
              <a:gd name="connsiteX17" fmla="*/ 1684616 w 2427462"/>
              <a:gd name="connsiteY17" fmla="*/ 193294 h 2345578"/>
              <a:gd name="connsiteX18" fmla="*/ 1684616 w 2427462"/>
              <a:gd name="connsiteY18" fmla="*/ 138465 h 2345578"/>
              <a:gd name="connsiteX19" fmla="*/ 1612813 w 2427462"/>
              <a:gd name="connsiteY19" fmla="*/ 138465 h 2345578"/>
              <a:gd name="connsiteX20" fmla="*/ 1612813 w 2427462"/>
              <a:gd name="connsiteY20" fmla="*/ 165894 h 2345578"/>
              <a:gd name="connsiteX21" fmla="*/ 1543795 w 2427462"/>
              <a:gd name="connsiteY21" fmla="*/ 144152 h 2345578"/>
              <a:gd name="connsiteX22" fmla="*/ 1543795 w 2427462"/>
              <a:gd name="connsiteY22" fmla="*/ 4509 h 2345578"/>
              <a:gd name="connsiteX23" fmla="*/ 1471992 w 2427462"/>
              <a:gd name="connsiteY23" fmla="*/ 4509 h 2345578"/>
              <a:gd name="connsiteX24" fmla="*/ 1471992 w 2427462"/>
              <a:gd name="connsiteY24" fmla="*/ 126058 h 2345578"/>
              <a:gd name="connsiteX25" fmla="*/ 1243084 w 2427462"/>
              <a:gd name="connsiteY25" fmla="*/ 98801 h 2345578"/>
              <a:gd name="connsiteX26" fmla="*/ 1243084 w 2427462"/>
              <a:gd name="connsiteY26" fmla="*/ 0 h 2345578"/>
              <a:gd name="connsiteX27" fmla="*/ 1171281 w 2427462"/>
              <a:gd name="connsiteY27" fmla="*/ 0 h 2345578"/>
              <a:gd name="connsiteX28" fmla="*/ 1171281 w 2427462"/>
              <a:gd name="connsiteY28" fmla="*/ 99117 h 2345578"/>
              <a:gd name="connsiteX29" fmla="*/ 958973 w 2427462"/>
              <a:gd name="connsiteY29" fmla="*/ 125110 h 2345578"/>
              <a:gd name="connsiteX30" fmla="*/ 958973 w 2427462"/>
              <a:gd name="connsiteY30" fmla="*/ 0 h 2345578"/>
              <a:gd name="connsiteX31" fmla="*/ 887170 w 2427462"/>
              <a:gd name="connsiteY31" fmla="*/ 0 h 2345578"/>
              <a:gd name="connsiteX32" fmla="*/ 887170 w 2427462"/>
              <a:gd name="connsiteY32" fmla="*/ 142974 h 2345578"/>
              <a:gd name="connsiteX33" fmla="*/ 817493 w 2427462"/>
              <a:gd name="connsiteY33" fmla="*/ 164745 h 2345578"/>
              <a:gd name="connsiteX34" fmla="*/ 817493 w 2427462"/>
              <a:gd name="connsiteY34" fmla="*/ 133956 h 2345578"/>
              <a:gd name="connsiteX35" fmla="*/ 745690 w 2427462"/>
              <a:gd name="connsiteY35" fmla="*/ 133956 h 2345578"/>
              <a:gd name="connsiteX36" fmla="*/ 745690 w 2427462"/>
              <a:gd name="connsiteY36" fmla="*/ 191944 h 2345578"/>
              <a:gd name="connsiteX37" fmla="*/ 687156 w 2427462"/>
              <a:gd name="connsiteY37" fmla="*/ 218253 h 2345578"/>
              <a:gd name="connsiteX38" fmla="*/ 687156 w 2427462"/>
              <a:gd name="connsiteY38" fmla="*/ 167560 h 2345578"/>
              <a:gd name="connsiteX39" fmla="*/ 615353 w 2427462"/>
              <a:gd name="connsiteY39" fmla="*/ 167560 h 2345578"/>
              <a:gd name="connsiteX40" fmla="*/ 615353 w 2427462"/>
              <a:gd name="connsiteY40" fmla="*/ 256337 h 2345578"/>
              <a:gd name="connsiteX41" fmla="*/ 544641 w 2427462"/>
              <a:gd name="connsiteY41" fmla="*/ 299706 h 2345578"/>
              <a:gd name="connsiteX42" fmla="*/ 544641 w 2427462"/>
              <a:gd name="connsiteY42" fmla="*/ 220206 h 2345578"/>
              <a:gd name="connsiteX43" fmla="*/ 472838 w 2427462"/>
              <a:gd name="connsiteY43" fmla="*/ 220206 h 2345578"/>
              <a:gd name="connsiteX44" fmla="*/ 472838 w 2427462"/>
              <a:gd name="connsiteY44" fmla="*/ 351261 h 2345578"/>
              <a:gd name="connsiteX45" fmla="*/ 377110 w 2427462"/>
              <a:gd name="connsiteY45" fmla="*/ 433547 h 2345578"/>
              <a:gd name="connsiteX46" fmla="*/ 377110 w 2427462"/>
              <a:gd name="connsiteY46" fmla="*/ 348906 h 2345578"/>
              <a:gd name="connsiteX47" fmla="*/ 305307 w 2427462"/>
              <a:gd name="connsiteY47" fmla="*/ 348906 h 2345578"/>
              <a:gd name="connsiteX48" fmla="*/ 305307 w 2427462"/>
              <a:gd name="connsiteY48" fmla="*/ 507906 h 2345578"/>
              <a:gd name="connsiteX49" fmla="*/ 223940 w 2427462"/>
              <a:gd name="connsiteY49" fmla="*/ 610441 h 2345578"/>
              <a:gd name="connsiteX50" fmla="*/ 223940 w 2427462"/>
              <a:gd name="connsiteY50" fmla="*/ 512186 h 2345578"/>
              <a:gd name="connsiteX51" fmla="*/ 152136 w 2427462"/>
              <a:gd name="connsiteY51" fmla="*/ 512186 h 2345578"/>
              <a:gd name="connsiteX52" fmla="*/ 152136 w 2427462"/>
              <a:gd name="connsiteY52" fmla="*/ 722741 h 2345578"/>
              <a:gd name="connsiteX53" fmla="*/ 152912 w 2427462"/>
              <a:gd name="connsiteY53" fmla="*/ 722741 h 2345578"/>
              <a:gd name="connsiteX54" fmla="*/ 0 w 2427462"/>
              <a:gd name="connsiteY54" fmla="*/ 1311527 h 2345578"/>
              <a:gd name="connsiteX55" fmla="*/ 37740 w 2427462"/>
              <a:gd name="connsiteY55" fmla="*/ 1347428 h 2345578"/>
              <a:gd name="connsiteX56" fmla="*/ 73440 w 2427462"/>
              <a:gd name="connsiteY56" fmla="*/ 1315375 h 2345578"/>
              <a:gd name="connsiteX57" fmla="*/ 429210 w 2427462"/>
              <a:gd name="connsiteY57" fmla="*/ 1039565 h 2345578"/>
              <a:gd name="connsiteX58" fmla="*/ 781246 w 2427462"/>
              <a:gd name="connsiteY58" fmla="*/ 1292657 h 2345578"/>
              <a:gd name="connsiteX59" fmla="*/ 816459 w 2427462"/>
              <a:gd name="connsiteY59" fmla="*/ 1321579 h 2345578"/>
              <a:gd name="connsiteX60" fmla="*/ 851671 w 2427462"/>
              <a:gd name="connsiteY60" fmla="*/ 1292657 h 2345578"/>
              <a:gd name="connsiteX61" fmla="*/ 1171281 w 2427462"/>
              <a:gd name="connsiteY61" fmla="*/ 1040800 h 2345578"/>
              <a:gd name="connsiteX62" fmla="*/ 1171281 w 2427462"/>
              <a:gd name="connsiteY62" fmla="*/ 1175158 h 2345578"/>
              <a:gd name="connsiteX63" fmla="*/ 1147414 w 2427462"/>
              <a:gd name="connsiteY63" fmla="*/ 1175158 h 2345578"/>
              <a:gd name="connsiteX64" fmla="*/ 1111512 w 2427462"/>
              <a:gd name="connsiteY64" fmla="*/ 1211060 h 2345578"/>
              <a:gd name="connsiteX65" fmla="*/ 1147414 w 2427462"/>
              <a:gd name="connsiteY65" fmla="*/ 1246961 h 2345578"/>
              <a:gd name="connsiteX66" fmla="*/ 1171281 w 2427462"/>
              <a:gd name="connsiteY66" fmla="*/ 1246961 h 2345578"/>
              <a:gd name="connsiteX67" fmla="*/ 1171281 w 2427462"/>
              <a:gd name="connsiteY67" fmla="*/ 2137320 h 2345578"/>
              <a:gd name="connsiteX68" fmla="*/ 1147414 w 2427462"/>
              <a:gd name="connsiteY68" fmla="*/ 2137320 h 2345578"/>
              <a:gd name="connsiteX69" fmla="*/ 1111512 w 2427462"/>
              <a:gd name="connsiteY69" fmla="*/ 2173221 h 2345578"/>
              <a:gd name="connsiteX70" fmla="*/ 1147414 w 2427462"/>
              <a:gd name="connsiteY70" fmla="*/ 2209123 h 2345578"/>
              <a:gd name="connsiteX71" fmla="*/ 1171281 w 2427462"/>
              <a:gd name="connsiteY71" fmla="*/ 2209123 h 2345578"/>
              <a:gd name="connsiteX72" fmla="*/ 1171281 w 2427462"/>
              <a:gd name="connsiteY72" fmla="*/ 2345578 h 2345578"/>
              <a:gd name="connsiteX73" fmla="*/ 1243084 w 2427462"/>
              <a:gd name="connsiteY73" fmla="*/ 2209152 h 2345578"/>
              <a:gd name="connsiteX74" fmla="*/ 1275912 w 2427462"/>
              <a:gd name="connsiteY74" fmla="*/ 2209152 h 2345578"/>
              <a:gd name="connsiteX75" fmla="*/ 1311814 w 2427462"/>
              <a:gd name="connsiteY75" fmla="*/ 2173250 h 2345578"/>
              <a:gd name="connsiteX76" fmla="*/ 1275912 w 2427462"/>
              <a:gd name="connsiteY76" fmla="*/ 2137349 h 2345578"/>
              <a:gd name="connsiteX77" fmla="*/ 1243084 w 2427462"/>
              <a:gd name="connsiteY77" fmla="*/ 2137349 h 2345578"/>
              <a:gd name="connsiteX78" fmla="*/ 1243084 w 2427462"/>
              <a:gd name="connsiteY78" fmla="*/ 1246990 h 2345578"/>
              <a:gd name="connsiteX79" fmla="*/ 1275912 w 2427462"/>
              <a:gd name="connsiteY79" fmla="*/ 1246990 h 2345578"/>
              <a:gd name="connsiteX80" fmla="*/ 1311814 w 2427462"/>
              <a:gd name="connsiteY80" fmla="*/ 1211089 h 2345578"/>
              <a:gd name="connsiteX81" fmla="*/ 1275912 w 2427462"/>
              <a:gd name="connsiteY81" fmla="*/ 1175187 h 2345578"/>
              <a:gd name="connsiteX82" fmla="*/ 1243084 w 2427462"/>
              <a:gd name="connsiteY82" fmla="*/ 1175187 h 2345578"/>
              <a:gd name="connsiteX83" fmla="*/ 1243084 w 2427462"/>
              <a:gd name="connsiteY83" fmla="*/ 1041576 h 2345578"/>
              <a:gd name="connsiteX84" fmla="*/ 1559449 w 2427462"/>
              <a:gd name="connsiteY84" fmla="*/ 1315404 h 2345578"/>
              <a:gd name="connsiteX85" fmla="*/ 1595149 w 2427462"/>
              <a:gd name="connsiteY85" fmla="*/ 1347457 h 2345578"/>
              <a:gd name="connsiteX86" fmla="*/ 1606207 w 2427462"/>
              <a:gd name="connsiteY86" fmla="*/ 1347457 h 2345578"/>
              <a:gd name="connsiteX87" fmla="*/ 1641907 w 2427462"/>
              <a:gd name="connsiteY87" fmla="*/ 1315404 h 2345578"/>
              <a:gd name="connsiteX88" fmla="*/ 1997706 w 2427462"/>
              <a:gd name="connsiteY88" fmla="*/ 1039594 h 2345578"/>
              <a:gd name="connsiteX89" fmla="*/ 2353447 w 2427462"/>
              <a:gd name="connsiteY89" fmla="*/ 1315404 h 2345578"/>
              <a:gd name="connsiteX90" fmla="*/ 2389148 w 2427462"/>
              <a:gd name="connsiteY90" fmla="*/ 1347457 h 2345578"/>
              <a:gd name="connsiteX91" fmla="*/ 2390986 w 2427462"/>
              <a:gd name="connsiteY91" fmla="*/ 1347457 h 2345578"/>
              <a:gd name="connsiteX92" fmla="*/ 2391560 w 2427462"/>
              <a:gd name="connsiteY92" fmla="*/ 1347457 h 2345578"/>
              <a:gd name="connsiteX93" fmla="*/ 2427462 w 2427462"/>
              <a:gd name="connsiteY93" fmla="*/ 1311556 h 2345578"/>
              <a:gd name="connsiteX94" fmla="*/ 2426859 w 2427462"/>
              <a:gd name="connsiteY94" fmla="*/ 1305036 h 2345578"/>
              <a:gd name="connsiteX95" fmla="*/ 88978 w 2427462"/>
              <a:gd name="connsiteY95" fmla="*/ 1113465 h 2345578"/>
              <a:gd name="connsiteX96" fmla="*/ 920889 w 2427462"/>
              <a:gd name="connsiteY96" fmla="*/ 208057 h 2345578"/>
              <a:gd name="connsiteX97" fmla="*/ 393050 w 2427462"/>
              <a:gd name="connsiteY97" fmla="*/ 969629 h 2345578"/>
              <a:gd name="connsiteX98" fmla="*/ 88978 w 2427462"/>
              <a:gd name="connsiteY98" fmla="*/ 1113465 h 2345578"/>
              <a:gd name="connsiteX99" fmla="*/ 467237 w 2427462"/>
              <a:gd name="connsiteY99" fmla="*/ 969399 h 2345578"/>
              <a:gd name="connsiteX100" fmla="*/ 1122800 w 2427462"/>
              <a:gd name="connsiteY100" fmla="*/ 201077 h 2345578"/>
              <a:gd name="connsiteX101" fmla="*/ 790409 w 2427462"/>
              <a:gd name="connsiteY101" fmla="*/ 1140635 h 2345578"/>
              <a:gd name="connsiteX102" fmla="*/ 467237 w 2427462"/>
              <a:gd name="connsiteY102" fmla="*/ 969399 h 2345578"/>
              <a:gd name="connsiteX103" fmla="*/ 863217 w 2427462"/>
              <a:gd name="connsiteY103" fmla="*/ 1114556 h 2345578"/>
              <a:gd name="connsiteX104" fmla="*/ 1171281 w 2427462"/>
              <a:gd name="connsiteY104" fmla="*/ 255418 h 2345578"/>
              <a:gd name="connsiteX105" fmla="*/ 1171281 w 2427462"/>
              <a:gd name="connsiteY105" fmla="*/ 968882 h 2345578"/>
              <a:gd name="connsiteX106" fmla="*/ 863217 w 2427462"/>
              <a:gd name="connsiteY106" fmla="*/ 1114556 h 2345578"/>
              <a:gd name="connsiteX107" fmla="*/ 1243084 w 2427462"/>
              <a:gd name="connsiteY107" fmla="*/ 969514 h 2345578"/>
              <a:gd name="connsiteX108" fmla="*/ 1243084 w 2427462"/>
              <a:gd name="connsiteY108" fmla="*/ 244849 h 2345578"/>
              <a:gd name="connsiteX109" fmla="*/ 1560368 w 2427462"/>
              <a:gd name="connsiteY109" fmla="*/ 1133886 h 2345578"/>
              <a:gd name="connsiteX110" fmla="*/ 1243084 w 2427462"/>
              <a:gd name="connsiteY110" fmla="*/ 969514 h 2345578"/>
              <a:gd name="connsiteX111" fmla="*/ 1632659 w 2427462"/>
              <a:gd name="connsiteY111" fmla="*/ 1145173 h 2345578"/>
              <a:gd name="connsiteX112" fmla="*/ 1300096 w 2427462"/>
              <a:gd name="connsiteY112" fmla="*/ 201077 h 2345578"/>
              <a:gd name="connsiteX113" fmla="*/ 1955744 w 2427462"/>
              <a:gd name="connsiteY113" fmla="*/ 969773 h 2345578"/>
              <a:gd name="connsiteX114" fmla="*/ 1632659 w 2427462"/>
              <a:gd name="connsiteY114" fmla="*/ 1145173 h 2345578"/>
              <a:gd name="connsiteX115" fmla="*/ 2029759 w 2427462"/>
              <a:gd name="connsiteY115" fmla="*/ 969428 h 2345578"/>
              <a:gd name="connsiteX116" fmla="*/ 1498789 w 2427462"/>
              <a:gd name="connsiteY116" fmla="*/ 206247 h 2345578"/>
              <a:gd name="connsiteX117" fmla="*/ 2337909 w 2427462"/>
              <a:gd name="connsiteY117" fmla="*/ 1113465 h 2345578"/>
              <a:gd name="connsiteX118" fmla="*/ 2029759 w 2427462"/>
              <a:gd name="connsiteY118" fmla="*/ 969428 h 2345578"/>
              <a:gd name="connsiteX0" fmla="*/ 2426859 w 2427462"/>
              <a:gd name="connsiteY0" fmla="*/ 1305036 h 2209152"/>
              <a:gd name="connsiteX1" fmla="*/ 2275440 w 2427462"/>
              <a:gd name="connsiteY1" fmla="*/ 725154 h 2209152"/>
              <a:gd name="connsiteX2" fmla="*/ 2275440 w 2427462"/>
              <a:gd name="connsiteY2" fmla="*/ 516753 h 2209152"/>
              <a:gd name="connsiteX3" fmla="*/ 2203637 w 2427462"/>
              <a:gd name="connsiteY3" fmla="*/ 516753 h 2209152"/>
              <a:gd name="connsiteX4" fmla="*/ 2203637 w 2427462"/>
              <a:gd name="connsiteY4" fmla="*/ 611418 h 2209152"/>
              <a:gd name="connsiteX5" fmla="*/ 2122988 w 2427462"/>
              <a:gd name="connsiteY5" fmla="*/ 509601 h 2209152"/>
              <a:gd name="connsiteX6" fmla="*/ 2122988 w 2427462"/>
              <a:gd name="connsiteY6" fmla="*/ 353444 h 2209152"/>
              <a:gd name="connsiteX7" fmla="*/ 2051185 w 2427462"/>
              <a:gd name="connsiteY7" fmla="*/ 353444 h 2209152"/>
              <a:gd name="connsiteX8" fmla="*/ 2051185 w 2427462"/>
              <a:gd name="connsiteY8" fmla="*/ 434897 h 2209152"/>
              <a:gd name="connsiteX9" fmla="*/ 1956204 w 2427462"/>
              <a:gd name="connsiteY9" fmla="*/ 352984 h 2209152"/>
              <a:gd name="connsiteX10" fmla="*/ 1956204 w 2427462"/>
              <a:gd name="connsiteY10" fmla="*/ 224715 h 2209152"/>
              <a:gd name="connsiteX11" fmla="*/ 1884401 w 2427462"/>
              <a:gd name="connsiteY11" fmla="*/ 224715 h 2209152"/>
              <a:gd name="connsiteX12" fmla="*/ 1884401 w 2427462"/>
              <a:gd name="connsiteY12" fmla="*/ 301027 h 2209152"/>
              <a:gd name="connsiteX13" fmla="*/ 1814350 w 2427462"/>
              <a:gd name="connsiteY13" fmla="*/ 257945 h 2209152"/>
              <a:gd name="connsiteX14" fmla="*/ 1814350 w 2427462"/>
              <a:gd name="connsiteY14" fmla="*/ 172040 h 2209152"/>
              <a:gd name="connsiteX15" fmla="*/ 1742546 w 2427462"/>
              <a:gd name="connsiteY15" fmla="*/ 172040 h 2209152"/>
              <a:gd name="connsiteX16" fmla="*/ 1742546 w 2427462"/>
              <a:gd name="connsiteY16" fmla="*/ 219717 h 2209152"/>
              <a:gd name="connsiteX17" fmla="*/ 1684616 w 2427462"/>
              <a:gd name="connsiteY17" fmla="*/ 193294 h 2209152"/>
              <a:gd name="connsiteX18" fmla="*/ 1684616 w 2427462"/>
              <a:gd name="connsiteY18" fmla="*/ 138465 h 2209152"/>
              <a:gd name="connsiteX19" fmla="*/ 1612813 w 2427462"/>
              <a:gd name="connsiteY19" fmla="*/ 138465 h 2209152"/>
              <a:gd name="connsiteX20" fmla="*/ 1612813 w 2427462"/>
              <a:gd name="connsiteY20" fmla="*/ 165894 h 2209152"/>
              <a:gd name="connsiteX21" fmla="*/ 1543795 w 2427462"/>
              <a:gd name="connsiteY21" fmla="*/ 144152 h 2209152"/>
              <a:gd name="connsiteX22" fmla="*/ 1543795 w 2427462"/>
              <a:gd name="connsiteY22" fmla="*/ 4509 h 2209152"/>
              <a:gd name="connsiteX23" fmla="*/ 1471992 w 2427462"/>
              <a:gd name="connsiteY23" fmla="*/ 4509 h 2209152"/>
              <a:gd name="connsiteX24" fmla="*/ 1471992 w 2427462"/>
              <a:gd name="connsiteY24" fmla="*/ 126058 h 2209152"/>
              <a:gd name="connsiteX25" fmla="*/ 1243084 w 2427462"/>
              <a:gd name="connsiteY25" fmla="*/ 98801 h 2209152"/>
              <a:gd name="connsiteX26" fmla="*/ 1243084 w 2427462"/>
              <a:gd name="connsiteY26" fmla="*/ 0 h 2209152"/>
              <a:gd name="connsiteX27" fmla="*/ 1171281 w 2427462"/>
              <a:gd name="connsiteY27" fmla="*/ 0 h 2209152"/>
              <a:gd name="connsiteX28" fmla="*/ 1171281 w 2427462"/>
              <a:gd name="connsiteY28" fmla="*/ 99117 h 2209152"/>
              <a:gd name="connsiteX29" fmla="*/ 958973 w 2427462"/>
              <a:gd name="connsiteY29" fmla="*/ 125110 h 2209152"/>
              <a:gd name="connsiteX30" fmla="*/ 958973 w 2427462"/>
              <a:gd name="connsiteY30" fmla="*/ 0 h 2209152"/>
              <a:gd name="connsiteX31" fmla="*/ 887170 w 2427462"/>
              <a:gd name="connsiteY31" fmla="*/ 0 h 2209152"/>
              <a:gd name="connsiteX32" fmla="*/ 887170 w 2427462"/>
              <a:gd name="connsiteY32" fmla="*/ 142974 h 2209152"/>
              <a:gd name="connsiteX33" fmla="*/ 817493 w 2427462"/>
              <a:gd name="connsiteY33" fmla="*/ 164745 h 2209152"/>
              <a:gd name="connsiteX34" fmla="*/ 817493 w 2427462"/>
              <a:gd name="connsiteY34" fmla="*/ 133956 h 2209152"/>
              <a:gd name="connsiteX35" fmla="*/ 745690 w 2427462"/>
              <a:gd name="connsiteY35" fmla="*/ 133956 h 2209152"/>
              <a:gd name="connsiteX36" fmla="*/ 745690 w 2427462"/>
              <a:gd name="connsiteY36" fmla="*/ 191944 h 2209152"/>
              <a:gd name="connsiteX37" fmla="*/ 687156 w 2427462"/>
              <a:gd name="connsiteY37" fmla="*/ 218253 h 2209152"/>
              <a:gd name="connsiteX38" fmla="*/ 687156 w 2427462"/>
              <a:gd name="connsiteY38" fmla="*/ 167560 h 2209152"/>
              <a:gd name="connsiteX39" fmla="*/ 615353 w 2427462"/>
              <a:gd name="connsiteY39" fmla="*/ 167560 h 2209152"/>
              <a:gd name="connsiteX40" fmla="*/ 615353 w 2427462"/>
              <a:gd name="connsiteY40" fmla="*/ 256337 h 2209152"/>
              <a:gd name="connsiteX41" fmla="*/ 544641 w 2427462"/>
              <a:gd name="connsiteY41" fmla="*/ 299706 h 2209152"/>
              <a:gd name="connsiteX42" fmla="*/ 544641 w 2427462"/>
              <a:gd name="connsiteY42" fmla="*/ 220206 h 2209152"/>
              <a:gd name="connsiteX43" fmla="*/ 472838 w 2427462"/>
              <a:gd name="connsiteY43" fmla="*/ 220206 h 2209152"/>
              <a:gd name="connsiteX44" fmla="*/ 472838 w 2427462"/>
              <a:gd name="connsiteY44" fmla="*/ 351261 h 2209152"/>
              <a:gd name="connsiteX45" fmla="*/ 377110 w 2427462"/>
              <a:gd name="connsiteY45" fmla="*/ 433547 h 2209152"/>
              <a:gd name="connsiteX46" fmla="*/ 377110 w 2427462"/>
              <a:gd name="connsiteY46" fmla="*/ 348906 h 2209152"/>
              <a:gd name="connsiteX47" fmla="*/ 305307 w 2427462"/>
              <a:gd name="connsiteY47" fmla="*/ 348906 h 2209152"/>
              <a:gd name="connsiteX48" fmla="*/ 305307 w 2427462"/>
              <a:gd name="connsiteY48" fmla="*/ 507906 h 2209152"/>
              <a:gd name="connsiteX49" fmla="*/ 223940 w 2427462"/>
              <a:gd name="connsiteY49" fmla="*/ 610441 h 2209152"/>
              <a:gd name="connsiteX50" fmla="*/ 223940 w 2427462"/>
              <a:gd name="connsiteY50" fmla="*/ 512186 h 2209152"/>
              <a:gd name="connsiteX51" fmla="*/ 152136 w 2427462"/>
              <a:gd name="connsiteY51" fmla="*/ 512186 h 2209152"/>
              <a:gd name="connsiteX52" fmla="*/ 152136 w 2427462"/>
              <a:gd name="connsiteY52" fmla="*/ 722741 h 2209152"/>
              <a:gd name="connsiteX53" fmla="*/ 152912 w 2427462"/>
              <a:gd name="connsiteY53" fmla="*/ 722741 h 2209152"/>
              <a:gd name="connsiteX54" fmla="*/ 0 w 2427462"/>
              <a:gd name="connsiteY54" fmla="*/ 1311527 h 2209152"/>
              <a:gd name="connsiteX55" fmla="*/ 37740 w 2427462"/>
              <a:gd name="connsiteY55" fmla="*/ 1347428 h 2209152"/>
              <a:gd name="connsiteX56" fmla="*/ 73440 w 2427462"/>
              <a:gd name="connsiteY56" fmla="*/ 1315375 h 2209152"/>
              <a:gd name="connsiteX57" fmla="*/ 429210 w 2427462"/>
              <a:gd name="connsiteY57" fmla="*/ 1039565 h 2209152"/>
              <a:gd name="connsiteX58" fmla="*/ 781246 w 2427462"/>
              <a:gd name="connsiteY58" fmla="*/ 1292657 h 2209152"/>
              <a:gd name="connsiteX59" fmla="*/ 816459 w 2427462"/>
              <a:gd name="connsiteY59" fmla="*/ 1321579 h 2209152"/>
              <a:gd name="connsiteX60" fmla="*/ 851671 w 2427462"/>
              <a:gd name="connsiteY60" fmla="*/ 1292657 h 2209152"/>
              <a:gd name="connsiteX61" fmla="*/ 1171281 w 2427462"/>
              <a:gd name="connsiteY61" fmla="*/ 1040800 h 2209152"/>
              <a:gd name="connsiteX62" fmla="*/ 1171281 w 2427462"/>
              <a:gd name="connsiteY62" fmla="*/ 1175158 h 2209152"/>
              <a:gd name="connsiteX63" fmla="*/ 1147414 w 2427462"/>
              <a:gd name="connsiteY63" fmla="*/ 1175158 h 2209152"/>
              <a:gd name="connsiteX64" fmla="*/ 1111512 w 2427462"/>
              <a:gd name="connsiteY64" fmla="*/ 1211060 h 2209152"/>
              <a:gd name="connsiteX65" fmla="*/ 1147414 w 2427462"/>
              <a:gd name="connsiteY65" fmla="*/ 1246961 h 2209152"/>
              <a:gd name="connsiteX66" fmla="*/ 1171281 w 2427462"/>
              <a:gd name="connsiteY66" fmla="*/ 1246961 h 2209152"/>
              <a:gd name="connsiteX67" fmla="*/ 1171281 w 2427462"/>
              <a:gd name="connsiteY67" fmla="*/ 2137320 h 2209152"/>
              <a:gd name="connsiteX68" fmla="*/ 1147414 w 2427462"/>
              <a:gd name="connsiteY68" fmla="*/ 2137320 h 2209152"/>
              <a:gd name="connsiteX69" fmla="*/ 1111512 w 2427462"/>
              <a:gd name="connsiteY69" fmla="*/ 2173221 h 2209152"/>
              <a:gd name="connsiteX70" fmla="*/ 1147414 w 2427462"/>
              <a:gd name="connsiteY70" fmla="*/ 2209123 h 2209152"/>
              <a:gd name="connsiteX71" fmla="*/ 1171281 w 2427462"/>
              <a:gd name="connsiteY71" fmla="*/ 2209123 h 2209152"/>
              <a:gd name="connsiteX72" fmla="*/ 1243084 w 2427462"/>
              <a:gd name="connsiteY72" fmla="*/ 2209152 h 2209152"/>
              <a:gd name="connsiteX73" fmla="*/ 1275912 w 2427462"/>
              <a:gd name="connsiteY73" fmla="*/ 2209152 h 2209152"/>
              <a:gd name="connsiteX74" fmla="*/ 1311814 w 2427462"/>
              <a:gd name="connsiteY74" fmla="*/ 2173250 h 2209152"/>
              <a:gd name="connsiteX75" fmla="*/ 1275912 w 2427462"/>
              <a:gd name="connsiteY75" fmla="*/ 2137349 h 2209152"/>
              <a:gd name="connsiteX76" fmla="*/ 1243084 w 2427462"/>
              <a:gd name="connsiteY76" fmla="*/ 2137349 h 2209152"/>
              <a:gd name="connsiteX77" fmla="*/ 1243084 w 2427462"/>
              <a:gd name="connsiteY77" fmla="*/ 1246990 h 2209152"/>
              <a:gd name="connsiteX78" fmla="*/ 1275912 w 2427462"/>
              <a:gd name="connsiteY78" fmla="*/ 1246990 h 2209152"/>
              <a:gd name="connsiteX79" fmla="*/ 1311814 w 2427462"/>
              <a:gd name="connsiteY79" fmla="*/ 1211089 h 2209152"/>
              <a:gd name="connsiteX80" fmla="*/ 1275912 w 2427462"/>
              <a:gd name="connsiteY80" fmla="*/ 1175187 h 2209152"/>
              <a:gd name="connsiteX81" fmla="*/ 1243084 w 2427462"/>
              <a:gd name="connsiteY81" fmla="*/ 1175187 h 2209152"/>
              <a:gd name="connsiteX82" fmla="*/ 1243084 w 2427462"/>
              <a:gd name="connsiteY82" fmla="*/ 1041576 h 2209152"/>
              <a:gd name="connsiteX83" fmla="*/ 1559449 w 2427462"/>
              <a:gd name="connsiteY83" fmla="*/ 1315404 h 2209152"/>
              <a:gd name="connsiteX84" fmla="*/ 1595149 w 2427462"/>
              <a:gd name="connsiteY84" fmla="*/ 1347457 h 2209152"/>
              <a:gd name="connsiteX85" fmla="*/ 1606207 w 2427462"/>
              <a:gd name="connsiteY85" fmla="*/ 1347457 h 2209152"/>
              <a:gd name="connsiteX86" fmla="*/ 1641907 w 2427462"/>
              <a:gd name="connsiteY86" fmla="*/ 1315404 h 2209152"/>
              <a:gd name="connsiteX87" fmla="*/ 1997706 w 2427462"/>
              <a:gd name="connsiteY87" fmla="*/ 1039594 h 2209152"/>
              <a:gd name="connsiteX88" fmla="*/ 2353447 w 2427462"/>
              <a:gd name="connsiteY88" fmla="*/ 1315404 h 2209152"/>
              <a:gd name="connsiteX89" fmla="*/ 2389148 w 2427462"/>
              <a:gd name="connsiteY89" fmla="*/ 1347457 h 2209152"/>
              <a:gd name="connsiteX90" fmla="*/ 2390986 w 2427462"/>
              <a:gd name="connsiteY90" fmla="*/ 1347457 h 2209152"/>
              <a:gd name="connsiteX91" fmla="*/ 2391560 w 2427462"/>
              <a:gd name="connsiteY91" fmla="*/ 1347457 h 2209152"/>
              <a:gd name="connsiteX92" fmla="*/ 2427462 w 2427462"/>
              <a:gd name="connsiteY92" fmla="*/ 1311556 h 2209152"/>
              <a:gd name="connsiteX93" fmla="*/ 2426859 w 2427462"/>
              <a:gd name="connsiteY93" fmla="*/ 1305036 h 2209152"/>
              <a:gd name="connsiteX94" fmla="*/ 88978 w 2427462"/>
              <a:gd name="connsiteY94" fmla="*/ 1113465 h 2209152"/>
              <a:gd name="connsiteX95" fmla="*/ 920889 w 2427462"/>
              <a:gd name="connsiteY95" fmla="*/ 208057 h 2209152"/>
              <a:gd name="connsiteX96" fmla="*/ 393050 w 2427462"/>
              <a:gd name="connsiteY96" fmla="*/ 969629 h 2209152"/>
              <a:gd name="connsiteX97" fmla="*/ 88978 w 2427462"/>
              <a:gd name="connsiteY97" fmla="*/ 1113465 h 2209152"/>
              <a:gd name="connsiteX98" fmla="*/ 467237 w 2427462"/>
              <a:gd name="connsiteY98" fmla="*/ 969399 h 2209152"/>
              <a:gd name="connsiteX99" fmla="*/ 1122800 w 2427462"/>
              <a:gd name="connsiteY99" fmla="*/ 201077 h 2209152"/>
              <a:gd name="connsiteX100" fmla="*/ 790409 w 2427462"/>
              <a:gd name="connsiteY100" fmla="*/ 1140635 h 2209152"/>
              <a:gd name="connsiteX101" fmla="*/ 467237 w 2427462"/>
              <a:gd name="connsiteY101" fmla="*/ 969399 h 2209152"/>
              <a:gd name="connsiteX102" fmla="*/ 863217 w 2427462"/>
              <a:gd name="connsiteY102" fmla="*/ 1114556 h 2209152"/>
              <a:gd name="connsiteX103" fmla="*/ 1171281 w 2427462"/>
              <a:gd name="connsiteY103" fmla="*/ 255418 h 2209152"/>
              <a:gd name="connsiteX104" fmla="*/ 1171281 w 2427462"/>
              <a:gd name="connsiteY104" fmla="*/ 968882 h 2209152"/>
              <a:gd name="connsiteX105" fmla="*/ 863217 w 2427462"/>
              <a:gd name="connsiteY105" fmla="*/ 1114556 h 2209152"/>
              <a:gd name="connsiteX106" fmla="*/ 1243084 w 2427462"/>
              <a:gd name="connsiteY106" fmla="*/ 969514 h 2209152"/>
              <a:gd name="connsiteX107" fmla="*/ 1243084 w 2427462"/>
              <a:gd name="connsiteY107" fmla="*/ 244849 h 2209152"/>
              <a:gd name="connsiteX108" fmla="*/ 1560368 w 2427462"/>
              <a:gd name="connsiteY108" fmla="*/ 1133886 h 2209152"/>
              <a:gd name="connsiteX109" fmla="*/ 1243084 w 2427462"/>
              <a:gd name="connsiteY109" fmla="*/ 969514 h 2209152"/>
              <a:gd name="connsiteX110" fmla="*/ 1632659 w 2427462"/>
              <a:gd name="connsiteY110" fmla="*/ 1145173 h 2209152"/>
              <a:gd name="connsiteX111" fmla="*/ 1300096 w 2427462"/>
              <a:gd name="connsiteY111" fmla="*/ 201077 h 2209152"/>
              <a:gd name="connsiteX112" fmla="*/ 1955744 w 2427462"/>
              <a:gd name="connsiteY112" fmla="*/ 969773 h 2209152"/>
              <a:gd name="connsiteX113" fmla="*/ 1632659 w 2427462"/>
              <a:gd name="connsiteY113" fmla="*/ 1145173 h 2209152"/>
              <a:gd name="connsiteX114" fmla="*/ 2029759 w 2427462"/>
              <a:gd name="connsiteY114" fmla="*/ 969428 h 2209152"/>
              <a:gd name="connsiteX115" fmla="*/ 1498789 w 2427462"/>
              <a:gd name="connsiteY115" fmla="*/ 206247 h 2209152"/>
              <a:gd name="connsiteX116" fmla="*/ 2337909 w 2427462"/>
              <a:gd name="connsiteY116" fmla="*/ 1113465 h 2209152"/>
              <a:gd name="connsiteX117" fmla="*/ 2029759 w 2427462"/>
              <a:gd name="connsiteY117" fmla="*/ 969428 h 2209152"/>
              <a:gd name="connsiteX0" fmla="*/ 2426859 w 2427462"/>
              <a:gd name="connsiteY0" fmla="*/ 1305036 h 2209152"/>
              <a:gd name="connsiteX1" fmla="*/ 2275440 w 2427462"/>
              <a:gd name="connsiteY1" fmla="*/ 725154 h 2209152"/>
              <a:gd name="connsiteX2" fmla="*/ 2275440 w 2427462"/>
              <a:gd name="connsiteY2" fmla="*/ 516753 h 2209152"/>
              <a:gd name="connsiteX3" fmla="*/ 2203637 w 2427462"/>
              <a:gd name="connsiteY3" fmla="*/ 516753 h 2209152"/>
              <a:gd name="connsiteX4" fmla="*/ 2203637 w 2427462"/>
              <a:gd name="connsiteY4" fmla="*/ 611418 h 2209152"/>
              <a:gd name="connsiteX5" fmla="*/ 2122988 w 2427462"/>
              <a:gd name="connsiteY5" fmla="*/ 509601 h 2209152"/>
              <a:gd name="connsiteX6" fmla="*/ 2122988 w 2427462"/>
              <a:gd name="connsiteY6" fmla="*/ 353444 h 2209152"/>
              <a:gd name="connsiteX7" fmla="*/ 2051185 w 2427462"/>
              <a:gd name="connsiteY7" fmla="*/ 353444 h 2209152"/>
              <a:gd name="connsiteX8" fmla="*/ 2051185 w 2427462"/>
              <a:gd name="connsiteY8" fmla="*/ 434897 h 2209152"/>
              <a:gd name="connsiteX9" fmla="*/ 1956204 w 2427462"/>
              <a:gd name="connsiteY9" fmla="*/ 352984 h 2209152"/>
              <a:gd name="connsiteX10" fmla="*/ 1956204 w 2427462"/>
              <a:gd name="connsiteY10" fmla="*/ 224715 h 2209152"/>
              <a:gd name="connsiteX11" fmla="*/ 1884401 w 2427462"/>
              <a:gd name="connsiteY11" fmla="*/ 224715 h 2209152"/>
              <a:gd name="connsiteX12" fmla="*/ 1884401 w 2427462"/>
              <a:gd name="connsiteY12" fmla="*/ 301027 h 2209152"/>
              <a:gd name="connsiteX13" fmla="*/ 1814350 w 2427462"/>
              <a:gd name="connsiteY13" fmla="*/ 257945 h 2209152"/>
              <a:gd name="connsiteX14" fmla="*/ 1814350 w 2427462"/>
              <a:gd name="connsiteY14" fmla="*/ 172040 h 2209152"/>
              <a:gd name="connsiteX15" fmla="*/ 1742546 w 2427462"/>
              <a:gd name="connsiteY15" fmla="*/ 172040 h 2209152"/>
              <a:gd name="connsiteX16" fmla="*/ 1742546 w 2427462"/>
              <a:gd name="connsiteY16" fmla="*/ 219717 h 2209152"/>
              <a:gd name="connsiteX17" fmla="*/ 1684616 w 2427462"/>
              <a:gd name="connsiteY17" fmla="*/ 193294 h 2209152"/>
              <a:gd name="connsiteX18" fmla="*/ 1684616 w 2427462"/>
              <a:gd name="connsiteY18" fmla="*/ 138465 h 2209152"/>
              <a:gd name="connsiteX19" fmla="*/ 1612813 w 2427462"/>
              <a:gd name="connsiteY19" fmla="*/ 138465 h 2209152"/>
              <a:gd name="connsiteX20" fmla="*/ 1612813 w 2427462"/>
              <a:gd name="connsiteY20" fmla="*/ 165894 h 2209152"/>
              <a:gd name="connsiteX21" fmla="*/ 1543795 w 2427462"/>
              <a:gd name="connsiteY21" fmla="*/ 144152 h 2209152"/>
              <a:gd name="connsiteX22" fmla="*/ 1543795 w 2427462"/>
              <a:gd name="connsiteY22" fmla="*/ 4509 h 2209152"/>
              <a:gd name="connsiteX23" fmla="*/ 1471992 w 2427462"/>
              <a:gd name="connsiteY23" fmla="*/ 4509 h 2209152"/>
              <a:gd name="connsiteX24" fmla="*/ 1471992 w 2427462"/>
              <a:gd name="connsiteY24" fmla="*/ 126058 h 2209152"/>
              <a:gd name="connsiteX25" fmla="*/ 1243084 w 2427462"/>
              <a:gd name="connsiteY25" fmla="*/ 98801 h 2209152"/>
              <a:gd name="connsiteX26" fmla="*/ 1243084 w 2427462"/>
              <a:gd name="connsiteY26" fmla="*/ 0 h 2209152"/>
              <a:gd name="connsiteX27" fmla="*/ 1171281 w 2427462"/>
              <a:gd name="connsiteY27" fmla="*/ 0 h 2209152"/>
              <a:gd name="connsiteX28" fmla="*/ 1171281 w 2427462"/>
              <a:gd name="connsiteY28" fmla="*/ 99117 h 2209152"/>
              <a:gd name="connsiteX29" fmla="*/ 958973 w 2427462"/>
              <a:gd name="connsiteY29" fmla="*/ 125110 h 2209152"/>
              <a:gd name="connsiteX30" fmla="*/ 958973 w 2427462"/>
              <a:gd name="connsiteY30" fmla="*/ 0 h 2209152"/>
              <a:gd name="connsiteX31" fmla="*/ 887170 w 2427462"/>
              <a:gd name="connsiteY31" fmla="*/ 0 h 2209152"/>
              <a:gd name="connsiteX32" fmla="*/ 887170 w 2427462"/>
              <a:gd name="connsiteY32" fmla="*/ 142974 h 2209152"/>
              <a:gd name="connsiteX33" fmla="*/ 817493 w 2427462"/>
              <a:gd name="connsiteY33" fmla="*/ 164745 h 2209152"/>
              <a:gd name="connsiteX34" fmla="*/ 817493 w 2427462"/>
              <a:gd name="connsiteY34" fmla="*/ 133956 h 2209152"/>
              <a:gd name="connsiteX35" fmla="*/ 745690 w 2427462"/>
              <a:gd name="connsiteY35" fmla="*/ 133956 h 2209152"/>
              <a:gd name="connsiteX36" fmla="*/ 745690 w 2427462"/>
              <a:gd name="connsiteY36" fmla="*/ 191944 h 2209152"/>
              <a:gd name="connsiteX37" fmla="*/ 687156 w 2427462"/>
              <a:gd name="connsiteY37" fmla="*/ 218253 h 2209152"/>
              <a:gd name="connsiteX38" fmla="*/ 687156 w 2427462"/>
              <a:gd name="connsiteY38" fmla="*/ 167560 h 2209152"/>
              <a:gd name="connsiteX39" fmla="*/ 615353 w 2427462"/>
              <a:gd name="connsiteY39" fmla="*/ 167560 h 2209152"/>
              <a:gd name="connsiteX40" fmla="*/ 615353 w 2427462"/>
              <a:gd name="connsiteY40" fmla="*/ 256337 h 2209152"/>
              <a:gd name="connsiteX41" fmla="*/ 544641 w 2427462"/>
              <a:gd name="connsiteY41" fmla="*/ 299706 h 2209152"/>
              <a:gd name="connsiteX42" fmla="*/ 544641 w 2427462"/>
              <a:gd name="connsiteY42" fmla="*/ 220206 h 2209152"/>
              <a:gd name="connsiteX43" fmla="*/ 472838 w 2427462"/>
              <a:gd name="connsiteY43" fmla="*/ 220206 h 2209152"/>
              <a:gd name="connsiteX44" fmla="*/ 472838 w 2427462"/>
              <a:gd name="connsiteY44" fmla="*/ 351261 h 2209152"/>
              <a:gd name="connsiteX45" fmla="*/ 377110 w 2427462"/>
              <a:gd name="connsiteY45" fmla="*/ 433547 h 2209152"/>
              <a:gd name="connsiteX46" fmla="*/ 377110 w 2427462"/>
              <a:gd name="connsiteY46" fmla="*/ 348906 h 2209152"/>
              <a:gd name="connsiteX47" fmla="*/ 305307 w 2427462"/>
              <a:gd name="connsiteY47" fmla="*/ 348906 h 2209152"/>
              <a:gd name="connsiteX48" fmla="*/ 305307 w 2427462"/>
              <a:gd name="connsiteY48" fmla="*/ 507906 h 2209152"/>
              <a:gd name="connsiteX49" fmla="*/ 223940 w 2427462"/>
              <a:gd name="connsiteY49" fmla="*/ 610441 h 2209152"/>
              <a:gd name="connsiteX50" fmla="*/ 223940 w 2427462"/>
              <a:gd name="connsiteY50" fmla="*/ 512186 h 2209152"/>
              <a:gd name="connsiteX51" fmla="*/ 152136 w 2427462"/>
              <a:gd name="connsiteY51" fmla="*/ 512186 h 2209152"/>
              <a:gd name="connsiteX52" fmla="*/ 152136 w 2427462"/>
              <a:gd name="connsiteY52" fmla="*/ 722741 h 2209152"/>
              <a:gd name="connsiteX53" fmla="*/ 152912 w 2427462"/>
              <a:gd name="connsiteY53" fmla="*/ 722741 h 2209152"/>
              <a:gd name="connsiteX54" fmla="*/ 0 w 2427462"/>
              <a:gd name="connsiteY54" fmla="*/ 1311527 h 2209152"/>
              <a:gd name="connsiteX55" fmla="*/ 37740 w 2427462"/>
              <a:gd name="connsiteY55" fmla="*/ 1347428 h 2209152"/>
              <a:gd name="connsiteX56" fmla="*/ 73440 w 2427462"/>
              <a:gd name="connsiteY56" fmla="*/ 1315375 h 2209152"/>
              <a:gd name="connsiteX57" fmla="*/ 429210 w 2427462"/>
              <a:gd name="connsiteY57" fmla="*/ 1039565 h 2209152"/>
              <a:gd name="connsiteX58" fmla="*/ 781246 w 2427462"/>
              <a:gd name="connsiteY58" fmla="*/ 1292657 h 2209152"/>
              <a:gd name="connsiteX59" fmla="*/ 816459 w 2427462"/>
              <a:gd name="connsiteY59" fmla="*/ 1321579 h 2209152"/>
              <a:gd name="connsiteX60" fmla="*/ 851671 w 2427462"/>
              <a:gd name="connsiteY60" fmla="*/ 1292657 h 2209152"/>
              <a:gd name="connsiteX61" fmla="*/ 1171281 w 2427462"/>
              <a:gd name="connsiteY61" fmla="*/ 1040800 h 2209152"/>
              <a:gd name="connsiteX62" fmla="*/ 1171281 w 2427462"/>
              <a:gd name="connsiteY62" fmla="*/ 1175158 h 2209152"/>
              <a:gd name="connsiteX63" fmla="*/ 1147414 w 2427462"/>
              <a:gd name="connsiteY63" fmla="*/ 1175158 h 2209152"/>
              <a:gd name="connsiteX64" fmla="*/ 1111512 w 2427462"/>
              <a:gd name="connsiteY64" fmla="*/ 1211060 h 2209152"/>
              <a:gd name="connsiteX65" fmla="*/ 1147414 w 2427462"/>
              <a:gd name="connsiteY65" fmla="*/ 1246961 h 2209152"/>
              <a:gd name="connsiteX66" fmla="*/ 1171281 w 2427462"/>
              <a:gd name="connsiteY66" fmla="*/ 1246961 h 2209152"/>
              <a:gd name="connsiteX67" fmla="*/ 1171281 w 2427462"/>
              <a:gd name="connsiteY67" fmla="*/ 2137320 h 2209152"/>
              <a:gd name="connsiteX68" fmla="*/ 1147414 w 2427462"/>
              <a:gd name="connsiteY68" fmla="*/ 2137320 h 2209152"/>
              <a:gd name="connsiteX69" fmla="*/ 1111512 w 2427462"/>
              <a:gd name="connsiteY69" fmla="*/ 2173221 h 2209152"/>
              <a:gd name="connsiteX70" fmla="*/ 1147414 w 2427462"/>
              <a:gd name="connsiteY70" fmla="*/ 2209123 h 2209152"/>
              <a:gd name="connsiteX71" fmla="*/ 1171281 w 2427462"/>
              <a:gd name="connsiteY71" fmla="*/ 2209123 h 2209152"/>
              <a:gd name="connsiteX72" fmla="*/ 1243084 w 2427462"/>
              <a:gd name="connsiteY72" fmla="*/ 2209152 h 2209152"/>
              <a:gd name="connsiteX73" fmla="*/ 1311814 w 2427462"/>
              <a:gd name="connsiteY73" fmla="*/ 2173250 h 2209152"/>
              <a:gd name="connsiteX74" fmla="*/ 1275912 w 2427462"/>
              <a:gd name="connsiteY74" fmla="*/ 2137349 h 2209152"/>
              <a:gd name="connsiteX75" fmla="*/ 1243084 w 2427462"/>
              <a:gd name="connsiteY75" fmla="*/ 2137349 h 2209152"/>
              <a:gd name="connsiteX76" fmla="*/ 1243084 w 2427462"/>
              <a:gd name="connsiteY76" fmla="*/ 1246990 h 2209152"/>
              <a:gd name="connsiteX77" fmla="*/ 1275912 w 2427462"/>
              <a:gd name="connsiteY77" fmla="*/ 1246990 h 2209152"/>
              <a:gd name="connsiteX78" fmla="*/ 1311814 w 2427462"/>
              <a:gd name="connsiteY78" fmla="*/ 1211089 h 2209152"/>
              <a:gd name="connsiteX79" fmla="*/ 1275912 w 2427462"/>
              <a:gd name="connsiteY79" fmla="*/ 1175187 h 2209152"/>
              <a:gd name="connsiteX80" fmla="*/ 1243084 w 2427462"/>
              <a:gd name="connsiteY80" fmla="*/ 1175187 h 2209152"/>
              <a:gd name="connsiteX81" fmla="*/ 1243084 w 2427462"/>
              <a:gd name="connsiteY81" fmla="*/ 1041576 h 2209152"/>
              <a:gd name="connsiteX82" fmla="*/ 1559449 w 2427462"/>
              <a:gd name="connsiteY82" fmla="*/ 1315404 h 2209152"/>
              <a:gd name="connsiteX83" fmla="*/ 1595149 w 2427462"/>
              <a:gd name="connsiteY83" fmla="*/ 1347457 h 2209152"/>
              <a:gd name="connsiteX84" fmla="*/ 1606207 w 2427462"/>
              <a:gd name="connsiteY84" fmla="*/ 1347457 h 2209152"/>
              <a:gd name="connsiteX85" fmla="*/ 1641907 w 2427462"/>
              <a:gd name="connsiteY85" fmla="*/ 1315404 h 2209152"/>
              <a:gd name="connsiteX86" fmla="*/ 1997706 w 2427462"/>
              <a:gd name="connsiteY86" fmla="*/ 1039594 h 2209152"/>
              <a:gd name="connsiteX87" fmla="*/ 2353447 w 2427462"/>
              <a:gd name="connsiteY87" fmla="*/ 1315404 h 2209152"/>
              <a:gd name="connsiteX88" fmla="*/ 2389148 w 2427462"/>
              <a:gd name="connsiteY88" fmla="*/ 1347457 h 2209152"/>
              <a:gd name="connsiteX89" fmla="*/ 2390986 w 2427462"/>
              <a:gd name="connsiteY89" fmla="*/ 1347457 h 2209152"/>
              <a:gd name="connsiteX90" fmla="*/ 2391560 w 2427462"/>
              <a:gd name="connsiteY90" fmla="*/ 1347457 h 2209152"/>
              <a:gd name="connsiteX91" fmla="*/ 2427462 w 2427462"/>
              <a:gd name="connsiteY91" fmla="*/ 1311556 h 2209152"/>
              <a:gd name="connsiteX92" fmla="*/ 2426859 w 2427462"/>
              <a:gd name="connsiteY92" fmla="*/ 1305036 h 2209152"/>
              <a:gd name="connsiteX93" fmla="*/ 88978 w 2427462"/>
              <a:gd name="connsiteY93" fmla="*/ 1113465 h 2209152"/>
              <a:gd name="connsiteX94" fmla="*/ 920889 w 2427462"/>
              <a:gd name="connsiteY94" fmla="*/ 208057 h 2209152"/>
              <a:gd name="connsiteX95" fmla="*/ 393050 w 2427462"/>
              <a:gd name="connsiteY95" fmla="*/ 969629 h 2209152"/>
              <a:gd name="connsiteX96" fmla="*/ 88978 w 2427462"/>
              <a:gd name="connsiteY96" fmla="*/ 1113465 h 2209152"/>
              <a:gd name="connsiteX97" fmla="*/ 467237 w 2427462"/>
              <a:gd name="connsiteY97" fmla="*/ 969399 h 2209152"/>
              <a:gd name="connsiteX98" fmla="*/ 1122800 w 2427462"/>
              <a:gd name="connsiteY98" fmla="*/ 201077 h 2209152"/>
              <a:gd name="connsiteX99" fmla="*/ 790409 w 2427462"/>
              <a:gd name="connsiteY99" fmla="*/ 1140635 h 2209152"/>
              <a:gd name="connsiteX100" fmla="*/ 467237 w 2427462"/>
              <a:gd name="connsiteY100" fmla="*/ 969399 h 2209152"/>
              <a:gd name="connsiteX101" fmla="*/ 863217 w 2427462"/>
              <a:gd name="connsiteY101" fmla="*/ 1114556 h 2209152"/>
              <a:gd name="connsiteX102" fmla="*/ 1171281 w 2427462"/>
              <a:gd name="connsiteY102" fmla="*/ 255418 h 2209152"/>
              <a:gd name="connsiteX103" fmla="*/ 1171281 w 2427462"/>
              <a:gd name="connsiteY103" fmla="*/ 968882 h 2209152"/>
              <a:gd name="connsiteX104" fmla="*/ 863217 w 2427462"/>
              <a:gd name="connsiteY104" fmla="*/ 1114556 h 2209152"/>
              <a:gd name="connsiteX105" fmla="*/ 1243084 w 2427462"/>
              <a:gd name="connsiteY105" fmla="*/ 969514 h 2209152"/>
              <a:gd name="connsiteX106" fmla="*/ 1243084 w 2427462"/>
              <a:gd name="connsiteY106" fmla="*/ 244849 h 2209152"/>
              <a:gd name="connsiteX107" fmla="*/ 1560368 w 2427462"/>
              <a:gd name="connsiteY107" fmla="*/ 1133886 h 2209152"/>
              <a:gd name="connsiteX108" fmla="*/ 1243084 w 2427462"/>
              <a:gd name="connsiteY108" fmla="*/ 969514 h 2209152"/>
              <a:gd name="connsiteX109" fmla="*/ 1632659 w 2427462"/>
              <a:gd name="connsiteY109" fmla="*/ 1145173 h 2209152"/>
              <a:gd name="connsiteX110" fmla="*/ 1300096 w 2427462"/>
              <a:gd name="connsiteY110" fmla="*/ 201077 h 2209152"/>
              <a:gd name="connsiteX111" fmla="*/ 1955744 w 2427462"/>
              <a:gd name="connsiteY111" fmla="*/ 969773 h 2209152"/>
              <a:gd name="connsiteX112" fmla="*/ 1632659 w 2427462"/>
              <a:gd name="connsiteY112" fmla="*/ 1145173 h 2209152"/>
              <a:gd name="connsiteX113" fmla="*/ 2029759 w 2427462"/>
              <a:gd name="connsiteY113" fmla="*/ 969428 h 2209152"/>
              <a:gd name="connsiteX114" fmla="*/ 1498789 w 2427462"/>
              <a:gd name="connsiteY114" fmla="*/ 206247 h 2209152"/>
              <a:gd name="connsiteX115" fmla="*/ 2337909 w 2427462"/>
              <a:gd name="connsiteY115" fmla="*/ 1113465 h 2209152"/>
              <a:gd name="connsiteX116" fmla="*/ 2029759 w 2427462"/>
              <a:gd name="connsiteY116" fmla="*/ 969428 h 2209152"/>
              <a:gd name="connsiteX0" fmla="*/ 2426859 w 2427462"/>
              <a:gd name="connsiteY0" fmla="*/ 1305036 h 2209123"/>
              <a:gd name="connsiteX1" fmla="*/ 2275440 w 2427462"/>
              <a:gd name="connsiteY1" fmla="*/ 725154 h 2209123"/>
              <a:gd name="connsiteX2" fmla="*/ 2275440 w 2427462"/>
              <a:gd name="connsiteY2" fmla="*/ 516753 h 2209123"/>
              <a:gd name="connsiteX3" fmla="*/ 2203637 w 2427462"/>
              <a:gd name="connsiteY3" fmla="*/ 516753 h 2209123"/>
              <a:gd name="connsiteX4" fmla="*/ 2203637 w 2427462"/>
              <a:gd name="connsiteY4" fmla="*/ 611418 h 2209123"/>
              <a:gd name="connsiteX5" fmla="*/ 2122988 w 2427462"/>
              <a:gd name="connsiteY5" fmla="*/ 509601 h 2209123"/>
              <a:gd name="connsiteX6" fmla="*/ 2122988 w 2427462"/>
              <a:gd name="connsiteY6" fmla="*/ 353444 h 2209123"/>
              <a:gd name="connsiteX7" fmla="*/ 2051185 w 2427462"/>
              <a:gd name="connsiteY7" fmla="*/ 353444 h 2209123"/>
              <a:gd name="connsiteX8" fmla="*/ 2051185 w 2427462"/>
              <a:gd name="connsiteY8" fmla="*/ 434897 h 2209123"/>
              <a:gd name="connsiteX9" fmla="*/ 1956204 w 2427462"/>
              <a:gd name="connsiteY9" fmla="*/ 352984 h 2209123"/>
              <a:gd name="connsiteX10" fmla="*/ 1956204 w 2427462"/>
              <a:gd name="connsiteY10" fmla="*/ 224715 h 2209123"/>
              <a:gd name="connsiteX11" fmla="*/ 1884401 w 2427462"/>
              <a:gd name="connsiteY11" fmla="*/ 224715 h 2209123"/>
              <a:gd name="connsiteX12" fmla="*/ 1884401 w 2427462"/>
              <a:gd name="connsiteY12" fmla="*/ 301027 h 2209123"/>
              <a:gd name="connsiteX13" fmla="*/ 1814350 w 2427462"/>
              <a:gd name="connsiteY13" fmla="*/ 257945 h 2209123"/>
              <a:gd name="connsiteX14" fmla="*/ 1814350 w 2427462"/>
              <a:gd name="connsiteY14" fmla="*/ 172040 h 2209123"/>
              <a:gd name="connsiteX15" fmla="*/ 1742546 w 2427462"/>
              <a:gd name="connsiteY15" fmla="*/ 172040 h 2209123"/>
              <a:gd name="connsiteX16" fmla="*/ 1742546 w 2427462"/>
              <a:gd name="connsiteY16" fmla="*/ 219717 h 2209123"/>
              <a:gd name="connsiteX17" fmla="*/ 1684616 w 2427462"/>
              <a:gd name="connsiteY17" fmla="*/ 193294 h 2209123"/>
              <a:gd name="connsiteX18" fmla="*/ 1684616 w 2427462"/>
              <a:gd name="connsiteY18" fmla="*/ 138465 h 2209123"/>
              <a:gd name="connsiteX19" fmla="*/ 1612813 w 2427462"/>
              <a:gd name="connsiteY19" fmla="*/ 138465 h 2209123"/>
              <a:gd name="connsiteX20" fmla="*/ 1612813 w 2427462"/>
              <a:gd name="connsiteY20" fmla="*/ 165894 h 2209123"/>
              <a:gd name="connsiteX21" fmla="*/ 1543795 w 2427462"/>
              <a:gd name="connsiteY21" fmla="*/ 144152 h 2209123"/>
              <a:gd name="connsiteX22" fmla="*/ 1543795 w 2427462"/>
              <a:gd name="connsiteY22" fmla="*/ 4509 h 2209123"/>
              <a:gd name="connsiteX23" fmla="*/ 1471992 w 2427462"/>
              <a:gd name="connsiteY23" fmla="*/ 4509 h 2209123"/>
              <a:gd name="connsiteX24" fmla="*/ 1471992 w 2427462"/>
              <a:gd name="connsiteY24" fmla="*/ 126058 h 2209123"/>
              <a:gd name="connsiteX25" fmla="*/ 1243084 w 2427462"/>
              <a:gd name="connsiteY25" fmla="*/ 98801 h 2209123"/>
              <a:gd name="connsiteX26" fmla="*/ 1243084 w 2427462"/>
              <a:gd name="connsiteY26" fmla="*/ 0 h 2209123"/>
              <a:gd name="connsiteX27" fmla="*/ 1171281 w 2427462"/>
              <a:gd name="connsiteY27" fmla="*/ 0 h 2209123"/>
              <a:gd name="connsiteX28" fmla="*/ 1171281 w 2427462"/>
              <a:gd name="connsiteY28" fmla="*/ 99117 h 2209123"/>
              <a:gd name="connsiteX29" fmla="*/ 958973 w 2427462"/>
              <a:gd name="connsiteY29" fmla="*/ 125110 h 2209123"/>
              <a:gd name="connsiteX30" fmla="*/ 958973 w 2427462"/>
              <a:gd name="connsiteY30" fmla="*/ 0 h 2209123"/>
              <a:gd name="connsiteX31" fmla="*/ 887170 w 2427462"/>
              <a:gd name="connsiteY31" fmla="*/ 0 h 2209123"/>
              <a:gd name="connsiteX32" fmla="*/ 887170 w 2427462"/>
              <a:gd name="connsiteY32" fmla="*/ 142974 h 2209123"/>
              <a:gd name="connsiteX33" fmla="*/ 817493 w 2427462"/>
              <a:gd name="connsiteY33" fmla="*/ 164745 h 2209123"/>
              <a:gd name="connsiteX34" fmla="*/ 817493 w 2427462"/>
              <a:gd name="connsiteY34" fmla="*/ 133956 h 2209123"/>
              <a:gd name="connsiteX35" fmla="*/ 745690 w 2427462"/>
              <a:gd name="connsiteY35" fmla="*/ 133956 h 2209123"/>
              <a:gd name="connsiteX36" fmla="*/ 745690 w 2427462"/>
              <a:gd name="connsiteY36" fmla="*/ 191944 h 2209123"/>
              <a:gd name="connsiteX37" fmla="*/ 687156 w 2427462"/>
              <a:gd name="connsiteY37" fmla="*/ 218253 h 2209123"/>
              <a:gd name="connsiteX38" fmla="*/ 687156 w 2427462"/>
              <a:gd name="connsiteY38" fmla="*/ 167560 h 2209123"/>
              <a:gd name="connsiteX39" fmla="*/ 615353 w 2427462"/>
              <a:gd name="connsiteY39" fmla="*/ 167560 h 2209123"/>
              <a:gd name="connsiteX40" fmla="*/ 615353 w 2427462"/>
              <a:gd name="connsiteY40" fmla="*/ 256337 h 2209123"/>
              <a:gd name="connsiteX41" fmla="*/ 544641 w 2427462"/>
              <a:gd name="connsiteY41" fmla="*/ 299706 h 2209123"/>
              <a:gd name="connsiteX42" fmla="*/ 544641 w 2427462"/>
              <a:gd name="connsiteY42" fmla="*/ 220206 h 2209123"/>
              <a:gd name="connsiteX43" fmla="*/ 472838 w 2427462"/>
              <a:gd name="connsiteY43" fmla="*/ 220206 h 2209123"/>
              <a:gd name="connsiteX44" fmla="*/ 472838 w 2427462"/>
              <a:gd name="connsiteY44" fmla="*/ 351261 h 2209123"/>
              <a:gd name="connsiteX45" fmla="*/ 377110 w 2427462"/>
              <a:gd name="connsiteY45" fmla="*/ 433547 h 2209123"/>
              <a:gd name="connsiteX46" fmla="*/ 377110 w 2427462"/>
              <a:gd name="connsiteY46" fmla="*/ 348906 h 2209123"/>
              <a:gd name="connsiteX47" fmla="*/ 305307 w 2427462"/>
              <a:gd name="connsiteY47" fmla="*/ 348906 h 2209123"/>
              <a:gd name="connsiteX48" fmla="*/ 305307 w 2427462"/>
              <a:gd name="connsiteY48" fmla="*/ 507906 h 2209123"/>
              <a:gd name="connsiteX49" fmla="*/ 223940 w 2427462"/>
              <a:gd name="connsiteY49" fmla="*/ 610441 h 2209123"/>
              <a:gd name="connsiteX50" fmla="*/ 223940 w 2427462"/>
              <a:gd name="connsiteY50" fmla="*/ 512186 h 2209123"/>
              <a:gd name="connsiteX51" fmla="*/ 152136 w 2427462"/>
              <a:gd name="connsiteY51" fmla="*/ 512186 h 2209123"/>
              <a:gd name="connsiteX52" fmla="*/ 152136 w 2427462"/>
              <a:gd name="connsiteY52" fmla="*/ 722741 h 2209123"/>
              <a:gd name="connsiteX53" fmla="*/ 152912 w 2427462"/>
              <a:gd name="connsiteY53" fmla="*/ 722741 h 2209123"/>
              <a:gd name="connsiteX54" fmla="*/ 0 w 2427462"/>
              <a:gd name="connsiteY54" fmla="*/ 1311527 h 2209123"/>
              <a:gd name="connsiteX55" fmla="*/ 37740 w 2427462"/>
              <a:gd name="connsiteY55" fmla="*/ 1347428 h 2209123"/>
              <a:gd name="connsiteX56" fmla="*/ 73440 w 2427462"/>
              <a:gd name="connsiteY56" fmla="*/ 1315375 h 2209123"/>
              <a:gd name="connsiteX57" fmla="*/ 429210 w 2427462"/>
              <a:gd name="connsiteY57" fmla="*/ 1039565 h 2209123"/>
              <a:gd name="connsiteX58" fmla="*/ 781246 w 2427462"/>
              <a:gd name="connsiteY58" fmla="*/ 1292657 h 2209123"/>
              <a:gd name="connsiteX59" fmla="*/ 816459 w 2427462"/>
              <a:gd name="connsiteY59" fmla="*/ 1321579 h 2209123"/>
              <a:gd name="connsiteX60" fmla="*/ 851671 w 2427462"/>
              <a:gd name="connsiteY60" fmla="*/ 1292657 h 2209123"/>
              <a:gd name="connsiteX61" fmla="*/ 1171281 w 2427462"/>
              <a:gd name="connsiteY61" fmla="*/ 1040800 h 2209123"/>
              <a:gd name="connsiteX62" fmla="*/ 1171281 w 2427462"/>
              <a:gd name="connsiteY62" fmla="*/ 1175158 h 2209123"/>
              <a:gd name="connsiteX63" fmla="*/ 1147414 w 2427462"/>
              <a:gd name="connsiteY63" fmla="*/ 1175158 h 2209123"/>
              <a:gd name="connsiteX64" fmla="*/ 1111512 w 2427462"/>
              <a:gd name="connsiteY64" fmla="*/ 1211060 h 2209123"/>
              <a:gd name="connsiteX65" fmla="*/ 1147414 w 2427462"/>
              <a:gd name="connsiteY65" fmla="*/ 1246961 h 2209123"/>
              <a:gd name="connsiteX66" fmla="*/ 1171281 w 2427462"/>
              <a:gd name="connsiteY66" fmla="*/ 1246961 h 2209123"/>
              <a:gd name="connsiteX67" fmla="*/ 1171281 w 2427462"/>
              <a:gd name="connsiteY67" fmla="*/ 2137320 h 2209123"/>
              <a:gd name="connsiteX68" fmla="*/ 1147414 w 2427462"/>
              <a:gd name="connsiteY68" fmla="*/ 2137320 h 2209123"/>
              <a:gd name="connsiteX69" fmla="*/ 1111512 w 2427462"/>
              <a:gd name="connsiteY69" fmla="*/ 2173221 h 2209123"/>
              <a:gd name="connsiteX70" fmla="*/ 1147414 w 2427462"/>
              <a:gd name="connsiteY70" fmla="*/ 2209123 h 2209123"/>
              <a:gd name="connsiteX71" fmla="*/ 1171281 w 2427462"/>
              <a:gd name="connsiteY71" fmla="*/ 2209123 h 2209123"/>
              <a:gd name="connsiteX72" fmla="*/ 1311814 w 2427462"/>
              <a:gd name="connsiteY72" fmla="*/ 2173250 h 2209123"/>
              <a:gd name="connsiteX73" fmla="*/ 1275912 w 2427462"/>
              <a:gd name="connsiteY73" fmla="*/ 2137349 h 2209123"/>
              <a:gd name="connsiteX74" fmla="*/ 1243084 w 2427462"/>
              <a:gd name="connsiteY74" fmla="*/ 2137349 h 2209123"/>
              <a:gd name="connsiteX75" fmla="*/ 1243084 w 2427462"/>
              <a:gd name="connsiteY75" fmla="*/ 1246990 h 2209123"/>
              <a:gd name="connsiteX76" fmla="*/ 1275912 w 2427462"/>
              <a:gd name="connsiteY76" fmla="*/ 1246990 h 2209123"/>
              <a:gd name="connsiteX77" fmla="*/ 1311814 w 2427462"/>
              <a:gd name="connsiteY77" fmla="*/ 1211089 h 2209123"/>
              <a:gd name="connsiteX78" fmla="*/ 1275912 w 2427462"/>
              <a:gd name="connsiteY78" fmla="*/ 1175187 h 2209123"/>
              <a:gd name="connsiteX79" fmla="*/ 1243084 w 2427462"/>
              <a:gd name="connsiteY79" fmla="*/ 1175187 h 2209123"/>
              <a:gd name="connsiteX80" fmla="*/ 1243084 w 2427462"/>
              <a:gd name="connsiteY80" fmla="*/ 1041576 h 2209123"/>
              <a:gd name="connsiteX81" fmla="*/ 1559449 w 2427462"/>
              <a:gd name="connsiteY81" fmla="*/ 1315404 h 2209123"/>
              <a:gd name="connsiteX82" fmla="*/ 1595149 w 2427462"/>
              <a:gd name="connsiteY82" fmla="*/ 1347457 h 2209123"/>
              <a:gd name="connsiteX83" fmla="*/ 1606207 w 2427462"/>
              <a:gd name="connsiteY83" fmla="*/ 1347457 h 2209123"/>
              <a:gd name="connsiteX84" fmla="*/ 1641907 w 2427462"/>
              <a:gd name="connsiteY84" fmla="*/ 1315404 h 2209123"/>
              <a:gd name="connsiteX85" fmla="*/ 1997706 w 2427462"/>
              <a:gd name="connsiteY85" fmla="*/ 1039594 h 2209123"/>
              <a:gd name="connsiteX86" fmla="*/ 2353447 w 2427462"/>
              <a:gd name="connsiteY86" fmla="*/ 1315404 h 2209123"/>
              <a:gd name="connsiteX87" fmla="*/ 2389148 w 2427462"/>
              <a:gd name="connsiteY87" fmla="*/ 1347457 h 2209123"/>
              <a:gd name="connsiteX88" fmla="*/ 2390986 w 2427462"/>
              <a:gd name="connsiteY88" fmla="*/ 1347457 h 2209123"/>
              <a:gd name="connsiteX89" fmla="*/ 2391560 w 2427462"/>
              <a:gd name="connsiteY89" fmla="*/ 1347457 h 2209123"/>
              <a:gd name="connsiteX90" fmla="*/ 2427462 w 2427462"/>
              <a:gd name="connsiteY90" fmla="*/ 1311556 h 2209123"/>
              <a:gd name="connsiteX91" fmla="*/ 2426859 w 2427462"/>
              <a:gd name="connsiteY91" fmla="*/ 1305036 h 2209123"/>
              <a:gd name="connsiteX92" fmla="*/ 88978 w 2427462"/>
              <a:gd name="connsiteY92" fmla="*/ 1113465 h 2209123"/>
              <a:gd name="connsiteX93" fmla="*/ 920889 w 2427462"/>
              <a:gd name="connsiteY93" fmla="*/ 208057 h 2209123"/>
              <a:gd name="connsiteX94" fmla="*/ 393050 w 2427462"/>
              <a:gd name="connsiteY94" fmla="*/ 969629 h 2209123"/>
              <a:gd name="connsiteX95" fmla="*/ 88978 w 2427462"/>
              <a:gd name="connsiteY95" fmla="*/ 1113465 h 2209123"/>
              <a:gd name="connsiteX96" fmla="*/ 467237 w 2427462"/>
              <a:gd name="connsiteY96" fmla="*/ 969399 h 2209123"/>
              <a:gd name="connsiteX97" fmla="*/ 1122800 w 2427462"/>
              <a:gd name="connsiteY97" fmla="*/ 201077 h 2209123"/>
              <a:gd name="connsiteX98" fmla="*/ 790409 w 2427462"/>
              <a:gd name="connsiteY98" fmla="*/ 1140635 h 2209123"/>
              <a:gd name="connsiteX99" fmla="*/ 467237 w 2427462"/>
              <a:gd name="connsiteY99" fmla="*/ 969399 h 2209123"/>
              <a:gd name="connsiteX100" fmla="*/ 863217 w 2427462"/>
              <a:gd name="connsiteY100" fmla="*/ 1114556 h 2209123"/>
              <a:gd name="connsiteX101" fmla="*/ 1171281 w 2427462"/>
              <a:gd name="connsiteY101" fmla="*/ 255418 h 2209123"/>
              <a:gd name="connsiteX102" fmla="*/ 1171281 w 2427462"/>
              <a:gd name="connsiteY102" fmla="*/ 968882 h 2209123"/>
              <a:gd name="connsiteX103" fmla="*/ 863217 w 2427462"/>
              <a:gd name="connsiteY103" fmla="*/ 1114556 h 2209123"/>
              <a:gd name="connsiteX104" fmla="*/ 1243084 w 2427462"/>
              <a:gd name="connsiteY104" fmla="*/ 969514 h 2209123"/>
              <a:gd name="connsiteX105" fmla="*/ 1243084 w 2427462"/>
              <a:gd name="connsiteY105" fmla="*/ 244849 h 2209123"/>
              <a:gd name="connsiteX106" fmla="*/ 1560368 w 2427462"/>
              <a:gd name="connsiteY106" fmla="*/ 1133886 h 2209123"/>
              <a:gd name="connsiteX107" fmla="*/ 1243084 w 2427462"/>
              <a:gd name="connsiteY107" fmla="*/ 969514 h 2209123"/>
              <a:gd name="connsiteX108" fmla="*/ 1632659 w 2427462"/>
              <a:gd name="connsiteY108" fmla="*/ 1145173 h 2209123"/>
              <a:gd name="connsiteX109" fmla="*/ 1300096 w 2427462"/>
              <a:gd name="connsiteY109" fmla="*/ 201077 h 2209123"/>
              <a:gd name="connsiteX110" fmla="*/ 1955744 w 2427462"/>
              <a:gd name="connsiteY110" fmla="*/ 969773 h 2209123"/>
              <a:gd name="connsiteX111" fmla="*/ 1632659 w 2427462"/>
              <a:gd name="connsiteY111" fmla="*/ 1145173 h 2209123"/>
              <a:gd name="connsiteX112" fmla="*/ 2029759 w 2427462"/>
              <a:gd name="connsiteY112" fmla="*/ 969428 h 2209123"/>
              <a:gd name="connsiteX113" fmla="*/ 1498789 w 2427462"/>
              <a:gd name="connsiteY113" fmla="*/ 206247 h 2209123"/>
              <a:gd name="connsiteX114" fmla="*/ 2337909 w 2427462"/>
              <a:gd name="connsiteY114" fmla="*/ 1113465 h 2209123"/>
              <a:gd name="connsiteX115" fmla="*/ 2029759 w 2427462"/>
              <a:gd name="connsiteY115" fmla="*/ 969428 h 2209123"/>
              <a:gd name="connsiteX0" fmla="*/ 2426859 w 2427462"/>
              <a:gd name="connsiteY0" fmla="*/ 1305036 h 2209123"/>
              <a:gd name="connsiteX1" fmla="*/ 2275440 w 2427462"/>
              <a:gd name="connsiteY1" fmla="*/ 725154 h 2209123"/>
              <a:gd name="connsiteX2" fmla="*/ 2275440 w 2427462"/>
              <a:gd name="connsiteY2" fmla="*/ 516753 h 2209123"/>
              <a:gd name="connsiteX3" fmla="*/ 2203637 w 2427462"/>
              <a:gd name="connsiteY3" fmla="*/ 516753 h 2209123"/>
              <a:gd name="connsiteX4" fmla="*/ 2203637 w 2427462"/>
              <a:gd name="connsiteY4" fmla="*/ 611418 h 2209123"/>
              <a:gd name="connsiteX5" fmla="*/ 2122988 w 2427462"/>
              <a:gd name="connsiteY5" fmla="*/ 509601 h 2209123"/>
              <a:gd name="connsiteX6" fmla="*/ 2122988 w 2427462"/>
              <a:gd name="connsiteY6" fmla="*/ 353444 h 2209123"/>
              <a:gd name="connsiteX7" fmla="*/ 2051185 w 2427462"/>
              <a:gd name="connsiteY7" fmla="*/ 353444 h 2209123"/>
              <a:gd name="connsiteX8" fmla="*/ 2051185 w 2427462"/>
              <a:gd name="connsiteY8" fmla="*/ 434897 h 2209123"/>
              <a:gd name="connsiteX9" fmla="*/ 1956204 w 2427462"/>
              <a:gd name="connsiteY9" fmla="*/ 352984 h 2209123"/>
              <a:gd name="connsiteX10" fmla="*/ 1956204 w 2427462"/>
              <a:gd name="connsiteY10" fmla="*/ 224715 h 2209123"/>
              <a:gd name="connsiteX11" fmla="*/ 1884401 w 2427462"/>
              <a:gd name="connsiteY11" fmla="*/ 224715 h 2209123"/>
              <a:gd name="connsiteX12" fmla="*/ 1884401 w 2427462"/>
              <a:gd name="connsiteY12" fmla="*/ 301027 h 2209123"/>
              <a:gd name="connsiteX13" fmla="*/ 1814350 w 2427462"/>
              <a:gd name="connsiteY13" fmla="*/ 257945 h 2209123"/>
              <a:gd name="connsiteX14" fmla="*/ 1814350 w 2427462"/>
              <a:gd name="connsiteY14" fmla="*/ 172040 h 2209123"/>
              <a:gd name="connsiteX15" fmla="*/ 1742546 w 2427462"/>
              <a:gd name="connsiteY15" fmla="*/ 172040 h 2209123"/>
              <a:gd name="connsiteX16" fmla="*/ 1742546 w 2427462"/>
              <a:gd name="connsiteY16" fmla="*/ 219717 h 2209123"/>
              <a:gd name="connsiteX17" fmla="*/ 1684616 w 2427462"/>
              <a:gd name="connsiteY17" fmla="*/ 193294 h 2209123"/>
              <a:gd name="connsiteX18" fmla="*/ 1684616 w 2427462"/>
              <a:gd name="connsiteY18" fmla="*/ 138465 h 2209123"/>
              <a:gd name="connsiteX19" fmla="*/ 1612813 w 2427462"/>
              <a:gd name="connsiteY19" fmla="*/ 138465 h 2209123"/>
              <a:gd name="connsiteX20" fmla="*/ 1612813 w 2427462"/>
              <a:gd name="connsiteY20" fmla="*/ 165894 h 2209123"/>
              <a:gd name="connsiteX21" fmla="*/ 1543795 w 2427462"/>
              <a:gd name="connsiteY21" fmla="*/ 144152 h 2209123"/>
              <a:gd name="connsiteX22" fmla="*/ 1543795 w 2427462"/>
              <a:gd name="connsiteY22" fmla="*/ 4509 h 2209123"/>
              <a:gd name="connsiteX23" fmla="*/ 1471992 w 2427462"/>
              <a:gd name="connsiteY23" fmla="*/ 4509 h 2209123"/>
              <a:gd name="connsiteX24" fmla="*/ 1471992 w 2427462"/>
              <a:gd name="connsiteY24" fmla="*/ 126058 h 2209123"/>
              <a:gd name="connsiteX25" fmla="*/ 1243084 w 2427462"/>
              <a:gd name="connsiteY25" fmla="*/ 98801 h 2209123"/>
              <a:gd name="connsiteX26" fmla="*/ 1243084 w 2427462"/>
              <a:gd name="connsiteY26" fmla="*/ 0 h 2209123"/>
              <a:gd name="connsiteX27" fmla="*/ 1171281 w 2427462"/>
              <a:gd name="connsiteY27" fmla="*/ 0 h 2209123"/>
              <a:gd name="connsiteX28" fmla="*/ 1171281 w 2427462"/>
              <a:gd name="connsiteY28" fmla="*/ 99117 h 2209123"/>
              <a:gd name="connsiteX29" fmla="*/ 958973 w 2427462"/>
              <a:gd name="connsiteY29" fmla="*/ 125110 h 2209123"/>
              <a:gd name="connsiteX30" fmla="*/ 958973 w 2427462"/>
              <a:gd name="connsiteY30" fmla="*/ 0 h 2209123"/>
              <a:gd name="connsiteX31" fmla="*/ 887170 w 2427462"/>
              <a:gd name="connsiteY31" fmla="*/ 0 h 2209123"/>
              <a:gd name="connsiteX32" fmla="*/ 887170 w 2427462"/>
              <a:gd name="connsiteY32" fmla="*/ 142974 h 2209123"/>
              <a:gd name="connsiteX33" fmla="*/ 817493 w 2427462"/>
              <a:gd name="connsiteY33" fmla="*/ 164745 h 2209123"/>
              <a:gd name="connsiteX34" fmla="*/ 817493 w 2427462"/>
              <a:gd name="connsiteY34" fmla="*/ 133956 h 2209123"/>
              <a:gd name="connsiteX35" fmla="*/ 745690 w 2427462"/>
              <a:gd name="connsiteY35" fmla="*/ 133956 h 2209123"/>
              <a:gd name="connsiteX36" fmla="*/ 745690 w 2427462"/>
              <a:gd name="connsiteY36" fmla="*/ 191944 h 2209123"/>
              <a:gd name="connsiteX37" fmla="*/ 687156 w 2427462"/>
              <a:gd name="connsiteY37" fmla="*/ 218253 h 2209123"/>
              <a:gd name="connsiteX38" fmla="*/ 687156 w 2427462"/>
              <a:gd name="connsiteY38" fmla="*/ 167560 h 2209123"/>
              <a:gd name="connsiteX39" fmla="*/ 615353 w 2427462"/>
              <a:gd name="connsiteY39" fmla="*/ 167560 h 2209123"/>
              <a:gd name="connsiteX40" fmla="*/ 615353 w 2427462"/>
              <a:gd name="connsiteY40" fmla="*/ 256337 h 2209123"/>
              <a:gd name="connsiteX41" fmla="*/ 544641 w 2427462"/>
              <a:gd name="connsiteY41" fmla="*/ 299706 h 2209123"/>
              <a:gd name="connsiteX42" fmla="*/ 544641 w 2427462"/>
              <a:gd name="connsiteY42" fmla="*/ 220206 h 2209123"/>
              <a:gd name="connsiteX43" fmla="*/ 472838 w 2427462"/>
              <a:gd name="connsiteY43" fmla="*/ 220206 h 2209123"/>
              <a:gd name="connsiteX44" fmla="*/ 472838 w 2427462"/>
              <a:gd name="connsiteY44" fmla="*/ 351261 h 2209123"/>
              <a:gd name="connsiteX45" fmla="*/ 377110 w 2427462"/>
              <a:gd name="connsiteY45" fmla="*/ 433547 h 2209123"/>
              <a:gd name="connsiteX46" fmla="*/ 377110 w 2427462"/>
              <a:gd name="connsiteY46" fmla="*/ 348906 h 2209123"/>
              <a:gd name="connsiteX47" fmla="*/ 305307 w 2427462"/>
              <a:gd name="connsiteY47" fmla="*/ 348906 h 2209123"/>
              <a:gd name="connsiteX48" fmla="*/ 305307 w 2427462"/>
              <a:gd name="connsiteY48" fmla="*/ 507906 h 2209123"/>
              <a:gd name="connsiteX49" fmla="*/ 223940 w 2427462"/>
              <a:gd name="connsiteY49" fmla="*/ 610441 h 2209123"/>
              <a:gd name="connsiteX50" fmla="*/ 223940 w 2427462"/>
              <a:gd name="connsiteY50" fmla="*/ 512186 h 2209123"/>
              <a:gd name="connsiteX51" fmla="*/ 152136 w 2427462"/>
              <a:gd name="connsiteY51" fmla="*/ 512186 h 2209123"/>
              <a:gd name="connsiteX52" fmla="*/ 152136 w 2427462"/>
              <a:gd name="connsiteY52" fmla="*/ 722741 h 2209123"/>
              <a:gd name="connsiteX53" fmla="*/ 152912 w 2427462"/>
              <a:gd name="connsiteY53" fmla="*/ 722741 h 2209123"/>
              <a:gd name="connsiteX54" fmla="*/ 0 w 2427462"/>
              <a:gd name="connsiteY54" fmla="*/ 1311527 h 2209123"/>
              <a:gd name="connsiteX55" fmla="*/ 37740 w 2427462"/>
              <a:gd name="connsiteY55" fmla="*/ 1347428 h 2209123"/>
              <a:gd name="connsiteX56" fmla="*/ 73440 w 2427462"/>
              <a:gd name="connsiteY56" fmla="*/ 1315375 h 2209123"/>
              <a:gd name="connsiteX57" fmla="*/ 429210 w 2427462"/>
              <a:gd name="connsiteY57" fmla="*/ 1039565 h 2209123"/>
              <a:gd name="connsiteX58" fmla="*/ 781246 w 2427462"/>
              <a:gd name="connsiteY58" fmla="*/ 1292657 h 2209123"/>
              <a:gd name="connsiteX59" fmla="*/ 816459 w 2427462"/>
              <a:gd name="connsiteY59" fmla="*/ 1321579 h 2209123"/>
              <a:gd name="connsiteX60" fmla="*/ 851671 w 2427462"/>
              <a:gd name="connsiteY60" fmla="*/ 1292657 h 2209123"/>
              <a:gd name="connsiteX61" fmla="*/ 1171281 w 2427462"/>
              <a:gd name="connsiteY61" fmla="*/ 1040800 h 2209123"/>
              <a:gd name="connsiteX62" fmla="*/ 1171281 w 2427462"/>
              <a:gd name="connsiteY62" fmla="*/ 1175158 h 2209123"/>
              <a:gd name="connsiteX63" fmla="*/ 1147414 w 2427462"/>
              <a:gd name="connsiteY63" fmla="*/ 1175158 h 2209123"/>
              <a:gd name="connsiteX64" fmla="*/ 1111512 w 2427462"/>
              <a:gd name="connsiteY64" fmla="*/ 1211060 h 2209123"/>
              <a:gd name="connsiteX65" fmla="*/ 1147414 w 2427462"/>
              <a:gd name="connsiteY65" fmla="*/ 1246961 h 2209123"/>
              <a:gd name="connsiteX66" fmla="*/ 1171281 w 2427462"/>
              <a:gd name="connsiteY66" fmla="*/ 1246961 h 2209123"/>
              <a:gd name="connsiteX67" fmla="*/ 1171281 w 2427462"/>
              <a:gd name="connsiteY67" fmla="*/ 2137320 h 2209123"/>
              <a:gd name="connsiteX68" fmla="*/ 1147414 w 2427462"/>
              <a:gd name="connsiteY68" fmla="*/ 2137320 h 2209123"/>
              <a:gd name="connsiteX69" fmla="*/ 1111512 w 2427462"/>
              <a:gd name="connsiteY69" fmla="*/ 2173221 h 2209123"/>
              <a:gd name="connsiteX70" fmla="*/ 1147414 w 2427462"/>
              <a:gd name="connsiteY70" fmla="*/ 2209123 h 2209123"/>
              <a:gd name="connsiteX71" fmla="*/ 1311814 w 2427462"/>
              <a:gd name="connsiteY71" fmla="*/ 2173250 h 2209123"/>
              <a:gd name="connsiteX72" fmla="*/ 1275912 w 2427462"/>
              <a:gd name="connsiteY72" fmla="*/ 2137349 h 2209123"/>
              <a:gd name="connsiteX73" fmla="*/ 1243084 w 2427462"/>
              <a:gd name="connsiteY73" fmla="*/ 2137349 h 2209123"/>
              <a:gd name="connsiteX74" fmla="*/ 1243084 w 2427462"/>
              <a:gd name="connsiteY74" fmla="*/ 1246990 h 2209123"/>
              <a:gd name="connsiteX75" fmla="*/ 1275912 w 2427462"/>
              <a:gd name="connsiteY75" fmla="*/ 1246990 h 2209123"/>
              <a:gd name="connsiteX76" fmla="*/ 1311814 w 2427462"/>
              <a:gd name="connsiteY76" fmla="*/ 1211089 h 2209123"/>
              <a:gd name="connsiteX77" fmla="*/ 1275912 w 2427462"/>
              <a:gd name="connsiteY77" fmla="*/ 1175187 h 2209123"/>
              <a:gd name="connsiteX78" fmla="*/ 1243084 w 2427462"/>
              <a:gd name="connsiteY78" fmla="*/ 1175187 h 2209123"/>
              <a:gd name="connsiteX79" fmla="*/ 1243084 w 2427462"/>
              <a:gd name="connsiteY79" fmla="*/ 1041576 h 2209123"/>
              <a:gd name="connsiteX80" fmla="*/ 1559449 w 2427462"/>
              <a:gd name="connsiteY80" fmla="*/ 1315404 h 2209123"/>
              <a:gd name="connsiteX81" fmla="*/ 1595149 w 2427462"/>
              <a:gd name="connsiteY81" fmla="*/ 1347457 h 2209123"/>
              <a:gd name="connsiteX82" fmla="*/ 1606207 w 2427462"/>
              <a:gd name="connsiteY82" fmla="*/ 1347457 h 2209123"/>
              <a:gd name="connsiteX83" fmla="*/ 1641907 w 2427462"/>
              <a:gd name="connsiteY83" fmla="*/ 1315404 h 2209123"/>
              <a:gd name="connsiteX84" fmla="*/ 1997706 w 2427462"/>
              <a:gd name="connsiteY84" fmla="*/ 1039594 h 2209123"/>
              <a:gd name="connsiteX85" fmla="*/ 2353447 w 2427462"/>
              <a:gd name="connsiteY85" fmla="*/ 1315404 h 2209123"/>
              <a:gd name="connsiteX86" fmla="*/ 2389148 w 2427462"/>
              <a:gd name="connsiteY86" fmla="*/ 1347457 h 2209123"/>
              <a:gd name="connsiteX87" fmla="*/ 2390986 w 2427462"/>
              <a:gd name="connsiteY87" fmla="*/ 1347457 h 2209123"/>
              <a:gd name="connsiteX88" fmla="*/ 2391560 w 2427462"/>
              <a:gd name="connsiteY88" fmla="*/ 1347457 h 2209123"/>
              <a:gd name="connsiteX89" fmla="*/ 2427462 w 2427462"/>
              <a:gd name="connsiteY89" fmla="*/ 1311556 h 2209123"/>
              <a:gd name="connsiteX90" fmla="*/ 2426859 w 2427462"/>
              <a:gd name="connsiteY90" fmla="*/ 1305036 h 2209123"/>
              <a:gd name="connsiteX91" fmla="*/ 88978 w 2427462"/>
              <a:gd name="connsiteY91" fmla="*/ 1113465 h 2209123"/>
              <a:gd name="connsiteX92" fmla="*/ 920889 w 2427462"/>
              <a:gd name="connsiteY92" fmla="*/ 208057 h 2209123"/>
              <a:gd name="connsiteX93" fmla="*/ 393050 w 2427462"/>
              <a:gd name="connsiteY93" fmla="*/ 969629 h 2209123"/>
              <a:gd name="connsiteX94" fmla="*/ 88978 w 2427462"/>
              <a:gd name="connsiteY94" fmla="*/ 1113465 h 2209123"/>
              <a:gd name="connsiteX95" fmla="*/ 467237 w 2427462"/>
              <a:gd name="connsiteY95" fmla="*/ 969399 h 2209123"/>
              <a:gd name="connsiteX96" fmla="*/ 1122800 w 2427462"/>
              <a:gd name="connsiteY96" fmla="*/ 201077 h 2209123"/>
              <a:gd name="connsiteX97" fmla="*/ 790409 w 2427462"/>
              <a:gd name="connsiteY97" fmla="*/ 1140635 h 2209123"/>
              <a:gd name="connsiteX98" fmla="*/ 467237 w 2427462"/>
              <a:gd name="connsiteY98" fmla="*/ 969399 h 2209123"/>
              <a:gd name="connsiteX99" fmla="*/ 863217 w 2427462"/>
              <a:gd name="connsiteY99" fmla="*/ 1114556 h 2209123"/>
              <a:gd name="connsiteX100" fmla="*/ 1171281 w 2427462"/>
              <a:gd name="connsiteY100" fmla="*/ 255418 h 2209123"/>
              <a:gd name="connsiteX101" fmla="*/ 1171281 w 2427462"/>
              <a:gd name="connsiteY101" fmla="*/ 968882 h 2209123"/>
              <a:gd name="connsiteX102" fmla="*/ 863217 w 2427462"/>
              <a:gd name="connsiteY102" fmla="*/ 1114556 h 2209123"/>
              <a:gd name="connsiteX103" fmla="*/ 1243084 w 2427462"/>
              <a:gd name="connsiteY103" fmla="*/ 969514 h 2209123"/>
              <a:gd name="connsiteX104" fmla="*/ 1243084 w 2427462"/>
              <a:gd name="connsiteY104" fmla="*/ 244849 h 2209123"/>
              <a:gd name="connsiteX105" fmla="*/ 1560368 w 2427462"/>
              <a:gd name="connsiteY105" fmla="*/ 1133886 h 2209123"/>
              <a:gd name="connsiteX106" fmla="*/ 1243084 w 2427462"/>
              <a:gd name="connsiteY106" fmla="*/ 969514 h 2209123"/>
              <a:gd name="connsiteX107" fmla="*/ 1632659 w 2427462"/>
              <a:gd name="connsiteY107" fmla="*/ 1145173 h 2209123"/>
              <a:gd name="connsiteX108" fmla="*/ 1300096 w 2427462"/>
              <a:gd name="connsiteY108" fmla="*/ 201077 h 2209123"/>
              <a:gd name="connsiteX109" fmla="*/ 1955744 w 2427462"/>
              <a:gd name="connsiteY109" fmla="*/ 969773 h 2209123"/>
              <a:gd name="connsiteX110" fmla="*/ 1632659 w 2427462"/>
              <a:gd name="connsiteY110" fmla="*/ 1145173 h 2209123"/>
              <a:gd name="connsiteX111" fmla="*/ 2029759 w 2427462"/>
              <a:gd name="connsiteY111" fmla="*/ 969428 h 2209123"/>
              <a:gd name="connsiteX112" fmla="*/ 1498789 w 2427462"/>
              <a:gd name="connsiteY112" fmla="*/ 206247 h 2209123"/>
              <a:gd name="connsiteX113" fmla="*/ 2337909 w 2427462"/>
              <a:gd name="connsiteY113" fmla="*/ 1113465 h 2209123"/>
              <a:gd name="connsiteX114" fmla="*/ 2029759 w 2427462"/>
              <a:gd name="connsiteY114" fmla="*/ 969428 h 2209123"/>
              <a:gd name="connsiteX0" fmla="*/ 2426859 w 2427462"/>
              <a:gd name="connsiteY0" fmla="*/ 1305036 h 2177723"/>
              <a:gd name="connsiteX1" fmla="*/ 2275440 w 2427462"/>
              <a:gd name="connsiteY1" fmla="*/ 725154 h 2177723"/>
              <a:gd name="connsiteX2" fmla="*/ 2275440 w 2427462"/>
              <a:gd name="connsiteY2" fmla="*/ 516753 h 2177723"/>
              <a:gd name="connsiteX3" fmla="*/ 2203637 w 2427462"/>
              <a:gd name="connsiteY3" fmla="*/ 516753 h 2177723"/>
              <a:gd name="connsiteX4" fmla="*/ 2203637 w 2427462"/>
              <a:gd name="connsiteY4" fmla="*/ 611418 h 2177723"/>
              <a:gd name="connsiteX5" fmla="*/ 2122988 w 2427462"/>
              <a:gd name="connsiteY5" fmla="*/ 509601 h 2177723"/>
              <a:gd name="connsiteX6" fmla="*/ 2122988 w 2427462"/>
              <a:gd name="connsiteY6" fmla="*/ 353444 h 2177723"/>
              <a:gd name="connsiteX7" fmla="*/ 2051185 w 2427462"/>
              <a:gd name="connsiteY7" fmla="*/ 353444 h 2177723"/>
              <a:gd name="connsiteX8" fmla="*/ 2051185 w 2427462"/>
              <a:gd name="connsiteY8" fmla="*/ 434897 h 2177723"/>
              <a:gd name="connsiteX9" fmla="*/ 1956204 w 2427462"/>
              <a:gd name="connsiteY9" fmla="*/ 352984 h 2177723"/>
              <a:gd name="connsiteX10" fmla="*/ 1956204 w 2427462"/>
              <a:gd name="connsiteY10" fmla="*/ 224715 h 2177723"/>
              <a:gd name="connsiteX11" fmla="*/ 1884401 w 2427462"/>
              <a:gd name="connsiteY11" fmla="*/ 224715 h 2177723"/>
              <a:gd name="connsiteX12" fmla="*/ 1884401 w 2427462"/>
              <a:gd name="connsiteY12" fmla="*/ 301027 h 2177723"/>
              <a:gd name="connsiteX13" fmla="*/ 1814350 w 2427462"/>
              <a:gd name="connsiteY13" fmla="*/ 257945 h 2177723"/>
              <a:gd name="connsiteX14" fmla="*/ 1814350 w 2427462"/>
              <a:gd name="connsiteY14" fmla="*/ 172040 h 2177723"/>
              <a:gd name="connsiteX15" fmla="*/ 1742546 w 2427462"/>
              <a:gd name="connsiteY15" fmla="*/ 172040 h 2177723"/>
              <a:gd name="connsiteX16" fmla="*/ 1742546 w 2427462"/>
              <a:gd name="connsiteY16" fmla="*/ 219717 h 2177723"/>
              <a:gd name="connsiteX17" fmla="*/ 1684616 w 2427462"/>
              <a:gd name="connsiteY17" fmla="*/ 193294 h 2177723"/>
              <a:gd name="connsiteX18" fmla="*/ 1684616 w 2427462"/>
              <a:gd name="connsiteY18" fmla="*/ 138465 h 2177723"/>
              <a:gd name="connsiteX19" fmla="*/ 1612813 w 2427462"/>
              <a:gd name="connsiteY19" fmla="*/ 138465 h 2177723"/>
              <a:gd name="connsiteX20" fmla="*/ 1612813 w 2427462"/>
              <a:gd name="connsiteY20" fmla="*/ 165894 h 2177723"/>
              <a:gd name="connsiteX21" fmla="*/ 1543795 w 2427462"/>
              <a:gd name="connsiteY21" fmla="*/ 144152 h 2177723"/>
              <a:gd name="connsiteX22" fmla="*/ 1543795 w 2427462"/>
              <a:gd name="connsiteY22" fmla="*/ 4509 h 2177723"/>
              <a:gd name="connsiteX23" fmla="*/ 1471992 w 2427462"/>
              <a:gd name="connsiteY23" fmla="*/ 4509 h 2177723"/>
              <a:gd name="connsiteX24" fmla="*/ 1471992 w 2427462"/>
              <a:gd name="connsiteY24" fmla="*/ 126058 h 2177723"/>
              <a:gd name="connsiteX25" fmla="*/ 1243084 w 2427462"/>
              <a:gd name="connsiteY25" fmla="*/ 98801 h 2177723"/>
              <a:gd name="connsiteX26" fmla="*/ 1243084 w 2427462"/>
              <a:gd name="connsiteY26" fmla="*/ 0 h 2177723"/>
              <a:gd name="connsiteX27" fmla="*/ 1171281 w 2427462"/>
              <a:gd name="connsiteY27" fmla="*/ 0 h 2177723"/>
              <a:gd name="connsiteX28" fmla="*/ 1171281 w 2427462"/>
              <a:gd name="connsiteY28" fmla="*/ 99117 h 2177723"/>
              <a:gd name="connsiteX29" fmla="*/ 958973 w 2427462"/>
              <a:gd name="connsiteY29" fmla="*/ 125110 h 2177723"/>
              <a:gd name="connsiteX30" fmla="*/ 958973 w 2427462"/>
              <a:gd name="connsiteY30" fmla="*/ 0 h 2177723"/>
              <a:gd name="connsiteX31" fmla="*/ 887170 w 2427462"/>
              <a:gd name="connsiteY31" fmla="*/ 0 h 2177723"/>
              <a:gd name="connsiteX32" fmla="*/ 887170 w 2427462"/>
              <a:gd name="connsiteY32" fmla="*/ 142974 h 2177723"/>
              <a:gd name="connsiteX33" fmla="*/ 817493 w 2427462"/>
              <a:gd name="connsiteY33" fmla="*/ 164745 h 2177723"/>
              <a:gd name="connsiteX34" fmla="*/ 817493 w 2427462"/>
              <a:gd name="connsiteY34" fmla="*/ 133956 h 2177723"/>
              <a:gd name="connsiteX35" fmla="*/ 745690 w 2427462"/>
              <a:gd name="connsiteY35" fmla="*/ 133956 h 2177723"/>
              <a:gd name="connsiteX36" fmla="*/ 745690 w 2427462"/>
              <a:gd name="connsiteY36" fmla="*/ 191944 h 2177723"/>
              <a:gd name="connsiteX37" fmla="*/ 687156 w 2427462"/>
              <a:gd name="connsiteY37" fmla="*/ 218253 h 2177723"/>
              <a:gd name="connsiteX38" fmla="*/ 687156 w 2427462"/>
              <a:gd name="connsiteY38" fmla="*/ 167560 h 2177723"/>
              <a:gd name="connsiteX39" fmla="*/ 615353 w 2427462"/>
              <a:gd name="connsiteY39" fmla="*/ 167560 h 2177723"/>
              <a:gd name="connsiteX40" fmla="*/ 615353 w 2427462"/>
              <a:gd name="connsiteY40" fmla="*/ 256337 h 2177723"/>
              <a:gd name="connsiteX41" fmla="*/ 544641 w 2427462"/>
              <a:gd name="connsiteY41" fmla="*/ 299706 h 2177723"/>
              <a:gd name="connsiteX42" fmla="*/ 544641 w 2427462"/>
              <a:gd name="connsiteY42" fmla="*/ 220206 h 2177723"/>
              <a:gd name="connsiteX43" fmla="*/ 472838 w 2427462"/>
              <a:gd name="connsiteY43" fmla="*/ 220206 h 2177723"/>
              <a:gd name="connsiteX44" fmla="*/ 472838 w 2427462"/>
              <a:gd name="connsiteY44" fmla="*/ 351261 h 2177723"/>
              <a:gd name="connsiteX45" fmla="*/ 377110 w 2427462"/>
              <a:gd name="connsiteY45" fmla="*/ 433547 h 2177723"/>
              <a:gd name="connsiteX46" fmla="*/ 377110 w 2427462"/>
              <a:gd name="connsiteY46" fmla="*/ 348906 h 2177723"/>
              <a:gd name="connsiteX47" fmla="*/ 305307 w 2427462"/>
              <a:gd name="connsiteY47" fmla="*/ 348906 h 2177723"/>
              <a:gd name="connsiteX48" fmla="*/ 305307 w 2427462"/>
              <a:gd name="connsiteY48" fmla="*/ 507906 h 2177723"/>
              <a:gd name="connsiteX49" fmla="*/ 223940 w 2427462"/>
              <a:gd name="connsiteY49" fmla="*/ 610441 h 2177723"/>
              <a:gd name="connsiteX50" fmla="*/ 223940 w 2427462"/>
              <a:gd name="connsiteY50" fmla="*/ 512186 h 2177723"/>
              <a:gd name="connsiteX51" fmla="*/ 152136 w 2427462"/>
              <a:gd name="connsiteY51" fmla="*/ 512186 h 2177723"/>
              <a:gd name="connsiteX52" fmla="*/ 152136 w 2427462"/>
              <a:gd name="connsiteY52" fmla="*/ 722741 h 2177723"/>
              <a:gd name="connsiteX53" fmla="*/ 152912 w 2427462"/>
              <a:gd name="connsiteY53" fmla="*/ 722741 h 2177723"/>
              <a:gd name="connsiteX54" fmla="*/ 0 w 2427462"/>
              <a:gd name="connsiteY54" fmla="*/ 1311527 h 2177723"/>
              <a:gd name="connsiteX55" fmla="*/ 37740 w 2427462"/>
              <a:gd name="connsiteY55" fmla="*/ 1347428 h 2177723"/>
              <a:gd name="connsiteX56" fmla="*/ 73440 w 2427462"/>
              <a:gd name="connsiteY56" fmla="*/ 1315375 h 2177723"/>
              <a:gd name="connsiteX57" fmla="*/ 429210 w 2427462"/>
              <a:gd name="connsiteY57" fmla="*/ 1039565 h 2177723"/>
              <a:gd name="connsiteX58" fmla="*/ 781246 w 2427462"/>
              <a:gd name="connsiteY58" fmla="*/ 1292657 h 2177723"/>
              <a:gd name="connsiteX59" fmla="*/ 816459 w 2427462"/>
              <a:gd name="connsiteY59" fmla="*/ 1321579 h 2177723"/>
              <a:gd name="connsiteX60" fmla="*/ 851671 w 2427462"/>
              <a:gd name="connsiteY60" fmla="*/ 1292657 h 2177723"/>
              <a:gd name="connsiteX61" fmla="*/ 1171281 w 2427462"/>
              <a:gd name="connsiteY61" fmla="*/ 1040800 h 2177723"/>
              <a:gd name="connsiteX62" fmla="*/ 1171281 w 2427462"/>
              <a:gd name="connsiteY62" fmla="*/ 1175158 h 2177723"/>
              <a:gd name="connsiteX63" fmla="*/ 1147414 w 2427462"/>
              <a:gd name="connsiteY63" fmla="*/ 1175158 h 2177723"/>
              <a:gd name="connsiteX64" fmla="*/ 1111512 w 2427462"/>
              <a:gd name="connsiteY64" fmla="*/ 1211060 h 2177723"/>
              <a:gd name="connsiteX65" fmla="*/ 1147414 w 2427462"/>
              <a:gd name="connsiteY65" fmla="*/ 1246961 h 2177723"/>
              <a:gd name="connsiteX66" fmla="*/ 1171281 w 2427462"/>
              <a:gd name="connsiteY66" fmla="*/ 1246961 h 2177723"/>
              <a:gd name="connsiteX67" fmla="*/ 1171281 w 2427462"/>
              <a:gd name="connsiteY67" fmla="*/ 2137320 h 2177723"/>
              <a:gd name="connsiteX68" fmla="*/ 1147414 w 2427462"/>
              <a:gd name="connsiteY68" fmla="*/ 2137320 h 2177723"/>
              <a:gd name="connsiteX69" fmla="*/ 1111512 w 2427462"/>
              <a:gd name="connsiteY69" fmla="*/ 2173221 h 2177723"/>
              <a:gd name="connsiteX70" fmla="*/ 1311814 w 2427462"/>
              <a:gd name="connsiteY70" fmla="*/ 2173250 h 2177723"/>
              <a:gd name="connsiteX71" fmla="*/ 1275912 w 2427462"/>
              <a:gd name="connsiteY71" fmla="*/ 2137349 h 2177723"/>
              <a:gd name="connsiteX72" fmla="*/ 1243084 w 2427462"/>
              <a:gd name="connsiteY72" fmla="*/ 2137349 h 2177723"/>
              <a:gd name="connsiteX73" fmla="*/ 1243084 w 2427462"/>
              <a:gd name="connsiteY73" fmla="*/ 1246990 h 2177723"/>
              <a:gd name="connsiteX74" fmla="*/ 1275912 w 2427462"/>
              <a:gd name="connsiteY74" fmla="*/ 1246990 h 2177723"/>
              <a:gd name="connsiteX75" fmla="*/ 1311814 w 2427462"/>
              <a:gd name="connsiteY75" fmla="*/ 1211089 h 2177723"/>
              <a:gd name="connsiteX76" fmla="*/ 1275912 w 2427462"/>
              <a:gd name="connsiteY76" fmla="*/ 1175187 h 2177723"/>
              <a:gd name="connsiteX77" fmla="*/ 1243084 w 2427462"/>
              <a:gd name="connsiteY77" fmla="*/ 1175187 h 2177723"/>
              <a:gd name="connsiteX78" fmla="*/ 1243084 w 2427462"/>
              <a:gd name="connsiteY78" fmla="*/ 1041576 h 2177723"/>
              <a:gd name="connsiteX79" fmla="*/ 1559449 w 2427462"/>
              <a:gd name="connsiteY79" fmla="*/ 1315404 h 2177723"/>
              <a:gd name="connsiteX80" fmla="*/ 1595149 w 2427462"/>
              <a:gd name="connsiteY80" fmla="*/ 1347457 h 2177723"/>
              <a:gd name="connsiteX81" fmla="*/ 1606207 w 2427462"/>
              <a:gd name="connsiteY81" fmla="*/ 1347457 h 2177723"/>
              <a:gd name="connsiteX82" fmla="*/ 1641907 w 2427462"/>
              <a:gd name="connsiteY82" fmla="*/ 1315404 h 2177723"/>
              <a:gd name="connsiteX83" fmla="*/ 1997706 w 2427462"/>
              <a:gd name="connsiteY83" fmla="*/ 1039594 h 2177723"/>
              <a:gd name="connsiteX84" fmla="*/ 2353447 w 2427462"/>
              <a:gd name="connsiteY84" fmla="*/ 1315404 h 2177723"/>
              <a:gd name="connsiteX85" fmla="*/ 2389148 w 2427462"/>
              <a:gd name="connsiteY85" fmla="*/ 1347457 h 2177723"/>
              <a:gd name="connsiteX86" fmla="*/ 2390986 w 2427462"/>
              <a:gd name="connsiteY86" fmla="*/ 1347457 h 2177723"/>
              <a:gd name="connsiteX87" fmla="*/ 2391560 w 2427462"/>
              <a:gd name="connsiteY87" fmla="*/ 1347457 h 2177723"/>
              <a:gd name="connsiteX88" fmla="*/ 2427462 w 2427462"/>
              <a:gd name="connsiteY88" fmla="*/ 1311556 h 2177723"/>
              <a:gd name="connsiteX89" fmla="*/ 2426859 w 2427462"/>
              <a:gd name="connsiteY89" fmla="*/ 1305036 h 2177723"/>
              <a:gd name="connsiteX90" fmla="*/ 88978 w 2427462"/>
              <a:gd name="connsiteY90" fmla="*/ 1113465 h 2177723"/>
              <a:gd name="connsiteX91" fmla="*/ 920889 w 2427462"/>
              <a:gd name="connsiteY91" fmla="*/ 208057 h 2177723"/>
              <a:gd name="connsiteX92" fmla="*/ 393050 w 2427462"/>
              <a:gd name="connsiteY92" fmla="*/ 969629 h 2177723"/>
              <a:gd name="connsiteX93" fmla="*/ 88978 w 2427462"/>
              <a:gd name="connsiteY93" fmla="*/ 1113465 h 2177723"/>
              <a:gd name="connsiteX94" fmla="*/ 467237 w 2427462"/>
              <a:gd name="connsiteY94" fmla="*/ 969399 h 2177723"/>
              <a:gd name="connsiteX95" fmla="*/ 1122800 w 2427462"/>
              <a:gd name="connsiteY95" fmla="*/ 201077 h 2177723"/>
              <a:gd name="connsiteX96" fmla="*/ 790409 w 2427462"/>
              <a:gd name="connsiteY96" fmla="*/ 1140635 h 2177723"/>
              <a:gd name="connsiteX97" fmla="*/ 467237 w 2427462"/>
              <a:gd name="connsiteY97" fmla="*/ 969399 h 2177723"/>
              <a:gd name="connsiteX98" fmla="*/ 863217 w 2427462"/>
              <a:gd name="connsiteY98" fmla="*/ 1114556 h 2177723"/>
              <a:gd name="connsiteX99" fmla="*/ 1171281 w 2427462"/>
              <a:gd name="connsiteY99" fmla="*/ 255418 h 2177723"/>
              <a:gd name="connsiteX100" fmla="*/ 1171281 w 2427462"/>
              <a:gd name="connsiteY100" fmla="*/ 968882 h 2177723"/>
              <a:gd name="connsiteX101" fmla="*/ 863217 w 2427462"/>
              <a:gd name="connsiteY101" fmla="*/ 1114556 h 2177723"/>
              <a:gd name="connsiteX102" fmla="*/ 1243084 w 2427462"/>
              <a:gd name="connsiteY102" fmla="*/ 969514 h 2177723"/>
              <a:gd name="connsiteX103" fmla="*/ 1243084 w 2427462"/>
              <a:gd name="connsiteY103" fmla="*/ 244849 h 2177723"/>
              <a:gd name="connsiteX104" fmla="*/ 1560368 w 2427462"/>
              <a:gd name="connsiteY104" fmla="*/ 1133886 h 2177723"/>
              <a:gd name="connsiteX105" fmla="*/ 1243084 w 2427462"/>
              <a:gd name="connsiteY105" fmla="*/ 969514 h 2177723"/>
              <a:gd name="connsiteX106" fmla="*/ 1632659 w 2427462"/>
              <a:gd name="connsiteY106" fmla="*/ 1145173 h 2177723"/>
              <a:gd name="connsiteX107" fmla="*/ 1300096 w 2427462"/>
              <a:gd name="connsiteY107" fmla="*/ 201077 h 2177723"/>
              <a:gd name="connsiteX108" fmla="*/ 1955744 w 2427462"/>
              <a:gd name="connsiteY108" fmla="*/ 969773 h 2177723"/>
              <a:gd name="connsiteX109" fmla="*/ 1632659 w 2427462"/>
              <a:gd name="connsiteY109" fmla="*/ 1145173 h 2177723"/>
              <a:gd name="connsiteX110" fmla="*/ 2029759 w 2427462"/>
              <a:gd name="connsiteY110" fmla="*/ 969428 h 2177723"/>
              <a:gd name="connsiteX111" fmla="*/ 1498789 w 2427462"/>
              <a:gd name="connsiteY111" fmla="*/ 206247 h 2177723"/>
              <a:gd name="connsiteX112" fmla="*/ 2337909 w 2427462"/>
              <a:gd name="connsiteY112" fmla="*/ 1113465 h 2177723"/>
              <a:gd name="connsiteX113" fmla="*/ 2029759 w 2427462"/>
              <a:gd name="connsiteY113" fmla="*/ 969428 h 2177723"/>
              <a:gd name="connsiteX0" fmla="*/ 2426859 w 2427462"/>
              <a:gd name="connsiteY0" fmla="*/ 1305036 h 2173250"/>
              <a:gd name="connsiteX1" fmla="*/ 2275440 w 2427462"/>
              <a:gd name="connsiteY1" fmla="*/ 725154 h 2173250"/>
              <a:gd name="connsiteX2" fmla="*/ 2275440 w 2427462"/>
              <a:gd name="connsiteY2" fmla="*/ 516753 h 2173250"/>
              <a:gd name="connsiteX3" fmla="*/ 2203637 w 2427462"/>
              <a:gd name="connsiteY3" fmla="*/ 516753 h 2173250"/>
              <a:gd name="connsiteX4" fmla="*/ 2203637 w 2427462"/>
              <a:gd name="connsiteY4" fmla="*/ 611418 h 2173250"/>
              <a:gd name="connsiteX5" fmla="*/ 2122988 w 2427462"/>
              <a:gd name="connsiteY5" fmla="*/ 509601 h 2173250"/>
              <a:gd name="connsiteX6" fmla="*/ 2122988 w 2427462"/>
              <a:gd name="connsiteY6" fmla="*/ 353444 h 2173250"/>
              <a:gd name="connsiteX7" fmla="*/ 2051185 w 2427462"/>
              <a:gd name="connsiteY7" fmla="*/ 353444 h 2173250"/>
              <a:gd name="connsiteX8" fmla="*/ 2051185 w 2427462"/>
              <a:gd name="connsiteY8" fmla="*/ 434897 h 2173250"/>
              <a:gd name="connsiteX9" fmla="*/ 1956204 w 2427462"/>
              <a:gd name="connsiteY9" fmla="*/ 352984 h 2173250"/>
              <a:gd name="connsiteX10" fmla="*/ 1956204 w 2427462"/>
              <a:gd name="connsiteY10" fmla="*/ 224715 h 2173250"/>
              <a:gd name="connsiteX11" fmla="*/ 1884401 w 2427462"/>
              <a:gd name="connsiteY11" fmla="*/ 224715 h 2173250"/>
              <a:gd name="connsiteX12" fmla="*/ 1884401 w 2427462"/>
              <a:gd name="connsiteY12" fmla="*/ 301027 h 2173250"/>
              <a:gd name="connsiteX13" fmla="*/ 1814350 w 2427462"/>
              <a:gd name="connsiteY13" fmla="*/ 257945 h 2173250"/>
              <a:gd name="connsiteX14" fmla="*/ 1814350 w 2427462"/>
              <a:gd name="connsiteY14" fmla="*/ 172040 h 2173250"/>
              <a:gd name="connsiteX15" fmla="*/ 1742546 w 2427462"/>
              <a:gd name="connsiteY15" fmla="*/ 172040 h 2173250"/>
              <a:gd name="connsiteX16" fmla="*/ 1742546 w 2427462"/>
              <a:gd name="connsiteY16" fmla="*/ 219717 h 2173250"/>
              <a:gd name="connsiteX17" fmla="*/ 1684616 w 2427462"/>
              <a:gd name="connsiteY17" fmla="*/ 193294 h 2173250"/>
              <a:gd name="connsiteX18" fmla="*/ 1684616 w 2427462"/>
              <a:gd name="connsiteY18" fmla="*/ 138465 h 2173250"/>
              <a:gd name="connsiteX19" fmla="*/ 1612813 w 2427462"/>
              <a:gd name="connsiteY19" fmla="*/ 138465 h 2173250"/>
              <a:gd name="connsiteX20" fmla="*/ 1612813 w 2427462"/>
              <a:gd name="connsiteY20" fmla="*/ 165894 h 2173250"/>
              <a:gd name="connsiteX21" fmla="*/ 1543795 w 2427462"/>
              <a:gd name="connsiteY21" fmla="*/ 144152 h 2173250"/>
              <a:gd name="connsiteX22" fmla="*/ 1543795 w 2427462"/>
              <a:gd name="connsiteY22" fmla="*/ 4509 h 2173250"/>
              <a:gd name="connsiteX23" fmla="*/ 1471992 w 2427462"/>
              <a:gd name="connsiteY23" fmla="*/ 4509 h 2173250"/>
              <a:gd name="connsiteX24" fmla="*/ 1471992 w 2427462"/>
              <a:gd name="connsiteY24" fmla="*/ 126058 h 2173250"/>
              <a:gd name="connsiteX25" fmla="*/ 1243084 w 2427462"/>
              <a:gd name="connsiteY25" fmla="*/ 98801 h 2173250"/>
              <a:gd name="connsiteX26" fmla="*/ 1243084 w 2427462"/>
              <a:gd name="connsiteY26" fmla="*/ 0 h 2173250"/>
              <a:gd name="connsiteX27" fmla="*/ 1171281 w 2427462"/>
              <a:gd name="connsiteY27" fmla="*/ 0 h 2173250"/>
              <a:gd name="connsiteX28" fmla="*/ 1171281 w 2427462"/>
              <a:gd name="connsiteY28" fmla="*/ 99117 h 2173250"/>
              <a:gd name="connsiteX29" fmla="*/ 958973 w 2427462"/>
              <a:gd name="connsiteY29" fmla="*/ 125110 h 2173250"/>
              <a:gd name="connsiteX30" fmla="*/ 958973 w 2427462"/>
              <a:gd name="connsiteY30" fmla="*/ 0 h 2173250"/>
              <a:gd name="connsiteX31" fmla="*/ 887170 w 2427462"/>
              <a:gd name="connsiteY31" fmla="*/ 0 h 2173250"/>
              <a:gd name="connsiteX32" fmla="*/ 887170 w 2427462"/>
              <a:gd name="connsiteY32" fmla="*/ 142974 h 2173250"/>
              <a:gd name="connsiteX33" fmla="*/ 817493 w 2427462"/>
              <a:gd name="connsiteY33" fmla="*/ 164745 h 2173250"/>
              <a:gd name="connsiteX34" fmla="*/ 817493 w 2427462"/>
              <a:gd name="connsiteY34" fmla="*/ 133956 h 2173250"/>
              <a:gd name="connsiteX35" fmla="*/ 745690 w 2427462"/>
              <a:gd name="connsiteY35" fmla="*/ 133956 h 2173250"/>
              <a:gd name="connsiteX36" fmla="*/ 745690 w 2427462"/>
              <a:gd name="connsiteY36" fmla="*/ 191944 h 2173250"/>
              <a:gd name="connsiteX37" fmla="*/ 687156 w 2427462"/>
              <a:gd name="connsiteY37" fmla="*/ 218253 h 2173250"/>
              <a:gd name="connsiteX38" fmla="*/ 687156 w 2427462"/>
              <a:gd name="connsiteY38" fmla="*/ 167560 h 2173250"/>
              <a:gd name="connsiteX39" fmla="*/ 615353 w 2427462"/>
              <a:gd name="connsiteY39" fmla="*/ 167560 h 2173250"/>
              <a:gd name="connsiteX40" fmla="*/ 615353 w 2427462"/>
              <a:gd name="connsiteY40" fmla="*/ 256337 h 2173250"/>
              <a:gd name="connsiteX41" fmla="*/ 544641 w 2427462"/>
              <a:gd name="connsiteY41" fmla="*/ 299706 h 2173250"/>
              <a:gd name="connsiteX42" fmla="*/ 544641 w 2427462"/>
              <a:gd name="connsiteY42" fmla="*/ 220206 h 2173250"/>
              <a:gd name="connsiteX43" fmla="*/ 472838 w 2427462"/>
              <a:gd name="connsiteY43" fmla="*/ 220206 h 2173250"/>
              <a:gd name="connsiteX44" fmla="*/ 472838 w 2427462"/>
              <a:gd name="connsiteY44" fmla="*/ 351261 h 2173250"/>
              <a:gd name="connsiteX45" fmla="*/ 377110 w 2427462"/>
              <a:gd name="connsiteY45" fmla="*/ 433547 h 2173250"/>
              <a:gd name="connsiteX46" fmla="*/ 377110 w 2427462"/>
              <a:gd name="connsiteY46" fmla="*/ 348906 h 2173250"/>
              <a:gd name="connsiteX47" fmla="*/ 305307 w 2427462"/>
              <a:gd name="connsiteY47" fmla="*/ 348906 h 2173250"/>
              <a:gd name="connsiteX48" fmla="*/ 305307 w 2427462"/>
              <a:gd name="connsiteY48" fmla="*/ 507906 h 2173250"/>
              <a:gd name="connsiteX49" fmla="*/ 223940 w 2427462"/>
              <a:gd name="connsiteY49" fmla="*/ 610441 h 2173250"/>
              <a:gd name="connsiteX50" fmla="*/ 223940 w 2427462"/>
              <a:gd name="connsiteY50" fmla="*/ 512186 h 2173250"/>
              <a:gd name="connsiteX51" fmla="*/ 152136 w 2427462"/>
              <a:gd name="connsiteY51" fmla="*/ 512186 h 2173250"/>
              <a:gd name="connsiteX52" fmla="*/ 152136 w 2427462"/>
              <a:gd name="connsiteY52" fmla="*/ 722741 h 2173250"/>
              <a:gd name="connsiteX53" fmla="*/ 152912 w 2427462"/>
              <a:gd name="connsiteY53" fmla="*/ 722741 h 2173250"/>
              <a:gd name="connsiteX54" fmla="*/ 0 w 2427462"/>
              <a:gd name="connsiteY54" fmla="*/ 1311527 h 2173250"/>
              <a:gd name="connsiteX55" fmla="*/ 37740 w 2427462"/>
              <a:gd name="connsiteY55" fmla="*/ 1347428 h 2173250"/>
              <a:gd name="connsiteX56" fmla="*/ 73440 w 2427462"/>
              <a:gd name="connsiteY56" fmla="*/ 1315375 h 2173250"/>
              <a:gd name="connsiteX57" fmla="*/ 429210 w 2427462"/>
              <a:gd name="connsiteY57" fmla="*/ 1039565 h 2173250"/>
              <a:gd name="connsiteX58" fmla="*/ 781246 w 2427462"/>
              <a:gd name="connsiteY58" fmla="*/ 1292657 h 2173250"/>
              <a:gd name="connsiteX59" fmla="*/ 816459 w 2427462"/>
              <a:gd name="connsiteY59" fmla="*/ 1321579 h 2173250"/>
              <a:gd name="connsiteX60" fmla="*/ 851671 w 2427462"/>
              <a:gd name="connsiteY60" fmla="*/ 1292657 h 2173250"/>
              <a:gd name="connsiteX61" fmla="*/ 1171281 w 2427462"/>
              <a:gd name="connsiteY61" fmla="*/ 1040800 h 2173250"/>
              <a:gd name="connsiteX62" fmla="*/ 1171281 w 2427462"/>
              <a:gd name="connsiteY62" fmla="*/ 1175158 h 2173250"/>
              <a:gd name="connsiteX63" fmla="*/ 1147414 w 2427462"/>
              <a:gd name="connsiteY63" fmla="*/ 1175158 h 2173250"/>
              <a:gd name="connsiteX64" fmla="*/ 1111512 w 2427462"/>
              <a:gd name="connsiteY64" fmla="*/ 1211060 h 2173250"/>
              <a:gd name="connsiteX65" fmla="*/ 1147414 w 2427462"/>
              <a:gd name="connsiteY65" fmla="*/ 1246961 h 2173250"/>
              <a:gd name="connsiteX66" fmla="*/ 1171281 w 2427462"/>
              <a:gd name="connsiteY66" fmla="*/ 1246961 h 2173250"/>
              <a:gd name="connsiteX67" fmla="*/ 1171281 w 2427462"/>
              <a:gd name="connsiteY67" fmla="*/ 2137320 h 2173250"/>
              <a:gd name="connsiteX68" fmla="*/ 1147414 w 2427462"/>
              <a:gd name="connsiteY68" fmla="*/ 2137320 h 2173250"/>
              <a:gd name="connsiteX69" fmla="*/ 1311814 w 2427462"/>
              <a:gd name="connsiteY69" fmla="*/ 2173250 h 2173250"/>
              <a:gd name="connsiteX70" fmla="*/ 1275912 w 2427462"/>
              <a:gd name="connsiteY70" fmla="*/ 2137349 h 2173250"/>
              <a:gd name="connsiteX71" fmla="*/ 1243084 w 2427462"/>
              <a:gd name="connsiteY71" fmla="*/ 2137349 h 2173250"/>
              <a:gd name="connsiteX72" fmla="*/ 1243084 w 2427462"/>
              <a:gd name="connsiteY72" fmla="*/ 1246990 h 2173250"/>
              <a:gd name="connsiteX73" fmla="*/ 1275912 w 2427462"/>
              <a:gd name="connsiteY73" fmla="*/ 1246990 h 2173250"/>
              <a:gd name="connsiteX74" fmla="*/ 1311814 w 2427462"/>
              <a:gd name="connsiteY74" fmla="*/ 1211089 h 2173250"/>
              <a:gd name="connsiteX75" fmla="*/ 1275912 w 2427462"/>
              <a:gd name="connsiteY75" fmla="*/ 1175187 h 2173250"/>
              <a:gd name="connsiteX76" fmla="*/ 1243084 w 2427462"/>
              <a:gd name="connsiteY76" fmla="*/ 1175187 h 2173250"/>
              <a:gd name="connsiteX77" fmla="*/ 1243084 w 2427462"/>
              <a:gd name="connsiteY77" fmla="*/ 1041576 h 2173250"/>
              <a:gd name="connsiteX78" fmla="*/ 1559449 w 2427462"/>
              <a:gd name="connsiteY78" fmla="*/ 1315404 h 2173250"/>
              <a:gd name="connsiteX79" fmla="*/ 1595149 w 2427462"/>
              <a:gd name="connsiteY79" fmla="*/ 1347457 h 2173250"/>
              <a:gd name="connsiteX80" fmla="*/ 1606207 w 2427462"/>
              <a:gd name="connsiteY80" fmla="*/ 1347457 h 2173250"/>
              <a:gd name="connsiteX81" fmla="*/ 1641907 w 2427462"/>
              <a:gd name="connsiteY81" fmla="*/ 1315404 h 2173250"/>
              <a:gd name="connsiteX82" fmla="*/ 1997706 w 2427462"/>
              <a:gd name="connsiteY82" fmla="*/ 1039594 h 2173250"/>
              <a:gd name="connsiteX83" fmla="*/ 2353447 w 2427462"/>
              <a:gd name="connsiteY83" fmla="*/ 1315404 h 2173250"/>
              <a:gd name="connsiteX84" fmla="*/ 2389148 w 2427462"/>
              <a:gd name="connsiteY84" fmla="*/ 1347457 h 2173250"/>
              <a:gd name="connsiteX85" fmla="*/ 2390986 w 2427462"/>
              <a:gd name="connsiteY85" fmla="*/ 1347457 h 2173250"/>
              <a:gd name="connsiteX86" fmla="*/ 2391560 w 2427462"/>
              <a:gd name="connsiteY86" fmla="*/ 1347457 h 2173250"/>
              <a:gd name="connsiteX87" fmla="*/ 2427462 w 2427462"/>
              <a:gd name="connsiteY87" fmla="*/ 1311556 h 2173250"/>
              <a:gd name="connsiteX88" fmla="*/ 2426859 w 2427462"/>
              <a:gd name="connsiteY88" fmla="*/ 1305036 h 2173250"/>
              <a:gd name="connsiteX89" fmla="*/ 88978 w 2427462"/>
              <a:gd name="connsiteY89" fmla="*/ 1113465 h 2173250"/>
              <a:gd name="connsiteX90" fmla="*/ 920889 w 2427462"/>
              <a:gd name="connsiteY90" fmla="*/ 208057 h 2173250"/>
              <a:gd name="connsiteX91" fmla="*/ 393050 w 2427462"/>
              <a:gd name="connsiteY91" fmla="*/ 969629 h 2173250"/>
              <a:gd name="connsiteX92" fmla="*/ 88978 w 2427462"/>
              <a:gd name="connsiteY92" fmla="*/ 1113465 h 2173250"/>
              <a:gd name="connsiteX93" fmla="*/ 467237 w 2427462"/>
              <a:gd name="connsiteY93" fmla="*/ 969399 h 2173250"/>
              <a:gd name="connsiteX94" fmla="*/ 1122800 w 2427462"/>
              <a:gd name="connsiteY94" fmla="*/ 201077 h 2173250"/>
              <a:gd name="connsiteX95" fmla="*/ 790409 w 2427462"/>
              <a:gd name="connsiteY95" fmla="*/ 1140635 h 2173250"/>
              <a:gd name="connsiteX96" fmla="*/ 467237 w 2427462"/>
              <a:gd name="connsiteY96" fmla="*/ 969399 h 2173250"/>
              <a:gd name="connsiteX97" fmla="*/ 863217 w 2427462"/>
              <a:gd name="connsiteY97" fmla="*/ 1114556 h 2173250"/>
              <a:gd name="connsiteX98" fmla="*/ 1171281 w 2427462"/>
              <a:gd name="connsiteY98" fmla="*/ 255418 h 2173250"/>
              <a:gd name="connsiteX99" fmla="*/ 1171281 w 2427462"/>
              <a:gd name="connsiteY99" fmla="*/ 968882 h 2173250"/>
              <a:gd name="connsiteX100" fmla="*/ 863217 w 2427462"/>
              <a:gd name="connsiteY100" fmla="*/ 1114556 h 2173250"/>
              <a:gd name="connsiteX101" fmla="*/ 1243084 w 2427462"/>
              <a:gd name="connsiteY101" fmla="*/ 969514 h 2173250"/>
              <a:gd name="connsiteX102" fmla="*/ 1243084 w 2427462"/>
              <a:gd name="connsiteY102" fmla="*/ 244849 h 2173250"/>
              <a:gd name="connsiteX103" fmla="*/ 1560368 w 2427462"/>
              <a:gd name="connsiteY103" fmla="*/ 1133886 h 2173250"/>
              <a:gd name="connsiteX104" fmla="*/ 1243084 w 2427462"/>
              <a:gd name="connsiteY104" fmla="*/ 969514 h 2173250"/>
              <a:gd name="connsiteX105" fmla="*/ 1632659 w 2427462"/>
              <a:gd name="connsiteY105" fmla="*/ 1145173 h 2173250"/>
              <a:gd name="connsiteX106" fmla="*/ 1300096 w 2427462"/>
              <a:gd name="connsiteY106" fmla="*/ 201077 h 2173250"/>
              <a:gd name="connsiteX107" fmla="*/ 1955744 w 2427462"/>
              <a:gd name="connsiteY107" fmla="*/ 969773 h 2173250"/>
              <a:gd name="connsiteX108" fmla="*/ 1632659 w 2427462"/>
              <a:gd name="connsiteY108" fmla="*/ 1145173 h 2173250"/>
              <a:gd name="connsiteX109" fmla="*/ 2029759 w 2427462"/>
              <a:gd name="connsiteY109" fmla="*/ 969428 h 2173250"/>
              <a:gd name="connsiteX110" fmla="*/ 1498789 w 2427462"/>
              <a:gd name="connsiteY110" fmla="*/ 206247 h 2173250"/>
              <a:gd name="connsiteX111" fmla="*/ 2337909 w 2427462"/>
              <a:gd name="connsiteY111" fmla="*/ 1113465 h 2173250"/>
              <a:gd name="connsiteX112" fmla="*/ 2029759 w 2427462"/>
              <a:gd name="connsiteY112" fmla="*/ 969428 h 2173250"/>
              <a:gd name="connsiteX0" fmla="*/ 2426859 w 2427462"/>
              <a:gd name="connsiteY0" fmla="*/ 1305036 h 2173250"/>
              <a:gd name="connsiteX1" fmla="*/ 2275440 w 2427462"/>
              <a:gd name="connsiteY1" fmla="*/ 725154 h 2173250"/>
              <a:gd name="connsiteX2" fmla="*/ 2275440 w 2427462"/>
              <a:gd name="connsiteY2" fmla="*/ 516753 h 2173250"/>
              <a:gd name="connsiteX3" fmla="*/ 2203637 w 2427462"/>
              <a:gd name="connsiteY3" fmla="*/ 516753 h 2173250"/>
              <a:gd name="connsiteX4" fmla="*/ 2203637 w 2427462"/>
              <a:gd name="connsiteY4" fmla="*/ 611418 h 2173250"/>
              <a:gd name="connsiteX5" fmla="*/ 2122988 w 2427462"/>
              <a:gd name="connsiteY5" fmla="*/ 509601 h 2173250"/>
              <a:gd name="connsiteX6" fmla="*/ 2122988 w 2427462"/>
              <a:gd name="connsiteY6" fmla="*/ 353444 h 2173250"/>
              <a:gd name="connsiteX7" fmla="*/ 2051185 w 2427462"/>
              <a:gd name="connsiteY7" fmla="*/ 353444 h 2173250"/>
              <a:gd name="connsiteX8" fmla="*/ 2051185 w 2427462"/>
              <a:gd name="connsiteY8" fmla="*/ 434897 h 2173250"/>
              <a:gd name="connsiteX9" fmla="*/ 1956204 w 2427462"/>
              <a:gd name="connsiteY9" fmla="*/ 352984 h 2173250"/>
              <a:gd name="connsiteX10" fmla="*/ 1956204 w 2427462"/>
              <a:gd name="connsiteY10" fmla="*/ 224715 h 2173250"/>
              <a:gd name="connsiteX11" fmla="*/ 1884401 w 2427462"/>
              <a:gd name="connsiteY11" fmla="*/ 224715 h 2173250"/>
              <a:gd name="connsiteX12" fmla="*/ 1884401 w 2427462"/>
              <a:gd name="connsiteY12" fmla="*/ 301027 h 2173250"/>
              <a:gd name="connsiteX13" fmla="*/ 1814350 w 2427462"/>
              <a:gd name="connsiteY13" fmla="*/ 257945 h 2173250"/>
              <a:gd name="connsiteX14" fmla="*/ 1814350 w 2427462"/>
              <a:gd name="connsiteY14" fmla="*/ 172040 h 2173250"/>
              <a:gd name="connsiteX15" fmla="*/ 1742546 w 2427462"/>
              <a:gd name="connsiteY15" fmla="*/ 172040 h 2173250"/>
              <a:gd name="connsiteX16" fmla="*/ 1742546 w 2427462"/>
              <a:gd name="connsiteY16" fmla="*/ 219717 h 2173250"/>
              <a:gd name="connsiteX17" fmla="*/ 1684616 w 2427462"/>
              <a:gd name="connsiteY17" fmla="*/ 193294 h 2173250"/>
              <a:gd name="connsiteX18" fmla="*/ 1684616 w 2427462"/>
              <a:gd name="connsiteY18" fmla="*/ 138465 h 2173250"/>
              <a:gd name="connsiteX19" fmla="*/ 1612813 w 2427462"/>
              <a:gd name="connsiteY19" fmla="*/ 138465 h 2173250"/>
              <a:gd name="connsiteX20" fmla="*/ 1612813 w 2427462"/>
              <a:gd name="connsiteY20" fmla="*/ 165894 h 2173250"/>
              <a:gd name="connsiteX21" fmla="*/ 1543795 w 2427462"/>
              <a:gd name="connsiteY21" fmla="*/ 144152 h 2173250"/>
              <a:gd name="connsiteX22" fmla="*/ 1543795 w 2427462"/>
              <a:gd name="connsiteY22" fmla="*/ 4509 h 2173250"/>
              <a:gd name="connsiteX23" fmla="*/ 1471992 w 2427462"/>
              <a:gd name="connsiteY23" fmla="*/ 4509 h 2173250"/>
              <a:gd name="connsiteX24" fmla="*/ 1471992 w 2427462"/>
              <a:gd name="connsiteY24" fmla="*/ 126058 h 2173250"/>
              <a:gd name="connsiteX25" fmla="*/ 1243084 w 2427462"/>
              <a:gd name="connsiteY25" fmla="*/ 98801 h 2173250"/>
              <a:gd name="connsiteX26" fmla="*/ 1243084 w 2427462"/>
              <a:gd name="connsiteY26" fmla="*/ 0 h 2173250"/>
              <a:gd name="connsiteX27" fmla="*/ 1171281 w 2427462"/>
              <a:gd name="connsiteY27" fmla="*/ 0 h 2173250"/>
              <a:gd name="connsiteX28" fmla="*/ 1171281 w 2427462"/>
              <a:gd name="connsiteY28" fmla="*/ 99117 h 2173250"/>
              <a:gd name="connsiteX29" fmla="*/ 958973 w 2427462"/>
              <a:gd name="connsiteY29" fmla="*/ 125110 h 2173250"/>
              <a:gd name="connsiteX30" fmla="*/ 958973 w 2427462"/>
              <a:gd name="connsiteY30" fmla="*/ 0 h 2173250"/>
              <a:gd name="connsiteX31" fmla="*/ 887170 w 2427462"/>
              <a:gd name="connsiteY31" fmla="*/ 0 h 2173250"/>
              <a:gd name="connsiteX32" fmla="*/ 887170 w 2427462"/>
              <a:gd name="connsiteY32" fmla="*/ 142974 h 2173250"/>
              <a:gd name="connsiteX33" fmla="*/ 817493 w 2427462"/>
              <a:gd name="connsiteY33" fmla="*/ 164745 h 2173250"/>
              <a:gd name="connsiteX34" fmla="*/ 817493 w 2427462"/>
              <a:gd name="connsiteY34" fmla="*/ 133956 h 2173250"/>
              <a:gd name="connsiteX35" fmla="*/ 745690 w 2427462"/>
              <a:gd name="connsiteY35" fmla="*/ 133956 h 2173250"/>
              <a:gd name="connsiteX36" fmla="*/ 745690 w 2427462"/>
              <a:gd name="connsiteY36" fmla="*/ 191944 h 2173250"/>
              <a:gd name="connsiteX37" fmla="*/ 687156 w 2427462"/>
              <a:gd name="connsiteY37" fmla="*/ 218253 h 2173250"/>
              <a:gd name="connsiteX38" fmla="*/ 687156 w 2427462"/>
              <a:gd name="connsiteY38" fmla="*/ 167560 h 2173250"/>
              <a:gd name="connsiteX39" fmla="*/ 615353 w 2427462"/>
              <a:gd name="connsiteY39" fmla="*/ 167560 h 2173250"/>
              <a:gd name="connsiteX40" fmla="*/ 615353 w 2427462"/>
              <a:gd name="connsiteY40" fmla="*/ 256337 h 2173250"/>
              <a:gd name="connsiteX41" fmla="*/ 544641 w 2427462"/>
              <a:gd name="connsiteY41" fmla="*/ 299706 h 2173250"/>
              <a:gd name="connsiteX42" fmla="*/ 544641 w 2427462"/>
              <a:gd name="connsiteY42" fmla="*/ 220206 h 2173250"/>
              <a:gd name="connsiteX43" fmla="*/ 472838 w 2427462"/>
              <a:gd name="connsiteY43" fmla="*/ 220206 h 2173250"/>
              <a:gd name="connsiteX44" fmla="*/ 472838 w 2427462"/>
              <a:gd name="connsiteY44" fmla="*/ 351261 h 2173250"/>
              <a:gd name="connsiteX45" fmla="*/ 377110 w 2427462"/>
              <a:gd name="connsiteY45" fmla="*/ 433547 h 2173250"/>
              <a:gd name="connsiteX46" fmla="*/ 377110 w 2427462"/>
              <a:gd name="connsiteY46" fmla="*/ 348906 h 2173250"/>
              <a:gd name="connsiteX47" fmla="*/ 305307 w 2427462"/>
              <a:gd name="connsiteY47" fmla="*/ 348906 h 2173250"/>
              <a:gd name="connsiteX48" fmla="*/ 305307 w 2427462"/>
              <a:gd name="connsiteY48" fmla="*/ 507906 h 2173250"/>
              <a:gd name="connsiteX49" fmla="*/ 223940 w 2427462"/>
              <a:gd name="connsiteY49" fmla="*/ 610441 h 2173250"/>
              <a:gd name="connsiteX50" fmla="*/ 223940 w 2427462"/>
              <a:gd name="connsiteY50" fmla="*/ 512186 h 2173250"/>
              <a:gd name="connsiteX51" fmla="*/ 152136 w 2427462"/>
              <a:gd name="connsiteY51" fmla="*/ 512186 h 2173250"/>
              <a:gd name="connsiteX52" fmla="*/ 152136 w 2427462"/>
              <a:gd name="connsiteY52" fmla="*/ 722741 h 2173250"/>
              <a:gd name="connsiteX53" fmla="*/ 152912 w 2427462"/>
              <a:gd name="connsiteY53" fmla="*/ 722741 h 2173250"/>
              <a:gd name="connsiteX54" fmla="*/ 0 w 2427462"/>
              <a:gd name="connsiteY54" fmla="*/ 1311527 h 2173250"/>
              <a:gd name="connsiteX55" fmla="*/ 37740 w 2427462"/>
              <a:gd name="connsiteY55" fmla="*/ 1347428 h 2173250"/>
              <a:gd name="connsiteX56" fmla="*/ 73440 w 2427462"/>
              <a:gd name="connsiteY56" fmla="*/ 1315375 h 2173250"/>
              <a:gd name="connsiteX57" fmla="*/ 429210 w 2427462"/>
              <a:gd name="connsiteY57" fmla="*/ 1039565 h 2173250"/>
              <a:gd name="connsiteX58" fmla="*/ 781246 w 2427462"/>
              <a:gd name="connsiteY58" fmla="*/ 1292657 h 2173250"/>
              <a:gd name="connsiteX59" fmla="*/ 816459 w 2427462"/>
              <a:gd name="connsiteY59" fmla="*/ 1321579 h 2173250"/>
              <a:gd name="connsiteX60" fmla="*/ 851671 w 2427462"/>
              <a:gd name="connsiteY60" fmla="*/ 1292657 h 2173250"/>
              <a:gd name="connsiteX61" fmla="*/ 1171281 w 2427462"/>
              <a:gd name="connsiteY61" fmla="*/ 1040800 h 2173250"/>
              <a:gd name="connsiteX62" fmla="*/ 1171281 w 2427462"/>
              <a:gd name="connsiteY62" fmla="*/ 1175158 h 2173250"/>
              <a:gd name="connsiteX63" fmla="*/ 1147414 w 2427462"/>
              <a:gd name="connsiteY63" fmla="*/ 1175158 h 2173250"/>
              <a:gd name="connsiteX64" fmla="*/ 1111512 w 2427462"/>
              <a:gd name="connsiteY64" fmla="*/ 1211060 h 2173250"/>
              <a:gd name="connsiteX65" fmla="*/ 1147414 w 2427462"/>
              <a:gd name="connsiteY65" fmla="*/ 1246961 h 2173250"/>
              <a:gd name="connsiteX66" fmla="*/ 1171281 w 2427462"/>
              <a:gd name="connsiteY66" fmla="*/ 1246961 h 2173250"/>
              <a:gd name="connsiteX67" fmla="*/ 1171281 w 2427462"/>
              <a:gd name="connsiteY67" fmla="*/ 2137320 h 2173250"/>
              <a:gd name="connsiteX68" fmla="*/ 1147414 w 2427462"/>
              <a:gd name="connsiteY68" fmla="*/ 2137320 h 2173250"/>
              <a:gd name="connsiteX69" fmla="*/ 1311814 w 2427462"/>
              <a:gd name="connsiteY69" fmla="*/ 2173250 h 2173250"/>
              <a:gd name="connsiteX70" fmla="*/ 1275912 w 2427462"/>
              <a:gd name="connsiteY70" fmla="*/ 2137349 h 2173250"/>
              <a:gd name="connsiteX71" fmla="*/ 1243084 w 2427462"/>
              <a:gd name="connsiteY71" fmla="*/ 1246990 h 2173250"/>
              <a:gd name="connsiteX72" fmla="*/ 1275912 w 2427462"/>
              <a:gd name="connsiteY72" fmla="*/ 1246990 h 2173250"/>
              <a:gd name="connsiteX73" fmla="*/ 1311814 w 2427462"/>
              <a:gd name="connsiteY73" fmla="*/ 1211089 h 2173250"/>
              <a:gd name="connsiteX74" fmla="*/ 1275912 w 2427462"/>
              <a:gd name="connsiteY74" fmla="*/ 1175187 h 2173250"/>
              <a:gd name="connsiteX75" fmla="*/ 1243084 w 2427462"/>
              <a:gd name="connsiteY75" fmla="*/ 1175187 h 2173250"/>
              <a:gd name="connsiteX76" fmla="*/ 1243084 w 2427462"/>
              <a:gd name="connsiteY76" fmla="*/ 1041576 h 2173250"/>
              <a:gd name="connsiteX77" fmla="*/ 1559449 w 2427462"/>
              <a:gd name="connsiteY77" fmla="*/ 1315404 h 2173250"/>
              <a:gd name="connsiteX78" fmla="*/ 1595149 w 2427462"/>
              <a:gd name="connsiteY78" fmla="*/ 1347457 h 2173250"/>
              <a:gd name="connsiteX79" fmla="*/ 1606207 w 2427462"/>
              <a:gd name="connsiteY79" fmla="*/ 1347457 h 2173250"/>
              <a:gd name="connsiteX80" fmla="*/ 1641907 w 2427462"/>
              <a:gd name="connsiteY80" fmla="*/ 1315404 h 2173250"/>
              <a:gd name="connsiteX81" fmla="*/ 1997706 w 2427462"/>
              <a:gd name="connsiteY81" fmla="*/ 1039594 h 2173250"/>
              <a:gd name="connsiteX82" fmla="*/ 2353447 w 2427462"/>
              <a:gd name="connsiteY82" fmla="*/ 1315404 h 2173250"/>
              <a:gd name="connsiteX83" fmla="*/ 2389148 w 2427462"/>
              <a:gd name="connsiteY83" fmla="*/ 1347457 h 2173250"/>
              <a:gd name="connsiteX84" fmla="*/ 2390986 w 2427462"/>
              <a:gd name="connsiteY84" fmla="*/ 1347457 h 2173250"/>
              <a:gd name="connsiteX85" fmla="*/ 2391560 w 2427462"/>
              <a:gd name="connsiteY85" fmla="*/ 1347457 h 2173250"/>
              <a:gd name="connsiteX86" fmla="*/ 2427462 w 2427462"/>
              <a:gd name="connsiteY86" fmla="*/ 1311556 h 2173250"/>
              <a:gd name="connsiteX87" fmla="*/ 2426859 w 2427462"/>
              <a:gd name="connsiteY87" fmla="*/ 1305036 h 2173250"/>
              <a:gd name="connsiteX88" fmla="*/ 88978 w 2427462"/>
              <a:gd name="connsiteY88" fmla="*/ 1113465 h 2173250"/>
              <a:gd name="connsiteX89" fmla="*/ 920889 w 2427462"/>
              <a:gd name="connsiteY89" fmla="*/ 208057 h 2173250"/>
              <a:gd name="connsiteX90" fmla="*/ 393050 w 2427462"/>
              <a:gd name="connsiteY90" fmla="*/ 969629 h 2173250"/>
              <a:gd name="connsiteX91" fmla="*/ 88978 w 2427462"/>
              <a:gd name="connsiteY91" fmla="*/ 1113465 h 2173250"/>
              <a:gd name="connsiteX92" fmla="*/ 467237 w 2427462"/>
              <a:gd name="connsiteY92" fmla="*/ 969399 h 2173250"/>
              <a:gd name="connsiteX93" fmla="*/ 1122800 w 2427462"/>
              <a:gd name="connsiteY93" fmla="*/ 201077 h 2173250"/>
              <a:gd name="connsiteX94" fmla="*/ 790409 w 2427462"/>
              <a:gd name="connsiteY94" fmla="*/ 1140635 h 2173250"/>
              <a:gd name="connsiteX95" fmla="*/ 467237 w 2427462"/>
              <a:gd name="connsiteY95" fmla="*/ 969399 h 2173250"/>
              <a:gd name="connsiteX96" fmla="*/ 863217 w 2427462"/>
              <a:gd name="connsiteY96" fmla="*/ 1114556 h 2173250"/>
              <a:gd name="connsiteX97" fmla="*/ 1171281 w 2427462"/>
              <a:gd name="connsiteY97" fmla="*/ 255418 h 2173250"/>
              <a:gd name="connsiteX98" fmla="*/ 1171281 w 2427462"/>
              <a:gd name="connsiteY98" fmla="*/ 968882 h 2173250"/>
              <a:gd name="connsiteX99" fmla="*/ 863217 w 2427462"/>
              <a:gd name="connsiteY99" fmla="*/ 1114556 h 2173250"/>
              <a:gd name="connsiteX100" fmla="*/ 1243084 w 2427462"/>
              <a:gd name="connsiteY100" fmla="*/ 969514 h 2173250"/>
              <a:gd name="connsiteX101" fmla="*/ 1243084 w 2427462"/>
              <a:gd name="connsiteY101" fmla="*/ 244849 h 2173250"/>
              <a:gd name="connsiteX102" fmla="*/ 1560368 w 2427462"/>
              <a:gd name="connsiteY102" fmla="*/ 1133886 h 2173250"/>
              <a:gd name="connsiteX103" fmla="*/ 1243084 w 2427462"/>
              <a:gd name="connsiteY103" fmla="*/ 969514 h 2173250"/>
              <a:gd name="connsiteX104" fmla="*/ 1632659 w 2427462"/>
              <a:gd name="connsiteY104" fmla="*/ 1145173 h 2173250"/>
              <a:gd name="connsiteX105" fmla="*/ 1300096 w 2427462"/>
              <a:gd name="connsiteY105" fmla="*/ 201077 h 2173250"/>
              <a:gd name="connsiteX106" fmla="*/ 1955744 w 2427462"/>
              <a:gd name="connsiteY106" fmla="*/ 969773 h 2173250"/>
              <a:gd name="connsiteX107" fmla="*/ 1632659 w 2427462"/>
              <a:gd name="connsiteY107" fmla="*/ 1145173 h 2173250"/>
              <a:gd name="connsiteX108" fmla="*/ 2029759 w 2427462"/>
              <a:gd name="connsiteY108" fmla="*/ 969428 h 2173250"/>
              <a:gd name="connsiteX109" fmla="*/ 1498789 w 2427462"/>
              <a:gd name="connsiteY109" fmla="*/ 206247 h 2173250"/>
              <a:gd name="connsiteX110" fmla="*/ 2337909 w 2427462"/>
              <a:gd name="connsiteY110" fmla="*/ 1113465 h 2173250"/>
              <a:gd name="connsiteX111" fmla="*/ 2029759 w 2427462"/>
              <a:gd name="connsiteY111" fmla="*/ 969428 h 2173250"/>
              <a:gd name="connsiteX0" fmla="*/ 2426859 w 2427462"/>
              <a:gd name="connsiteY0" fmla="*/ 1305036 h 2173250"/>
              <a:gd name="connsiteX1" fmla="*/ 2275440 w 2427462"/>
              <a:gd name="connsiteY1" fmla="*/ 725154 h 2173250"/>
              <a:gd name="connsiteX2" fmla="*/ 2275440 w 2427462"/>
              <a:gd name="connsiteY2" fmla="*/ 516753 h 2173250"/>
              <a:gd name="connsiteX3" fmla="*/ 2203637 w 2427462"/>
              <a:gd name="connsiteY3" fmla="*/ 516753 h 2173250"/>
              <a:gd name="connsiteX4" fmla="*/ 2203637 w 2427462"/>
              <a:gd name="connsiteY4" fmla="*/ 611418 h 2173250"/>
              <a:gd name="connsiteX5" fmla="*/ 2122988 w 2427462"/>
              <a:gd name="connsiteY5" fmla="*/ 509601 h 2173250"/>
              <a:gd name="connsiteX6" fmla="*/ 2122988 w 2427462"/>
              <a:gd name="connsiteY6" fmla="*/ 353444 h 2173250"/>
              <a:gd name="connsiteX7" fmla="*/ 2051185 w 2427462"/>
              <a:gd name="connsiteY7" fmla="*/ 353444 h 2173250"/>
              <a:gd name="connsiteX8" fmla="*/ 2051185 w 2427462"/>
              <a:gd name="connsiteY8" fmla="*/ 434897 h 2173250"/>
              <a:gd name="connsiteX9" fmla="*/ 1956204 w 2427462"/>
              <a:gd name="connsiteY9" fmla="*/ 352984 h 2173250"/>
              <a:gd name="connsiteX10" fmla="*/ 1956204 w 2427462"/>
              <a:gd name="connsiteY10" fmla="*/ 224715 h 2173250"/>
              <a:gd name="connsiteX11" fmla="*/ 1884401 w 2427462"/>
              <a:gd name="connsiteY11" fmla="*/ 224715 h 2173250"/>
              <a:gd name="connsiteX12" fmla="*/ 1884401 w 2427462"/>
              <a:gd name="connsiteY12" fmla="*/ 301027 h 2173250"/>
              <a:gd name="connsiteX13" fmla="*/ 1814350 w 2427462"/>
              <a:gd name="connsiteY13" fmla="*/ 257945 h 2173250"/>
              <a:gd name="connsiteX14" fmla="*/ 1814350 w 2427462"/>
              <a:gd name="connsiteY14" fmla="*/ 172040 h 2173250"/>
              <a:gd name="connsiteX15" fmla="*/ 1742546 w 2427462"/>
              <a:gd name="connsiteY15" fmla="*/ 172040 h 2173250"/>
              <a:gd name="connsiteX16" fmla="*/ 1742546 w 2427462"/>
              <a:gd name="connsiteY16" fmla="*/ 219717 h 2173250"/>
              <a:gd name="connsiteX17" fmla="*/ 1684616 w 2427462"/>
              <a:gd name="connsiteY17" fmla="*/ 193294 h 2173250"/>
              <a:gd name="connsiteX18" fmla="*/ 1684616 w 2427462"/>
              <a:gd name="connsiteY18" fmla="*/ 138465 h 2173250"/>
              <a:gd name="connsiteX19" fmla="*/ 1612813 w 2427462"/>
              <a:gd name="connsiteY19" fmla="*/ 138465 h 2173250"/>
              <a:gd name="connsiteX20" fmla="*/ 1612813 w 2427462"/>
              <a:gd name="connsiteY20" fmla="*/ 165894 h 2173250"/>
              <a:gd name="connsiteX21" fmla="*/ 1543795 w 2427462"/>
              <a:gd name="connsiteY21" fmla="*/ 144152 h 2173250"/>
              <a:gd name="connsiteX22" fmla="*/ 1543795 w 2427462"/>
              <a:gd name="connsiteY22" fmla="*/ 4509 h 2173250"/>
              <a:gd name="connsiteX23" fmla="*/ 1471992 w 2427462"/>
              <a:gd name="connsiteY23" fmla="*/ 4509 h 2173250"/>
              <a:gd name="connsiteX24" fmla="*/ 1471992 w 2427462"/>
              <a:gd name="connsiteY24" fmla="*/ 126058 h 2173250"/>
              <a:gd name="connsiteX25" fmla="*/ 1243084 w 2427462"/>
              <a:gd name="connsiteY25" fmla="*/ 98801 h 2173250"/>
              <a:gd name="connsiteX26" fmla="*/ 1243084 w 2427462"/>
              <a:gd name="connsiteY26" fmla="*/ 0 h 2173250"/>
              <a:gd name="connsiteX27" fmla="*/ 1171281 w 2427462"/>
              <a:gd name="connsiteY27" fmla="*/ 0 h 2173250"/>
              <a:gd name="connsiteX28" fmla="*/ 1171281 w 2427462"/>
              <a:gd name="connsiteY28" fmla="*/ 99117 h 2173250"/>
              <a:gd name="connsiteX29" fmla="*/ 958973 w 2427462"/>
              <a:gd name="connsiteY29" fmla="*/ 125110 h 2173250"/>
              <a:gd name="connsiteX30" fmla="*/ 958973 w 2427462"/>
              <a:gd name="connsiteY30" fmla="*/ 0 h 2173250"/>
              <a:gd name="connsiteX31" fmla="*/ 887170 w 2427462"/>
              <a:gd name="connsiteY31" fmla="*/ 0 h 2173250"/>
              <a:gd name="connsiteX32" fmla="*/ 887170 w 2427462"/>
              <a:gd name="connsiteY32" fmla="*/ 142974 h 2173250"/>
              <a:gd name="connsiteX33" fmla="*/ 817493 w 2427462"/>
              <a:gd name="connsiteY33" fmla="*/ 164745 h 2173250"/>
              <a:gd name="connsiteX34" fmla="*/ 817493 w 2427462"/>
              <a:gd name="connsiteY34" fmla="*/ 133956 h 2173250"/>
              <a:gd name="connsiteX35" fmla="*/ 745690 w 2427462"/>
              <a:gd name="connsiteY35" fmla="*/ 133956 h 2173250"/>
              <a:gd name="connsiteX36" fmla="*/ 745690 w 2427462"/>
              <a:gd name="connsiteY36" fmla="*/ 191944 h 2173250"/>
              <a:gd name="connsiteX37" fmla="*/ 687156 w 2427462"/>
              <a:gd name="connsiteY37" fmla="*/ 218253 h 2173250"/>
              <a:gd name="connsiteX38" fmla="*/ 687156 w 2427462"/>
              <a:gd name="connsiteY38" fmla="*/ 167560 h 2173250"/>
              <a:gd name="connsiteX39" fmla="*/ 615353 w 2427462"/>
              <a:gd name="connsiteY39" fmla="*/ 167560 h 2173250"/>
              <a:gd name="connsiteX40" fmla="*/ 615353 w 2427462"/>
              <a:gd name="connsiteY40" fmla="*/ 256337 h 2173250"/>
              <a:gd name="connsiteX41" fmla="*/ 544641 w 2427462"/>
              <a:gd name="connsiteY41" fmla="*/ 299706 h 2173250"/>
              <a:gd name="connsiteX42" fmla="*/ 544641 w 2427462"/>
              <a:gd name="connsiteY42" fmla="*/ 220206 h 2173250"/>
              <a:gd name="connsiteX43" fmla="*/ 472838 w 2427462"/>
              <a:gd name="connsiteY43" fmla="*/ 220206 h 2173250"/>
              <a:gd name="connsiteX44" fmla="*/ 472838 w 2427462"/>
              <a:gd name="connsiteY44" fmla="*/ 351261 h 2173250"/>
              <a:gd name="connsiteX45" fmla="*/ 377110 w 2427462"/>
              <a:gd name="connsiteY45" fmla="*/ 433547 h 2173250"/>
              <a:gd name="connsiteX46" fmla="*/ 377110 w 2427462"/>
              <a:gd name="connsiteY46" fmla="*/ 348906 h 2173250"/>
              <a:gd name="connsiteX47" fmla="*/ 305307 w 2427462"/>
              <a:gd name="connsiteY47" fmla="*/ 348906 h 2173250"/>
              <a:gd name="connsiteX48" fmla="*/ 305307 w 2427462"/>
              <a:gd name="connsiteY48" fmla="*/ 507906 h 2173250"/>
              <a:gd name="connsiteX49" fmla="*/ 223940 w 2427462"/>
              <a:gd name="connsiteY49" fmla="*/ 610441 h 2173250"/>
              <a:gd name="connsiteX50" fmla="*/ 223940 w 2427462"/>
              <a:gd name="connsiteY50" fmla="*/ 512186 h 2173250"/>
              <a:gd name="connsiteX51" fmla="*/ 152136 w 2427462"/>
              <a:gd name="connsiteY51" fmla="*/ 512186 h 2173250"/>
              <a:gd name="connsiteX52" fmla="*/ 152136 w 2427462"/>
              <a:gd name="connsiteY52" fmla="*/ 722741 h 2173250"/>
              <a:gd name="connsiteX53" fmla="*/ 152912 w 2427462"/>
              <a:gd name="connsiteY53" fmla="*/ 722741 h 2173250"/>
              <a:gd name="connsiteX54" fmla="*/ 0 w 2427462"/>
              <a:gd name="connsiteY54" fmla="*/ 1311527 h 2173250"/>
              <a:gd name="connsiteX55" fmla="*/ 37740 w 2427462"/>
              <a:gd name="connsiteY55" fmla="*/ 1347428 h 2173250"/>
              <a:gd name="connsiteX56" fmla="*/ 73440 w 2427462"/>
              <a:gd name="connsiteY56" fmla="*/ 1315375 h 2173250"/>
              <a:gd name="connsiteX57" fmla="*/ 429210 w 2427462"/>
              <a:gd name="connsiteY57" fmla="*/ 1039565 h 2173250"/>
              <a:gd name="connsiteX58" fmla="*/ 781246 w 2427462"/>
              <a:gd name="connsiteY58" fmla="*/ 1292657 h 2173250"/>
              <a:gd name="connsiteX59" fmla="*/ 816459 w 2427462"/>
              <a:gd name="connsiteY59" fmla="*/ 1321579 h 2173250"/>
              <a:gd name="connsiteX60" fmla="*/ 851671 w 2427462"/>
              <a:gd name="connsiteY60" fmla="*/ 1292657 h 2173250"/>
              <a:gd name="connsiteX61" fmla="*/ 1171281 w 2427462"/>
              <a:gd name="connsiteY61" fmla="*/ 1040800 h 2173250"/>
              <a:gd name="connsiteX62" fmla="*/ 1171281 w 2427462"/>
              <a:gd name="connsiteY62" fmla="*/ 1175158 h 2173250"/>
              <a:gd name="connsiteX63" fmla="*/ 1147414 w 2427462"/>
              <a:gd name="connsiteY63" fmla="*/ 1175158 h 2173250"/>
              <a:gd name="connsiteX64" fmla="*/ 1111512 w 2427462"/>
              <a:gd name="connsiteY64" fmla="*/ 1211060 h 2173250"/>
              <a:gd name="connsiteX65" fmla="*/ 1147414 w 2427462"/>
              <a:gd name="connsiteY65" fmla="*/ 1246961 h 2173250"/>
              <a:gd name="connsiteX66" fmla="*/ 1171281 w 2427462"/>
              <a:gd name="connsiteY66" fmla="*/ 1246961 h 2173250"/>
              <a:gd name="connsiteX67" fmla="*/ 1171281 w 2427462"/>
              <a:gd name="connsiteY67" fmla="*/ 2137320 h 2173250"/>
              <a:gd name="connsiteX68" fmla="*/ 1147414 w 2427462"/>
              <a:gd name="connsiteY68" fmla="*/ 2137320 h 2173250"/>
              <a:gd name="connsiteX69" fmla="*/ 1311814 w 2427462"/>
              <a:gd name="connsiteY69" fmla="*/ 2173250 h 2173250"/>
              <a:gd name="connsiteX70" fmla="*/ 1243084 w 2427462"/>
              <a:gd name="connsiteY70" fmla="*/ 1246990 h 2173250"/>
              <a:gd name="connsiteX71" fmla="*/ 1275912 w 2427462"/>
              <a:gd name="connsiteY71" fmla="*/ 1246990 h 2173250"/>
              <a:gd name="connsiteX72" fmla="*/ 1311814 w 2427462"/>
              <a:gd name="connsiteY72" fmla="*/ 1211089 h 2173250"/>
              <a:gd name="connsiteX73" fmla="*/ 1275912 w 2427462"/>
              <a:gd name="connsiteY73" fmla="*/ 1175187 h 2173250"/>
              <a:gd name="connsiteX74" fmla="*/ 1243084 w 2427462"/>
              <a:gd name="connsiteY74" fmla="*/ 1175187 h 2173250"/>
              <a:gd name="connsiteX75" fmla="*/ 1243084 w 2427462"/>
              <a:gd name="connsiteY75" fmla="*/ 1041576 h 2173250"/>
              <a:gd name="connsiteX76" fmla="*/ 1559449 w 2427462"/>
              <a:gd name="connsiteY76" fmla="*/ 1315404 h 2173250"/>
              <a:gd name="connsiteX77" fmla="*/ 1595149 w 2427462"/>
              <a:gd name="connsiteY77" fmla="*/ 1347457 h 2173250"/>
              <a:gd name="connsiteX78" fmla="*/ 1606207 w 2427462"/>
              <a:gd name="connsiteY78" fmla="*/ 1347457 h 2173250"/>
              <a:gd name="connsiteX79" fmla="*/ 1641907 w 2427462"/>
              <a:gd name="connsiteY79" fmla="*/ 1315404 h 2173250"/>
              <a:gd name="connsiteX80" fmla="*/ 1997706 w 2427462"/>
              <a:gd name="connsiteY80" fmla="*/ 1039594 h 2173250"/>
              <a:gd name="connsiteX81" fmla="*/ 2353447 w 2427462"/>
              <a:gd name="connsiteY81" fmla="*/ 1315404 h 2173250"/>
              <a:gd name="connsiteX82" fmla="*/ 2389148 w 2427462"/>
              <a:gd name="connsiteY82" fmla="*/ 1347457 h 2173250"/>
              <a:gd name="connsiteX83" fmla="*/ 2390986 w 2427462"/>
              <a:gd name="connsiteY83" fmla="*/ 1347457 h 2173250"/>
              <a:gd name="connsiteX84" fmla="*/ 2391560 w 2427462"/>
              <a:gd name="connsiteY84" fmla="*/ 1347457 h 2173250"/>
              <a:gd name="connsiteX85" fmla="*/ 2427462 w 2427462"/>
              <a:gd name="connsiteY85" fmla="*/ 1311556 h 2173250"/>
              <a:gd name="connsiteX86" fmla="*/ 2426859 w 2427462"/>
              <a:gd name="connsiteY86" fmla="*/ 1305036 h 2173250"/>
              <a:gd name="connsiteX87" fmla="*/ 88978 w 2427462"/>
              <a:gd name="connsiteY87" fmla="*/ 1113465 h 2173250"/>
              <a:gd name="connsiteX88" fmla="*/ 920889 w 2427462"/>
              <a:gd name="connsiteY88" fmla="*/ 208057 h 2173250"/>
              <a:gd name="connsiteX89" fmla="*/ 393050 w 2427462"/>
              <a:gd name="connsiteY89" fmla="*/ 969629 h 2173250"/>
              <a:gd name="connsiteX90" fmla="*/ 88978 w 2427462"/>
              <a:gd name="connsiteY90" fmla="*/ 1113465 h 2173250"/>
              <a:gd name="connsiteX91" fmla="*/ 467237 w 2427462"/>
              <a:gd name="connsiteY91" fmla="*/ 969399 h 2173250"/>
              <a:gd name="connsiteX92" fmla="*/ 1122800 w 2427462"/>
              <a:gd name="connsiteY92" fmla="*/ 201077 h 2173250"/>
              <a:gd name="connsiteX93" fmla="*/ 790409 w 2427462"/>
              <a:gd name="connsiteY93" fmla="*/ 1140635 h 2173250"/>
              <a:gd name="connsiteX94" fmla="*/ 467237 w 2427462"/>
              <a:gd name="connsiteY94" fmla="*/ 969399 h 2173250"/>
              <a:gd name="connsiteX95" fmla="*/ 863217 w 2427462"/>
              <a:gd name="connsiteY95" fmla="*/ 1114556 h 2173250"/>
              <a:gd name="connsiteX96" fmla="*/ 1171281 w 2427462"/>
              <a:gd name="connsiteY96" fmla="*/ 255418 h 2173250"/>
              <a:gd name="connsiteX97" fmla="*/ 1171281 w 2427462"/>
              <a:gd name="connsiteY97" fmla="*/ 968882 h 2173250"/>
              <a:gd name="connsiteX98" fmla="*/ 863217 w 2427462"/>
              <a:gd name="connsiteY98" fmla="*/ 1114556 h 2173250"/>
              <a:gd name="connsiteX99" fmla="*/ 1243084 w 2427462"/>
              <a:gd name="connsiteY99" fmla="*/ 969514 h 2173250"/>
              <a:gd name="connsiteX100" fmla="*/ 1243084 w 2427462"/>
              <a:gd name="connsiteY100" fmla="*/ 244849 h 2173250"/>
              <a:gd name="connsiteX101" fmla="*/ 1560368 w 2427462"/>
              <a:gd name="connsiteY101" fmla="*/ 1133886 h 2173250"/>
              <a:gd name="connsiteX102" fmla="*/ 1243084 w 2427462"/>
              <a:gd name="connsiteY102" fmla="*/ 969514 h 2173250"/>
              <a:gd name="connsiteX103" fmla="*/ 1632659 w 2427462"/>
              <a:gd name="connsiteY103" fmla="*/ 1145173 h 2173250"/>
              <a:gd name="connsiteX104" fmla="*/ 1300096 w 2427462"/>
              <a:gd name="connsiteY104" fmla="*/ 201077 h 2173250"/>
              <a:gd name="connsiteX105" fmla="*/ 1955744 w 2427462"/>
              <a:gd name="connsiteY105" fmla="*/ 969773 h 2173250"/>
              <a:gd name="connsiteX106" fmla="*/ 1632659 w 2427462"/>
              <a:gd name="connsiteY106" fmla="*/ 1145173 h 2173250"/>
              <a:gd name="connsiteX107" fmla="*/ 2029759 w 2427462"/>
              <a:gd name="connsiteY107" fmla="*/ 969428 h 2173250"/>
              <a:gd name="connsiteX108" fmla="*/ 1498789 w 2427462"/>
              <a:gd name="connsiteY108" fmla="*/ 206247 h 2173250"/>
              <a:gd name="connsiteX109" fmla="*/ 2337909 w 2427462"/>
              <a:gd name="connsiteY109" fmla="*/ 1113465 h 2173250"/>
              <a:gd name="connsiteX110" fmla="*/ 2029759 w 2427462"/>
              <a:gd name="connsiteY110" fmla="*/ 969428 h 2173250"/>
              <a:gd name="connsiteX0" fmla="*/ 2426859 w 2427462"/>
              <a:gd name="connsiteY0" fmla="*/ 1305036 h 2173250"/>
              <a:gd name="connsiteX1" fmla="*/ 2275440 w 2427462"/>
              <a:gd name="connsiteY1" fmla="*/ 725154 h 2173250"/>
              <a:gd name="connsiteX2" fmla="*/ 2275440 w 2427462"/>
              <a:gd name="connsiteY2" fmla="*/ 516753 h 2173250"/>
              <a:gd name="connsiteX3" fmla="*/ 2203637 w 2427462"/>
              <a:gd name="connsiteY3" fmla="*/ 516753 h 2173250"/>
              <a:gd name="connsiteX4" fmla="*/ 2203637 w 2427462"/>
              <a:gd name="connsiteY4" fmla="*/ 611418 h 2173250"/>
              <a:gd name="connsiteX5" fmla="*/ 2122988 w 2427462"/>
              <a:gd name="connsiteY5" fmla="*/ 509601 h 2173250"/>
              <a:gd name="connsiteX6" fmla="*/ 2122988 w 2427462"/>
              <a:gd name="connsiteY6" fmla="*/ 353444 h 2173250"/>
              <a:gd name="connsiteX7" fmla="*/ 2051185 w 2427462"/>
              <a:gd name="connsiteY7" fmla="*/ 353444 h 2173250"/>
              <a:gd name="connsiteX8" fmla="*/ 2051185 w 2427462"/>
              <a:gd name="connsiteY8" fmla="*/ 434897 h 2173250"/>
              <a:gd name="connsiteX9" fmla="*/ 1956204 w 2427462"/>
              <a:gd name="connsiteY9" fmla="*/ 352984 h 2173250"/>
              <a:gd name="connsiteX10" fmla="*/ 1956204 w 2427462"/>
              <a:gd name="connsiteY10" fmla="*/ 224715 h 2173250"/>
              <a:gd name="connsiteX11" fmla="*/ 1884401 w 2427462"/>
              <a:gd name="connsiteY11" fmla="*/ 224715 h 2173250"/>
              <a:gd name="connsiteX12" fmla="*/ 1884401 w 2427462"/>
              <a:gd name="connsiteY12" fmla="*/ 301027 h 2173250"/>
              <a:gd name="connsiteX13" fmla="*/ 1814350 w 2427462"/>
              <a:gd name="connsiteY13" fmla="*/ 257945 h 2173250"/>
              <a:gd name="connsiteX14" fmla="*/ 1814350 w 2427462"/>
              <a:gd name="connsiteY14" fmla="*/ 172040 h 2173250"/>
              <a:gd name="connsiteX15" fmla="*/ 1742546 w 2427462"/>
              <a:gd name="connsiteY15" fmla="*/ 172040 h 2173250"/>
              <a:gd name="connsiteX16" fmla="*/ 1742546 w 2427462"/>
              <a:gd name="connsiteY16" fmla="*/ 219717 h 2173250"/>
              <a:gd name="connsiteX17" fmla="*/ 1684616 w 2427462"/>
              <a:gd name="connsiteY17" fmla="*/ 193294 h 2173250"/>
              <a:gd name="connsiteX18" fmla="*/ 1684616 w 2427462"/>
              <a:gd name="connsiteY18" fmla="*/ 138465 h 2173250"/>
              <a:gd name="connsiteX19" fmla="*/ 1612813 w 2427462"/>
              <a:gd name="connsiteY19" fmla="*/ 138465 h 2173250"/>
              <a:gd name="connsiteX20" fmla="*/ 1612813 w 2427462"/>
              <a:gd name="connsiteY20" fmla="*/ 165894 h 2173250"/>
              <a:gd name="connsiteX21" fmla="*/ 1543795 w 2427462"/>
              <a:gd name="connsiteY21" fmla="*/ 144152 h 2173250"/>
              <a:gd name="connsiteX22" fmla="*/ 1543795 w 2427462"/>
              <a:gd name="connsiteY22" fmla="*/ 4509 h 2173250"/>
              <a:gd name="connsiteX23" fmla="*/ 1471992 w 2427462"/>
              <a:gd name="connsiteY23" fmla="*/ 4509 h 2173250"/>
              <a:gd name="connsiteX24" fmla="*/ 1471992 w 2427462"/>
              <a:gd name="connsiteY24" fmla="*/ 126058 h 2173250"/>
              <a:gd name="connsiteX25" fmla="*/ 1243084 w 2427462"/>
              <a:gd name="connsiteY25" fmla="*/ 98801 h 2173250"/>
              <a:gd name="connsiteX26" fmla="*/ 1243084 w 2427462"/>
              <a:gd name="connsiteY26" fmla="*/ 0 h 2173250"/>
              <a:gd name="connsiteX27" fmla="*/ 1171281 w 2427462"/>
              <a:gd name="connsiteY27" fmla="*/ 0 h 2173250"/>
              <a:gd name="connsiteX28" fmla="*/ 1171281 w 2427462"/>
              <a:gd name="connsiteY28" fmla="*/ 99117 h 2173250"/>
              <a:gd name="connsiteX29" fmla="*/ 958973 w 2427462"/>
              <a:gd name="connsiteY29" fmla="*/ 125110 h 2173250"/>
              <a:gd name="connsiteX30" fmla="*/ 958973 w 2427462"/>
              <a:gd name="connsiteY30" fmla="*/ 0 h 2173250"/>
              <a:gd name="connsiteX31" fmla="*/ 887170 w 2427462"/>
              <a:gd name="connsiteY31" fmla="*/ 0 h 2173250"/>
              <a:gd name="connsiteX32" fmla="*/ 887170 w 2427462"/>
              <a:gd name="connsiteY32" fmla="*/ 142974 h 2173250"/>
              <a:gd name="connsiteX33" fmla="*/ 817493 w 2427462"/>
              <a:gd name="connsiteY33" fmla="*/ 164745 h 2173250"/>
              <a:gd name="connsiteX34" fmla="*/ 817493 w 2427462"/>
              <a:gd name="connsiteY34" fmla="*/ 133956 h 2173250"/>
              <a:gd name="connsiteX35" fmla="*/ 745690 w 2427462"/>
              <a:gd name="connsiteY35" fmla="*/ 133956 h 2173250"/>
              <a:gd name="connsiteX36" fmla="*/ 745690 w 2427462"/>
              <a:gd name="connsiteY36" fmla="*/ 191944 h 2173250"/>
              <a:gd name="connsiteX37" fmla="*/ 687156 w 2427462"/>
              <a:gd name="connsiteY37" fmla="*/ 218253 h 2173250"/>
              <a:gd name="connsiteX38" fmla="*/ 687156 w 2427462"/>
              <a:gd name="connsiteY38" fmla="*/ 167560 h 2173250"/>
              <a:gd name="connsiteX39" fmla="*/ 615353 w 2427462"/>
              <a:gd name="connsiteY39" fmla="*/ 167560 h 2173250"/>
              <a:gd name="connsiteX40" fmla="*/ 615353 w 2427462"/>
              <a:gd name="connsiteY40" fmla="*/ 256337 h 2173250"/>
              <a:gd name="connsiteX41" fmla="*/ 544641 w 2427462"/>
              <a:gd name="connsiteY41" fmla="*/ 299706 h 2173250"/>
              <a:gd name="connsiteX42" fmla="*/ 544641 w 2427462"/>
              <a:gd name="connsiteY42" fmla="*/ 220206 h 2173250"/>
              <a:gd name="connsiteX43" fmla="*/ 472838 w 2427462"/>
              <a:gd name="connsiteY43" fmla="*/ 220206 h 2173250"/>
              <a:gd name="connsiteX44" fmla="*/ 472838 w 2427462"/>
              <a:gd name="connsiteY44" fmla="*/ 351261 h 2173250"/>
              <a:gd name="connsiteX45" fmla="*/ 377110 w 2427462"/>
              <a:gd name="connsiteY45" fmla="*/ 433547 h 2173250"/>
              <a:gd name="connsiteX46" fmla="*/ 377110 w 2427462"/>
              <a:gd name="connsiteY46" fmla="*/ 348906 h 2173250"/>
              <a:gd name="connsiteX47" fmla="*/ 305307 w 2427462"/>
              <a:gd name="connsiteY47" fmla="*/ 348906 h 2173250"/>
              <a:gd name="connsiteX48" fmla="*/ 305307 w 2427462"/>
              <a:gd name="connsiteY48" fmla="*/ 507906 h 2173250"/>
              <a:gd name="connsiteX49" fmla="*/ 223940 w 2427462"/>
              <a:gd name="connsiteY49" fmla="*/ 610441 h 2173250"/>
              <a:gd name="connsiteX50" fmla="*/ 223940 w 2427462"/>
              <a:gd name="connsiteY50" fmla="*/ 512186 h 2173250"/>
              <a:gd name="connsiteX51" fmla="*/ 152136 w 2427462"/>
              <a:gd name="connsiteY51" fmla="*/ 512186 h 2173250"/>
              <a:gd name="connsiteX52" fmla="*/ 152136 w 2427462"/>
              <a:gd name="connsiteY52" fmla="*/ 722741 h 2173250"/>
              <a:gd name="connsiteX53" fmla="*/ 152912 w 2427462"/>
              <a:gd name="connsiteY53" fmla="*/ 722741 h 2173250"/>
              <a:gd name="connsiteX54" fmla="*/ 0 w 2427462"/>
              <a:gd name="connsiteY54" fmla="*/ 1311527 h 2173250"/>
              <a:gd name="connsiteX55" fmla="*/ 37740 w 2427462"/>
              <a:gd name="connsiteY55" fmla="*/ 1347428 h 2173250"/>
              <a:gd name="connsiteX56" fmla="*/ 73440 w 2427462"/>
              <a:gd name="connsiteY56" fmla="*/ 1315375 h 2173250"/>
              <a:gd name="connsiteX57" fmla="*/ 429210 w 2427462"/>
              <a:gd name="connsiteY57" fmla="*/ 1039565 h 2173250"/>
              <a:gd name="connsiteX58" fmla="*/ 781246 w 2427462"/>
              <a:gd name="connsiteY58" fmla="*/ 1292657 h 2173250"/>
              <a:gd name="connsiteX59" fmla="*/ 816459 w 2427462"/>
              <a:gd name="connsiteY59" fmla="*/ 1321579 h 2173250"/>
              <a:gd name="connsiteX60" fmla="*/ 851671 w 2427462"/>
              <a:gd name="connsiteY60" fmla="*/ 1292657 h 2173250"/>
              <a:gd name="connsiteX61" fmla="*/ 1171281 w 2427462"/>
              <a:gd name="connsiteY61" fmla="*/ 1040800 h 2173250"/>
              <a:gd name="connsiteX62" fmla="*/ 1171281 w 2427462"/>
              <a:gd name="connsiteY62" fmla="*/ 1175158 h 2173250"/>
              <a:gd name="connsiteX63" fmla="*/ 1147414 w 2427462"/>
              <a:gd name="connsiteY63" fmla="*/ 1175158 h 2173250"/>
              <a:gd name="connsiteX64" fmla="*/ 1111512 w 2427462"/>
              <a:gd name="connsiteY64" fmla="*/ 1211060 h 2173250"/>
              <a:gd name="connsiteX65" fmla="*/ 1147414 w 2427462"/>
              <a:gd name="connsiteY65" fmla="*/ 1246961 h 2173250"/>
              <a:gd name="connsiteX66" fmla="*/ 1171281 w 2427462"/>
              <a:gd name="connsiteY66" fmla="*/ 1246961 h 2173250"/>
              <a:gd name="connsiteX67" fmla="*/ 1171281 w 2427462"/>
              <a:gd name="connsiteY67" fmla="*/ 2137320 h 2173250"/>
              <a:gd name="connsiteX68" fmla="*/ 1311814 w 2427462"/>
              <a:gd name="connsiteY68" fmla="*/ 2173250 h 2173250"/>
              <a:gd name="connsiteX69" fmla="*/ 1243084 w 2427462"/>
              <a:gd name="connsiteY69" fmla="*/ 1246990 h 2173250"/>
              <a:gd name="connsiteX70" fmla="*/ 1275912 w 2427462"/>
              <a:gd name="connsiteY70" fmla="*/ 1246990 h 2173250"/>
              <a:gd name="connsiteX71" fmla="*/ 1311814 w 2427462"/>
              <a:gd name="connsiteY71" fmla="*/ 1211089 h 2173250"/>
              <a:gd name="connsiteX72" fmla="*/ 1275912 w 2427462"/>
              <a:gd name="connsiteY72" fmla="*/ 1175187 h 2173250"/>
              <a:gd name="connsiteX73" fmla="*/ 1243084 w 2427462"/>
              <a:gd name="connsiteY73" fmla="*/ 1175187 h 2173250"/>
              <a:gd name="connsiteX74" fmla="*/ 1243084 w 2427462"/>
              <a:gd name="connsiteY74" fmla="*/ 1041576 h 2173250"/>
              <a:gd name="connsiteX75" fmla="*/ 1559449 w 2427462"/>
              <a:gd name="connsiteY75" fmla="*/ 1315404 h 2173250"/>
              <a:gd name="connsiteX76" fmla="*/ 1595149 w 2427462"/>
              <a:gd name="connsiteY76" fmla="*/ 1347457 h 2173250"/>
              <a:gd name="connsiteX77" fmla="*/ 1606207 w 2427462"/>
              <a:gd name="connsiteY77" fmla="*/ 1347457 h 2173250"/>
              <a:gd name="connsiteX78" fmla="*/ 1641907 w 2427462"/>
              <a:gd name="connsiteY78" fmla="*/ 1315404 h 2173250"/>
              <a:gd name="connsiteX79" fmla="*/ 1997706 w 2427462"/>
              <a:gd name="connsiteY79" fmla="*/ 1039594 h 2173250"/>
              <a:gd name="connsiteX80" fmla="*/ 2353447 w 2427462"/>
              <a:gd name="connsiteY80" fmla="*/ 1315404 h 2173250"/>
              <a:gd name="connsiteX81" fmla="*/ 2389148 w 2427462"/>
              <a:gd name="connsiteY81" fmla="*/ 1347457 h 2173250"/>
              <a:gd name="connsiteX82" fmla="*/ 2390986 w 2427462"/>
              <a:gd name="connsiteY82" fmla="*/ 1347457 h 2173250"/>
              <a:gd name="connsiteX83" fmla="*/ 2391560 w 2427462"/>
              <a:gd name="connsiteY83" fmla="*/ 1347457 h 2173250"/>
              <a:gd name="connsiteX84" fmla="*/ 2427462 w 2427462"/>
              <a:gd name="connsiteY84" fmla="*/ 1311556 h 2173250"/>
              <a:gd name="connsiteX85" fmla="*/ 2426859 w 2427462"/>
              <a:gd name="connsiteY85" fmla="*/ 1305036 h 2173250"/>
              <a:gd name="connsiteX86" fmla="*/ 88978 w 2427462"/>
              <a:gd name="connsiteY86" fmla="*/ 1113465 h 2173250"/>
              <a:gd name="connsiteX87" fmla="*/ 920889 w 2427462"/>
              <a:gd name="connsiteY87" fmla="*/ 208057 h 2173250"/>
              <a:gd name="connsiteX88" fmla="*/ 393050 w 2427462"/>
              <a:gd name="connsiteY88" fmla="*/ 969629 h 2173250"/>
              <a:gd name="connsiteX89" fmla="*/ 88978 w 2427462"/>
              <a:gd name="connsiteY89" fmla="*/ 1113465 h 2173250"/>
              <a:gd name="connsiteX90" fmla="*/ 467237 w 2427462"/>
              <a:gd name="connsiteY90" fmla="*/ 969399 h 2173250"/>
              <a:gd name="connsiteX91" fmla="*/ 1122800 w 2427462"/>
              <a:gd name="connsiteY91" fmla="*/ 201077 h 2173250"/>
              <a:gd name="connsiteX92" fmla="*/ 790409 w 2427462"/>
              <a:gd name="connsiteY92" fmla="*/ 1140635 h 2173250"/>
              <a:gd name="connsiteX93" fmla="*/ 467237 w 2427462"/>
              <a:gd name="connsiteY93" fmla="*/ 969399 h 2173250"/>
              <a:gd name="connsiteX94" fmla="*/ 863217 w 2427462"/>
              <a:gd name="connsiteY94" fmla="*/ 1114556 h 2173250"/>
              <a:gd name="connsiteX95" fmla="*/ 1171281 w 2427462"/>
              <a:gd name="connsiteY95" fmla="*/ 255418 h 2173250"/>
              <a:gd name="connsiteX96" fmla="*/ 1171281 w 2427462"/>
              <a:gd name="connsiteY96" fmla="*/ 968882 h 2173250"/>
              <a:gd name="connsiteX97" fmla="*/ 863217 w 2427462"/>
              <a:gd name="connsiteY97" fmla="*/ 1114556 h 2173250"/>
              <a:gd name="connsiteX98" fmla="*/ 1243084 w 2427462"/>
              <a:gd name="connsiteY98" fmla="*/ 969514 h 2173250"/>
              <a:gd name="connsiteX99" fmla="*/ 1243084 w 2427462"/>
              <a:gd name="connsiteY99" fmla="*/ 244849 h 2173250"/>
              <a:gd name="connsiteX100" fmla="*/ 1560368 w 2427462"/>
              <a:gd name="connsiteY100" fmla="*/ 1133886 h 2173250"/>
              <a:gd name="connsiteX101" fmla="*/ 1243084 w 2427462"/>
              <a:gd name="connsiteY101" fmla="*/ 969514 h 2173250"/>
              <a:gd name="connsiteX102" fmla="*/ 1632659 w 2427462"/>
              <a:gd name="connsiteY102" fmla="*/ 1145173 h 2173250"/>
              <a:gd name="connsiteX103" fmla="*/ 1300096 w 2427462"/>
              <a:gd name="connsiteY103" fmla="*/ 201077 h 2173250"/>
              <a:gd name="connsiteX104" fmla="*/ 1955744 w 2427462"/>
              <a:gd name="connsiteY104" fmla="*/ 969773 h 2173250"/>
              <a:gd name="connsiteX105" fmla="*/ 1632659 w 2427462"/>
              <a:gd name="connsiteY105" fmla="*/ 1145173 h 2173250"/>
              <a:gd name="connsiteX106" fmla="*/ 2029759 w 2427462"/>
              <a:gd name="connsiteY106" fmla="*/ 969428 h 2173250"/>
              <a:gd name="connsiteX107" fmla="*/ 1498789 w 2427462"/>
              <a:gd name="connsiteY107" fmla="*/ 206247 h 2173250"/>
              <a:gd name="connsiteX108" fmla="*/ 2337909 w 2427462"/>
              <a:gd name="connsiteY108" fmla="*/ 1113465 h 2173250"/>
              <a:gd name="connsiteX109" fmla="*/ 2029759 w 2427462"/>
              <a:gd name="connsiteY109" fmla="*/ 969428 h 2173250"/>
              <a:gd name="connsiteX0" fmla="*/ 2426859 w 2427462"/>
              <a:gd name="connsiteY0" fmla="*/ 1305036 h 2137320"/>
              <a:gd name="connsiteX1" fmla="*/ 2275440 w 2427462"/>
              <a:gd name="connsiteY1" fmla="*/ 725154 h 2137320"/>
              <a:gd name="connsiteX2" fmla="*/ 2275440 w 2427462"/>
              <a:gd name="connsiteY2" fmla="*/ 516753 h 2137320"/>
              <a:gd name="connsiteX3" fmla="*/ 2203637 w 2427462"/>
              <a:gd name="connsiteY3" fmla="*/ 516753 h 2137320"/>
              <a:gd name="connsiteX4" fmla="*/ 2203637 w 2427462"/>
              <a:gd name="connsiteY4" fmla="*/ 611418 h 2137320"/>
              <a:gd name="connsiteX5" fmla="*/ 2122988 w 2427462"/>
              <a:gd name="connsiteY5" fmla="*/ 509601 h 2137320"/>
              <a:gd name="connsiteX6" fmla="*/ 2122988 w 2427462"/>
              <a:gd name="connsiteY6" fmla="*/ 353444 h 2137320"/>
              <a:gd name="connsiteX7" fmla="*/ 2051185 w 2427462"/>
              <a:gd name="connsiteY7" fmla="*/ 353444 h 2137320"/>
              <a:gd name="connsiteX8" fmla="*/ 2051185 w 2427462"/>
              <a:gd name="connsiteY8" fmla="*/ 434897 h 2137320"/>
              <a:gd name="connsiteX9" fmla="*/ 1956204 w 2427462"/>
              <a:gd name="connsiteY9" fmla="*/ 352984 h 2137320"/>
              <a:gd name="connsiteX10" fmla="*/ 1956204 w 2427462"/>
              <a:gd name="connsiteY10" fmla="*/ 224715 h 2137320"/>
              <a:gd name="connsiteX11" fmla="*/ 1884401 w 2427462"/>
              <a:gd name="connsiteY11" fmla="*/ 224715 h 2137320"/>
              <a:gd name="connsiteX12" fmla="*/ 1884401 w 2427462"/>
              <a:gd name="connsiteY12" fmla="*/ 301027 h 2137320"/>
              <a:gd name="connsiteX13" fmla="*/ 1814350 w 2427462"/>
              <a:gd name="connsiteY13" fmla="*/ 257945 h 2137320"/>
              <a:gd name="connsiteX14" fmla="*/ 1814350 w 2427462"/>
              <a:gd name="connsiteY14" fmla="*/ 172040 h 2137320"/>
              <a:gd name="connsiteX15" fmla="*/ 1742546 w 2427462"/>
              <a:gd name="connsiteY15" fmla="*/ 172040 h 2137320"/>
              <a:gd name="connsiteX16" fmla="*/ 1742546 w 2427462"/>
              <a:gd name="connsiteY16" fmla="*/ 219717 h 2137320"/>
              <a:gd name="connsiteX17" fmla="*/ 1684616 w 2427462"/>
              <a:gd name="connsiteY17" fmla="*/ 193294 h 2137320"/>
              <a:gd name="connsiteX18" fmla="*/ 1684616 w 2427462"/>
              <a:gd name="connsiteY18" fmla="*/ 138465 h 2137320"/>
              <a:gd name="connsiteX19" fmla="*/ 1612813 w 2427462"/>
              <a:gd name="connsiteY19" fmla="*/ 138465 h 2137320"/>
              <a:gd name="connsiteX20" fmla="*/ 1612813 w 2427462"/>
              <a:gd name="connsiteY20" fmla="*/ 165894 h 2137320"/>
              <a:gd name="connsiteX21" fmla="*/ 1543795 w 2427462"/>
              <a:gd name="connsiteY21" fmla="*/ 144152 h 2137320"/>
              <a:gd name="connsiteX22" fmla="*/ 1543795 w 2427462"/>
              <a:gd name="connsiteY22" fmla="*/ 4509 h 2137320"/>
              <a:gd name="connsiteX23" fmla="*/ 1471992 w 2427462"/>
              <a:gd name="connsiteY23" fmla="*/ 4509 h 2137320"/>
              <a:gd name="connsiteX24" fmla="*/ 1471992 w 2427462"/>
              <a:gd name="connsiteY24" fmla="*/ 126058 h 2137320"/>
              <a:gd name="connsiteX25" fmla="*/ 1243084 w 2427462"/>
              <a:gd name="connsiteY25" fmla="*/ 98801 h 2137320"/>
              <a:gd name="connsiteX26" fmla="*/ 1243084 w 2427462"/>
              <a:gd name="connsiteY26" fmla="*/ 0 h 2137320"/>
              <a:gd name="connsiteX27" fmla="*/ 1171281 w 2427462"/>
              <a:gd name="connsiteY27" fmla="*/ 0 h 2137320"/>
              <a:gd name="connsiteX28" fmla="*/ 1171281 w 2427462"/>
              <a:gd name="connsiteY28" fmla="*/ 99117 h 2137320"/>
              <a:gd name="connsiteX29" fmla="*/ 958973 w 2427462"/>
              <a:gd name="connsiteY29" fmla="*/ 125110 h 2137320"/>
              <a:gd name="connsiteX30" fmla="*/ 958973 w 2427462"/>
              <a:gd name="connsiteY30" fmla="*/ 0 h 2137320"/>
              <a:gd name="connsiteX31" fmla="*/ 887170 w 2427462"/>
              <a:gd name="connsiteY31" fmla="*/ 0 h 2137320"/>
              <a:gd name="connsiteX32" fmla="*/ 887170 w 2427462"/>
              <a:gd name="connsiteY32" fmla="*/ 142974 h 2137320"/>
              <a:gd name="connsiteX33" fmla="*/ 817493 w 2427462"/>
              <a:gd name="connsiteY33" fmla="*/ 164745 h 2137320"/>
              <a:gd name="connsiteX34" fmla="*/ 817493 w 2427462"/>
              <a:gd name="connsiteY34" fmla="*/ 133956 h 2137320"/>
              <a:gd name="connsiteX35" fmla="*/ 745690 w 2427462"/>
              <a:gd name="connsiteY35" fmla="*/ 133956 h 2137320"/>
              <a:gd name="connsiteX36" fmla="*/ 745690 w 2427462"/>
              <a:gd name="connsiteY36" fmla="*/ 191944 h 2137320"/>
              <a:gd name="connsiteX37" fmla="*/ 687156 w 2427462"/>
              <a:gd name="connsiteY37" fmla="*/ 218253 h 2137320"/>
              <a:gd name="connsiteX38" fmla="*/ 687156 w 2427462"/>
              <a:gd name="connsiteY38" fmla="*/ 167560 h 2137320"/>
              <a:gd name="connsiteX39" fmla="*/ 615353 w 2427462"/>
              <a:gd name="connsiteY39" fmla="*/ 167560 h 2137320"/>
              <a:gd name="connsiteX40" fmla="*/ 615353 w 2427462"/>
              <a:gd name="connsiteY40" fmla="*/ 256337 h 2137320"/>
              <a:gd name="connsiteX41" fmla="*/ 544641 w 2427462"/>
              <a:gd name="connsiteY41" fmla="*/ 299706 h 2137320"/>
              <a:gd name="connsiteX42" fmla="*/ 544641 w 2427462"/>
              <a:gd name="connsiteY42" fmla="*/ 220206 h 2137320"/>
              <a:gd name="connsiteX43" fmla="*/ 472838 w 2427462"/>
              <a:gd name="connsiteY43" fmla="*/ 220206 h 2137320"/>
              <a:gd name="connsiteX44" fmla="*/ 472838 w 2427462"/>
              <a:gd name="connsiteY44" fmla="*/ 351261 h 2137320"/>
              <a:gd name="connsiteX45" fmla="*/ 377110 w 2427462"/>
              <a:gd name="connsiteY45" fmla="*/ 433547 h 2137320"/>
              <a:gd name="connsiteX46" fmla="*/ 377110 w 2427462"/>
              <a:gd name="connsiteY46" fmla="*/ 348906 h 2137320"/>
              <a:gd name="connsiteX47" fmla="*/ 305307 w 2427462"/>
              <a:gd name="connsiteY47" fmla="*/ 348906 h 2137320"/>
              <a:gd name="connsiteX48" fmla="*/ 305307 w 2427462"/>
              <a:gd name="connsiteY48" fmla="*/ 507906 h 2137320"/>
              <a:gd name="connsiteX49" fmla="*/ 223940 w 2427462"/>
              <a:gd name="connsiteY49" fmla="*/ 610441 h 2137320"/>
              <a:gd name="connsiteX50" fmla="*/ 223940 w 2427462"/>
              <a:gd name="connsiteY50" fmla="*/ 512186 h 2137320"/>
              <a:gd name="connsiteX51" fmla="*/ 152136 w 2427462"/>
              <a:gd name="connsiteY51" fmla="*/ 512186 h 2137320"/>
              <a:gd name="connsiteX52" fmla="*/ 152136 w 2427462"/>
              <a:gd name="connsiteY52" fmla="*/ 722741 h 2137320"/>
              <a:gd name="connsiteX53" fmla="*/ 152912 w 2427462"/>
              <a:gd name="connsiteY53" fmla="*/ 722741 h 2137320"/>
              <a:gd name="connsiteX54" fmla="*/ 0 w 2427462"/>
              <a:gd name="connsiteY54" fmla="*/ 1311527 h 2137320"/>
              <a:gd name="connsiteX55" fmla="*/ 37740 w 2427462"/>
              <a:gd name="connsiteY55" fmla="*/ 1347428 h 2137320"/>
              <a:gd name="connsiteX56" fmla="*/ 73440 w 2427462"/>
              <a:gd name="connsiteY56" fmla="*/ 1315375 h 2137320"/>
              <a:gd name="connsiteX57" fmla="*/ 429210 w 2427462"/>
              <a:gd name="connsiteY57" fmla="*/ 1039565 h 2137320"/>
              <a:gd name="connsiteX58" fmla="*/ 781246 w 2427462"/>
              <a:gd name="connsiteY58" fmla="*/ 1292657 h 2137320"/>
              <a:gd name="connsiteX59" fmla="*/ 816459 w 2427462"/>
              <a:gd name="connsiteY59" fmla="*/ 1321579 h 2137320"/>
              <a:gd name="connsiteX60" fmla="*/ 851671 w 2427462"/>
              <a:gd name="connsiteY60" fmla="*/ 1292657 h 2137320"/>
              <a:gd name="connsiteX61" fmla="*/ 1171281 w 2427462"/>
              <a:gd name="connsiteY61" fmla="*/ 1040800 h 2137320"/>
              <a:gd name="connsiteX62" fmla="*/ 1171281 w 2427462"/>
              <a:gd name="connsiteY62" fmla="*/ 1175158 h 2137320"/>
              <a:gd name="connsiteX63" fmla="*/ 1147414 w 2427462"/>
              <a:gd name="connsiteY63" fmla="*/ 1175158 h 2137320"/>
              <a:gd name="connsiteX64" fmla="*/ 1111512 w 2427462"/>
              <a:gd name="connsiteY64" fmla="*/ 1211060 h 2137320"/>
              <a:gd name="connsiteX65" fmla="*/ 1147414 w 2427462"/>
              <a:gd name="connsiteY65" fmla="*/ 1246961 h 2137320"/>
              <a:gd name="connsiteX66" fmla="*/ 1171281 w 2427462"/>
              <a:gd name="connsiteY66" fmla="*/ 1246961 h 2137320"/>
              <a:gd name="connsiteX67" fmla="*/ 1171281 w 2427462"/>
              <a:gd name="connsiteY67" fmla="*/ 2137320 h 2137320"/>
              <a:gd name="connsiteX68" fmla="*/ 1243084 w 2427462"/>
              <a:gd name="connsiteY68" fmla="*/ 1246990 h 2137320"/>
              <a:gd name="connsiteX69" fmla="*/ 1275912 w 2427462"/>
              <a:gd name="connsiteY69" fmla="*/ 1246990 h 2137320"/>
              <a:gd name="connsiteX70" fmla="*/ 1311814 w 2427462"/>
              <a:gd name="connsiteY70" fmla="*/ 1211089 h 2137320"/>
              <a:gd name="connsiteX71" fmla="*/ 1275912 w 2427462"/>
              <a:gd name="connsiteY71" fmla="*/ 1175187 h 2137320"/>
              <a:gd name="connsiteX72" fmla="*/ 1243084 w 2427462"/>
              <a:gd name="connsiteY72" fmla="*/ 1175187 h 2137320"/>
              <a:gd name="connsiteX73" fmla="*/ 1243084 w 2427462"/>
              <a:gd name="connsiteY73" fmla="*/ 1041576 h 2137320"/>
              <a:gd name="connsiteX74" fmla="*/ 1559449 w 2427462"/>
              <a:gd name="connsiteY74" fmla="*/ 1315404 h 2137320"/>
              <a:gd name="connsiteX75" fmla="*/ 1595149 w 2427462"/>
              <a:gd name="connsiteY75" fmla="*/ 1347457 h 2137320"/>
              <a:gd name="connsiteX76" fmla="*/ 1606207 w 2427462"/>
              <a:gd name="connsiteY76" fmla="*/ 1347457 h 2137320"/>
              <a:gd name="connsiteX77" fmla="*/ 1641907 w 2427462"/>
              <a:gd name="connsiteY77" fmla="*/ 1315404 h 2137320"/>
              <a:gd name="connsiteX78" fmla="*/ 1997706 w 2427462"/>
              <a:gd name="connsiteY78" fmla="*/ 1039594 h 2137320"/>
              <a:gd name="connsiteX79" fmla="*/ 2353447 w 2427462"/>
              <a:gd name="connsiteY79" fmla="*/ 1315404 h 2137320"/>
              <a:gd name="connsiteX80" fmla="*/ 2389148 w 2427462"/>
              <a:gd name="connsiteY80" fmla="*/ 1347457 h 2137320"/>
              <a:gd name="connsiteX81" fmla="*/ 2390986 w 2427462"/>
              <a:gd name="connsiteY81" fmla="*/ 1347457 h 2137320"/>
              <a:gd name="connsiteX82" fmla="*/ 2391560 w 2427462"/>
              <a:gd name="connsiteY82" fmla="*/ 1347457 h 2137320"/>
              <a:gd name="connsiteX83" fmla="*/ 2427462 w 2427462"/>
              <a:gd name="connsiteY83" fmla="*/ 1311556 h 2137320"/>
              <a:gd name="connsiteX84" fmla="*/ 2426859 w 2427462"/>
              <a:gd name="connsiteY84" fmla="*/ 1305036 h 2137320"/>
              <a:gd name="connsiteX85" fmla="*/ 88978 w 2427462"/>
              <a:gd name="connsiteY85" fmla="*/ 1113465 h 2137320"/>
              <a:gd name="connsiteX86" fmla="*/ 920889 w 2427462"/>
              <a:gd name="connsiteY86" fmla="*/ 208057 h 2137320"/>
              <a:gd name="connsiteX87" fmla="*/ 393050 w 2427462"/>
              <a:gd name="connsiteY87" fmla="*/ 969629 h 2137320"/>
              <a:gd name="connsiteX88" fmla="*/ 88978 w 2427462"/>
              <a:gd name="connsiteY88" fmla="*/ 1113465 h 2137320"/>
              <a:gd name="connsiteX89" fmla="*/ 467237 w 2427462"/>
              <a:gd name="connsiteY89" fmla="*/ 969399 h 2137320"/>
              <a:gd name="connsiteX90" fmla="*/ 1122800 w 2427462"/>
              <a:gd name="connsiteY90" fmla="*/ 201077 h 2137320"/>
              <a:gd name="connsiteX91" fmla="*/ 790409 w 2427462"/>
              <a:gd name="connsiteY91" fmla="*/ 1140635 h 2137320"/>
              <a:gd name="connsiteX92" fmla="*/ 467237 w 2427462"/>
              <a:gd name="connsiteY92" fmla="*/ 969399 h 2137320"/>
              <a:gd name="connsiteX93" fmla="*/ 863217 w 2427462"/>
              <a:gd name="connsiteY93" fmla="*/ 1114556 h 2137320"/>
              <a:gd name="connsiteX94" fmla="*/ 1171281 w 2427462"/>
              <a:gd name="connsiteY94" fmla="*/ 255418 h 2137320"/>
              <a:gd name="connsiteX95" fmla="*/ 1171281 w 2427462"/>
              <a:gd name="connsiteY95" fmla="*/ 968882 h 2137320"/>
              <a:gd name="connsiteX96" fmla="*/ 863217 w 2427462"/>
              <a:gd name="connsiteY96" fmla="*/ 1114556 h 2137320"/>
              <a:gd name="connsiteX97" fmla="*/ 1243084 w 2427462"/>
              <a:gd name="connsiteY97" fmla="*/ 969514 h 2137320"/>
              <a:gd name="connsiteX98" fmla="*/ 1243084 w 2427462"/>
              <a:gd name="connsiteY98" fmla="*/ 244849 h 2137320"/>
              <a:gd name="connsiteX99" fmla="*/ 1560368 w 2427462"/>
              <a:gd name="connsiteY99" fmla="*/ 1133886 h 2137320"/>
              <a:gd name="connsiteX100" fmla="*/ 1243084 w 2427462"/>
              <a:gd name="connsiteY100" fmla="*/ 969514 h 2137320"/>
              <a:gd name="connsiteX101" fmla="*/ 1632659 w 2427462"/>
              <a:gd name="connsiteY101" fmla="*/ 1145173 h 2137320"/>
              <a:gd name="connsiteX102" fmla="*/ 1300096 w 2427462"/>
              <a:gd name="connsiteY102" fmla="*/ 201077 h 2137320"/>
              <a:gd name="connsiteX103" fmla="*/ 1955744 w 2427462"/>
              <a:gd name="connsiteY103" fmla="*/ 969773 h 2137320"/>
              <a:gd name="connsiteX104" fmla="*/ 1632659 w 2427462"/>
              <a:gd name="connsiteY104" fmla="*/ 1145173 h 2137320"/>
              <a:gd name="connsiteX105" fmla="*/ 2029759 w 2427462"/>
              <a:gd name="connsiteY105" fmla="*/ 969428 h 2137320"/>
              <a:gd name="connsiteX106" fmla="*/ 1498789 w 2427462"/>
              <a:gd name="connsiteY106" fmla="*/ 206247 h 2137320"/>
              <a:gd name="connsiteX107" fmla="*/ 2337909 w 2427462"/>
              <a:gd name="connsiteY107" fmla="*/ 1113465 h 2137320"/>
              <a:gd name="connsiteX108" fmla="*/ 2029759 w 2427462"/>
              <a:gd name="connsiteY108" fmla="*/ 969428 h 2137320"/>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71281 w 2427462"/>
              <a:gd name="connsiteY62" fmla="*/ 1175158 h 1347457"/>
              <a:gd name="connsiteX63" fmla="*/ 1147414 w 2427462"/>
              <a:gd name="connsiteY63" fmla="*/ 1175158 h 1347457"/>
              <a:gd name="connsiteX64" fmla="*/ 1111512 w 2427462"/>
              <a:gd name="connsiteY64" fmla="*/ 1211060 h 1347457"/>
              <a:gd name="connsiteX65" fmla="*/ 1147414 w 2427462"/>
              <a:gd name="connsiteY65" fmla="*/ 1246961 h 1347457"/>
              <a:gd name="connsiteX66" fmla="*/ 1171281 w 2427462"/>
              <a:gd name="connsiteY66" fmla="*/ 1246961 h 1347457"/>
              <a:gd name="connsiteX67" fmla="*/ 1243084 w 2427462"/>
              <a:gd name="connsiteY67" fmla="*/ 1246990 h 1347457"/>
              <a:gd name="connsiteX68" fmla="*/ 1275912 w 2427462"/>
              <a:gd name="connsiteY68" fmla="*/ 1246990 h 1347457"/>
              <a:gd name="connsiteX69" fmla="*/ 1311814 w 2427462"/>
              <a:gd name="connsiteY69" fmla="*/ 1211089 h 1347457"/>
              <a:gd name="connsiteX70" fmla="*/ 1275912 w 2427462"/>
              <a:gd name="connsiteY70" fmla="*/ 1175187 h 1347457"/>
              <a:gd name="connsiteX71" fmla="*/ 1243084 w 2427462"/>
              <a:gd name="connsiteY71" fmla="*/ 1175187 h 1347457"/>
              <a:gd name="connsiteX72" fmla="*/ 1243084 w 2427462"/>
              <a:gd name="connsiteY72" fmla="*/ 1041576 h 1347457"/>
              <a:gd name="connsiteX73" fmla="*/ 1559449 w 2427462"/>
              <a:gd name="connsiteY73" fmla="*/ 1315404 h 1347457"/>
              <a:gd name="connsiteX74" fmla="*/ 1595149 w 2427462"/>
              <a:gd name="connsiteY74" fmla="*/ 1347457 h 1347457"/>
              <a:gd name="connsiteX75" fmla="*/ 1606207 w 2427462"/>
              <a:gd name="connsiteY75" fmla="*/ 1347457 h 1347457"/>
              <a:gd name="connsiteX76" fmla="*/ 1641907 w 2427462"/>
              <a:gd name="connsiteY76" fmla="*/ 1315404 h 1347457"/>
              <a:gd name="connsiteX77" fmla="*/ 1997706 w 2427462"/>
              <a:gd name="connsiteY77" fmla="*/ 1039594 h 1347457"/>
              <a:gd name="connsiteX78" fmla="*/ 2353447 w 2427462"/>
              <a:gd name="connsiteY78" fmla="*/ 1315404 h 1347457"/>
              <a:gd name="connsiteX79" fmla="*/ 2389148 w 2427462"/>
              <a:gd name="connsiteY79" fmla="*/ 1347457 h 1347457"/>
              <a:gd name="connsiteX80" fmla="*/ 2390986 w 2427462"/>
              <a:gd name="connsiteY80" fmla="*/ 1347457 h 1347457"/>
              <a:gd name="connsiteX81" fmla="*/ 2391560 w 2427462"/>
              <a:gd name="connsiteY81" fmla="*/ 1347457 h 1347457"/>
              <a:gd name="connsiteX82" fmla="*/ 2427462 w 2427462"/>
              <a:gd name="connsiteY82" fmla="*/ 1311556 h 1347457"/>
              <a:gd name="connsiteX83" fmla="*/ 2426859 w 2427462"/>
              <a:gd name="connsiteY83" fmla="*/ 1305036 h 1347457"/>
              <a:gd name="connsiteX84" fmla="*/ 88978 w 2427462"/>
              <a:gd name="connsiteY84" fmla="*/ 1113465 h 1347457"/>
              <a:gd name="connsiteX85" fmla="*/ 920889 w 2427462"/>
              <a:gd name="connsiteY85" fmla="*/ 208057 h 1347457"/>
              <a:gd name="connsiteX86" fmla="*/ 393050 w 2427462"/>
              <a:gd name="connsiteY86" fmla="*/ 969629 h 1347457"/>
              <a:gd name="connsiteX87" fmla="*/ 88978 w 2427462"/>
              <a:gd name="connsiteY87" fmla="*/ 1113465 h 1347457"/>
              <a:gd name="connsiteX88" fmla="*/ 467237 w 2427462"/>
              <a:gd name="connsiteY88" fmla="*/ 969399 h 1347457"/>
              <a:gd name="connsiteX89" fmla="*/ 1122800 w 2427462"/>
              <a:gd name="connsiteY89" fmla="*/ 201077 h 1347457"/>
              <a:gd name="connsiteX90" fmla="*/ 790409 w 2427462"/>
              <a:gd name="connsiteY90" fmla="*/ 1140635 h 1347457"/>
              <a:gd name="connsiteX91" fmla="*/ 467237 w 2427462"/>
              <a:gd name="connsiteY91" fmla="*/ 969399 h 1347457"/>
              <a:gd name="connsiteX92" fmla="*/ 863217 w 2427462"/>
              <a:gd name="connsiteY92" fmla="*/ 1114556 h 1347457"/>
              <a:gd name="connsiteX93" fmla="*/ 1171281 w 2427462"/>
              <a:gd name="connsiteY93" fmla="*/ 255418 h 1347457"/>
              <a:gd name="connsiteX94" fmla="*/ 1171281 w 2427462"/>
              <a:gd name="connsiteY94" fmla="*/ 968882 h 1347457"/>
              <a:gd name="connsiteX95" fmla="*/ 863217 w 2427462"/>
              <a:gd name="connsiteY95" fmla="*/ 1114556 h 1347457"/>
              <a:gd name="connsiteX96" fmla="*/ 1243084 w 2427462"/>
              <a:gd name="connsiteY96" fmla="*/ 969514 h 1347457"/>
              <a:gd name="connsiteX97" fmla="*/ 1243084 w 2427462"/>
              <a:gd name="connsiteY97" fmla="*/ 244849 h 1347457"/>
              <a:gd name="connsiteX98" fmla="*/ 1560368 w 2427462"/>
              <a:gd name="connsiteY98" fmla="*/ 1133886 h 1347457"/>
              <a:gd name="connsiteX99" fmla="*/ 1243084 w 2427462"/>
              <a:gd name="connsiteY99" fmla="*/ 969514 h 1347457"/>
              <a:gd name="connsiteX100" fmla="*/ 1632659 w 2427462"/>
              <a:gd name="connsiteY100" fmla="*/ 1145173 h 1347457"/>
              <a:gd name="connsiteX101" fmla="*/ 1300096 w 2427462"/>
              <a:gd name="connsiteY101" fmla="*/ 201077 h 1347457"/>
              <a:gd name="connsiteX102" fmla="*/ 1955744 w 2427462"/>
              <a:gd name="connsiteY102" fmla="*/ 969773 h 1347457"/>
              <a:gd name="connsiteX103" fmla="*/ 1632659 w 2427462"/>
              <a:gd name="connsiteY103" fmla="*/ 1145173 h 1347457"/>
              <a:gd name="connsiteX104" fmla="*/ 2029759 w 2427462"/>
              <a:gd name="connsiteY104" fmla="*/ 969428 h 1347457"/>
              <a:gd name="connsiteX105" fmla="*/ 1498789 w 2427462"/>
              <a:gd name="connsiteY105" fmla="*/ 206247 h 1347457"/>
              <a:gd name="connsiteX106" fmla="*/ 2337909 w 2427462"/>
              <a:gd name="connsiteY106" fmla="*/ 1113465 h 1347457"/>
              <a:gd name="connsiteX107" fmla="*/ 2029759 w 2427462"/>
              <a:gd name="connsiteY107"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71281 w 2427462"/>
              <a:gd name="connsiteY62" fmla="*/ 1175158 h 1347457"/>
              <a:gd name="connsiteX63" fmla="*/ 1111512 w 2427462"/>
              <a:gd name="connsiteY63" fmla="*/ 1211060 h 1347457"/>
              <a:gd name="connsiteX64" fmla="*/ 1147414 w 2427462"/>
              <a:gd name="connsiteY64" fmla="*/ 1246961 h 1347457"/>
              <a:gd name="connsiteX65" fmla="*/ 1171281 w 2427462"/>
              <a:gd name="connsiteY65" fmla="*/ 1246961 h 1347457"/>
              <a:gd name="connsiteX66" fmla="*/ 1243084 w 2427462"/>
              <a:gd name="connsiteY66" fmla="*/ 1246990 h 1347457"/>
              <a:gd name="connsiteX67" fmla="*/ 1275912 w 2427462"/>
              <a:gd name="connsiteY67" fmla="*/ 1246990 h 1347457"/>
              <a:gd name="connsiteX68" fmla="*/ 1311814 w 2427462"/>
              <a:gd name="connsiteY68" fmla="*/ 1211089 h 1347457"/>
              <a:gd name="connsiteX69" fmla="*/ 1275912 w 2427462"/>
              <a:gd name="connsiteY69" fmla="*/ 1175187 h 1347457"/>
              <a:gd name="connsiteX70" fmla="*/ 1243084 w 2427462"/>
              <a:gd name="connsiteY70" fmla="*/ 1175187 h 1347457"/>
              <a:gd name="connsiteX71" fmla="*/ 1243084 w 2427462"/>
              <a:gd name="connsiteY71" fmla="*/ 1041576 h 1347457"/>
              <a:gd name="connsiteX72" fmla="*/ 1559449 w 2427462"/>
              <a:gd name="connsiteY72" fmla="*/ 1315404 h 1347457"/>
              <a:gd name="connsiteX73" fmla="*/ 1595149 w 2427462"/>
              <a:gd name="connsiteY73" fmla="*/ 1347457 h 1347457"/>
              <a:gd name="connsiteX74" fmla="*/ 1606207 w 2427462"/>
              <a:gd name="connsiteY74" fmla="*/ 1347457 h 1347457"/>
              <a:gd name="connsiteX75" fmla="*/ 1641907 w 2427462"/>
              <a:gd name="connsiteY75" fmla="*/ 1315404 h 1347457"/>
              <a:gd name="connsiteX76" fmla="*/ 1997706 w 2427462"/>
              <a:gd name="connsiteY76" fmla="*/ 1039594 h 1347457"/>
              <a:gd name="connsiteX77" fmla="*/ 2353447 w 2427462"/>
              <a:gd name="connsiteY77" fmla="*/ 1315404 h 1347457"/>
              <a:gd name="connsiteX78" fmla="*/ 2389148 w 2427462"/>
              <a:gd name="connsiteY78" fmla="*/ 1347457 h 1347457"/>
              <a:gd name="connsiteX79" fmla="*/ 2390986 w 2427462"/>
              <a:gd name="connsiteY79" fmla="*/ 1347457 h 1347457"/>
              <a:gd name="connsiteX80" fmla="*/ 2391560 w 2427462"/>
              <a:gd name="connsiteY80" fmla="*/ 1347457 h 1347457"/>
              <a:gd name="connsiteX81" fmla="*/ 2427462 w 2427462"/>
              <a:gd name="connsiteY81" fmla="*/ 1311556 h 1347457"/>
              <a:gd name="connsiteX82" fmla="*/ 2426859 w 2427462"/>
              <a:gd name="connsiteY82" fmla="*/ 1305036 h 1347457"/>
              <a:gd name="connsiteX83" fmla="*/ 88978 w 2427462"/>
              <a:gd name="connsiteY83" fmla="*/ 1113465 h 1347457"/>
              <a:gd name="connsiteX84" fmla="*/ 920889 w 2427462"/>
              <a:gd name="connsiteY84" fmla="*/ 208057 h 1347457"/>
              <a:gd name="connsiteX85" fmla="*/ 393050 w 2427462"/>
              <a:gd name="connsiteY85" fmla="*/ 969629 h 1347457"/>
              <a:gd name="connsiteX86" fmla="*/ 88978 w 2427462"/>
              <a:gd name="connsiteY86" fmla="*/ 1113465 h 1347457"/>
              <a:gd name="connsiteX87" fmla="*/ 467237 w 2427462"/>
              <a:gd name="connsiteY87" fmla="*/ 969399 h 1347457"/>
              <a:gd name="connsiteX88" fmla="*/ 1122800 w 2427462"/>
              <a:gd name="connsiteY88" fmla="*/ 201077 h 1347457"/>
              <a:gd name="connsiteX89" fmla="*/ 790409 w 2427462"/>
              <a:gd name="connsiteY89" fmla="*/ 1140635 h 1347457"/>
              <a:gd name="connsiteX90" fmla="*/ 467237 w 2427462"/>
              <a:gd name="connsiteY90" fmla="*/ 969399 h 1347457"/>
              <a:gd name="connsiteX91" fmla="*/ 863217 w 2427462"/>
              <a:gd name="connsiteY91" fmla="*/ 1114556 h 1347457"/>
              <a:gd name="connsiteX92" fmla="*/ 1171281 w 2427462"/>
              <a:gd name="connsiteY92" fmla="*/ 255418 h 1347457"/>
              <a:gd name="connsiteX93" fmla="*/ 1171281 w 2427462"/>
              <a:gd name="connsiteY93" fmla="*/ 968882 h 1347457"/>
              <a:gd name="connsiteX94" fmla="*/ 863217 w 2427462"/>
              <a:gd name="connsiteY94" fmla="*/ 1114556 h 1347457"/>
              <a:gd name="connsiteX95" fmla="*/ 1243084 w 2427462"/>
              <a:gd name="connsiteY95" fmla="*/ 969514 h 1347457"/>
              <a:gd name="connsiteX96" fmla="*/ 1243084 w 2427462"/>
              <a:gd name="connsiteY96" fmla="*/ 244849 h 1347457"/>
              <a:gd name="connsiteX97" fmla="*/ 1560368 w 2427462"/>
              <a:gd name="connsiteY97" fmla="*/ 1133886 h 1347457"/>
              <a:gd name="connsiteX98" fmla="*/ 1243084 w 2427462"/>
              <a:gd name="connsiteY98" fmla="*/ 969514 h 1347457"/>
              <a:gd name="connsiteX99" fmla="*/ 1632659 w 2427462"/>
              <a:gd name="connsiteY99" fmla="*/ 1145173 h 1347457"/>
              <a:gd name="connsiteX100" fmla="*/ 1300096 w 2427462"/>
              <a:gd name="connsiteY100" fmla="*/ 201077 h 1347457"/>
              <a:gd name="connsiteX101" fmla="*/ 1955744 w 2427462"/>
              <a:gd name="connsiteY101" fmla="*/ 969773 h 1347457"/>
              <a:gd name="connsiteX102" fmla="*/ 1632659 w 2427462"/>
              <a:gd name="connsiteY102" fmla="*/ 1145173 h 1347457"/>
              <a:gd name="connsiteX103" fmla="*/ 2029759 w 2427462"/>
              <a:gd name="connsiteY103" fmla="*/ 969428 h 1347457"/>
              <a:gd name="connsiteX104" fmla="*/ 1498789 w 2427462"/>
              <a:gd name="connsiteY104" fmla="*/ 206247 h 1347457"/>
              <a:gd name="connsiteX105" fmla="*/ 2337909 w 2427462"/>
              <a:gd name="connsiteY105" fmla="*/ 1113465 h 1347457"/>
              <a:gd name="connsiteX106" fmla="*/ 2029759 w 2427462"/>
              <a:gd name="connsiteY106"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11512 w 2427462"/>
              <a:gd name="connsiteY62" fmla="*/ 1211060 h 1347457"/>
              <a:gd name="connsiteX63" fmla="*/ 1147414 w 2427462"/>
              <a:gd name="connsiteY63" fmla="*/ 1246961 h 1347457"/>
              <a:gd name="connsiteX64" fmla="*/ 1171281 w 2427462"/>
              <a:gd name="connsiteY64" fmla="*/ 1246961 h 1347457"/>
              <a:gd name="connsiteX65" fmla="*/ 1243084 w 2427462"/>
              <a:gd name="connsiteY65" fmla="*/ 1246990 h 1347457"/>
              <a:gd name="connsiteX66" fmla="*/ 1275912 w 2427462"/>
              <a:gd name="connsiteY66" fmla="*/ 1246990 h 1347457"/>
              <a:gd name="connsiteX67" fmla="*/ 1311814 w 2427462"/>
              <a:gd name="connsiteY67" fmla="*/ 1211089 h 1347457"/>
              <a:gd name="connsiteX68" fmla="*/ 1275912 w 2427462"/>
              <a:gd name="connsiteY68" fmla="*/ 1175187 h 1347457"/>
              <a:gd name="connsiteX69" fmla="*/ 1243084 w 2427462"/>
              <a:gd name="connsiteY69" fmla="*/ 1175187 h 1347457"/>
              <a:gd name="connsiteX70" fmla="*/ 1243084 w 2427462"/>
              <a:gd name="connsiteY70" fmla="*/ 1041576 h 1347457"/>
              <a:gd name="connsiteX71" fmla="*/ 1559449 w 2427462"/>
              <a:gd name="connsiteY71" fmla="*/ 1315404 h 1347457"/>
              <a:gd name="connsiteX72" fmla="*/ 1595149 w 2427462"/>
              <a:gd name="connsiteY72" fmla="*/ 1347457 h 1347457"/>
              <a:gd name="connsiteX73" fmla="*/ 1606207 w 2427462"/>
              <a:gd name="connsiteY73" fmla="*/ 1347457 h 1347457"/>
              <a:gd name="connsiteX74" fmla="*/ 1641907 w 2427462"/>
              <a:gd name="connsiteY74" fmla="*/ 1315404 h 1347457"/>
              <a:gd name="connsiteX75" fmla="*/ 1997706 w 2427462"/>
              <a:gd name="connsiteY75" fmla="*/ 1039594 h 1347457"/>
              <a:gd name="connsiteX76" fmla="*/ 2353447 w 2427462"/>
              <a:gd name="connsiteY76" fmla="*/ 1315404 h 1347457"/>
              <a:gd name="connsiteX77" fmla="*/ 2389148 w 2427462"/>
              <a:gd name="connsiteY77" fmla="*/ 1347457 h 1347457"/>
              <a:gd name="connsiteX78" fmla="*/ 2390986 w 2427462"/>
              <a:gd name="connsiteY78" fmla="*/ 1347457 h 1347457"/>
              <a:gd name="connsiteX79" fmla="*/ 2391560 w 2427462"/>
              <a:gd name="connsiteY79" fmla="*/ 1347457 h 1347457"/>
              <a:gd name="connsiteX80" fmla="*/ 2427462 w 2427462"/>
              <a:gd name="connsiteY80" fmla="*/ 1311556 h 1347457"/>
              <a:gd name="connsiteX81" fmla="*/ 2426859 w 2427462"/>
              <a:gd name="connsiteY81" fmla="*/ 1305036 h 1347457"/>
              <a:gd name="connsiteX82" fmla="*/ 88978 w 2427462"/>
              <a:gd name="connsiteY82" fmla="*/ 1113465 h 1347457"/>
              <a:gd name="connsiteX83" fmla="*/ 920889 w 2427462"/>
              <a:gd name="connsiteY83" fmla="*/ 208057 h 1347457"/>
              <a:gd name="connsiteX84" fmla="*/ 393050 w 2427462"/>
              <a:gd name="connsiteY84" fmla="*/ 969629 h 1347457"/>
              <a:gd name="connsiteX85" fmla="*/ 88978 w 2427462"/>
              <a:gd name="connsiteY85" fmla="*/ 1113465 h 1347457"/>
              <a:gd name="connsiteX86" fmla="*/ 467237 w 2427462"/>
              <a:gd name="connsiteY86" fmla="*/ 969399 h 1347457"/>
              <a:gd name="connsiteX87" fmla="*/ 1122800 w 2427462"/>
              <a:gd name="connsiteY87" fmla="*/ 201077 h 1347457"/>
              <a:gd name="connsiteX88" fmla="*/ 790409 w 2427462"/>
              <a:gd name="connsiteY88" fmla="*/ 1140635 h 1347457"/>
              <a:gd name="connsiteX89" fmla="*/ 467237 w 2427462"/>
              <a:gd name="connsiteY89" fmla="*/ 969399 h 1347457"/>
              <a:gd name="connsiteX90" fmla="*/ 863217 w 2427462"/>
              <a:gd name="connsiteY90" fmla="*/ 1114556 h 1347457"/>
              <a:gd name="connsiteX91" fmla="*/ 1171281 w 2427462"/>
              <a:gd name="connsiteY91" fmla="*/ 255418 h 1347457"/>
              <a:gd name="connsiteX92" fmla="*/ 1171281 w 2427462"/>
              <a:gd name="connsiteY92" fmla="*/ 968882 h 1347457"/>
              <a:gd name="connsiteX93" fmla="*/ 863217 w 2427462"/>
              <a:gd name="connsiteY93" fmla="*/ 1114556 h 1347457"/>
              <a:gd name="connsiteX94" fmla="*/ 1243084 w 2427462"/>
              <a:gd name="connsiteY94" fmla="*/ 969514 h 1347457"/>
              <a:gd name="connsiteX95" fmla="*/ 1243084 w 2427462"/>
              <a:gd name="connsiteY95" fmla="*/ 244849 h 1347457"/>
              <a:gd name="connsiteX96" fmla="*/ 1560368 w 2427462"/>
              <a:gd name="connsiteY96" fmla="*/ 1133886 h 1347457"/>
              <a:gd name="connsiteX97" fmla="*/ 1243084 w 2427462"/>
              <a:gd name="connsiteY97" fmla="*/ 969514 h 1347457"/>
              <a:gd name="connsiteX98" fmla="*/ 1632659 w 2427462"/>
              <a:gd name="connsiteY98" fmla="*/ 1145173 h 1347457"/>
              <a:gd name="connsiteX99" fmla="*/ 1300096 w 2427462"/>
              <a:gd name="connsiteY99" fmla="*/ 201077 h 1347457"/>
              <a:gd name="connsiteX100" fmla="*/ 1955744 w 2427462"/>
              <a:gd name="connsiteY100" fmla="*/ 969773 h 1347457"/>
              <a:gd name="connsiteX101" fmla="*/ 1632659 w 2427462"/>
              <a:gd name="connsiteY101" fmla="*/ 1145173 h 1347457"/>
              <a:gd name="connsiteX102" fmla="*/ 2029759 w 2427462"/>
              <a:gd name="connsiteY102" fmla="*/ 969428 h 1347457"/>
              <a:gd name="connsiteX103" fmla="*/ 1498789 w 2427462"/>
              <a:gd name="connsiteY103" fmla="*/ 206247 h 1347457"/>
              <a:gd name="connsiteX104" fmla="*/ 2337909 w 2427462"/>
              <a:gd name="connsiteY104" fmla="*/ 1113465 h 1347457"/>
              <a:gd name="connsiteX105" fmla="*/ 2029759 w 2427462"/>
              <a:gd name="connsiteY105"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47414 w 2427462"/>
              <a:gd name="connsiteY62" fmla="*/ 1246961 h 1347457"/>
              <a:gd name="connsiteX63" fmla="*/ 1171281 w 2427462"/>
              <a:gd name="connsiteY63" fmla="*/ 1246961 h 1347457"/>
              <a:gd name="connsiteX64" fmla="*/ 1243084 w 2427462"/>
              <a:gd name="connsiteY64" fmla="*/ 1246990 h 1347457"/>
              <a:gd name="connsiteX65" fmla="*/ 1275912 w 2427462"/>
              <a:gd name="connsiteY65" fmla="*/ 1246990 h 1347457"/>
              <a:gd name="connsiteX66" fmla="*/ 1311814 w 2427462"/>
              <a:gd name="connsiteY66" fmla="*/ 1211089 h 1347457"/>
              <a:gd name="connsiteX67" fmla="*/ 1275912 w 2427462"/>
              <a:gd name="connsiteY67" fmla="*/ 1175187 h 1347457"/>
              <a:gd name="connsiteX68" fmla="*/ 1243084 w 2427462"/>
              <a:gd name="connsiteY68" fmla="*/ 1175187 h 1347457"/>
              <a:gd name="connsiteX69" fmla="*/ 1243084 w 2427462"/>
              <a:gd name="connsiteY69" fmla="*/ 1041576 h 1347457"/>
              <a:gd name="connsiteX70" fmla="*/ 1559449 w 2427462"/>
              <a:gd name="connsiteY70" fmla="*/ 1315404 h 1347457"/>
              <a:gd name="connsiteX71" fmla="*/ 1595149 w 2427462"/>
              <a:gd name="connsiteY71" fmla="*/ 1347457 h 1347457"/>
              <a:gd name="connsiteX72" fmla="*/ 1606207 w 2427462"/>
              <a:gd name="connsiteY72" fmla="*/ 1347457 h 1347457"/>
              <a:gd name="connsiteX73" fmla="*/ 1641907 w 2427462"/>
              <a:gd name="connsiteY73" fmla="*/ 1315404 h 1347457"/>
              <a:gd name="connsiteX74" fmla="*/ 1997706 w 2427462"/>
              <a:gd name="connsiteY74" fmla="*/ 1039594 h 1347457"/>
              <a:gd name="connsiteX75" fmla="*/ 2353447 w 2427462"/>
              <a:gd name="connsiteY75" fmla="*/ 1315404 h 1347457"/>
              <a:gd name="connsiteX76" fmla="*/ 2389148 w 2427462"/>
              <a:gd name="connsiteY76" fmla="*/ 1347457 h 1347457"/>
              <a:gd name="connsiteX77" fmla="*/ 2390986 w 2427462"/>
              <a:gd name="connsiteY77" fmla="*/ 1347457 h 1347457"/>
              <a:gd name="connsiteX78" fmla="*/ 2391560 w 2427462"/>
              <a:gd name="connsiteY78" fmla="*/ 1347457 h 1347457"/>
              <a:gd name="connsiteX79" fmla="*/ 2427462 w 2427462"/>
              <a:gd name="connsiteY79" fmla="*/ 1311556 h 1347457"/>
              <a:gd name="connsiteX80" fmla="*/ 2426859 w 2427462"/>
              <a:gd name="connsiteY80" fmla="*/ 1305036 h 1347457"/>
              <a:gd name="connsiteX81" fmla="*/ 88978 w 2427462"/>
              <a:gd name="connsiteY81" fmla="*/ 1113465 h 1347457"/>
              <a:gd name="connsiteX82" fmla="*/ 920889 w 2427462"/>
              <a:gd name="connsiteY82" fmla="*/ 208057 h 1347457"/>
              <a:gd name="connsiteX83" fmla="*/ 393050 w 2427462"/>
              <a:gd name="connsiteY83" fmla="*/ 969629 h 1347457"/>
              <a:gd name="connsiteX84" fmla="*/ 88978 w 2427462"/>
              <a:gd name="connsiteY84" fmla="*/ 1113465 h 1347457"/>
              <a:gd name="connsiteX85" fmla="*/ 467237 w 2427462"/>
              <a:gd name="connsiteY85" fmla="*/ 969399 h 1347457"/>
              <a:gd name="connsiteX86" fmla="*/ 1122800 w 2427462"/>
              <a:gd name="connsiteY86" fmla="*/ 201077 h 1347457"/>
              <a:gd name="connsiteX87" fmla="*/ 790409 w 2427462"/>
              <a:gd name="connsiteY87" fmla="*/ 1140635 h 1347457"/>
              <a:gd name="connsiteX88" fmla="*/ 467237 w 2427462"/>
              <a:gd name="connsiteY88" fmla="*/ 969399 h 1347457"/>
              <a:gd name="connsiteX89" fmla="*/ 863217 w 2427462"/>
              <a:gd name="connsiteY89" fmla="*/ 1114556 h 1347457"/>
              <a:gd name="connsiteX90" fmla="*/ 1171281 w 2427462"/>
              <a:gd name="connsiteY90" fmla="*/ 255418 h 1347457"/>
              <a:gd name="connsiteX91" fmla="*/ 1171281 w 2427462"/>
              <a:gd name="connsiteY91" fmla="*/ 968882 h 1347457"/>
              <a:gd name="connsiteX92" fmla="*/ 863217 w 2427462"/>
              <a:gd name="connsiteY92" fmla="*/ 1114556 h 1347457"/>
              <a:gd name="connsiteX93" fmla="*/ 1243084 w 2427462"/>
              <a:gd name="connsiteY93" fmla="*/ 969514 h 1347457"/>
              <a:gd name="connsiteX94" fmla="*/ 1243084 w 2427462"/>
              <a:gd name="connsiteY94" fmla="*/ 244849 h 1347457"/>
              <a:gd name="connsiteX95" fmla="*/ 1560368 w 2427462"/>
              <a:gd name="connsiteY95" fmla="*/ 1133886 h 1347457"/>
              <a:gd name="connsiteX96" fmla="*/ 1243084 w 2427462"/>
              <a:gd name="connsiteY96" fmla="*/ 969514 h 1347457"/>
              <a:gd name="connsiteX97" fmla="*/ 1632659 w 2427462"/>
              <a:gd name="connsiteY97" fmla="*/ 1145173 h 1347457"/>
              <a:gd name="connsiteX98" fmla="*/ 1300096 w 2427462"/>
              <a:gd name="connsiteY98" fmla="*/ 201077 h 1347457"/>
              <a:gd name="connsiteX99" fmla="*/ 1955744 w 2427462"/>
              <a:gd name="connsiteY99" fmla="*/ 969773 h 1347457"/>
              <a:gd name="connsiteX100" fmla="*/ 1632659 w 2427462"/>
              <a:gd name="connsiteY100" fmla="*/ 1145173 h 1347457"/>
              <a:gd name="connsiteX101" fmla="*/ 2029759 w 2427462"/>
              <a:gd name="connsiteY101" fmla="*/ 969428 h 1347457"/>
              <a:gd name="connsiteX102" fmla="*/ 1498789 w 2427462"/>
              <a:gd name="connsiteY102" fmla="*/ 206247 h 1347457"/>
              <a:gd name="connsiteX103" fmla="*/ 2337909 w 2427462"/>
              <a:gd name="connsiteY103" fmla="*/ 1113465 h 1347457"/>
              <a:gd name="connsiteX104" fmla="*/ 2029759 w 2427462"/>
              <a:gd name="connsiteY104"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47414 w 2427462"/>
              <a:gd name="connsiteY62" fmla="*/ 1246961 h 1347457"/>
              <a:gd name="connsiteX63" fmla="*/ 1171281 w 2427462"/>
              <a:gd name="connsiteY63" fmla="*/ 1246961 h 1347457"/>
              <a:gd name="connsiteX64" fmla="*/ 1243084 w 2427462"/>
              <a:gd name="connsiteY64" fmla="*/ 1246990 h 1347457"/>
              <a:gd name="connsiteX65" fmla="*/ 1311814 w 2427462"/>
              <a:gd name="connsiteY65" fmla="*/ 1211089 h 1347457"/>
              <a:gd name="connsiteX66" fmla="*/ 1275912 w 2427462"/>
              <a:gd name="connsiteY66" fmla="*/ 1175187 h 1347457"/>
              <a:gd name="connsiteX67" fmla="*/ 1243084 w 2427462"/>
              <a:gd name="connsiteY67" fmla="*/ 1175187 h 1347457"/>
              <a:gd name="connsiteX68" fmla="*/ 1243084 w 2427462"/>
              <a:gd name="connsiteY68" fmla="*/ 1041576 h 1347457"/>
              <a:gd name="connsiteX69" fmla="*/ 1559449 w 2427462"/>
              <a:gd name="connsiteY69" fmla="*/ 1315404 h 1347457"/>
              <a:gd name="connsiteX70" fmla="*/ 1595149 w 2427462"/>
              <a:gd name="connsiteY70" fmla="*/ 1347457 h 1347457"/>
              <a:gd name="connsiteX71" fmla="*/ 1606207 w 2427462"/>
              <a:gd name="connsiteY71" fmla="*/ 1347457 h 1347457"/>
              <a:gd name="connsiteX72" fmla="*/ 1641907 w 2427462"/>
              <a:gd name="connsiteY72" fmla="*/ 1315404 h 1347457"/>
              <a:gd name="connsiteX73" fmla="*/ 1997706 w 2427462"/>
              <a:gd name="connsiteY73" fmla="*/ 1039594 h 1347457"/>
              <a:gd name="connsiteX74" fmla="*/ 2353447 w 2427462"/>
              <a:gd name="connsiteY74" fmla="*/ 1315404 h 1347457"/>
              <a:gd name="connsiteX75" fmla="*/ 2389148 w 2427462"/>
              <a:gd name="connsiteY75" fmla="*/ 1347457 h 1347457"/>
              <a:gd name="connsiteX76" fmla="*/ 2390986 w 2427462"/>
              <a:gd name="connsiteY76" fmla="*/ 1347457 h 1347457"/>
              <a:gd name="connsiteX77" fmla="*/ 2391560 w 2427462"/>
              <a:gd name="connsiteY77" fmla="*/ 1347457 h 1347457"/>
              <a:gd name="connsiteX78" fmla="*/ 2427462 w 2427462"/>
              <a:gd name="connsiteY78" fmla="*/ 1311556 h 1347457"/>
              <a:gd name="connsiteX79" fmla="*/ 2426859 w 2427462"/>
              <a:gd name="connsiteY79" fmla="*/ 1305036 h 1347457"/>
              <a:gd name="connsiteX80" fmla="*/ 88978 w 2427462"/>
              <a:gd name="connsiteY80" fmla="*/ 1113465 h 1347457"/>
              <a:gd name="connsiteX81" fmla="*/ 920889 w 2427462"/>
              <a:gd name="connsiteY81" fmla="*/ 208057 h 1347457"/>
              <a:gd name="connsiteX82" fmla="*/ 393050 w 2427462"/>
              <a:gd name="connsiteY82" fmla="*/ 969629 h 1347457"/>
              <a:gd name="connsiteX83" fmla="*/ 88978 w 2427462"/>
              <a:gd name="connsiteY83" fmla="*/ 1113465 h 1347457"/>
              <a:gd name="connsiteX84" fmla="*/ 467237 w 2427462"/>
              <a:gd name="connsiteY84" fmla="*/ 969399 h 1347457"/>
              <a:gd name="connsiteX85" fmla="*/ 1122800 w 2427462"/>
              <a:gd name="connsiteY85" fmla="*/ 201077 h 1347457"/>
              <a:gd name="connsiteX86" fmla="*/ 790409 w 2427462"/>
              <a:gd name="connsiteY86" fmla="*/ 1140635 h 1347457"/>
              <a:gd name="connsiteX87" fmla="*/ 467237 w 2427462"/>
              <a:gd name="connsiteY87" fmla="*/ 969399 h 1347457"/>
              <a:gd name="connsiteX88" fmla="*/ 863217 w 2427462"/>
              <a:gd name="connsiteY88" fmla="*/ 1114556 h 1347457"/>
              <a:gd name="connsiteX89" fmla="*/ 1171281 w 2427462"/>
              <a:gd name="connsiteY89" fmla="*/ 255418 h 1347457"/>
              <a:gd name="connsiteX90" fmla="*/ 1171281 w 2427462"/>
              <a:gd name="connsiteY90" fmla="*/ 968882 h 1347457"/>
              <a:gd name="connsiteX91" fmla="*/ 863217 w 2427462"/>
              <a:gd name="connsiteY91" fmla="*/ 1114556 h 1347457"/>
              <a:gd name="connsiteX92" fmla="*/ 1243084 w 2427462"/>
              <a:gd name="connsiteY92" fmla="*/ 969514 h 1347457"/>
              <a:gd name="connsiteX93" fmla="*/ 1243084 w 2427462"/>
              <a:gd name="connsiteY93" fmla="*/ 244849 h 1347457"/>
              <a:gd name="connsiteX94" fmla="*/ 1560368 w 2427462"/>
              <a:gd name="connsiteY94" fmla="*/ 1133886 h 1347457"/>
              <a:gd name="connsiteX95" fmla="*/ 1243084 w 2427462"/>
              <a:gd name="connsiteY95" fmla="*/ 969514 h 1347457"/>
              <a:gd name="connsiteX96" fmla="*/ 1632659 w 2427462"/>
              <a:gd name="connsiteY96" fmla="*/ 1145173 h 1347457"/>
              <a:gd name="connsiteX97" fmla="*/ 1300096 w 2427462"/>
              <a:gd name="connsiteY97" fmla="*/ 201077 h 1347457"/>
              <a:gd name="connsiteX98" fmla="*/ 1955744 w 2427462"/>
              <a:gd name="connsiteY98" fmla="*/ 969773 h 1347457"/>
              <a:gd name="connsiteX99" fmla="*/ 1632659 w 2427462"/>
              <a:gd name="connsiteY99" fmla="*/ 1145173 h 1347457"/>
              <a:gd name="connsiteX100" fmla="*/ 2029759 w 2427462"/>
              <a:gd name="connsiteY100" fmla="*/ 969428 h 1347457"/>
              <a:gd name="connsiteX101" fmla="*/ 1498789 w 2427462"/>
              <a:gd name="connsiteY101" fmla="*/ 206247 h 1347457"/>
              <a:gd name="connsiteX102" fmla="*/ 2337909 w 2427462"/>
              <a:gd name="connsiteY102" fmla="*/ 1113465 h 1347457"/>
              <a:gd name="connsiteX103" fmla="*/ 2029759 w 2427462"/>
              <a:gd name="connsiteY103"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47414 w 2427462"/>
              <a:gd name="connsiteY62" fmla="*/ 1246961 h 1347457"/>
              <a:gd name="connsiteX63" fmla="*/ 1243084 w 2427462"/>
              <a:gd name="connsiteY63" fmla="*/ 1246990 h 1347457"/>
              <a:gd name="connsiteX64" fmla="*/ 1311814 w 2427462"/>
              <a:gd name="connsiteY64" fmla="*/ 1211089 h 1347457"/>
              <a:gd name="connsiteX65" fmla="*/ 1275912 w 2427462"/>
              <a:gd name="connsiteY65" fmla="*/ 1175187 h 1347457"/>
              <a:gd name="connsiteX66" fmla="*/ 1243084 w 2427462"/>
              <a:gd name="connsiteY66" fmla="*/ 1175187 h 1347457"/>
              <a:gd name="connsiteX67" fmla="*/ 1243084 w 2427462"/>
              <a:gd name="connsiteY67" fmla="*/ 1041576 h 1347457"/>
              <a:gd name="connsiteX68" fmla="*/ 1559449 w 2427462"/>
              <a:gd name="connsiteY68" fmla="*/ 1315404 h 1347457"/>
              <a:gd name="connsiteX69" fmla="*/ 1595149 w 2427462"/>
              <a:gd name="connsiteY69" fmla="*/ 1347457 h 1347457"/>
              <a:gd name="connsiteX70" fmla="*/ 1606207 w 2427462"/>
              <a:gd name="connsiteY70" fmla="*/ 1347457 h 1347457"/>
              <a:gd name="connsiteX71" fmla="*/ 1641907 w 2427462"/>
              <a:gd name="connsiteY71" fmla="*/ 1315404 h 1347457"/>
              <a:gd name="connsiteX72" fmla="*/ 1997706 w 2427462"/>
              <a:gd name="connsiteY72" fmla="*/ 1039594 h 1347457"/>
              <a:gd name="connsiteX73" fmla="*/ 2353447 w 2427462"/>
              <a:gd name="connsiteY73" fmla="*/ 1315404 h 1347457"/>
              <a:gd name="connsiteX74" fmla="*/ 2389148 w 2427462"/>
              <a:gd name="connsiteY74" fmla="*/ 1347457 h 1347457"/>
              <a:gd name="connsiteX75" fmla="*/ 2390986 w 2427462"/>
              <a:gd name="connsiteY75" fmla="*/ 1347457 h 1347457"/>
              <a:gd name="connsiteX76" fmla="*/ 2391560 w 2427462"/>
              <a:gd name="connsiteY76" fmla="*/ 1347457 h 1347457"/>
              <a:gd name="connsiteX77" fmla="*/ 2427462 w 2427462"/>
              <a:gd name="connsiteY77" fmla="*/ 1311556 h 1347457"/>
              <a:gd name="connsiteX78" fmla="*/ 2426859 w 2427462"/>
              <a:gd name="connsiteY78" fmla="*/ 1305036 h 1347457"/>
              <a:gd name="connsiteX79" fmla="*/ 88978 w 2427462"/>
              <a:gd name="connsiteY79" fmla="*/ 1113465 h 1347457"/>
              <a:gd name="connsiteX80" fmla="*/ 920889 w 2427462"/>
              <a:gd name="connsiteY80" fmla="*/ 208057 h 1347457"/>
              <a:gd name="connsiteX81" fmla="*/ 393050 w 2427462"/>
              <a:gd name="connsiteY81" fmla="*/ 969629 h 1347457"/>
              <a:gd name="connsiteX82" fmla="*/ 88978 w 2427462"/>
              <a:gd name="connsiteY82" fmla="*/ 1113465 h 1347457"/>
              <a:gd name="connsiteX83" fmla="*/ 467237 w 2427462"/>
              <a:gd name="connsiteY83" fmla="*/ 969399 h 1347457"/>
              <a:gd name="connsiteX84" fmla="*/ 1122800 w 2427462"/>
              <a:gd name="connsiteY84" fmla="*/ 201077 h 1347457"/>
              <a:gd name="connsiteX85" fmla="*/ 790409 w 2427462"/>
              <a:gd name="connsiteY85" fmla="*/ 1140635 h 1347457"/>
              <a:gd name="connsiteX86" fmla="*/ 467237 w 2427462"/>
              <a:gd name="connsiteY86" fmla="*/ 969399 h 1347457"/>
              <a:gd name="connsiteX87" fmla="*/ 863217 w 2427462"/>
              <a:gd name="connsiteY87" fmla="*/ 1114556 h 1347457"/>
              <a:gd name="connsiteX88" fmla="*/ 1171281 w 2427462"/>
              <a:gd name="connsiteY88" fmla="*/ 255418 h 1347457"/>
              <a:gd name="connsiteX89" fmla="*/ 1171281 w 2427462"/>
              <a:gd name="connsiteY89" fmla="*/ 968882 h 1347457"/>
              <a:gd name="connsiteX90" fmla="*/ 863217 w 2427462"/>
              <a:gd name="connsiteY90" fmla="*/ 1114556 h 1347457"/>
              <a:gd name="connsiteX91" fmla="*/ 1243084 w 2427462"/>
              <a:gd name="connsiteY91" fmla="*/ 969514 h 1347457"/>
              <a:gd name="connsiteX92" fmla="*/ 1243084 w 2427462"/>
              <a:gd name="connsiteY92" fmla="*/ 244849 h 1347457"/>
              <a:gd name="connsiteX93" fmla="*/ 1560368 w 2427462"/>
              <a:gd name="connsiteY93" fmla="*/ 1133886 h 1347457"/>
              <a:gd name="connsiteX94" fmla="*/ 1243084 w 2427462"/>
              <a:gd name="connsiteY94" fmla="*/ 969514 h 1347457"/>
              <a:gd name="connsiteX95" fmla="*/ 1632659 w 2427462"/>
              <a:gd name="connsiteY95" fmla="*/ 1145173 h 1347457"/>
              <a:gd name="connsiteX96" fmla="*/ 1300096 w 2427462"/>
              <a:gd name="connsiteY96" fmla="*/ 201077 h 1347457"/>
              <a:gd name="connsiteX97" fmla="*/ 1955744 w 2427462"/>
              <a:gd name="connsiteY97" fmla="*/ 969773 h 1347457"/>
              <a:gd name="connsiteX98" fmla="*/ 1632659 w 2427462"/>
              <a:gd name="connsiteY98" fmla="*/ 1145173 h 1347457"/>
              <a:gd name="connsiteX99" fmla="*/ 2029759 w 2427462"/>
              <a:gd name="connsiteY99" fmla="*/ 969428 h 1347457"/>
              <a:gd name="connsiteX100" fmla="*/ 1498789 w 2427462"/>
              <a:gd name="connsiteY100" fmla="*/ 206247 h 1347457"/>
              <a:gd name="connsiteX101" fmla="*/ 2337909 w 2427462"/>
              <a:gd name="connsiteY101" fmla="*/ 1113465 h 1347457"/>
              <a:gd name="connsiteX102" fmla="*/ 2029759 w 2427462"/>
              <a:gd name="connsiteY102"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243084 w 2427462"/>
              <a:gd name="connsiteY62" fmla="*/ 1246990 h 1347457"/>
              <a:gd name="connsiteX63" fmla="*/ 1311814 w 2427462"/>
              <a:gd name="connsiteY63" fmla="*/ 1211089 h 1347457"/>
              <a:gd name="connsiteX64" fmla="*/ 1275912 w 2427462"/>
              <a:gd name="connsiteY64" fmla="*/ 1175187 h 1347457"/>
              <a:gd name="connsiteX65" fmla="*/ 1243084 w 2427462"/>
              <a:gd name="connsiteY65" fmla="*/ 1175187 h 1347457"/>
              <a:gd name="connsiteX66" fmla="*/ 1243084 w 2427462"/>
              <a:gd name="connsiteY66" fmla="*/ 1041576 h 1347457"/>
              <a:gd name="connsiteX67" fmla="*/ 1559449 w 2427462"/>
              <a:gd name="connsiteY67" fmla="*/ 1315404 h 1347457"/>
              <a:gd name="connsiteX68" fmla="*/ 1595149 w 2427462"/>
              <a:gd name="connsiteY68" fmla="*/ 1347457 h 1347457"/>
              <a:gd name="connsiteX69" fmla="*/ 1606207 w 2427462"/>
              <a:gd name="connsiteY69" fmla="*/ 1347457 h 1347457"/>
              <a:gd name="connsiteX70" fmla="*/ 1641907 w 2427462"/>
              <a:gd name="connsiteY70" fmla="*/ 1315404 h 1347457"/>
              <a:gd name="connsiteX71" fmla="*/ 1997706 w 2427462"/>
              <a:gd name="connsiteY71" fmla="*/ 1039594 h 1347457"/>
              <a:gd name="connsiteX72" fmla="*/ 2353447 w 2427462"/>
              <a:gd name="connsiteY72" fmla="*/ 1315404 h 1347457"/>
              <a:gd name="connsiteX73" fmla="*/ 2389148 w 2427462"/>
              <a:gd name="connsiteY73" fmla="*/ 1347457 h 1347457"/>
              <a:gd name="connsiteX74" fmla="*/ 2390986 w 2427462"/>
              <a:gd name="connsiteY74" fmla="*/ 1347457 h 1347457"/>
              <a:gd name="connsiteX75" fmla="*/ 2391560 w 2427462"/>
              <a:gd name="connsiteY75" fmla="*/ 1347457 h 1347457"/>
              <a:gd name="connsiteX76" fmla="*/ 2427462 w 2427462"/>
              <a:gd name="connsiteY76" fmla="*/ 1311556 h 1347457"/>
              <a:gd name="connsiteX77" fmla="*/ 2426859 w 2427462"/>
              <a:gd name="connsiteY77" fmla="*/ 1305036 h 1347457"/>
              <a:gd name="connsiteX78" fmla="*/ 88978 w 2427462"/>
              <a:gd name="connsiteY78" fmla="*/ 1113465 h 1347457"/>
              <a:gd name="connsiteX79" fmla="*/ 920889 w 2427462"/>
              <a:gd name="connsiteY79" fmla="*/ 208057 h 1347457"/>
              <a:gd name="connsiteX80" fmla="*/ 393050 w 2427462"/>
              <a:gd name="connsiteY80" fmla="*/ 969629 h 1347457"/>
              <a:gd name="connsiteX81" fmla="*/ 88978 w 2427462"/>
              <a:gd name="connsiteY81" fmla="*/ 1113465 h 1347457"/>
              <a:gd name="connsiteX82" fmla="*/ 467237 w 2427462"/>
              <a:gd name="connsiteY82" fmla="*/ 969399 h 1347457"/>
              <a:gd name="connsiteX83" fmla="*/ 1122800 w 2427462"/>
              <a:gd name="connsiteY83" fmla="*/ 201077 h 1347457"/>
              <a:gd name="connsiteX84" fmla="*/ 790409 w 2427462"/>
              <a:gd name="connsiteY84" fmla="*/ 1140635 h 1347457"/>
              <a:gd name="connsiteX85" fmla="*/ 467237 w 2427462"/>
              <a:gd name="connsiteY85" fmla="*/ 969399 h 1347457"/>
              <a:gd name="connsiteX86" fmla="*/ 863217 w 2427462"/>
              <a:gd name="connsiteY86" fmla="*/ 1114556 h 1347457"/>
              <a:gd name="connsiteX87" fmla="*/ 1171281 w 2427462"/>
              <a:gd name="connsiteY87" fmla="*/ 255418 h 1347457"/>
              <a:gd name="connsiteX88" fmla="*/ 1171281 w 2427462"/>
              <a:gd name="connsiteY88" fmla="*/ 968882 h 1347457"/>
              <a:gd name="connsiteX89" fmla="*/ 863217 w 2427462"/>
              <a:gd name="connsiteY89" fmla="*/ 1114556 h 1347457"/>
              <a:gd name="connsiteX90" fmla="*/ 1243084 w 2427462"/>
              <a:gd name="connsiteY90" fmla="*/ 969514 h 1347457"/>
              <a:gd name="connsiteX91" fmla="*/ 1243084 w 2427462"/>
              <a:gd name="connsiteY91" fmla="*/ 244849 h 1347457"/>
              <a:gd name="connsiteX92" fmla="*/ 1560368 w 2427462"/>
              <a:gd name="connsiteY92" fmla="*/ 1133886 h 1347457"/>
              <a:gd name="connsiteX93" fmla="*/ 1243084 w 2427462"/>
              <a:gd name="connsiteY93" fmla="*/ 969514 h 1347457"/>
              <a:gd name="connsiteX94" fmla="*/ 1632659 w 2427462"/>
              <a:gd name="connsiteY94" fmla="*/ 1145173 h 1347457"/>
              <a:gd name="connsiteX95" fmla="*/ 1300096 w 2427462"/>
              <a:gd name="connsiteY95" fmla="*/ 201077 h 1347457"/>
              <a:gd name="connsiteX96" fmla="*/ 1955744 w 2427462"/>
              <a:gd name="connsiteY96" fmla="*/ 969773 h 1347457"/>
              <a:gd name="connsiteX97" fmla="*/ 1632659 w 2427462"/>
              <a:gd name="connsiteY97" fmla="*/ 1145173 h 1347457"/>
              <a:gd name="connsiteX98" fmla="*/ 2029759 w 2427462"/>
              <a:gd name="connsiteY98" fmla="*/ 969428 h 1347457"/>
              <a:gd name="connsiteX99" fmla="*/ 1498789 w 2427462"/>
              <a:gd name="connsiteY99" fmla="*/ 206247 h 1347457"/>
              <a:gd name="connsiteX100" fmla="*/ 2337909 w 2427462"/>
              <a:gd name="connsiteY100" fmla="*/ 1113465 h 1347457"/>
              <a:gd name="connsiteX101" fmla="*/ 2029759 w 2427462"/>
              <a:gd name="connsiteY101"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311814 w 2427462"/>
              <a:gd name="connsiteY62" fmla="*/ 1211089 h 1347457"/>
              <a:gd name="connsiteX63" fmla="*/ 1275912 w 2427462"/>
              <a:gd name="connsiteY63" fmla="*/ 1175187 h 1347457"/>
              <a:gd name="connsiteX64" fmla="*/ 1243084 w 2427462"/>
              <a:gd name="connsiteY64" fmla="*/ 1175187 h 1347457"/>
              <a:gd name="connsiteX65" fmla="*/ 1243084 w 2427462"/>
              <a:gd name="connsiteY65" fmla="*/ 1041576 h 1347457"/>
              <a:gd name="connsiteX66" fmla="*/ 1559449 w 2427462"/>
              <a:gd name="connsiteY66" fmla="*/ 1315404 h 1347457"/>
              <a:gd name="connsiteX67" fmla="*/ 1595149 w 2427462"/>
              <a:gd name="connsiteY67" fmla="*/ 1347457 h 1347457"/>
              <a:gd name="connsiteX68" fmla="*/ 1606207 w 2427462"/>
              <a:gd name="connsiteY68" fmla="*/ 1347457 h 1347457"/>
              <a:gd name="connsiteX69" fmla="*/ 1641907 w 2427462"/>
              <a:gd name="connsiteY69" fmla="*/ 1315404 h 1347457"/>
              <a:gd name="connsiteX70" fmla="*/ 1997706 w 2427462"/>
              <a:gd name="connsiteY70" fmla="*/ 1039594 h 1347457"/>
              <a:gd name="connsiteX71" fmla="*/ 2353447 w 2427462"/>
              <a:gd name="connsiteY71" fmla="*/ 1315404 h 1347457"/>
              <a:gd name="connsiteX72" fmla="*/ 2389148 w 2427462"/>
              <a:gd name="connsiteY72" fmla="*/ 1347457 h 1347457"/>
              <a:gd name="connsiteX73" fmla="*/ 2390986 w 2427462"/>
              <a:gd name="connsiteY73" fmla="*/ 1347457 h 1347457"/>
              <a:gd name="connsiteX74" fmla="*/ 2391560 w 2427462"/>
              <a:gd name="connsiteY74" fmla="*/ 1347457 h 1347457"/>
              <a:gd name="connsiteX75" fmla="*/ 2427462 w 2427462"/>
              <a:gd name="connsiteY75" fmla="*/ 1311556 h 1347457"/>
              <a:gd name="connsiteX76" fmla="*/ 2426859 w 2427462"/>
              <a:gd name="connsiteY76" fmla="*/ 1305036 h 1347457"/>
              <a:gd name="connsiteX77" fmla="*/ 88978 w 2427462"/>
              <a:gd name="connsiteY77" fmla="*/ 1113465 h 1347457"/>
              <a:gd name="connsiteX78" fmla="*/ 920889 w 2427462"/>
              <a:gd name="connsiteY78" fmla="*/ 208057 h 1347457"/>
              <a:gd name="connsiteX79" fmla="*/ 393050 w 2427462"/>
              <a:gd name="connsiteY79" fmla="*/ 969629 h 1347457"/>
              <a:gd name="connsiteX80" fmla="*/ 88978 w 2427462"/>
              <a:gd name="connsiteY80" fmla="*/ 1113465 h 1347457"/>
              <a:gd name="connsiteX81" fmla="*/ 467237 w 2427462"/>
              <a:gd name="connsiteY81" fmla="*/ 969399 h 1347457"/>
              <a:gd name="connsiteX82" fmla="*/ 1122800 w 2427462"/>
              <a:gd name="connsiteY82" fmla="*/ 201077 h 1347457"/>
              <a:gd name="connsiteX83" fmla="*/ 790409 w 2427462"/>
              <a:gd name="connsiteY83" fmla="*/ 1140635 h 1347457"/>
              <a:gd name="connsiteX84" fmla="*/ 467237 w 2427462"/>
              <a:gd name="connsiteY84" fmla="*/ 969399 h 1347457"/>
              <a:gd name="connsiteX85" fmla="*/ 863217 w 2427462"/>
              <a:gd name="connsiteY85" fmla="*/ 1114556 h 1347457"/>
              <a:gd name="connsiteX86" fmla="*/ 1171281 w 2427462"/>
              <a:gd name="connsiteY86" fmla="*/ 255418 h 1347457"/>
              <a:gd name="connsiteX87" fmla="*/ 1171281 w 2427462"/>
              <a:gd name="connsiteY87" fmla="*/ 968882 h 1347457"/>
              <a:gd name="connsiteX88" fmla="*/ 863217 w 2427462"/>
              <a:gd name="connsiteY88" fmla="*/ 1114556 h 1347457"/>
              <a:gd name="connsiteX89" fmla="*/ 1243084 w 2427462"/>
              <a:gd name="connsiteY89" fmla="*/ 969514 h 1347457"/>
              <a:gd name="connsiteX90" fmla="*/ 1243084 w 2427462"/>
              <a:gd name="connsiteY90" fmla="*/ 244849 h 1347457"/>
              <a:gd name="connsiteX91" fmla="*/ 1560368 w 2427462"/>
              <a:gd name="connsiteY91" fmla="*/ 1133886 h 1347457"/>
              <a:gd name="connsiteX92" fmla="*/ 1243084 w 2427462"/>
              <a:gd name="connsiteY92" fmla="*/ 969514 h 1347457"/>
              <a:gd name="connsiteX93" fmla="*/ 1632659 w 2427462"/>
              <a:gd name="connsiteY93" fmla="*/ 1145173 h 1347457"/>
              <a:gd name="connsiteX94" fmla="*/ 1300096 w 2427462"/>
              <a:gd name="connsiteY94" fmla="*/ 201077 h 1347457"/>
              <a:gd name="connsiteX95" fmla="*/ 1955744 w 2427462"/>
              <a:gd name="connsiteY95" fmla="*/ 969773 h 1347457"/>
              <a:gd name="connsiteX96" fmla="*/ 1632659 w 2427462"/>
              <a:gd name="connsiteY96" fmla="*/ 1145173 h 1347457"/>
              <a:gd name="connsiteX97" fmla="*/ 2029759 w 2427462"/>
              <a:gd name="connsiteY97" fmla="*/ 969428 h 1347457"/>
              <a:gd name="connsiteX98" fmla="*/ 1498789 w 2427462"/>
              <a:gd name="connsiteY98" fmla="*/ 206247 h 1347457"/>
              <a:gd name="connsiteX99" fmla="*/ 2337909 w 2427462"/>
              <a:gd name="connsiteY99" fmla="*/ 1113465 h 1347457"/>
              <a:gd name="connsiteX100" fmla="*/ 2029759 w 2427462"/>
              <a:gd name="connsiteY100"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311814 w 2427462"/>
              <a:gd name="connsiteY62" fmla="*/ 1211089 h 1347457"/>
              <a:gd name="connsiteX63" fmla="*/ 1275912 w 2427462"/>
              <a:gd name="connsiteY63" fmla="*/ 1175187 h 1347457"/>
              <a:gd name="connsiteX64" fmla="*/ 1243084 w 2427462"/>
              <a:gd name="connsiteY64" fmla="*/ 1041576 h 1347457"/>
              <a:gd name="connsiteX65" fmla="*/ 1559449 w 2427462"/>
              <a:gd name="connsiteY65" fmla="*/ 1315404 h 1347457"/>
              <a:gd name="connsiteX66" fmla="*/ 1595149 w 2427462"/>
              <a:gd name="connsiteY66" fmla="*/ 1347457 h 1347457"/>
              <a:gd name="connsiteX67" fmla="*/ 1606207 w 2427462"/>
              <a:gd name="connsiteY67" fmla="*/ 1347457 h 1347457"/>
              <a:gd name="connsiteX68" fmla="*/ 1641907 w 2427462"/>
              <a:gd name="connsiteY68" fmla="*/ 1315404 h 1347457"/>
              <a:gd name="connsiteX69" fmla="*/ 1997706 w 2427462"/>
              <a:gd name="connsiteY69" fmla="*/ 1039594 h 1347457"/>
              <a:gd name="connsiteX70" fmla="*/ 2353447 w 2427462"/>
              <a:gd name="connsiteY70" fmla="*/ 1315404 h 1347457"/>
              <a:gd name="connsiteX71" fmla="*/ 2389148 w 2427462"/>
              <a:gd name="connsiteY71" fmla="*/ 1347457 h 1347457"/>
              <a:gd name="connsiteX72" fmla="*/ 2390986 w 2427462"/>
              <a:gd name="connsiteY72" fmla="*/ 1347457 h 1347457"/>
              <a:gd name="connsiteX73" fmla="*/ 2391560 w 2427462"/>
              <a:gd name="connsiteY73" fmla="*/ 1347457 h 1347457"/>
              <a:gd name="connsiteX74" fmla="*/ 2427462 w 2427462"/>
              <a:gd name="connsiteY74" fmla="*/ 1311556 h 1347457"/>
              <a:gd name="connsiteX75" fmla="*/ 2426859 w 2427462"/>
              <a:gd name="connsiteY75" fmla="*/ 1305036 h 1347457"/>
              <a:gd name="connsiteX76" fmla="*/ 88978 w 2427462"/>
              <a:gd name="connsiteY76" fmla="*/ 1113465 h 1347457"/>
              <a:gd name="connsiteX77" fmla="*/ 920889 w 2427462"/>
              <a:gd name="connsiteY77" fmla="*/ 208057 h 1347457"/>
              <a:gd name="connsiteX78" fmla="*/ 393050 w 2427462"/>
              <a:gd name="connsiteY78" fmla="*/ 969629 h 1347457"/>
              <a:gd name="connsiteX79" fmla="*/ 88978 w 2427462"/>
              <a:gd name="connsiteY79" fmla="*/ 1113465 h 1347457"/>
              <a:gd name="connsiteX80" fmla="*/ 467237 w 2427462"/>
              <a:gd name="connsiteY80" fmla="*/ 969399 h 1347457"/>
              <a:gd name="connsiteX81" fmla="*/ 1122800 w 2427462"/>
              <a:gd name="connsiteY81" fmla="*/ 201077 h 1347457"/>
              <a:gd name="connsiteX82" fmla="*/ 790409 w 2427462"/>
              <a:gd name="connsiteY82" fmla="*/ 1140635 h 1347457"/>
              <a:gd name="connsiteX83" fmla="*/ 467237 w 2427462"/>
              <a:gd name="connsiteY83" fmla="*/ 969399 h 1347457"/>
              <a:gd name="connsiteX84" fmla="*/ 863217 w 2427462"/>
              <a:gd name="connsiteY84" fmla="*/ 1114556 h 1347457"/>
              <a:gd name="connsiteX85" fmla="*/ 1171281 w 2427462"/>
              <a:gd name="connsiteY85" fmla="*/ 255418 h 1347457"/>
              <a:gd name="connsiteX86" fmla="*/ 1171281 w 2427462"/>
              <a:gd name="connsiteY86" fmla="*/ 968882 h 1347457"/>
              <a:gd name="connsiteX87" fmla="*/ 863217 w 2427462"/>
              <a:gd name="connsiteY87" fmla="*/ 1114556 h 1347457"/>
              <a:gd name="connsiteX88" fmla="*/ 1243084 w 2427462"/>
              <a:gd name="connsiteY88" fmla="*/ 969514 h 1347457"/>
              <a:gd name="connsiteX89" fmla="*/ 1243084 w 2427462"/>
              <a:gd name="connsiteY89" fmla="*/ 244849 h 1347457"/>
              <a:gd name="connsiteX90" fmla="*/ 1560368 w 2427462"/>
              <a:gd name="connsiteY90" fmla="*/ 1133886 h 1347457"/>
              <a:gd name="connsiteX91" fmla="*/ 1243084 w 2427462"/>
              <a:gd name="connsiteY91" fmla="*/ 969514 h 1347457"/>
              <a:gd name="connsiteX92" fmla="*/ 1632659 w 2427462"/>
              <a:gd name="connsiteY92" fmla="*/ 1145173 h 1347457"/>
              <a:gd name="connsiteX93" fmla="*/ 1300096 w 2427462"/>
              <a:gd name="connsiteY93" fmla="*/ 201077 h 1347457"/>
              <a:gd name="connsiteX94" fmla="*/ 1955744 w 2427462"/>
              <a:gd name="connsiteY94" fmla="*/ 969773 h 1347457"/>
              <a:gd name="connsiteX95" fmla="*/ 1632659 w 2427462"/>
              <a:gd name="connsiteY95" fmla="*/ 1145173 h 1347457"/>
              <a:gd name="connsiteX96" fmla="*/ 2029759 w 2427462"/>
              <a:gd name="connsiteY96" fmla="*/ 969428 h 1347457"/>
              <a:gd name="connsiteX97" fmla="*/ 1498789 w 2427462"/>
              <a:gd name="connsiteY97" fmla="*/ 206247 h 1347457"/>
              <a:gd name="connsiteX98" fmla="*/ 2337909 w 2427462"/>
              <a:gd name="connsiteY98" fmla="*/ 1113465 h 1347457"/>
              <a:gd name="connsiteX99" fmla="*/ 2029759 w 2427462"/>
              <a:gd name="connsiteY99"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311814 w 2427462"/>
              <a:gd name="connsiteY62" fmla="*/ 1211089 h 1347457"/>
              <a:gd name="connsiteX63" fmla="*/ 1243084 w 2427462"/>
              <a:gd name="connsiteY63" fmla="*/ 1041576 h 1347457"/>
              <a:gd name="connsiteX64" fmla="*/ 1559449 w 2427462"/>
              <a:gd name="connsiteY64" fmla="*/ 1315404 h 1347457"/>
              <a:gd name="connsiteX65" fmla="*/ 1595149 w 2427462"/>
              <a:gd name="connsiteY65" fmla="*/ 1347457 h 1347457"/>
              <a:gd name="connsiteX66" fmla="*/ 1606207 w 2427462"/>
              <a:gd name="connsiteY66" fmla="*/ 1347457 h 1347457"/>
              <a:gd name="connsiteX67" fmla="*/ 1641907 w 2427462"/>
              <a:gd name="connsiteY67" fmla="*/ 1315404 h 1347457"/>
              <a:gd name="connsiteX68" fmla="*/ 1997706 w 2427462"/>
              <a:gd name="connsiteY68" fmla="*/ 1039594 h 1347457"/>
              <a:gd name="connsiteX69" fmla="*/ 2353447 w 2427462"/>
              <a:gd name="connsiteY69" fmla="*/ 1315404 h 1347457"/>
              <a:gd name="connsiteX70" fmla="*/ 2389148 w 2427462"/>
              <a:gd name="connsiteY70" fmla="*/ 1347457 h 1347457"/>
              <a:gd name="connsiteX71" fmla="*/ 2390986 w 2427462"/>
              <a:gd name="connsiteY71" fmla="*/ 1347457 h 1347457"/>
              <a:gd name="connsiteX72" fmla="*/ 2391560 w 2427462"/>
              <a:gd name="connsiteY72" fmla="*/ 1347457 h 1347457"/>
              <a:gd name="connsiteX73" fmla="*/ 2427462 w 2427462"/>
              <a:gd name="connsiteY73" fmla="*/ 1311556 h 1347457"/>
              <a:gd name="connsiteX74" fmla="*/ 2426859 w 2427462"/>
              <a:gd name="connsiteY74" fmla="*/ 1305036 h 1347457"/>
              <a:gd name="connsiteX75" fmla="*/ 88978 w 2427462"/>
              <a:gd name="connsiteY75" fmla="*/ 1113465 h 1347457"/>
              <a:gd name="connsiteX76" fmla="*/ 920889 w 2427462"/>
              <a:gd name="connsiteY76" fmla="*/ 208057 h 1347457"/>
              <a:gd name="connsiteX77" fmla="*/ 393050 w 2427462"/>
              <a:gd name="connsiteY77" fmla="*/ 969629 h 1347457"/>
              <a:gd name="connsiteX78" fmla="*/ 88978 w 2427462"/>
              <a:gd name="connsiteY78" fmla="*/ 1113465 h 1347457"/>
              <a:gd name="connsiteX79" fmla="*/ 467237 w 2427462"/>
              <a:gd name="connsiteY79" fmla="*/ 969399 h 1347457"/>
              <a:gd name="connsiteX80" fmla="*/ 1122800 w 2427462"/>
              <a:gd name="connsiteY80" fmla="*/ 201077 h 1347457"/>
              <a:gd name="connsiteX81" fmla="*/ 790409 w 2427462"/>
              <a:gd name="connsiteY81" fmla="*/ 1140635 h 1347457"/>
              <a:gd name="connsiteX82" fmla="*/ 467237 w 2427462"/>
              <a:gd name="connsiteY82" fmla="*/ 969399 h 1347457"/>
              <a:gd name="connsiteX83" fmla="*/ 863217 w 2427462"/>
              <a:gd name="connsiteY83" fmla="*/ 1114556 h 1347457"/>
              <a:gd name="connsiteX84" fmla="*/ 1171281 w 2427462"/>
              <a:gd name="connsiteY84" fmla="*/ 255418 h 1347457"/>
              <a:gd name="connsiteX85" fmla="*/ 1171281 w 2427462"/>
              <a:gd name="connsiteY85" fmla="*/ 968882 h 1347457"/>
              <a:gd name="connsiteX86" fmla="*/ 863217 w 2427462"/>
              <a:gd name="connsiteY86" fmla="*/ 1114556 h 1347457"/>
              <a:gd name="connsiteX87" fmla="*/ 1243084 w 2427462"/>
              <a:gd name="connsiteY87" fmla="*/ 969514 h 1347457"/>
              <a:gd name="connsiteX88" fmla="*/ 1243084 w 2427462"/>
              <a:gd name="connsiteY88" fmla="*/ 244849 h 1347457"/>
              <a:gd name="connsiteX89" fmla="*/ 1560368 w 2427462"/>
              <a:gd name="connsiteY89" fmla="*/ 1133886 h 1347457"/>
              <a:gd name="connsiteX90" fmla="*/ 1243084 w 2427462"/>
              <a:gd name="connsiteY90" fmla="*/ 969514 h 1347457"/>
              <a:gd name="connsiteX91" fmla="*/ 1632659 w 2427462"/>
              <a:gd name="connsiteY91" fmla="*/ 1145173 h 1347457"/>
              <a:gd name="connsiteX92" fmla="*/ 1300096 w 2427462"/>
              <a:gd name="connsiteY92" fmla="*/ 201077 h 1347457"/>
              <a:gd name="connsiteX93" fmla="*/ 1955744 w 2427462"/>
              <a:gd name="connsiteY93" fmla="*/ 969773 h 1347457"/>
              <a:gd name="connsiteX94" fmla="*/ 1632659 w 2427462"/>
              <a:gd name="connsiteY94" fmla="*/ 1145173 h 1347457"/>
              <a:gd name="connsiteX95" fmla="*/ 2029759 w 2427462"/>
              <a:gd name="connsiteY95" fmla="*/ 969428 h 1347457"/>
              <a:gd name="connsiteX96" fmla="*/ 1498789 w 2427462"/>
              <a:gd name="connsiteY96" fmla="*/ 206247 h 1347457"/>
              <a:gd name="connsiteX97" fmla="*/ 2337909 w 2427462"/>
              <a:gd name="connsiteY97" fmla="*/ 1113465 h 1347457"/>
              <a:gd name="connsiteX98" fmla="*/ 2029759 w 2427462"/>
              <a:gd name="connsiteY98"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243084 w 2427462"/>
              <a:gd name="connsiteY62" fmla="*/ 1041576 h 1347457"/>
              <a:gd name="connsiteX63" fmla="*/ 1559449 w 2427462"/>
              <a:gd name="connsiteY63" fmla="*/ 1315404 h 1347457"/>
              <a:gd name="connsiteX64" fmla="*/ 1595149 w 2427462"/>
              <a:gd name="connsiteY64" fmla="*/ 1347457 h 1347457"/>
              <a:gd name="connsiteX65" fmla="*/ 1606207 w 2427462"/>
              <a:gd name="connsiteY65" fmla="*/ 1347457 h 1347457"/>
              <a:gd name="connsiteX66" fmla="*/ 1641907 w 2427462"/>
              <a:gd name="connsiteY66" fmla="*/ 1315404 h 1347457"/>
              <a:gd name="connsiteX67" fmla="*/ 1997706 w 2427462"/>
              <a:gd name="connsiteY67" fmla="*/ 1039594 h 1347457"/>
              <a:gd name="connsiteX68" fmla="*/ 2353447 w 2427462"/>
              <a:gd name="connsiteY68" fmla="*/ 1315404 h 1347457"/>
              <a:gd name="connsiteX69" fmla="*/ 2389148 w 2427462"/>
              <a:gd name="connsiteY69" fmla="*/ 1347457 h 1347457"/>
              <a:gd name="connsiteX70" fmla="*/ 2390986 w 2427462"/>
              <a:gd name="connsiteY70" fmla="*/ 1347457 h 1347457"/>
              <a:gd name="connsiteX71" fmla="*/ 2391560 w 2427462"/>
              <a:gd name="connsiteY71" fmla="*/ 1347457 h 1347457"/>
              <a:gd name="connsiteX72" fmla="*/ 2427462 w 2427462"/>
              <a:gd name="connsiteY72" fmla="*/ 1311556 h 1347457"/>
              <a:gd name="connsiteX73" fmla="*/ 2426859 w 2427462"/>
              <a:gd name="connsiteY73" fmla="*/ 1305036 h 1347457"/>
              <a:gd name="connsiteX74" fmla="*/ 88978 w 2427462"/>
              <a:gd name="connsiteY74" fmla="*/ 1113465 h 1347457"/>
              <a:gd name="connsiteX75" fmla="*/ 920889 w 2427462"/>
              <a:gd name="connsiteY75" fmla="*/ 208057 h 1347457"/>
              <a:gd name="connsiteX76" fmla="*/ 393050 w 2427462"/>
              <a:gd name="connsiteY76" fmla="*/ 969629 h 1347457"/>
              <a:gd name="connsiteX77" fmla="*/ 88978 w 2427462"/>
              <a:gd name="connsiteY77" fmla="*/ 1113465 h 1347457"/>
              <a:gd name="connsiteX78" fmla="*/ 467237 w 2427462"/>
              <a:gd name="connsiteY78" fmla="*/ 969399 h 1347457"/>
              <a:gd name="connsiteX79" fmla="*/ 1122800 w 2427462"/>
              <a:gd name="connsiteY79" fmla="*/ 201077 h 1347457"/>
              <a:gd name="connsiteX80" fmla="*/ 790409 w 2427462"/>
              <a:gd name="connsiteY80" fmla="*/ 1140635 h 1347457"/>
              <a:gd name="connsiteX81" fmla="*/ 467237 w 2427462"/>
              <a:gd name="connsiteY81" fmla="*/ 969399 h 1347457"/>
              <a:gd name="connsiteX82" fmla="*/ 863217 w 2427462"/>
              <a:gd name="connsiteY82" fmla="*/ 1114556 h 1347457"/>
              <a:gd name="connsiteX83" fmla="*/ 1171281 w 2427462"/>
              <a:gd name="connsiteY83" fmla="*/ 255418 h 1347457"/>
              <a:gd name="connsiteX84" fmla="*/ 1171281 w 2427462"/>
              <a:gd name="connsiteY84" fmla="*/ 968882 h 1347457"/>
              <a:gd name="connsiteX85" fmla="*/ 863217 w 2427462"/>
              <a:gd name="connsiteY85" fmla="*/ 1114556 h 1347457"/>
              <a:gd name="connsiteX86" fmla="*/ 1243084 w 2427462"/>
              <a:gd name="connsiteY86" fmla="*/ 969514 h 1347457"/>
              <a:gd name="connsiteX87" fmla="*/ 1243084 w 2427462"/>
              <a:gd name="connsiteY87" fmla="*/ 244849 h 1347457"/>
              <a:gd name="connsiteX88" fmla="*/ 1560368 w 2427462"/>
              <a:gd name="connsiteY88" fmla="*/ 1133886 h 1347457"/>
              <a:gd name="connsiteX89" fmla="*/ 1243084 w 2427462"/>
              <a:gd name="connsiteY89" fmla="*/ 969514 h 1347457"/>
              <a:gd name="connsiteX90" fmla="*/ 1632659 w 2427462"/>
              <a:gd name="connsiteY90" fmla="*/ 1145173 h 1347457"/>
              <a:gd name="connsiteX91" fmla="*/ 1300096 w 2427462"/>
              <a:gd name="connsiteY91" fmla="*/ 201077 h 1347457"/>
              <a:gd name="connsiteX92" fmla="*/ 1955744 w 2427462"/>
              <a:gd name="connsiteY92" fmla="*/ 969773 h 1347457"/>
              <a:gd name="connsiteX93" fmla="*/ 1632659 w 2427462"/>
              <a:gd name="connsiteY93" fmla="*/ 1145173 h 1347457"/>
              <a:gd name="connsiteX94" fmla="*/ 2029759 w 2427462"/>
              <a:gd name="connsiteY94" fmla="*/ 969428 h 1347457"/>
              <a:gd name="connsiteX95" fmla="*/ 1498789 w 2427462"/>
              <a:gd name="connsiteY95" fmla="*/ 206247 h 1347457"/>
              <a:gd name="connsiteX96" fmla="*/ 2337909 w 2427462"/>
              <a:gd name="connsiteY96" fmla="*/ 1113465 h 1347457"/>
              <a:gd name="connsiteX97" fmla="*/ 2029759 w 2427462"/>
              <a:gd name="connsiteY97"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722741 h 1347457"/>
              <a:gd name="connsiteX52" fmla="*/ 152912 w 2427462"/>
              <a:gd name="connsiteY52" fmla="*/ 722741 h 1347457"/>
              <a:gd name="connsiteX53" fmla="*/ 0 w 2427462"/>
              <a:gd name="connsiteY53" fmla="*/ 1311527 h 1347457"/>
              <a:gd name="connsiteX54" fmla="*/ 37740 w 2427462"/>
              <a:gd name="connsiteY54" fmla="*/ 1347428 h 1347457"/>
              <a:gd name="connsiteX55" fmla="*/ 73440 w 2427462"/>
              <a:gd name="connsiteY55" fmla="*/ 1315375 h 1347457"/>
              <a:gd name="connsiteX56" fmla="*/ 429210 w 2427462"/>
              <a:gd name="connsiteY56" fmla="*/ 1039565 h 1347457"/>
              <a:gd name="connsiteX57" fmla="*/ 781246 w 2427462"/>
              <a:gd name="connsiteY57" fmla="*/ 1292657 h 1347457"/>
              <a:gd name="connsiteX58" fmla="*/ 816459 w 2427462"/>
              <a:gd name="connsiteY58" fmla="*/ 1321579 h 1347457"/>
              <a:gd name="connsiteX59" fmla="*/ 851671 w 2427462"/>
              <a:gd name="connsiteY59" fmla="*/ 1292657 h 1347457"/>
              <a:gd name="connsiteX60" fmla="*/ 1171281 w 2427462"/>
              <a:gd name="connsiteY60" fmla="*/ 1040800 h 1347457"/>
              <a:gd name="connsiteX61" fmla="*/ 1243084 w 2427462"/>
              <a:gd name="connsiteY61" fmla="*/ 1041576 h 1347457"/>
              <a:gd name="connsiteX62" fmla="*/ 1559449 w 2427462"/>
              <a:gd name="connsiteY62" fmla="*/ 1315404 h 1347457"/>
              <a:gd name="connsiteX63" fmla="*/ 1595149 w 2427462"/>
              <a:gd name="connsiteY63" fmla="*/ 1347457 h 1347457"/>
              <a:gd name="connsiteX64" fmla="*/ 1606207 w 2427462"/>
              <a:gd name="connsiteY64" fmla="*/ 1347457 h 1347457"/>
              <a:gd name="connsiteX65" fmla="*/ 1641907 w 2427462"/>
              <a:gd name="connsiteY65" fmla="*/ 1315404 h 1347457"/>
              <a:gd name="connsiteX66" fmla="*/ 1997706 w 2427462"/>
              <a:gd name="connsiteY66" fmla="*/ 1039594 h 1347457"/>
              <a:gd name="connsiteX67" fmla="*/ 2353447 w 2427462"/>
              <a:gd name="connsiteY67" fmla="*/ 1315404 h 1347457"/>
              <a:gd name="connsiteX68" fmla="*/ 2389148 w 2427462"/>
              <a:gd name="connsiteY68" fmla="*/ 1347457 h 1347457"/>
              <a:gd name="connsiteX69" fmla="*/ 2390986 w 2427462"/>
              <a:gd name="connsiteY69" fmla="*/ 1347457 h 1347457"/>
              <a:gd name="connsiteX70" fmla="*/ 2391560 w 2427462"/>
              <a:gd name="connsiteY70" fmla="*/ 1347457 h 1347457"/>
              <a:gd name="connsiteX71" fmla="*/ 2427462 w 2427462"/>
              <a:gd name="connsiteY71" fmla="*/ 1311556 h 1347457"/>
              <a:gd name="connsiteX72" fmla="*/ 2426859 w 2427462"/>
              <a:gd name="connsiteY72" fmla="*/ 1305036 h 1347457"/>
              <a:gd name="connsiteX73" fmla="*/ 88978 w 2427462"/>
              <a:gd name="connsiteY73" fmla="*/ 1113465 h 1347457"/>
              <a:gd name="connsiteX74" fmla="*/ 920889 w 2427462"/>
              <a:gd name="connsiteY74" fmla="*/ 208057 h 1347457"/>
              <a:gd name="connsiteX75" fmla="*/ 393050 w 2427462"/>
              <a:gd name="connsiteY75" fmla="*/ 969629 h 1347457"/>
              <a:gd name="connsiteX76" fmla="*/ 88978 w 2427462"/>
              <a:gd name="connsiteY76" fmla="*/ 1113465 h 1347457"/>
              <a:gd name="connsiteX77" fmla="*/ 467237 w 2427462"/>
              <a:gd name="connsiteY77" fmla="*/ 969399 h 1347457"/>
              <a:gd name="connsiteX78" fmla="*/ 1122800 w 2427462"/>
              <a:gd name="connsiteY78" fmla="*/ 201077 h 1347457"/>
              <a:gd name="connsiteX79" fmla="*/ 790409 w 2427462"/>
              <a:gd name="connsiteY79" fmla="*/ 1140635 h 1347457"/>
              <a:gd name="connsiteX80" fmla="*/ 467237 w 2427462"/>
              <a:gd name="connsiteY80" fmla="*/ 969399 h 1347457"/>
              <a:gd name="connsiteX81" fmla="*/ 863217 w 2427462"/>
              <a:gd name="connsiteY81" fmla="*/ 1114556 h 1347457"/>
              <a:gd name="connsiteX82" fmla="*/ 1171281 w 2427462"/>
              <a:gd name="connsiteY82" fmla="*/ 255418 h 1347457"/>
              <a:gd name="connsiteX83" fmla="*/ 1171281 w 2427462"/>
              <a:gd name="connsiteY83" fmla="*/ 968882 h 1347457"/>
              <a:gd name="connsiteX84" fmla="*/ 863217 w 2427462"/>
              <a:gd name="connsiteY84" fmla="*/ 1114556 h 1347457"/>
              <a:gd name="connsiteX85" fmla="*/ 1243084 w 2427462"/>
              <a:gd name="connsiteY85" fmla="*/ 969514 h 1347457"/>
              <a:gd name="connsiteX86" fmla="*/ 1243084 w 2427462"/>
              <a:gd name="connsiteY86" fmla="*/ 244849 h 1347457"/>
              <a:gd name="connsiteX87" fmla="*/ 1560368 w 2427462"/>
              <a:gd name="connsiteY87" fmla="*/ 1133886 h 1347457"/>
              <a:gd name="connsiteX88" fmla="*/ 1243084 w 2427462"/>
              <a:gd name="connsiteY88" fmla="*/ 969514 h 1347457"/>
              <a:gd name="connsiteX89" fmla="*/ 1632659 w 2427462"/>
              <a:gd name="connsiteY89" fmla="*/ 1145173 h 1347457"/>
              <a:gd name="connsiteX90" fmla="*/ 1300096 w 2427462"/>
              <a:gd name="connsiteY90" fmla="*/ 201077 h 1347457"/>
              <a:gd name="connsiteX91" fmla="*/ 1955744 w 2427462"/>
              <a:gd name="connsiteY91" fmla="*/ 969773 h 1347457"/>
              <a:gd name="connsiteX92" fmla="*/ 1632659 w 2427462"/>
              <a:gd name="connsiteY92" fmla="*/ 1145173 h 1347457"/>
              <a:gd name="connsiteX93" fmla="*/ 2029759 w 2427462"/>
              <a:gd name="connsiteY93" fmla="*/ 969428 h 1347457"/>
              <a:gd name="connsiteX94" fmla="*/ 1498789 w 2427462"/>
              <a:gd name="connsiteY94" fmla="*/ 206247 h 1347457"/>
              <a:gd name="connsiteX95" fmla="*/ 2337909 w 2427462"/>
              <a:gd name="connsiteY95" fmla="*/ 1113465 h 1347457"/>
              <a:gd name="connsiteX96" fmla="*/ 2029759 w 2427462"/>
              <a:gd name="connsiteY96"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152136 w 2427462"/>
              <a:gd name="connsiteY50" fmla="*/ 722741 h 1347457"/>
              <a:gd name="connsiteX51" fmla="*/ 152912 w 2427462"/>
              <a:gd name="connsiteY51" fmla="*/ 722741 h 1347457"/>
              <a:gd name="connsiteX52" fmla="*/ 0 w 2427462"/>
              <a:gd name="connsiteY52" fmla="*/ 1311527 h 1347457"/>
              <a:gd name="connsiteX53" fmla="*/ 37740 w 2427462"/>
              <a:gd name="connsiteY53" fmla="*/ 1347428 h 1347457"/>
              <a:gd name="connsiteX54" fmla="*/ 73440 w 2427462"/>
              <a:gd name="connsiteY54" fmla="*/ 1315375 h 1347457"/>
              <a:gd name="connsiteX55" fmla="*/ 429210 w 2427462"/>
              <a:gd name="connsiteY55" fmla="*/ 1039565 h 1347457"/>
              <a:gd name="connsiteX56" fmla="*/ 781246 w 2427462"/>
              <a:gd name="connsiteY56" fmla="*/ 1292657 h 1347457"/>
              <a:gd name="connsiteX57" fmla="*/ 816459 w 2427462"/>
              <a:gd name="connsiteY57" fmla="*/ 1321579 h 1347457"/>
              <a:gd name="connsiteX58" fmla="*/ 851671 w 2427462"/>
              <a:gd name="connsiteY58" fmla="*/ 1292657 h 1347457"/>
              <a:gd name="connsiteX59" fmla="*/ 1171281 w 2427462"/>
              <a:gd name="connsiteY59" fmla="*/ 1040800 h 1347457"/>
              <a:gd name="connsiteX60" fmla="*/ 1243084 w 2427462"/>
              <a:gd name="connsiteY60" fmla="*/ 1041576 h 1347457"/>
              <a:gd name="connsiteX61" fmla="*/ 1559449 w 2427462"/>
              <a:gd name="connsiteY61" fmla="*/ 1315404 h 1347457"/>
              <a:gd name="connsiteX62" fmla="*/ 1595149 w 2427462"/>
              <a:gd name="connsiteY62" fmla="*/ 1347457 h 1347457"/>
              <a:gd name="connsiteX63" fmla="*/ 1606207 w 2427462"/>
              <a:gd name="connsiteY63" fmla="*/ 1347457 h 1347457"/>
              <a:gd name="connsiteX64" fmla="*/ 1641907 w 2427462"/>
              <a:gd name="connsiteY64" fmla="*/ 1315404 h 1347457"/>
              <a:gd name="connsiteX65" fmla="*/ 1997706 w 2427462"/>
              <a:gd name="connsiteY65" fmla="*/ 1039594 h 1347457"/>
              <a:gd name="connsiteX66" fmla="*/ 2353447 w 2427462"/>
              <a:gd name="connsiteY66" fmla="*/ 1315404 h 1347457"/>
              <a:gd name="connsiteX67" fmla="*/ 2389148 w 2427462"/>
              <a:gd name="connsiteY67" fmla="*/ 1347457 h 1347457"/>
              <a:gd name="connsiteX68" fmla="*/ 2390986 w 2427462"/>
              <a:gd name="connsiteY68" fmla="*/ 1347457 h 1347457"/>
              <a:gd name="connsiteX69" fmla="*/ 2391560 w 2427462"/>
              <a:gd name="connsiteY69" fmla="*/ 1347457 h 1347457"/>
              <a:gd name="connsiteX70" fmla="*/ 2427462 w 2427462"/>
              <a:gd name="connsiteY70" fmla="*/ 1311556 h 1347457"/>
              <a:gd name="connsiteX71" fmla="*/ 2426859 w 2427462"/>
              <a:gd name="connsiteY71" fmla="*/ 1305036 h 1347457"/>
              <a:gd name="connsiteX72" fmla="*/ 88978 w 2427462"/>
              <a:gd name="connsiteY72" fmla="*/ 1113465 h 1347457"/>
              <a:gd name="connsiteX73" fmla="*/ 920889 w 2427462"/>
              <a:gd name="connsiteY73" fmla="*/ 208057 h 1347457"/>
              <a:gd name="connsiteX74" fmla="*/ 393050 w 2427462"/>
              <a:gd name="connsiteY74" fmla="*/ 969629 h 1347457"/>
              <a:gd name="connsiteX75" fmla="*/ 88978 w 2427462"/>
              <a:gd name="connsiteY75" fmla="*/ 1113465 h 1347457"/>
              <a:gd name="connsiteX76" fmla="*/ 467237 w 2427462"/>
              <a:gd name="connsiteY76" fmla="*/ 969399 h 1347457"/>
              <a:gd name="connsiteX77" fmla="*/ 1122800 w 2427462"/>
              <a:gd name="connsiteY77" fmla="*/ 201077 h 1347457"/>
              <a:gd name="connsiteX78" fmla="*/ 790409 w 2427462"/>
              <a:gd name="connsiteY78" fmla="*/ 1140635 h 1347457"/>
              <a:gd name="connsiteX79" fmla="*/ 467237 w 2427462"/>
              <a:gd name="connsiteY79" fmla="*/ 969399 h 1347457"/>
              <a:gd name="connsiteX80" fmla="*/ 863217 w 2427462"/>
              <a:gd name="connsiteY80" fmla="*/ 1114556 h 1347457"/>
              <a:gd name="connsiteX81" fmla="*/ 1171281 w 2427462"/>
              <a:gd name="connsiteY81" fmla="*/ 255418 h 1347457"/>
              <a:gd name="connsiteX82" fmla="*/ 1171281 w 2427462"/>
              <a:gd name="connsiteY82" fmla="*/ 968882 h 1347457"/>
              <a:gd name="connsiteX83" fmla="*/ 863217 w 2427462"/>
              <a:gd name="connsiteY83" fmla="*/ 1114556 h 1347457"/>
              <a:gd name="connsiteX84" fmla="*/ 1243084 w 2427462"/>
              <a:gd name="connsiteY84" fmla="*/ 969514 h 1347457"/>
              <a:gd name="connsiteX85" fmla="*/ 1243084 w 2427462"/>
              <a:gd name="connsiteY85" fmla="*/ 244849 h 1347457"/>
              <a:gd name="connsiteX86" fmla="*/ 1560368 w 2427462"/>
              <a:gd name="connsiteY86" fmla="*/ 1133886 h 1347457"/>
              <a:gd name="connsiteX87" fmla="*/ 1243084 w 2427462"/>
              <a:gd name="connsiteY87" fmla="*/ 969514 h 1347457"/>
              <a:gd name="connsiteX88" fmla="*/ 1632659 w 2427462"/>
              <a:gd name="connsiteY88" fmla="*/ 1145173 h 1347457"/>
              <a:gd name="connsiteX89" fmla="*/ 1300096 w 2427462"/>
              <a:gd name="connsiteY89" fmla="*/ 201077 h 1347457"/>
              <a:gd name="connsiteX90" fmla="*/ 1955744 w 2427462"/>
              <a:gd name="connsiteY90" fmla="*/ 969773 h 1347457"/>
              <a:gd name="connsiteX91" fmla="*/ 1632659 w 2427462"/>
              <a:gd name="connsiteY91" fmla="*/ 1145173 h 1347457"/>
              <a:gd name="connsiteX92" fmla="*/ 2029759 w 2427462"/>
              <a:gd name="connsiteY92" fmla="*/ 969428 h 1347457"/>
              <a:gd name="connsiteX93" fmla="*/ 1498789 w 2427462"/>
              <a:gd name="connsiteY93" fmla="*/ 206247 h 1347457"/>
              <a:gd name="connsiteX94" fmla="*/ 2337909 w 2427462"/>
              <a:gd name="connsiteY94" fmla="*/ 1113465 h 1347457"/>
              <a:gd name="connsiteX95" fmla="*/ 2029759 w 2427462"/>
              <a:gd name="connsiteY95"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507906 h 1347457"/>
              <a:gd name="connsiteX48" fmla="*/ 223940 w 2427462"/>
              <a:gd name="connsiteY48" fmla="*/ 610441 h 1347457"/>
              <a:gd name="connsiteX49" fmla="*/ 152136 w 2427462"/>
              <a:gd name="connsiteY49" fmla="*/ 722741 h 1347457"/>
              <a:gd name="connsiteX50" fmla="*/ 152912 w 2427462"/>
              <a:gd name="connsiteY50" fmla="*/ 722741 h 1347457"/>
              <a:gd name="connsiteX51" fmla="*/ 0 w 2427462"/>
              <a:gd name="connsiteY51" fmla="*/ 1311527 h 1347457"/>
              <a:gd name="connsiteX52" fmla="*/ 37740 w 2427462"/>
              <a:gd name="connsiteY52" fmla="*/ 1347428 h 1347457"/>
              <a:gd name="connsiteX53" fmla="*/ 73440 w 2427462"/>
              <a:gd name="connsiteY53" fmla="*/ 1315375 h 1347457"/>
              <a:gd name="connsiteX54" fmla="*/ 429210 w 2427462"/>
              <a:gd name="connsiteY54" fmla="*/ 1039565 h 1347457"/>
              <a:gd name="connsiteX55" fmla="*/ 781246 w 2427462"/>
              <a:gd name="connsiteY55" fmla="*/ 1292657 h 1347457"/>
              <a:gd name="connsiteX56" fmla="*/ 816459 w 2427462"/>
              <a:gd name="connsiteY56" fmla="*/ 1321579 h 1347457"/>
              <a:gd name="connsiteX57" fmla="*/ 851671 w 2427462"/>
              <a:gd name="connsiteY57" fmla="*/ 1292657 h 1347457"/>
              <a:gd name="connsiteX58" fmla="*/ 1171281 w 2427462"/>
              <a:gd name="connsiteY58" fmla="*/ 1040800 h 1347457"/>
              <a:gd name="connsiteX59" fmla="*/ 1243084 w 2427462"/>
              <a:gd name="connsiteY59" fmla="*/ 1041576 h 1347457"/>
              <a:gd name="connsiteX60" fmla="*/ 1559449 w 2427462"/>
              <a:gd name="connsiteY60" fmla="*/ 1315404 h 1347457"/>
              <a:gd name="connsiteX61" fmla="*/ 1595149 w 2427462"/>
              <a:gd name="connsiteY61" fmla="*/ 1347457 h 1347457"/>
              <a:gd name="connsiteX62" fmla="*/ 1606207 w 2427462"/>
              <a:gd name="connsiteY62" fmla="*/ 1347457 h 1347457"/>
              <a:gd name="connsiteX63" fmla="*/ 1641907 w 2427462"/>
              <a:gd name="connsiteY63" fmla="*/ 1315404 h 1347457"/>
              <a:gd name="connsiteX64" fmla="*/ 1997706 w 2427462"/>
              <a:gd name="connsiteY64" fmla="*/ 1039594 h 1347457"/>
              <a:gd name="connsiteX65" fmla="*/ 2353447 w 2427462"/>
              <a:gd name="connsiteY65" fmla="*/ 1315404 h 1347457"/>
              <a:gd name="connsiteX66" fmla="*/ 2389148 w 2427462"/>
              <a:gd name="connsiteY66" fmla="*/ 1347457 h 1347457"/>
              <a:gd name="connsiteX67" fmla="*/ 2390986 w 2427462"/>
              <a:gd name="connsiteY67" fmla="*/ 1347457 h 1347457"/>
              <a:gd name="connsiteX68" fmla="*/ 2391560 w 2427462"/>
              <a:gd name="connsiteY68" fmla="*/ 1347457 h 1347457"/>
              <a:gd name="connsiteX69" fmla="*/ 2427462 w 2427462"/>
              <a:gd name="connsiteY69" fmla="*/ 1311556 h 1347457"/>
              <a:gd name="connsiteX70" fmla="*/ 2426859 w 2427462"/>
              <a:gd name="connsiteY70" fmla="*/ 1305036 h 1347457"/>
              <a:gd name="connsiteX71" fmla="*/ 88978 w 2427462"/>
              <a:gd name="connsiteY71" fmla="*/ 1113465 h 1347457"/>
              <a:gd name="connsiteX72" fmla="*/ 920889 w 2427462"/>
              <a:gd name="connsiteY72" fmla="*/ 208057 h 1347457"/>
              <a:gd name="connsiteX73" fmla="*/ 393050 w 2427462"/>
              <a:gd name="connsiteY73" fmla="*/ 969629 h 1347457"/>
              <a:gd name="connsiteX74" fmla="*/ 88978 w 2427462"/>
              <a:gd name="connsiteY74" fmla="*/ 1113465 h 1347457"/>
              <a:gd name="connsiteX75" fmla="*/ 467237 w 2427462"/>
              <a:gd name="connsiteY75" fmla="*/ 969399 h 1347457"/>
              <a:gd name="connsiteX76" fmla="*/ 1122800 w 2427462"/>
              <a:gd name="connsiteY76" fmla="*/ 201077 h 1347457"/>
              <a:gd name="connsiteX77" fmla="*/ 790409 w 2427462"/>
              <a:gd name="connsiteY77" fmla="*/ 1140635 h 1347457"/>
              <a:gd name="connsiteX78" fmla="*/ 467237 w 2427462"/>
              <a:gd name="connsiteY78" fmla="*/ 969399 h 1347457"/>
              <a:gd name="connsiteX79" fmla="*/ 863217 w 2427462"/>
              <a:gd name="connsiteY79" fmla="*/ 1114556 h 1347457"/>
              <a:gd name="connsiteX80" fmla="*/ 1171281 w 2427462"/>
              <a:gd name="connsiteY80" fmla="*/ 255418 h 1347457"/>
              <a:gd name="connsiteX81" fmla="*/ 1171281 w 2427462"/>
              <a:gd name="connsiteY81" fmla="*/ 968882 h 1347457"/>
              <a:gd name="connsiteX82" fmla="*/ 863217 w 2427462"/>
              <a:gd name="connsiteY82" fmla="*/ 1114556 h 1347457"/>
              <a:gd name="connsiteX83" fmla="*/ 1243084 w 2427462"/>
              <a:gd name="connsiteY83" fmla="*/ 969514 h 1347457"/>
              <a:gd name="connsiteX84" fmla="*/ 1243084 w 2427462"/>
              <a:gd name="connsiteY84" fmla="*/ 244849 h 1347457"/>
              <a:gd name="connsiteX85" fmla="*/ 1560368 w 2427462"/>
              <a:gd name="connsiteY85" fmla="*/ 1133886 h 1347457"/>
              <a:gd name="connsiteX86" fmla="*/ 1243084 w 2427462"/>
              <a:gd name="connsiteY86" fmla="*/ 969514 h 1347457"/>
              <a:gd name="connsiteX87" fmla="*/ 1632659 w 2427462"/>
              <a:gd name="connsiteY87" fmla="*/ 1145173 h 1347457"/>
              <a:gd name="connsiteX88" fmla="*/ 1300096 w 2427462"/>
              <a:gd name="connsiteY88" fmla="*/ 201077 h 1347457"/>
              <a:gd name="connsiteX89" fmla="*/ 1955744 w 2427462"/>
              <a:gd name="connsiteY89" fmla="*/ 969773 h 1347457"/>
              <a:gd name="connsiteX90" fmla="*/ 1632659 w 2427462"/>
              <a:gd name="connsiteY90" fmla="*/ 1145173 h 1347457"/>
              <a:gd name="connsiteX91" fmla="*/ 2029759 w 2427462"/>
              <a:gd name="connsiteY91" fmla="*/ 969428 h 1347457"/>
              <a:gd name="connsiteX92" fmla="*/ 1498789 w 2427462"/>
              <a:gd name="connsiteY92" fmla="*/ 206247 h 1347457"/>
              <a:gd name="connsiteX93" fmla="*/ 2337909 w 2427462"/>
              <a:gd name="connsiteY93" fmla="*/ 1113465 h 1347457"/>
              <a:gd name="connsiteX94" fmla="*/ 2029759 w 2427462"/>
              <a:gd name="connsiteY94"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05307 w 2427462"/>
              <a:gd name="connsiteY46" fmla="*/ 507906 h 1347457"/>
              <a:gd name="connsiteX47" fmla="*/ 223940 w 2427462"/>
              <a:gd name="connsiteY47" fmla="*/ 610441 h 1347457"/>
              <a:gd name="connsiteX48" fmla="*/ 152136 w 2427462"/>
              <a:gd name="connsiteY48" fmla="*/ 722741 h 1347457"/>
              <a:gd name="connsiteX49" fmla="*/ 152912 w 2427462"/>
              <a:gd name="connsiteY49" fmla="*/ 722741 h 1347457"/>
              <a:gd name="connsiteX50" fmla="*/ 0 w 2427462"/>
              <a:gd name="connsiteY50" fmla="*/ 1311527 h 1347457"/>
              <a:gd name="connsiteX51" fmla="*/ 37740 w 2427462"/>
              <a:gd name="connsiteY51" fmla="*/ 1347428 h 1347457"/>
              <a:gd name="connsiteX52" fmla="*/ 73440 w 2427462"/>
              <a:gd name="connsiteY52" fmla="*/ 1315375 h 1347457"/>
              <a:gd name="connsiteX53" fmla="*/ 429210 w 2427462"/>
              <a:gd name="connsiteY53" fmla="*/ 1039565 h 1347457"/>
              <a:gd name="connsiteX54" fmla="*/ 781246 w 2427462"/>
              <a:gd name="connsiteY54" fmla="*/ 1292657 h 1347457"/>
              <a:gd name="connsiteX55" fmla="*/ 816459 w 2427462"/>
              <a:gd name="connsiteY55" fmla="*/ 1321579 h 1347457"/>
              <a:gd name="connsiteX56" fmla="*/ 851671 w 2427462"/>
              <a:gd name="connsiteY56" fmla="*/ 1292657 h 1347457"/>
              <a:gd name="connsiteX57" fmla="*/ 1171281 w 2427462"/>
              <a:gd name="connsiteY57" fmla="*/ 1040800 h 1347457"/>
              <a:gd name="connsiteX58" fmla="*/ 1243084 w 2427462"/>
              <a:gd name="connsiteY58" fmla="*/ 1041576 h 1347457"/>
              <a:gd name="connsiteX59" fmla="*/ 1559449 w 2427462"/>
              <a:gd name="connsiteY59" fmla="*/ 1315404 h 1347457"/>
              <a:gd name="connsiteX60" fmla="*/ 1595149 w 2427462"/>
              <a:gd name="connsiteY60" fmla="*/ 1347457 h 1347457"/>
              <a:gd name="connsiteX61" fmla="*/ 1606207 w 2427462"/>
              <a:gd name="connsiteY61" fmla="*/ 1347457 h 1347457"/>
              <a:gd name="connsiteX62" fmla="*/ 1641907 w 2427462"/>
              <a:gd name="connsiteY62" fmla="*/ 1315404 h 1347457"/>
              <a:gd name="connsiteX63" fmla="*/ 1997706 w 2427462"/>
              <a:gd name="connsiteY63" fmla="*/ 1039594 h 1347457"/>
              <a:gd name="connsiteX64" fmla="*/ 2353447 w 2427462"/>
              <a:gd name="connsiteY64" fmla="*/ 1315404 h 1347457"/>
              <a:gd name="connsiteX65" fmla="*/ 2389148 w 2427462"/>
              <a:gd name="connsiteY65" fmla="*/ 1347457 h 1347457"/>
              <a:gd name="connsiteX66" fmla="*/ 2390986 w 2427462"/>
              <a:gd name="connsiteY66" fmla="*/ 1347457 h 1347457"/>
              <a:gd name="connsiteX67" fmla="*/ 2391560 w 2427462"/>
              <a:gd name="connsiteY67" fmla="*/ 1347457 h 1347457"/>
              <a:gd name="connsiteX68" fmla="*/ 2427462 w 2427462"/>
              <a:gd name="connsiteY68" fmla="*/ 1311556 h 1347457"/>
              <a:gd name="connsiteX69" fmla="*/ 2426859 w 2427462"/>
              <a:gd name="connsiteY69" fmla="*/ 1305036 h 1347457"/>
              <a:gd name="connsiteX70" fmla="*/ 88978 w 2427462"/>
              <a:gd name="connsiteY70" fmla="*/ 1113465 h 1347457"/>
              <a:gd name="connsiteX71" fmla="*/ 920889 w 2427462"/>
              <a:gd name="connsiteY71" fmla="*/ 208057 h 1347457"/>
              <a:gd name="connsiteX72" fmla="*/ 393050 w 2427462"/>
              <a:gd name="connsiteY72" fmla="*/ 969629 h 1347457"/>
              <a:gd name="connsiteX73" fmla="*/ 88978 w 2427462"/>
              <a:gd name="connsiteY73" fmla="*/ 1113465 h 1347457"/>
              <a:gd name="connsiteX74" fmla="*/ 467237 w 2427462"/>
              <a:gd name="connsiteY74" fmla="*/ 969399 h 1347457"/>
              <a:gd name="connsiteX75" fmla="*/ 1122800 w 2427462"/>
              <a:gd name="connsiteY75" fmla="*/ 201077 h 1347457"/>
              <a:gd name="connsiteX76" fmla="*/ 790409 w 2427462"/>
              <a:gd name="connsiteY76" fmla="*/ 1140635 h 1347457"/>
              <a:gd name="connsiteX77" fmla="*/ 467237 w 2427462"/>
              <a:gd name="connsiteY77" fmla="*/ 969399 h 1347457"/>
              <a:gd name="connsiteX78" fmla="*/ 863217 w 2427462"/>
              <a:gd name="connsiteY78" fmla="*/ 1114556 h 1347457"/>
              <a:gd name="connsiteX79" fmla="*/ 1171281 w 2427462"/>
              <a:gd name="connsiteY79" fmla="*/ 255418 h 1347457"/>
              <a:gd name="connsiteX80" fmla="*/ 1171281 w 2427462"/>
              <a:gd name="connsiteY80" fmla="*/ 968882 h 1347457"/>
              <a:gd name="connsiteX81" fmla="*/ 863217 w 2427462"/>
              <a:gd name="connsiteY81" fmla="*/ 1114556 h 1347457"/>
              <a:gd name="connsiteX82" fmla="*/ 1243084 w 2427462"/>
              <a:gd name="connsiteY82" fmla="*/ 969514 h 1347457"/>
              <a:gd name="connsiteX83" fmla="*/ 1243084 w 2427462"/>
              <a:gd name="connsiteY83" fmla="*/ 244849 h 1347457"/>
              <a:gd name="connsiteX84" fmla="*/ 1560368 w 2427462"/>
              <a:gd name="connsiteY84" fmla="*/ 1133886 h 1347457"/>
              <a:gd name="connsiteX85" fmla="*/ 1243084 w 2427462"/>
              <a:gd name="connsiteY85" fmla="*/ 969514 h 1347457"/>
              <a:gd name="connsiteX86" fmla="*/ 1632659 w 2427462"/>
              <a:gd name="connsiteY86" fmla="*/ 1145173 h 1347457"/>
              <a:gd name="connsiteX87" fmla="*/ 1300096 w 2427462"/>
              <a:gd name="connsiteY87" fmla="*/ 201077 h 1347457"/>
              <a:gd name="connsiteX88" fmla="*/ 1955744 w 2427462"/>
              <a:gd name="connsiteY88" fmla="*/ 969773 h 1347457"/>
              <a:gd name="connsiteX89" fmla="*/ 1632659 w 2427462"/>
              <a:gd name="connsiteY89" fmla="*/ 1145173 h 1347457"/>
              <a:gd name="connsiteX90" fmla="*/ 2029759 w 2427462"/>
              <a:gd name="connsiteY90" fmla="*/ 969428 h 1347457"/>
              <a:gd name="connsiteX91" fmla="*/ 1498789 w 2427462"/>
              <a:gd name="connsiteY91" fmla="*/ 206247 h 1347457"/>
              <a:gd name="connsiteX92" fmla="*/ 2337909 w 2427462"/>
              <a:gd name="connsiteY92" fmla="*/ 1113465 h 1347457"/>
              <a:gd name="connsiteX93" fmla="*/ 2029759 w 2427462"/>
              <a:gd name="connsiteY93"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351261 h 1347457"/>
              <a:gd name="connsiteX44" fmla="*/ 377110 w 2427462"/>
              <a:gd name="connsiteY44" fmla="*/ 433547 h 1347457"/>
              <a:gd name="connsiteX45" fmla="*/ 305307 w 2427462"/>
              <a:gd name="connsiteY45" fmla="*/ 507906 h 1347457"/>
              <a:gd name="connsiteX46" fmla="*/ 223940 w 2427462"/>
              <a:gd name="connsiteY46" fmla="*/ 610441 h 1347457"/>
              <a:gd name="connsiteX47" fmla="*/ 152136 w 2427462"/>
              <a:gd name="connsiteY47" fmla="*/ 722741 h 1347457"/>
              <a:gd name="connsiteX48" fmla="*/ 152912 w 2427462"/>
              <a:gd name="connsiteY48" fmla="*/ 722741 h 1347457"/>
              <a:gd name="connsiteX49" fmla="*/ 0 w 2427462"/>
              <a:gd name="connsiteY49" fmla="*/ 1311527 h 1347457"/>
              <a:gd name="connsiteX50" fmla="*/ 37740 w 2427462"/>
              <a:gd name="connsiteY50" fmla="*/ 1347428 h 1347457"/>
              <a:gd name="connsiteX51" fmla="*/ 73440 w 2427462"/>
              <a:gd name="connsiteY51" fmla="*/ 1315375 h 1347457"/>
              <a:gd name="connsiteX52" fmla="*/ 429210 w 2427462"/>
              <a:gd name="connsiteY52" fmla="*/ 1039565 h 1347457"/>
              <a:gd name="connsiteX53" fmla="*/ 781246 w 2427462"/>
              <a:gd name="connsiteY53" fmla="*/ 1292657 h 1347457"/>
              <a:gd name="connsiteX54" fmla="*/ 816459 w 2427462"/>
              <a:gd name="connsiteY54" fmla="*/ 1321579 h 1347457"/>
              <a:gd name="connsiteX55" fmla="*/ 851671 w 2427462"/>
              <a:gd name="connsiteY55" fmla="*/ 1292657 h 1347457"/>
              <a:gd name="connsiteX56" fmla="*/ 1171281 w 2427462"/>
              <a:gd name="connsiteY56" fmla="*/ 1040800 h 1347457"/>
              <a:gd name="connsiteX57" fmla="*/ 1243084 w 2427462"/>
              <a:gd name="connsiteY57" fmla="*/ 1041576 h 1347457"/>
              <a:gd name="connsiteX58" fmla="*/ 1559449 w 2427462"/>
              <a:gd name="connsiteY58" fmla="*/ 1315404 h 1347457"/>
              <a:gd name="connsiteX59" fmla="*/ 1595149 w 2427462"/>
              <a:gd name="connsiteY59" fmla="*/ 1347457 h 1347457"/>
              <a:gd name="connsiteX60" fmla="*/ 1606207 w 2427462"/>
              <a:gd name="connsiteY60" fmla="*/ 1347457 h 1347457"/>
              <a:gd name="connsiteX61" fmla="*/ 1641907 w 2427462"/>
              <a:gd name="connsiteY61" fmla="*/ 1315404 h 1347457"/>
              <a:gd name="connsiteX62" fmla="*/ 1997706 w 2427462"/>
              <a:gd name="connsiteY62" fmla="*/ 1039594 h 1347457"/>
              <a:gd name="connsiteX63" fmla="*/ 2353447 w 2427462"/>
              <a:gd name="connsiteY63" fmla="*/ 1315404 h 1347457"/>
              <a:gd name="connsiteX64" fmla="*/ 2389148 w 2427462"/>
              <a:gd name="connsiteY64" fmla="*/ 1347457 h 1347457"/>
              <a:gd name="connsiteX65" fmla="*/ 2390986 w 2427462"/>
              <a:gd name="connsiteY65" fmla="*/ 1347457 h 1347457"/>
              <a:gd name="connsiteX66" fmla="*/ 2391560 w 2427462"/>
              <a:gd name="connsiteY66" fmla="*/ 1347457 h 1347457"/>
              <a:gd name="connsiteX67" fmla="*/ 2427462 w 2427462"/>
              <a:gd name="connsiteY67" fmla="*/ 1311556 h 1347457"/>
              <a:gd name="connsiteX68" fmla="*/ 2426859 w 2427462"/>
              <a:gd name="connsiteY68" fmla="*/ 1305036 h 1347457"/>
              <a:gd name="connsiteX69" fmla="*/ 88978 w 2427462"/>
              <a:gd name="connsiteY69" fmla="*/ 1113465 h 1347457"/>
              <a:gd name="connsiteX70" fmla="*/ 920889 w 2427462"/>
              <a:gd name="connsiteY70" fmla="*/ 208057 h 1347457"/>
              <a:gd name="connsiteX71" fmla="*/ 393050 w 2427462"/>
              <a:gd name="connsiteY71" fmla="*/ 969629 h 1347457"/>
              <a:gd name="connsiteX72" fmla="*/ 88978 w 2427462"/>
              <a:gd name="connsiteY72" fmla="*/ 1113465 h 1347457"/>
              <a:gd name="connsiteX73" fmla="*/ 467237 w 2427462"/>
              <a:gd name="connsiteY73" fmla="*/ 969399 h 1347457"/>
              <a:gd name="connsiteX74" fmla="*/ 1122800 w 2427462"/>
              <a:gd name="connsiteY74" fmla="*/ 201077 h 1347457"/>
              <a:gd name="connsiteX75" fmla="*/ 790409 w 2427462"/>
              <a:gd name="connsiteY75" fmla="*/ 1140635 h 1347457"/>
              <a:gd name="connsiteX76" fmla="*/ 467237 w 2427462"/>
              <a:gd name="connsiteY76" fmla="*/ 969399 h 1347457"/>
              <a:gd name="connsiteX77" fmla="*/ 863217 w 2427462"/>
              <a:gd name="connsiteY77" fmla="*/ 1114556 h 1347457"/>
              <a:gd name="connsiteX78" fmla="*/ 1171281 w 2427462"/>
              <a:gd name="connsiteY78" fmla="*/ 255418 h 1347457"/>
              <a:gd name="connsiteX79" fmla="*/ 1171281 w 2427462"/>
              <a:gd name="connsiteY79" fmla="*/ 968882 h 1347457"/>
              <a:gd name="connsiteX80" fmla="*/ 863217 w 2427462"/>
              <a:gd name="connsiteY80" fmla="*/ 1114556 h 1347457"/>
              <a:gd name="connsiteX81" fmla="*/ 1243084 w 2427462"/>
              <a:gd name="connsiteY81" fmla="*/ 969514 h 1347457"/>
              <a:gd name="connsiteX82" fmla="*/ 1243084 w 2427462"/>
              <a:gd name="connsiteY82" fmla="*/ 244849 h 1347457"/>
              <a:gd name="connsiteX83" fmla="*/ 1560368 w 2427462"/>
              <a:gd name="connsiteY83" fmla="*/ 1133886 h 1347457"/>
              <a:gd name="connsiteX84" fmla="*/ 1243084 w 2427462"/>
              <a:gd name="connsiteY84" fmla="*/ 969514 h 1347457"/>
              <a:gd name="connsiteX85" fmla="*/ 1632659 w 2427462"/>
              <a:gd name="connsiteY85" fmla="*/ 1145173 h 1347457"/>
              <a:gd name="connsiteX86" fmla="*/ 1300096 w 2427462"/>
              <a:gd name="connsiteY86" fmla="*/ 201077 h 1347457"/>
              <a:gd name="connsiteX87" fmla="*/ 1955744 w 2427462"/>
              <a:gd name="connsiteY87" fmla="*/ 969773 h 1347457"/>
              <a:gd name="connsiteX88" fmla="*/ 1632659 w 2427462"/>
              <a:gd name="connsiteY88" fmla="*/ 1145173 h 1347457"/>
              <a:gd name="connsiteX89" fmla="*/ 2029759 w 2427462"/>
              <a:gd name="connsiteY89" fmla="*/ 969428 h 1347457"/>
              <a:gd name="connsiteX90" fmla="*/ 1498789 w 2427462"/>
              <a:gd name="connsiteY90" fmla="*/ 206247 h 1347457"/>
              <a:gd name="connsiteX91" fmla="*/ 2337909 w 2427462"/>
              <a:gd name="connsiteY91" fmla="*/ 1113465 h 1347457"/>
              <a:gd name="connsiteX92" fmla="*/ 2029759 w 2427462"/>
              <a:gd name="connsiteY92"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472838 w 2427462"/>
              <a:gd name="connsiteY42" fmla="*/ 351261 h 1347457"/>
              <a:gd name="connsiteX43" fmla="*/ 377110 w 2427462"/>
              <a:gd name="connsiteY43" fmla="*/ 433547 h 1347457"/>
              <a:gd name="connsiteX44" fmla="*/ 305307 w 2427462"/>
              <a:gd name="connsiteY44" fmla="*/ 507906 h 1347457"/>
              <a:gd name="connsiteX45" fmla="*/ 223940 w 2427462"/>
              <a:gd name="connsiteY45" fmla="*/ 610441 h 1347457"/>
              <a:gd name="connsiteX46" fmla="*/ 152136 w 2427462"/>
              <a:gd name="connsiteY46" fmla="*/ 722741 h 1347457"/>
              <a:gd name="connsiteX47" fmla="*/ 152912 w 2427462"/>
              <a:gd name="connsiteY47" fmla="*/ 722741 h 1347457"/>
              <a:gd name="connsiteX48" fmla="*/ 0 w 2427462"/>
              <a:gd name="connsiteY48" fmla="*/ 1311527 h 1347457"/>
              <a:gd name="connsiteX49" fmla="*/ 37740 w 2427462"/>
              <a:gd name="connsiteY49" fmla="*/ 1347428 h 1347457"/>
              <a:gd name="connsiteX50" fmla="*/ 73440 w 2427462"/>
              <a:gd name="connsiteY50" fmla="*/ 1315375 h 1347457"/>
              <a:gd name="connsiteX51" fmla="*/ 429210 w 2427462"/>
              <a:gd name="connsiteY51" fmla="*/ 1039565 h 1347457"/>
              <a:gd name="connsiteX52" fmla="*/ 781246 w 2427462"/>
              <a:gd name="connsiteY52" fmla="*/ 1292657 h 1347457"/>
              <a:gd name="connsiteX53" fmla="*/ 816459 w 2427462"/>
              <a:gd name="connsiteY53" fmla="*/ 1321579 h 1347457"/>
              <a:gd name="connsiteX54" fmla="*/ 851671 w 2427462"/>
              <a:gd name="connsiteY54" fmla="*/ 1292657 h 1347457"/>
              <a:gd name="connsiteX55" fmla="*/ 1171281 w 2427462"/>
              <a:gd name="connsiteY55" fmla="*/ 1040800 h 1347457"/>
              <a:gd name="connsiteX56" fmla="*/ 1243084 w 2427462"/>
              <a:gd name="connsiteY56" fmla="*/ 1041576 h 1347457"/>
              <a:gd name="connsiteX57" fmla="*/ 1559449 w 2427462"/>
              <a:gd name="connsiteY57" fmla="*/ 1315404 h 1347457"/>
              <a:gd name="connsiteX58" fmla="*/ 1595149 w 2427462"/>
              <a:gd name="connsiteY58" fmla="*/ 1347457 h 1347457"/>
              <a:gd name="connsiteX59" fmla="*/ 1606207 w 2427462"/>
              <a:gd name="connsiteY59" fmla="*/ 1347457 h 1347457"/>
              <a:gd name="connsiteX60" fmla="*/ 1641907 w 2427462"/>
              <a:gd name="connsiteY60" fmla="*/ 1315404 h 1347457"/>
              <a:gd name="connsiteX61" fmla="*/ 1997706 w 2427462"/>
              <a:gd name="connsiteY61" fmla="*/ 1039594 h 1347457"/>
              <a:gd name="connsiteX62" fmla="*/ 2353447 w 2427462"/>
              <a:gd name="connsiteY62" fmla="*/ 1315404 h 1347457"/>
              <a:gd name="connsiteX63" fmla="*/ 2389148 w 2427462"/>
              <a:gd name="connsiteY63" fmla="*/ 1347457 h 1347457"/>
              <a:gd name="connsiteX64" fmla="*/ 2390986 w 2427462"/>
              <a:gd name="connsiteY64" fmla="*/ 1347457 h 1347457"/>
              <a:gd name="connsiteX65" fmla="*/ 2391560 w 2427462"/>
              <a:gd name="connsiteY65" fmla="*/ 1347457 h 1347457"/>
              <a:gd name="connsiteX66" fmla="*/ 2427462 w 2427462"/>
              <a:gd name="connsiteY66" fmla="*/ 1311556 h 1347457"/>
              <a:gd name="connsiteX67" fmla="*/ 2426859 w 2427462"/>
              <a:gd name="connsiteY67" fmla="*/ 1305036 h 1347457"/>
              <a:gd name="connsiteX68" fmla="*/ 88978 w 2427462"/>
              <a:gd name="connsiteY68" fmla="*/ 1113465 h 1347457"/>
              <a:gd name="connsiteX69" fmla="*/ 920889 w 2427462"/>
              <a:gd name="connsiteY69" fmla="*/ 208057 h 1347457"/>
              <a:gd name="connsiteX70" fmla="*/ 393050 w 2427462"/>
              <a:gd name="connsiteY70" fmla="*/ 969629 h 1347457"/>
              <a:gd name="connsiteX71" fmla="*/ 88978 w 2427462"/>
              <a:gd name="connsiteY71" fmla="*/ 1113465 h 1347457"/>
              <a:gd name="connsiteX72" fmla="*/ 467237 w 2427462"/>
              <a:gd name="connsiteY72" fmla="*/ 969399 h 1347457"/>
              <a:gd name="connsiteX73" fmla="*/ 1122800 w 2427462"/>
              <a:gd name="connsiteY73" fmla="*/ 201077 h 1347457"/>
              <a:gd name="connsiteX74" fmla="*/ 790409 w 2427462"/>
              <a:gd name="connsiteY74" fmla="*/ 1140635 h 1347457"/>
              <a:gd name="connsiteX75" fmla="*/ 467237 w 2427462"/>
              <a:gd name="connsiteY75" fmla="*/ 969399 h 1347457"/>
              <a:gd name="connsiteX76" fmla="*/ 863217 w 2427462"/>
              <a:gd name="connsiteY76" fmla="*/ 1114556 h 1347457"/>
              <a:gd name="connsiteX77" fmla="*/ 1171281 w 2427462"/>
              <a:gd name="connsiteY77" fmla="*/ 255418 h 1347457"/>
              <a:gd name="connsiteX78" fmla="*/ 1171281 w 2427462"/>
              <a:gd name="connsiteY78" fmla="*/ 968882 h 1347457"/>
              <a:gd name="connsiteX79" fmla="*/ 863217 w 2427462"/>
              <a:gd name="connsiteY79" fmla="*/ 1114556 h 1347457"/>
              <a:gd name="connsiteX80" fmla="*/ 1243084 w 2427462"/>
              <a:gd name="connsiteY80" fmla="*/ 969514 h 1347457"/>
              <a:gd name="connsiteX81" fmla="*/ 1243084 w 2427462"/>
              <a:gd name="connsiteY81" fmla="*/ 244849 h 1347457"/>
              <a:gd name="connsiteX82" fmla="*/ 1560368 w 2427462"/>
              <a:gd name="connsiteY82" fmla="*/ 1133886 h 1347457"/>
              <a:gd name="connsiteX83" fmla="*/ 1243084 w 2427462"/>
              <a:gd name="connsiteY83" fmla="*/ 969514 h 1347457"/>
              <a:gd name="connsiteX84" fmla="*/ 1632659 w 2427462"/>
              <a:gd name="connsiteY84" fmla="*/ 1145173 h 1347457"/>
              <a:gd name="connsiteX85" fmla="*/ 1300096 w 2427462"/>
              <a:gd name="connsiteY85" fmla="*/ 201077 h 1347457"/>
              <a:gd name="connsiteX86" fmla="*/ 1955744 w 2427462"/>
              <a:gd name="connsiteY86" fmla="*/ 969773 h 1347457"/>
              <a:gd name="connsiteX87" fmla="*/ 1632659 w 2427462"/>
              <a:gd name="connsiteY87" fmla="*/ 1145173 h 1347457"/>
              <a:gd name="connsiteX88" fmla="*/ 2029759 w 2427462"/>
              <a:gd name="connsiteY88" fmla="*/ 969428 h 1347457"/>
              <a:gd name="connsiteX89" fmla="*/ 1498789 w 2427462"/>
              <a:gd name="connsiteY89" fmla="*/ 206247 h 1347457"/>
              <a:gd name="connsiteX90" fmla="*/ 2337909 w 2427462"/>
              <a:gd name="connsiteY90" fmla="*/ 1113465 h 1347457"/>
              <a:gd name="connsiteX91" fmla="*/ 2029759 w 2427462"/>
              <a:gd name="connsiteY91"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256337 h 1347457"/>
              <a:gd name="connsiteX40" fmla="*/ 544641 w 2427462"/>
              <a:gd name="connsiteY40" fmla="*/ 299706 h 1347457"/>
              <a:gd name="connsiteX41" fmla="*/ 472838 w 2427462"/>
              <a:gd name="connsiteY41" fmla="*/ 351261 h 1347457"/>
              <a:gd name="connsiteX42" fmla="*/ 377110 w 2427462"/>
              <a:gd name="connsiteY42" fmla="*/ 433547 h 1347457"/>
              <a:gd name="connsiteX43" fmla="*/ 305307 w 2427462"/>
              <a:gd name="connsiteY43" fmla="*/ 507906 h 1347457"/>
              <a:gd name="connsiteX44" fmla="*/ 223940 w 2427462"/>
              <a:gd name="connsiteY44" fmla="*/ 610441 h 1347457"/>
              <a:gd name="connsiteX45" fmla="*/ 152136 w 2427462"/>
              <a:gd name="connsiteY45" fmla="*/ 722741 h 1347457"/>
              <a:gd name="connsiteX46" fmla="*/ 152912 w 2427462"/>
              <a:gd name="connsiteY46" fmla="*/ 722741 h 1347457"/>
              <a:gd name="connsiteX47" fmla="*/ 0 w 2427462"/>
              <a:gd name="connsiteY47" fmla="*/ 1311527 h 1347457"/>
              <a:gd name="connsiteX48" fmla="*/ 37740 w 2427462"/>
              <a:gd name="connsiteY48" fmla="*/ 1347428 h 1347457"/>
              <a:gd name="connsiteX49" fmla="*/ 73440 w 2427462"/>
              <a:gd name="connsiteY49" fmla="*/ 1315375 h 1347457"/>
              <a:gd name="connsiteX50" fmla="*/ 429210 w 2427462"/>
              <a:gd name="connsiteY50" fmla="*/ 1039565 h 1347457"/>
              <a:gd name="connsiteX51" fmla="*/ 781246 w 2427462"/>
              <a:gd name="connsiteY51" fmla="*/ 1292657 h 1347457"/>
              <a:gd name="connsiteX52" fmla="*/ 816459 w 2427462"/>
              <a:gd name="connsiteY52" fmla="*/ 1321579 h 1347457"/>
              <a:gd name="connsiteX53" fmla="*/ 851671 w 2427462"/>
              <a:gd name="connsiteY53" fmla="*/ 1292657 h 1347457"/>
              <a:gd name="connsiteX54" fmla="*/ 1171281 w 2427462"/>
              <a:gd name="connsiteY54" fmla="*/ 1040800 h 1347457"/>
              <a:gd name="connsiteX55" fmla="*/ 1243084 w 2427462"/>
              <a:gd name="connsiteY55" fmla="*/ 1041576 h 1347457"/>
              <a:gd name="connsiteX56" fmla="*/ 1559449 w 2427462"/>
              <a:gd name="connsiteY56" fmla="*/ 1315404 h 1347457"/>
              <a:gd name="connsiteX57" fmla="*/ 1595149 w 2427462"/>
              <a:gd name="connsiteY57" fmla="*/ 1347457 h 1347457"/>
              <a:gd name="connsiteX58" fmla="*/ 1606207 w 2427462"/>
              <a:gd name="connsiteY58" fmla="*/ 1347457 h 1347457"/>
              <a:gd name="connsiteX59" fmla="*/ 1641907 w 2427462"/>
              <a:gd name="connsiteY59" fmla="*/ 1315404 h 1347457"/>
              <a:gd name="connsiteX60" fmla="*/ 1997706 w 2427462"/>
              <a:gd name="connsiteY60" fmla="*/ 1039594 h 1347457"/>
              <a:gd name="connsiteX61" fmla="*/ 2353447 w 2427462"/>
              <a:gd name="connsiteY61" fmla="*/ 1315404 h 1347457"/>
              <a:gd name="connsiteX62" fmla="*/ 2389148 w 2427462"/>
              <a:gd name="connsiteY62" fmla="*/ 1347457 h 1347457"/>
              <a:gd name="connsiteX63" fmla="*/ 2390986 w 2427462"/>
              <a:gd name="connsiteY63" fmla="*/ 1347457 h 1347457"/>
              <a:gd name="connsiteX64" fmla="*/ 2391560 w 2427462"/>
              <a:gd name="connsiteY64" fmla="*/ 1347457 h 1347457"/>
              <a:gd name="connsiteX65" fmla="*/ 2427462 w 2427462"/>
              <a:gd name="connsiteY65" fmla="*/ 1311556 h 1347457"/>
              <a:gd name="connsiteX66" fmla="*/ 2426859 w 2427462"/>
              <a:gd name="connsiteY66" fmla="*/ 1305036 h 1347457"/>
              <a:gd name="connsiteX67" fmla="*/ 88978 w 2427462"/>
              <a:gd name="connsiteY67" fmla="*/ 1113465 h 1347457"/>
              <a:gd name="connsiteX68" fmla="*/ 920889 w 2427462"/>
              <a:gd name="connsiteY68" fmla="*/ 208057 h 1347457"/>
              <a:gd name="connsiteX69" fmla="*/ 393050 w 2427462"/>
              <a:gd name="connsiteY69" fmla="*/ 969629 h 1347457"/>
              <a:gd name="connsiteX70" fmla="*/ 88978 w 2427462"/>
              <a:gd name="connsiteY70" fmla="*/ 1113465 h 1347457"/>
              <a:gd name="connsiteX71" fmla="*/ 467237 w 2427462"/>
              <a:gd name="connsiteY71" fmla="*/ 969399 h 1347457"/>
              <a:gd name="connsiteX72" fmla="*/ 1122800 w 2427462"/>
              <a:gd name="connsiteY72" fmla="*/ 201077 h 1347457"/>
              <a:gd name="connsiteX73" fmla="*/ 790409 w 2427462"/>
              <a:gd name="connsiteY73" fmla="*/ 1140635 h 1347457"/>
              <a:gd name="connsiteX74" fmla="*/ 467237 w 2427462"/>
              <a:gd name="connsiteY74" fmla="*/ 969399 h 1347457"/>
              <a:gd name="connsiteX75" fmla="*/ 863217 w 2427462"/>
              <a:gd name="connsiteY75" fmla="*/ 1114556 h 1347457"/>
              <a:gd name="connsiteX76" fmla="*/ 1171281 w 2427462"/>
              <a:gd name="connsiteY76" fmla="*/ 255418 h 1347457"/>
              <a:gd name="connsiteX77" fmla="*/ 1171281 w 2427462"/>
              <a:gd name="connsiteY77" fmla="*/ 968882 h 1347457"/>
              <a:gd name="connsiteX78" fmla="*/ 863217 w 2427462"/>
              <a:gd name="connsiteY78" fmla="*/ 1114556 h 1347457"/>
              <a:gd name="connsiteX79" fmla="*/ 1243084 w 2427462"/>
              <a:gd name="connsiteY79" fmla="*/ 969514 h 1347457"/>
              <a:gd name="connsiteX80" fmla="*/ 1243084 w 2427462"/>
              <a:gd name="connsiteY80" fmla="*/ 244849 h 1347457"/>
              <a:gd name="connsiteX81" fmla="*/ 1560368 w 2427462"/>
              <a:gd name="connsiteY81" fmla="*/ 1133886 h 1347457"/>
              <a:gd name="connsiteX82" fmla="*/ 1243084 w 2427462"/>
              <a:gd name="connsiteY82" fmla="*/ 969514 h 1347457"/>
              <a:gd name="connsiteX83" fmla="*/ 1632659 w 2427462"/>
              <a:gd name="connsiteY83" fmla="*/ 1145173 h 1347457"/>
              <a:gd name="connsiteX84" fmla="*/ 1300096 w 2427462"/>
              <a:gd name="connsiteY84" fmla="*/ 201077 h 1347457"/>
              <a:gd name="connsiteX85" fmla="*/ 1955744 w 2427462"/>
              <a:gd name="connsiteY85" fmla="*/ 969773 h 1347457"/>
              <a:gd name="connsiteX86" fmla="*/ 1632659 w 2427462"/>
              <a:gd name="connsiteY86" fmla="*/ 1145173 h 1347457"/>
              <a:gd name="connsiteX87" fmla="*/ 2029759 w 2427462"/>
              <a:gd name="connsiteY87" fmla="*/ 969428 h 1347457"/>
              <a:gd name="connsiteX88" fmla="*/ 1498789 w 2427462"/>
              <a:gd name="connsiteY88" fmla="*/ 206247 h 1347457"/>
              <a:gd name="connsiteX89" fmla="*/ 2337909 w 2427462"/>
              <a:gd name="connsiteY89" fmla="*/ 1113465 h 1347457"/>
              <a:gd name="connsiteX90" fmla="*/ 2029759 w 2427462"/>
              <a:gd name="connsiteY90"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15353 w 2427462"/>
              <a:gd name="connsiteY38" fmla="*/ 256337 h 1347457"/>
              <a:gd name="connsiteX39" fmla="*/ 544641 w 2427462"/>
              <a:gd name="connsiteY39" fmla="*/ 299706 h 1347457"/>
              <a:gd name="connsiteX40" fmla="*/ 472838 w 2427462"/>
              <a:gd name="connsiteY40" fmla="*/ 351261 h 1347457"/>
              <a:gd name="connsiteX41" fmla="*/ 377110 w 2427462"/>
              <a:gd name="connsiteY41" fmla="*/ 433547 h 1347457"/>
              <a:gd name="connsiteX42" fmla="*/ 305307 w 2427462"/>
              <a:gd name="connsiteY42" fmla="*/ 507906 h 1347457"/>
              <a:gd name="connsiteX43" fmla="*/ 223940 w 2427462"/>
              <a:gd name="connsiteY43" fmla="*/ 610441 h 1347457"/>
              <a:gd name="connsiteX44" fmla="*/ 152136 w 2427462"/>
              <a:gd name="connsiteY44" fmla="*/ 722741 h 1347457"/>
              <a:gd name="connsiteX45" fmla="*/ 152912 w 2427462"/>
              <a:gd name="connsiteY45" fmla="*/ 722741 h 1347457"/>
              <a:gd name="connsiteX46" fmla="*/ 0 w 2427462"/>
              <a:gd name="connsiteY46" fmla="*/ 1311527 h 1347457"/>
              <a:gd name="connsiteX47" fmla="*/ 37740 w 2427462"/>
              <a:gd name="connsiteY47" fmla="*/ 1347428 h 1347457"/>
              <a:gd name="connsiteX48" fmla="*/ 73440 w 2427462"/>
              <a:gd name="connsiteY48" fmla="*/ 1315375 h 1347457"/>
              <a:gd name="connsiteX49" fmla="*/ 429210 w 2427462"/>
              <a:gd name="connsiteY49" fmla="*/ 1039565 h 1347457"/>
              <a:gd name="connsiteX50" fmla="*/ 781246 w 2427462"/>
              <a:gd name="connsiteY50" fmla="*/ 1292657 h 1347457"/>
              <a:gd name="connsiteX51" fmla="*/ 816459 w 2427462"/>
              <a:gd name="connsiteY51" fmla="*/ 1321579 h 1347457"/>
              <a:gd name="connsiteX52" fmla="*/ 851671 w 2427462"/>
              <a:gd name="connsiteY52" fmla="*/ 1292657 h 1347457"/>
              <a:gd name="connsiteX53" fmla="*/ 1171281 w 2427462"/>
              <a:gd name="connsiteY53" fmla="*/ 1040800 h 1347457"/>
              <a:gd name="connsiteX54" fmla="*/ 1243084 w 2427462"/>
              <a:gd name="connsiteY54" fmla="*/ 1041576 h 1347457"/>
              <a:gd name="connsiteX55" fmla="*/ 1559449 w 2427462"/>
              <a:gd name="connsiteY55" fmla="*/ 1315404 h 1347457"/>
              <a:gd name="connsiteX56" fmla="*/ 1595149 w 2427462"/>
              <a:gd name="connsiteY56" fmla="*/ 1347457 h 1347457"/>
              <a:gd name="connsiteX57" fmla="*/ 1606207 w 2427462"/>
              <a:gd name="connsiteY57" fmla="*/ 1347457 h 1347457"/>
              <a:gd name="connsiteX58" fmla="*/ 1641907 w 2427462"/>
              <a:gd name="connsiteY58" fmla="*/ 1315404 h 1347457"/>
              <a:gd name="connsiteX59" fmla="*/ 1997706 w 2427462"/>
              <a:gd name="connsiteY59" fmla="*/ 1039594 h 1347457"/>
              <a:gd name="connsiteX60" fmla="*/ 2353447 w 2427462"/>
              <a:gd name="connsiteY60" fmla="*/ 1315404 h 1347457"/>
              <a:gd name="connsiteX61" fmla="*/ 2389148 w 2427462"/>
              <a:gd name="connsiteY61" fmla="*/ 1347457 h 1347457"/>
              <a:gd name="connsiteX62" fmla="*/ 2390986 w 2427462"/>
              <a:gd name="connsiteY62" fmla="*/ 1347457 h 1347457"/>
              <a:gd name="connsiteX63" fmla="*/ 2391560 w 2427462"/>
              <a:gd name="connsiteY63" fmla="*/ 1347457 h 1347457"/>
              <a:gd name="connsiteX64" fmla="*/ 2427462 w 2427462"/>
              <a:gd name="connsiteY64" fmla="*/ 1311556 h 1347457"/>
              <a:gd name="connsiteX65" fmla="*/ 2426859 w 2427462"/>
              <a:gd name="connsiteY65" fmla="*/ 1305036 h 1347457"/>
              <a:gd name="connsiteX66" fmla="*/ 88978 w 2427462"/>
              <a:gd name="connsiteY66" fmla="*/ 1113465 h 1347457"/>
              <a:gd name="connsiteX67" fmla="*/ 920889 w 2427462"/>
              <a:gd name="connsiteY67" fmla="*/ 208057 h 1347457"/>
              <a:gd name="connsiteX68" fmla="*/ 393050 w 2427462"/>
              <a:gd name="connsiteY68" fmla="*/ 969629 h 1347457"/>
              <a:gd name="connsiteX69" fmla="*/ 88978 w 2427462"/>
              <a:gd name="connsiteY69" fmla="*/ 1113465 h 1347457"/>
              <a:gd name="connsiteX70" fmla="*/ 467237 w 2427462"/>
              <a:gd name="connsiteY70" fmla="*/ 969399 h 1347457"/>
              <a:gd name="connsiteX71" fmla="*/ 1122800 w 2427462"/>
              <a:gd name="connsiteY71" fmla="*/ 201077 h 1347457"/>
              <a:gd name="connsiteX72" fmla="*/ 790409 w 2427462"/>
              <a:gd name="connsiteY72" fmla="*/ 1140635 h 1347457"/>
              <a:gd name="connsiteX73" fmla="*/ 467237 w 2427462"/>
              <a:gd name="connsiteY73" fmla="*/ 969399 h 1347457"/>
              <a:gd name="connsiteX74" fmla="*/ 863217 w 2427462"/>
              <a:gd name="connsiteY74" fmla="*/ 1114556 h 1347457"/>
              <a:gd name="connsiteX75" fmla="*/ 1171281 w 2427462"/>
              <a:gd name="connsiteY75" fmla="*/ 255418 h 1347457"/>
              <a:gd name="connsiteX76" fmla="*/ 1171281 w 2427462"/>
              <a:gd name="connsiteY76" fmla="*/ 968882 h 1347457"/>
              <a:gd name="connsiteX77" fmla="*/ 863217 w 2427462"/>
              <a:gd name="connsiteY77" fmla="*/ 1114556 h 1347457"/>
              <a:gd name="connsiteX78" fmla="*/ 1243084 w 2427462"/>
              <a:gd name="connsiteY78" fmla="*/ 969514 h 1347457"/>
              <a:gd name="connsiteX79" fmla="*/ 1243084 w 2427462"/>
              <a:gd name="connsiteY79" fmla="*/ 244849 h 1347457"/>
              <a:gd name="connsiteX80" fmla="*/ 1560368 w 2427462"/>
              <a:gd name="connsiteY80" fmla="*/ 1133886 h 1347457"/>
              <a:gd name="connsiteX81" fmla="*/ 1243084 w 2427462"/>
              <a:gd name="connsiteY81" fmla="*/ 969514 h 1347457"/>
              <a:gd name="connsiteX82" fmla="*/ 1632659 w 2427462"/>
              <a:gd name="connsiteY82" fmla="*/ 1145173 h 1347457"/>
              <a:gd name="connsiteX83" fmla="*/ 1300096 w 2427462"/>
              <a:gd name="connsiteY83" fmla="*/ 201077 h 1347457"/>
              <a:gd name="connsiteX84" fmla="*/ 1955744 w 2427462"/>
              <a:gd name="connsiteY84" fmla="*/ 969773 h 1347457"/>
              <a:gd name="connsiteX85" fmla="*/ 1632659 w 2427462"/>
              <a:gd name="connsiteY85" fmla="*/ 1145173 h 1347457"/>
              <a:gd name="connsiteX86" fmla="*/ 2029759 w 2427462"/>
              <a:gd name="connsiteY86" fmla="*/ 969428 h 1347457"/>
              <a:gd name="connsiteX87" fmla="*/ 1498789 w 2427462"/>
              <a:gd name="connsiteY87" fmla="*/ 206247 h 1347457"/>
              <a:gd name="connsiteX88" fmla="*/ 2337909 w 2427462"/>
              <a:gd name="connsiteY88" fmla="*/ 1113465 h 1347457"/>
              <a:gd name="connsiteX89" fmla="*/ 2029759 w 2427462"/>
              <a:gd name="connsiteY89"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91944 h 1347457"/>
              <a:gd name="connsiteX36" fmla="*/ 687156 w 2427462"/>
              <a:gd name="connsiteY36" fmla="*/ 218253 h 1347457"/>
              <a:gd name="connsiteX37" fmla="*/ 615353 w 2427462"/>
              <a:gd name="connsiteY37" fmla="*/ 256337 h 1347457"/>
              <a:gd name="connsiteX38" fmla="*/ 544641 w 2427462"/>
              <a:gd name="connsiteY38" fmla="*/ 299706 h 1347457"/>
              <a:gd name="connsiteX39" fmla="*/ 472838 w 2427462"/>
              <a:gd name="connsiteY39" fmla="*/ 351261 h 1347457"/>
              <a:gd name="connsiteX40" fmla="*/ 377110 w 2427462"/>
              <a:gd name="connsiteY40" fmla="*/ 433547 h 1347457"/>
              <a:gd name="connsiteX41" fmla="*/ 305307 w 2427462"/>
              <a:gd name="connsiteY41" fmla="*/ 507906 h 1347457"/>
              <a:gd name="connsiteX42" fmla="*/ 223940 w 2427462"/>
              <a:gd name="connsiteY42" fmla="*/ 610441 h 1347457"/>
              <a:gd name="connsiteX43" fmla="*/ 152136 w 2427462"/>
              <a:gd name="connsiteY43" fmla="*/ 722741 h 1347457"/>
              <a:gd name="connsiteX44" fmla="*/ 152912 w 2427462"/>
              <a:gd name="connsiteY44" fmla="*/ 722741 h 1347457"/>
              <a:gd name="connsiteX45" fmla="*/ 0 w 2427462"/>
              <a:gd name="connsiteY45" fmla="*/ 1311527 h 1347457"/>
              <a:gd name="connsiteX46" fmla="*/ 37740 w 2427462"/>
              <a:gd name="connsiteY46" fmla="*/ 1347428 h 1347457"/>
              <a:gd name="connsiteX47" fmla="*/ 73440 w 2427462"/>
              <a:gd name="connsiteY47" fmla="*/ 1315375 h 1347457"/>
              <a:gd name="connsiteX48" fmla="*/ 429210 w 2427462"/>
              <a:gd name="connsiteY48" fmla="*/ 1039565 h 1347457"/>
              <a:gd name="connsiteX49" fmla="*/ 781246 w 2427462"/>
              <a:gd name="connsiteY49" fmla="*/ 1292657 h 1347457"/>
              <a:gd name="connsiteX50" fmla="*/ 816459 w 2427462"/>
              <a:gd name="connsiteY50" fmla="*/ 1321579 h 1347457"/>
              <a:gd name="connsiteX51" fmla="*/ 851671 w 2427462"/>
              <a:gd name="connsiteY51" fmla="*/ 1292657 h 1347457"/>
              <a:gd name="connsiteX52" fmla="*/ 1171281 w 2427462"/>
              <a:gd name="connsiteY52" fmla="*/ 1040800 h 1347457"/>
              <a:gd name="connsiteX53" fmla="*/ 1243084 w 2427462"/>
              <a:gd name="connsiteY53" fmla="*/ 1041576 h 1347457"/>
              <a:gd name="connsiteX54" fmla="*/ 1559449 w 2427462"/>
              <a:gd name="connsiteY54" fmla="*/ 1315404 h 1347457"/>
              <a:gd name="connsiteX55" fmla="*/ 1595149 w 2427462"/>
              <a:gd name="connsiteY55" fmla="*/ 1347457 h 1347457"/>
              <a:gd name="connsiteX56" fmla="*/ 1606207 w 2427462"/>
              <a:gd name="connsiteY56" fmla="*/ 1347457 h 1347457"/>
              <a:gd name="connsiteX57" fmla="*/ 1641907 w 2427462"/>
              <a:gd name="connsiteY57" fmla="*/ 1315404 h 1347457"/>
              <a:gd name="connsiteX58" fmla="*/ 1997706 w 2427462"/>
              <a:gd name="connsiteY58" fmla="*/ 1039594 h 1347457"/>
              <a:gd name="connsiteX59" fmla="*/ 2353447 w 2427462"/>
              <a:gd name="connsiteY59" fmla="*/ 1315404 h 1347457"/>
              <a:gd name="connsiteX60" fmla="*/ 2389148 w 2427462"/>
              <a:gd name="connsiteY60" fmla="*/ 1347457 h 1347457"/>
              <a:gd name="connsiteX61" fmla="*/ 2390986 w 2427462"/>
              <a:gd name="connsiteY61" fmla="*/ 1347457 h 1347457"/>
              <a:gd name="connsiteX62" fmla="*/ 2391560 w 2427462"/>
              <a:gd name="connsiteY62" fmla="*/ 1347457 h 1347457"/>
              <a:gd name="connsiteX63" fmla="*/ 2427462 w 2427462"/>
              <a:gd name="connsiteY63" fmla="*/ 1311556 h 1347457"/>
              <a:gd name="connsiteX64" fmla="*/ 2426859 w 2427462"/>
              <a:gd name="connsiteY64" fmla="*/ 1305036 h 1347457"/>
              <a:gd name="connsiteX65" fmla="*/ 88978 w 2427462"/>
              <a:gd name="connsiteY65" fmla="*/ 1113465 h 1347457"/>
              <a:gd name="connsiteX66" fmla="*/ 920889 w 2427462"/>
              <a:gd name="connsiteY66" fmla="*/ 208057 h 1347457"/>
              <a:gd name="connsiteX67" fmla="*/ 393050 w 2427462"/>
              <a:gd name="connsiteY67" fmla="*/ 969629 h 1347457"/>
              <a:gd name="connsiteX68" fmla="*/ 88978 w 2427462"/>
              <a:gd name="connsiteY68" fmla="*/ 1113465 h 1347457"/>
              <a:gd name="connsiteX69" fmla="*/ 467237 w 2427462"/>
              <a:gd name="connsiteY69" fmla="*/ 969399 h 1347457"/>
              <a:gd name="connsiteX70" fmla="*/ 1122800 w 2427462"/>
              <a:gd name="connsiteY70" fmla="*/ 201077 h 1347457"/>
              <a:gd name="connsiteX71" fmla="*/ 790409 w 2427462"/>
              <a:gd name="connsiteY71" fmla="*/ 1140635 h 1347457"/>
              <a:gd name="connsiteX72" fmla="*/ 467237 w 2427462"/>
              <a:gd name="connsiteY72" fmla="*/ 969399 h 1347457"/>
              <a:gd name="connsiteX73" fmla="*/ 863217 w 2427462"/>
              <a:gd name="connsiteY73" fmla="*/ 1114556 h 1347457"/>
              <a:gd name="connsiteX74" fmla="*/ 1171281 w 2427462"/>
              <a:gd name="connsiteY74" fmla="*/ 255418 h 1347457"/>
              <a:gd name="connsiteX75" fmla="*/ 1171281 w 2427462"/>
              <a:gd name="connsiteY75" fmla="*/ 968882 h 1347457"/>
              <a:gd name="connsiteX76" fmla="*/ 863217 w 2427462"/>
              <a:gd name="connsiteY76" fmla="*/ 1114556 h 1347457"/>
              <a:gd name="connsiteX77" fmla="*/ 1243084 w 2427462"/>
              <a:gd name="connsiteY77" fmla="*/ 969514 h 1347457"/>
              <a:gd name="connsiteX78" fmla="*/ 1243084 w 2427462"/>
              <a:gd name="connsiteY78" fmla="*/ 244849 h 1347457"/>
              <a:gd name="connsiteX79" fmla="*/ 1560368 w 2427462"/>
              <a:gd name="connsiteY79" fmla="*/ 1133886 h 1347457"/>
              <a:gd name="connsiteX80" fmla="*/ 1243084 w 2427462"/>
              <a:gd name="connsiteY80" fmla="*/ 969514 h 1347457"/>
              <a:gd name="connsiteX81" fmla="*/ 1632659 w 2427462"/>
              <a:gd name="connsiteY81" fmla="*/ 1145173 h 1347457"/>
              <a:gd name="connsiteX82" fmla="*/ 1300096 w 2427462"/>
              <a:gd name="connsiteY82" fmla="*/ 201077 h 1347457"/>
              <a:gd name="connsiteX83" fmla="*/ 1955744 w 2427462"/>
              <a:gd name="connsiteY83" fmla="*/ 969773 h 1347457"/>
              <a:gd name="connsiteX84" fmla="*/ 1632659 w 2427462"/>
              <a:gd name="connsiteY84" fmla="*/ 1145173 h 1347457"/>
              <a:gd name="connsiteX85" fmla="*/ 2029759 w 2427462"/>
              <a:gd name="connsiteY85" fmla="*/ 969428 h 1347457"/>
              <a:gd name="connsiteX86" fmla="*/ 1498789 w 2427462"/>
              <a:gd name="connsiteY86" fmla="*/ 206247 h 1347457"/>
              <a:gd name="connsiteX87" fmla="*/ 2337909 w 2427462"/>
              <a:gd name="connsiteY87" fmla="*/ 1113465 h 1347457"/>
              <a:gd name="connsiteX88" fmla="*/ 2029759 w 2427462"/>
              <a:gd name="connsiteY88"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745690 w 2427462"/>
              <a:gd name="connsiteY34" fmla="*/ 191944 h 1347457"/>
              <a:gd name="connsiteX35" fmla="*/ 687156 w 2427462"/>
              <a:gd name="connsiteY35" fmla="*/ 218253 h 1347457"/>
              <a:gd name="connsiteX36" fmla="*/ 615353 w 2427462"/>
              <a:gd name="connsiteY36" fmla="*/ 256337 h 1347457"/>
              <a:gd name="connsiteX37" fmla="*/ 544641 w 2427462"/>
              <a:gd name="connsiteY37" fmla="*/ 299706 h 1347457"/>
              <a:gd name="connsiteX38" fmla="*/ 472838 w 2427462"/>
              <a:gd name="connsiteY38" fmla="*/ 351261 h 1347457"/>
              <a:gd name="connsiteX39" fmla="*/ 377110 w 2427462"/>
              <a:gd name="connsiteY39" fmla="*/ 433547 h 1347457"/>
              <a:gd name="connsiteX40" fmla="*/ 305307 w 2427462"/>
              <a:gd name="connsiteY40" fmla="*/ 507906 h 1347457"/>
              <a:gd name="connsiteX41" fmla="*/ 223940 w 2427462"/>
              <a:gd name="connsiteY41" fmla="*/ 610441 h 1347457"/>
              <a:gd name="connsiteX42" fmla="*/ 152136 w 2427462"/>
              <a:gd name="connsiteY42" fmla="*/ 722741 h 1347457"/>
              <a:gd name="connsiteX43" fmla="*/ 152912 w 2427462"/>
              <a:gd name="connsiteY43" fmla="*/ 722741 h 1347457"/>
              <a:gd name="connsiteX44" fmla="*/ 0 w 2427462"/>
              <a:gd name="connsiteY44" fmla="*/ 1311527 h 1347457"/>
              <a:gd name="connsiteX45" fmla="*/ 37740 w 2427462"/>
              <a:gd name="connsiteY45" fmla="*/ 1347428 h 1347457"/>
              <a:gd name="connsiteX46" fmla="*/ 73440 w 2427462"/>
              <a:gd name="connsiteY46" fmla="*/ 1315375 h 1347457"/>
              <a:gd name="connsiteX47" fmla="*/ 429210 w 2427462"/>
              <a:gd name="connsiteY47" fmla="*/ 1039565 h 1347457"/>
              <a:gd name="connsiteX48" fmla="*/ 781246 w 2427462"/>
              <a:gd name="connsiteY48" fmla="*/ 1292657 h 1347457"/>
              <a:gd name="connsiteX49" fmla="*/ 816459 w 2427462"/>
              <a:gd name="connsiteY49" fmla="*/ 1321579 h 1347457"/>
              <a:gd name="connsiteX50" fmla="*/ 851671 w 2427462"/>
              <a:gd name="connsiteY50" fmla="*/ 1292657 h 1347457"/>
              <a:gd name="connsiteX51" fmla="*/ 1171281 w 2427462"/>
              <a:gd name="connsiteY51" fmla="*/ 1040800 h 1347457"/>
              <a:gd name="connsiteX52" fmla="*/ 1243084 w 2427462"/>
              <a:gd name="connsiteY52" fmla="*/ 1041576 h 1347457"/>
              <a:gd name="connsiteX53" fmla="*/ 1559449 w 2427462"/>
              <a:gd name="connsiteY53" fmla="*/ 1315404 h 1347457"/>
              <a:gd name="connsiteX54" fmla="*/ 1595149 w 2427462"/>
              <a:gd name="connsiteY54" fmla="*/ 1347457 h 1347457"/>
              <a:gd name="connsiteX55" fmla="*/ 1606207 w 2427462"/>
              <a:gd name="connsiteY55" fmla="*/ 1347457 h 1347457"/>
              <a:gd name="connsiteX56" fmla="*/ 1641907 w 2427462"/>
              <a:gd name="connsiteY56" fmla="*/ 1315404 h 1347457"/>
              <a:gd name="connsiteX57" fmla="*/ 1997706 w 2427462"/>
              <a:gd name="connsiteY57" fmla="*/ 1039594 h 1347457"/>
              <a:gd name="connsiteX58" fmla="*/ 2353447 w 2427462"/>
              <a:gd name="connsiteY58" fmla="*/ 1315404 h 1347457"/>
              <a:gd name="connsiteX59" fmla="*/ 2389148 w 2427462"/>
              <a:gd name="connsiteY59" fmla="*/ 1347457 h 1347457"/>
              <a:gd name="connsiteX60" fmla="*/ 2390986 w 2427462"/>
              <a:gd name="connsiteY60" fmla="*/ 1347457 h 1347457"/>
              <a:gd name="connsiteX61" fmla="*/ 2391560 w 2427462"/>
              <a:gd name="connsiteY61" fmla="*/ 1347457 h 1347457"/>
              <a:gd name="connsiteX62" fmla="*/ 2427462 w 2427462"/>
              <a:gd name="connsiteY62" fmla="*/ 1311556 h 1347457"/>
              <a:gd name="connsiteX63" fmla="*/ 2426859 w 2427462"/>
              <a:gd name="connsiteY63" fmla="*/ 1305036 h 1347457"/>
              <a:gd name="connsiteX64" fmla="*/ 88978 w 2427462"/>
              <a:gd name="connsiteY64" fmla="*/ 1113465 h 1347457"/>
              <a:gd name="connsiteX65" fmla="*/ 920889 w 2427462"/>
              <a:gd name="connsiteY65" fmla="*/ 208057 h 1347457"/>
              <a:gd name="connsiteX66" fmla="*/ 393050 w 2427462"/>
              <a:gd name="connsiteY66" fmla="*/ 969629 h 1347457"/>
              <a:gd name="connsiteX67" fmla="*/ 88978 w 2427462"/>
              <a:gd name="connsiteY67" fmla="*/ 1113465 h 1347457"/>
              <a:gd name="connsiteX68" fmla="*/ 467237 w 2427462"/>
              <a:gd name="connsiteY68" fmla="*/ 969399 h 1347457"/>
              <a:gd name="connsiteX69" fmla="*/ 1122800 w 2427462"/>
              <a:gd name="connsiteY69" fmla="*/ 201077 h 1347457"/>
              <a:gd name="connsiteX70" fmla="*/ 790409 w 2427462"/>
              <a:gd name="connsiteY70" fmla="*/ 1140635 h 1347457"/>
              <a:gd name="connsiteX71" fmla="*/ 467237 w 2427462"/>
              <a:gd name="connsiteY71" fmla="*/ 969399 h 1347457"/>
              <a:gd name="connsiteX72" fmla="*/ 863217 w 2427462"/>
              <a:gd name="connsiteY72" fmla="*/ 1114556 h 1347457"/>
              <a:gd name="connsiteX73" fmla="*/ 1171281 w 2427462"/>
              <a:gd name="connsiteY73" fmla="*/ 255418 h 1347457"/>
              <a:gd name="connsiteX74" fmla="*/ 1171281 w 2427462"/>
              <a:gd name="connsiteY74" fmla="*/ 968882 h 1347457"/>
              <a:gd name="connsiteX75" fmla="*/ 863217 w 2427462"/>
              <a:gd name="connsiteY75" fmla="*/ 1114556 h 1347457"/>
              <a:gd name="connsiteX76" fmla="*/ 1243084 w 2427462"/>
              <a:gd name="connsiteY76" fmla="*/ 969514 h 1347457"/>
              <a:gd name="connsiteX77" fmla="*/ 1243084 w 2427462"/>
              <a:gd name="connsiteY77" fmla="*/ 244849 h 1347457"/>
              <a:gd name="connsiteX78" fmla="*/ 1560368 w 2427462"/>
              <a:gd name="connsiteY78" fmla="*/ 1133886 h 1347457"/>
              <a:gd name="connsiteX79" fmla="*/ 1243084 w 2427462"/>
              <a:gd name="connsiteY79" fmla="*/ 969514 h 1347457"/>
              <a:gd name="connsiteX80" fmla="*/ 1632659 w 2427462"/>
              <a:gd name="connsiteY80" fmla="*/ 1145173 h 1347457"/>
              <a:gd name="connsiteX81" fmla="*/ 1300096 w 2427462"/>
              <a:gd name="connsiteY81" fmla="*/ 201077 h 1347457"/>
              <a:gd name="connsiteX82" fmla="*/ 1955744 w 2427462"/>
              <a:gd name="connsiteY82" fmla="*/ 969773 h 1347457"/>
              <a:gd name="connsiteX83" fmla="*/ 1632659 w 2427462"/>
              <a:gd name="connsiteY83" fmla="*/ 1145173 h 1347457"/>
              <a:gd name="connsiteX84" fmla="*/ 2029759 w 2427462"/>
              <a:gd name="connsiteY84" fmla="*/ 969428 h 1347457"/>
              <a:gd name="connsiteX85" fmla="*/ 1498789 w 2427462"/>
              <a:gd name="connsiteY85" fmla="*/ 206247 h 1347457"/>
              <a:gd name="connsiteX86" fmla="*/ 2337909 w 2427462"/>
              <a:gd name="connsiteY86" fmla="*/ 1113465 h 1347457"/>
              <a:gd name="connsiteX87" fmla="*/ 2029759 w 2427462"/>
              <a:gd name="connsiteY87"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142974 h 1347457"/>
              <a:gd name="connsiteX32" fmla="*/ 817493 w 2427462"/>
              <a:gd name="connsiteY32" fmla="*/ 164745 h 1347457"/>
              <a:gd name="connsiteX33" fmla="*/ 745690 w 2427462"/>
              <a:gd name="connsiteY33" fmla="*/ 191944 h 1347457"/>
              <a:gd name="connsiteX34" fmla="*/ 687156 w 2427462"/>
              <a:gd name="connsiteY34" fmla="*/ 218253 h 1347457"/>
              <a:gd name="connsiteX35" fmla="*/ 615353 w 2427462"/>
              <a:gd name="connsiteY35" fmla="*/ 256337 h 1347457"/>
              <a:gd name="connsiteX36" fmla="*/ 544641 w 2427462"/>
              <a:gd name="connsiteY36" fmla="*/ 299706 h 1347457"/>
              <a:gd name="connsiteX37" fmla="*/ 472838 w 2427462"/>
              <a:gd name="connsiteY37" fmla="*/ 351261 h 1347457"/>
              <a:gd name="connsiteX38" fmla="*/ 377110 w 2427462"/>
              <a:gd name="connsiteY38" fmla="*/ 433547 h 1347457"/>
              <a:gd name="connsiteX39" fmla="*/ 305307 w 2427462"/>
              <a:gd name="connsiteY39" fmla="*/ 507906 h 1347457"/>
              <a:gd name="connsiteX40" fmla="*/ 223940 w 2427462"/>
              <a:gd name="connsiteY40" fmla="*/ 610441 h 1347457"/>
              <a:gd name="connsiteX41" fmla="*/ 152136 w 2427462"/>
              <a:gd name="connsiteY41" fmla="*/ 722741 h 1347457"/>
              <a:gd name="connsiteX42" fmla="*/ 152912 w 2427462"/>
              <a:gd name="connsiteY42" fmla="*/ 722741 h 1347457"/>
              <a:gd name="connsiteX43" fmla="*/ 0 w 2427462"/>
              <a:gd name="connsiteY43" fmla="*/ 1311527 h 1347457"/>
              <a:gd name="connsiteX44" fmla="*/ 37740 w 2427462"/>
              <a:gd name="connsiteY44" fmla="*/ 1347428 h 1347457"/>
              <a:gd name="connsiteX45" fmla="*/ 73440 w 2427462"/>
              <a:gd name="connsiteY45" fmla="*/ 1315375 h 1347457"/>
              <a:gd name="connsiteX46" fmla="*/ 429210 w 2427462"/>
              <a:gd name="connsiteY46" fmla="*/ 1039565 h 1347457"/>
              <a:gd name="connsiteX47" fmla="*/ 781246 w 2427462"/>
              <a:gd name="connsiteY47" fmla="*/ 1292657 h 1347457"/>
              <a:gd name="connsiteX48" fmla="*/ 816459 w 2427462"/>
              <a:gd name="connsiteY48" fmla="*/ 1321579 h 1347457"/>
              <a:gd name="connsiteX49" fmla="*/ 851671 w 2427462"/>
              <a:gd name="connsiteY49" fmla="*/ 1292657 h 1347457"/>
              <a:gd name="connsiteX50" fmla="*/ 1171281 w 2427462"/>
              <a:gd name="connsiteY50" fmla="*/ 1040800 h 1347457"/>
              <a:gd name="connsiteX51" fmla="*/ 1243084 w 2427462"/>
              <a:gd name="connsiteY51" fmla="*/ 1041576 h 1347457"/>
              <a:gd name="connsiteX52" fmla="*/ 1559449 w 2427462"/>
              <a:gd name="connsiteY52" fmla="*/ 1315404 h 1347457"/>
              <a:gd name="connsiteX53" fmla="*/ 1595149 w 2427462"/>
              <a:gd name="connsiteY53" fmla="*/ 1347457 h 1347457"/>
              <a:gd name="connsiteX54" fmla="*/ 1606207 w 2427462"/>
              <a:gd name="connsiteY54" fmla="*/ 1347457 h 1347457"/>
              <a:gd name="connsiteX55" fmla="*/ 1641907 w 2427462"/>
              <a:gd name="connsiteY55" fmla="*/ 1315404 h 1347457"/>
              <a:gd name="connsiteX56" fmla="*/ 1997706 w 2427462"/>
              <a:gd name="connsiteY56" fmla="*/ 1039594 h 1347457"/>
              <a:gd name="connsiteX57" fmla="*/ 2353447 w 2427462"/>
              <a:gd name="connsiteY57" fmla="*/ 1315404 h 1347457"/>
              <a:gd name="connsiteX58" fmla="*/ 2389148 w 2427462"/>
              <a:gd name="connsiteY58" fmla="*/ 1347457 h 1347457"/>
              <a:gd name="connsiteX59" fmla="*/ 2390986 w 2427462"/>
              <a:gd name="connsiteY59" fmla="*/ 1347457 h 1347457"/>
              <a:gd name="connsiteX60" fmla="*/ 2391560 w 2427462"/>
              <a:gd name="connsiteY60" fmla="*/ 1347457 h 1347457"/>
              <a:gd name="connsiteX61" fmla="*/ 2427462 w 2427462"/>
              <a:gd name="connsiteY61" fmla="*/ 1311556 h 1347457"/>
              <a:gd name="connsiteX62" fmla="*/ 2426859 w 2427462"/>
              <a:gd name="connsiteY62" fmla="*/ 1305036 h 1347457"/>
              <a:gd name="connsiteX63" fmla="*/ 88978 w 2427462"/>
              <a:gd name="connsiteY63" fmla="*/ 1113465 h 1347457"/>
              <a:gd name="connsiteX64" fmla="*/ 920889 w 2427462"/>
              <a:gd name="connsiteY64" fmla="*/ 208057 h 1347457"/>
              <a:gd name="connsiteX65" fmla="*/ 393050 w 2427462"/>
              <a:gd name="connsiteY65" fmla="*/ 969629 h 1347457"/>
              <a:gd name="connsiteX66" fmla="*/ 88978 w 2427462"/>
              <a:gd name="connsiteY66" fmla="*/ 1113465 h 1347457"/>
              <a:gd name="connsiteX67" fmla="*/ 467237 w 2427462"/>
              <a:gd name="connsiteY67" fmla="*/ 969399 h 1347457"/>
              <a:gd name="connsiteX68" fmla="*/ 1122800 w 2427462"/>
              <a:gd name="connsiteY68" fmla="*/ 201077 h 1347457"/>
              <a:gd name="connsiteX69" fmla="*/ 790409 w 2427462"/>
              <a:gd name="connsiteY69" fmla="*/ 1140635 h 1347457"/>
              <a:gd name="connsiteX70" fmla="*/ 467237 w 2427462"/>
              <a:gd name="connsiteY70" fmla="*/ 969399 h 1347457"/>
              <a:gd name="connsiteX71" fmla="*/ 863217 w 2427462"/>
              <a:gd name="connsiteY71" fmla="*/ 1114556 h 1347457"/>
              <a:gd name="connsiteX72" fmla="*/ 1171281 w 2427462"/>
              <a:gd name="connsiteY72" fmla="*/ 255418 h 1347457"/>
              <a:gd name="connsiteX73" fmla="*/ 1171281 w 2427462"/>
              <a:gd name="connsiteY73" fmla="*/ 968882 h 1347457"/>
              <a:gd name="connsiteX74" fmla="*/ 863217 w 2427462"/>
              <a:gd name="connsiteY74" fmla="*/ 1114556 h 1347457"/>
              <a:gd name="connsiteX75" fmla="*/ 1243084 w 2427462"/>
              <a:gd name="connsiteY75" fmla="*/ 969514 h 1347457"/>
              <a:gd name="connsiteX76" fmla="*/ 1243084 w 2427462"/>
              <a:gd name="connsiteY76" fmla="*/ 244849 h 1347457"/>
              <a:gd name="connsiteX77" fmla="*/ 1560368 w 2427462"/>
              <a:gd name="connsiteY77" fmla="*/ 1133886 h 1347457"/>
              <a:gd name="connsiteX78" fmla="*/ 1243084 w 2427462"/>
              <a:gd name="connsiteY78" fmla="*/ 969514 h 1347457"/>
              <a:gd name="connsiteX79" fmla="*/ 1632659 w 2427462"/>
              <a:gd name="connsiteY79" fmla="*/ 1145173 h 1347457"/>
              <a:gd name="connsiteX80" fmla="*/ 1300096 w 2427462"/>
              <a:gd name="connsiteY80" fmla="*/ 201077 h 1347457"/>
              <a:gd name="connsiteX81" fmla="*/ 1955744 w 2427462"/>
              <a:gd name="connsiteY81" fmla="*/ 969773 h 1347457"/>
              <a:gd name="connsiteX82" fmla="*/ 1632659 w 2427462"/>
              <a:gd name="connsiteY82" fmla="*/ 1145173 h 1347457"/>
              <a:gd name="connsiteX83" fmla="*/ 2029759 w 2427462"/>
              <a:gd name="connsiteY83" fmla="*/ 969428 h 1347457"/>
              <a:gd name="connsiteX84" fmla="*/ 1498789 w 2427462"/>
              <a:gd name="connsiteY84" fmla="*/ 206247 h 1347457"/>
              <a:gd name="connsiteX85" fmla="*/ 2337909 w 2427462"/>
              <a:gd name="connsiteY85" fmla="*/ 1113465 h 1347457"/>
              <a:gd name="connsiteX86" fmla="*/ 2029759 w 2427462"/>
              <a:gd name="connsiteY86"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887170 w 2427462"/>
              <a:gd name="connsiteY30" fmla="*/ 142974 h 1347457"/>
              <a:gd name="connsiteX31" fmla="*/ 817493 w 2427462"/>
              <a:gd name="connsiteY31" fmla="*/ 164745 h 1347457"/>
              <a:gd name="connsiteX32" fmla="*/ 745690 w 2427462"/>
              <a:gd name="connsiteY32" fmla="*/ 191944 h 1347457"/>
              <a:gd name="connsiteX33" fmla="*/ 687156 w 2427462"/>
              <a:gd name="connsiteY33" fmla="*/ 218253 h 1347457"/>
              <a:gd name="connsiteX34" fmla="*/ 615353 w 2427462"/>
              <a:gd name="connsiteY34" fmla="*/ 256337 h 1347457"/>
              <a:gd name="connsiteX35" fmla="*/ 544641 w 2427462"/>
              <a:gd name="connsiteY35" fmla="*/ 299706 h 1347457"/>
              <a:gd name="connsiteX36" fmla="*/ 472838 w 2427462"/>
              <a:gd name="connsiteY36" fmla="*/ 351261 h 1347457"/>
              <a:gd name="connsiteX37" fmla="*/ 377110 w 2427462"/>
              <a:gd name="connsiteY37" fmla="*/ 433547 h 1347457"/>
              <a:gd name="connsiteX38" fmla="*/ 305307 w 2427462"/>
              <a:gd name="connsiteY38" fmla="*/ 507906 h 1347457"/>
              <a:gd name="connsiteX39" fmla="*/ 223940 w 2427462"/>
              <a:gd name="connsiteY39" fmla="*/ 610441 h 1347457"/>
              <a:gd name="connsiteX40" fmla="*/ 152136 w 2427462"/>
              <a:gd name="connsiteY40" fmla="*/ 722741 h 1347457"/>
              <a:gd name="connsiteX41" fmla="*/ 152912 w 2427462"/>
              <a:gd name="connsiteY41" fmla="*/ 722741 h 1347457"/>
              <a:gd name="connsiteX42" fmla="*/ 0 w 2427462"/>
              <a:gd name="connsiteY42" fmla="*/ 1311527 h 1347457"/>
              <a:gd name="connsiteX43" fmla="*/ 37740 w 2427462"/>
              <a:gd name="connsiteY43" fmla="*/ 1347428 h 1347457"/>
              <a:gd name="connsiteX44" fmla="*/ 73440 w 2427462"/>
              <a:gd name="connsiteY44" fmla="*/ 1315375 h 1347457"/>
              <a:gd name="connsiteX45" fmla="*/ 429210 w 2427462"/>
              <a:gd name="connsiteY45" fmla="*/ 1039565 h 1347457"/>
              <a:gd name="connsiteX46" fmla="*/ 781246 w 2427462"/>
              <a:gd name="connsiteY46" fmla="*/ 1292657 h 1347457"/>
              <a:gd name="connsiteX47" fmla="*/ 816459 w 2427462"/>
              <a:gd name="connsiteY47" fmla="*/ 1321579 h 1347457"/>
              <a:gd name="connsiteX48" fmla="*/ 851671 w 2427462"/>
              <a:gd name="connsiteY48" fmla="*/ 1292657 h 1347457"/>
              <a:gd name="connsiteX49" fmla="*/ 1171281 w 2427462"/>
              <a:gd name="connsiteY49" fmla="*/ 1040800 h 1347457"/>
              <a:gd name="connsiteX50" fmla="*/ 1243084 w 2427462"/>
              <a:gd name="connsiteY50" fmla="*/ 1041576 h 1347457"/>
              <a:gd name="connsiteX51" fmla="*/ 1559449 w 2427462"/>
              <a:gd name="connsiteY51" fmla="*/ 1315404 h 1347457"/>
              <a:gd name="connsiteX52" fmla="*/ 1595149 w 2427462"/>
              <a:gd name="connsiteY52" fmla="*/ 1347457 h 1347457"/>
              <a:gd name="connsiteX53" fmla="*/ 1606207 w 2427462"/>
              <a:gd name="connsiteY53" fmla="*/ 1347457 h 1347457"/>
              <a:gd name="connsiteX54" fmla="*/ 1641907 w 2427462"/>
              <a:gd name="connsiteY54" fmla="*/ 1315404 h 1347457"/>
              <a:gd name="connsiteX55" fmla="*/ 1997706 w 2427462"/>
              <a:gd name="connsiteY55" fmla="*/ 1039594 h 1347457"/>
              <a:gd name="connsiteX56" fmla="*/ 2353447 w 2427462"/>
              <a:gd name="connsiteY56" fmla="*/ 1315404 h 1347457"/>
              <a:gd name="connsiteX57" fmla="*/ 2389148 w 2427462"/>
              <a:gd name="connsiteY57" fmla="*/ 1347457 h 1347457"/>
              <a:gd name="connsiteX58" fmla="*/ 2390986 w 2427462"/>
              <a:gd name="connsiteY58" fmla="*/ 1347457 h 1347457"/>
              <a:gd name="connsiteX59" fmla="*/ 2391560 w 2427462"/>
              <a:gd name="connsiteY59" fmla="*/ 1347457 h 1347457"/>
              <a:gd name="connsiteX60" fmla="*/ 2427462 w 2427462"/>
              <a:gd name="connsiteY60" fmla="*/ 1311556 h 1347457"/>
              <a:gd name="connsiteX61" fmla="*/ 2426859 w 2427462"/>
              <a:gd name="connsiteY61" fmla="*/ 1305036 h 1347457"/>
              <a:gd name="connsiteX62" fmla="*/ 88978 w 2427462"/>
              <a:gd name="connsiteY62" fmla="*/ 1113465 h 1347457"/>
              <a:gd name="connsiteX63" fmla="*/ 920889 w 2427462"/>
              <a:gd name="connsiteY63" fmla="*/ 208057 h 1347457"/>
              <a:gd name="connsiteX64" fmla="*/ 393050 w 2427462"/>
              <a:gd name="connsiteY64" fmla="*/ 969629 h 1347457"/>
              <a:gd name="connsiteX65" fmla="*/ 88978 w 2427462"/>
              <a:gd name="connsiteY65" fmla="*/ 1113465 h 1347457"/>
              <a:gd name="connsiteX66" fmla="*/ 467237 w 2427462"/>
              <a:gd name="connsiteY66" fmla="*/ 969399 h 1347457"/>
              <a:gd name="connsiteX67" fmla="*/ 1122800 w 2427462"/>
              <a:gd name="connsiteY67" fmla="*/ 201077 h 1347457"/>
              <a:gd name="connsiteX68" fmla="*/ 790409 w 2427462"/>
              <a:gd name="connsiteY68" fmla="*/ 1140635 h 1347457"/>
              <a:gd name="connsiteX69" fmla="*/ 467237 w 2427462"/>
              <a:gd name="connsiteY69" fmla="*/ 969399 h 1347457"/>
              <a:gd name="connsiteX70" fmla="*/ 863217 w 2427462"/>
              <a:gd name="connsiteY70" fmla="*/ 1114556 h 1347457"/>
              <a:gd name="connsiteX71" fmla="*/ 1171281 w 2427462"/>
              <a:gd name="connsiteY71" fmla="*/ 255418 h 1347457"/>
              <a:gd name="connsiteX72" fmla="*/ 1171281 w 2427462"/>
              <a:gd name="connsiteY72" fmla="*/ 968882 h 1347457"/>
              <a:gd name="connsiteX73" fmla="*/ 863217 w 2427462"/>
              <a:gd name="connsiteY73" fmla="*/ 1114556 h 1347457"/>
              <a:gd name="connsiteX74" fmla="*/ 1243084 w 2427462"/>
              <a:gd name="connsiteY74" fmla="*/ 969514 h 1347457"/>
              <a:gd name="connsiteX75" fmla="*/ 1243084 w 2427462"/>
              <a:gd name="connsiteY75" fmla="*/ 244849 h 1347457"/>
              <a:gd name="connsiteX76" fmla="*/ 1560368 w 2427462"/>
              <a:gd name="connsiteY76" fmla="*/ 1133886 h 1347457"/>
              <a:gd name="connsiteX77" fmla="*/ 1243084 w 2427462"/>
              <a:gd name="connsiteY77" fmla="*/ 969514 h 1347457"/>
              <a:gd name="connsiteX78" fmla="*/ 1632659 w 2427462"/>
              <a:gd name="connsiteY78" fmla="*/ 1145173 h 1347457"/>
              <a:gd name="connsiteX79" fmla="*/ 1300096 w 2427462"/>
              <a:gd name="connsiteY79" fmla="*/ 201077 h 1347457"/>
              <a:gd name="connsiteX80" fmla="*/ 1955744 w 2427462"/>
              <a:gd name="connsiteY80" fmla="*/ 969773 h 1347457"/>
              <a:gd name="connsiteX81" fmla="*/ 1632659 w 2427462"/>
              <a:gd name="connsiteY81" fmla="*/ 1145173 h 1347457"/>
              <a:gd name="connsiteX82" fmla="*/ 2029759 w 2427462"/>
              <a:gd name="connsiteY82" fmla="*/ 969428 h 1347457"/>
              <a:gd name="connsiteX83" fmla="*/ 1498789 w 2427462"/>
              <a:gd name="connsiteY83" fmla="*/ 206247 h 1347457"/>
              <a:gd name="connsiteX84" fmla="*/ 2337909 w 2427462"/>
              <a:gd name="connsiteY84" fmla="*/ 1113465 h 1347457"/>
              <a:gd name="connsiteX85" fmla="*/ 2029759 w 2427462"/>
              <a:gd name="connsiteY85"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171281 w 2427462"/>
              <a:gd name="connsiteY26" fmla="*/ 0 h 1347457"/>
              <a:gd name="connsiteX27" fmla="*/ 1171281 w 2427462"/>
              <a:gd name="connsiteY27" fmla="*/ 99117 h 1347457"/>
              <a:gd name="connsiteX28" fmla="*/ 958973 w 2427462"/>
              <a:gd name="connsiteY28" fmla="*/ 125110 h 1347457"/>
              <a:gd name="connsiteX29" fmla="*/ 887170 w 2427462"/>
              <a:gd name="connsiteY29" fmla="*/ 142974 h 1347457"/>
              <a:gd name="connsiteX30" fmla="*/ 817493 w 2427462"/>
              <a:gd name="connsiteY30" fmla="*/ 164745 h 1347457"/>
              <a:gd name="connsiteX31" fmla="*/ 745690 w 2427462"/>
              <a:gd name="connsiteY31" fmla="*/ 191944 h 1347457"/>
              <a:gd name="connsiteX32" fmla="*/ 687156 w 2427462"/>
              <a:gd name="connsiteY32" fmla="*/ 218253 h 1347457"/>
              <a:gd name="connsiteX33" fmla="*/ 615353 w 2427462"/>
              <a:gd name="connsiteY33" fmla="*/ 256337 h 1347457"/>
              <a:gd name="connsiteX34" fmla="*/ 544641 w 2427462"/>
              <a:gd name="connsiteY34" fmla="*/ 299706 h 1347457"/>
              <a:gd name="connsiteX35" fmla="*/ 472838 w 2427462"/>
              <a:gd name="connsiteY35" fmla="*/ 351261 h 1347457"/>
              <a:gd name="connsiteX36" fmla="*/ 377110 w 2427462"/>
              <a:gd name="connsiteY36" fmla="*/ 433547 h 1347457"/>
              <a:gd name="connsiteX37" fmla="*/ 305307 w 2427462"/>
              <a:gd name="connsiteY37" fmla="*/ 507906 h 1347457"/>
              <a:gd name="connsiteX38" fmla="*/ 223940 w 2427462"/>
              <a:gd name="connsiteY38" fmla="*/ 610441 h 1347457"/>
              <a:gd name="connsiteX39" fmla="*/ 152136 w 2427462"/>
              <a:gd name="connsiteY39" fmla="*/ 722741 h 1347457"/>
              <a:gd name="connsiteX40" fmla="*/ 152912 w 2427462"/>
              <a:gd name="connsiteY40" fmla="*/ 722741 h 1347457"/>
              <a:gd name="connsiteX41" fmla="*/ 0 w 2427462"/>
              <a:gd name="connsiteY41" fmla="*/ 1311527 h 1347457"/>
              <a:gd name="connsiteX42" fmla="*/ 37740 w 2427462"/>
              <a:gd name="connsiteY42" fmla="*/ 1347428 h 1347457"/>
              <a:gd name="connsiteX43" fmla="*/ 73440 w 2427462"/>
              <a:gd name="connsiteY43" fmla="*/ 1315375 h 1347457"/>
              <a:gd name="connsiteX44" fmla="*/ 429210 w 2427462"/>
              <a:gd name="connsiteY44" fmla="*/ 1039565 h 1347457"/>
              <a:gd name="connsiteX45" fmla="*/ 781246 w 2427462"/>
              <a:gd name="connsiteY45" fmla="*/ 1292657 h 1347457"/>
              <a:gd name="connsiteX46" fmla="*/ 816459 w 2427462"/>
              <a:gd name="connsiteY46" fmla="*/ 1321579 h 1347457"/>
              <a:gd name="connsiteX47" fmla="*/ 851671 w 2427462"/>
              <a:gd name="connsiteY47" fmla="*/ 1292657 h 1347457"/>
              <a:gd name="connsiteX48" fmla="*/ 1171281 w 2427462"/>
              <a:gd name="connsiteY48" fmla="*/ 1040800 h 1347457"/>
              <a:gd name="connsiteX49" fmla="*/ 1243084 w 2427462"/>
              <a:gd name="connsiteY49" fmla="*/ 1041576 h 1347457"/>
              <a:gd name="connsiteX50" fmla="*/ 1559449 w 2427462"/>
              <a:gd name="connsiteY50" fmla="*/ 1315404 h 1347457"/>
              <a:gd name="connsiteX51" fmla="*/ 1595149 w 2427462"/>
              <a:gd name="connsiteY51" fmla="*/ 1347457 h 1347457"/>
              <a:gd name="connsiteX52" fmla="*/ 1606207 w 2427462"/>
              <a:gd name="connsiteY52" fmla="*/ 1347457 h 1347457"/>
              <a:gd name="connsiteX53" fmla="*/ 1641907 w 2427462"/>
              <a:gd name="connsiteY53" fmla="*/ 1315404 h 1347457"/>
              <a:gd name="connsiteX54" fmla="*/ 1997706 w 2427462"/>
              <a:gd name="connsiteY54" fmla="*/ 1039594 h 1347457"/>
              <a:gd name="connsiteX55" fmla="*/ 2353447 w 2427462"/>
              <a:gd name="connsiteY55" fmla="*/ 1315404 h 1347457"/>
              <a:gd name="connsiteX56" fmla="*/ 2389148 w 2427462"/>
              <a:gd name="connsiteY56" fmla="*/ 1347457 h 1347457"/>
              <a:gd name="connsiteX57" fmla="*/ 2390986 w 2427462"/>
              <a:gd name="connsiteY57" fmla="*/ 1347457 h 1347457"/>
              <a:gd name="connsiteX58" fmla="*/ 2391560 w 2427462"/>
              <a:gd name="connsiteY58" fmla="*/ 1347457 h 1347457"/>
              <a:gd name="connsiteX59" fmla="*/ 2427462 w 2427462"/>
              <a:gd name="connsiteY59" fmla="*/ 1311556 h 1347457"/>
              <a:gd name="connsiteX60" fmla="*/ 2426859 w 2427462"/>
              <a:gd name="connsiteY60" fmla="*/ 1305036 h 1347457"/>
              <a:gd name="connsiteX61" fmla="*/ 88978 w 2427462"/>
              <a:gd name="connsiteY61" fmla="*/ 1113465 h 1347457"/>
              <a:gd name="connsiteX62" fmla="*/ 920889 w 2427462"/>
              <a:gd name="connsiteY62" fmla="*/ 208057 h 1347457"/>
              <a:gd name="connsiteX63" fmla="*/ 393050 w 2427462"/>
              <a:gd name="connsiteY63" fmla="*/ 969629 h 1347457"/>
              <a:gd name="connsiteX64" fmla="*/ 88978 w 2427462"/>
              <a:gd name="connsiteY64" fmla="*/ 1113465 h 1347457"/>
              <a:gd name="connsiteX65" fmla="*/ 467237 w 2427462"/>
              <a:gd name="connsiteY65" fmla="*/ 969399 h 1347457"/>
              <a:gd name="connsiteX66" fmla="*/ 1122800 w 2427462"/>
              <a:gd name="connsiteY66" fmla="*/ 201077 h 1347457"/>
              <a:gd name="connsiteX67" fmla="*/ 790409 w 2427462"/>
              <a:gd name="connsiteY67" fmla="*/ 1140635 h 1347457"/>
              <a:gd name="connsiteX68" fmla="*/ 467237 w 2427462"/>
              <a:gd name="connsiteY68" fmla="*/ 969399 h 1347457"/>
              <a:gd name="connsiteX69" fmla="*/ 863217 w 2427462"/>
              <a:gd name="connsiteY69" fmla="*/ 1114556 h 1347457"/>
              <a:gd name="connsiteX70" fmla="*/ 1171281 w 2427462"/>
              <a:gd name="connsiteY70" fmla="*/ 255418 h 1347457"/>
              <a:gd name="connsiteX71" fmla="*/ 1171281 w 2427462"/>
              <a:gd name="connsiteY71" fmla="*/ 968882 h 1347457"/>
              <a:gd name="connsiteX72" fmla="*/ 863217 w 2427462"/>
              <a:gd name="connsiteY72" fmla="*/ 1114556 h 1347457"/>
              <a:gd name="connsiteX73" fmla="*/ 1243084 w 2427462"/>
              <a:gd name="connsiteY73" fmla="*/ 969514 h 1347457"/>
              <a:gd name="connsiteX74" fmla="*/ 1243084 w 2427462"/>
              <a:gd name="connsiteY74" fmla="*/ 244849 h 1347457"/>
              <a:gd name="connsiteX75" fmla="*/ 1560368 w 2427462"/>
              <a:gd name="connsiteY75" fmla="*/ 1133886 h 1347457"/>
              <a:gd name="connsiteX76" fmla="*/ 1243084 w 2427462"/>
              <a:gd name="connsiteY76" fmla="*/ 969514 h 1347457"/>
              <a:gd name="connsiteX77" fmla="*/ 1632659 w 2427462"/>
              <a:gd name="connsiteY77" fmla="*/ 1145173 h 1347457"/>
              <a:gd name="connsiteX78" fmla="*/ 1300096 w 2427462"/>
              <a:gd name="connsiteY78" fmla="*/ 201077 h 1347457"/>
              <a:gd name="connsiteX79" fmla="*/ 1955744 w 2427462"/>
              <a:gd name="connsiteY79" fmla="*/ 969773 h 1347457"/>
              <a:gd name="connsiteX80" fmla="*/ 1632659 w 2427462"/>
              <a:gd name="connsiteY80" fmla="*/ 1145173 h 1347457"/>
              <a:gd name="connsiteX81" fmla="*/ 2029759 w 2427462"/>
              <a:gd name="connsiteY81" fmla="*/ 969428 h 1347457"/>
              <a:gd name="connsiteX82" fmla="*/ 1498789 w 2427462"/>
              <a:gd name="connsiteY82" fmla="*/ 206247 h 1347457"/>
              <a:gd name="connsiteX83" fmla="*/ 2337909 w 2427462"/>
              <a:gd name="connsiteY83" fmla="*/ 1113465 h 1347457"/>
              <a:gd name="connsiteX84" fmla="*/ 2029759 w 2427462"/>
              <a:gd name="connsiteY84" fmla="*/ 969428 h 1347457"/>
              <a:gd name="connsiteX0" fmla="*/ 2426859 w 2427462"/>
              <a:gd name="connsiteY0" fmla="*/ 1300527 h 1342948"/>
              <a:gd name="connsiteX1" fmla="*/ 2275440 w 2427462"/>
              <a:gd name="connsiteY1" fmla="*/ 720645 h 1342948"/>
              <a:gd name="connsiteX2" fmla="*/ 2275440 w 2427462"/>
              <a:gd name="connsiteY2" fmla="*/ 512244 h 1342948"/>
              <a:gd name="connsiteX3" fmla="*/ 2203637 w 2427462"/>
              <a:gd name="connsiteY3" fmla="*/ 512244 h 1342948"/>
              <a:gd name="connsiteX4" fmla="*/ 2203637 w 2427462"/>
              <a:gd name="connsiteY4" fmla="*/ 606909 h 1342948"/>
              <a:gd name="connsiteX5" fmla="*/ 2122988 w 2427462"/>
              <a:gd name="connsiteY5" fmla="*/ 505092 h 1342948"/>
              <a:gd name="connsiteX6" fmla="*/ 2122988 w 2427462"/>
              <a:gd name="connsiteY6" fmla="*/ 348935 h 1342948"/>
              <a:gd name="connsiteX7" fmla="*/ 2051185 w 2427462"/>
              <a:gd name="connsiteY7" fmla="*/ 348935 h 1342948"/>
              <a:gd name="connsiteX8" fmla="*/ 2051185 w 2427462"/>
              <a:gd name="connsiteY8" fmla="*/ 430388 h 1342948"/>
              <a:gd name="connsiteX9" fmla="*/ 1956204 w 2427462"/>
              <a:gd name="connsiteY9" fmla="*/ 348475 h 1342948"/>
              <a:gd name="connsiteX10" fmla="*/ 1956204 w 2427462"/>
              <a:gd name="connsiteY10" fmla="*/ 220206 h 1342948"/>
              <a:gd name="connsiteX11" fmla="*/ 1884401 w 2427462"/>
              <a:gd name="connsiteY11" fmla="*/ 220206 h 1342948"/>
              <a:gd name="connsiteX12" fmla="*/ 1884401 w 2427462"/>
              <a:gd name="connsiteY12" fmla="*/ 296518 h 1342948"/>
              <a:gd name="connsiteX13" fmla="*/ 1814350 w 2427462"/>
              <a:gd name="connsiteY13" fmla="*/ 253436 h 1342948"/>
              <a:gd name="connsiteX14" fmla="*/ 1814350 w 2427462"/>
              <a:gd name="connsiteY14" fmla="*/ 167531 h 1342948"/>
              <a:gd name="connsiteX15" fmla="*/ 1742546 w 2427462"/>
              <a:gd name="connsiteY15" fmla="*/ 167531 h 1342948"/>
              <a:gd name="connsiteX16" fmla="*/ 1742546 w 2427462"/>
              <a:gd name="connsiteY16" fmla="*/ 215208 h 1342948"/>
              <a:gd name="connsiteX17" fmla="*/ 1684616 w 2427462"/>
              <a:gd name="connsiteY17" fmla="*/ 188785 h 1342948"/>
              <a:gd name="connsiteX18" fmla="*/ 1684616 w 2427462"/>
              <a:gd name="connsiteY18" fmla="*/ 133956 h 1342948"/>
              <a:gd name="connsiteX19" fmla="*/ 1612813 w 2427462"/>
              <a:gd name="connsiteY19" fmla="*/ 133956 h 1342948"/>
              <a:gd name="connsiteX20" fmla="*/ 1612813 w 2427462"/>
              <a:gd name="connsiteY20" fmla="*/ 161385 h 1342948"/>
              <a:gd name="connsiteX21" fmla="*/ 1543795 w 2427462"/>
              <a:gd name="connsiteY21" fmla="*/ 139643 h 1342948"/>
              <a:gd name="connsiteX22" fmla="*/ 1543795 w 2427462"/>
              <a:gd name="connsiteY22" fmla="*/ 0 h 1342948"/>
              <a:gd name="connsiteX23" fmla="*/ 1471992 w 2427462"/>
              <a:gd name="connsiteY23" fmla="*/ 0 h 1342948"/>
              <a:gd name="connsiteX24" fmla="*/ 1471992 w 2427462"/>
              <a:gd name="connsiteY24" fmla="*/ 121549 h 1342948"/>
              <a:gd name="connsiteX25" fmla="*/ 1243084 w 2427462"/>
              <a:gd name="connsiteY25" fmla="*/ 94292 h 1342948"/>
              <a:gd name="connsiteX26" fmla="*/ 1171281 w 2427462"/>
              <a:gd name="connsiteY26" fmla="*/ 94608 h 1342948"/>
              <a:gd name="connsiteX27" fmla="*/ 958973 w 2427462"/>
              <a:gd name="connsiteY27" fmla="*/ 120601 h 1342948"/>
              <a:gd name="connsiteX28" fmla="*/ 887170 w 2427462"/>
              <a:gd name="connsiteY28" fmla="*/ 138465 h 1342948"/>
              <a:gd name="connsiteX29" fmla="*/ 817493 w 2427462"/>
              <a:gd name="connsiteY29" fmla="*/ 160236 h 1342948"/>
              <a:gd name="connsiteX30" fmla="*/ 745690 w 2427462"/>
              <a:gd name="connsiteY30" fmla="*/ 187435 h 1342948"/>
              <a:gd name="connsiteX31" fmla="*/ 687156 w 2427462"/>
              <a:gd name="connsiteY31" fmla="*/ 213744 h 1342948"/>
              <a:gd name="connsiteX32" fmla="*/ 615353 w 2427462"/>
              <a:gd name="connsiteY32" fmla="*/ 251828 h 1342948"/>
              <a:gd name="connsiteX33" fmla="*/ 544641 w 2427462"/>
              <a:gd name="connsiteY33" fmla="*/ 295197 h 1342948"/>
              <a:gd name="connsiteX34" fmla="*/ 472838 w 2427462"/>
              <a:gd name="connsiteY34" fmla="*/ 346752 h 1342948"/>
              <a:gd name="connsiteX35" fmla="*/ 377110 w 2427462"/>
              <a:gd name="connsiteY35" fmla="*/ 429038 h 1342948"/>
              <a:gd name="connsiteX36" fmla="*/ 305307 w 2427462"/>
              <a:gd name="connsiteY36" fmla="*/ 503397 h 1342948"/>
              <a:gd name="connsiteX37" fmla="*/ 223940 w 2427462"/>
              <a:gd name="connsiteY37" fmla="*/ 605932 h 1342948"/>
              <a:gd name="connsiteX38" fmla="*/ 152136 w 2427462"/>
              <a:gd name="connsiteY38" fmla="*/ 718232 h 1342948"/>
              <a:gd name="connsiteX39" fmla="*/ 152912 w 2427462"/>
              <a:gd name="connsiteY39" fmla="*/ 718232 h 1342948"/>
              <a:gd name="connsiteX40" fmla="*/ 0 w 2427462"/>
              <a:gd name="connsiteY40" fmla="*/ 1307018 h 1342948"/>
              <a:gd name="connsiteX41" fmla="*/ 37740 w 2427462"/>
              <a:gd name="connsiteY41" fmla="*/ 1342919 h 1342948"/>
              <a:gd name="connsiteX42" fmla="*/ 73440 w 2427462"/>
              <a:gd name="connsiteY42" fmla="*/ 1310866 h 1342948"/>
              <a:gd name="connsiteX43" fmla="*/ 429210 w 2427462"/>
              <a:gd name="connsiteY43" fmla="*/ 1035056 h 1342948"/>
              <a:gd name="connsiteX44" fmla="*/ 781246 w 2427462"/>
              <a:gd name="connsiteY44" fmla="*/ 1288148 h 1342948"/>
              <a:gd name="connsiteX45" fmla="*/ 816459 w 2427462"/>
              <a:gd name="connsiteY45" fmla="*/ 1317070 h 1342948"/>
              <a:gd name="connsiteX46" fmla="*/ 851671 w 2427462"/>
              <a:gd name="connsiteY46" fmla="*/ 1288148 h 1342948"/>
              <a:gd name="connsiteX47" fmla="*/ 1171281 w 2427462"/>
              <a:gd name="connsiteY47" fmla="*/ 1036291 h 1342948"/>
              <a:gd name="connsiteX48" fmla="*/ 1243084 w 2427462"/>
              <a:gd name="connsiteY48" fmla="*/ 1037067 h 1342948"/>
              <a:gd name="connsiteX49" fmla="*/ 1559449 w 2427462"/>
              <a:gd name="connsiteY49" fmla="*/ 1310895 h 1342948"/>
              <a:gd name="connsiteX50" fmla="*/ 1595149 w 2427462"/>
              <a:gd name="connsiteY50" fmla="*/ 1342948 h 1342948"/>
              <a:gd name="connsiteX51" fmla="*/ 1606207 w 2427462"/>
              <a:gd name="connsiteY51" fmla="*/ 1342948 h 1342948"/>
              <a:gd name="connsiteX52" fmla="*/ 1641907 w 2427462"/>
              <a:gd name="connsiteY52" fmla="*/ 1310895 h 1342948"/>
              <a:gd name="connsiteX53" fmla="*/ 1997706 w 2427462"/>
              <a:gd name="connsiteY53" fmla="*/ 1035085 h 1342948"/>
              <a:gd name="connsiteX54" fmla="*/ 2353447 w 2427462"/>
              <a:gd name="connsiteY54" fmla="*/ 1310895 h 1342948"/>
              <a:gd name="connsiteX55" fmla="*/ 2389148 w 2427462"/>
              <a:gd name="connsiteY55" fmla="*/ 1342948 h 1342948"/>
              <a:gd name="connsiteX56" fmla="*/ 2390986 w 2427462"/>
              <a:gd name="connsiteY56" fmla="*/ 1342948 h 1342948"/>
              <a:gd name="connsiteX57" fmla="*/ 2391560 w 2427462"/>
              <a:gd name="connsiteY57" fmla="*/ 1342948 h 1342948"/>
              <a:gd name="connsiteX58" fmla="*/ 2427462 w 2427462"/>
              <a:gd name="connsiteY58" fmla="*/ 1307047 h 1342948"/>
              <a:gd name="connsiteX59" fmla="*/ 2426859 w 2427462"/>
              <a:gd name="connsiteY59" fmla="*/ 1300527 h 1342948"/>
              <a:gd name="connsiteX60" fmla="*/ 88978 w 2427462"/>
              <a:gd name="connsiteY60" fmla="*/ 1108956 h 1342948"/>
              <a:gd name="connsiteX61" fmla="*/ 920889 w 2427462"/>
              <a:gd name="connsiteY61" fmla="*/ 203548 h 1342948"/>
              <a:gd name="connsiteX62" fmla="*/ 393050 w 2427462"/>
              <a:gd name="connsiteY62" fmla="*/ 965120 h 1342948"/>
              <a:gd name="connsiteX63" fmla="*/ 88978 w 2427462"/>
              <a:gd name="connsiteY63" fmla="*/ 1108956 h 1342948"/>
              <a:gd name="connsiteX64" fmla="*/ 467237 w 2427462"/>
              <a:gd name="connsiteY64" fmla="*/ 964890 h 1342948"/>
              <a:gd name="connsiteX65" fmla="*/ 1122800 w 2427462"/>
              <a:gd name="connsiteY65" fmla="*/ 196568 h 1342948"/>
              <a:gd name="connsiteX66" fmla="*/ 790409 w 2427462"/>
              <a:gd name="connsiteY66" fmla="*/ 1136126 h 1342948"/>
              <a:gd name="connsiteX67" fmla="*/ 467237 w 2427462"/>
              <a:gd name="connsiteY67" fmla="*/ 964890 h 1342948"/>
              <a:gd name="connsiteX68" fmla="*/ 863217 w 2427462"/>
              <a:gd name="connsiteY68" fmla="*/ 1110047 h 1342948"/>
              <a:gd name="connsiteX69" fmla="*/ 1171281 w 2427462"/>
              <a:gd name="connsiteY69" fmla="*/ 250909 h 1342948"/>
              <a:gd name="connsiteX70" fmla="*/ 1171281 w 2427462"/>
              <a:gd name="connsiteY70" fmla="*/ 964373 h 1342948"/>
              <a:gd name="connsiteX71" fmla="*/ 863217 w 2427462"/>
              <a:gd name="connsiteY71" fmla="*/ 1110047 h 1342948"/>
              <a:gd name="connsiteX72" fmla="*/ 1243084 w 2427462"/>
              <a:gd name="connsiteY72" fmla="*/ 965005 h 1342948"/>
              <a:gd name="connsiteX73" fmla="*/ 1243084 w 2427462"/>
              <a:gd name="connsiteY73" fmla="*/ 240340 h 1342948"/>
              <a:gd name="connsiteX74" fmla="*/ 1560368 w 2427462"/>
              <a:gd name="connsiteY74" fmla="*/ 1129377 h 1342948"/>
              <a:gd name="connsiteX75" fmla="*/ 1243084 w 2427462"/>
              <a:gd name="connsiteY75" fmla="*/ 965005 h 1342948"/>
              <a:gd name="connsiteX76" fmla="*/ 1632659 w 2427462"/>
              <a:gd name="connsiteY76" fmla="*/ 1140664 h 1342948"/>
              <a:gd name="connsiteX77" fmla="*/ 1300096 w 2427462"/>
              <a:gd name="connsiteY77" fmla="*/ 196568 h 1342948"/>
              <a:gd name="connsiteX78" fmla="*/ 1955744 w 2427462"/>
              <a:gd name="connsiteY78" fmla="*/ 965264 h 1342948"/>
              <a:gd name="connsiteX79" fmla="*/ 1632659 w 2427462"/>
              <a:gd name="connsiteY79" fmla="*/ 1140664 h 1342948"/>
              <a:gd name="connsiteX80" fmla="*/ 2029759 w 2427462"/>
              <a:gd name="connsiteY80" fmla="*/ 964919 h 1342948"/>
              <a:gd name="connsiteX81" fmla="*/ 1498789 w 2427462"/>
              <a:gd name="connsiteY81" fmla="*/ 201738 h 1342948"/>
              <a:gd name="connsiteX82" fmla="*/ 2337909 w 2427462"/>
              <a:gd name="connsiteY82" fmla="*/ 1108956 h 1342948"/>
              <a:gd name="connsiteX83" fmla="*/ 2029759 w 2427462"/>
              <a:gd name="connsiteY83" fmla="*/ 964919 h 1342948"/>
              <a:gd name="connsiteX0" fmla="*/ 2426859 w 2427462"/>
              <a:gd name="connsiteY0" fmla="*/ 1300527 h 1342948"/>
              <a:gd name="connsiteX1" fmla="*/ 2275440 w 2427462"/>
              <a:gd name="connsiteY1" fmla="*/ 720645 h 1342948"/>
              <a:gd name="connsiteX2" fmla="*/ 2275440 w 2427462"/>
              <a:gd name="connsiteY2" fmla="*/ 512244 h 1342948"/>
              <a:gd name="connsiteX3" fmla="*/ 2203637 w 2427462"/>
              <a:gd name="connsiteY3" fmla="*/ 512244 h 1342948"/>
              <a:gd name="connsiteX4" fmla="*/ 2203637 w 2427462"/>
              <a:gd name="connsiteY4" fmla="*/ 606909 h 1342948"/>
              <a:gd name="connsiteX5" fmla="*/ 2122988 w 2427462"/>
              <a:gd name="connsiteY5" fmla="*/ 505092 h 1342948"/>
              <a:gd name="connsiteX6" fmla="*/ 2122988 w 2427462"/>
              <a:gd name="connsiteY6" fmla="*/ 348935 h 1342948"/>
              <a:gd name="connsiteX7" fmla="*/ 2051185 w 2427462"/>
              <a:gd name="connsiteY7" fmla="*/ 348935 h 1342948"/>
              <a:gd name="connsiteX8" fmla="*/ 2051185 w 2427462"/>
              <a:gd name="connsiteY8" fmla="*/ 430388 h 1342948"/>
              <a:gd name="connsiteX9" fmla="*/ 1956204 w 2427462"/>
              <a:gd name="connsiteY9" fmla="*/ 348475 h 1342948"/>
              <a:gd name="connsiteX10" fmla="*/ 1956204 w 2427462"/>
              <a:gd name="connsiteY10" fmla="*/ 220206 h 1342948"/>
              <a:gd name="connsiteX11" fmla="*/ 1884401 w 2427462"/>
              <a:gd name="connsiteY11" fmla="*/ 220206 h 1342948"/>
              <a:gd name="connsiteX12" fmla="*/ 1884401 w 2427462"/>
              <a:gd name="connsiteY12" fmla="*/ 296518 h 1342948"/>
              <a:gd name="connsiteX13" fmla="*/ 1814350 w 2427462"/>
              <a:gd name="connsiteY13" fmla="*/ 253436 h 1342948"/>
              <a:gd name="connsiteX14" fmla="*/ 1814350 w 2427462"/>
              <a:gd name="connsiteY14" fmla="*/ 167531 h 1342948"/>
              <a:gd name="connsiteX15" fmla="*/ 1742546 w 2427462"/>
              <a:gd name="connsiteY15" fmla="*/ 167531 h 1342948"/>
              <a:gd name="connsiteX16" fmla="*/ 1742546 w 2427462"/>
              <a:gd name="connsiteY16" fmla="*/ 215208 h 1342948"/>
              <a:gd name="connsiteX17" fmla="*/ 1684616 w 2427462"/>
              <a:gd name="connsiteY17" fmla="*/ 188785 h 1342948"/>
              <a:gd name="connsiteX18" fmla="*/ 1684616 w 2427462"/>
              <a:gd name="connsiteY18" fmla="*/ 133956 h 1342948"/>
              <a:gd name="connsiteX19" fmla="*/ 1612813 w 2427462"/>
              <a:gd name="connsiteY19" fmla="*/ 133956 h 1342948"/>
              <a:gd name="connsiteX20" fmla="*/ 1612813 w 2427462"/>
              <a:gd name="connsiteY20" fmla="*/ 161385 h 1342948"/>
              <a:gd name="connsiteX21" fmla="*/ 1543795 w 2427462"/>
              <a:gd name="connsiteY21" fmla="*/ 139643 h 1342948"/>
              <a:gd name="connsiteX22" fmla="*/ 1471992 w 2427462"/>
              <a:gd name="connsiteY22" fmla="*/ 0 h 1342948"/>
              <a:gd name="connsiteX23" fmla="*/ 1471992 w 2427462"/>
              <a:gd name="connsiteY23" fmla="*/ 121549 h 1342948"/>
              <a:gd name="connsiteX24" fmla="*/ 1243084 w 2427462"/>
              <a:gd name="connsiteY24" fmla="*/ 94292 h 1342948"/>
              <a:gd name="connsiteX25" fmla="*/ 1171281 w 2427462"/>
              <a:gd name="connsiteY25" fmla="*/ 94608 h 1342948"/>
              <a:gd name="connsiteX26" fmla="*/ 958973 w 2427462"/>
              <a:gd name="connsiteY26" fmla="*/ 120601 h 1342948"/>
              <a:gd name="connsiteX27" fmla="*/ 887170 w 2427462"/>
              <a:gd name="connsiteY27" fmla="*/ 138465 h 1342948"/>
              <a:gd name="connsiteX28" fmla="*/ 817493 w 2427462"/>
              <a:gd name="connsiteY28" fmla="*/ 160236 h 1342948"/>
              <a:gd name="connsiteX29" fmla="*/ 745690 w 2427462"/>
              <a:gd name="connsiteY29" fmla="*/ 187435 h 1342948"/>
              <a:gd name="connsiteX30" fmla="*/ 687156 w 2427462"/>
              <a:gd name="connsiteY30" fmla="*/ 213744 h 1342948"/>
              <a:gd name="connsiteX31" fmla="*/ 615353 w 2427462"/>
              <a:gd name="connsiteY31" fmla="*/ 251828 h 1342948"/>
              <a:gd name="connsiteX32" fmla="*/ 544641 w 2427462"/>
              <a:gd name="connsiteY32" fmla="*/ 295197 h 1342948"/>
              <a:gd name="connsiteX33" fmla="*/ 472838 w 2427462"/>
              <a:gd name="connsiteY33" fmla="*/ 346752 h 1342948"/>
              <a:gd name="connsiteX34" fmla="*/ 377110 w 2427462"/>
              <a:gd name="connsiteY34" fmla="*/ 429038 h 1342948"/>
              <a:gd name="connsiteX35" fmla="*/ 305307 w 2427462"/>
              <a:gd name="connsiteY35" fmla="*/ 503397 h 1342948"/>
              <a:gd name="connsiteX36" fmla="*/ 223940 w 2427462"/>
              <a:gd name="connsiteY36" fmla="*/ 605932 h 1342948"/>
              <a:gd name="connsiteX37" fmla="*/ 152136 w 2427462"/>
              <a:gd name="connsiteY37" fmla="*/ 718232 h 1342948"/>
              <a:gd name="connsiteX38" fmla="*/ 152912 w 2427462"/>
              <a:gd name="connsiteY38" fmla="*/ 718232 h 1342948"/>
              <a:gd name="connsiteX39" fmla="*/ 0 w 2427462"/>
              <a:gd name="connsiteY39" fmla="*/ 1307018 h 1342948"/>
              <a:gd name="connsiteX40" fmla="*/ 37740 w 2427462"/>
              <a:gd name="connsiteY40" fmla="*/ 1342919 h 1342948"/>
              <a:gd name="connsiteX41" fmla="*/ 73440 w 2427462"/>
              <a:gd name="connsiteY41" fmla="*/ 1310866 h 1342948"/>
              <a:gd name="connsiteX42" fmla="*/ 429210 w 2427462"/>
              <a:gd name="connsiteY42" fmla="*/ 1035056 h 1342948"/>
              <a:gd name="connsiteX43" fmla="*/ 781246 w 2427462"/>
              <a:gd name="connsiteY43" fmla="*/ 1288148 h 1342948"/>
              <a:gd name="connsiteX44" fmla="*/ 816459 w 2427462"/>
              <a:gd name="connsiteY44" fmla="*/ 1317070 h 1342948"/>
              <a:gd name="connsiteX45" fmla="*/ 851671 w 2427462"/>
              <a:gd name="connsiteY45" fmla="*/ 1288148 h 1342948"/>
              <a:gd name="connsiteX46" fmla="*/ 1171281 w 2427462"/>
              <a:gd name="connsiteY46" fmla="*/ 1036291 h 1342948"/>
              <a:gd name="connsiteX47" fmla="*/ 1243084 w 2427462"/>
              <a:gd name="connsiteY47" fmla="*/ 1037067 h 1342948"/>
              <a:gd name="connsiteX48" fmla="*/ 1559449 w 2427462"/>
              <a:gd name="connsiteY48" fmla="*/ 1310895 h 1342948"/>
              <a:gd name="connsiteX49" fmla="*/ 1595149 w 2427462"/>
              <a:gd name="connsiteY49" fmla="*/ 1342948 h 1342948"/>
              <a:gd name="connsiteX50" fmla="*/ 1606207 w 2427462"/>
              <a:gd name="connsiteY50" fmla="*/ 1342948 h 1342948"/>
              <a:gd name="connsiteX51" fmla="*/ 1641907 w 2427462"/>
              <a:gd name="connsiteY51" fmla="*/ 1310895 h 1342948"/>
              <a:gd name="connsiteX52" fmla="*/ 1997706 w 2427462"/>
              <a:gd name="connsiteY52" fmla="*/ 1035085 h 1342948"/>
              <a:gd name="connsiteX53" fmla="*/ 2353447 w 2427462"/>
              <a:gd name="connsiteY53" fmla="*/ 1310895 h 1342948"/>
              <a:gd name="connsiteX54" fmla="*/ 2389148 w 2427462"/>
              <a:gd name="connsiteY54" fmla="*/ 1342948 h 1342948"/>
              <a:gd name="connsiteX55" fmla="*/ 2390986 w 2427462"/>
              <a:gd name="connsiteY55" fmla="*/ 1342948 h 1342948"/>
              <a:gd name="connsiteX56" fmla="*/ 2391560 w 2427462"/>
              <a:gd name="connsiteY56" fmla="*/ 1342948 h 1342948"/>
              <a:gd name="connsiteX57" fmla="*/ 2427462 w 2427462"/>
              <a:gd name="connsiteY57" fmla="*/ 1307047 h 1342948"/>
              <a:gd name="connsiteX58" fmla="*/ 2426859 w 2427462"/>
              <a:gd name="connsiteY58" fmla="*/ 1300527 h 1342948"/>
              <a:gd name="connsiteX59" fmla="*/ 88978 w 2427462"/>
              <a:gd name="connsiteY59" fmla="*/ 1108956 h 1342948"/>
              <a:gd name="connsiteX60" fmla="*/ 920889 w 2427462"/>
              <a:gd name="connsiteY60" fmla="*/ 203548 h 1342948"/>
              <a:gd name="connsiteX61" fmla="*/ 393050 w 2427462"/>
              <a:gd name="connsiteY61" fmla="*/ 965120 h 1342948"/>
              <a:gd name="connsiteX62" fmla="*/ 88978 w 2427462"/>
              <a:gd name="connsiteY62" fmla="*/ 1108956 h 1342948"/>
              <a:gd name="connsiteX63" fmla="*/ 467237 w 2427462"/>
              <a:gd name="connsiteY63" fmla="*/ 964890 h 1342948"/>
              <a:gd name="connsiteX64" fmla="*/ 1122800 w 2427462"/>
              <a:gd name="connsiteY64" fmla="*/ 196568 h 1342948"/>
              <a:gd name="connsiteX65" fmla="*/ 790409 w 2427462"/>
              <a:gd name="connsiteY65" fmla="*/ 1136126 h 1342948"/>
              <a:gd name="connsiteX66" fmla="*/ 467237 w 2427462"/>
              <a:gd name="connsiteY66" fmla="*/ 964890 h 1342948"/>
              <a:gd name="connsiteX67" fmla="*/ 863217 w 2427462"/>
              <a:gd name="connsiteY67" fmla="*/ 1110047 h 1342948"/>
              <a:gd name="connsiteX68" fmla="*/ 1171281 w 2427462"/>
              <a:gd name="connsiteY68" fmla="*/ 250909 h 1342948"/>
              <a:gd name="connsiteX69" fmla="*/ 1171281 w 2427462"/>
              <a:gd name="connsiteY69" fmla="*/ 964373 h 1342948"/>
              <a:gd name="connsiteX70" fmla="*/ 863217 w 2427462"/>
              <a:gd name="connsiteY70" fmla="*/ 1110047 h 1342948"/>
              <a:gd name="connsiteX71" fmla="*/ 1243084 w 2427462"/>
              <a:gd name="connsiteY71" fmla="*/ 965005 h 1342948"/>
              <a:gd name="connsiteX72" fmla="*/ 1243084 w 2427462"/>
              <a:gd name="connsiteY72" fmla="*/ 240340 h 1342948"/>
              <a:gd name="connsiteX73" fmla="*/ 1560368 w 2427462"/>
              <a:gd name="connsiteY73" fmla="*/ 1129377 h 1342948"/>
              <a:gd name="connsiteX74" fmla="*/ 1243084 w 2427462"/>
              <a:gd name="connsiteY74" fmla="*/ 965005 h 1342948"/>
              <a:gd name="connsiteX75" fmla="*/ 1632659 w 2427462"/>
              <a:gd name="connsiteY75" fmla="*/ 1140664 h 1342948"/>
              <a:gd name="connsiteX76" fmla="*/ 1300096 w 2427462"/>
              <a:gd name="connsiteY76" fmla="*/ 196568 h 1342948"/>
              <a:gd name="connsiteX77" fmla="*/ 1955744 w 2427462"/>
              <a:gd name="connsiteY77" fmla="*/ 965264 h 1342948"/>
              <a:gd name="connsiteX78" fmla="*/ 1632659 w 2427462"/>
              <a:gd name="connsiteY78" fmla="*/ 1140664 h 1342948"/>
              <a:gd name="connsiteX79" fmla="*/ 2029759 w 2427462"/>
              <a:gd name="connsiteY79" fmla="*/ 964919 h 1342948"/>
              <a:gd name="connsiteX80" fmla="*/ 1498789 w 2427462"/>
              <a:gd name="connsiteY80" fmla="*/ 201738 h 1342948"/>
              <a:gd name="connsiteX81" fmla="*/ 2337909 w 2427462"/>
              <a:gd name="connsiteY81" fmla="*/ 1108956 h 1342948"/>
              <a:gd name="connsiteX82" fmla="*/ 2029759 w 2427462"/>
              <a:gd name="connsiteY82" fmla="*/ 964919 h 1342948"/>
              <a:gd name="connsiteX0" fmla="*/ 2426859 w 2427462"/>
              <a:gd name="connsiteY0" fmla="*/ 1206235 h 1248656"/>
              <a:gd name="connsiteX1" fmla="*/ 2275440 w 2427462"/>
              <a:gd name="connsiteY1" fmla="*/ 626353 h 1248656"/>
              <a:gd name="connsiteX2" fmla="*/ 2275440 w 2427462"/>
              <a:gd name="connsiteY2" fmla="*/ 417952 h 1248656"/>
              <a:gd name="connsiteX3" fmla="*/ 2203637 w 2427462"/>
              <a:gd name="connsiteY3" fmla="*/ 417952 h 1248656"/>
              <a:gd name="connsiteX4" fmla="*/ 2203637 w 2427462"/>
              <a:gd name="connsiteY4" fmla="*/ 512617 h 1248656"/>
              <a:gd name="connsiteX5" fmla="*/ 2122988 w 2427462"/>
              <a:gd name="connsiteY5" fmla="*/ 410800 h 1248656"/>
              <a:gd name="connsiteX6" fmla="*/ 2122988 w 2427462"/>
              <a:gd name="connsiteY6" fmla="*/ 254643 h 1248656"/>
              <a:gd name="connsiteX7" fmla="*/ 2051185 w 2427462"/>
              <a:gd name="connsiteY7" fmla="*/ 254643 h 1248656"/>
              <a:gd name="connsiteX8" fmla="*/ 2051185 w 2427462"/>
              <a:gd name="connsiteY8" fmla="*/ 336096 h 1248656"/>
              <a:gd name="connsiteX9" fmla="*/ 1956204 w 2427462"/>
              <a:gd name="connsiteY9" fmla="*/ 254183 h 1248656"/>
              <a:gd name="connsiteX10" fmla="*/ 1956204 w 2427462"/>
              <a:gd name="connsiteY10" fmla="*/ 125914 h 1248656"/>
              <a:gd name="connsiteX11" fmla="*/ 1884401 w 2427462"/>
              <a:gd name="connsiteY11" fmla="*/ 125914 h 1248656"/>
              <a:gd name="connsiteX12" fmla="*/ 1884401 w 2427462"/>
              <a:gd name="connsiteY12" fmla="*/ 202226 h 1248656"/>
              <a:gd name="connsiteX13" fmla="*/ 1814350 w 2427462"/>
              <a:gd name="connsiteY13" fmla="*/ 159144 h 1248656"/>
              <a:gd name="connsiteX14" fmla="*/ 1814350 w 2427462"/>
              <a:gd name="connsiteY14" fmla="*/ 73239 h 1248656"/>
              <a:gd name="connsiteX15" fmla="*/ 1742546 w 2427462"/>
              <a:gd name="connsiteY15" fmla="*/ 73239 h 1248656"/>
              <a:gd name="connsiteX16" fmla="*/ 1742546 w 2427462"/>
              <a:gd name="connsiteY16" fmla="*/ 120916 h 1248656"/>
              <a:gd name="connsiteX17" fmla="*/ 1684616 w 2427462"/>
              <a:gd name="connsiteY17" fmla="*/ 94493 h 1248656"/>
              <a:gd name="connsiteX18" fmla="*/ 1684616 w 2427462"/>
              <a:gd name="connsiteY18" fmla="*/ 39664 h 1248656"/>
              <a:gd name="connsiteX19" fmla="*/ 1612813 w 2427462"/>
              <a:gd name="connsiteY19" fmla="*/ 39664 h 1248656"/>
              <a:gd name="connsiteX20" fmla="*/ 1612813 w 2427462"/>
              <a:gd name="connsiteY20" fmla="*/ 67093 h 1248656"/>
              <a:gd name="connsiteX21" fmla="*/ 1543795 w 2427462"/>
              <a:gd name="connsiteY21" fmla="*/ 45351 h 1248656"/>
              <a:gd name="connsiteX22" fmla="*/ 1471992 w 2427462"/>
              <a:gd name="connsiteY22" fmla="*/ 27257 h 1248656"/>
              <a:gd name="connsiteX23" fmla="*/ 1243084 w 2427462"/>
              <a:gd name="connsiteY23" fmla="*/ 0 h 1248656"/>
              <a:gd name="connsiteX24" fmla="*/ 1171281 w 2427462"/>
              <a:gd name="connsiteY24" fmla="*/ 316 h 1248656"/>
              <a:gd name="connsiteX25" fmla="*/ 958973 w 2427462"/>
              <a:gd name="connsiteY25" fmla="*/ 26309 h 1248656"/>
              <a:gd name="connsiteX26" fmla="*/ 887170 w 2427462"/>
              <a:gd name="connsiteY26" fmla="*/ 44173 h 1248656"/>
              <a:gd name="connsiteX27" fmla="*/ 817493 w 2427462"/>
              <a:gd name="connsiteY27" fmla="*/ 65944 h 1248656"/>
              <a:gd name="connsiteX28" fmla="*/ 745690 w 2427462"/>
              <a:gd name="connsiteY28" fmla="*/ 93143 h 1248656"/>
              <a:gd name="connsiteX29" fmla="*/ 687156 w 2427462"/>
              <a:gd name="connsiteY29" fmla="*/ 119452 h 1248656"/>
              <a:gd name="connsiteX30" fmla="*/ 615353 w 2427462"/>
              <a:gd name="connsiteY30" fmla="*/ 157536 h 1248656"/>
              <a:gd name="connsiteX31" fmla="*/ 544641 w 2427462"/>
              <a:gd name="connsiteY31" fmla="*/ 200905 h 1248656"/>
              <a:gd name="connsiteX32" fmla="*/ 472838 w 2427462"/>
              <a:gd name="connsiteY32" fmla="*/ 252460 h 1248656"/>
              <a:gd name="connsiteX33" fmla="*/ 377110 w 2427462"/>
              <a:gd name="connsiteY33" fmla="*/ 334746 h 1248656"/>
              <a:gd name="connsiteX34" fmla="*/ 305307 w 2427462"/>
              <a:gd name="connsiteY34" fmla="*/ 409105 h 1248656"/>
              <a:gd name="connsiteX35" fmla="*/ 223940 w 2427462"/>
              <a:gd name="connsiteY35" fmla="*/ 511640 h 1248656"/>
              <a:gd name="connsiteX36" fmla="*/ 152136 w 2427462"/>
              <a:gd name="connsiteY36" fmla="*/ 623940 h 1248656"/>
              <a:gd name="connsiteX37" fmla="*/ 152912 w 2427462"/>
              <a:gd name="connsiteY37" fmla="*/ 623940 h 1248656"/>
              <a:gd name="connsiteX38" fmla="*/ 0 w 2427462"/>
              <a:gd name="connsiteY38" fmla="*/ 1212726 h 1248656"/>
              <a:gd name="connsiteX39" fmla="*/ 37740 w 2427462"/>
              <a:gd name="connsiteY39" fmla="*/ 1248627 h 1248656"/>
              <a:gd name="connsiteX40" fmla="*/ 73440 w 2427462"/>
              <a:gd name="connsiteY40" fmla="*/ 1216574 h 1248656"/>
              <a:gd name="connsiteX41" fmla="*/ 429210 w 2427462"/>
              <a:gd name="connsiteY41" fmla="*/ 940764 h 1248656"/>
              <a:gd name="connsiteX42" fmla="*/ 781246 w 2427462"/>
              <a:gd name="connsiteY42" fmla="*/ 1193856 h 1248656"/>
              <a:gd name="connsiteX43" fmla="*/ 816459 w 2427462"/>
              <a:gd name="connsiteY43" fmla="*/ 1222778 h 1248656"/>
              <a:gd name="connsiteX44" fmla="*/ 851671 w 2427462"/>
              <a:gd name="connsiteY44" fmla="*/ 1193856 h 1248656"/>
              <a:gd name="connsiteX45" fmla="*/ 1171281 w 2427462"/>
              <a:gd name="connsiteY45" fmla="*/ 941999 h 1248656"/>
              <a:gd name="connsiteX46" fmla="*/ 1243084 w 2427462"/>
              <a:gd name="connsiteY46" fmla="*/ 942775 h 1248656"/>
              <a:gd name="connsiteX47" fmla="*/ 1559449 w 2427462"/>
              <a:gd name="connsiteY47" fmla="*/ 1216603 h 1248656"/>
              <a:gd name="connsiteX48" fmla="*/ 1595149 w 2427462"/>
              <a:gd name="connsiteY48" fmla="*/ 1248656 h 1248656"/>
              <a:gd name="connsiteX49" fmla="*/ 1606207 w 2427462"/>
              <a:gd name="connsiteY49" fmla="*/ 1248656 h 1248656"/>
              <a:gd name="connsiteX50" fmla="*/ 1641907 w 2427462"/>
              <a:gd name="connsiteY50" fmla="*/ 1216603 h 1248656"/>
              <a:gd name="connsiteX51" fmla="*/ 1997706 w 2427462"/>
              <a:gd name="connsiteY51" fmla="*/ 940793 h 1248656"/>
              <a:gd name="connsiteX52" fmla="*/ 2353447 w 2427462"/>
              <a:gd name="connsiteY52" fmla="*/ 1216603 h 1248656"/>
              <a:gd name="connsiteX53" fmla="*/ 2389148 w 2427462"/>
              <a:gd name="connsiteY53" fmla="*/ 1248656 h 1248656"/>
              <a:gd name="connsiteX54" fmla="*/ 2390986 w 2427462"/>
              <a:gd name="connsiteY54" fmla="*/ 1248656 h 1248656"/>
              <a:gd name="connsiteX55" fmla="*/ 2391560 w 2427462"/>
              <a:gd name="connsiteY55" fmla="*/ 1248656 h 1248656"/>
              <a:gd name="connsiteX56" fmla="*/ 2427462 w 2427462"/>
              <a:gd name="connsiteY56" fmla="*/ 1212755 h 1248656"/>
              <a:gd name="connsiteX57" fmla="*/ 2426859 w 2427462"/>
              <a:gd name="connsiteY57" fmla="*/ 1206235 h 1248656"/>
              <a:gd name="connsiteX58" fmla="*/ 88978 w 2427462"/>
              <a:gd name="connsiteY58" fmla="*/ 1014664 h 1248656"/>
              <a:gd name="connsiteX59" fmla="*/ 920889 w 2427462"/>
              <a:gd name="connsiteY59" fmla="*/ 109256 h 1248656"/>
              <a:gd name="connsiteX60" fmla="*/ 393050 w 2427462"/>
              <a:gd name="connsiteY60" fmla="*/ 870828 h 1248656"/>
              <a:gd name="connsiteX61" fmla="*/ 88978 w 2427462"/>
              <a:gd name="connsiteY61" fmla="*/ 1014664 h 1248656"/>
              <a:gd name="connsiteX62" fmla="*/ 467237 w 2427462"/>
              <a:gd name="connsiteY62" fmla="*/ 870598 h 1248656"/>
              <a:gd name="connsiteX63" fmla="*/ 1122800 w 2427462"/>
              <a:gd name="connsiteY63" fmla="*/ 102276 h 1248656"/>
              <a:gd name="connsiteX64" fmla="*/ 790409 w 2427462"/>
              <a:gd name="connsiteY64" fmla="*/ 1041834 h 1248656"/>
              <a:gd name="connsiteX65" fmla="*/ 467237 w 2427462"/>
              <a:gd name="connsiteY65" fmla="*/ 870598 h 1248656"/>
              <a:gd name="connsiteX66" fmla="*/ 863217 w 2427462"/>
              <a:gd name="connsiteY66" fmla="*/ 1015755 h 1248656"/>
              <a:gd name="connsiteX67" fmla="*/ 1171281 w 2427462"/>
              <a:gd name="connsiteY67" fmla="*/ 156617 h 1248656"/>
              <a:gd name="connsiteX68" fmla="*/ 1171281 w 2427462"/>
              <a:gd name="connsiteY68" fmla="*/ 870081 h 1248656"/>
              <a:gd name="connsiteX69" fmla="*/ 863217 w 2427462"/>
              <a:gd name="connsiteY69" fmla="*/ 1015755 h 1248656"/>
              <a:gd name="connsiteX70" fmla="*/ 1243084 w 2427462"/>
              <a:gd name="connsiteY70" fmla="*/ 870713 h 1248656"/>
              <a:gd name="connsiteX71" fmla="*/ 1243084 w 2427462"/>
              <a:gd name="connsiteY71" fmla="*/ 146048 h 1248656"/>
              <a:gd name="connsiteX72" fmla="*/ 1560368 w 2427462"/>
              <a:gd name="connsiteY72" fmla="*/ 1035085 h 1248656"/>
              <a:gd name="connsiteX73" fmla="*/ 1243084 w 2427462"/>
              <a:gd name="connsiteY73" fmla="*/ 870713 h 1248656"/>
              <a:gd name="connsiteX74" fmla="*/ 1632659 w 2427462"/>
              <a:gd name="connsiteY74" fmla="*/ 1046372 h 1248656"/>
              <a:gd name="connsiteX75" fmla="*/ 1300096 w 2427462"/>
              <a:gd name="connsiteY75" fmla="*/ 102276 h 1248656"/>
              <a:gd name="connsiteX76" fmla="*/ 1955744 w 2427462"/>
              <a:gd name="connsiteY76" fmla="*/ 870972 h 1248656"/>
              <a:gd name="connsiteX77" fmla="*/ 1632659 w 2427462"/>
              <a:gd name="connsiteY77" fmla="*/ 1046372 h 1248656"/>
              <a:gd name="connsiteX78" fmla="*/ 2029759 w 2427462"/>
              <a:gd name="connsiteY78" fmla="*/ 870627 h 1248656"/>
              <a:gd name="connsiteX79" fmla="*/ 1498789 w 2427462"/>
              <a:gd name="connsiteY79" fmla="*/ 107446 h 1248656"/>
              <a:gd name="connsiteX80" fmla="*/ 2337909 w 2427462"/>
              <a:gd name="connsiteY80" fmla="*/ 1014664 h 1248656"/>
              <a:gd name="connsiteX81" fmla="*/ 2029759 w 2427462"/>
              <a:gd name="connsiteY81" fmla="*/ 870627 h 1248656"/>
              <a:gd name="connsiteX0" fmla="*/ 2426859 w 2427462"/>
              <a:gd name="connsiteY0" fmla="*/ 1206235 h 1248656"/>
              <a:gd name="connsiteX1" fmla="*/ 2275440 w 2427462"/>
              <a:gd name="connsiteY1" fmla="*/ 626353 h 1248656"/>
              <a:gd name="connsiteX2" fmla="*/ 2275440 w 2427462"/>
              <a:gd name="connsiteY2" fmla="*/ 417952 h 1248656"/>
              <a:gd name="connsiteX3" fmla="*/ 2203637 w 2427462"/>
              <a:gd name="connsiteY3" fmla="*/ 417952 h 1248656"/>
              <a:gd name="connsiteX4" fmla="*/ 2203637 w 2427462"/>
              <a:gd name="connsiteY4" fmla="*/ 512617 h 1248656"/>
              <a:gd name="connsiteX5" fmla="*/ 2122988 w 2427462"/>
              <a:gd name="connsiteY5" fmla="*/ 410800 h 1248656"/>
              <a:gd name="connsiteX6" fmla="*/ 2122988 w 2427462"/>
              <a:gd name="connsiteY6" fmla="*/ 254643 h 1248656"/>
              <a:gd name="connsiteX7" fmla="*/ 2051185 w 2427462"/>
              <a:gd name="connsiteY7" fmla="*/ 254643 h 1248656"/>
              <a:gd name="connsiteX8" fmla="*/ 2051185 w 2427462"/>
              <a:gd name="connsiteY8" fmla="*/ 336096 h 1248656"/>
              <a:gd name="connsiteX9" fmla="*/ 1956204 w 2427462"/>
              <a:gd name="connsiteY9" fmla="*/ 254183 h 1248656"/>
              <a:gd name="connsiteX10" fmla="*/ 1956204 w 2427462"/>
              <a:gd name="connsiteY10" fmla="*/ 125914 h 1248656"/>
              <a:gd name="connsiteX11" fmla="*/ 1884401 w 2427462"/>
              <a:gd name="connsiteY11" fmla="*/ 125914 h 1248656"/>
              <a:gd name="connsiteX12" fmla="*/ 1884401 w 2427462"/>
              <a:gd name="connsiteY12" fmla="*/ 202226 h 1248656"/>
              <a:gd name="connsiteX13" fmla="*/ 1814350 w 2427462"/>
              <a:gd name="connsiteY13" fmla="*/ 159144 h 1248656"/>
              <a:gd name="connsiteX14" fmla="*/ 1814350 w 2427462"/>
              <a:gd name="connsiteY14" fmla="*/ 73239 h 1248656"/>
              <a:gd name="connsiteX15" fmla="*/ 1742546 w 2427462"/>
              <a:gd name="connsiteY15" fmla="*/ 73239 h 1248656"/>
              <a:gd name="connsiteX16" fmla="*/ 1742546 w 2427462"/>
              <a:gd name="connsiteY16" fmla="*/ 120916 h 1248656"/>
              <a:gd name="connsiteX17" fmla="*/ 1684616 w 2427462"/>
              <a:gd name="connsiteY17" fmla="*/ 94493 h 1248656"/>
              <a:gd name="connsiteX18" fmla="*/ 1612813 w 2427462"/>
              <a:gd name="connsiteY18" fmla="*/ 39664 h 1248656"/>
              <a:gd name="connsiteX19" fmla="*/ 1612813 w 2427462"/>
              <a:gd name="connsiteY19" fmla="*/ 67093 h 1248656"/>
              <a:gd name="connsiteX20" fmla="*/ 1543795 w 2427462"/>
              <a:gd name="connsiteY20" fmla="*/ 45351 h 1248656"/>
              <a:gd name="connsiteX21" fmla="*/ 1471992 w 2427462"/>
              <a:gd name="connsiteY21" fmla="*/ 27257 h 1248656"/>
              <a:gd name="connsiteX22" fmla="*/ 1243084 w 2427462"/>
              <a:gd name="connsiteY22" fmla="*/ 0 h 1248656"/>
              <a:gd name="connsiteX23" fmla="*/ 1171281 w 2427462"/>
              <a:gd name="connsiteY23" fmla="*/ 316 h 1248656"/>
              <a:gd name="connsiteX24" fmla="*/ 958973 w 2427462"/>
              <a:gd name="connsiteY24" fmla="*/ 26309 h 1248656"/>
              <a:gd name="connsiteX25" fmla="*/ 887170 w 2427462"/>
              <a:gd name="connsiteY25" fmla="*/ 44173 h 1248656"/>
              <a:gd name="connsiteX26" fmla="*/ 817493 w 2427462"/>
              <a:gd name="connsiteY26" fmla="*/ 65944 h 1248656"/>
              <a:gd name="connsiteX27" fmla="*/ 745690 w 2427462"/>
              <a:gd name="connsiteY27" fmla="*/ 93143 h 1248656"/>
              <a:gd name="connsiteX28" fmla="*/ 687156 w 2427462"/>
              <a:gd name="connsiteY28" fmla="*/ 119452 h 1248656"/>
              <a:gd name="connsiteX29" fmla="*/ 615353 w 2427462"/>
              <a:gd name="connsiteY29" fmla="*/ 157536 h 1248656"/>
              <a:gd name="connsiteX30" fmla="*/ 544641 w 2427462"/>
              <a:gd name="connsiteY30" fmla="*/ 200905 h 1248656"/>
              <a:gd name="connsiteX31" fmla="*/ 472838 w 2427462"/>
              <a:gd name="connsiteY31" fmla="*/ 252460 h 1248656"/>
              <a:gd name="connsiteX32" fmla="*/ 377110 w 2427462"/>
              <a:gd name="connsiteY32" fmla="*/ 334746 h 1248656"/>
              <a:gd name="connsiteX33" fmla="*/ 305307 w 2427462"/>
              <a:gd name="connsiteY33" fmla="*/ 409105 h 1248656"/>
              <a:gd name="connsiteX34" fmla="*/ 223940 w 2427462"/>
              <a:gd name="connsiteY34" fmla="*/ 511640 h 1248656"/>
              <a:gd name="connsiteX35" fmla="*/ 152136 w 2427462"/>
              <a:gd name="connsiteY35" fmla="*/ 623940 h 1248656"/>
              <a:gd name="connsiteX36" fmla="*/ 152912 w 2427462"/>
              <a:gd name="connsiteY36" fmla="*/ 623940 h 1248656"/>
              <a:gd name="connsiteX37" fmla="*/ 0 w 2427462"/>
              <a:gd name="connsiteY37" fmla="*/ 1212726 h 1248656"/>
              <a:gd name="connsiteX38" fmla="*/ 37740 w 2427462"/>
              <a:gd name="connsiteY38" fmla="*/ 1248627 h 1248656"/>
              <a:gd name="connsiteX39" fmla="*/ 73440 w 2427462"/>
              <a:gd name="connsiteY39" fmla="*/ 1216574 h 1248656"/>
              <a:gd name="connsiteX40" fmla="*/ 429210 w 2427462"/>
              <a:gd name="connsiteY40" fmla="*/ 940764 h 1248656"/>
              <a:gd name="connsiteX41" fmla="*/ 781246 w 2427462"/>
              <a:gd name="connsiteY41" fmla="*/ 1193856 h 1248656"/>
              <a:gd name="connsiteX42" fmla="*/ 816459 w 2427462"/>
              <a:gd name="connsiteY42" fmla="*/ 1222778 h 1248656"/>
              <a:gd name="connsiteX43" fmla="*/ 851671 w 2427462"/>
              <a:gd name="connsiteY43" fmla="*/ 1193856 h 1248656"/>
              <a:gd name="connsiteX44" fmla="*/ 1171281 w 2427462"/>
              <a:gd name="connsiteY44" fmla="*/ 941999 h 1248656"/>
              <a:gd name="connsiteX45" fmla="*/ 1243084 w 2427462"/>
              <a:gd name="connsiteY45" fmla="*/ 942775 h 1248656"/>
              <a:gd name="connsiteX46" fmla="*/ 1559449 w 2427462"/>
              <a:gd name="connsiteY46" fmla="*/ 1216603 h 1248656"/>
              <a:gd name="connsiteX47" fmla="*/ 1595149 w 2427462"/>
              <a:gd name="connsiteY47" fmla="*/ 1248656 h 1248656"/>
              <a:gd name="connsiteX48" fmla="*/ 1606207 w 2427462"/>
              <a:gd name="connsiteY48" fmla="*/ 1248656 h 1248656"/>
              <a:gd name="connsiteX49" fmla="*/ 1641907 w 2427462"/>
              <a:gd name="connsiteY49" fmla="*/ 1216603 h 1248656"/>
              <a:gd name="connsiteX50" fmla="*/ 1997706 w 2427462"/>
              <a:gd name="connsiteY50" fmla="*/ 940793 h 1248656"/>
              <a:gd name="connsiteX51" fmla="*/ 2353447 w 2427462"/>
              <a:gd name="connsiteY51" fmla="*/ 1216603 h 1248656"/>
              <a:gd name="connsiteX52" fmla="*/ 2389148 w 2427462"/>
              <a:gd name="connsiteY52" fmla="*/ 1248656 h 1248656"/>
              <a:gd name="connsiteX53" fmla="*/ 2390986 w 2427462"/>
              <a:gd name="connsiteY53" fmla="*/ 1248656 h 1248656"/>
              <a:gd name="connsiteX54" fmla="*/ 2391560 w 2427462"/>
              <a:gd name="connsiteY54" fmla="*/ 1248656 h 1248656"/>
              <a:gd name="connsiteX55" fmla="*/ 2427462 w 2427462"/>
              <a:gd name="connsiteY55" fmla="*/ 1212755 h 1248656"/>
              <a:gd name="connsiteX56" fmla="*/ 2426859 w 2427462"/>
              <a:gd name="connsiteY56" fmla="*/ 1206235 h 1248656"/>
              <a:gd name="connsiteX57" fmla="*/ 88978 w 2427462"/>
              <a:gd name="connsiteY57" fmla="*/ 1014664 h 1248656"/>
              <a:gd name="connsiteX58" fmla="*/ 920889 w 2427462"/>
              <a:gd name="connsiteY58" fmla="*/ 109256 h 1248656"/>
              <a:gd name="connsiteX59" fmla="*/ 393050 w 2427462"/>
              <a:gd name="connsiteY59" fmla="*/ 870828 h 1248656"/>
              <a:gd name="connsiteX60" fmla="*/ 88978 w 2427462"/>
              <a:gd name="connsiteY60" fmla="*/ 1014664 h 1248656"/>
              <a:gd name="connsiteX61" fmla="*/ 467237 w 2427462"/>
              <a:gd name="connsiteY61" fmla="*/ 870598 h 1248656"/>
              <a:gd name="connsiteX62" fmla="*/ 1122800 w 2427462"/>
              <a:gd name="connsiteY62" fmla="*/ 102276 h 1248656"/>
              <a:gd name="connsiteX63" fmla="*/ 790409 w 2427462"/>
              <a:gd name="connsiteY63" fmla="*/ 1041834 h 1248656"/>
              <a:gd name="connsiteX64" fmla="*/ 467237 w 2427462"/>
              <a:gd name="connsiteY64" fmla="*/ 870598 h 1248656"/>
              <a:gd name="connsiteX65" fmla="*/ 863217 w 2427462"/>
              <a:gd name="connsiteY65" fmla="*/ 1015755 h 1248656"/>
              <a:gd name="connsiteX66" fmla="*/ 1171281 w 2427462"/>
              <a:gd name="connsiteY66" fmla="*/ 156617 h 1248656"/>
              <a:gd name="connsiteX67" fmla="*/ 1171281 w 2427462"/>
              <a:gd name="connsiteY67" fmla="*/ 870081 h 1248656"/>
              <a:gd name="connsiteX68" fmla="*/ 863217 w 2427462"/>
              <a:gd name="connsiteY68" fmla="*/ 1015755 h 1248656"/>
              <a:gd name="connsiteX69" fmla="*/ 1243084 w 2427462"/>
              <a:gd name="connsiteY69" fmla="*/ 870713 h 1248656"/>
              <a:gd name="connsiteX70" fmla="*/ 1243084 w 2427462"/>
              <a:gd name="connsiteY70" fmla="*/ 146048 h 1248656"/>
              <a:gd name="connsiteX71" fmla="*/ 1560368 w 2427462"/>
              <a:gd name="connsiteY71" fmla="*/ 1035085 h 1248656"/>
              <a:gd name="connsiteX72" fmla="*/ 1243084 w 2427462"/>
              <a:gd name="connsiteY72" fmla="*/ 870713 h 1248656"/>
              <a:gd name="connsiteX73" fmla="*/ 1632659 w 2427462"/>
              <a:gd name="connsiteY73" fmla="*/ 1046372 h 1248656"/>
              <a:gd name="connsiteX74" fmla="*/ 1300096 w 2427462"/>
              <a:gd name="connsiteY74" fmla="*/ 102276 h 1248656"/>
              <a:gd name="connsiteX75" fmla="*/ 1955744 w 2427462"/>
              <a:gd name="connsiteY75" fmla="*/ 870972 h 1248656"/>
              <a:gd name="connsiteX76" fmla="*/ 1632659 w 2427462"/>
              <a:gd name="connsiteY76" fmla="*/ 1046372 h 1248656"/>
              <a:gd name="connsiteX77" fmla="*/ 2029759 w 2427462"/>
              <a:gd name="connsiteY77" fmla="*/ 870627 h 1248656"/>
              <a:gd name="connsiteX78" fmla="*/ 1498789 w 2427462"/>
              <a:gd name="connsiteY78" fmla="*/ 107446 h 1248656"/>
              <a:gd name="connsiteX79" fmla="*/ 2337909 w 2427462"/>
              <a:gd name="connsiteY79" fmla="*/ 1014664 h 1248656"/>
              <a:gd name="connsiteX80" fmla="*/ 2029759 w 2427462"/>
              <a:gd name="connsiteY80" fmla="*/ 870627 h 1248656"/>
              <a:gd name="connsiteX0" fmla="*/ 2426859 w 2427462"/>
              <a:gd name="connsiteY0" fmla="*/ 1206235 h 1248656"/>
              <a:gd name="connsiteX1" fmla="*/ 2275440 w 2427462"/>
              <a:gd name="connsiteY1" fmla="*/ 626353 h 1248656"/>
              <a:gd name="connsiteX2" fmla="*/ 2275440 w 2427462"/>
              <a:gd name="connsiteY2" fmla="*/ 417952 h 1248656"/>
              <a:gd name="connsiteX3" fmla="*/ 2203637 w 2427462"/>
              <a:gd name="connsiteY3" fmla="*/ 417952 h 1248656"/>
              <a:gd name="connsiteX4" fmla="*/ 2203637 w 2427462"/>
              <a:gd name="connsiteY4" fmla="*/ 512617 h 1248656"/>
              <a:gd name="connsiteX5" fmla="*/ 2122988 w 2427462"/>
              <a:gd name="connsiteY5" fmla="*/ 410800 h 1248656"/>
              <a:gd name="connsiteX6" fmla="*/ 2122988 w 2427462"/>
              <a:gd name="connsiteY6" fmla="*/ 254643 h 1248656"/>
              <a:gd name="connsiteX7" fmla="*/ 2051185 w 2427462"/>
              <a:gd name="connsiteY7" fmla="*/ 254643 h 1248656"/>
              <a:gd name="connsiteX8" fmla="*/ 2051185 w 2427462"/>
              <a:gd name="connsiteY8" fmla="*/ 336096 h 1248656"/>
              <a:gd name="connsiteX9" fmla="*/ 1956204 w 2427462"/>
              <a:gd name="connsiteY9" fmla="*/ 254183 h 1248656"/>
              <a:gd name="connsiteX10" fmla="*/ 1956204 w 2427462"/>
              <a:gd name="connsiteY10" fmla="*/ 125914 h 1248656"/>
              <a:gd name="connsiteX11" fmla="*/ 1884401 w 2427462"/>
              <a:gd name="connsiteY11" fmla="*/ 125914 h 1248656"/>
              <a:gd name="connsiteX12" fmla="*/ 1884401 w 2427462"/>
              <a:gd name="connsiteY12" fmla="*/ 202226 h 1248656"/>
              <a:gd name="connsiteX13" fmla="*/ 1814350 w 2427462"/>
              <a:gd name="connsiteY13" fmla="*/ 159144 h 1248656"/>
              <a:gd name="connsiteX14" fmla="*/ 1742546 w 2427462"/>
              <a:gd name="connsiteY14" fmla="*/ 73239 h 1248656"/>
              <a:gd name="connsiteX15" fmla="*/ 1742546 w 2427462"/>
              <a:gd name="connsiteY15" fmla="*/ 120916 h 1248656"/>
              <a:gd name="connsiteX16" fmla="*/ 1684616 w 2427462"/>
              <a:gd name="connsiteY16" fmla="*/ 94493 h 1248656"/>
              <a:gd name="connsiteX17" fmla="*/ 1612813 w 2427462"/>
              <a:gd name="connsiteY17" fmla="*/ 39664 h 1248656"/>
              <a:gd name="connsiteX18" fmla="*/ 1612813 w 2427462"/>
              <a:gd name="connsiteY18" fmla="*/ 67093 h 1248656"/>
              <a:gd name="connsiteX19" fmla="*/ 1543795 w 2427462"/>
              <a:gd name="connsiteY19" fmla="*/ 45351 h 1248656"/>
              <a:gd name="connsiteX20" fmla="*/ 1471992 w 2427462"/>
              <a:gd name="connsiteY20" fmla="*/ 27257 h 1248656"/>
              <a:gd name="connsiteX21" fmla="*/ 1243084 w 2427462"/>
              <a:gd name="connsiteY21" fmla="*/ 0 h 1248656"/>
              <a:gd name="connsiteX22" fmla="*/ 1171281 w 2427462"/>
              <a:gd name="connsiteY22" fmla="*/ 316 h 1248656"/>
              <a:gd name="connsiteX23" fmla="*/ 958973 w 2427462"/>
              <a:gd name="connsiteY23" fmla="*/ 26309 h 1248656"/>
              <a:gd name="connsiteX24" fmla="*/ 887170 w 2427462"/>
              <a:gd name="connsiteY24" fmla="*/ 44173 h 1248656"/>
              <a:gd name="connsiteX25" fmla="*/ 817493 w 2427462"/>
              <a:gd name="connsiteY25" fmla="*/ 65944 h 1248656"/>
              <a:gd name="connsiteX26" fmla="*/ 745690 w 2427462"/>
              <a:gd name="connsiteY26" fmla="*/ 93143 h 1248656"/>
              <a:gd name="connsiteX27" fmla="*/ 687156 w 2427462"/>
              <a:gd name="connsiteY27" fmla="*/ 119452 h 1248656"/>
              <a:gd name="connsiteX28" fmla="*/ 615353 w 2427462"/>
              <a:gd name="connsiteY28" fmla="*/ 157536 h 1248656"/>
              <a:gd name="connsiteX29" fmla="*/ 544641 w 2427462"/>
              <a:gd name="connsiteY29" fmla="*/ 200905 h 1248656"/>
              <a:gd name="connsiteX30" fmla="*/ 472838 w 2427462"/>
              <a:gd name="connsiteY30" fmla="*/ 252460 h 1248656"/>
              <a:gd name="connsiteX31" fmla="*/ 377110 w 2427462"/>
              <a:gd name="connsiteY31" fmla="*/ 334746 h 1248656"/>
              <a:gd name="connsiteX32" fmla="*/ 305307 w 2427462"/>
              <a:gd name="connsiteY32" fmla="*/ 409105 h 1248656"/>
              <a:gd name="connsiteX33" fmla="*/ 223940 w 2427462"/>
              <a:gd name="connsiteY33" fmla="*/ 511640 h 1248656"/>
              <a:gd name="connsiteX34" fmla="*/ 152136 w 2427462"/>
              <a:gd name="connsiteY34" fmla="*/ 623940 h 1248656"/>
              <a:gd name="connsiteX35" fmla="*/ 152912 w 2427462"/>
              <a:gd name="connsiteY35" fmla="*/ 623940 h 1248656"/>
              <a:gd name="connsiteX36" fmla="*/ 0 w 2427462"/>
              <a:gd name="connsiteY36" fmla="*/ 1212726 h 1248656"/>
              <a:gd name="connsiteX37" fmla="*/ 37740 w 2427462"/>
              <a:gd name="connsiteY37" fmla="*/ 1248627 h 1248656"/>
              <a:gd name="connsiteX38" fmla="*/ 73440 w 2427462"/>
              <a:gd name="connsiteY38" fmla="*/ 1216574 h 1248656"/>
              <a:gd name="connsiteX39" fmla="*/ 429210 w 2427462"/>
              <a:gd name="connsiteY39" fmla="*/ 940764 h 1248656"/>
              <a:gd name="connsiteX40" fmla="*/ 781246 w 2427462"/>
              <a:gd name="connsiteY40" fmla="*/ 1193856 h 1248656"/>
              <a:gd name="connsiteX41" fmla="*/ 816459 w 2427462"/>
              <a:gd name="connsiteY41" fmla="*/ 1222778 h 1248656"/>
              <a:gd name="connsiteX42" fmla="*/ 851671 w 2427462"/>
              <a:gd name="connsiteY42" fmla="*/ 1193856 h 1248656"/>
              <a:gd name="connsiteX43" fmla="*/ 1171281 w 2427462"/>
              <a:gd name="connsiteY43" fmla="*/ 941999 h 1248656"/>
              <a:gd name="connsiteX44" fmla="*/ 1243084 w 2427462"/>
              <a:gd name="connsiteY44" fmla="*/ 942775 h 1248656"/>
              <a:gd name="connsiteX45" fmla="*/ 1559449 w 2427462"/>
              <a:gd name="connsiteY45" fmla="*/ 1216603 h 1248656"/>
              <a:gd name="connsiteX46" fmla="*/ 1595149 w 2427462"/>
              <a:gd name="connsiteY46" fmla="*/ 1248656 h 1248656"/>
              <a:gd name="connsiteX47" fmla="*/ 1606207 w 2427462"/>
              <a:gd name="connsiteY47" fmla="*/ 1248656 h 1248656"/>
              <a:gd name="connsiteX48" fmla="*/ 1641907 w 2427462"/>
              <a:gd name="connsiteY48" fmla="*/ 1216603 h 1248656"/>
              <a:gd name="connsiteX49" fmla="*/ 1997706 w 2427462"/>
              <a:gd name="connsiteY49" fmla="*/ 940793 h 1248656"/>
              <a:gd name="connsiteX50" fmla="*/ 2353447 w 2427462"/>
              <a:gd name="connsiteY50" fmla="*/ 1216603 h 1248656"/>
              <a:gd name="connsiteX51" fmla="*/ 2389148 w 2427462"/>
              <a:gd name="connsiteY51" fmla="*/ 1248656 h 1248656"/>
              <a:gd name="connsiteX52" fmla="*/ 2390986 w 2427462"/>
              <a:gd name="connsiteY52" fmla="*/ 1248656 h 1248656"/>
              <a:gd name="connsiteX53" fmla="*/ 2391560 w 2427462"/>
              <a:gd name="connsiteY53" fmla="*/ 1248656 h 1248656"/>
              <a:gd name="connsiteX54" fmla="*/ 2427462 w 2427462"/>
              <a:gd name="connsiteY54" fmla="*/ 1212755 h 1248656"/>
              <a:gd name="connsiteX55" fmla="*/ 2426859 w 2427462"/>
              <a:gd name="connsiteY55" fmla="*/ 1206235 h 1248656"/>
              <a:gd name="connsiteX56" fmla="*/ 88978 w 2427462"/>
              <a:gd name="connsiteY56" fmla="*/ 1014664 h 1248656"/>
              <a:gd name="connsiteX57" fmla="*/ 920889 w 2427462"/>
              <a:gd name="connsiteY57" fmla="*/ 109256 h 1248656"/>
              <a:gd name="connsiteX58" fmla="*/ 393050 w 2427462"/>
              <a:gd name="connsiteY58" fmla="*/ 870828 h 1248656"/>
              <a:gd name="connsiteX59" fmla="*/ 88978 w 2427462"/>
              <a:gd name="connsiteY59" fmla="*/ 1014664 h 1248656"/>
              <a:gd name="connsiteX60" fmla="*/ 467237 w 2427462"/>
              <a:gd name="connsiteY60" fmla="*/ 870598 h 1248656"/>
              <a:gd name="connsiteX61" fmla="*/ 1122800 w 2427462"/>
              <a:gd name="connsiteY61" fmla="*/ 102276 h 1248656"/>
              <a:gd name="connsiteX62" fmla="*/ 790409 w 2427462"/>
              <a:gd name="connsiteY62" fmla="*/ 1041834 h 1248656"/>
              <a:gd name="connsiteX63" fmla="*/ 467237 w 2427462"/>
              <a:gd name="connsiteY63" fmla="*/ 870598 h 1248656"/>
              <a:gd name="connsiteX64" fmla="*/ 863217 w 2427462"/>
              <a:gd name="connsiteY64" fmla="*/ 1015755 h 1248656"/>
              <a:gd name="connsiteX65" fmla="*/ 1171281 w 2427462"/>
              <a:gd name="connsiteY65" fmla="*/ 156617 h 1248656"/>
              <a:gd name="connsiteX66" fmla="*/ 1171281 w 2427462"/>
              <a:gd name="connsiteY66" fmla="*/ 870081 h 1248656"/>
              <a:gd name="connsiteX67" fmla="*/ 863217 w 2427462"/>
              <a:gd name="connsiteY67" fmla="*/ 1015755 h 1248656"/>
              <a:gd name="connsiteX68" fmla="*/ 1243084 w 2427462"/>
              <a:gd name="connsiteY68" fmla="*/ 870713 h 1248656"/>
              <a:gd name="connsiteX69" fmla="*/ 1243084 w 2427462"/>
              <a:gd name="connsiteY69" fmla="*/ 146048 h 1248656"/>
              <a:gd name="connsiteX70" fmla="*/ 1560368 w 2427462"/>
              <a:gd name="connsiteY70" fmla="*/ 1035085 h 1248656"/>
              <a:gd name="connsiteX71" fmla="*/ 1243084 w 2427462"/>
              <a:gd name="connsiteY71" fmla="*/ 870713 h 1248656"/>
              <a:gd name="connsiteX72" fmla="*/ 1632659 w 2427462"/>
              <a:gd name="connsiteY72" fmla="*/ 1046372 h 1248656"/>
              <a:gd name="connsiteX73" fmla="*/ 1300096 w 2427462"/>
              <a:gd name="connsiteY73" fmla="*/ 102276 h 1248656"/>
              <a:gd name="connsiteX74" fmla="*/ 1955744 w 2427462"/>
              <a:gd name="connsiteY74" fmla="*/ 870972 h 1248656"/>
              <a:gd name="connsiteX75" fmla="*/ 1632659 w 2427462"/>
              <a:gd name="connsiteY75" fmla="*/ 1046372 h 1248656"/>
              <a:gd name="connsiteX76" fmla="*/ 2029759 w 2427462"/>
              <a:gd name="connsiteY76" fmla="*/ 870627 h 1248656"/>
              <a:gd name="connsiteX77" fmla="*/ 1498789 w 2427462"/>
              <a:gd name="connsiteY77" fmla="*/ 107446 h 1248656"/>
              <a:gd name="connsiteX78" fmla="*/ 2337909 w 2427462"/>
              <a:gd name="connsiteY78" fmla="*/ 1014664 h 1248656"/>
              <a:gd name="connsiteX79" fmla="*/ 2029759 w 2427462"/>
              <a:gd name="connsiteY79" fmla="*/ 870627 h 1248656"/>
              <a:gd name="connsiteX0" fmla="*/ 2426859 w 2427462"/>
              <a:gd name="connsiteY0" fmla="*/ 1206235 h 1248656"/>
              <a:gd name="connsiteX1" fmla="*/ 2275440 w 2427462"/>
              <a:gd name="connsiteY1" fmla="*/ 626353 h 1248656"/>
              <a:gd name="connsiteX2" fmla="*/ 2275440 w 2427462"/>
              <a:gd name="connsiteY2" fmla="*/ 417952 h 1248656"/>
              <a:gd name="connsiteX3" fmla="*/ 2203637 w 2427462"/>
              <a:gd name="connsiteY3" fmla="*/ 417952 h 1248656"/>
              <a:gd name="connsiteX4" fmla="*/ 2203637 w 2427462"/>
              <a:gd name="connsiteY4" fmla="*/ 512617 h 1248656"/>
              <a:gd name="connsiteX5" fmla="*/ 2122988 w 2427462"/>
              <a:gd name="connsiteY5" fmla="*/ 410800 h 1248656"/>
              <a:gd name="connsiteX6" fmla="*/ 2122988 w 2427462"/>
              <a:gd name="connsiteY6" fmla="*/ 254643 h 1248656"/>
              <a:gd name="connsiteX7" fmla="*/ 2051185 w 2427462"/>
              <a:gd name="connsiteY7" fmla="*/ 254643 h 1248656"/>
              <a:gd name="connsiteX8" fmla="*/ 2051185 w 2427462"/>
              <a:gd name="connsiteY8" fmla="*/ 336096 h 1248656"/>
              <a:gd name="connsiteX9" fmla="*/ 1956204 w 2427462"/>
              <a:gd name="connsiteY9" fmla="*/ 254183 h 1248656"/>
              <a:gd name="connsiteX10" fmla="*/ 1884401 w 2427462"/>
              <a:gd name="connsiteY10" fmla="*/ 125914 h 1248656"/>
              <a:gd name="connsiteX11" fmla="*/ 1884401 w 2427462"/>
              <a:gd name="connsiteY11" fmla="*/ 202226 h 1248656"/>
              <a:gd name="connsiteX12" fmla="*/ 1814350 w 2427462"/>
              <a:gd name="connsiteY12" fmla="*/ 159144 h 1248656"/>
              <a:gd name="connsiteX13" fmla="*/ 1742546 w 2427462"/>
              <a:gd name="connsiteY13" fmla="*/ 73239 h 1248656"/>
              <a:gd name="connsiteX14" fmla="*/ 1742546 w 2427462"/>
              <a:gd name="connsiteY14" fmla="*/ 120916 h 1248656"/>
              <a:gd name="connsiteX15" fmla="*/ 1684616 w 2427462"/>
              <a:gd name="connsiteY15" fmla="*/ 94493 h 1248656"/>
              <a:gd name="connsiteX16" fmla="*/ 1612813 w 2427462"/>
              <a:gd name="connsiteY16" fmla="*/ 39664 h 1248656"/>
              <a:gd name="connsiteX17" fmla="*/ 1612813 w 2427462"/>
              <a:gd name="connsiteY17" fmla="*/ 67093 h 1248656"/>
              <a:gd name="connsiteX18" fmla="*/ 1543795 w 2427462"/>
              <a:gd name="connsiteY18" fmla="*/ 45351 h 1248656"/>
              <a:gd name="connsiteX19" fmla="*/ 1471992 w 2427462"/>
              <a:gd name="connsiteY19" fmla="*/ 27257 h 1248656"/>
              <a:gd name="connsiteX20" fmla="*/ 1243084 w 2427462"/>
              <a:gd name="connsiteY20" fmla="*/ 0 h 1248656"/>
              <a:gd name="connsiteX21" fmla="*/ 1171281 w 2427462"/>
              <a:gd name="connsiteY21" fmla="*/ 316 h 1248656"/>
              <a:gd name="connsiteX22" fmla="*/ 958973 w 2427462"/>
              <a:gd name="connsiteY22" fmla="*/ 26309 h 1248656"/>
              <a:gd name="connsiteX23" fmla="*/ 887170 w 2427462"/>
              <a:gd name="connsiteY23" fmla="*/ 44173 h 1248656"/>
              <a:gd name="connsiteX24" fmla="*/ 817493 w 2427462"/>
              <a:gd name="connsiteY24" fmla="*/ 65944 h 1248656"/>
              <a:gd name="connsiteX25" fmla="*/ 745690 w 2427462"/>
              <a:gd name="connsiteY25" fmla="*/ 93143 h 1248656"/>
              <a:gd name="connsiteX26" fmla="*/ 687156 w 2427462"/>
              <a:gd name="connsiteY26" fmla="*/ 119452 h 1248656"/>
              <a:gd name="connsiteX27" fmla="*/ 615353 w 2427462"/>
              <a:gd name="connsiteY27" fmla="*/ 157536 h 1248656"/>
              <a:gd name="connsiteX28" fmla="*/ 544641 w 2427462"/>
              <a:gd name="connsiteY28" fmla="*/ 200905 h 1248656"/>
              <a:gd name="connsiteX29" fmla="*/ 472838 w 2427462"/>
              <a:gd name="connsiteY29" fmla="*/ 252460 h 1248656"/>
              <a:gd name="connsiteX30" fmla="*/ 377110 w 2427462"/>
              <a:gd name="connsiteY30" fmla="*/ 334746 h 1248656"/>
              <a:gd name="connsiteX31" fmla="*/ 305307 w 2427462"/>
              <a:gd name="connsiteY31" fmla="*/ 409105 h 1248656"/>
              <a:gd name="connsiteX32" fmla="*/ 223940 w 2427462"/>
              <a:gd name="connsiteY32" fmla="*/ 511640 h 1248656"/>
              <a:gd name="connsiteX33" fmla="*/ 152136 w 2427462"/>
              <a:gd name="connsiteY33" fmla="*/ 623940 h 1248656"/>
              <a:gd name="connsiteX34" fmla="*/ 152912 w 2427462"/>
              <a:gd name="connsiteY34" fmla="*/ 623940 h 1248656"/>
              <a:gd name="connsiteX35" fmla="*/ 0 w 2427462"/>
              <a:gd name="connsiteY35" fmla="*/ 1212726 h 1248656"/>
              <a:gd name="connsiteX36" fmla="*/ 37740 w 2427462"/>
              <a:gd name="connsiteY36" fmla="*/ 1248627 h 1248656"/>
              <a:gd name="connsiteX37" fmla="*/ 73440 w 2427462"/>
              <a:gd name="connsiteY37" fmla="*/ 1216574 h 1248656"/>
              <a:gd name="connsiteX38" fmla="*/ 429210 w 2427462"/>
              <a:gd name="connsiteY38" fmla="*/ 940764 h 1248656"/>
              <a:gd name="connsiteX39" fmla="*/ 781246 w 2427462"/>
              <a:gd name="connsiteY39" fmla="*/ 1193856 h 1248656"/>
              <a:gd name="connsiteX40" fmla="*/ 816459 w 2427462"/>
              <a:gd name="connsiteY40" fmla="*/ 1222778 h 1248656"/>
              <a:gd name="connsiteX41" fmla="*/ 851671 w 2427462"/>
              <a:gd name="connsiteY41" fmla="*/ 1193856 h 1248656"/>
              <a:gd name="connsiteX42" fmla="*/ 1171281 w 2427462"/>
              <a:gd name="connsiteY42" fmla="*/ 941999 h 1248656"/>
              <a:gd name="connsiteX43" fmla="*/ 1243084 w 2427462"/>
              <a:gd name="connsiteY43" fmla="*/ 942775 h 1248656"/>
              <a:gd name="connsiteX44" fmla="*/ 1559449 w 2427462"/>
              <a:gd name="connsiteY44" fmla="*/ 1216603 h 1248656"/>
              <a:gd name="connsiteX45" fmla="*/ 1595149 w 2427462"/>
              <a:gd name="connsiteY45" fmla="*/ 1248656 h 1248656"/>
              <a:gd name="connsiteX46" fmla="*/ 1606207 w 2427462"/>
              <a:gd name="connsiteY46" fmla="*/ 1248656 h 1248656"/>
              <a:gd name="connsiteX47" fmla="*/ 1641907 w 2427462"/>
              <a:gd name="connsiteY47" fmla="*/ 1216603 h 1248656"/>
              <a:gd name="connsiteX48" fmla="*/ 1997706 w 2427462"/>
              <a:gd name="connsiteY48" fmla="*/ 940793 h 1248656"/>
              <a:gd name="connsiteX49" fmla="*/ 2353447 w 2427462"/>
              <a:gd name="connsiteY49" fmla="*/ 1216603 h 1248656"/>
              <a:gd name="connsiteX50" fmla="*/ 2389148 w 2427462"/>
              <a:gd name="connsiteY50" fmla="*/ 1248656 h 1248656"/>
              <a:gd name="connsiteX51" fmla="*/ 2390986 w 2427462"/>
              <a:gd name="connsiteY51" fmla="*/ 1248656 h 1248656"/>
              <a:gd name="connsiteX52" fmla="*/ 2391560 w 2427462"/>
              <a:gd name="connsiteY52" fmla="*/ 1248656 h 1248656"/>
              <a:gd name="connsiteX53" fmla="*/ 2427462 w 2427462"/>
              <a:gd name="connsiteY53" fmla="*/ 1212755 h 1248656"/>
              <a:gd name="connsiteX54" fmla="*/ 2426859 w 2427462"/>
              <a:gd name="connsiteY54" fmla="*/ 1206235 h 1248656"/>
              <a:gd name="connsiteX55" fmla="*/ 88978 w 2427462"/>
              <a:gd name="connsiteY55" fmla="*/ 1014664 h 1248656"/>
              <a:gd name="connsiteX56" fmla="*/ 920889 w 2427462"/>
              <a:gd name="connsiteY56" fmla="*/ 109256 h 1248656"/>
              <a:gd name="connsiteX57" fmla="*/ 393050 w 2427462"/>
              <a:gd name="connsiteY57" fmla="*/ 870828 h 1248656"/>
              <a:gd name="connsiteX58" fmla="*/ 88978 w 2427462"/>
              <a:gd name="connsiteY58" fmla="*/ 1014664 h 1248656"/>
              <a:gd name="connsiteX59" fmla="*/ 467237 w 2427462"/>
              <a:gd name="connsiteY59" fmla="*/ 870598 h 1248656"/>
              <a:gd name="connsiteX60" fmla="*/ 1122800 w 2427462"/>
              <a:gd name="connsiteY60" fmla="*/ 102276 h 1248656"/>
              <a:gd name="connsiteX61" fmla="*/ 790409 w 2427462"/>
              <a:gd name="connsiteY61" fmla="*/ 1041834 h 1248656"/>
              <a:gd name="connsiteX62" fmla="*/ 467237 w 2427462"/>
              <a:gd name="connsiteY62" fmla="*/ 870598 h 1248656"/>
              <a:gd name="connsiteX63" fmla="*/ 863217 w 2427462"/>
              <a:gd name="connsiteY63" fmla="*/ 1015755 h 1248656"/>
              <a:gd name="connsiteX64" fmla="*/ 1171281 w 2427462"/>
              <a:gd name="connsiteY64" fmla="*/ 156617 h 1248656"/>
              <a:gd name="connsiteX65" fmla="*/ 1171281 w 2427462"/>
              <a:gd name="connsiteY65" fmla="*/ 870081 h 1248656"/>
              <a:gd name="connsiteX66" fmla="*/ 863217 w 2427462"/>
              <a:gd name="connsiteY66" fmla="*/ 1015755 h 1248656"/>
              <a:gd name="connsiteX67" fmla="*/ 1243084 w 2427462"/>
              <a:gd name="connsiteY67" fmla="*/ 870713 h 1248656"/>
              <a:gd name="connsiteX68" fmla="*/ 1243084 w 2427462"/>
              <a:gd name="connsiteY68" fmla="*/ 146048 h 1248656"/>
              <a:gd name="connsiteX69" fmla="*/ 1560368 w 2427462"/>
              <a:gd name="connsiteY69" fmla="*/ 1035085 h 1248656"/>
              <a:gd name="connsiteX70" fmla="*/ 1243084 w 2427462"/>
              <a:gd name="connsiteY70" fmla="*/ 870713 h 1248656"/>
              <a:gd name="connsiteX71" fmla="*/ 1632659 w 2427462"/>
              <a:gd name="connsiteY71" fmla="*/ 1046372 h 1248656"/>
              <a:gd name="connsiteX72" fmla="*/ 1300096 w 2427462"/>
              <a:gd name="connsiteY72" fmla="*/ 102276 h 1248656"/>
              <a:gd name="connsiteX73" fmla="*/ 1955744 w 2427462"/>
              <a:gd name="connsiteY73" fmla="*/ 870972 h 1248656"/>
              <a:gd name="connsiteX74" fmla="*/ 1632659 w 2427462"/>
              <a:gd name="connsiteY74" fmla="*/ 1046372 h 1248656"/>
              <a:gd name="connsiteX75" fmla="*/ 2029759 w 2427462"/>
              <a:gd name="connsiteY75" fmla="*/ 870627 h 1248656"/>
              <a:gd name="connsiteX76" fmla="*/ 1498789 w 2427462"/>
              <a:gd name="connsiteY76" fmla="*/ 107446 h 1248656"/>
              <a:gd name="connsiteX77" fmla="*/ 2337909 w 2427462"/>
              <a:gd name="connsiteY77" fmla="*/ 1014664 h 1248656"/>
              <a:gd name="connsiteX78" fmla="*/ 2029759 w 2427462"/>
              <a:gd name="connsiteY78" fmla="*/ 870627 h 1248656"/>
              <a:gd name="connsiteX0" fmla="*/ 2426859 w 2427462"/>
              <a:gd name="connsiteY0" fmla="*/ 1206235 h 1248656"/>
              <a:gd name="connsiteX1" fmla="*/ 2275440 w 2427462"/>
              <a:gd name="connsiteY1" fmla="*/ 626353 h 1248656"/>
              <a:gd name="connsiteX2" fmla="*/ 2275440 w 2427462"/>
              <a:gd name="connsiteY2" fmla="*/ 417952 h 1248656"/>
              <a:gd name="connsiteX3" fmla="*/ 2203637 w 2427462"/>
              <a:gd name="connsiteY3" fmla="*/ 417952 h 1248656"/>
              <a:gd name="connsiteX4" fmla="*/ 2203637 w 2427462"/>
              <a:gd name="connsiteY4" fmla="*/ 512617 h 1248656"/>
              <a:gd name="connsiteX5" fmla="*/ 2122988 w 2427462"/>
              <a:gd name="connsiteY5" fmla="*/ 410800 h 1248656"/>
              <a:gd name="connsiteX6" fmla="*/ 2051185 w 2427462"/>
              <a:gd name="connsiteY6" fmla="*/ 254643 h 1248656"/>
              <a:gd name="connsiteX7" fmla="*/ 2051185 w 2427462"/>
              <a:gd name="connsiteY7" fmla="*/ 336096 h 1248656"/>
              <a:gd name="connsiteX8" fmla="*/ 1956204 w 2427462"/>
              <a:gd name="connsiteY8" fmla="*/ 254183 h 1248656"/>
              <a:gd name="connsiteX9" fmla="*/ 1884401 w 2427462"/>
              <a:gd name="connsiteY9" fmla="*/ 125914 h 1248656"/>
              <a:gd name="connsiteX10" fmla="*/ 1884401 w 2427462"/>
              <a:gd name="connsiteY10" fmla="*/ 202226 h 1248656"/>
              <a:gd name="connsiteX11" fmla="*/ 1814350 w 2427462"/>
              <a:gd name="connsiteY11" fmla="*/ 159144 h 1248656"/>
              <a:gd name="connsiteX12" fmla="*/ 1742546 w 2427462"/>
              <a:gd name="connsiteY12" fmla="*/ 73239 h 1248656"/>
              <a:gd name="connsiteX13" fmla="*/ 1742546 w 2427462"/>
              <a:gd name="connsiteY13" fmla="*/ 120916 h 1248656"/>
              <a:gd name="connsiteX14" fmla="*/ 1684616 w 2427462"/>
              <a:gd name="connsiteY14" fmla="*/ 94493 h 1248656"/>
              <a:gd name="connsiteX15" fmla="*/ 1612813 w 2427462"/>
              <a:gd name="connsiteY15" fmla="*/ 39664 h 1248656"/>
              <a:gd name="connsiteX16" fmla="*/ 1612813 w 2427462"/>
              <a:gd name="connsiteY16" fmla="*/ 67093 h 1248656"/>
              <a:gd name="connsiteX17" fmla="*/ 1543795 w 2427462"/>
              <a:gd name="connsiteY17" fmla="*/ 45351 h 1248656"/>
              <a:gd name="connsiteX18" fmla="*/ 1471992 w 2427462"/>
              <a:gd name="connsiteY18" fmla="*/ 27257 h 1248656"/>
              <a:gd name="connsiteX19" fmla="*/ 1243084 w 2427462"/>
              <a:gd name="connsiteY19" fmla="*/ 0 h 1248656"/>
              <a:gd name="connsiteX20" fmla="*/ 1171281 w 2427462"/>
              <a:gd name="connsiteY20" fmla="*/ 316 h 1248656"/>
              <a:gd name="connsiteX21" fmla="*/ 958973 w 2427462"/>
              <a:gd name="connsiteY21" fmla="*/ 26309 h 1248656"/>
              <a:gd name="connsiteX22" fmla="*/ 887170 w 2427462"/>
              <a:gd name="connsiteY22" fmla="*/ 44173 h 1248656"/>
              <a:gd name="connsiteX23" fmla="*/ 817493 w 2427462"/>
              <a:gd name="connsiteY23" fmla="*/ 65944 h 1248656"/>
              <a:gd name="connsiteX24" fmla="*/ 745690 w 2427462"/>
              <a:gd name="connsiteY24" fmla="*/ 93143 h 1248656"/>
              <a:gd name="connsiteX25" fmla="*/ 687156 w 2427462"/>
              <a:gd name="connsiteY25" fmla="*/ 119452 h 1248656"/>
              <a:gd name="connsiteX26" fmla="*/ 615353 w 2427462"/>
              <a:gd name="connsiteY26" fmla="*/ 157536 h 1248656"/>
              <a:gd name="connsiteX27" fmla="*/ 544641 w 2427462"/>
              <a:gd name="connsiteY27" fmla="*/ 200905 h 1248656"/>
              <a:gd name="connsiteX28" fmla="*/ 472838 w 2427462"/>
              <a:gd name="connsiteY28" fmla="*/ 252460 h 1248656"/>
              <a:gd name="connsiteX29" fmla="*/ 377110 w 2427462"/>
              <a:gd name="connsiteY29" fmla="*/ 334746 h 1248656"/>
              <a:gd name="connsiteX30" fmla="*/ 305307 w 2427462"/>
              <a:gd name="connsiteY30" fmla="*/ 409105 h 1248656"/>
              <a:gd name="connsiteX31" fmla="*/ 223940 w 2427462"/>
              <a:gd name="connsiteY31" fmla="*/ 511640 h 1248656"/>
              <a:gd name="connsiteX32" fmla="*/ 152136 w 2427462"/>
              <a:gd name="connsiteY32" fmla="*/ 623940 h 1248656"/>
              <a:gd name="connsiteX33" fmla="*/ 152912 w 2427462"/>
              <a:gd name="connsiteY33" fmla="*/ 623940 h 1248656"/>
              <a:gd name="connsiteX34" fmla="*/ 0 w 2427462"/>
              <a:gd name="connsiteY34" fmla="*/ 1212726 h 1248656"/>
              <a:gd name="connsiteX35" fmla="*/ 37740 w 2427462"/>
              <a:gd name="connsiteY35" fmla="*/ 1248627 h 1248656"/>
              <a:gd name="connsiteX36" fmla="*/ 73440 w 2427462"/>
              <a:gd name="connsiteY36" fmla="*/ 1216574 h 1248656"/>
              <a:gd name="connsiteX37" fmla="*/ 429210 w 2427462"/>
              <a:gd name="connsiteY37" fmla="*/ 940764 h 1248656"/>
              <a:gd name="connsiteX38" fmla="*/ 781246 w 2427462"/>
              <a:gd name="connsiteY38" fmla="*/ 1193856 h 1248656"/>
              <a:gd name="connsiteX39" fmla="*/ 816459 w 2427462"/>
              <a:gd name="connsiteY39" fmla="*/ 1222778 h 1248656"/>
              <a:gd name="connsiteX40" fmla="*/ 851671 w 2427462"/>
              <a:gd name="connsiteY40" fmla="*/ 1193856 h 1248656"/>
              <a:gd name="connsiteX41" fmla="*/ 1171281 w 2427462"/>
              <a:gd name="connsiteY41" fmla="*/ 941999 h 1248656"/>
              <a:gd name="connsiteX42" fmla="*/ 1243084 w 2427462"/>
              <a:gd name="connsiteY42" fmla="*/ 942775 h 1248656"/>
              <a:gd name="connsiteX43" fmla="*/ 1559449 w 2427462"/>
              <a:gd name="connsiteY43" fmla="*/ 1216603 h 1248656"/>
              <a:gd name="connsiteX44" fmla="*/ 1595149 w 2427462"/>
              <a:gd name="connsiteY44" fmla="*/ 1248656 h 1248656"/>
              <a:gd name="connsiteX45" fmla="*/ 1606207 w 2427462"/>
              <a:gd name="connsiteY45" fmla="*/ 1248656 h 1248656"/>
              <a:gd name="connsiteX46" fmla="*/ 1641907 w 2427462"/>
              <a:gd name="connsiteY46" fmla="*/ 1216603 h 1248656"/>
              <a:gd name="connsiteX47" fmla="*/ 1997706 w 2427462"/>
              <a:gd name="connsiteY47" fmla="*/ 940793 h 1248656"/>
              <a:gd name="connsiteX48" fmla="*/ 2353447 w 2427462"/>
              <a:gd name="connsiteY48" fmla="*/ 1216603 h 1248656"/>
              <a:gd name="connsiteX49" fmla="*/ 2389148 w 2427462"/>
              <a:gd name="connsiteY49" fmla="*/ 1248656 h 1248656"/>
              <a:gd name="connsiteX50" fmla="*/ 2390986 w 2427462"/>
              <a:gd name="connsiteY50" fmla="*/ 1248656 h 1248656"/>
              <a:gd name="connsiteX51" fmla="*/ 2391560 w 2427462"/>
              <a:gd name="connsiteY51" fmla="*/ 1248656 h 1248656"/>
              <a:gd name="connsiteX52" fmla="*/ 2427462 w 2427462"/>
              <a:gd name="connsiteY52" fmla="*/ 1212755 h 1248656"/>
              <a:gd name="connsiteX53" fmla="*/ 2426859 w 2427462"/>
              <a:gd name="connsiteY53" fmla="*/ 1206235 h 1248656"/>
              <a:gd name="connsiteX54" fmla="*/ 88978 w 2427462"/>
              <a:gd name="connsiteY54" fmla="*/ 1014664 h 1248656"/>
              <a:gd name="connsiteX55" fmla="*/ 920889 w 2427462"/>
              <a:gd name="connsiteY55" fmla="*/ 109256 h 1248656"/>
              <a:gd name="connsiteX56" fmla="*/ 393050 w 2427462"/>
              <a:gd name="connsiteY56" fmla="*/ 870828 h 1248656"/>
              <a:gd name="connsiteX57" fmla="*/ 88978 w 2427462"/>
              <a:gd name="connsiteY57" fmla="*/ 1014664 h 1248656"/>
              <a:gd name="connsiteX58" fmla="*/ 467237 w 2427462"/>
              <a:gd name="connsiteY58" fmla="*/ 870598 h 1248656"/>
              <a:gd name="connsiteX59" fmla="*/ 1122800 w 2427462"/>
              <a:gd name="connsiteY59" fmla="*/ 102276 h 1248656"/>
              <a:gd name="connsiteX60" fmla="*/ 790409 w 2427462"/>
              <a:gd name="connsiteY60" fmla="*/ 1041834 h 1248656"/>
              <a:gd name="connsiteX61" fmla="*/ 467237 w 2427462"/>
              <a:gd name="connsiteY61" fmla="*/ 870598 h 1248656"/>
              <a:gd name="connsiteX62" fmla="*/ 863217 w 2427462"/>
              <a:gd name="connsiteY62" fmla="*/ 1015755 h 1248656"/>
              <a:gd name="connsiteX63" fmla="*/ 1171281 w 2427462"/>
              <a:gd name="connsiteY63" fmla="*/ 156617 h 1248656"/>
              <a:gd name="connsiteX64" fmla="*/ 1171281 w 2427462"/>
              <a:gd name="connsiteY64" fmla="*/ 870081 h 1248656"/>
              <a:gd name="connsiteX65" fmla="*/ 863217 w 2427462"/>
              <a:gd name="connsiteY65" fmla="*/ 1015755 h 1248656"/>
              <a:gd name="connsiteX66" fmla="*/ 1243084 w 2427462"/>
              <a:gd name="connsiteY66" fmla="*/ 870713 h 1248656"/>
              <a:gd name="connsiteX67" fmla="*/ 1243084 w 2427462"/>
              <a:gd name="connsiteY67" fmla="*/ 146048 h 1248656"/>
              <a:gd name="connsiteX68" fmla="*/ 1560368 w 2427462"/>
              <a:gd name="connsiteY68" fmla="*/ 1035085 h 1248656"/>
              <a:gd name="connsiteX69" fmla="*/ 1243084 w 2427462"/>
              <a:gd name="connsiteY69" fmla="*/ 870713 h 1248656"/>
              <a:gd name="connsiteX70" fmla="*/ 1632659 w 2427462"/>
              <a:gd name="connsiteY70" fmla="*/ 1046372 h 1248656"/>
              <a:gd name="connsiteX71" fmla="*/ 1300096 w 2427462"/>
              <a:gd name="connsiteY71" fmla="*/ 102276 h 1248656"/>
              <a:gd name="connsiteX72" fmla="*/ 1955744 w 2427462"/>
              <a:gd name="connsiteY72" fmla="*/ 870972 h 1248656"/>
              <a:gd name="connsiteX73" fmla="*/ 1632659 w 2427462"/>
              <a:gd name="connsiteY73" fmla="*/ 1046372 h 1248656"/>
              <a:gd name="connsiteX74" fmla="*/ 2029759 w 2427462"/>
              <a:gd name="connsiteY74" fmla="*/ 870627 h 1248656"/>
              <a:gd name="connsiteX75" fmla="*/ 1498789 w 2427462"/>
              <a:gd name="connsiteY75" fmla="*/ 107446 h 1248656"/>
              <a:gd name="connsiteX76" fmla="*/ 2337909 w 2427462"/>
              <a:gd name="connsiteY76" fmla="*/ 1014664 h 1248656"/>
              <a:gd name="connsiteX77" fmla="*/ 2029759 w 2427462"/>
              <a:gd name="connsiteY77" fmla="*/ 870627 h 1248656"/>
              <a:gd name="connsiteX0" fmla="*/ 2426859 w 2427462"/>
              <a:gd name="connsiteY0" fmla="*/ 1206235 h 1248656"/>
              <a:gd name="connsiteX1" fmla="*/ 2275440 w 2427462"/>
              <a:gd name="connsiteY1" fmla="*/ 626353 h 1248656"/>
              <a:gd name="connsiteX2" fmla="*/ 2203637 w 2427462"/>
              <a:gd name="connsiteY2" fmla="*/ 417952 h 1248656"/>
              <a:gd name="connsiteX3" fmla="*/ 2203637 w 2427462"/>
              <a:gd name="connsiteY3" fmla="*/ 512617 h 1248656"/>
              <a:gd name="connsiteX4" fmla="*/ 2122988 w 2427462"/>
              <a:gd name="connsiteY4" fmla="*/ 410800 h 1248656"/>
              <a:gd name="connsiteX5" fmla="*/ 2051185 w 2427462"/>
              <a:gd name="connsiteY5" fmla="*/ 254643 h 1248656"/>
              <a:gd name="connsiteX6" fmla="*/ 2051185 w 2427462"/>
              <a:gd name="connsiteY6" fmla="*/ 336096 h 1248656"/>
              <a:gd name="connsiteX7" fmla="*/ 1956204 w 2427462"/>
              <a:gd name="connsiteY7" fmla="*/ 254183 h 1248656"/>
              <a:gd name="connsiteX8" fmla="*/ 1884401 w 2427462"/>
              <a:gd name="connsiteY8" fmla="*/ 125914 h 1248656"/>
              <a:gd name="connsiteX9" fmla="*/ 1884401 w 2427462"/>
              <a:gd name="connsiteY9" fmla="*/ 202226 h 1248656"/>
              <a:gd name="connsiteX10" fmla="*/ 1814350 w 2427462"/>
              <a:gd name="connsiteY10" fmla="*/ 159144 h 1248656"/>
              <a:gd name="connsiteX11" fmla="*/ 1742546 w 2427462"/>
              <a:gd name="connsiteY11" fmla="*/ 73239 h 1248656"/>
              <a:gd name="connsiteX12" fmla="*/ 1742546 w 2427462"/>
              <a:gd name="connsiteY12" fmla="*/ 120916 h 1248656"/>
              <a:gd name="connsiteX13" fmla="*/ 1684616 w 2427462"/>
              <a:gd name="connsiteY13" fmla="*/ 94493 h 1248656"/>
              <a:gd name="connsiteX14" fmla="*/ 1612813 w 2427462"/>
              <a:gd name="connsiteY14" fmla="*/ 39664 h 1248656"/>
              <a:gd name="connsiteX15" fmla="*/ 1612813 w 2427462"/>
              <a:gd name="connsiteY15" fmla="*/ 67093 h 1248656"/>
              <a:gd name="connsiteX16" fmla="*/ 1543795 w 2427462"/>
              <a:gd name="connsiteY16" fmla="*/ 45351 h 1248656"/>
              <a:gd name="connsiteX17" fmla="*/ 1471992 w 2427462"/>
              <a:gd name="connsiteY17" fmla="*/ 27257 h 1248656"/>
              <a:gd name="connsiteX18" fmla="*/ 1243084 w 2427462"/>
              <a:gd name="connsiteY18" fmla="*/ 0 h 1248656"/>
              <a:gd name="connsiteX19" fmla="*/ 1171281 w 2427462"/>
              <a:gd name="connsiteY19" fmla="*/ 316 h 1248656"/>
              <a:gd name="connsiteX20" fmla="*/ 958973 w 2427462"/>
              <a:gd name="connsiteY20" fmla="*/ 26309 h 1248656"/>
              <a:gd name="connsiteX21" fmla="*/ 887170 w 2427462"/>
              <a:gd name="connsiteY21" fmla="*/ 44173 h 1248656"/>
              <a:gd name="connsiteX22" fmla="*/ 817493 w 2427462"/>
              <a:gd name="connsiteY22" fmla="*/ 65944 h 1248656"/>
              <a:gd name="connsiteX23" fmla="*/ 745690 w 2427462"/>
              <a:gd name="connsiteY23" fmla="*/ 93143 h 1248656"/>
              <a:gd name="connsiteX24" fmla="*/ 687156 w 2427462"/>
              <a:gd name="connsiteY24" fmla="*/ 119452 h 1248656"/>
              <a:gd name="connsiteX25" fmla="*/ 615353 w 2427462"/>
              <a:gd name="connsiteY25" fmla="*/ 157536 h 1248656"/>
              <a:gd name="connsiteX26" fmla="*/ 544641 w 2427462"/>
              <a:gd name="connsiteY26" fmla="*/ 200905 h 1248656"/>
              <a:gd name="connsiteX27" fmla="*/ 472838 w 2427462"/>
              <a:gd name="connsiteY27" fmla="*/ 252460 h 1248656"/>
              <a:gd name="connsiteX28" fmla="*/ 377110 w 2427462"/>
              <a:gd name="connsiteY28" fmla="*/ 334746 h 1248656"/>
              <a:gd name="connsiteX29" fmla="*/ 305307 w 2427462"/>
              <a:gd name="connsiteY29" fmla="*/ 409105 h 1248656"/>
              <a:gd name="connsiteX30" fmla="*/ 223940 w 2427462"/>
              <a:gd name="connsiteY30" fmla="*/ 511640 h 1248656"/>
              <a:gd name="connsiteX31" fmla="*/ 152136 w 2427462"/>
              <a:gd name="connsiteY31" fmla="*/ 623940 h 1248656"/>
              <a:gd name="connsiteX32" fmla="*/ 152912 w 2427462"/>
              <a:gd name="connsiteY32" fmla="*/ 623940 h 1248656"/>
              <a:gd name="connsiteX33" fmla="*/ 0 w 2427462"/>
              <a:gd name="connsiteY33" fmla="*/ 1212726 h 1248656"/>
              <a:gd name="connsiteX34" fmla="*/ 37740 w 2427462"/>
              <a:gd name="connsiteY34" fmla="*/ 1248627 h 1248656"/>
              <a:gd name="connsiteX35" fmla="*/ 73440 w 2427462"/>
              <a:gd name="connsiteY35" fmla="*/ 1216574 h 1248656"/>
              <a:gd name="connsiteX36" fmla="*/ 429210 w 2427462"/>
              <a:gd name="connsiteY36" fmla="*/ 940764 h 1248656"/>
              <a:gd name="connsiteX37" fmla="*/ 781246 w 2427462"/>
              <a:gd name="connsiteY37" fmla="*/ 1193856 h 1248656"/>
              <a:gd name="connsiteX38" fmla="*/ 816459 w 2427462"/>
              <a:gd name="connsiteY38" fmla="*/ 1222778 h 1248656"/>
              <a:gd name="connsiteX39" fmla="*/ 851671 w 2427462"/>
              <a:gd name="connsiteY39" fmla="*/ 1193856 h 1248656"/>
              <a:gd name="connsiteX40" fmla="*/ 1171281 w 2427462"/>
              <a:gd name="connsiteY40" fmla="*/ 941999 h 1248656"/>
              <a:gd name="connsiteX41" fmla="*/ 1243084 w 2427462"/>
              <a:gd name="connsiteY41" fmla="*/ 942775 h 1248656"/>
              <a:gd name="connsiteX42" fmla="*/ 1559449 w 2427462"/>
              <a:gd name="connsiteY42" fmla="*/ 1216603 h 1248656"/>
              <a:gd name="connsiteX43" fmla="*/ 1595149 w 2427462"/>
              <a:gd name="connsiteY43" fmla="*/ 1248656 h 1248656"/>
              <a:gd name="connsiteX44" fmla="*/ 1606207 w 2427462"/>
              <a:gd name="connsiteY44" fmla="*/ 1248656 h 1248656"/>
              <a:gd name="connsiteX45" fmla="*/ 1641907 w 2427462"/>
              <a:gd name="connsiteY45" fmla="*/ 1216603 h 1248656"/>
              <a:gd name="connsiteX46" fmla="*/ 1997706 w 2427462"/>
              <a:gd name="connsiteY46" fmla="*/ 940793 h 1248656"/>
              <a:gd name="connsiteX47" fmla="*/ 2353447 w 2427462"/>
              <a:gd name="connsiteY47" fmla="*/ 1216603 h 1248656"/>
              <a:gd name="connsiteX48" fmla="*/ 2389148 w 2427462"/>
              <a:gd name="connsiteY48" fmla="*/ 1248656 h 1248656"/>
              <a:gd name="connsiteX49" fmla="*/ 2390986 w 2427462"/>
              <a:gd name="connsiteY49" fmla="*/ 1248656 h 1248656"/>
              <a:gd name="connsiteX50" fmla="*/ 2391560 w 2427462"/>
              <a:gd name="connsiteY50" fmla="*/ 1248656 h 1248656"/>
              <a:gd name="connsiteX51" fmla="*/ 2427462 w 2427462"/>
              <a:gd name="connsiteY51" fmla="*/ 1212755 h 1248656"/>
              <a:gd name="connsiteX52" fmla="*/ 2426859 w 2427462"/>
              <a:gd name="connsiteY52" fmla="*/ 1206235 h 1248656"/>
              <a:gd name="connsiteX53" fmla="*/ 88978 w 2427462"/>
              <a:gd name="connsiteY53" fmla="*/ 1014664 h 1248656"/>
              <a:gd name="connsiteX54" fmla="*/ 920889 w 2427462"/>
              <a:gd name="connsiteY54" fmla="*/ 109256 h 1248656"/>
              <a:gd name="connsiteX55" fmla="*/ 393050 w 2427462"/>
              <a:gd name="connsiteY55" fmla="*/ 870828 h 1248656"/>
              <a:gd name="connsiteX56" fmla="*/ 88978 w 2427462"/>
              <a:gd name="connsiteY56" fmla="*/ 1014664 h 1248656"/>
              <a:gd name="connsiteX57" fmla="*/ 467237 w 2427462"/>
              <a:gd name="connsiteY57" fmla="*/ 870598 h 1248656"/>
              <a:gd name="connsiteX58" fmla="*/ 1122800 w 2427462"/>
              <a:gd name="connsiteY58" fmla="*/ 102276 h 1248656"/>
              <a:gd name="connsiteX59" fmla="*/ 790409 w 2427462"/>
              <a:gd name="connsiteY59" fmla="*/ 1041834 h 1248656"/>
              <a:gd name="connsiteX60" fmla="*/ 467237 w 2427462"/>
              <a:gd name="connsiteY60" fmla="*/ 870598 h 1248656"/>
              <a:gd name="connsiteX61" fmla="*/ 863217 w 2427462"/>
              <a:gd name="connsiteY61" fmla="*/ 1015755 h 1248656"/>
              <a:gd name="connsiteX62" fmla="*/ 1171281 w 2427462"/>
              <a:gd name="connsiteY62" fmla="*/ 156617 h 1248656"/>
              <a:gd name="connsiteX63" fmla="*/ 1171281 w 2427462"/>
              <a:gd name="connsiteY63" fmla="*/ 870081 h 1248656"/>
              <a:gd name="connsiteX64" fmla="*/ 863217 w 2427462"/>
              <a:gd name="connsiteY64" fmla="*/ 1015755 h 1248656"/>
              <a:gd name="connsiteX65" fmla="*/ 1243084 w 2427462"/>
              <a:gd name="connsiteY65" fmla="*/ 870713 h 1248656"/>
              <a:gd name="connsiteX66" fmla="*/ 1243084 w 2427462"/>
              <a:gd name="connsiteY66" fmla="*/ 146048 h 1248656"/>
              <a:gd name="connsiteX67" fmla="*/ 1560368 w 2427462"/>
              <a:gd name="connsiteY67" fmla="*/ 1035085 h 1248656"/>
              <a:gd name="connsiteX68" fmla="*/ 1243084 w 2427462"/>
              <a:gd name="connsiteY68" fmla="*/ 870713 h 1248656"/>
              <a:gd name="connsiteX69" fmla="*/ 1632659 w 2427462"/>
              <a:gd name="connsiteY69" fmla="*/ 1046372 h 1248656"/>
              <a:gd name="connsiteX70" fmla="*/ 1300096 w 2427462"/>
              <a:gd name="connsiteY70" fmla="*/ 102276 h 1248656"/>
              <a:gd name="connsiteX71" fmla="*/ 1955744 w 2427462"/>
              <a:gd name="connsiteY71" fmla="*/ 870972 h 1248656"/>
              <a:gd name="connsiteX72" fmla="*/ 1632659 w 2427462"/>
              <a:gd name="connsiteY72" fmla="*/ 1046372 h 1248656"/>
              <a:gd name="connsiteX73" fmla="*/ 2029759 w 2427462"/>
              <a:gd name="connsiteY73" fmla="*/ 870627 h 1248656"/>
              <a:gd name="connsiteX74" fmla="*/ 1498789 w 2427462"/>
              <a:gd name="connsiteY74" fmla="*/ 107446 h 1248656"/>
              <a:gd name="connsiteX75" fmla="*/ 2337909 w 2427462"/>
              <a:gd name="connsiteY75" fmla="*/ 1014664 h 1248656"/>
              <a:gd name="connsiteX76" fmla="*/ 2029759 w 2427462"/>
              <a:gd name="connsiteY76" fmla="*/ 870627 h 1248656"/>
              <a:gd name="connsiteX0" fmla="*/ 2426859 w 2427462"/>
              <a:gd name="connsiteY0" fmla="*/ 1206235 h 1248656"/>
              <a:gd name="connsiteX1" fmla="*/ 2275440 w 2427462"/>
              <a:gd name="connsiteY1" fmla="*/ 626353 h 1248656"/>
              <a:gd name="connsiteX2" fmla="*/ 2203637 w 2427462"/>
              <a:gd name="connsiteY2" fmla="*/ 512617 h 1248656"/>
              <a:gd name="connsiteX3" fmla="*/ 2122988 w 2427462"/>
              <a:gd name="connsiteY3" fmla="*/ 410800 h 1248656"/>
              <a:gd name="connsiteX4" fmla="*/ 2051185 w 2427462"/>
              <a:gd name="connsiteY4" fmla="*/ 254643 h 1248656"/>
              <a:gd name="connsiteX5" fmla="*/ 2051185 w 2427462"/>
              <a:gd name="connsiteY5" fmla="*/ 336096 h 1248656"/>
              <a:gd name="connsiteX6" fmla="*/ 1956204 w 2427462"/>
              <a:gd name="connsiteY6" fmla="*/ 254183 h 1248656"/>
              <a:gd name="connsiteX7" fmla="*/ 1884401 w 2427462"/>
              <a:gd name="connsiteY7" fmla="*/ 125914 h 1248656"/>
              <a:gd name="connsiteX8" fmla="*/ 1884401 w 2427462"/>
              <a:gd name="connsiteY8" fmla="*/ 202226 h 1248656"/>
              <a:gd name="connsiteX9" fmla="*/ 1814350 w 2427462"/>
              <a:gd name="connsiteY9" fmla="*/ 159144 h 1248656"/>
              <a:gd name="connsiteX10" fmla="*/ 1742546 w 2427462"/>
              <a:gd name="connsiteY10" fmla="*/ 73239 h 1248656"/>
              <a:gd name="connsiteX11" fmla="*/ 1742546 w 2427462"/>
              <a:gd name="connsiteY11" fmla="*/ 120916 h 1248656"/>
              <a:gd name="connsiteX12" fmla="*/ 1684616 w 2427462"/>
              <a:gd name="connsiteY12" fmla="*/ 94493 h 1248656"/>
              <a:gd name="connsiteX13" fmla="*/ 1612813 w 2427462"/>
              <a:gd name="connsiteY13" fmla="*/ 39664 h 1248656"/>
              <a:gd name="connsiteX14" fmla="*/ 1612813 w 2427462"/>
              <a:gd name="connsiteY14" fmla="*/ 67093 h 1248656"/>
              <a:gd name="connsiteX15" fmla="*/ 1543795 w 2427462"/>
              <a:gd name="connsiteY15" fmla="*/ 45351 h 1248656"/>
              <a:gd name="connsiteX16" fmla="*/ 1471992 w 2427462"/>
              <a:gd name="connsiteY16" fmla="*/ 27257 h 1248656"/>
              <a:gd name="connsiteX17" fmla="*/ 1243084 w 2427462"/>
              <a:gd name="connsiteY17" fmla="*/ 0 h 1248656"/>
              <a:gd name="connsiteX18" fmla="*/ 1171281 w 2427462"/>
              <a:gd name="connsiteY18" fmla="*/ 316 h 1248656"/>
              <a:gd name="connsiteX19" fmla="*/ 958973 w 2427462"/>
              <a:gd name="connsiteY19" fmla="*/ 26309 h 1248656"/>
              <a:gd name="connsiteX20" fmla="*/ 887170 w 2427462"/>
              <a:gd name="connsiteY20" fmla="*/ 44173 h 1248656"/>
              <a:gd name="connsiteX21" fmla="*/ 817493 w 2427462"/>
              <a:gd name="connsiteY21" fmla="*/ 65944 h 1248656"/>
              <a:gd name="connsiteX22" fmla="*/ 745690 w 2427462"/>
              <a:gd name="connsiteY22" fmla="*/ 93143 h 1248656"/>
              <a:gd name="connsiteX23" fmla="*/ 687156 w 2427462"/>
              <a:gd name="connsiteY23" fmla="*/ 119452 h 1248656"/>
              <a:gd name="connsiteX24" fmla="*/ 615353 w 2427462"/>
              <a:gd name="connsiteY24" fmla="*/ 157536 h 1248656"/>
              <a:gd name="connsiteX25" fmla="*/ 544641 w 2427462"/>
              <a:gd name="connsiteY25" fmla="*/ 200905 h 1248656"/>
              <a:gd name="connsiteX26" fmla="*/ 472838 w 2427462"/>
              <a:gd name="connsiteY26" fmla="*/ 252460 h 1248656"/>
              <a:gd name="connsiteX27" fmla="*/ 377110 w 2427462"/>
              <a:gd name="connsiteY27" fmla="*/ 334746 h 1248656"/>
              <a:gd name="connsiteX28" fmla="*/ 305307 w 2427462"/>
              <a:gd name="connsiteY28" fmla="*/ 409105 h 1248656"/>
              <a:gd name="connsiteX29" fmla="*/ 223940 w 2427462"/>
              <a:gd name="connsiteY29" fmla="*/ 511640 h 1248656"/>
              <a:gd name="connsiteX30" fmla="*/ 152136 w 2427462"/>
              <a:gd name="connsiteY30" fmla="*/ 623940 h 1248656"/>
              <a:gd name="connsiteX31" fmla="*/ 152912 w 2427462"/>
              <a:gd name="connsiteY31" fmla="*/ 623940 h 1248656"/>
              <a:gd name="connsiteX32" fmla="*/ 0 w 2427462"/>
              <a:gd name="connsiteY32" fmla="*/ 1212726 h 1248656"/>
              <a:gd name="connsiteX33" fmla="*/ 37740 w 2427462"/>
              <a:gd name="connsiteY33" fmla="*/ 1248627 h 1248656"/>
              <a:gd name="connsiteX34" fmla="*/ 73440 w 2427462"/>
              <a:gd name="connsiteY34" fmla="*/ 1216574 h 1248656"/>
              <a:gd name="connsiteX35" fmla="*/ 429210 w 2427462"/>
              <a:gd name="connsiteY35" fmla="*/ 940764 h 1248656"/>
              <a:gd name="connsiteX36" fmla="*/ 781246 w 2427462"/>
              <a:gd name="connsiteY36" fmla="*/ 1193856 h 1248656"/>
              <a:gd name="connsiteX37" fmla="*/ 816459 w 2427462"/>
              <a:gd name="connsiteY37" fmla="*/ 1222778 h 1248656"/>
              <a:gd name="connsiteX38" fmla="*/ 851671 w 2427462"/>
              <a:gd name="connsiteY38" fmla="*/ 1193856 h 1248656"/>
              <a:gd name="connsiteX39" fmla="*/ 1171281 w 2427462"/>
              <a:gd name="connsiteY39" fmla="*/ 941999 h 1248656"/>
              <a:gd name="connsiteX40" fmla="*/ 1243084 w 2427462"/>
              <a:gd name="connsiteY40" fmla="*/ 942775 h 1248656"/>
              <a:gd name="connsiteX41" fmla="*/ 1559449 w 2427462"/>
              <a:gd name="connsiteY41" fmla="*/ 1216603 h 1248656"/>
              <a:gd name="connsiteX42" fmla="*/ 1595149 w 2427462"/>
              <a:gd name="connsiteY42" fmla="*/ 1248656 h 1248656"/>
              <a:gd name="connsiteX43" fmla="*/ 1606207 w 2427462"/>
              <a:gd name="connsiteY43" fmla="*/ 1248656 h 1248656"/>
              <a:gd name="connsiteX44" fmla="*/ 1641907 w 2427462"/>
              <a:gd name="connsiteY44" fmla="*/ 1216603 h 1248656"/>
              <a:gd name="connsiteX45" fmla="*/ 1997706 w 2427462"/>
              <a:gd name="connsiteY45" fmla="*/ 940793 h 1248656"/>
              <a:gd name="connsiteX46" fmla="*/ 2353447 w 2427462"/>
              <a:gd name="connsiteY46" fmla="*/ 1216603 h 1248656"/>
              <a:gd name="connsiteX47" fmla="*/ 2389148 w 2427462"/>
              <a:gd name="connsiteY47" fmla="*/ 1248656 h 1248656"/>
              <a:gd name="connsiteX48" fmla="*/ 2390986 w 2427462"/>
              <a:gd name="connsiteY48" fmla="*/ 1248656 h 1248656"/>
              <a:gd name="connsiteX49" fmla="*/ 2391560 w 2427462"/>
              <a:gd name="connsiteY49" fmla="*/ 1248656 h 1248656"/>
              <a:gd name="connsiteX50" fmla="*/ 2427462 w 2427462"/>
              <a:gd name="connsiteY50" fmla="*/ 1212755 h 1248656"/>
              <a:gd name="connsiteX51" fmla="*/ 2426859 w 2427462"/>
              <a:gd name="connsiteY51" fmla="*/ 1206235 h 1248656"/>
              <a:gd name="connsiteX52" fmla="*/ 88978 w 2427462"/>
              <a:gd name="connsiteY52" fmla="*/ 1014664 h 1248656"/>
              <a:gd name="connsiteX53" fmla="*/ 920889 w 2427462"/>
              <a:gd name="connsiteY53" fmla="*/ 109256 h 1248656"/>
              <a:gd name="connsiteX54" fmla="*/ 393050 w 2427462"/>
              <a:gd name="connsiteY54" fmla="*/ 870828 h 1248656"/>
              <a:gd name="connsiteX55" fmla="*/ 88978 w 2427462"/>
              <a:gd name="connsiteY55" fmla="*/ 1014664 h 1248656"/>
              <a:gd name="connsiteX56" fmla="*/ 467237 w 2427462"/>
              <a:gd name="connsiteY56" fmla="*/ 870598 h 1248656"/>
              <a:gd name="connsiteX57" fmla="*/ 1122800 w 2427462"/>
              <a:gd name="connsiteY57" fmla="*/ 102276 h 1248656"/>
              <a:gd name="connsiteX58" fmla="*/ 790409 w 2427462"/>
              <a:gd name="connsiteY58" fmla="*/ 1041834 h 1248656"/>
              <a:gd name="connsiteX59" fmla="*/ 467237 w 2427462"/>
              <a:gd name="connsiteY59" fmla="*/ 870598 h 1248656"/>
              <a:gd name="connsiteX60" fmla="*/ 863217 w 2427462"/>
              <a:gd name="connsiteY60" fmla="*/ 1015755 h 1248656"/>
              <a:gd name="connsiteX61" fmla="*/ 1171281 w 2427462"/>
              <a:gd name="connsiteY61" fmla="*/ 156617 h 1248656"/>
              <a:gd name="connsiteX62" fmla="*/ 1171281 w 2427462"/>
              <a:gd name="connsiteY62" fmla="*/ 870081 h 1248656"/>
              <a:gd name="connsiteX63" fmla="*/ 863217 w 2427462"/>
              <a:gd name="connsiteY63" fmla="*/ 1015755 h 1248656"/>
              <a:gd name="connsiteX64" fmla="*/ 1243084 w 2427462"/>
              <a:gd name="connsiteY64" fmla="*/ 870713 h 1248656"/>
              <a:gd name="connsiteX65" fmla="*/ 1243084 w 2427462"/>
              <a:gd name="connsiteY65" fmla="*/ 146048 h 1248656"/>
              <a:gd name="connsiteX66" fmla="*/ 1560368 w 2427462"/>
              <a:gd name="connsiteY66" fmla="*/ 1035085 h 1248656"/>
              <a:gd name="connsiteX67" fmla="*/ 1243084 w 2427462"/>
              <a:gd name="connsiteY67" fmla="*/ 870713 h 1248656"/>
              <a:gd name="connsiteX68" fmla="*/ 1632659 w 2427462"/>
              <a:gd name="connsiteY68" fmla="*/ 1046372 h 1248656"/>
              <a:gd name="connsiteX69" fmla="*/ 1300096 w 2427462"/>
              <a:gd name="connsiteY69" fmla="*/ 102276 h 1248656"/>
              <a:gd name="connsiteX70" fmla="*/ 1955744 w 2427462"/>
              <a:gd name="connsiteY70" fmla="*/ 870972 h 1248656"/>
              <a:gd name="connsiteX71" fmla="*/ 1632659 w 2427462"/>
              <a:gd name="connsiteY71" fmla="*/ 1046372 h 1248656"/>
              <a:gd name="connsiteX72" fmla="*/ 2029759 w 2427462"/>
              <a:gd name="connsiteY72" fmla="*/ 870627 h 1248656"/>
              <a:gd name="connsiteX73" fmla="*/ 1498789 w 2427462"/>
              <a:gd name="connsiteY73" fmla="*/ 107446 h 1248656"/>
              <a:gd name="connsiteX74" fmla="*/ 2337909 w 2427462"/>
              <a:gd name="connsiteY74" fmla="*/ 1014664 h 1248656"/>
              <a:gd name="connsiteX75" fmla="*/ 2029759 w 2427462"/>
              <a:gd name="connsiteY75" fmla="*/ 870627 h 1248656"/>
              <a:gd name="connsiteX0" fmla="*/ 2426859 w 2427462"/>
              <a:gd name="connsiteY0" fmla="*/ 1206235 h 1248656"/>
              <a:gd name="connsiteX1" fmla="*/ 2275440 w 2427462"/>
              <a:gd name="connsiteY1" fmla="*/ 626353 h 1248656"/>
              <a:gd name="connsiteX2" fmla="*/ 2203637 w 2427462"/>
              <a:gd name="connsiteY2" fmla="*/ 512617 h 1248656"/>
              <a:gd name="connsiteX3" fmla="*/ 2122988 w 2427462"/>
              <a:gd name="connsiteY3" fmla="*/ 410800 h 1248656"/>
              <a:gd name="connsiteX4" fmla="*/ 2051185 w 2427462"/>
              <a:gd name="connsiteY4" fmla="*/ 336096 h 1248656"/>
              <a:gd name="connsiteX5" fmla="*/ 1956204 w 2427462"/>
              <a:gd name="connsiteY5" fmla="*/ 254183 h 1248656"/>
              <a:gd name="connsiteX6" fmla="*/ 1884401 w 2427462"/>
              <a:gd name="connsiteY6" fmla="*/ 125914 h 1248656"/>
              <a:gd name="connsiteX7" fmla="*/ 1884401 w 2427462"/>
              <a:gd name="connsiteY7" fmla="*/ 202226 h 1248656"/>
              <a:gd name="connsiteX8" fmla="*/ 1814350 w 2427462"/>
              <a:gd name="connsiteY8" fmla="*/ 159144 h 1248656"/>
              <a:gd name="connsiteX9" fmla="*/ 1742546 w 2427462"/>
              <a:gd name="connsiteY9" fmla="*/ 73239 h 1248656"/>
              <a:gd name="connsiteX10" fmla="*/ 1742546 w 2427462"/>
              <a:gd name="connsiteY10" fmla="*/ 120916 h 1248656"/>
              <a:gd name="connsiteX11" fmla="*/ 1684616 w 2427462"/>
              <a:gd name="connsiteY11" fmla="*/ 94493 h 1248656"/>
              <a:gd name="connsiteX12" fmla="*/ 1612813 w 2427462"/>
              <a:gd name="connsiteY12" fmla="*/ 39664 h 1248656"/>
              <a:gd name="connsiteX13" fmla="*/ 1612813 w 2427462"/>
              <a:gd name="connsiteY13" fmla="*/ 67093 h 1248656"/>
              <a:gd name="connsiteX14" fmla="*/ 1543795 w 2427462"/>
              <a:gd name="connsiteY14" fmla="*/ 45351 h 1248656"/>
              <a:gd name="connsiteX15" fmla="*/ 1471992 w 2427462"/>
              <a:gd name="connsiteY15" fmla="*/ 27257 h 1248656"/>
              <a:gd name="connsiteX16" fmla="*/ 1243084 w 2427462"/>
              <a:gd name="connsiteY16" fmla="*/ 0 h 1248656"/>
              <a:gd name="connsiteX17" fmla="*/ 1171281 w 2427462"/>
              <a:gd name="connsiteY17" fmla="*/ 316 h 1248656"/>
              <a:gd name="connsiteX18" fmla="*/ 958973 w 2427462"/>
              <a:gd name="connsiteY18" fmla="*/ 26309 h 1248656"/>
              <a:gd name="connsiteX19" fmla="*/ 887170 w 2427462"/>
              <a:gd name="connsiteY19" fmla="*/ 44173 h 1248656"/>
              <a:gd name="connsiteX20" fmla="*/ 817493 w 2427462"/>
              <a:gd name="connsiteY20" fmla="*/ 65944 h 1248656"/>
              <a:gd name="connsiteX21" fmla="*/ 745690 w 2427462"/>
              <a:gd name="connsiteY21" fmla="*/ 93143 h 1248656"/>
              <a:gd name="connsiteX22" fmla="*/ 687156 w 2427462"/>
              <a:gd name="connsiteY22" fmla="*/ 119452 h 1248656"/>
              <a:gd name="connsiteX23" fmla="*/ 615353 w 2427462"/>
              <a:gd name="connsiteY23" fmla="*/ 157536 h 1248656"/>
              <a:gd name="connsiteX24" fmla="*/ 544641 w 2427462"/>
              <a:gd name="connsiteY24" fmla="*/ 200905 h 1248656"/>
              <a:gd name="connsiteX25" fmla="*/ 472838 w 2427462"/>
              <a:gd name="connsiteY25" fmla="*/ 252460 h 1248656"/>
              <a:gd name="connsiteX26" fmla="*/ 377110 w 2427462"/>
              <a:gd name="connsiteY26" fmla="*/ 334746 h 1248656"/>
              <a:gd name="connsiteX27" fmla="*/ 305307 w 2427462"/>
              <a:gd name="connsiteY27" fmla="*/ 409105 h 1248656"/>
              <a:gd name="connsiteX28" fmla="*/ 223940 w 2427462"/>
              <a:gd name="connsiteY28" fmla="*/ 511640 h 1248656"/>
              <a:gd name="connsiteX29" fmla="*/ 152136 w 2427462"/>
              <a:gd name="connsiteY29" fmla="*/ 623940 h 1248656"/>
              <a:gd name="connsiteX30" fmla="*/ 152912 w 2427462"/>
              <a:gd name="connsiteY30" fmla="*/ 623940 h 1248656"/>
              <a:gd name="connsiteX31" fmla="*/ 0 w 2427462"/>
              <a:gd name="connsiteY31" fmla="*/ 1212726 h 1248656"/>
              <a:gd name="connsiteX32" fmla="*/ 37740 w 2427462"/>
              <a:gd name="connsiteY32" fmla="*/ 1248627 h 1248656"/>
              <a:gd name="connsiteX33" fmla="*/ 73440 w 2427462"/>
              <a:gd name="connsiteY33" fmla="*/ 1216574 h 1248656"/>
              <a:gd name="connsiteX34" fmla="*/ 429210 w 2427462"/>
              <a:gd name="connsiteY34" fmla="*/ 940764 h 1248656"/>
              <a:gd name="connsiteX35" fmla="*/ 781246 w 2427462"/>
              <a:gd name="connsiteY35" fmla="*/ 1193856 h 1248656"/>
              <a:gd name="connsiteX36" fmla="*/ 816459 w 2427462"/>
              <a:gd name="connsiteY36" fmla="*/ 1222778 h 1248656"/>
              <a:gd name="connsiteX37" fmla="*/ 851671 w 2427462"/>
              <a:gd name="connsiteY37" fmla="*/ 1193856 h 1248656"/>
              <a:gd name="connsiteX38" fmla="*/ 1171281 w 2427462"/>
              <a:gd name="connsiteY38" fmla="*/ 941999 h 1248656"/>
              <a:gd name="connsiteX39" fmla="*/ 1243084 w 2427462"/>
              <a:gd name="connsiteY39" fmla="*/ 942775 h 1248656"/>
              <a:gd name="connsiteX40" fmla="*/ 1559449 w 2427462"/>
              <a:gd name="connsiteY40" fmla="*/ 1216603 h 1248656"/>
              <a:gd name="connsiteX41" fmla="*/ 1595149 w 2427462"/>
              <a:gd name="connsiteY41" fmla="*/ 1248656 h 1248656"/>
              <a:gd name="connsiteX42" fmla="*/ 1606207 w 2427462"/>
              <a:gd name="connsiteY42" fmla="*/ 1248656 h 1248656"/>
              <a:gd name="connsiteX43" fmla="*/ 1641907 w 2427462"/>
              <a:gd name="connsiteY43" fmla="*/ 1216603 h 1248656"/>
              <a:gd name="connsiteX44" fmla="*/ 1997706 w 2427462"/>
              <a:gd name="connsiteY44" fmla="*/ 940793 h 1248656"/>
              <a:gd name="connsiteX45" fmla="*/ 2353447 w 2427462"/>
              <a:gd name="connsiteY45" fmla="*/ 1216603 h 1248656"/>
              <a:gd name="connsiteX46" fmla="*/ 2389148 w 2427462"/>
              <a:gd name="connsiteY46" fmla="*/ 1248656 h 1248656"/>
              <a:gd name="connsiteX47" fmla="*/ 2390986 w 2427462"/>
              <a:gd name="connsiteY47" fmla="*/ 1248656 h 1248656"/>
              <a:gd name="connsiteX48" fmla="*/ 2391560 w 2427462"/>
              <a:gd name="connsiteY48" fmla="*/ 1248656 h 1248656"/>
              <a:gd name="connsiteX49" fmla="*/ 2427462 w 2427462"/>
              <a:gd name="connsiteY49" fmla="*/ 1212755 h 1248656"/>
              <a:gd name="connsiteX50" fmla="*/ 2426859 w 2427462"/>
              <a:gd name="connsiteY50" fmla="*/ 1206235 h 1248656"/>
              <a:gd name="connsiteX51" fmla="*/ 88978 w 2427462"/>
              <a:gd name="connsiteY51" fmla="*/ 1014664 h 1248656"/>
              <a:gd name="connsiteX52" fmla="*/ 920889 w 2427462"/>
              <a:gd name="connsiteY52" fmla="*/ 109256 h 1248656"/>
              <a:gd name="connsiteX53" fmla="*/ 393050 w 2427462"/>
              <a:gd name="connsiteY53" fmla="*/ 870828 h 1248656"/>
              <a:gd name="connsiteX54" fmla="*/ 88978 w 2427462"/>
              <a:gd name="connsiteY54" fmla="*/ 1014664 h 1248656"/>
              <a:gd name="connsiteX55" fmla="*/ 467237 w 2427462"/>
              <a:gd name="connsiteY55" fmla="*/ 870598 h 1248656"/>
              <a:gd name="connsiteX56" fmla="*/ 1122800 w 2427462"/>
              <a:gd name="connsiteY56" fmla="*/ 102276 h 1248656"/>
              <a:gd name="connsiteX57" fmla="*/ 790409 w 2427462"/>
              <a:gd name="connsiteY57" fmla="*/ 1041834 h 1248656"/>
              <a:gd name="connsiteX58" fmla="*/ 467237 w 2427462"/>
              <a:gd name="connsiteY58" fmla="*/ 870598 h 1248656"/>
              <a:gd name="connsiteX59" fmla="*/ 863217 w 2427462"/>
              <a:gd name="connsiteY59" fmla="*/ 1015755 h 1248656"/>
              <a:gd name="connsiteX60" fmla="*/ 1171281 w 2427462"/>
              <a:gd name="connsiteY60" fmla="*/ 156617 h 1248656"/>
              <a:gd name="connsiteX61" fmla="*/ 1171281 w 2427462"/>
              <a:gd name="connsiteY61" fmla="*/ 870081 h 1248656"/>
              <a:gd name="connsiteX62" fmla="*/ 863217 w 2427462"/>
              <a:gd name="connsiteY62" fmla="*/ 1015755 h 1248656"/>
              <a:gd name="connsiteX63" fmla="*/ 1243084 w 2427462"/>
              <a:gd name="connsiteY63" fmla="*/ 870713 h 1248656"/>
              <a:gd name="connsiteX64" fmla="*/ 1243084 w 2427462"/>
              <a:gd name="connsiteY64" fmla="*/ 146048 h 1248656"/>
              <a:gd name="connsiteX65" fmla="*/ 1560368 w 2427462"/>
              <a:gd name="connsiteY65" fmla="*/ 1035085 h 1248656"/>
              <a:gd name="connsiteX66" fmla="*/ 1243084 w 2427462"/>
              <a:gd name="connsiteY66" fmla="*/ 870713 h 1248656"/>
              <a:gd name="connsiteX67" fmla="*/ 1632659 w 2427462"/>
              <a:gd name="connsiteY67" fmla="*/ 1046372 h 1248656"/>
              <a:gd name="connsiteX68" fmla="*/ 1300096 w 2427462"/>
              <a:gd name="connsiteY68" fmla="*/ 102276 h 1248656"/>
              <a:gd name="connsiteX69" fmla="*/ 1955744 w 2427462"/>
              <a:gd name="connsiteY69" fmla="*/ 870972 h 1248656"/>
              <a:gd name="connsiteX70" fmla="*/ 1632659 w 2427462"/>
              <a:gd name="connsiteY70" fmla="*/ 1046372 h 1248656"/>
              <a:gd name="connsiteX71" fmla="*/ 2029759 w 2427462"/>
              <a:gd name="connsiteY71" fmla="*/ 870627 h 1248656"/>
              <a:gd name="connsiteX72" fmla="*/ 1498789 w 2427462"/>
              <a:gd name="connsiteY72" fmla="*/ 107446 h 1248656"/>
              <a:gd name="connsiteX73" fmla="*/ 2337909 w 2427462"/>
              <a:gd name="connsiteY73" fmla="*/ 1014664 h 1248656"/>
              <a:gd name="connsiteX74" fmla="*/ 2029759 w 2427462"/>
              <a:gd name="connsiteY74" fmla="*/ 870627 h 1248656"/>
              <a:gd name="connsiteX0" fmla="*/ 2426859 w 2427462"/>
              <a:gd name="connsiteY0" fmla="*/ 1206235 h 1248656"/>
              <a:gd name="connsiteX1" fmla="*/ 2275440 w 2427462"/>
              <a:gd name="connsiteY1" fmla="*/ 626353 h 1248656"/>
              <a:gd name="connsiteX2" fmla="*/ 2203637 w 2427462"/>
              <a:gd name="connsiteY2" fmla="*/ 512617 h 1248656"/>
              <a:gd name="connsiteX3" fmla="*/ 2122988 w 2427462"/>
              <a:gd name="connsiteY3" fmla="*/ 410800 h 1248656"/>
              <a:gd name="connsiteX4" fmla="*/ 2051185 w 2427462"/>
              <a:gd name="connsiteY4" fmla="*/ 336096 h 1248656"/>
              <a:gd name="connsiteX5" fmla="*/ 1956204 w 2427462"/>
              <a:gd name="connsiteY5" fmla="*/ 254183 h 1248656"/>
              <a:gd name="connsiteX6" fmla="*/ 1884401 w 2427462"/>
              <a:gd name="connsiteY6" fmla="*/ 202226 h 1248656"/>
              <a:gd name="connsiteX7" fmla="*/ 1814350 w 2427462"/>
              <a:gd name="connsiteY7" fmla="*/ 159144 h 1248656"/>
              <a:gd name="connsiteX8" fmla="*/ 1742546 w 2427462"/>
              <a:gd name="connsiteY8" fmla="*/ 73239 h 1248656"/>
              <a:gd name="connsiteX9" fmla="*/ 1742546 w 2427462"/>
              <a:gd name="connsiteY9" fmla="*/ 120916 h 1248656"/>
              <a:gd name="connsiteX10" fmla="*/ 1684616 w 2427462"/>
              <a:gd name="connsiteY10" fmla="*/ 94493 h 1248656"/>
              <a:gd name="connsiteX11" fmla="*/ 1612813 w 2427462"/>
              <a:gd name="connsiteY11" fmla="*/ 39664 h 1248656"/>
              <a:gd name="connsiteX12" fmla="*/ 1612813 w 2427462"/>
              <a:gd name="connsiteY12" fmla="*/ 67093 h 1248656"/>
              <a:gd name="connsiteX13" fmla="*/ 1543795 w 2427462"/>
              <a:gd name="connsiteY13" fmla="*/ 45351 h 1248656"/>
              <a:gd name="connsiteX14" fmla="*/ 1471992 w 2427462"/>
              <a:gd name="connsiteY14" fmla="*/ 27257 h 1248656"/>
              <a:gd name="connsiteX15" fmla="*/ 1243084 w 2427462"/>
              <a:gd name="connsiteY15" fmla="*/ 0 h 1248656"/>
              <a:gd name="connsiteX16" fmla="*/ 1171281 w 2427462"/>
              <a:gd name="connsiteY16" fmla="*/ 316 h 1248656"/>
              <a:gd name="connsiteX17" fmla="*/ 958973 w 2427462"/>
              <a:gd name="connsiteY17" fmla="*/ 26309 h 1248656"/>
              <a:gd name="connsiteX18" fmla="*/ 887170 w 2427462"/>
              <a:gd name="connsiteY18" fmla="*/ 44173 h 1248656"/>
              <a:gd name="connsiteX19" fmla="*/ 817493 w 2427462"/>
              <a:gd name="connsiteY19" fmla="*/ 65944 h 1248656"/>
              <a:gd name="connsiteX20" fmla="*/ 745690 w 2427462"/>
              <a:gd name="connsiteY20" fmla="*/ 93143 h 1248656"/>
              <a:gd name="connsiteX21" fmla="*/ 687156 w 2427462"/>
              <a:gd name="connsiteY21" fmla="*/ 119452 h 1248656"/>
              <a:gd name="connsiteX22" fmla="*/ 615353 w 2427462"/>
              <a:gd name="connsiteY22" fmla="*/ 157536 h 1248656"/>
              <a:gd name="connsiteX23" fmla="*/ 544641 w 2427462"/>
              <a:gd name="connsiteY23" fmla="*/ 200905 h 1248656"/>
              <a:gd name="connsiteX24" fmla="*/ 472838 w 2427462"/>
              <a:gd name="connsiteY24" fmla="*/ 252460 h 1248656"/>
              <a:gd name="connsiteX25" fmla="*/ 377110 w 2427462"/>
              <a:gd name="connsiteY25" fmla="*/ 334746 h 1248656"/>
              <a:gd name="connsiteX26" fmla="*/ 305307 w 2427462"/>
              <a:gd name="connsiteY26" fmla="*/ 409105 h 1248656"/>
              <a:gd name="connsiteX27" fmla="*/ 223940 w 2427462"/>
              <a:gd name="connsiteY27" fmla="*/ 511640 h 1248656"/>
              <a:gd name="connsiteX28" fmla="*/ 152136 w 2427462"/>
              <a:gd name="connsiteY28" fmla="*/ 623940 h 1248656"/>
              <a:gd name="connsiteX29" fmla="*/ 152912 w 2427462"/>
              <a:gd name="connsiteY29" fmla="*/ 623940 h 1248656"/>
              <a:gd name="connsiteX30" fmla="*/ 0 w 2427462"/>
              <a:gd name="connsiteY30" fmla="*/ 1212726 h 1248656"/>
              <a:gd name="connsiteX31" fmla="*/ 37740 w 2427462"/>
              <a:gd name="connsiteY31" fmla="*/ 1248627 h 1248656"/>
              <a:gd name="connsiteX32" fmla="*/ 73440 w 2427462"/>
              <a:gd name="connsiteY32" fmla="*/ 1216574 h 1248656"/>
              <a:gd name="connsiteX33" fmla="*/ 429210 w 2427462"/>
              <a:gd name="connsiteY33" fmla="*/ 940764 h 1248656"/>
              <a:gd name="connsiteX34" fmla="*/ 781246 w 2427462"/>
              <a:gd name="connsiteY34" fmla="*/ 1193856 h 1248656"/>
              <a:gd name="connsiteX35" fmla="*/ 816459 w 2427462"/>
              <a:gd name="connsiteY35" fmla="*/ 1222778 h 1248656"/>
              <a:gd name="connsiteX36" fmla="*/ 851671 w 2427462"/>
              <a:gd name="connsiteY36" fmla="*/ 1193856 h 1248656"/>
              <a:gd name="connsiteX37" fmla="*/ 1171281 w 2427462"/>
              <a:gd name="connsiteY37" fmla="*/ 941999 h 1248656"/>
              <a:gd name="connsiteX38" fmla="*/ 1243084 w 2427462"/>
              <a:gd name="connsiteY38" fmla="*/ 942775 h 1248656"/>
              <a:gd name="connsiteX39" fmla="*/ 1559449 w 2427462"/>
              <a:gd name="connsiteY39" fmla="*/ 1216603 h 1248656"/>
              <a:gd name="connsiteX40" fmla="*/ 1595149 w 2427462"/>
              <a:gd name="connsiteY40" fmla="*/ 1248656 h 1248656"/>
              <a:gd name="connsiteX41" fmla="*/ 1606207 w 2427462"/>
              <a:gd name="connsiteY41" fmla="*/ 1248656 h 1248656"/>
              <a:gd name="connsiteX42" fmla="*/ 1641907 w 2427462"/>
              <a:gd name="connsiteY42" fmla="*/ 1216603 h 1248656"/>
              <a:gd name="connsiteX43" fmla="*/ 1997706 w 2427462"/>
              <a:gd name="connsiteY43" fmla="*/ 940793 h 1248656"/>
              <a:gd name="connsiteX44" fmla="*/ 2353447 w 2427462"/>
              <a:gd name="connsiteY44" fmla="*/ 1216603 h 1248656"/>
              <a:gd name="connsiteX45" fmla="*/ 2389148 w 2427462"/>
              <a:gd name="connsiteY45" fmla="*/ 1248656 h 1248656"/>
              <a:gd name="connsiteX46" fmla="*/ 2390986 w 2427462"/>
              <a:gd name="connsiteY46" fmla="*/ 1248656 h 1248656"/>
              <a:gd name="connsiteX47" fmla="*/ 2391560 w 2427462"/>
              <a:gd name="connsiteY47" fmla="*/ 1248656 h 1248656"/>
              <a:gd name="connsiteX48" fmla="*/ 2427462 w 2427462"/>
              <a:gd name="connsiteY48" fmla="*/ 1212755 h 1248656"/>
              <a:gd name="connsiteX49" fmla="*/ 2426859 w 2427462"/>
              <a:gd name="connsiteY49" fmla="*/ 1206235 h 1248656"/>
              <a:gd name="connsiteX50" fmla="*/ 88978 w 2427462"/>
              <a:gd name="connsiteY50" fmla="*/ 1014664 h 1248656"/>
              <a:gd name="connsiteX51" fmla="*/ 920889 w 2427462"/>
              <a:gd name="connsiteY51" fmla="*/ 109256 h 1248656"/>
              <a:gd name="connsiteX52" fmla="*/ 393050 w 2427462"/>
              <a:gd name="connsiteY52" fmla="*/ 870828 h 1248656"/>
              <a:gd name="connsiteX53" fmla="*/ 88978 w 2427462"/>
              <a:gd name="connsiteY53" fmla="*/ 1014664 h 1248656"/>
              <a:gd name="connsiteX54" fmla="*/ 467237 w 2427462"/>
              <a:gd name="connsiteY54" fmla="*/ 870598 h 1248656"/>
              <a:gd name="connsiteX55" fmla="*/ 1122800 w 2427462"/>
              <a:gd name="connsiteY55" fmla="*/ 102276 h 1248656"/>
              <a:gd name="connsiteX56" fmla="*/ 790409 w 2427462"/>
              <a:gd name="connsiteY56" fmla="*/ 1041834 h 1248656"/>
              <a:gd name="connsiteX57" fmla="*/ 467237 w 2427462"/>
              <a:gd name="connsiteY57" fmla="*/ 870598 h 1248656"/>
              <a:gd name="connsiteX58" fmla="*/ 863217 w 2427462"/>
              <a:gd name="connsiteY58" fmla="*/ 1015755 h 1248656"/>
              <a:gd name="connsiteX59" fmla="*/ 1171281 w 2427462"/>
              <a:gd name="connsiteY59" fmla="*/ 156617 h 1248656"/>
              <a:gd name="connsiteX60" fmla="*/ 1171281 w 2427462"/>
              <a:gd name="connsiteY60" fmla="*/ 870081 h 1248656"/>
              <a:gd name="connsiteX61" fmla="*/ 863217 w 2427462"/>
              <a:gd name="connsiteY61" fmla="*/ 1015755 h 1248656"/>
              <a:gd name="connsiteX62" fmla="*/ 1243084 w 2427462"/>
              <a:gd name="connsiteY62" fmla="*/ 870713 h 1248656"/>
              <a:gd name="connsiteX63" fmla="*/ 1243084 w 2427462"/>
              <a:gd name="connsiteY63" fmla="*/ 146048 h 1248656"/>
              <a:gd name="connsiteX64" fmla="*/ 1560368 w 2427462"/>
              <a:gd name="connsiteY64" fmla="*/ 1035085 h 1248656"/>
              <a:gd name="connsiteX65" fmla="*/ 1243084 w 2427462"/>
              <a:gd name="connsiteY65" fmla="*/ 870713 h 1248656"/>
              <a:gd name="connsiteX66" fmla="*/ 1632659 w 2427462"/>
              <a:gd name="connsiteY66" fmla="*/ 1046372 h 1248656"/>
              <a:gd name="connsiteX67" fmla="*/ 1300096 w 2427462"/>
              <a:gd name="connsiteY67" fmla="*/ 102276 h 1248656"/>
              <a:gd name="connsiteX68" fmla="*/ 1955744 w 2427462"/>
              <a:gd name="connsiteY68" fmla="*/ 870972 h 1248656"/>
              <a:gd name="connsiteX69" fmla="*/ 1632659 w 2427462"/>
              <a:gd name="connsiteY69" fmla="*/ 1046372 h 1248656"/>
              <a:gd name="connsiteX70" fmla="*/ 2029759 w 2427462"/>
              <a:gd name="connsiteY70" fmla="*/ 870627 h 1248656"/>
              <a:gd name="connsiteX71" fmla="*/ 1498789 w 2427462"/>
              <a:gd name="connsiteY71" fmla="*/ 107446 h 1248656"/>
              <a:gd name="connsiteX72" fmla="*/ 2337909 w 2427462"/>
              <a:gd name="connsiteY72" fmla="*/ 1014664 h 1248656"/>
              <a:gd name="connsiteX73" fmla="*/ 2029759 w 2427462"/>
              <a:gd name="connsiteY73" fmla="*/ 870627 h 1248656"/>
              <a:gd name="connsiteX0" fmla="*/ 2426859 w 2427462"/>
              <a:gd name="connsiteY0" fmla="*/ 1206235 h 1248656"/>
              <a:gd name="connsiteX1" fmla="*/ 2275440 w 2427462"/>
              <a:gd name="connsiteY1" fmla="*/ 626353 h 1248656"/>
              <a:gd name="connsiteX2" fmla="*/ 2203637 w 2427462"/>
              <a:gd name="connsiteY2" fmla="*/ 512617 h 1248656"/>
              <a:gd name="connsiteX3" fmla="*/ 2122988 w 2427462"/>
              <a:gd name="connsiteY3" fmla="*/ 410800 h 1248656"/>
              <a:gd name="connsiteX4" fmla="*/ 2051185 w 2427462"/>
              <a:gd name="connsiteY4" fmla="*/ 336096 h 1248656"/>
              <a:gd name="connsiteX5" fmla="*/ 1956204 w 2427462"/>
              <a:gd name="connsiteY5" fmla="*/ 254183 h 1248656"/>
              <a:gd name="connsiteX6" fmla="*/ 1884401 w 2427462"/>
              <a:gd name="connsiteY6" fmla="*/ 202226 h 1248656"/>
              <a:gd name="connsiteX7" fmla="*/ 1814350 w 2427462"/>
              <a:gd name="connsiteY7" fmla="*/ 159144 h 1248656"/>
              <a:gd name="connsiteX8" fmla="*/ 1742546 w 2427462"/>
              <a:gd name="connsiteY8" fmla="*/ 120916 h 1248656"/>
              <a:gd name="connsiteX9" fmla="*/ 1684616 w 2427462"/>
              <a:gd name="connsiteY9" fmla="*/ 94493 h 1248656"/>
              <a:gd name="connsiteX10" fmla="*/ 1612813 w 2427462"/>
              <a:gd name="connsiteY10" fmla="*/ 39664 h 1248656"/>
              <a:gd name="connsiteX11" fmla="*/ 1612813 w 2427462"/>
              <a:gd name="connsiteY11" fmla="*/ 67093 h 1248656"/>
              <a:gd name="connsiteX12" fmla="*/ 1543795 w 2427462"/>
              <a:gd name="connsiteY12" fmla="*/ 45351 h 1248656"/>
              <a:gd name="connsiteX13" fmla="*/ 1471992 w 2427462"/>
              <a:gd name="connsiteY13" fmla="*/ 27257 h 1248656"/>
              <a:gd name="connsiteX14" fmla="*/ 1243084 w 2427462"/>
              <a:gd name="connsiteY14" fmla="*/ 0 h 1248656"/>
              <a:gd name="connsiteX15" fmla="*/ 1171281 w 2427462"/>
              <a:gd name="connsiteY15" fmla="*/ 316 h 1248656"/>
              <a:gd name="connsiteX16" fmla="*/ 958973 w 2427462"/>
              <a:gd name="connsiteY16" fmla="*/ 26309 h 1248656"/>
              <a:gd name="connsiteX17" fmla="*/ 887170 w 2427462"/>
              <a:gd name="connsiteY17" fmla="*/ 44173 h 1248656"/>
              <a:gd name="connsiteX18" fmla="*/ 817493 w 2427462"/>
              <a:gd name="connsiteY18" fmla="*/ 65944 h 1248656"/>
              <a:gd name="connsiteX19" fmla="*/ 745690 w 2427462"/>
              <a:gd name="connsiteY19" fmla="*/ 93143 h 1248656"/>
              <a:gd name="connsiteX20" fmla="*/ 687156 w 2427462"/>
              <a:gd name="connsiteY20" fmla="*/ 119452 h 1248656"/>
              <a:gd name="connsiteX21" fmla="*/ 615353 w 2427462"/>
              <a:gd name="connsiteY21" fmla="*/ 157536 h 1248656"/>
              <a:gd name="connsiteX22" fmla="*/ 544641 w 2427462"/>
              <a:gd name="connsiteY22" fmla="*/ 200905 h 1248656"/>
              <a:gd name="connsiteX23" fmla="*/ 472838 w 2427462"/>
              <a:gd name="connsiteY23" fmla="*/ 252460 h 1248656"/>
              <a:gd name="connsiteX24" fmla="*/ 377110 w 2427462"/>
              <a:gd name="connsiteY24" fmla="*/ 334746 h 1248656"/>
              <a:gd name="connsiteX25" fmla="*/ 305307 w 2427462"/>
              <a:gd name="connsiteY25" fmla="*/ 409105 h 1248656"/>
              <a:gd name="connsiteX26" fmla="*/ 223940 w 2427462"/>
              <a:gd name="connsiteY26" fmla="*/ 511640 h 1248656"/>
              <a:gd name="connsiteX27" fmla="*/ 152136 w 2427462"/>
              <a:gd name="connsiteY27" fmla="*/ 623940 h 1248656"/>
              <a:gd name="connsiteX28" fmla="*/ 152912 w 2427462"/>
              <a:gd name="connsiteY28" fmla="*/ 623940 h 1248656"/>
              <a:gd name="connsiteX29" fmla="*/ 0 w 2427462"/>
              <a:gd name="connsiteY29" fmla="*/ 1212726 h 1248656"/>
              <a:gd name="connsiteX30" fmla="*/ 37740 w 2427462"/>
              <a:gd name="connsiteY30" fmla="*/ 1248627 h 1248656"/>
              <a:gd name="connsiteX31" fmla="*/ 73440 w 2427462"/>
              <a:gd name="connsiteY31" fmla="*/ 1216574 h 1248656"/>
              <a:gd name="connsiteX32" fmla="*/ 429210 w 2427462"/>
              <a:gd name="connsiteY32" fmla="*/ 940764 h 1248656"/>
              <a:gd name="connsiteX33" fmla="*/ 781246 w 2427462"/>
              <a:gd name="connsiteY33" fmla="*/ 1193856 h 1248656"/>
              <a:gd name="connsiteX34" fmla="*/ 816459 w 2427462"/>
              <a:gd name="connsiteY34" fmla="*/ 1222778 h 1248656"/>
              <a:gd name="connsiteX35" fmla="*/ 851671 w 2427462"/>
              <a:gd name="connsiteY35" fmla="*/ 1193856 h 1248656"/>
              <a:gd name="connsiteX36" fmla="*/ 1171281 w 2427462"/>
              <a:gd name="connsiteY36" fmla="*/ 941999 h 1248656"/>
              <a:gd name="connsiteX37" fmla="*/ 1243084 w 2427462"/>
              <a:gd name="connsiteY37" fmla="*/ 942775 h 1248656"/>
              <a:gd name="connsiteX38" fmla="*/ 1559449 w 2427462"/>
              <a:gd name="connsiteY38" fmla="*/ 1216603 h 1248656"/>
              <a:gd name="connsiteX39" fmla="*/ 1595149 w 2427462"/>
              <a:gd name="connsiteY39" fmla="*/ 1248656 h 1248656"/>
              <a:gd name="connsiteX40" fmla="*/ 1606207 w 2427462"/>
              <a:gd name="connsiteY40" fmla="*/ 1248656 h 1248656"/>
              <a:gd name="connsiteX41" fmla="*/ 1641907 w 2427462"/>
              <a:gd name="connsiteY41" fmla="*/ 1216603 h 1248656"/>
              <a:gd name="connsiteX42" fmla="*/ 1997706 w 2427462"/>
              <a:gd name="connsiteY42" fmla="*/ 940793 h 1248656"/>
              <a:gd name="connsiteX43" fmla="*/ 2353447 w 2427462"/>
              <a:gd name="connsiteY43" fmla="*/ 1216603 h 1248656"/>
              <a:gd name="connsiteX44" fmla="*/ 2389148 w 2427462"/>
              <a:gd name="connsiteY44" fmla="*/ 1248656 h 1248656"/>
              <a:gd name="connsiteX45" fmla="*/ 2390986 w 2427462"/>
              <a:gd name="connsiteY45" fmla="*/ 1248656 h 1248656"/>
              <a:gd name="connsiteX46" fmla="*/ 2391560 w 2427462"/>
              <a:gd name="connsiteY46" fmla="*/ 1248656 h 1248656"/>
              <a:gd name="connsiteX47" fmla="*/ 2427462 w 2427462"/>
              <a:gd name="connsiteY47" fmla="*/ 1212755 h 1248656"/>
              <a:gd name="connsiteX48" fmla="*/ 2426859 w 2427462"/>
              <a:gd name="connsiteY48" fmla="*/ 1206235 h 1248656"/>
              <a:gd name="connsiteX49" fmla="*/ 88978 w 2427462"/>
              <a:gd name="connsiteY49" fmla="*/ 1014664 h 1248656"/>
              <a:gd name="connsiteX50" fmla="*/ 920889 w 2427462"/>
              <a:gd name="connsiteY50" fmla="*/ 109256 h 1248656"/>
              <a:gd name="connsiteX51" fmla="*/ 393050 w 2427462"/>
              <a:gd name="connsiteY51" fmla="*/ 870828 h 1248656"/>
              <a:gd name="connsiteX52" fmla="*/ 88978 w 2427462"/>
              <a:gd name="connsiteY52" fmla="*/ 1014664 h 1248656"/>
              <a:gd name="connsiteX53" fmla="*/ 467237 w 2427462"/>
              <a:gd name="connsiteY53" fmla="*/ 870598 h 1248656"/>
              <a:gd name="connsiteX54" fmla="*/ 1122800 w 2427462"/>
              <a:gd name="connsiteY54" fmla="*/ 102276 h 1248656"/>
              <a:gd name="connsiteX55" fmla="*/ 790409 w 2427462"/>
              <a:gd name="connsiteY55" fmla="*/ 1041834 h 1248656"/>
              <a:gd name="connsiteX56" fmla="*/ 467237 w 2427462"/>
              <a:gd name="connsiteY56" fmla="*/ 870598 h 1248656"/>
              <a:gd name="connsiteX57" fmla="*/ 863217 w 2427462"/>
              <a:gd name="connsiteY57" fmla="*/ 1015755 h 1248656"/>
              <a:gd name="connsiteX58" fmla="*/ 1171281 w 2427462"/>
              <a:gd name="connsiteY58" fmla="*/ 156617 h 1248656"/>
              <a:gd name="connsiteX59" fmla="*/ 1171281 w 2427462"/>
              <a:gd name="connsiteY59" fmla="*/ 870081 h 1248656"/>
              <a:gd name="connsiteX60" fmla="*/ 863217 w 2427462"/>
              <a:gd name="connsiteY60" fmla="*/ 1015755 h 1248656"/>
              <a:gd name="connsiteX61" fmla="*/ 1243084 w 2427462"/>
              <a:gd name="connsiteY61" fmla="*/ 870713 h 1248656"/>
              <a:gd name="connsiteX62" fmla="*/ 1243084 w 2427462"/>
              <a:gd name="connsiteY62" fmla="*/ 146048 h 1248656"/>
              <a:gd name="connsiteX63" fmla="*/ 1560368 w 2427462"/>
              <a:gd name="connsiteY63" fmla="*/ 1035085 h 1248656"/>
              <a:gd name="connsiteX64" fmla="*/ 1243084 w 2427462"/>
              <a:gd name="connsiteY64" fmla="*/ 870713 h 1248656"/>
              <a:gd name="connsiteX65" fmla="*/ 1632659 w 2427462"/>
              <a:gd name="connsiteY65" fmla="*/ 1046372 h 1248656"/>
              <a:gd name="connsiteX66" fmla="*/ 1300096 w 2427462"/>
              <a:gd name="connsiteY66" fmla="*/ 102276 h 1248656"/>
              <a:gd name="connsiteX67" fmla="*/ 1955744 w 2427462"/>
              <a:gd name="connsiteY67" fmla="*/ 870972 h 1248656"/>
              <a:gd name="connsiteX68" fmla="*/ 1632659 w 2427462"/>
              <a:gd name="connsiteY68" fmla="*/ 1046372 h 1248656"/>
              <a:gd name="connsiteX69" fmla="*/ 2029759 w 2427462"/>
              <a:gd name="connsiteY69" fmla="*/ 870627 h 1248656"/>
              <a:gd name="connsiteX70" fmla="*/ 1498789 w 2427462"/>
              <a:gd name="connsiteY70" fmla="*/ 107446 h 1248656"/>
              <a:gd name="connsiteX71" fmla="*/ 2337909 w 2427462"/>
              <a:gd name="connsiteY71" fmla="*/ 1014664 h 1248656"/>
              <a:gd name="connsiteX72" fmla="*/ 2029759 w 2427462"/>
              <a:gd name="connsiteY72" fmla="*/ 870627 h 1248656"/>
              <a:gd name="connsiteX0" fmla="*/ 2426859 w 2427462"/>
              <a:gd name="connsiteY0" fmla="*/ 1206235 h 1248656"/>
              <a:gd name="connsiteX1" fmla="*/ 2275440 w 2427462"/>
              <a:gd name="connsiteY1" fmla="*/ 626353 h 1248656"/>
              <a:gd name="connsiteX2" fmla="*/ 2203637 w 2427462"/>
              <a:gd name="connsiteY2" fmla="*/ 512617 h 1248656"/>
              <a:gd name="connsiteX3" fmla="*/ 2122988 w 2427462"/>
              <a:gd name="connsiteY3" fmla="*/ 410800 h 1248656"/>
              <a:gd name="connsiteX4" fmla="*/ 2051185 w 2427462"/>
              <a:gd name="connsiteY4" fmla="*/ 336096 h 1248656"/>
              <a:gd name="connsiteX5" fmla="*/ 1956204 w 2427462"/>
              <a:gd name="connsiteY5" fmla="*/ 254183 h 1248656"/>
              <a:gd name="connsiteX6" fmla="*/ 1884401 w 2427462"/>
              <a:gd name="connsiteY6" fmla="*/ 202226 h 1248656"/>
              <a:gd name="connsiteX7" fmla="*/ 1814350 w 2427462"/>
              <a:gd name="connsiteY7" fmla="*/ 159144 h 1248656"/>
              <a:gd name="connsiteX8" fmla="*/ 1742546 w 2427462"/>
              <a:gd name="connsiteY8" fmla="*/ 120916 h 1248656"/>
              <a:gd name="connsiteX9" fmla="*/ 1684616 w 2427462"/>
              <a:gd name="connsiteY9" fmla="*/ 94493 h 1248656"/>
              <a:gd name="connsiteX10" fmla="*/ 1612813 w 2427462"/>
              <a:gd name="connsiteY10" fmla="*/ 67093 h 1248656"/>
              <a:gd name="connsiteX11" fmla="*/ 1543795 w 2427462"/>
              <a:gd name="connsiteY11" fmla="*/ 45351 h 1248656"/>
              <a:gd name="connsiteX12" fmla="*/ 1471992 w 2427462"/>
              <a:gd name="connsiteY12" fmla="*/ 27257 h 1248656"/>
              <a:gd name="connsiteX13" fmla="*/ 1243084 w 2427462"/>
              <a:gd name="connsiteY13" fmla="*/ 0 h 1248656"/>
              <a:gd name="connsiteX14" fmla="*/ 1171281 w 2427462"/>
              <a:gd name="connsiteY14" fmla="*/ 316 h 1248656"/>
              <a:gd name="connsiteX15" fmla="*/ 958973 w 2427462"/>
              <a:gd name="connsiteY15" fmla="*/ 26309 h 1248656"/>
              <a:gd name="connsiteX16" fmla="*/ 887170 w 2427462"/>
              <a:gd name="connsiteY16" fmla="*/ 44173 h 1248656"/>
              <a:gd name="connsiteX17" fmla="*/ 817493 w 2427462"/>
              <a:gd name="connsiteY17" fmla="*/ 65944 h 1248656"/>
              <a:gd name="connsiteX18" fmla="*/ 745690 w 2427462"/>
              <a:gd name="connsiteY18" fmla="*/ 93143 h 1248656"/>
              <a:gd name="connsiteX19" fmla="*/ 687156 w 2427462"/>
              <a:gd name="connsiteY19" fmla="*/ 119452 h 1248656"/>
              <a:gd name="connsiteX20" fmla="*/ 615353 w 2427462"/>
              <a:gd name="connsiteY20" fmla="*/ 157536 h 1248656"/>
              <a:gd name="connsiteX21" fmla="*/ 544641 w 2427462"/>
              <a:gd name="connsiteY21" fmla="*/ 200905 h 1248656"/>
              <a:gd name="connsiteX22" fmla="*/ 472838 w 2427462"/>
              <a:gd name="connsiteY22" fmla="*/ 252460 h 1248656"/>
              <a:gd name="connsiteX23" fmla="*/ 377110 w 2427462"/>
              <a:gd name="connsiteY23" fmla="*/ 334746 h 1248656"/>
              <a:gd name="connsiteX24" fmla="*/ 305307 w 2427462"/>
              <a:gd name="connsiteY24" fmla="*/ 409105 h 1248656"/>
              <a:gd name="connsiteX25" fmla="*/ 223940 w 2427462"/>
              <a:gd name="connsiteY25" fmla="*/ 511640 h 1248656"/>
              <a:gd name="connsiteX26" fmla="*/ 152136 w 2427462"/>
              <a:gd name="connsiteY26" fmla="*/ 623940 h 1248656"/>
              <a:gd name="connsiteX27" fmla="*/ 152912 w 2427462"/>
              <a:gd name="connsiteY27" fmla="*/ 623940 h 1248656"/>
              <a:gd name="connsiteX28" fmla="*/ 0 w 2427462"/>
              <a:gd name="connsiteY28" fmla="*/ 1212726 h 1248656"/>
              <a:gd name="connsiteX29" fmla="*/ 37740 w 2427462"/>
              <a:gd name="connsiteY29" fmla="*/ 1248627 h 1248656"/>
              <a:gd name="connsiteX30" fmla="*/ 73440 w 2427462"/>
              <a:gd name="connsiteY30" fmla="*/ 1216574 h 1248656"/>
              <a:gd name="connsiteX31" fmla="*/ 429210 w 2427462"/>
              <a:gd name="connsiteY31" fmla="*/ 940764 h 1248656"/>
              <a:gd name="connsiteX32" fmla="*/ 781246 w 2427462"/>
              <a:gd name="connsiteY32" fmla="*/ 1193856 h 1248656"/>
              <a:gd name="connsiteX33" fmla="*/ 816459 w 2427462"/>
              <a:gd name="connsiteY33" fmla="*/ 1222778 h 1248656"/>
              <a:gd name="connsiteX34" fmla="*/ 851671 w 2427462"/>
              <a:gd name="connsiteY34" fmla="*/ 1193856 h 1248656"/>
              <a:gd name="connsiteX35" fmla="*/ 1171281 w 2427462"/>
              <a:gd name="connsiteY35" fmla="*/ 941999 h 1248656"/>
              <a:gd name="connsiteX36" fmla="*/ 1243084 w 2427462"/>
              <a:gd name="connsiteY36" fmla="*/ 942775 h 1248656"/>
              <a:gd name="connsiteX37" fmla="*/ 1559449 w 2427462"/>
              <a:gd name="connsiteY37" fmla="*/ 1216603 h 1248656"/>
              <a:gd name="connsiteX38" fmla="*/ 1595149 w 2427462"/>
              <a:gd name="connsiteY38" fmla="*/ 1248656 h 1248656"/>
              <a:gd name="connsiteX39" fmla="*/ 1606207 w 2427462"/>
              <a:gd name="connsiteY39" fmla="*/ 1248656 h 1248656"/>
              <a:gd name="connsiteX40" fmla="*/ 1641907 w 2427462"/>
              <a:gd name="connsiteY40" fmla="*/ 1216603 h 1248656"/>
              <a:gd name="connsiteX41" fmla="*/ 1997706 w 2427462"/>
              <a:gd name="connsiteY41" fmla="*/ 940793 h 1248656"/>
              <a:gd name="connsiteX42" fmla="*/ 2353447 w 2427462"/>
              <a:gd name="connsiteY42" fmla="*/ 1216603 h 1248656"/>
              <a:gd name="connsiteX43" fmla="*/ 2389148 w 2427462"/>
              <a:gd name="connsiteY43" fmla="*/ 1248656 h 1248656"/>
              <a:gd name="connsiteX44" fmla="*/ 2390986 w 2427462"/>
              <a:gd name="connsiteY44" fmla="*/ 1248656 h 1248656"/>
              <a:gd name="connsiteX45" fmla="*/ 2391560 w 2427462"/>
              <a:gd name="connsiteY45" fmla="*/ 1248656 h 1248656"/>
              <a:gd name="connsiteX46" fmla="*/ 2427462 w 2427462"/>
              <a:gd name="connsiteY46" fmla="*/ 1212755 h 1248656"/>
              <a:gd name="connsiteX47" fmla="*/ 2426859 w 2427462"/>
              <a:gd name="connsiteY47" fmla="*/ 1206235 h 1248656"/>
              <a:gd name="connsiteX48" fmla="*/ 88978 w 2427462"/>
              <a:gd name="connsiteY48" fmla="*/ 1014664 h 1248656"/>
              <a:gd name="connsiteX49" fmla="*/ 920889 w 2427462"/>
              <a:gd name="connsiteY49" fmla="*/ 109256 h 1248656"/>
              <a:gd name="connsiteX50" fmla="*/ 393050 w 2427462"/>
              <a:gd name="connsiteY50" fmla="*/ 870828 h 1248656"/>
              <a:gd name="connsiteX51" fmla="*/ 88978 w 2427462"/>
              <a:gd name="connsiteY51" fmla="*/ 1014664 h 1248656"/>
              <a:gd name="connsiteX52" fmla="*/ 467237 w 2427462"/>
              <a:gd name="connsiteY52" fmla="*/ 870598 h 1248656"/>
              <a:gd name="connsiteX53" fmla="*/ 1122800 w 2427462"/>
              <a:gd name="connsiteY53" fmla="*/ 102276 h 1248656"/>
              <a:gd name="connsiteX54" fmla="*/ 790409 w 2427462"/>
              <a:gd name="connsiteY54" fmla="*/ 1041834 h 1248656"/>
              <a:gd name="connsiteX55" fmla="*/ 467237 w 2427462"/>
              <a:gd name="connsiteY55" fmla="*/ 870598 h 1248656"/>
              <a:gd name="connsiteX56" fmla="*/ 863217 w 2427462"/>
              <a:gd name="connsiteY56" fmla="*/ 1015755 h 1248656"/>
              <a:gd name="connsiteX57" fmla="*/ 1171281 w 2427462"/>
              <a:gd name="connsiteY57" fmla="*/ 156617 h 1248656"/>
              <a:gd name="connsiteX58" fmla="*/ 1171281 w 2427462"/>
              <a:gd name="connsiteY58" fmla="*/ 870081 h 1248656"/>
              <a:gd name="connsiteX59" fmla="*/ 863217 w 2427462"/>
              <a:gd name="connsiteY59" fmla="*/ 1015755 h 1248656"/>
              <a:gd name="connsiteX60" fmla="*/ 1243084 w 2427462"/>
              <a:gd name="connsiteY60" fmla="*/ 870713 h 1248656"/>
              <a:gd name="connsiteX61" fmla="*/ 1243084 w 2427462"/>
              <a:gd name="connsiteY61" fmla="*/ 146048 h 1248656"/>
              <a:gd name="connsiteX62" fmla="*/ 1560368 w 2427462"/>
              <a:gd name="connsiteY62" fmla="*/ 1035085 h 1248656"/>
              <a:gd name="connsiteX63" fmla="*/ 1243084 w 2427462"/>
              <a:gd name="connsiteY63" fmla="*/ 870713 h 1248656"/>
              <a:gd name="connsiteX64" fmla="*/ 1632659 w 2427462"/>
              <a:gd name="connsiteY64" fmla="*/ 1046372 h 1248656"/>
              <a:gd name="connsiteX65" fmla="*/ 1300096 w 2427462"/>
              <a:gd name="connsiteY65" fmla="*/ 102276 h 1248656"/>
              <a:gd name="connsiteX66" fmla="*/ 1955744 w 2427462"/>
              <a:gd name="connsiteY66" fmla="*/ 870972 h 1248656"/>
              <a:gd name="connsiteX67" fmla="*/ 1632659 w 2427462"/>
              <a:gd name="connsiteY67" fmla="*/ 1046372 h 1248656"/>
              <a:gd name="connsiteX68" fmla="*/ 2029759 w 2427462"/>
              <a:gd name="connsiteY68" fmla="*/ 870627 h 1248656"/>
              <a:gd name="connsiteX69" fmla="*/ 1498789 w 2427462"/>
              <a:gd name="connsiteY69" fmla="*/ 107446 h 1248656"/>
              <a:gd name="connsiteX70" fmla="*/ 2337909 w 2427462"/>
              <a:gd name="connsiteY70" fmla="*/ 1014664 h 1248656"/>
              <a:gd name="connsiteX71" fmla="*/ 2029759 w 2427462"/>
              <a:gd name="connsiteY71" fmla="*/ 870627 h 124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427462" h="1248656">
                <a:moveTo>
                  <a:pt x="2426859" y="1206235"/>
                </a:moveTo>
                <a:cubicBezTo>
                  <a:pt x="2425767" y="996110"/>
                  <a:pt x="2370852" y="798479"/>
                  <a:pt x="2275440" y="626353"/>
                </a:cubicBezTo>
                <a:lnTo>
                  <a:pt x="2203637" y="512617"/>
                </a:lnTo>
                <a:cubicBezTo>
                  <a:pt x="2178564" y="477232"/>
                  <a:pt x="2151623" y="443255"/>
                  <a:pt x="2122988" y="410800"/>
                </a:cubicBezTo>
                <a:lnTo>
                  <a:pt x="2051185" y="336096"/>
                </a:lnTo>
                <a:cubicBezTo>
                  <a:pt x="2020970" y="307202"/>
                  <a:pt x="1989291" y="279860"/>
                  <a:pt x="1956204" y="254183"/>
                </a:cubicBezTo>
                <a:lnTo>
                  <a:pt x="1884401" y="202226"/>
                </a:lnTo>
                <a:cubicBezTo>
                  <a:pt x="1861625" y="187033"/>
                  <a:pt x="1838188" y="172816"/>
                  <a:pt x="1814350" y="159144"/>
                </a:cubicBezTo>
                <a:lnTo>
                  <a:pt x="1742546" y="120916"/>
                </a:lnTo>
                <a:cubicBezTo>
                  <a:pt x="1723504" y="111640"/>
                  <a:pt x="1704204" y="102765"/>
                  <a:pt x="1684616" y="94493"/>
                </a:cubicBezTo>
                <a:lnTo>
                  <a:pt x="1612813" y="67093"/>
                </a:lnTo>
                <a:cubicBezTo>
                  <a:pt x="1590123" y="59166"/>
                  <a:pt x="1567088" y="51928"/>
                  <a:pt x="1543795" y="45351"/>
                </a:cubicBezTo>
                <a:lnTo>
                  <a:pt x="1471992" y="27257"/>
                </a:lnTo>
                <a:cubicBezTo>
                  <a:pt x="1397978" y="11115"/>
                  <a:pt x="1321436" y="1896"/>
                  <a:pt x="1243084" y="0"/>
                </a:cubicBezTo>
                <a:lnTo>
                  <a:pt x="1171281" y="316"/>
                </a:lnTo>
                <a:cubicBezTo>
                  <a:pt x="1098731" y="2815"/>
                  <a:pt x="1027761" y="11575"/>
                  <a:pt x="958973" y="26309"/>
                </a:cubicBezTo>
                <a:lnTo>
                  <a:pt x="887170" y="44173"/>
                </a:lnTo>
                <a:cubicBezTo>
                  <a:pt x="863648" y="50750"/>
                  <a:pt x="840412" y="57988"/>
                  <a:pt x="817493" y="65944"/>
                </a:cubicBezTo>
                <a:lnTo>
                  <a:pt x="745690" y="93143"/>
                </a:lnTo>
                <a:cubicBezTo>
                  <a:pt x="725929" y="101443"/>
                  <a:pt x="706370" y="110175"/>
                  <a:pt x="687156" y="119452"/>
                </a:cubicBezTo>
                <a:lnTo>
                  <a:pt x="615353" y="157536"/>
                </a:lnTo>
                <a:cubicBezTo>
                  <a:pt x="591284" y="171236"/>
                  <a:pt x="567647" y="185625"/>
                  <a:pt x="544641" y="200905"/>
                </a:cubicBezTo>
                <a:lnTo>
                  <a:pt x="472838" y="252460"/>
                </a:lnTo>
                <a:cubicBezTo>
                  <a:pt x="439492" y="278223"/>
                  <a:pt x="407583" y="305709"/>
                  <a:pt x="377110" y="334746"/>
                </a:cubicBezTo>
                <a:lnTo>
                  <a:pt x="305307" y="409105"/>
                </a:lnTo>
                <a:cubicBezTo>
                  <a:pt x="276384" y="441761"/>
                  <a:pt x="249272" y="476026"/>
                  <a:pt x="223940" y="511640"/>
                </a:cubicBezTo>
                <a:lnTo>
                  <a:pt x="152136" y="623940"/>
                </a:lnTo>
                <a:lnTo>
                  <a:pt x="152912" y="623940"/>
                </a:lnTo>
                <a:cubicBezTo>
                  <a:pt x="55633" y="798451"/>
                  <a:pt x="0" y="999183"/>
                  <a:pt x="0" y="1212726"/>
                </a:cubicBezTo>
                <a:cubicBezTo>
                  <a:pt x="0" y="1232543"/>
                  <a:pt x="17922" y="1248627"/>
                  <a:pt x="37740" y="1248627"/>
                </a:cubicBezTo>
                <a:cubicBezTo>
                  <a:pt x="56093" y="1248627"/>
                  <a:pt x="71487" y="1234812"/>
                  <a:pt x="73440" y="1216574"/>
                </a:cubicBezTo>
                <a:cubicBezTo>
                  <a:pt x="90070" y="1061910"/>
                  <a:pt x="246342" y="940764"/>
                  <a:pt x="429210" y="940764"/>
                </a:cubicBezTo>
                <a:cubicBezTo>
                  <a:pt x="604123" y="940764"/>
                  <a:pt x="752181" y="1047205"/>
                  <a:pt x="781246" y="1193856"/>
                </a:cubicBezTo>
                <a:cubicBezTo>
                  <a:pt x="784578" y="1210658"/>
                  <a:pt x="799312" y="1222778"/>
                  <a:pt x="816459" y="1222778"/>
                </a:cubicBezTo>
                <a:cubicBezTo>
                  <a:pt x="833605" y="1222778"/>
                  <a:pt x="848339" y="1210658"/>
                  <a:pt x="851671" y="1193856"/>
                </a:cubicBezTo>
                <a:cubicBezTo>
                  <a:pt x="878927" y="1056367"/>
                  <a:pt x="1010787" y="954206"/>
                  <a:pt x="1171281" y="941999"/>
                </a:cubicBezTo>
                <a:lnTo>
                  <a:pt x="1243084" y="942775"/>
                </a:lnTo>
                <a:cubicBezTo>
                  <a:pt x="1410787" y="958169"/>
                  <a:pt x="1543767" y="1070642"/>
                  <a:pt x="1559449" y="1216603"/>
                </a:cubicBezTo>
                <a:cubicBezTo>
                  <a:pt x="1561402" y="1234841"/>
                  <a:pt x="1576796" y="1248656"/>
                  <a:pt x="1595149" y="1248656"/>
                </a:cubicBezTo>
                <a:lnTo>
                  <a:pt x="1606207" y="1248656"/>
                </a:lnTo>
                <a:cubicBezTo>
                  <a:pt x="1624560" y="1248656"/>
                  <a:pt x="1639954" y="1234841"/>
                  <a:pt x="1641907" y="1216603"/>
                </a:cubicBezTo>
                <a:cubicBezTo>
                  <a:pt x="1658537" y="1061939"/>
                  <a:pt x="1814838" y="940793"/>
                  <a:pt x="1997706" y="940793"/>
                </a:cubicBezTo>
                <a:cubicBezTo>
                  <a:pt x="2180545" y="940793"/>
                  <a:pt x="2336818" y="1061939"/>
                  <a:pt x="2353447" y="1216603"/>
                </a:cubicBezTo>
                <a:cubicBezTo>
                  <a:pt x="2355400" y="1234841"/>
                  <a:pt x="2370795" y="1248656"/>
                  <a:pt x="2389148" y="1248656"/>
                </a:cubicBezTo>
                <a:lnTo>
                  <a:pt x="2390986" y="1248656"/>
                </a:lnTo>
                <a:lnTo>
                  <a:pt x="2391560" y="1248656"/>
                </a:lnTo>
                <a:cubicBezTo>
                  <a:pt x="2411378" y="1248656"/>
                  <a:pt x="2427462" y="1232572"/>
                  <a:pt x="2427462" y="1212755"/>
                </a:cubicBezTo>
                <a:cubicBezTo>
                  <a:pt x="2427462" y="1210543"/>
                  <a:pt x="2427261" y="1208360"/>
                  <a:pt x="2426859" y="1206235"/>
                </a:cubicBezTo>
                <a:close/>
                <a:moveTo>
                  <a:pt x="88978" y="1014664"/>
                </a:moveTo>
                <a:cubicBezTo>
                  <a:pt x="166124" y="575574"/>
                  <a:pt x="495097" y="222274"/>
                  <a:pt x="920889" y="109256"/>
                </a:cubicBezTo>
                <a:cubicBezTo>
                  <a:pt x="664638" y="252948"/>
                  <a:pt x="469793" y="526891"/>
                  <a:pt x="393050" y="870828"/>
                </a:cubicBezTo>
                <a:cubicBezTo>
                  <a:pt x="269520" y="879760"/>
                  <a:pt x="160552" y="933326"/>
                  <a:pt x="88978" y="1014664"/>
                </a:cubicBezTo>
                <a:close/>
                <a:moveTo>
                  <a:pt x="467237" y="870598"/>
                </a:moveTo>
                <a:cubicBezTo>
                  <a:pt x="558628" y="483350"/>
                  <a:pt x="808015" y="194184"/>
                  <a:pt x="1122800" y="102276"/>
                </a:cubicBezTo>
                <a:cubicBezTo>
                  <a:pt x="867812" y="410743"/>
                  <a:pt x="798996" y="698903"/>
                  <a:pt x="790409" y="1041834"/>
                </a:cubicBezTo>
                <a:cubicBezTo>
                  <a:pt x="720185" y="945733"/>
                  <a:pt x="602026" y="880967"/>
                  <a:pt x="467237" y="870598"/>
                </a:cubicBezTo>
                <a:close/>
                <a:moveTo>
                  <a:pt x="863217" y="1015755"/>
                </a:moveTo>
                <a:cubicBezTo>
                  <a:pt x="874504" y="703843"/>
                  <a:pt x="941913" y="438286"/>
                  <a:pt x="1171281" y="156617"/>
                </a:cubicBezTo>
                <a:lnTo>
                  <a:pt x="1171281" y="870081"/>
                </a:lnTo>
                <a:cubicBezTo>
                  <a:pt x="1046746" y="878209"/>
                  <a:pt x="935853" y="932780"/>
                  <a:pt x="863217" y="1015755"/>
                </a:cubicBezTo>
                <a:close/>
                <a:moveTo>
                  <a:pt x="1243084" y="870713"/>
                </a:moveTo>
                <a:lnTo>
                  <a:pt x="1243084" y="146048"/>
                </a:lnTo>
                <a:cubicBezTo>
                  <a:pt x="1484285" y="437482"/>
                  <a:pt x="1551062" y="710793"/>
                  <a:pt x="1560368" y="1035085"/>
                </a:cubicBezTo>
                <a:cubicBezTo>
                  <a:pt x="1490230" y="943206"/>
                  <a:pt x="1375317" y="881082"/>
                  <a:pt x="1243084" y="870713"/>
                </a:cubicBezTo>
                <a:close/>
                <a:moveTo>
                  <a:pt x="1632659" y="1046372"/>
                </a:moveTo>
                <a:cubicBezTo>
                  <a:pt x="1624560" y="701430"/>
                  <a:pt x="1556232" y="412121"/>
                  <a:pt x="1300096" y="102276"/>
                </a:cubicBezTo>
                <a:cubicBezTo>
                  <a:pt x="1614995" y="194242"/>
                  <a:pt x="1864411" y="483522"/>
                  <a:pt x="1955744" y="870972"/>
                </a:cubicBezTo>
                <a:cubicBezTo>
                  <a:pt x="1819261" y="882403"/>
                  <a:pt x="1701389" y="948950"/>
                  <a:pt x="1632659" y="1046372"/>
                </a:cubicBezTo>
                <a:close/>
                <a:moveTo>
                  <a:pt x="2029759" y="870627"/>
                </a:moveTo>
                <a:cubicBezTo>
                  <a:pt x="1952700" y="525340"/>
                  <a:pt x="1756591" y="250622"/>
                  <a:pt x="1498789" y="107446"/>
                </a:cubicBezTo>
                <a:cubicBezTo>
                  <a:pt x="1928057" y="218339"/>
                  <a:pt x="2260333" y="573104"/>
                  <a:pt x="2337909" y="1014664"/>
                </a:cubicBezTo>
                <a:cubicBezTo>
                  <a:pt x="2265532" y="932435"/>
                  <a:pt x="2154926" y="878640"/>
                  <a:pt x="2029759" y="870627"/>
                </a:cubicBezTo>
                <a:close/>
              </a:path>
            </a:pathLst>
          </a:custGeom>
          <a:solidFill>
            <a:schemeClr val="bg2"/>
          </a:solidFill>
          <a:ln w="28670" cap="flat">
            <a:noFill/>
            <a:prstDash val="solid"/>
            <a:miter/>
          </a:ln>
        </p:spPr>
        <p:txBody>
          <a:bodyPr rtlCol="0" anchor="ctr"/>
          <a:lstStyle/>
          <a:p>
            <a:endParaRPr lang="en-US" dirty="0"/>
          </a:p>
        </p:txBody>
      </p:sp>
      <p:grpSp>
        <p:nvGrpSpPr>
          <p:cNvPr id="282" name="Group 281">
            <a:extLst>
              <a:ext uri="{FF2B5EF4-FFF2-40B4-BE49-F238E27FC236}">
                <a16:creationId xmlns:a16="http://schemas.microsoft.com/office/drawing/2014/main" id="{72B8C521-1869-4807-BEAB-6FDEBA31B9DF}"/>
              </a:ext>
            </a:extLst>
          </p:cNvPr>
          <p:cNvGrpSpPr/>
          <p:nvPr/>
        </p:nvGrpSpPr>
        <p:grpSpPr>
          <a:xfrm>
            <a:off x="7824283" y="1928881"/>
            <a:ext cx="1264145" cy="1282553"/>
            <a:chOff x="7824283" y="1928881"/>
            <a:chExt cx="1264145" cy="1282553"/>
          </a:xfrm>
        </p:grpSpPr>
        <p:sp>
          <p:nvSpPr>
            <p:cNvPr id="283" name="Freeform: Shape 282">
              <a:extLst>
                <a:ext uri="{FF2B5EF4-FFF2-40B4-BE49-F238E27FC236}">
                  <a16:creationId xmlns:a16="http://schemas.microsoft.com/office/drawing/2014/main" id="{30C56425-1FE8-4998-B25B-1F280388908D}"/>
                </a:ext>
              </a:extLst>
            </p:cNvPr>
            <p:cNvSpPr>
              <a:spLocks/>
            </p:cNvSpPr>
            <p:nvPr/>
          </p:nvSpPr>
          <p:spPr bwMode="auto">
            <a:xfrm>
              <a:off x="7824283" y="1928881"/>
              <a:ext cx="1264145" cy="1282553"/>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84" name="Oval 283">
              <a:extLst>
                <a:ext uri="{FF2B5EF4-FFF2-40B4-BE49-F238E27FC236}">
                  <a16:creationId xmlns:a16="http://schemas.microsoft.com/office/drawing/2014/main" id="{0672AEC1-6881-471E-BE0C-D59A43D813D3}"/>
                </a:ext>
              </a:extLst>
            </p:cNvPr>
            <p:cNvSpPr/>
            <p:nvPr/>
          </p:nvSpPr>
          <p:spPr>
            <a:xfrm>
              <a:off x="7939719" y="2053521"/>
              <a:ext cx="1033272" cy="1033272"/>
            </a:xfrm>
            <a:prstGeom prst="ellipse">
              <a:avLst/>
            </a:prstGeom>
            <a:solidFill>
              <a:schemeClr val="tx2">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5" name="Group 284">
              <a:extLst>
                <a:ext uri="{FF2B5EF4-FFF2-40B4-BE49-F238E27FC236}">
                  <a16:creationId xmlns:a16="http://schemas.microsoft.com/office/drawing/2014/main" id="{21E3AFEE-FE2D-4B09-8BA5-8E23A46364CF}"/>
                </a:ext>
              </a:extLst>
            </p:cNvPr>
            <p:cNvGrpSpPr/>
            <p:nvPr/>
          </p:nvGrpSpPr>
          <p:grpSpPr>
            <a:xfrm>
              <a:off x="8098190" y="2243725"/>
              <a:ext cx="708323" cy="693721"/>
              <a:chOff x="6330560" y="3409386"/>
              <a:chExt cx="899461" cy="880919"/>
            </a:xfrm>
          </p:grpSpPr>
          <p:grpSp>
            <p:nvGrpSpPr>
              <p:cNvPr id="286" name="Group 285">
                <a:extLst>
                  <a:ext uri="{FF2B5EF4-FFF2-40B4-BE49-F238E27FC236}">
                    <a16:creationId xmlns:a16="http://schemas.microsoft.com/office/drawing/2014/main" id="{4AEBDCFC-0839-44F7-99DF-0EBA1EEC5982}"/>
                  </a:ext>
                </a:extLst>
              </p:cNvPr>
              <p:cNvGrpSpPr/>
              <p:nvPr/>
            </p:nvGrpSpPr>
            <p:grpSpPr>
              <a:xfrm>
                <a:off x="6371627" y="3409386"/>
                <a:ext cx="858394" cy="846581"/>
                <a:chOff x="6736081" y="-2000249"/>
                <a:chExt cx="1188722" cy="1188718"/>
              </a:xfrm>
              <a:solidFill>
                <a:schemeClr val="bg2"/>
              </a:solidFill>
            </p:grpSpPr>
            <p:sp>
              <p:nvSpPr>
                <p:cNvPr id="289" name="Freeform: Shape 288">
                  <a:extLst>
                    <a:ext uri="{FF2B5EF4-FFF2-40B4-BE49-F238E27FC236}">
                      <a16:creationId xmlns:a16="http://schemas.microsoft.com/office/drawing/2014/main" id="{842772B7-CB89-49E3-BB7A-ECFAF7CEB29D}"/>
                    </a:ext>
                  </a:extLst>
                </p:cNvPr>
                <p:cNvSpPr/>
                <p:nvPr/>
              </p:nvSpPr>
              <p:spPr>
                <a:xfrm>
                  <a:off x="7139942" y="-1592579"/>
                  <a:ext cx="381000" cy="380999"/>
                </a:xfrm>
                <a:custGeom>
                  <a:avLst/>
                  <a:gdLst>
                    <a:gd name="connsiteX0" fmla="*/ 190500 w 381000"/>
                    <a:gd name="connsiteY0" fmla="*/ 380999 h 380999"/>
                    <a:gd name="connsiteX1" fmla="*/ 0 w 381000"/>
                    <a:gd name="connsiteY1" fmla="*/ 190500 h 380999"/>
                    <a:gd name="connsiteX2" fmla="*/ 190500 w 381000"/>
                    <a:gd name="connsiteY2" fmla="*/ 0 h 380999"/>
                    <a:gd name="connsiteX3" fmla="*/ 381001 w 381000"/>
                    <a:gd name="connsiteY3" fmla="*/ 190500 h 380999"/>
                    <a:gd name="connsiteX4" fmla="*/ 190500 w 381000"/>
                    <a:gd name="connsiteY4" fmla="*/ 380999 h 380999"/>
                    <a:gd name="connsiteX5" fmla="*/ 190500 w 381000"/>
                    <a:gd name="connsiteY5" fmla="*/ 38100 h 380999"/>
                    <a:gd name="connsiteX6" fmla="*/ 38100 w 381000"/>
                    <a:gd name="connsiteY6" fmla="*/ 190500 h 380999"/>
                    <a:gd name="connsiteX7" fmla="*/ 190500 w 381000"/>
                    <a:gd name="connsiteY7" fmla="*/ 342900 h 380999"/>
                    <a:gd name="connsiteX8" fmla="*/ 342901 w 381000"/>
                    <a:gd name="connsiteY8" fmla="*/ 190500 h 380999"/>
                    <a:gd name="connsiteX9" fmla="*/ 190500 w 381000"/>
                    <a:gd name="connsiteY9" fmla="*/ 38100 h 38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380999">
                      <a:moveTo>
                        <a:pt x="190500" y="380999"/>
                      </a:moveTo>
                      <a:cubicBezTo>
                        <a:pt x="83820" y="380999"/>
                        <a:pt x="0" y="297180"/>
                        <a:pt x="0" y="190500"/>
                      </a:cubicBezTo>
                      <a:cubicBezTo>
                        <a:pt x="0" y="83820"/>
                        <a:pt x="83820" y="0"/>
                        <a:pt x="190500" y="0"/>
                      </a:cubicBezTo>
                      <a:cubicBezTo>
                        <a:pt x="297180" y="0"/>
                        <a:pt x="381001" y="83820"/>
                        <a:pt x="381001" y="190500"/>
                      </a:cubicBezTo>
                      <a:cubicBezTo>
                        <a:pt x="377191" y="293370"/>
                        <a:pt x="293370" y="380999"/>
                        <a:pt x="190500" y="380999"/>
                      </a:cubicBezTo>
                      <a:close/>
                      <a:moveTo>
                        <a:pt x="190500" y="38100"/>
                      </a:moveTo>
                      <a:cubicBezTo>
                        <a:pt x="106680" y="38100"/>
                        <a:pt x="38100" y="106680"/>
                        <a:pt x="38100" y="190500"/>
                      </a:cubicBezTo>
                      <a:cubicBezTo>
                        <a:pt x="38100" y="274320"/>
                        <a:pt x="106680" y="342900"/>
                        <a:pt x="190500" y="342900"/>
                      </a:cubicBezTo>
                      <a:cubicBezTo>
                        <a:pt x="274320" y="342900"/>
                        <a:pt x="342901" y="274320"/>
                        <a:pt x="342901" y="190500"/>
                      </a:cubicBezTo>
                      <a:cubicBezTo>
                        <a:pt x="339091" y="106680"/>
                        <a:pt x="274320" y="38100"/>
                        <a:pt x="190500" y="38100"/>
                      </a:cubicBezTo>
                      <a:close/>
                    </a:path>
                  </a:pathLst>
                </a:custGeom>
                <a:grpFill/>
                <a:ln w="38100" cap="flat">
                  <a:noFill/>
                  <a:prstDash val="solid"/>
                  <a:miter/>
                </a:ln>
              </p:spPr>
              <p:txBody>
                <a:bodyPr rtlCol="0" anchor="ctr"/>
                <a:lstStyle/>
                <a:p>
                  <a:endParaRPr lang="en-IN" dirty="0"/>
                </a:p>
              </p:txBody>
            </p:sp>
            <p:sp>
              <p:nvSpPr>
                <p:cNvPr id="290" name="Freeform: Shape 289">
                  <a:extLst>
                    <a:ext uri="{FF2B5EF4-FFF2-40B4-BE49-F238E27FC236}">
                      <a16:creationId xmlns:a16="http://schemas.microsoft.com/office/drawing/2014/main" id="{1979DDF2-1B96-4A57-99BB-758252EC1892}"/>
                    </a:ext>
                  </a:extLst>
                </p:cNvPr>
                <p:cNvSpPr/>
                <p:nvPr/>
              </p:nvSpPr>
              <p:spPr>
                <a:xfrm>
                  <a:off x="6926581" y="-1809749"/>
                  <a:ext cx="807721" cy="811528"/>
                </a:xfrm>
                <a:custGeom>
                  <a:avLst/>
                  <a:gdLst>
                    <a:gd name="connsiteX0" fmla="*/ 403861 w 807721"/>
                    <a:gd name="connsiteY0" fmla="*/ 811529 h 811528"/>
                    <a:gd name="connsiteX1" fmla="*/ 0 w 807721"/>
                    <a:gd name="connsiteY1" fmla="*/ 407669 h 811528"/>
                    <a:gd name="connsiteX2" fmla="*/ 403861 w 807721"/>
                    <a:gd name="connsiteY2" fmla="*/ 0 h 811528"/>
                    <a:gd name="connsiteX3" fmla="*/ 807722 w 807721"/>
                    <a:gd name="connsiteY3" fmla="*/ 403859 h 811528"/>
                    <a:gd name="connsiteX4" fmla="*/ 403861 w 807721"/>
                    <a:gd name="connsiteY4" fmla="*/ 811529 h 811528"/>
                    <a:gd name="connsiteX5" fmla="*/ 403861 w 807721"/>
                    <a:gd name="connsiteY5" fmla="*/ 38100 h 811528"/>
                    <a:gd name="connsiteX6" fmla="*/ 38100 w 807721"/>
                    <a:gd name="connsiteY6" fmla="*/ 403859 h 811528"/>
                    <a:gd name="connsiteX7" fmla="*/ 403861 w 807721"/>
                    <a:gd name="connsiteY7" fmla="*/ 769619 h 811528"/>
                    <a:gd name="connsiteX8" fmla="*/ 769621 w 807721"/>
                    <a:gd name="connsiteY8" fmla="*/ 403859 h 811528"/>
                    <a:gd name="connsiteX9" fmla="*/ 403861 w 807721"/>
                    <a:gd name="connsiteY9" fmla="*/ 38100 h 81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721" h="811528">
                      <a:moveTo>
                        <a:pt x="403861" y="811529"/>
                      </a:moveTo>
                      <a:cubicBezTo>
                        <a:pt x="179070" y="811529"/>
                        <a:pt x="0" y="628649"/>
                        <a:pt x="0" y="407669"/>
                      </a:cubicBezTo>
                      <a:cubicBezTo>
                        <a:pt x="0" y="186690"/>
                        <a:pt x="179070" y="0"/>
                        <a:pt x="403861" y="0"/>
                      </a:cubicBezTo>
                      <a:cubicBezTo>
                        <a:pt x="628651" y="0"/>
                        <a:pt x="807722" y="182880"/>
                        <a:pt x="807722" y="403859"/>
                      </a:cubicBezTo>
                      <a:cubicBezTo>
                        <a:pt x="807722" y="624839"/>
                        <a:pt x="624841" y="811529"/>
                        <a:pt x="403861" y="811529"/>
                      </a:cubicBezTo>
                      <a:close/>
                      <a:moveTo>
                        <a:pt x="403861" y="38100"/>
                      </a:moveTo>
                      <a:cubicBezTo>
                        <a:pt x="201930" y="38100"/>
                        <a:pt x="38100" y="201930"/>
                        <a:pt x="38100" y="403859"/>
                      </a:cubicBezTo>
                      <a:cubicBezTo>
                        <a:pt x="38100" y="605789"/>
                        <a:pt x="201930" y="769619"/>
                        <a:pt x="403861" y="769619"/>
                      </a:cubicBezTo>
                      <a:cubicBezTo>
                        <a:pt x="605791" y="769619"/>
                        <a:pt x="769621" y="605789"/>
                        <a:pt x="769621" y="403859"/>
                      </a:cubicBezTo>
                      <a:cubicBezTo>
                        <a:pt x="769621" y="205740"/>
                        <a:pt x="605791" y="38100"/>
                        <a:pt x="403861" y="38100"/>
                      </a:cubicBezTo>
                      <a:close/>
                    </a:path>
                  </a:pathLst>
                </a:custGeom>
                <a:grpFill/>
                <a:ln w="38100" cap="flat">
                  <a:noFill/>
                  <a:prstDash val="solid"/>
                  <a:miter/>
                </a:ln>
              </p:spPr>
              <p:txBody>
                <a:bodyPr rtlCol="0" anchor="ctr"/>
                <a:lstStyle/>
                <a:p>
                  <a:endParaRPr lang="en-IN" dirty="0"/>
                </a:p>
              </p:txBody>
            </p:sp>
            <p:sp>
              <p:nvSpPr>
                <p:cNvPr id="291" name="Freeform: Shape 290">
                  <a:extLst>
                    <a:ext uri="{FF2B5EF4-FFF2-40B4-BE49-F238E27FC236}">
                      <a16:creationId xmlns:a16="http://schemas.microsoft.com/office/drawing/2014/main" id="{C01F4FFF-BEA2-47E3-A3BE-5900EB230B5D}"/>
                    </a:ext>
                  </a:extLst>
                </p:cNvPr>
                <p:cNvSpPr/>
                <p:nvPr/>
              </p:nvSpPr>
              <p:spPr>
                <a:xfrm>
                  <a:off x="6736081" y="-2000249"/>
                  <a:ext cx="1188722" cy="1188718"/>
                </a:xfrm>
                <a:custGeom>
                  <a:avLst/>
                  <a:gdLst>
                    <a:gd name="connsiteX0" fmla="*/ 594361 w 1188722"/>
                    <a:gd name="connsiteY0" fmla="*/ 1188718 h 1188718"/>
                    <a:gd name="connsiteX1" fmla="*/ 0 w 1188722"/>
                    <a:gd name="connsiteY1" fmla="*/ 594359 h 1188718"/>
                    <a:gd name="connsiteX2" fmla="*/ 594361 w 1188722"/>
                    <a:gd name="connsiteY2" fmla="*/ 0 h 1188718"/>
                    <a:gd name="connsiteX3" fmla="*/ 1188722 w 1188722"/>
                    <a:gd name="connsiteY3" fmla="*/ 594359 h 1188718"/>
                    <a:gd name="connsiteX4" fmla="*/ 594361 w 1188722"/>
                    <a:gd name="connsiteY4" fmla="*/ 1188718 h 1188718"/>
                    <a:gd name="connsiteX5" fmla="*/ 594361 w 1188722"/>
                    <a:gd name="connsiteY5" fmla="*/ 41910 h 1188718"/>
                    <a:gd name="connsiteX6" fmla="*/ 38100 w 1188722"/>
                    <a:gd name="connsiteY6" fmla="*/ 598169 h 1188718"/>
                    <a:gd name="connsiteX7" fmla="*/ 594361 w 1188722"/>
                    <a:gd name="connsiteY7" fmla="*/ 1154428 h 1188718"/>
                    <a:gd name="connsiteX8" fmla="*/ 1150622 w 1188722"/>
                    <a:gd name="connsiteY8" fmla="*/ 598169 h 1188718"/>
                    <a:gd name="connsiteX9" fmla="*/ 594361 w 1188722"/>
                    <a:gd name="connsiteY9" fmla="*/ 41910 h 118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8722" h="1188718">
                      <a:moveTo>
                        <a:pt x="594361" y="1188718"/>
                      </a:moveTo>
                      <a:cubicBezTo>
                        <a:pt x="266701" y="1188718"/>
                        <a:pt x="0" y="922019"/>
                        <a:pt x="0" y="594359"/>
                      </a:cubicBezTo>
                      <a:cubicBezTo>
                        <a:pt x="0" y="266700"/>
                        <a:pt x="266701" y="0"/>
                        <a:pt x="594361" y="0"/>
                      </a:cubicBezTo>
                      <a:cubicBezTo>
                        <a:pt x="922022" y="0"/>
                        <a:pt x="1188722" y="266700"/>
                        <a:pt x="1188722" y="594359"/>
                      </a:cubicBezTo>
                      <a:cubicBezTo>
                        <a:pt x="1188722" y="922019"/>
                        <a:pt x="918212" y="1188718"/>
                        <a:pt x="594361" y="1188718"/>
                      </a:cubicBezTo>
                      <a:close/>
                      <a:moveTo>
                        <a:pt x="594361" y="41910"/>
                      </a:moveTo>
                      <a:cubicBezTo>
                        <a:pt x="289561" y="41910"/>
                        <a:pt x="38100" y="289560"/>
                        <a:pt x="38100" y="598169"/>
                      </a:cubicBezTo>
                      <a:cubicBezTo>
                        <a:pt x="38100" y="906779"/>
                        <a:pt x="285751" y="1154428"/>
                        <a:pt x="594361" y="1154428"/>
                      </a:cubicBezTo>
                      <a:cubicBezTo>
                        <a:pt x="902972" y="1154428"/>
                        <a:pt x="1150622" y="906779"/>
                        <a:pt x="1150622" y="598169"/>
                      </a:cubicBezTo>
                      <a:cubicBezTo>
                        <a:pt x="1150622" y="289560"/>
                        <a:pt x="899162" y="41910"/>
                        <a:pt x="594361" y="41910"/>
                      </a:cubicBezTo>
                      <a:close/>
                    </a:path>
                  </a:pathLst>
                </a:custGeom>
                <a:grpFill/>
                <a:ln w="38100" cap="flat">
                  <a:noFill/>
                  <a:prstDash val="solid"/>
                  <a:miter/>
                </a:ln>
              </p:spPr>
              <p:txBody>
                <a:bodyPr rtlCol="0" anchor="ctr"/>
                <a:lstStyle/>
                <a:p>
                  <a:endParaRPr lang="en-IN" dirty="0"/>
                </a:p>
              </p:txBody>
            </p:sp>
          </p:grpSp>
          <p:cxnSp>
            <p:nvCxnSpPr>
              <p:cNvPr id="287" name="Straight Connector 286">
                <a:extLst>
                  <a:ext uri="{FF2B5EF4-FFF2-40B4-BE49-F238E27FC236}">
                    <a16:creationId xmlns:a16="http://schemas.microsoft.com/office/drawing/2014/main" id="{D16F8F9D-D5E0-444A-9C8E-22BB594B0C24}"/>
                  </a:ext>
                </a:extLst>
              </p:cNvPr>
              <p:cNvCxnSpPr>
                <a:cxnSpLocks/>
              </p:cNvCxnSpPr>
              <p:nvPr/>
            </p:nvCxnSpPr>
            <p:spPr>
              <a:xfrm flipV="1">
                <a:off x="6399434" y="3800584"/>
                <a:ext cx="819367" cy="1"/>
              </a:xfrm>
              <a:prstGeom prst="line">
                <a:avLst/>
              </a:prstGeom>
              <a:ln w="34925">
                <a:solidFill>
                  <a:schemeClr val="bg2"/>
                </a:solidFill>
              </a:ln>
            </p:spPr>
            <p:style>
              <a:lnRef idx="1">
                <a:schemeClr val="accent1"/>
              </a:lnRef>
              <a:fillRef idx="0">
                <a:schemeClr val="accent1"/>
              </a:fillRef>
              <a:effectRef idx="0">
                <a:schemeClr val="accent1"/>
              </a:effectRef>
              <a:fontRef idx="minor">
                <a:schemeClr val="tx1"/>
              </a:fontRef>
            </p:style>
          </p:cxnSp>
          <p:sp>
            <p:nvSpPr>
              <p:cNvPr id="288" name="Rectangle 287">
                <a:extLst>
                  <a:ext uri="{FF2B5EF4-FFF2-40B4-BE49-F238E27FC236}">
                    <a16:creationId xmlns:a16="http://schemas.microsoft.com/office/drawing/2014/main" id="{8ABB9C0C-D4B0-4BD5-B0D1-6ABA99BCFCF6}"/>
                  </a:ext>
                </a:extLst>
              </p:cNvPr>
              <p:cNvSpPr/>
              <p:nvPr/>
            </p:nvSpPr>
            <p:spPr>
              <a:xfrm>
                <a:off x="6330560" y="3814529"/>
                <a:ext cx="899461" cy="475776"/>
              </a:xfrm>
              <a:prstGeom prst="rect">
                <a:avLst/>
              </a:prstGeom>
              <a:solidFill>
                <a:srgbClr val="3D7A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35342588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5" name="Group 114">
            <a:extLst>
              <a:ext uri="{FF2B5EF4-FFF2-40B4-BE49-F238E27FC236}">
                <a16:creationId xmlns:a16="http://schemas.microsoft.com/office/drawing/2014/main" id="{E7D79974-9089-4B9F-80BA-2618550FA9AF}"/>
              </a:ext>
            </a:extLst>
          </p:cNvPr>
          <p:cNvGrpSpPr/>
          <p:nvPr/>
        </p:nvGrpSpPr>
        <p:grpSpPr>
          <a:xfrm>
            <a:off x="5517979" y="3752236"/>
            <a:ext cx="915723" cy="195960"/>
            <a:chOff x="2736154" y="1943610"/>
            <a:chExt cx="1022270" cy="218761"/>
          </a:xfrm>
        </p:grpSpPr>
        <p:sp>
          <p:nvSpPr>
            <p:cNvPr id="116" name="Freeform: Shape 115">
              <a:extLst>
                <a:ext uri="{FF2B5EF4-FFF2-40B4-BE49-F238E27FC236}">
                  <a16:creationId xmlns:a16="http://schemas.microsoft.com/office/drawing/2014/main" id="{44222B2C-F12C-4FEE-AF06-8081D8C2E0F2}"/>
                </a:ext>
              </a:extLst>
            </p:cNvPr>
            <p:cNvSpPr/>
            <p:nvPr/>
          </p:nvSpPr>
          <p:spPr>
            <a:xfrm>
              <a:off x="3114587" y="1943610"/>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7" name="Freeform: Shape 116">
              <a:extLst>
                <a:ext uri="{FF2B5EF4-FFF2-40B4-BE49-F238E27FC236}">
                  <a16:creationId xmlns:a16="http://schemas.microsoft.com/office/drawing/2014/main" id="{C211D22C-C652-4718-91F0-EC2A5C0B02F8}"/>
                </a:ext>
              </a:extLst>
            </p:cNvPr>
            <p:cNvSpPr/>
            <p:nvPr/>
          </p:nvSpPr>
          <p:spPr>
            <a:xfrm>
              <a:off x="2988395" y="2011857"/>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8" name="Freeform: Shape 117">
              <a:extLst>
                <a:ext uri="{FF2B5EF4-FFF2-40B4-BE49-F238E27FC236}">
                  <a16:creationId xmlns:a16="http://schemas.microsoft.com/office/drawing/2014/main" id="{A4252357-CC0E-4BF4-9EAD-54B66EA8C310}"/>
                </a:ext>
              </a:extLst>
            </p:cNvPr>
            <p:cNvSpPr/>
            <p:nvPr/>
          </p:nvSpPr>
          <p:spPr>
            <a:xfrm>
              <a:off x="2862346" y="2079960"/>
              <a:ext cx="643837" cy="14307"/>
            </a:xfrm>
            <a:custGeom>
              <a:avLst/>
              <a:gdLst>
                <a:gd name="connsiteX0" fmla="*/ 8048 w 643836"/>
                <a:gd name="connsiteY0" fmla="*/ 8048 h 14307"/>
                <a:gd name="connsiteX1" fmla="*/ 646019 w 643836"/>
                <a:gd name="connsiteY1" fmla="*/ 8048 h 14307"/>
              </a:gdLst>
              <a:ahLst/>
              <a:cxnLst>
                <a:cxn ang="0">
                  <a:pos x="connsiteX0" y="connsiteY0"/>
                </a:cxn>
                <a:cxn ang="0">
                  <a:pos x="connsiteX1" y="connsiteY1"/>
                </a:cxn>
              </a:cxnLst>
              <a:rect l="l" t="t" r="r" b="b"/>
              <a:pathLst>
                <a:path w="643836" h="14307">
                  <a:moveTo>
                    <a:pt x="8048" y="8048"/>
                  </a:moveTo>
                  <a:lnTo>
                    <a:pt x="646019" y="8048"/>
                  </a:lnTo>
                </a:path>
              </a:pathLst>
            </a:custGeom>
            <a:ln w="7144"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9" name="Freeform: Shape 118">
              <a:extLst>
                <a:ext uri="{FF2B5EF4-FFF2-40B4-BE49-F238E27FC236}">
                  <a16:creationId xmlns:a16="http://schemas.microsoft.com/office/drawing/2014/main" id="{5C4DF86B-C3CA-46E7-8F64-24158C833902}"/>
                </a:ext>
              </a:extLst>
            </p:cNvPr>
            <p:cNvSpPr/>
            <p:nvPr/>
          </p:nvSpPr>
          <p:spPr>
            <a:xfrm>
              <a:off x="2736154" y="2148064"/>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103" name="Oval 102">
            <a:extLst>
              <a:ext uri="{FF2B5EF4-FFF2-40B4-BE49-F238E27FC236}">
                <a16:creationId xmlns:a16="http://schemas.microsoft.com/office/drawing/2014/main" id="{B3D97669-29C9-4F79-AA1B-BB5374411E07}"/>
              </a:ext>
            </a:extLst>
          </p:cNvPr>
          <p:cNvSpPr/>
          <p:nvPr/>
        </p:nvSpPr>
        <p:spPr>
          <a:xfrm>
            <a:off x="107313" y="2277578"/>
            <a:ext cx="1349901" cy="1349901"/>
          </a:xfrm>
          <a:prstGeom prst="ellipse">
            <a:avLst/>
          </a:prstGeom>
          <a:pattFill prst="wdUpDiag">
            <a:fgClr>
              <a:schemeClr val="accent1">
                <a:lumMod val="40000"/>
                <a:lumOff val="60000"/>
              </a:schemeClr>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12" name="Arc 111">
            <a:extLst>
              <a:ext uri="{FF2B5EF4-FFF2-40B4-BE49-F238E27FC236}">
                <a16:creationId xmlns:a16="http://schemas.microsoft.com/office/drawing/2014/main" id="{05A681F1-2D08-49F4-816B-251E5CAEBDE5}"/>
              </a:ext>
            </a:extLst>
          </p:cNvPr>
          <p:cNvSpPr/>
          <p:nvPr/>
        </p:nvSpPr>
        <p:spPr>
          <a:xfrm>
            <a:off x="232817" y="3036302"/>
            <a:ext cx="2862633" cy="2862633"/>
          </a:xfrm>
          <a:prstGeom prst="arc">
            <a:avLst>
              <a:gd name="adj1" fmla="val 7681969"/>
              <a:gd name="adj2" fmla="val 877983"/>
            </a:avLst>
          </a:prstGeom>
          <a:ln w="12700" cap="rnd">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 name="Arc 5">
            <a:extLst>
              <a:ext uri="{FF2B5EF4-FFF2-40B4-BE49-F238E27FC236}">
                <a16:creationId xmlns:a16="http://schemas.microsoft.com/office/drawing/2014/main" id="{69461D71-F87E-4F54-A43B-6F60ECA4B3E2}"/>
              </a:ext>
            </a:extLst>
          </p:cNvPr>
          <p:cNvSpPr/>
          <p:nvPr/>
        </p:nvSpPr>
        <p:spPr>
          <a:xfrm>
            <a:off x="-396235" y="2407250"/>
            <a:ext cx="4120737" cy="4120737"/>
          </a:xfrm>
          <a:prstGeom prst="arc">
            <a:avLst>
              <a:gd name="adj1" fmla="val 15647226"/>
              <a:gd name="adj2" fmla="val 2338091"/>
            </a:avLst>
          </a:prstGeom>
          <a:ln w="15875" cap="rnd">
            <a:solidFill>
              <a:schemeClr val="accent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21" name="Picture 20">
            <a:extLst>
              <a:ext uri="{FF2B5EF4-FFF2-40B4-BE49-F238E27FC236}">
                <a16:creationId xmlns:a16="http://schemas.microsoft.com/office/drawing/2014/main" id="{412A2A1D-F3CD-4B03-BDAE-5177FDCDB8C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3806" y="2026813"/>
            <a:ext cx="2490871" cy="3739629"/>
          </a:xfrm>
          <a:prstGeom prst="roundRect">
            <a:avLst>
              <a:gd name="adj" fmla="val 9324"/>
            </a:avLst>
          </a:prstGeom>
        </p:spPr>
      </p:pic>
      <p:grpSp>
        <p:nvGrpSpPr>
          <p:cNvPr id="43" name="Group 42">
            <a:extLst>
              <a:ext uri="{FF2B5EF4-FFF2-40B4-BE49-F238E27FC236}">
                <a16:creationId xmlns:a16="http://schemas.microsoft.com/office/drawing/2014/main" id="{AE5183E8-B661-4D6D-97C7-3FED8E915EC0}"/>
              </a:ext>
            </a:extLst>
          </p:cNvPr>
          <p:cNvGrpSpPr/>
          <p:nvPr/>
        </p:nvGrpSpPr>
        <p:grpSpPr>
          <a:xfrm>
            <a:off x="-323836" y="1582553"/>
            <a:ext cx="11742057" cy="4187049"/>
            <a:chOff x="-8876" y="1348382"/>
            <a:chExt cx="11742057" cy="4187049"/>
          </a:xfrm>
        </p:grpSpPr>
        <p:sp>
          <p:nvSpPr>
            <p:cNvPr id="22" name="Rectangle: Rounded Corners 21">
              <a:extLst>
                <a:ext uri="{FF2B5EF4-FFF2-40B4-BE49-F238E27FC236}">
                  <a16:creationId xmlns:a16="http://schemas.microsoft.com/office/drawing/2014/main" id="{5D3964C7-0DCE-4409-AC65-CF360E7FA945}"/>
                </a:ext>
              </a:extLst>
            </p:cNvPr>
            <p:cNvSpPr/>
            <p:nvPr/>
          </p:nvSpPr>
          <p:spPr>
            <a:xfrm>
              <a:off x="-8876" y="1348382"/>
              <a:ext cx="787591" cy="216063"/>
            </a:xfrm>
            <a:custGeom>
              <a:avLst/>
              <a:gdLst>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8" fmla="*/ 0 w 2060294"/>
                <a:gd name="connsiteY8" fmla="*/ 216063 h 4604829"/>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8" fmla="*/ 91440 w 2060294"/>
                <a:gd name="connsiteY8" fmla="*/ 307503 h 4604829"/>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0" fmla="*/ 216063 w 2060294"/>
                <a:gd name="connsiteY0" fmla="*/ 0 h 4604829"/>
                <a:gd name="connsiteX1" fmla="*/ 1844231 w 2060294"/>
                <a:gd name="connsiteY1" fmla="*/ 0 h 4604829"/>
                <a:gd name="connsiteX2" fmla="*/ 2060294 w 2060294"/>
                <a:gd name="connsiteY2" fmla="*/ 216063 h 4604829"/>
                <a:gd name="connsiteX3" fmla="*/ 2060294 w 2060294"/>
                <a:gd name="connsiteY3" fmla="*/ 4388766 h 4604829"/>
                <a:gd name="connsiteX4" fmla="*/ 1844231 w 2060294"/>
                <a:gd name="connsiteY4" fmla="*/ 4604829 h 4604829"/>
                <a:gd name="connsiteX5" fmla="*/ 216063 w 2060294"/>
                <a:gd name="connsiteY5" fmla="*/ 4604829 h 4604829"/>
                <a:gd name="connsiteX6" fmla="*/ 0 w 2060294"/>
                <a:gd name="connsiteY6" fmla="*/ 4388766 h 4604829"/>
                <a:gd name="connsiteX0" fmla="*/ 225814 w 2070045"/>
                <a:gd name="connsiteY0" fmla="*/ 0 h 4604829"/>
                <a:gd name="connsiteX1" fmla="*/ 1853982 w 2070045"/>
                <a:gd name="connsiteY1" fmla="*/ 0 h 4604829"/>
                <a:gd name="connsiteX2" fmla="*/ 2070045 w 2070045"/>
                <a:gd name="connsiteY2" fmla="*/ 216063 h 4604829"/>
                <a:gd name="connsiteX3" fmla="*/ 2070045 w 2070045"/>
                <a:gd name="connsiteY3" fmla="*/ 4388766 h 4604829"/>
                <a:gd name="connsiteX4" fmla="*/ 1853982 w 2070045"/>
                <a:gd name="connsiteY4" fmla="*/ 4604829 h 4604829"/>
                <a:gd name="connsiteX5" fmla="*/ 225814 w 2070045"/>
                <a:gd name="connsiteY5" fmla="*/ 4604829 h 4604829"/>
                <a:gd name="connsiteX6" fmla="*/ 18114 w 2070045"/>
                <a:gd name="connsiteY6" fmla="*/ 4477778 h 4604829"/>
                <a:gd name="connsiteX7" fmla="*/ 9751 w 2070045"/>
                <a:gd name="connsiteY7" fmla="*/ 4388766 h 4604829"/>
                <a:gd name="connsiteX0" fmla="*/ 207700 w 2051931"/>
                <a:gd name="connsiteY0" fmla="*/ 0 h 4604829"/>
                <a:gd name="connsiteX1" fmla="*/ 1835868 w 2051931"/>
                <a:gd name="connsiteY1" fmla="*/ 0 h 4604829"/>
                <a:gd name="connsiteX2" fmla="*/ 2051931 w 2051931"/>
                <a:gd name="connsiteY2" fmla="*/ 216063 h 4604829"/>
                <a:gd name="connsiteX3" fmla="*/ 2051931 w 2051931"/>
                <a:gd name="connsiteY3" fmla="*/ 4388766 h 4604829"/>
                <a:gd name="connsiteX4" fmla="*/ 1835868 w 2051931"/>
                <a:gd name="connsiteY4" fmla="*/ 4604829 h 4604829"/>
                <a:gd name="connsiteX5" fmla="*/ 207700 w 2051931"/>
                <a:gd name="connsiteY5" fmla="*/ 4604829 h 4604829"/>
                <a:gd name="connsiteX6" fmla="*/ 0 w 2051931"/>
                <a:gd name="connsiteY6" fmla="*/ 4477778 h 4604829"/>
                <a:gd name="connsiteX0" fmla="*/ 0 w 1844231"/>
                <a:gd name="connsiteY0" fmla="*/ 0 h 4604829"/>
                <a:gd name="connsiteX1" fmla="*/ 1628168 w 1844231"/>
                <a:gd name="connsiteY1" fmla="*/ 0 h 4604829"/>
                <a:gd name="connsiteX2" fmla="*/ 1844231 w 1844231"/>
                <a:gd name="connsiteY2" fmla="*/ 216063 h 4604829"/>
                <a:gd name="connsiteX3" fmla="*/ 1844231 w 1844231"/>
                <a:gd name="connsiteY3" fmla="*/ 4388766 h 4604829"/>
                <a:gd name="connsiteX4" fmla="*/ 1628168 w 1844231"/>
                <a:gd name="connsiteY4" fmla="*/ 4604829 h 4604829"/>
                <a:gd name="connsiteX5" fmla="*/ 0 w 1844231"/>
                <a:gd name="connsiteY5" fmla="*/ 4604829 h 4604829"/>
                <a:gd name="connsiteX0" fmla="*/ 0 w 1844231"/>
                <a:gd name="connsiteY0" fmla="*/ 0 h 4604829"/>
                <a:gd name="connsiteX1" fmla="*/ 1628168 w 1844231"/>
                <a:gd name="connsiteY1" fmla="*/ 0 h 4604829"/>
                <a:gd name="connsiteX2" fmla="*/ 1844231 w 1844231"/>
                <a:gd name="connsiteY2" fmla="*/ 216063 h 4604829"/>
                <a:gd name="connsiteX3" fmla="*/ 1844231 w 1844231"/>
                <a:gd name="connsiteY3" fmla="*/ 4388766 h 4604829"/>
                <a:gd name="connsiteX4" fmla="*/ 1628168 w 1844231"/>
                <a:gd name="connsiteY4" fmla="*/ 4604829 h 4604829"/>
                <a:gd name="connsiteX0" fmla="*/ 0 w 1844231"/>
                <a:gd name="connsiteY0" fmla="*/ 0 h 4388766"/>
                <a:gd name="connsiteX1" fmla="*/ 1628168 w 1844231"/>
                <a:gd name="connsiteY1" fmla="*/ 0 h 4388766"/>
                <a:gd name="connsiteX2" fmla="*/ 1844231 w 1844231"/>
                <a:gd name="connsiteY2" fmla="*/ 216063 h 4388766"/>
                <a:gd name="connsiteX3" fmla="*/ 1844231 w 1844231"/>
                <a:gd name="connsiteY3" fmla="*/ 4388766 h 4388766"/>
                <a:gd name="connsiteX0" fmla="*/ 0 w 1844231"/>
                <a:gd name="connsiteY0" fmla="*/ 0 h 216063"/>
                <a:gd name="connsiteX1" fmla="*/ 1628168 w 1844231"/>
                <a:gd name="connsiteY1" fmla="*/ 0 h 216063"/>
                <a:gd name="connsiteX2" fmla="*/ 1844231 w 1844231"/>
                <a:gd name="connsiteY2" fmla="*/ 216063 h 216063"/>
                <a:gd name="connsiteX0" fmla="*/ 0 w 787591"/>
                <a:gd name="connsiteY0" fmla="*/ 0 h 216063"/>
                <a:gd name="connsiteX1" fmla="*/ 571528 w 787591"/>
                <a:gd name="connsiteY1" fmla="*/ 0 h 216063"/>
                <a:gd name="connsiteX2" fmla="*/ 787591 w 787591"/>
                <a:gd name="connsiteY2" fmla="*/ 216063 h 216063"/>
              </a:gdLst>
              <a:ahLst/>
              <a:cxnLst>
                <a:cxn ang="0">
                  <a:pos x="connsiteX0" y="connsiteY0"/>
                </a:cxn>
                <a:cxn ang="0">
                  <a:pos x="connsiteX1" y="connsiteY1"/>
                </a:cxn>
                <a:cxn ang="0">
                  <a:pos x="connsiteX2" y="connsiteY2"/>
                </a:cxn>
              </a:cxnLst>
              <a:rect l="l" t="t" r="r" b="b"/>
              <a:pathLst>
                <a:path w="787591" h="216063">
                  <a:moveTo>
                    <a:pt x="0" y="0"/>
                  </a:moveTo>
                  <a:lnTo>
                    <a:pt x="571528" y="0"/>
                  </a:lnTo>
                  <a:cubicBezTo>
                    <a:pt x="690856" y="0"/>
                    <a:pt x="787591" y="96735"/>
                    <a:pt x="787591" y="216063"/>
                  </a:cubicBezTo>
                </a:path>
              </a:pathLst>
            </a:custGeom>
            <a:noFill/>
            <a:ln w="63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Rounded Corners 21">
              <a:extLst>
                <a:ext uri="{FF2B5EF4-FFF2-40B4-BE49-F238E27FC236}">
                  <a16:creationId xmlns:a16="http://schemas.microsoft.com/office/drawing/2014/main" id="{98FA2D01-22E5-4186-BCD9-FF1A8192600C}"/>
                </a:ext>
              </a:extLst>
            </p:cNvPr>
            <p:cNvSpPr/>
            <p:nvPr/>
          </p:nvSpPr>
          <p:spPr>
            <a:xfrm flipH="1" flipV="1">
              <a:off x="778715" y="5319368"/>
              <a:ext cx="1844231" cy="216063"/>
            </a:xfrm>
            <a:custGeom>
              <a:avLst/>
              <a:gdLst>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8" fmla="*/ 0 w 2060294"/>
                <a:gd name="connsiteY8" fmla="*/ 216063 h 4604829"/>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8" fmla="*/ 91440 w 2060294"/>
                <a:gd name="connsiteY8" fmla="*/ 307503 h 4604829"/>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0" fmla="*/ 216063 w 2060294"/>
                <a:gd name="connsiteY0" fmla="*/ 0 h 4604829"/>
                <a:gd name="connsiteX1" fmla="*/ 1844231 w 2060294"/>
                <a:gd name="connsiteY1" fmla="*/ 0 h 4604829"/>
                <a:gd name="connsiteX2" fmla="*/ 2060294 w 2060294"/>
                <a:gd name="connsiteY2" fmla="*/ 216063 h 4604829"/>
                <a:gd name="connsiteX3" fmla="*/ 2060294 w 2060294"/>
                <a:gd name="connsiteY3" fmla="*/ 4388766 h 4604829"/>
                <a:gd name="connsiteX4" fmla="*/ 1844231 w 2060294"/>
                <a:gd name="connsiteY4" fmla="*/ 4604829 h 4604829"/>
                <a:gd name="connsiteX5" fmla="*/ 216063 w 2060294"/>
                <a:gd name="connsiteY5" fmla="*/ 4604829 h 4604829"/>
                <a:gd name="connsiteX6" fmla="*/ 0 w 2060294"/>
                <a:gd name="connsiteY6" fmla="*/ 4388766 h 4604829"/>
                <a:gd name="connsiteX0" fmla="*/ 225814 w 2070045"/>
                <a:gd name="connsiteY0" fmla="*/ 0 h 4604829"/>
                <a:gd name="connsiteX1" fmla="*/ 1853982 w 2070045"/>
                <a:gd name="connsiteY1" fmla="*/ 0 h 4604829"/>
                <a:gd name="connsiteX2" fmla="*/ 2070045 w 2070045"/>
                <a:gd name="connsiteY2" fmla="*/ 216063 h 4604829"/>
                <a:gd name="connsiteX3" fmla="*/ 2070045 w 2070045"/>
                <a:gd name="connsiteY3" fmla="*/ 4388766 h 4604829"/>
                <a:gd name="connsiteX4" fmla="*/ 1853982 w 2070045"/>
                <a:gd name="connsiteY4" fmla="*/ 4604829 h 4604829"/>
                <a:gd name="connsiteX5" fmla="*/ 225814 w 2070045"/>
                <a:gd name="connsiteY5" fmla="*/ 4604829 h 4604829"/>
                <a:gd name="connsiteX6" fmla="*/ 18114 w 2070045"/>
                <a:gd name="connsiteY6" fmla="*/ 4477778 h 4604829"/>
                <a:gd name="connsiteX7" fmla="*/ 9751 w 2070045"/>
                <a:gd name="connsiteY7" fmla="*/ 4388766 h 4604829"/>
                <a:gd name="connsiteX0" fmla="*/ 207700 w 2051931"/>
                <a:gd name="connsiteY0" fmla="*/ 0 h 4604829"/>
                <a:gd name="connsiteX1" fmla="*/ 1835868 w 2051931"/>
                <a:gd name="connsiteY1" fmla="*/ 0 h 4604829"/>
                <a:gd name="connsiteX2" fmla="*/ 2051931 w 2051931"/>
                <a:gd name="connsiteY2" fmla="*/ 216063 h 4604829"/>
                <a:gd name="connsiteX3" fmla="*/ 2051931 w 2051931"/>
                <a:gd name="connsiteY3" fmla="*/ 4388766 h 4604829"/>
                <a:gd name="connsiteX4" fmla="*/ 1835868 w 2051931"/>
                <a:gd name="connsiteY4" fmla="*/ 4604829 h 4604829"/>
                <a:gd name="connsiteX5" fmla="*/ 207700 w 2051931"/>
                <a:gd name="connsiteY5" fmla="*/ 4604829 h 4604829"/>
                <a:gd name="connsiteX6" fmla="*/ 0 w 2051931"/>
                <a:gd name="connsiteY6" fmla="*/ 4477778 h 4604829"/>
                <a:gd name="connsiteX0" fmla="*/ 0 w 1844231"/>
                <a:gd name="connsiteY0" fmla="*/ 0 h 4604829"/>
                <a:gd name="connsiteX1" fmla="*/ 1628168 w 1844231"/>
                <a:gd name="connsiteY1" fmla="*/ 0 h 4604829"/>
                <a:gd name="connsiteX2" fmla="*/ 1844231 w 1844231"/>
                <a:gd name="connsiteY2" fmla="*/ 216063 h 4604829"/>
                <a:gd name="connsiteX3" fmla="*/ 1844231 w 1844231"/>
                <a:gd name="connsiteY3" fmla="*/ 4388766 h 4604829"/>
                <a:gd name="connsiteX4" fmla="*/ 1628168 w 1844231"/>
                <a:gd name="connsiteY4" fmla="*/ 4604829 h 4604829"/>
                <a:gd name="connsiteX5" fmla="*/ 0 w 1844231"/>
                <a:gd name="connsiteY5" fmla="*/ 4604829 h 4604829"/>
                <a:gd name="connsiteX0" fmla="*/ 0 w 1844231"/>
                <a:gd name="connsiteY0" fmla="*/ 0 h 4604829"/>
                <a:gd name="connsiteX1" fmla="*/ 1628168 w 1844231"/>
                <a:gd name="connsiteY1" fmla="*/ 0 h 4604829"/>
                <a:gd name="connsiteX2" fmla="*/ 1844231 w 1844231"/>
                <a:gd name="connsiteY2" fmla="*/ 216063 h 4604829"/>
                <a:gd name="connsiteX3" fmla="*/ 1844231 w 1844231"/>
                <a:gd name="connsiteY3" fmla="*/ 4388766 h 4604829"/>
                <a:gd name="connsiteX4" fmla="*/ 1628168 w 1844231"/>
                <a:gd name="connsiteY4" fmla="*/ 4604829 h 4604829"/>
                <a:gd name="connsiteX0" fmla="*/ 0 w 1844231"/>
                <a:gd name="connsiteY0" fmla="*/ 0 h 4388766"/>
                <a:gd name="connsiteX1" fmla="*/ 1628168 w 1844231"/>
                <a:gd name="connsiteY1" fmla="*/ 0 h 4388766"/>
                <a:gd name="connsiteX2" fmla="*/ 1844231 w 1844231"/>
                <a:gd name="connsiteY2" fmla="*/ 216063 h 4388766"/>
                <a:gd name="connsiteX3" fmla="*/ 1844231 w 1844231"/>
                <a:gd name="connsiteY3" fmla="*/ 4388766 h 4388766"/>
                <a:gd name="connsiteX0" fmla="*/ 0 w 1844231"/>
                <a:gd name="connsiteY0" fmla="*/ 0 h 216063"/>
                <a:gd name="connsiteX1" fmla="*/ 1628168 w 1844231"/>
                <a:gd name="connsiteY1" fmla="*/ 0 h 216063"/>
                <a:gd name="connsiteX2" fmla="*/ 1844231 w 1844231"/>
                <a:gd name="connsiteY2" fmla="*/ 216063 h 216063"/>
              </a:gdLst>
              <a:ahLst/>
              <a:cxnLst>
                <a:cxn ang="0">
                  <a:pos x="connsiteX0" y="connsiteY0"/>
                </a:cxn>
                <a:cxn ang="0">
                  <a:pos x="connsiteX1" y="connsiteY1"/>
                </a:cxn>
                <a:cxn ang="0">
                  <a:pos x="connsiteX2" y="connsiteY2"/>
                </a:cxn>
              </a:cxnLst>
              <a:rect l="l" t="t" r="r" b="b"/>
              <a:pathLst>
                <a:path w="1844231" h="216063">
                  <a:moveTo>
                    <a:pt x="0" y="0"/>
                  </a:moveTo>
                  <a:lnTo>
                    <a:pt x="1628168" y="0"/>
                  </a:lnTo>
                  <a:cubicBezTo>
                    <a:pt x="1747496" y="0"/>
                    <a:pt x="1844231" y="96735"/>
                    <a:pt x="1844231" y="216063"/>
                  </a:cubicBezTo>
                </a:path>
              </a:pathLst>
            </a:custGeom>
            <a:noFill/>
            <a:ln w="63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5" name="Straight Connector 24">
              <a:extLst>
                <a:ext uri="{FF2B5EF4-FFF2-40B4-BE49-F238E27FC236}">
                  <a16:creationId xmlns:a16="http://schemas.microsoft.com/office/drawing/2014/main" id="{741AC54F-3B01-4C95-B08F-B3D036FA8CDC}"/>
                </a:ext>
              </a:extLst>
            </p:cNvPr>
            <p:cNvCxnSpPr>
              <a:cxnSpLocks/>
              <a:stCxn id="22" idx="2"/>
              <a:endCxn id="23" idx="2"/>
            </p:cNvCxnSpPr>
            <p:nvPr/>
          </p:nvCxnSpPr>
          <p:spPr>
            <a:xfrm>
              <a:off x="778715" y="1564445"/>
              <a:ext cx="0" cy="3754923"/>
            </a:xfrm>
            <a:prstGeom prst="line">
              <a:avLst/>
            </a:prstGeom>
            <a:noFill/>
            <a:ln w="63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31" name="Straight Connector 30">
              <a:extLst>
                <a:ext uri="{FF2B5EF4-FFF2-40B4-BE49-F238E27FC236}">
                  <a16:creationId xmlns:a16="http://schemas.microsoft.com/office/drawing/2014/main" id="{B77E45ED-85F5-4CF0-85F2-8F95B7102EDC}"/>
                </a:ext>
              </a:extLst>
            </p:cNvPr>
            <p:cNvCxnSpPr>
              <a:cxnSpLocks/>
              <a:stCxn id="131" idx="2"/>
              <a:endCxn id="23" idx="0"/>
            </p:cNvCxnSpPr>
            <p:nvPr/>
          </p:nvCxnSpPr>
          <p:spPr>
            <a:xfrm flipH="1">
              <a:off x="2622946" y="5533635"/>
              <a:ext cx="9110235" cy="1796"/>
            </a:xfrm>
            <a:prstGeom prst="line">
              <a:avLst/>
            </a:prstGeom>
            <a:noFill/>
            <a:ln w="63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cxnSp>
      </p:grpSp>
      <p:sp>
        <p:nvSpPr>
          <p:cNvPr id="2" name="Title 1">
            <a:extLst>
              <a:ext uri="{FF2B5EF4-FFF2-40B4-BE49-F238E27FC236}">
                <a16:creationId xmlns:a16="http://schemas.microsoft.com/office/drawing/2014/main" id="{5FEA3D84-E7AF-4C26-8588-24CF5057AA3A}"/>
              </a:ext>
            </a:extLst>
          </p:cNvPr>
          <p:cNvSpPr>
            <a:spLocks noGrp="1"/>
          </p:cNvSpPr>
          <p:nvPr>
            <p:ph type="title"/>
          </p:nvPr>
        </p:nvSpPr>
        <p:spPr>
          <a:xfrm>
            <a:off x="533400" y="504650"/>
            <a:ext cx="11125200" cy="403828"/>
          </a:xfrm>
        </p:spPr>
        <p:txBody>
          <a:bodyPr/>
          <a:lstStyle/>
          <a:p>
            <a:r>
              <a:rPr lang="en-US" sz="3200" dirty="0"/>
              <a:t>The trend to a more distributed workforce continues to grow</a:t>
            </a:r>
          </a:p>
        </p:txBody>
      </p:sp>
      <p:sp>
        <p:nvSpPr>
          <p:cNvPr id="5" name="Footer Placeholder 4">
            <a:extLst>
              <a:ext uri="{FF2B5EF4-FFF2-40B4-BE49-F238E27FC236}">
                <a16:creationId xmlns:a16="http://schemas.microsoft.com/office/drawing/2014/main" id="{9E19C723-7E53-4E39-8AE5-F5D33BAF6D97}"/>
              </a:ext>
            </a:extLst>
          </p:cNvPr>
          <p:cNvSpPr>
            <a:spLocks noGrp="1"/>
          </p:cNvSpPr>
          <p:nvPr>
            <p:ph type="ftr" sz="quarter" idx="10"/>
          </p:nvPr>
        </p:nvSpPr>
        <p:spPr/>
        <p:txBody>
          <a:bodyPr/>
          <a:lstStyle/>
          <a:p>
            <a:r>
              <a:rPr lang="en-US" dirty="0"/>
              <a:t>© 2020 Cisco and/or its affiliates. All rights reserved. Cisco Confidential</a:t>
            </a:r>
          </a:p>
        </p:txBody>
      </p:sp>
      <p:sp>
        <p:nvSpPr>
          <p:cNvPr id="9" name="Oval 8">
            <a:extLst>
              <a:ext uri="{FF2B5EF4-FFF2-40B4-BE49-F238E27FC236}">
                <a16:creationId xmlns:a16="http://schemas.microsoft.com/office/drawing/2014/main" id="{B1F22A94-457B-4242-95BB-BDEA5AD93353}"/>
              </a:ext>
            </a:extLst>
          </p:cNvPr>
          <p:cNvSpPr/>
          <p:nvPr/>
        </p:nvSpPr>
        <p:spPr>
          <a:xfrm>
            <a:off x="3740661" y="1987975"/>
            <a:ext cx="2186932" cy="2142164"/>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400" dirty="0">
                <a:solidFill>
                  <a:schemeClr val="bg1"/>
                </a:solidFill>
              </a:rPr>
              <a:t>In the U.S., </a:t>
            </a:r>
            <a:r>
              <a:rPr lang="en-US" sz="2000" dirty="0">
                <a:solidFill>
                  <a:schemeClr val="accent1"/>
                </a:solidFill>
              </a:rPr>
              <a:t>56% </a:t>
            </a:r>
            <a:r>
              <a:rPr lang="en-US" sz="1400" dirty="0">
                <a:solidFill>
                  <a:schemeClr val="bg1"/>
                </a:solidFill>
              </a:rPr>
              <a:t>of all employees have a job where at least some of what they do could be done remotely.*</a:t>
            </a:r>
          </a:p>
        </p:txBody>
      </p:sp>
      <p:sp>
        <p:nvSpPr>
          <p:cNvPr id="15" name="TextBox 14">
            <a:extLst>
              <a:ext uri="{FF2B5EF4-FFF2-40B4-BE49-F238E27FC236}">
                <a16:creationId xmlns:a16="http://schemas.microsoft.com/office/drawing/2014/main" id="{94F0C7EB-45E4-45CB-ACA0-0B6EEBDA00D0}"/>
              </a:ext>
            </a:extLst>
          </p:cNvPr>
          <p:cNvSpPr txBox="1"/>
          <p:nvPr/>
        </p:nvSpPr>
        <p:spPr>
          <a:xfrm>
            <a:off x="8912648" y="6369780"/>
            <a:ext cx="2745945" cy="169277"/>
          </a:xfrm>
          <a:prstGeom prst="rect">
            <a:avLst/>
          </a:prstGeom>
          <a:noFill/>
        </p:spPr>
        <p:txBody>
          <a:bodyPr wrap="square" lIns="0" tIns="0" rIns="0" bIns="0" rtlCol="0">
            <a:spAutoFit/>
          </a:bodyPr>
          <a:lstStyle/>
          <a:p>
            <a:pPr algn="r"/>
            <a:r>
              <a:rPr lang="en-US" sz="1100" dirty="0">
                <a:solidFill>
                  <a:schemeClr val="bg1"/>
                </a:solidFill>
              </a:rPr>
              <a:t>* Global Workplace Analytics (March 2020)</a:t>
            </a:r>
          </a:p>
        </p:txBody>
      </p:sp>
      <p:grpSp>
        <p:nvGrpSpPr>
          <p:cNvPr id="28" name="Group 27">
            <a:extLst>
              <a:ext uri="{FF2B5EF4-FFF2-40B4-BE49-F238E27FC236}">
                <a16:creationId xmlns:a16="http://schemas.microsoft.com/office/drawing/2014/main" id="{A51D085C-00FB-452B-AE46-2A426E94E6C3}"/>
              </a:ext>
            </a:extLst>
          </p:cNvPr>
          <p:cNvGrpSpPr/>
          <p:nvPr/>
        </p:nvGrpSpPr>
        <p:grpSpPr>
          <a:xfrm>
            <a:off x="784813" y="4781718"/>
            <a:ext cx="2516163" cy="1051105"/>
            <a:chOff x="4010402" y="4875038"/>
            <a:chExt cx="498330" cy="208173"/>
          </a:xfrm>
        </p:grpSpPr>
        <p:sp>
          <p:nvSpPr>
            <p:cNvPr id="29" name="Freeform: Shape 28">
              <a:extLst>
                <a:ext uri="{FF2B5EF4-FFF2-40B4-BE49-F238E27FC236}">
                  <a16:creationId xmlns:a16="http://schemas.microsoft.com/office/drawing/2014/main" id="{4243612C-3894-4811-8BC9-88B4E22922F0}"/>
                </a:ext>
              </a:extLst>
            </p:cNvPr>
            <p:cNvSpPr/>
            <p:nvPr/>
          </p:nvSpPr>
          <p:spPr>
            <a:xfrm>
              <a:off x="4010544" y="4972327"/>
              <a:ext cx="42922" cy="42922"/>
            </a:xfrm>
            <a:custGeom>
              <a:avLst/>
              <a:gdLst>
                <a:gd name="connsiteX0" fmla="*/ 33123 w 42922"/>
                <a:gd name="connsiteY0" fmla="*/ 24539 h 42922"/>
                <a:gd name="connsiteX1" fmla="*/ 24683 w 42922"/>
                <a:gd name="connsiteY1" fmla="*/ 16096 h 42922"/>
                <a:gd name="connsiteX2" fmla="*/ 24539 w 42922"/>
                <a:gd name="connsiteY2" fmla="*/ 16097 h 42922"/>
                <a:gd name="connsiteX3" fmla="*/ 16097 w 42922"/>
                <a:gd name="connsiteY3" fmla="*/ 24250 h 42922"/>
                <a:gd name="connsiteX4" fmla="*/ 16097 w 42922"/>
                <a:gd name="connsiteY4" fmla="*/ 24539 h 42922"/>
                <a:gd name="connsiteX5" fmla="*/ 24394 w 42922"/>
                <a:gd name="connsiteY5" fmla="*/ 33122 h 42922"/>
                <a:gd name="connsiteX6" fmla="*/ 24539 w 42922"/>
                <a:gd name="connsiteY6" fmla="*/ 33123 h 42922"/>
                <a:gd name="connsiteX7" fmla="*/ 33123 w 42922"/>
                <a:gd name="connsiteY7" fmla="*/ 245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539"/>
                  </a:moveTo>
                  <a:cubicBezTo>
                    <a:pt x="33123" y="19877"/>
                    <a:pt x="29344" y="16097"/>
                    <a:pt x="24683" y="16096"/>
                  </a:cubicBezTo>
                  <a:cubicBezTo>
                    <a:pt x="24634" y="16096"/>
                    <a:pt x="24587" y="16096"/>
                    <a:pt x="24539" y="16097"/>
                  </a:cubicBezTo>
                  <a:cubicBezTo>
                    <a:pt x="19956" y="16017"/>
                    <a:pt x="16177" y="19667"/>
                    <a:pt x="16097" y="24250"/>
                  </a:cubicBezTo>
                  <a:cubicBezTo>
                    <a:pt x="16096" y="24346"/>
                    <a:pt x="16096" y="24443"/>
                    <a:pt x="16097" y="24539"/>
                  </a:cubicBezTo>
                  <a:cubicBezTo>
                    <a:pt x="16018" y="29200"/>
                    <a:pt x="19733" y="33043"/>
                    <a:pt x="24394" y="33122"/>
                  </a:cubicBezTo>
                  <a:cubicBezTo>
                    <a:pt x="24443" y="33123"/>
                    <a:pt x="24490" y="33123"/>
                    <a:pt x="24539" y="33123"/>
                  </a:cubicBezTo>
                  <a:cubicBezTo>
                    <a:pt x="29280" y="33123"/>
                    <a:pt x="33123" y="29280"/>
                    <a:pt x="33123" y="24539"/>
                  </a:cubicBezTo>
                </a:path>
              </a:pathLst>
            </a:custGeom>
            <a:solidFill>
              <a:srgbClr val="0D274D"/>
            </a:solidFill>
            <a:ln w="14288"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D4FB04CA-740F-433E-BC9A-9097D5C2DE5E}"/>
                </a:ext>
              </a:extLst>
            </p:cNvPr>
            <p:cNvSpPr/>
            <p:nvPr/>
          </p:nvSpPr>
          <p:spPr>
            <a:xfrm>
              <a:off x="4062052" y="4972759"/>
              <a:ext cx="42922" cy="42922"/>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6"/>
                    <a:pt x="32122" y="24251"/>
                  </a:cubicBezTo>
                  <a:cubicBezTo>
                    <a:pt x="32122" y="24203"/>
                    <a:pt x="32122" y="24155"/>
                    <a:pt x="32120" y="24107"/>
                  </a:cubicBezTo>
                </a:path>
              </a:pathLst>
            </a:custGeom>
            <a:solidFill>
              <a:srgbClr val="0D274D"/>
            </a:solidFill>
            <a:ln w="14288"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0D8CB33-FB23-42A3-8A75-054E75D6EF89}"/>
                </a:ext>
              </a:extLst>
            </p:cNvPr>
            <p:cNvSpPr/>
            <p:nvPr/>
          </p:nvSpPr>
          <p:spPr>
            <a:xfrm>
              <a:off x="4115133" y="4974910"/>
              <a:ext cx="42922" cy="42922"/>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solidFill>
              <a:srgbClr val="0D274D"/>
            </a:solidFill>
            <a:ln w="14288"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67F44BCD-D0AC-4F33-BF8E-605865ACFF51}"/>
                </a:ext>
              </a:extLst>
            </p:cNvPr>
            <p:cNvSpPr/>
            <p:nvPr/>
          </p:nvSpPr>
          <p:spPr>
            <a:xfrm>
              <a:off x="4166926" y="4974047"/>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solidFill>
              <a:srgbClr val="0D274D"/>
            </a:solidFill>
            <a:ln w="14288"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A9659963-CB80-4AD9-B7F6-DFD0B51D1DCB}"/>
                </a:ext>
              </a:extLst>
            </p:cNvPr>
            <p:cNvSpPr/>
            <p:nvPr/>
          </p:nvSpPr>
          <p:spPr>
            <a:xfrm>
              <a:off x="4219076" y="4975553"/>
              <a:ext cx="42922" cy="42922"/>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solidFill>
              <a:srgbClr val="0D274D"/>
            </a:solidFill>
            <a:ln w="14288"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612848F4-63D0-4326-9F7F-505F1D38D67F}"/>
                </a:ext>
              </a:extLst>
            </p:cNvPr>
            <p:cNvSpPr/>
            <p:nvPr/>
          </p:nvSpPr>
          <p:spPr>
            <a:xfrm>
              <a:off x="4271371" y="4975333"/>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solidFill>
              <a:srgbClr val="0D274D"/>
            </a:solidFill>
            <a:ln w="14288"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6CFB781F-89C7-4F79-9739-64739DB825EE}"/>
                </a:ext>
              </a:extLst>
            </p:cNvPr>
            <p:cNvSpPr/>
            <p:nvPr/>
          </p:nvSpPr>
          <p:spPr>
            <a:xfrm>
              <a:off x="4323521" y="4976736"/>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solidFill>
              <a:srgbClr val="0D274D"/>
            </a:solidFill>
            <a:ln w="14288"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B50FBD3D-61B1-4B69-969B-39D6B98C50E8}"/>
                </a:ext>
              </a:extLst>
            </p:cNvPr>
            <p:cNvSpPr/>
            <p:nvPr/>
          </p:nvSpPr>
          <p:spPr>
            <a:xfrm>
              <a:off x="4375817" y="4976764"/>
              <a:ext cx="28615" cy="28615"/>
            </a:xfrm>
            <a:custGeom>
              <a:avLst/>
              <a:gdLst>
                <a:gd name="connsiteX0" fmla="*/ 24392 w 28614"/>
                <a:gd name="connsiteY0" fmla="*/ 20102 h 28614"/>
                <a:gd name="connsiteX1" fmla="*/ 20103 w 28614"/>
                <a:gd name="connsiteY1" fmla="*/ 16098 h 28614"/>
                <a:gd name="connsiteX2" fmla="*/ 16098 w 28614"/>
                <a:gd name="connsiteY2" fmla="*/ 20388 h 28614"/>
                <a:gd name="connsiteX3" fmla="*/ 20243 w 28614"/>
                <a:gd name="connsiteY3" fmla="*/ 24394 h 28614"/>
                <a:gd name="connsiteX4" fmla="*/ 24395 w 28614"/>
                <a:gd name="connsiteY4" fmla="*/ 20248 h 28614"/>
                <a:gd name="connsiteX5" fmla="*/ 24392 w 28614"/>
                <a:gd name="connsiteY5" fmla="*/ 2010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4392" y="20102"/>
                  </a:moveTo>
                  <a:cubicBezTo>
                    <a:pt x="24314" y="17811"/>
                    <a:pt x="22392" y="16018"/>
                    <a:pt x="20103" y="16098"/>
                  </a:cubicBezTo>
                  <a:cubicBezTo>
                    <a:pt x="17812" y="16177"/>
                    <a:pt x="16020" y="18097"/>
                    <a:pt x="16098" y="20388"/>
                  </a:cubicBezTo>
                  <a:cubicBezTo>
                    <a:pt x="16176" y="22621"/>
                    <a:pt x="18008" y="24393"/>
                    <a:pt x="20243" y="24394"/>
                  </a:cubicBezTo>
                  <a:cubicBezTo>
                    <a:pt x="22535" y="24395"/>
                    <a:pt x="24394" y="22538"/>
                    <a:pt x="24395" y="20248"/>
                  </a:cubicBezTo>
                  <a:cubicBezTo>
                    <a:pt x="24395" y="20199"/>
                    <a:pt x="24394" y="20150"/>
                    <a:pt x="24392" y="20102"/>
                  </a:cubicBezTo>
                </a:path>
              </a:pathLst>
            </a:custGeom>
            <a:solidFill>
              <a:srgbClr val="0D274D"/>
            </a:solidFill>
            <a:ln w="14288"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F659FBF3-BA71-4E61-8B40-ADA0FC481C8A}"/>
                </a:ext>
              </a:extLst>
            </p:cNvPr>
            <p:cNvSpPr/>
            <p:nvPr/>
          </p:nvSpPr>
          <p:spPr>
            <a:xfrm>
              <a:off x="4428610" y="4977193"/>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728" y="16169"/>
                    <a:pt x="16169" y="17728"/>
                    <a:pt x="16096" y="19673"/>
                  </a:cubicBezTo>
                  <a:cubicBezTo>
                    <a:pt x="16096" y="21649"/>
                    <a:pt x="17697" y="23250"/>
                    <a:pt x="19673" y="23250"/>
                  </a:cubicBezTo>
                  <a:cubicBezTo>
                    <a:pt x="21649" y="23250"/>
                    <a:pt x="23250" y="21649"/>
                    <a:pt x="23250" y="19673"/>
                  </a:cubicBezTo>
                </a:path>
              </a:pathLst>
            </a:custGeom>
            <a:solidFill>
              <a:srgbClr val="0D274D"/>
            </a:solidFill>
            <a:ln w="14288"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1EF8D684-3DF8-4AB9-B224-05D4186374A7}"/>
                </a:ext>
              </a:extLst>
            </p:cNvPr>
            <p:cNvSpPr/>
            <p:nvPr/>
          </p:nvSpPr>
          <p:spPr>
            <a:xfrm>
              <a:off x="4480117" y="4977905"/>
              <a:ext cx="28615" cy="28615"/>
            </a:xfrm>
            <a:custGeom>
              <a:avLst/>
              <a:gdLst>
                <a:gd name="connsiteX0" fmla="*/ 21962 w 28614"/>
                <a:gd name="connsiteY0" fmla="*/ 18961 h 28614"/>
                <a:gd name="connsiteX1" fmla="*/ 19100 w 28614"/>
                <a:gd name="connsiteY1" fmla="*/ 16100 h 28614"/>
                <a:gd name="connsiteX2" fmla="*/ 16100 w 28614"/>
                <a:gd name="connsiteY2" fmla="*/ 18814 h 28614"/>
                <a:gd name="connsiteX3" fmla="*/ 16096 w 28614"/>
                <a:gd name="connsiteY3" fmla="*/ 18961 h 28614"/>
                <a:gd name="connsiteX4" fmla="*/ 19100 w 28614"/>
                <a:gd name="connsiteY4" fmla="*/ 21966 h 28614"/>
                <a:gd name="connsiteX5" fmla="*/ 21966 w 28614"/>
                <a:gd name="connsiteY5" fmla="*/ 19107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4"/>
                  </a:cubicBezTo>
                  <a:cubicBezTo>
                    <a:pt x="16097" y="18864"/>
                    <a:pt x="16096" y="18912"/>
                    <a:pt x="16096" y="18961"/>
                  </a:cubicBezTo>
                  <a:cubicBezTo>
                    <a:pt x="16096" y="20621"/>
                    <a:pt x="17441" y="21966"/>
                    <a:pt x="19100" y="21966"/>
                  </a:cubicBezTo>
                  <a:cubicBezTo>
                    <a:pt x="20682" y="21967"/>
                    <a:pt x="21963" y="20688"/>
                    <a:pt x="21966" y="19107"/>
                  </a:cubicBezTo>
                  <a:cubicBezTo>
                    <a:pt x="21966" y="19058"/>
                    <a:pt x="21965" y="19010"/>
                    <a:pt x="21962" y="18961"/>
                  </a:cubicBezTo>
                </a:path>
              </a:pathLst>
            </a:custGeom>
            <a:solidFill>
              <a:srgbClr val="0D274D"/>
            </a:solidFill>
            <a:ln w="14288"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6E0B11B7-0854-4C1F-B5D2-1ACA8355898F}"/>
                </a:ext>
              </a:extLst>
            </p:cNvPr>
            <p:cNvSpPr/>
            <p:nvPr/>
          </p:nvSpPr>
          <p:spPr>
            <a:xfrm>
              <a:off x="4010402" y="5004663"/>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solidFill>
              <a:srgbClr val="0D274D"/>
            </a:solidFill>
            <a:ln w="14288"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0ABC843C-8E01-4F2B-88DE-1A640A7F7B21}"/>
                </a:ext>
              </a:extLst>
            </p:cNvPr>
            <p:cNvSpPr/>
            <p:nvPr/>
          </p:nvSpPr>
          <p:spPr>
            <a:xfrm>
              <a:off x="4062054" y="5005094"/>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96" y="32119"/>
                    <a:pt x="32119" y="28596"/>
                    <a:pt x="32119" y="24250"/>
                  </a:cubicBezTo>
                </a:path>
              </a:pathLst>
            </a:custGeom>
            <a:solidFill>
              <a:srgbClr val="0D274D"/>
            </a:solidFill>
            <a:ln w="14288"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CCD284C2-F34B-44ED-8FC2-B92C970E679F}"/>
                </a:ext>
              </a:extLst>
            </p:cNvPr>
            <p:cNvSpPr/>
            <p:nvPr/>
          </p:nvSpPr>
          <p:spPr>
            <a:xfrm>
              <a:off x="4114847" y="5005951"/>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solidFill>
              <a:srgbClr val="0D274D"/>
            </a:solidFill>
            <a:ln w="14288"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3429B15B-EB01-4D37-AA66-9F4DCEA37A91}"/>
                </a:ext>
              </a:extLst>
            </p:cNvPr>
            <p:cNvSpPr/>
            <p:nvPr/>
          </p:nvSpPr>
          <p:spPr>
            <a:xfrm>
              <a:off x="4166926" y="5006525"/>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solidFill>
              <a:srgbClr val="0D274D"/>
            </a:solidFill>
            <a:ln w="14288"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E7D4D69B-CF9F-499F-867D-A1D674E92E10}"/>
                </a:ext>
              </a:extLst>
            </p:cNvPr>
            <p:cNvSpPr/>
            <p:nvPr/>
          </p:nvSpPr>
          <p:spPr>
            <a:xfrm>
              <a:off x="4219007" y="5006954"/>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solidFill>
              <a:srgbClr val="0D274D"/>
            </a:solidFill>
            <a:ln w="14288"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CEDCE03D-B552-4562-9B59-2B5B70CE67A1}"/>
                </a:ext>
              </a:extLst>
            </p:cNvPr>
            <p:cNvSpPr/>
            <p:nvPr/>
          </p:nvSpPr>
          <p:spPr>
            <a:xfrm>
              <a:off x="4271371" y="5007811"/>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solidFill>
              <a:srgbClr val="0D274D"/>
            </a:solidFill>
            <a:ln w="14288"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17AFB8A3-0EBD-42AD-99FF-582FED738142}"/>
                </a:ext>
              </a:extLst>
            </p:cNvPr>
            <p:cNvSpPr/>
            <p:nvPr/>
          </p:nvSpPr>
          <p:spPr>
            <a:xfrm>
              <a:off x="4323450" y="5008385"/>
              <a:ext cx="28615" cy="28615"/>
            </a:xfrm>
            <a:custGeom>
              <a:avLst/>
              <a:gdLst>
                <a:gd name="connsiteX0" fmla="*/ 25825 w 28614"/>
                <a:gd name="connsiteY0" fmla="*/ 20959 h 28614"/>
                <a:gd name="connsiteX1" fmla="*/ 20959 w 28614"/>
                <a:gd name="connsiteY1" fmla="*/ 16096 h 28614"/>
                <a:gd name="connsiteX2" fmla="*/ 16096 w 28614"/>
                <a:gd name="connsiteY2" fmla="*/ 20963 h 28614"/>
                <a:gd name="connsiteX3" fmla="*/ 20963 w 28614"/>
                <a:gd name="connsiteY3" fmla="*/ 25825 h 28614"/>
                <a:gd name="connsiteX4" fmla="*/ 21104 w 28614"/>
                <a:gd name="connsiteY4" fmla="*/ 25824 h 28614"/>
                <a:gd name="connsiteX5" fmla="*/ 25825 w 28614"/>
                <a:gd name="connsiteY5" fmla="*/ 2095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5" y="20959"/>
                  </a:moveTo>
                  <a:cubicBezTo>
                    <a:pt x="25824" y="18272"/>
                    <a:pt x="23644" y="16096"/>
                    <a:pt x="20959" y="16096"/>
                  </a:cubicBezTo>
                  <a:cubicBezTo>
                    <a:pt x="18272" y="16097"/>
                    <a:pt x="16094" y="18276"/>
                    <a:pt x="16096" y="20963"/>
                  </a:cubicBezTo>
                  <a:cubicBezTo>
                    <a:pt x="16097" y="23650"/>
                    <a:pt x="18276" y="25826"/>
                    <a:pt x="20963" y="25825"/>
                  </a:cubicBezTo>
                  <a:cubicBezTo>
                    <a:pt x="21009" y="25825"/>
                    <a:pt x="21056" y="25825"/>
                    <a:pt x="21104" y="25824"/>
                  </a:cubicBezTo>
                  <a:cubicBezTo>
                    <a:pt x="23735" y="25746"/>
                    <a:pt x="25826" y="23590"/>
                    <a:pt x="25825" y="20959"/>
                  </a:cubicBezTo>
                </a:path>
              </a:pathLst>
            </a:custGeom>
            <a:solidFill>
              <a:srgbClr val="0D274D"/>
            </a:solidFill>
            <a:ln w="14288"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AB187DE1-E5CB-4F23-855A-6A75EAA38FE9}"/>
                </a:ext>
              </a:extLst>
            </p:cNvPr>
            <p:cNvSpPr/>
            <p:nvPr/>
          </p:nvSpPr>
          <p:spPr>
            <a:xfrm>
              <a:off x="4375815" y="5009099"/>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solidFill>
              <a:srgbClr val="0D274D"/>
            </a:solidFill>
            <a:ln w="14288"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A354911B-DE1C-4A2C-9F4E-D41FF4D1BFE6}"/>
                </a:ext>
              </a:extLst>
            </p:cNvPr>
            <p:cNvSpPr/>
            <p:nvPr/>
          </p:nvSpPr>
          <p:spPr>
            <a:xfrm>
              <a:off x="4428610" y="5009671"/>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solidFill>
              <a:srgbClr val="0D274D"/>
            </a:solidFill>
            <a:ln w="14288"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7E601613-9BC3-4997-A0A3-C14136DE46E5}"/>
                </a:ext>
              </a:extLst>
            </p:cNvPr>
            <p:cNvSpPr/>
            <p:nvPr/>
          </p:nvSpPr>
          <p:spPr>
            <a:xfrm>
              <a:off x="4479974" y="5010246"/>
              <a:ext cx="28615" cy="28615"/>
            </a:xfrm>
            <a:custGeom>
              <a:avLst/>
              <a:gdLst>
                <a:gd name="connsiteX0" fmla="*/ 22105 w 28614"/>
                <a:gd name="connsiteY0" fmla="*/ 19098 h 28614"/>
                <a:gd name="connsiteX1" fmla="*/ 19098 w 28614"/>
                <a:gd name="connsiteY1" fmla="*/ 16096 h 28614"/>
                <a:gd name="connsiteX2" fmla="*/ 16096 w 28614"/>
                <a:gd name="connsiteY2" fmla="*/ 19105 h 28614"/>
                <a:gd name="connsiteX3" fmla="*/ 19103 w 28614"/>
                <a:gd name="connsiteY3" fmla="*/ 22105 h 28614"/>
                <a:gd name="connsiteX4" fmla="*/ 19244 w 28614"/>
                <a:gd name="connsiteY4" fmla="*/ 22102 h 28614"/>
                <a:gd name="connsiteX5" fmla="*/ 22105 w 28614"/>
                <a:gd name="connsiteY5" fmla="*/ 1909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2105" y="19098"/>
                  </a:moveTo>
                  <a:cubicBezTo>
                    <a:pt x="22104" y="17438"/>
                    <a:pt x="20756" y="16094"/>
                    <a:pt x="19098" y="16096"/>
                  </a:cubicBezTo>
                  <a:cubicBezTo>
                    <a:pt x="17438" y="16099"/>
                    <a:pt x="16094" y="17445"/>
                    <a:pt x="16096" y="19105"/>
                  </a:cubicBezTo>
                  <a:cubicBezTo>
                    <a:pt x="16097" y="20764"/>
                    <a:pt x="17445" y="22108"/>
                    <a:pt x="19103" y="22105"/>
                  </a:cubicBezTo>
                  <a:cubicBezTo>
                    <a:pt x="19151" y="22105"/>
                    <a:pt x="19196" y="22105"/>
                    <a:pt x="19244" y="22102"/>
                  </a:cubicBezTo>
                  <a:cubicBezTo>
                    <a:pt x="20847" y="22026"/>
                    <a:pt x="22107" y="20703"/>
                    <a:pt x="22105" y="19098"/>
                  </a:cubicBezTo>
                </a:path>
              </a:pathLst>
            </a:custGeom>
            <a:solidFill>
              <a:srgbClr val="0D274D"/>
            </a:solidFill>
            <a:ln w="14288"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00A24B43-FC31-4AA6-8FBD-EC72FB1D43D9}"/>
                </a:ext>
              </a:extLst>
            </p:cNvPr>
            <p:cNvSpPr/>
            <p:nvPr/>
          </p:nvSpPr>
          <p:spPr>
            <a:xfrm>
              <a:off x="4010544" y="5037141"/>
              <a:ext cx="42922" cy="42922"/>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solidFill>
              <a:srgbClr val="0D274D"/>
            </a:solidFill>
            <a:ln w="14288"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6C45704A-6280-4948-97E8-096F40D499F2}"/>
                </a:ext>
              </a:extLst>
            </p:cNvPr>
            <p:cNvSpPr/>
            <p:nvPr/>
          </p:nvSpPr>
          <p:spPr>
            <a:xfrm>
              <a:off x="4062054" y="5037572"/>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solidFill>
              <a:srgbClr val="0D274D"/>
            </a:solidFill>
            <a:ln w="14288"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AE447F78-D550-42D9-A53E-74D90F18437D}"/>
                </a:ext>
              </a:extLst>
            </p:cNvPr>
            <p:cNvSpPr/>
            <p:nvPr/>
          </p:nvSpPr>
          <p:spPr>
            <a:xfrm>
              <a:off x="4114847" y="5038429"/>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89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89"/>
                    <a:pt x="23393" y="30689"/>
                  </a:cubicBezTo>
                  <a:cubicBezTo>
                    <a:pt x="27423" y="30689"/>
                    <a:pt x="30689" y="27423"/>
                    <a:pt x="30689" y="23393"/>
                  </a:cubicBezTo>
                </a:path>
              </a:pathLst>
            </a:custGeom>
            <a:solidFill>
              <a:srgbClr val="0D274D"/>
            </a:solidFill>
            <a:ln w="14288" cap="flat">
              <a:no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81A66037-FE86-4FE5-A0EF-900DF8F119B6}"/>
                </a:ext>
              </a:extLst>
            </p:cNvPr>
            <p:cNvSpPr/>
            <p:nvPr/>
          </p:nvSpPr>
          <p:spPr>
            <a:xfrm>
              <a:off x="4166928" y="5038860"/>
              <a:ext cx="42922" cy="42922"/>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solidFill>
              <a:srgbClr val="0D274D"/>
            </a:solidFill>
            <a:ln w="14288"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CEB9B430-4E5F-4147-B2DC-04191B352E1C}"/>
                </a:ext>
              </a:extLst>
            </p:cNvPr>
            <p:cNvSpPr/>
            <p:nvPr/>
          </p:nvSpPr>
          <p:spPr>
            <a:xfrm>
              <a:off x="4219007" y="5039432"/>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solidFill>
              <a:srgbClr val="0D274D"/>
            </a:solidFill>
            <a:ln w="14288"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93D92BA4-127E-4091-9118-CD020D0B0E31}"/>
                </a:ext>
              </a:extLst>
            </p:cNvPr>
            <p:cNvSpPr/>
            <p:nvPr/>
          </p:nvSpPr>
          <p:spPr>
            <a:xfrm>
              <a:off x="4271371" y="5040289"/>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solidFill>
              <a:srgbClr val="0D274D"/>
            </a:solidFill>
            <a:ln w="14288"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CE52E06B-9657-4F64-B71A-8E833A1C414A}"/>
                </a:ext>
              </a:extLst>
            </p:cNvPr>
            <p:cNvSpPr/>
            <p:nvPr/>
          </p:nvSpPr>
          <p:spPr>
            <a:xfrm>
              <a:off x="4323452" y="5040720"/>
              <a:ext cx="28615" cy="28615"/>
            </a:xfrm>
            <a:custGeom>
              <a:avLst/>
              <a:gdLst>
                <a:gd name="connsiteX0" fmla="*/ 25823 w 28614"/>
                <a:gd name="connsiteY0" fmla="*/ 21101 h 28614"/>
                <a:gd name="connsiteX1" fmla="*/ 21101 w 28614"/>
                <a:gd name="connsiteY1" fmla="*/ 16098 h 28614"/>
                <a:gd name="connsiteX2" fmla="*/ 16098 w 28614"/>
                <a:gd name="connsiteY2" fmla="*/ 20820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20"/>
                  </a:cubicBezTo>
                  <a:cubicBezTo>
                    <a:pt x="16019" y="23505"/>
                    <a:pt x="18134" y="25746"/>
                    <a:pt x="20820" y="25823"/>
                  </a:cubicBezTo>
                  <a:cubicBezTo>
                    <a:pt x="20914" y="25826"/>
                    <a:pt x="21007" y="25826"/>
                    <a:pt x="21101" y="25823"/>
                  </a:cubicBezTo>
                  <a:cubicBezTo>
                    <a:pt x="23677" y="25748"/>
                    <a:pt x="25748" y="23678"/>
                    <a:pt x="25823" y="21101"/>
                  </a:cubicBezTo>
                </a:path>
              </a:pathLst>
            </a:custGeom>
            <a:solidFill>
              <a:srgbClr val="0D274D"/>
            </a:solidFill>
            <a:ln w="14288"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410292AE-AAB1-4A9D-A5B2-CF4EE20FB1A8}"/>
                </a:ext>
              </a:extLst>
            </p:cNvPr>
            <p:cNvSpPr/>
            <p:nvPr/>
          </p:nvSpPr>
          <p:spPr>
            <a:xfrm>
              <a:off x="4375815" y="5041577"/>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solidFill>
              <a:srgbClr val="0D274D"/>
            </a:solidFill>
            <a:ln w="14288" cap="flat">
              <a:no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393ACA45-BF3E-499C-ABE4-24663CE93651}"/>
                </a:ext>
              </a:extLst>
            </p:cNvPr>
            <p:cNvSpPr/>
            <p:nvPr/>
          </p:nvSpPr>
          <p:spPr>
            <a:xfrm>
              <a:off x="4429192" y="5042006"/>
              <a:ext cx="28615" cy="28615"/>
            </a:xfrm>
            <a:custGeom>
              <a:avLst/>
              <a:gdLst>
                <a:gd name="connsiteX0" fmla="*/ 22668 w 28614"/>
                <a:gd name="connsiteY0" fmla="*/ 19816 h 28614"/>
                <a:gd name="connsiteX1" fmla="*/ 19091 w 28614"/>
                <a:gd name="connsiteY1" fmla="*/ 16096 h 28614"/>
                <a:gd name="connsiteX2" fmla="*/ 16168 w 28614"/>
                <a:gd name="connsiteY2" fmla="*/ 20470 h 28614"/>
                <a:gd name="connsiteX3" fmla="*/ 19091 w 28614"/>
                <a:gd name="connsiteY3" fmla="*/ 23393 h 28614"/>
                <a:gd name="connsiteX4" fmla="*/ 22668 w 28614"/>
                <a:gd name="connsiteY4" fmla="*/ 19816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2668" y="19816"/>
                  </a:moveTo>
                  <a:cubicBezTo>
                    <a:pt x="22669" y="17816"/>
                    <a:pt x="21090" y="16173"/>
                    <a:pt x="19091" y="16096"/>
                  </a:cubicBezTo>
                  <a:cubicBezTo>
                    <a:pt x="17077" y="16497"/>
                    <a:pt x="15767" y="18455"/>
                    <a:pt x="16168" y="20470"/>
                  </a:cubicBezTo>
                  <a:cubicBezTo>
                    <a:pt x="16463" y="21946"/>
                    <a:pt x="17616" y="23099"/>
                    <a:pt x="19091" y="23393"/>
                  </a:cubicBezTo>
                  <a:cubicBezTo>
                    <a:pt x="21067" y="23393"/>
                    <a:pt x="22668" y="21792"/>
                    <a:pt x="22668" y="19816"/>
                  </a:cubicBezTo>
                </a:path>
              </a:pathLst>
            </a:custGeom>
            <a:solidFill>
              <a:srgbClr val="0D274D"/>
            </a:solidFill>
            <a:ln w="14288" cap="flat">
              <a:noFill/>
              <a:prstDash val="solid"/>
              <a:miter/>
            </a:ln>
          </p:spPr>
          <p:txBody>
            <a:bodyPr rtlCol="0" anchor="ctr"/>
            <a:lstStyle/>
            <a:p>
              <a:endParaRPr lang="en-US" dirty="0"/>
            </a:p>
          </p:txBody>
        </p:sp>
        <p:sp>
          <p:nvSpPr>
            <p:cNvPr id="66" name="Freeform: Shape 65">
              <a:extLst>
                <a:ext uri="{FF2B5EF4-FFF2-40B4-BE49-F238E27FC236}">
                  <a16:creationId xmlns:a16="http://schemas.microsoft.com/office/drawing/2014/main" id="{659ECD32-3F06-420D-AF9F-E48E0799377E}"/>
                </a:ext>
              </a:extLst>
            </p:cNvPr>
            <p:cNvSpPr/>
            <p:nvPr/>
          </p:nvSpPr>
          <p:spPr>
            <a:xfrm>
              <a:off x="4480117" y="5042721"/>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1"/>
                    <a:pt x="21962" y="19100"/>
                  </a:cubicBezTo>
                </a:path>
              </a:pathLst>
            </a:custGeom>
            <a:solidFill>
              <a:srgbClr val="0D274D"/>
            </a:solidFill>
            <a:ln w="14288"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937853F5-033E-47E0-B8C4-E56CD27DEE91}"/>
                </a:ext>
              </a:extLst>
            </p:cNvPr>
            <p:cNvSpPr/>
            <p:nvPr/>
          </p:nvSpPr>
          <p:spPr>
            <a:xfrm>
              <a:off x="4010544" y="4875038"/>
              <a:ext cx="42922" cy="42922"/>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solidFill>
              <a:srgbClr val="0D274D"/>
            </a:solidFill>
            <a:ln w="14288" cap="flat">
              <a:no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A8233C16-E215-4A6D-BAF0-1EF214B4F596}"/>
                </a:ext>
              </a:extLst>
            </p:cNvPr>
            <p:cNvSpPr/>
            <p:nvPr/>
          </p:nvSpPr>
          <p:spPr>
            <a:xfrm>
              <a:off x="4062054" y="4875468"/>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solidFill>
              <a:srgbClr val="0D274D"/>
            </a:solidFill>
            <a:ln w="14288"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33D472A2-F932-4A3A-AB97-263F0408338A}"/>
                </a:ext>
              </a:extLst>
            </p:cNvPr>
            <p:cNvSpPr/>
            <p:nvPr/>
          </p:nvSpPr>
          <p:spPr>
            <a:xfrm>
              <a:off x="4115133" y="4877762"/>
              <a:ext cx="42922" cy="42922"/>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solidFill>
              <a:srgbClr val="0D274D"/>
            </a:solidFill>
            <a:ln w="14288"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BA592B2D-DF56-4D92-B081-793312025777}"/>
                </a:ext>
              </a:extLst>
            </p:cNvPr>
            <p:cNvSpPr/>
            <p:nvPr/>
          </p:nvSpPr>
          <p:spPr>
            <a:xfrm>
              <a:off x="4166928" y="4876756"/>
              <a:ext cx="42922" cy="42922"/>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solidFill>
              <a:srgbClr val="0D274D"/>
            </a:solidFill>
            <a:ln w="14288"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BFEADCE3-4922-4615-A9D3-E9E9E35C3786}"/>
                </a:ext>
              </a:extLst>
            </p:cNvPr>
            <p:cNvSpPr/>
            <p:nvPr/>
          </p:nvSpPr>
          <p:spPr>
            <a:xfrm>
              <a:off x="4219007" y="4877328"/>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1"/>
                    <a:pt x="22296" y="28401"/>
                    <a:pt x="22390" y="28399"/>
                  </a:cubicBezTo>
                  <a:cubicBezTo>
                    <a:pt x="25709" y="28399"/>
                    <a:pt x="28399" y="25709"/>
                    <a:pt x="28399" y="22390"/>
                  </a:cubicBezTo>
                </a:path>
              </a:pathLst>
            </a:custGeom>
            <a:solidFill>
              <a:srgbClr val="0D274D"/>
            </a:solidFill>
            <a:ln w="14288"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62ACBF9B-334E-4581-BDE5-007B923AF6C8}"/>
                </a:ext>
              </a:extLst>
            </p:cNvPr>
            <p:cNvSpPr/>
            <p:nvPr/>
          </p:nvSpPr>
          <p:spPr>
            <a:xfrm>
              <a:off x="4271371" y="4878185"/>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solidFill>
              <a:srgbClr val="0D274D"/>
            </a:solidFill>
            <a:ln w="14288"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159F0F49-8CB6-47F9-9151-CF98B4E0E514}"/>
                </a:ext>
              </a:extLst>
            </p:cNvPr>
            <p:cNvSpPr/>
            <p:nvPr/>
          </p:nvSpPr>
          <p:spPr>
            <a:xfrm>
              <a:off x="4323452" y="4878617"/>
              <a:ext cx="28615" cy="28615"/>
            </a:xfrm>
            <a:custGeom>
              <a:avLst/>
              <a:gdLst>
                <a:gd name="connsiteX0" fmla="*/ 25823 w 28614"/>
                <a:gd name="connsiteY0" fmla="*/ 21101 h 28614"/>
                <a:gd name="connsiteX1" fmla="*/ 21101 w 28614"/>
                <a:gd name="connsiteY1" fmla="*/ 16098 h 28614"/>
                <a:gd name="connsiteX2" fmla="*/ 16098 w 28614"/>
                <a:gd name="connsiteY2" fmla="*/ 20819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19"/>
                  </a:cubicBezTo>
                  <a:cubicBezTo>
                    <a:pt x="16019" y="23505"/>
                    <a:pt x="18134" y="25746"/>
                    <a:pt x="20820" y="25823"/>
                  </a:cubicBezTo>
                  <a:cubicBezTo>
                    <a:pt x="20914" y="25826"/>
                    <a:pt x="21007" y="25826"/>
                    <a:pt x="21101" y="25823"/>
                  </a:cubicBezTo>
                  <a:cubicBezTo>
                    <a:pt x="23677" y="25748"/>
                    <a:pt x="25748" y="23677"/>
                    <a:pt x="25823" y="21101"/>
                  </a:cubicBezTo>
                </a:path>
              </a:pathLst>
            </a:custGeom>
            <a:solidFill>
              <a:srgbClr val="0D274D"/>
            </a:solidFill>
            <a:ln w="14288"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76E4B1FD-B365-4EE8-B62F-0993BDC9A397}"/>
                </a:ext>
              </a:extLst>
            </p:cNvPr>
            <p:cNvSpPr/>
            <p:nvPr/>
          </p:nvSpPr>
          <p:spPr>
            <a:xfrm>
              <a:off x="4375815" y="4879473"/>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solidFill>
              <a:srgbClr val="0D274D"/>
            </a:solidFill>
            <a:ln w="14288"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BC1C2361-EECE-4324-87D7-1741168103F2}"/>
                </a:ext>
              </a:extLst>
            </p:cNvPr>
            <p:cNvSpPr/>
            <p:nvPr/>
          </p:nvSpPr>
          <p:spPr>
            <a:xfrm>
              <a:off x="4427895" y="4879829"/>
              <a:ext cx="28615" cy="28615"/>
            </a:xfrm>
            <a:custGeom>
              <a:avLst/>
              <a:gdLst>
                <a:gd name="connsiteX0" fmla="*/ 23965 w 28614"/>
                <a:gd name="connsiteY0" fmla="*/ 19889 h 28614"/>
                <a:gd name="connsiteX1" fmla="*/ 20611 w 28614"/>
                <a:gd name="connsiteY1" fmla="*/ 16102 h 28614"/>
                <a:gd name="connsiteX2" fmla="*/ 19673 w 28614"/>
                <a:gd name="connsiteY2" fmla="*/ 16169 h 28614"/>
                <a:gd name="connsiteX3" fmla="*/ 16096 w 28614"/>
                <a:gd name="connsiteY3" fmla="*/ 19746 h 28614"/>
                <a:gd name="connsiteX4" fmla="*/ 19673 w 28614"/>
                <a:gd name="connsiteY4" fmla="*/ 23323 h 28614"/>
                <a:gd name="connsiteX5" fmla="*/ 23250 w 28614"/>
                <a:gd name="connsiteY5" fmla="*/ 1974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965" y="19889"/>
                  </a:moveTo>
                  <a:cubicBezTo>
                    <a:pt x="24085" y="17918"/>
                    <a:pt x="22583" y="16222"/>
                    <a:pt x="20611" y="16102"/>
                  </a:cubicBezTo>
                  <a:cubicBezTo>
                    <a:pt x="20297" y="16084"/>
                    <a:pt x="19982" y="16106"/>
                    <a:pt x="19673" y="16169"/>
                  </a:cubicBezTo>
                  <a:cubicBezTo>
                    <a:pt x="17697" y="16169"/>
                    <a:pt x="16096" y="17770"/>
                    <a:pt x="16096" y="19746"/>
                  </a:cubicBezTo>
                  <a:cubicBezTo>
                    <a:pt x="16169" y="21691"/>
                    <a:pt x="17728" y="23250"/>
                    <a:pt x="19673" y="23323"/>
                  </a:cubicBezTo>
                  <a:cubicBezTo>
                    <a:pt x="21649" y="23323"/>
                    <a:pt x="23250" y="21722"/>
                    <a:pt x="23250" y="19746"/>
                  </a:cubicBezTo>
                </a:path>
              </a:pathLst>
            </a:custGeom>
            <a:solidFill>
              <a:srgbClr val="0D274D"/>
            </a:solidFill>
            <a:ln w="14288"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2E3DB313-FA88-4070-B286-16FECFAC47C6}"/>
                </a:ext>
              </a:extLst>
            </p:cNvPr>
            <p:cNvSpPr/>
            <p:nvPr/>
          </p:nvSpPr>
          <p:spPr>
            <a:xfrm>
              <a:off x="4480117" y="4880618"/>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0"/>
                    <a:pt x="21962" y="19100"/>
                  </a:cubicBezTo>
                </a:path>
              </a:pathLst>
            </a:custGeom>
            <a:solidFill>
              <a:srgbClr val="0D274D"/>
            </a:solidFill>
            <a:ln w="14288"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C7B87BEF-0DCD-4874-BB93-528E5EE4512B}"/>
                </a:ext>
              </a:extLst>
            </p:cNvPr>
            <p:cNvSpPr/>
            <p:nvPr/>
          </p:nvSpPr>
          <p:spPr>
            <a:xfrm>
              <a:off x="4010402" y="4907373"/>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solidFill>
              <a:srgbClr val="0D274D"/>
            </a:solidFill>
            <a:ln w="14288"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D9B188FD-45C5-4B5E-B647-87A37FE486FC}"/>
                </a:ext>
              </a:extLst>
            </p:cNvPr>
            <p:cNvSpPr/>
            <p:nvPr/>
          </p:nvSpPr>
          <p:spPr>
            <a:xfrm>
              <a:off x="4062052" y="4907946"/>
              <a:ext cx="42922" cy="42922"/>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8"/>
                    <a:pt x="32122" y="24251"/>
                  </a:cubicBezTo>
                  <a:cubicBezTo>
                    <a:pt x="32122" y="24203"/>
                    <a:pt x="32122" y="24155"/>
                    <a:pt x="32120" y="24107"/>
                  </a:cubicBezTo>
                </a:path>
              </a:pathLst>
            </a:custGeom>
            <a:solidFill>
              <a:srgbClr val="0D274D"/>
            </a:solidFill>
            <a:ln w="14288"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6E6AD749-4DCC-43D9-9493-540BDE803394}"/>
                </a:ext>
              </a:extLst>
            </p:cNvPr>
            <p:cNvSpPr/>
            <p:nvPr/>
          </p:nvSpPr>
          <p:spPr>
            <a:xfrm>
              <a:off x="4114847" y="4908660"/>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solidFill>
              <a:srgbClr val="0D274D"/>
            </a:solidFill>
            <a:ln w="14288"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C4C5B43B-0CCC-44D7-8146-6585ADCF5E71}"/>
                </a:ext>
              </a:extLst>
            </p:cNvPr>
            <p:cNvSpPr/>
            <p:nvPr/>
          </p:nvSpPr>
          <p:spPr>
            <a:xfrm>
              <a:off x="4166926" y="4909234"/>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solidFill>
              <a:srgbClr val="0D274D"/>
            </a:solidFill>
            <a:ln w="14288"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B4EE5E7A-A67F-4785-9557-210E05AA5A69}"/>
                </a:ext>
              </a:extLst>
            </p:cNvPr>
            <p:cNvSpPr/>
            <p:nvPr/>
          </p:nvSpPr>
          <p:spPr>
            <a:xfrm>
              <a:off x="4219076" y="4910740"/>
              <a:ext cx="42922" cy="42922"/>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solidFill>
              <a:srgbClr val="0D274D"/>
            </a:solidFill>
            <a:ln w="14288"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F61F25EA-6CD5-4ABA-85D8-F7C6DA645EF0}"/>
                </a:ext>
              </a:extLst>
            </p:cNvPr>
            <p:cNvSpPr/>
            <p:nvPr/>
          </p:nvSpPr>
          <p:spPr>
            <a:xfrm>
              <a:off x="4271371" y="4910520"/>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solidFill>
              <a:srgbClr val="0D274D"/>
            </a:solidFill>
            <a:ln w="14288"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60DD6287-8029-4AA4-A549-64868F9693D2}"/>
                </a:ext>
              </a:extLst>
            </p:cNvPr>
            <p:cNvSpPr/>
            <p:nvPr/>
          </p:nvSpPr>
          <p:spPr>
            <a:xfrm>
              <a:off x="4323521" y="4911923"/>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solidFill>
              <a:srgbClr val="0D274D"/>
            </a:solidFill>
            <a:ln w="14288" cap="flat">
              <a:no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24D56516-BE56-4F6A-A51A-09505FA12F08}"/>
                </a:ext>
              </a:extLst>
            </p:cNvPr>
            <p:cNvSpPr/>
            <p:nvPr/>
          </p:nvSpPr>
          <p:spPr>
            <a:xfrm>
              <a:off x="4375815" y="4911808"/>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solidFill>
              <a:srgbClr val="0D274D"/>
            </a:solidFill>
            <a:ln w="14288" cap="flat">
              <a:noFill/>
              <a:prstDash val="solid"/>
              <a:miter/>
            </a:ln>
          </p:spPr>
          <p:txBody>
            <a:bodyPr rtlCol="0" anchor="ctr"/>
            <a:lstStyle/>
            <a:p>
              <a:endParaRPr lang="en-US" dirty="0"/>
            </a:p>
          </p:txBody>
        </p:sp>
        <p:sp>
          <p:nvSpPr>
            <p:cNvPr id="85" name="Freeform: Shape 84">
              <a:extLst>
                <a:ext uri="{FF2B5EF4-FFF2-40B4-BE49-F238E27FC236}">
                  <a16:creationId xmlns:a16="http://schemas.microsoft.com/office/drawing/2014/main" id="{F30D38C4-FFBB-40AF-BB7F-AACB9FF8F67B}"/>
                </a:ext>
              </a:extLst>
            </p:cNvPr>
            <p:cNvSpPr/>
            <p:nvPr/>
          </p:nvSpPr>
          <p:spPr>
            <a:xfrm>
              <a:off x="4428610" y="4912380"/>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solidFill>
              <a:srgbClr val="0D274D"/>
            </a:solidFill>
            <a:ln w="14288" cap="flat">
              <a:no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2C0CBA65-BBB8-45E4-913F-359DDA9DDA3B}"/>
                </a:ext>
              </a:extLst>
            </p:cNvPr>
            <p:cNvSpPr/>
            <p:nvPr/>
          </p:nvSpPr>
          <p:spPr>
            <a:xfrm>
              <a:off x="4480117" y="4913092"/>
              <a:ext cx="28615" cy="28615"/>
            </a:xfrm>
            <a:custGeom>
              <a:avLst/>
              <a:gdLst>
                <a:gd name="connsiteX0" fmla="*/ 21962 w 28614"/>
                <a:gd name="connsiteY0" fmla="*/ 18961 h 28614"/>
                <a:gd name="connsiteX1" fmla="*/ 19100 w 28614"/>
                <a:gd name="connsiteY1" fmla="*/ 16100 h 28614"/>
                <a:gd name="connsiteX2" fmla="*/ 16100 w 28614"/>
                <a:gd name="connsiteY2" fmla="*/ 18815 h 28614"/>
                <a:gd name="connsiteX3" fmla="*/ 16096 w 28614"/>
                <a:gd name="connsiteY3" fmla="*/ 18961 h 28614"/>
                <a:gd name="connsiteX4" fmla="*/ 19100 w 28614"/>
                <a:gd name="connsiteY4" fmla="*/ 21966 h 28614"/>
                <a:gd name="connsiteX5" fmla="*/ 21966 w 28614"/>
                <a:gd name="connsiteY5" fmla="*/ 19108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5"/>
                  </a:cubicBezTo>
                  <a:cubicBezTo>
                    <a:pt x="16097" y="18864"/>
                    <a:pt x="16096" y="18912"/>
                    <a:pt x="16096" y="18961"/>
                  </a:cubicBezTo>
                  <a:cubicBezTo>
                    <a:pt x="16096" y="20621"/>
                    <a:pt x="17441" y="21966"/>
                    <a:pt x="19100" y="21966"/>
                  </a:cubicBezTo>
                  <a:cubicBezTo>
                    <a:pt x="20682" y="21967"/>
                    <a:pt x="21963" y="20688"/>
                    <a:pt x="21966" y="19108"/>
                  </a:cubicBezTo>
                  <a:cubicBezTo>
                    <a:pt x="21966" y="19058"/>
                    <a:pt x="21965" y="19010"/>
                    <a:pt x="21962" y="18961"/>
                  </a:cubicBezTo>
                </a:path>
              </a:pathLst>
            </a:custGeom>
            <a:solidFill>
              <a:srgbClr val="0D274D"/>
            </a:solidFill>
            <a:ln w="14288" cap="flat">
              <a:noFill/>
              <a:prstDash val="solid"/>
              <a:miter/>
            </a:ln>
          </p:spPr>
          <p:txBody>
            <a:bodyPr rtlCol="0" anchor="ctr"/>
            <a:lstStyle/>
            <a:p>
              <a:endParaRPr lang="en-US" dirty="0"/>
            </a:p>
          </p:txBody>
        </p:sp>
        <p:sp>
          <p:nvSpPr>
            <p:cNvPr id="87" name="Freeform: Shape 86">
              <a:extLst>
                <a:ext uri="{FF2B5EF4-FFF2-40B4-BE49-F238E27FC236}">
                  <a16:creationId xmlns:a16="http://schemas.microsoft.com/office/drawing/2014/main" id="{5D5F4CE3-A125-48CA-AA31-23A32855244C}"/>
                </a:ext>
              </a:extLst>
            </p:cNvPr>
            <p:cNvSpPr/>
            <p:nvPr/>
          </p:nvSpPr>
          <p:spPr>
            <a:xfrm>
              <a:off x="4010402" y="4939851"/>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solidFill>
              <a:srgbClr val="0D274D"/>
            </a:solidFill>
            <a:ln w="14288" cap="flat">
              <a:noFill/>
              <a:prstDash val="solid"/>
              <a:miter/>
            </a:ln>
          </p:spPr>
          <p:txBody>
            <a:bodyPr rtlCol="0" anchor="ctr"/>
            <a:lstStyle/>
            <a:p>
              <a:endParaRPr lang="en-US" dirty="0"/>
            </a:p>
          </p:txBody>
        </p:sp>
        <p:sp>
          <p:nvSpPr>
            <p:cNvPr id="88" name="Freeform: Shape 87">
              <a:extLst>
                <a:ext uri="{FF2B5EF4-FFF2-40B4-BE49-F238E27FC236}">
                  <a16:creationId xmlns:a16="http://schemas.microsoft.com/office/drawing/2014/main" id="{B438A3A8-983B-4FEC-8F17-CB792619AC83}"/>
                </a:ext>
              </a:extLst>
            </p:cNvPr>
            <p:cNvSpPr/>
            <p:nvPr/>
          </p:nvSpPr>
          <p:spPr>
            <a:xfrm>
              <a:off x="4062054" y="4940281"/>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solidFill>
              <a:srgbClr val="0D274D"/>
            </a:solidFill>
            <a:ln w="14288" cap="flat">
              <a:noFill/>
              <a:prstDash val="solid"/>
              <a:miter/>
            </a:ln>
          </p:spPr>
          <p:txBody>
            <a:bodyPr rtlCol="0" anchor="ctr"/>
            <a:lstStyle/>
            <a:p>
              <a:endParaRPr lang="en-US" dirty="0"/>
            </a:p>
          </p:txBody>
        </p:sp>
        <p:sp>
          <p:nvSpPr>
            <p:cNvPr id="89" name="Freeform: Shape 88">
              <a:extLst>
                <a:ext uri="{FF2B5EF4-FFF2-40B4-BE49-F238E27FC236}">
                  <a16:creationId xmlns:a16="http://schemas.microsoft.com/office/drawing/2014/main" id="{CE7B3536-513A-4773-A673-DE04D3622763}"/>
                </a:ext>
              </a:extLst>
            </p:cNvPr>
            <p:cNvSpPr/>
            <p:nvPr/>
          </p:nvSpPr>
          <p:spPr>
            <a:xfrm>
              <a:off x="4114847" y="4941138"/>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solidFill>
              <a:srgbClr val="0D274D"/>
            </a:solidFill>
            <a:ln w="14288" cap="flat">
              <a:no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F93D8A8D-FFE8-46E0-92AB-ED763089F89A}"/>
                </a:ext>
              </a:extLst>
            </p:cNvPr>
            <p:cNvSpPr/>
            <p:nvPr/>
          </p:nvSpPr>
          <p:spPr>
            <a:xfrm>
              <a:off x="4166926" y="4941712"/>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solidFill>
              <a:srgbClr val="0D274D"/>
            </a:solidFill>
            <a:ln w="14288" cap="flat">
              <a:no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E6CCC27E-1371-4667-8940-5E436B9592C4}"/>
                </a:ext>
              </a:extLst>
            </p:cNvPr>
            <p:cNvSpPr/>
            <p:nvPr/>
          </p:nvSpPr>
          <p:spPr>
            <a:xfrm>
              <a:off x="4219007" y="4942141"/>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solidFill>
              <a:srgbClr val="0D274D"/>
            </a:solidFill>
            <a:ln w="14288" cap="flat">
              <a:noFill/>
              <a:prstDash val="solid"/>
              <a:miter/>
            </a:ln>
          </p:spPr>
          <p:txBody>
            <a:bodyPr rtlCol="0" anchor="ctr"/>
            <a:lstStyle/>
            <a:p>
              <a:endParaRPr lang="en-US" dirty="0"/>
            </a:p>
          </p:txBody>
        </p:sp>
        <p:sp>
          <p:nvSpPr>
            <p:cNvPr id="92" name="Freeform: Shape 91">
              <a:extLst>
                <a:ext uri="{FF2B5EF4-FFF2-40B4-BE49-F238E27FC236}">
                  <a16:creationId xmlns:a16="http://schemas.microsoft.com/office/drawing/2014/main" id="{34474847-5192-43B2-9D7B-4E68A78392A0}"/>
                </a:ext>
              </a:extLst>
            </p:cNvPr>
            <p:cNvSpPr/>
            <p:nvPr/>
          </p:nvSpPr>
          <p:spPr>
            <a:xfrm>
              <a:off x="4271371" y="4942998"/>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solidFill>
              <a:srgbClr val="0D274D"/>
            </a:solidFill>
            <a:ln w="14288" cap="flat">
              <a:noFill/>
              <a:prstDash val="solid"/>
              <a:miter/>
            </a:ln>
          </p:spPr>
          <p:txBody>
            <a:bodyPr rtlCol="0" anchor="ctr"/>
            <a:lstStyle/>
            <a:p>
              <a:endParaRPr lang="en-US" dirty="0"/>
            </a:p>
          </p:txBody>
        </p:sp>
        <p:sp>
          <p:nvSpPr>
            <p:cNvPr id="93" name="Freeform: Shape 92">
              <a:extLst>
                <a:ext uri="{FF2B5EF4-FFF2-40B4-BE49-F238E27FC236}">
                  <a16:creationId xmlns:a16="http://schemas.microsoft.com/office/drawing/2014/main" id="{EA0AC383-576B-49C2-8BAB-48C57B375F99}"/>
                </a:ext>
              </a:extLst>
            </p:cNvPr>
            <p:cNvSpPr/>
            <p:nvPr/>
          </p:nvSpPr>
          <p:spPr>
            <a:xfrm>
              <a:off x="4323521" y="4942738"/>
              <a:ext cx="28615" cy="42922"/>
            </a:xfrm>
            <a:custGeom>
              <a:avLst/>
              <a:gdLst>
                <a:gd name="connsiteX0" fmla="*/ 25754 w 28614"/>
                <a:gd name="connsiteY0" fmla="*/ 21793 h 42922"/>
                <a:gd name="connsiteX1" fmla="*/ 21793 w 28614"/>
                <a:gd name="connsiteY1" fmla="*/ 16168 h 42922"/>
                <a:gd name="connsiteX2" fmla="*/ 16168 w 28614"/>
                <a:gd name="connsiteY2" fmla="*/ 20130 h 42922"/>
                <a:gd name="connsiteX3" fmla="*/ 16168 w 28614"/>
                <a:gd name="connsiteY3" fmla="*/ 21793 h 42922"/>
                <a:gd name="connsiteX4" fmla="*/ 20130 w 28614"/>
                <a:gd name="connsiteY4" fmla="*/ 27417 h 42922"/>
                <a:gd name="connsiteX5" fmla="*/ 25754 w 28614"/>
                <a:gd name="connsiteY5" fmla="*/ 23455 h 42922"/>
                <a:gd name="connsiteX6" fmla="*/ 25754 w 28614"/>
                <a:gd name="connsiteY6" fmla="*/ 2179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42922">
                  <a:moveTo>
                    <a:pt x="25754" y="21793"/>
                  </a:moveTo>
                  <a:cubicBezTo>
                    <a:pt x="26214" y="19146"/>
                    <a:pt x="24439" y="16628"/>
                    <a:pt x="21793" y="16168"/>
                  </a:cubicBezTo>
                  <a:cubicBezTo>
                    <a:pt x="19146" y="15709"/>
                    <a:pt x="16628" y="17483"/>
                    <a:pt x="16168" y="20130"/>
                  </a:cubicBezTo>
                  <a:cubicBezTo>
                    <a:pt x="16072" y="20681"/>
                    <a:pt x="16072" y="21243"/>
                    <a:pt x="16168" y="21793"/>
                  </a:cubicBezTo>
                  <a:cubicBezTo>
                    <a:pt x="15709" y="24439"/>
                    <a:pt x="17483" y="26958"/>
                    <a:pt x="20130" y="27417"/>
                  </a:cubicBezTo>
                  <a:cubicBezTo>
                    <a:pt x="22777" y="27876"/>
                    <a:pt x="25295" y="26102"/>
                    <a:pt x="25754" y="23455"/>
                  </a:cubicBezTo>
                  <a:cubicBezTo>
                    <a:pt x="25850" y="22904"/>
                    <a:pt x="25850" y="22342"/>
                    <a:pt x="25754" y="21793"/>
                  </a:cubicBezTo>
                </a:path>
              </a:pathLst>
            </a:custGeom>
            <a:solidFill>
              <a:srgbClr val="0D274D"/>
            </a:solidFill>
            <a:ln w="14288"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5B4D3856-98B8-4D83-A029-4442345F2948}"/>
                </a:ext>
              </a:extLst>
            </p:cNvPr>
            <p:cNvSpPr/>
            <p:nvPr/>
          </p:nvSpPr>
          <p:spPr>
            <a:xfrm>
              <a:off x="4375815" y="4944286"/>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solidFill>
              <a:srgbClr val="0D274D"/>
            </a:solidFill>
            <a:ln w="14288" cap="flat">
              <a:noFill/>
              <a:prstDash val="solid"/>
              <a:miter/>
            </a:ln>
          </p:spPr>
          <p:txBody>
            <a:bodyPr rtlCol="0" anchor="ctr"/>
            <a:lstStyle/>
            <a:p>
              <a:endParaRPr lang="en-US" dirty="0"/>
            </a:p>
          </p:txBody>
        </p:sp>
        <p:sp>
          <p:nvSpPr>
            <p:cNvPr id="95" name="Freeform: Shape 94">
              <a:extLst>
                <a:ext uri="{FF2B5EF4-FFF2-40B4-BE49-F238E27FC236}">
                  <a16:creationId xmlns:a16="http://schemas.microsoft.com/office/drawing/2014/main" id="{CD66A126-AA65-40DA-AB55-FE8DD4113A65}"/>
                </a:ext>
              </a:extLst>
            </p:cNvPr>
            <p:cNvSpPr/>
            <p:nvPr/>
          </p:nvSpPr>
          <p:spPr>
            <a:xfrm>
              <a:off x="4428610" y="4944858"/>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solidFill>
              <a:srgbClr val="0D274D"/>
            </a:solidFill>
            <a:ln w="14288"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8B5A43E1-61D3-49E3-AC0A-CFF48E40DAE7}"/>
                </a:ext>
              </a:extLst>
            </p:cNvPr>
            <p:cNvSpPr/>
            <p:nvPr/>
          </p:nvSpPr>
          <p:spPr>
            <a:xfrm>
              <a:off x="4480045" y="4945430"/>
              <a:ext cx="28615" cy="28615"/>
            </a:xfrm>
            <a:custGeom>
              <a:avLst/>
              <a:gdLst>
                <a:gd name="connsiteX0" fmla="*/ 22034 w 28614"/>
                <a:gd name="connsiteY0" fmla="*/ 19100 h 28614"/>
                <a:gd name="connsiteX1" fmla="*/ 19320 w 28614"/>
                <a:gd name="connsiteY1" fmla="*/ 16099 h 28614"/>
                <a:gd name="connsiteX2" fmla="*/ 19173 w 28614"/>
                <a:gd name="connsiteY2" fmla="*/ 16096 h 28614"/>
                <a:gd name="connsiteX3" fmla="*/ 16168 w 28614"/>
                <a:gd name="connsiteY3" fmla="*/ 19100 h 28614"/>
                <a:gd name="connsiteX4" fmla="*/ 18449 w 28614"/>
                <a:gd name="connsiteY4" fmla="*/ 22686 h 28614"/>
                <a:gd name="connsiteX5" fmla="*/ 22034 w 28614"/>
                <a:gd name="connsiteY5" fmla="*/ 20404 h 28614"/>
                <a:gd name="connsiteX6" fmla="*/ 22034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2034" y="19100"/>
                  </a:moveTo>
                  <a:cubicBezTo>
                    <a:pt x="22113" y="17522"/>
                    <a:pt x="20898" y="16179"/>
                    <a:pt x="19320" y="16099"/>
                  </a:cubicBezTo>
                  <a:cubicBezTo>
                    <a:pt x="19270" y="16097"/>
                    <a:pt x="19222" y="16096"/>
                    <a:pt x="19173" y="16096"/>
                  </a:cubicBezTo>
                  <a:cubicBezTo>
                    <a:pt x="17513" y="16096"/>
                    <a:pt x="16168" y="17441"/>
                    <a:pt x="16168" y="19100"/>
                  </a:cubicBezTo>
                  <a:cubicBezTo>
                    <a:pt x="15808" y="20720"/>
                    <a:pt x="16829" y="22325"/>
                    <a:pt x="18449" y="22686"/>
                  </a:cubicBezTo>
                  <a:cubicBezTo>
                    <a:pt x="20070" y="23045"/>
                    <a:pt x="21674" y="22023"/>
                    <a:pt x="22034" y="20404"/>
                  </a:cubicBezTo>
                  <a:cubicBezTo>
                    <a:pt x="22130" y="19975"/>
                    <a:pt x="22130" y="19530"/>
                    <a:pt x="22034" y="19100"/>
                  </a:cubicBezTo>
                </a:path>
              </a:pathLst>
            </a:custGeom>
            <a:solidFill>
              <a:srgbClr val="0D274D"/>
            </a:solidFill>
            <a:ln w="14288" cap="flat">
              <a:noFill/>
              <a:prstDash val="solid"/>
              <a:miter/>
            </a:ln>
          </p:spPr>
          <p:txBody>
            <a:bodyPr rtlCol="0" anchor="ctr"/>
            <a:lstStyle/>
            <a:p>
              <a:endParaRPr lang="en-US" dirty="0"/>
            </a:p>
          </p:txBody>
        </p:sp>
      </p:grpSp>
      <p:grpSp>
        <p:nvGrpSpPr>
          <p:cNvPr id="97" name="Group 96">
            <a:extLst>
              <a:ext uri="{FF2B5EF4-FFF2-40B4-BE49-F238E27FC236}">
                <a16:creationId xmlns:a16="http://schemas.microsoft.com/office/drawing/2014/main" id="{E53D7926-0045-4578-B511-871505C23473}"/>
              </a:ext>
            </a:extLst>
          </p:cNvPr>
          <p:cNvGrpSpPr/>
          <p:nvPr/>
        </p:nvGrpSpPr>
        <p:grpSpPr>
          <a:xfrm>
            <a:off x="1340230" y="4018050"/>
            <a:ext cx="1328905" cy="284380"/>
            <a:chOff x="2736154" y="1943610"/>
            <a:chExt cx="1022270" cy="218761"/>
          </a:xfrm>
        </p:grpSpPr>
        <p:sp>
          <p:nvSpPr>
            <p:cNvPr id="98" name="Freeform: Shape 97">
              <a:extLst>
                <a:ext uri="{FF2B5EF4-FFF2-40B4-BE49-F238E27FC236}">
                  <a16:creationId xmlns:a16="http://schemas.microsoft.com/office/drawing/2014/main" id="{C9D3518A-8B20-4967-AF2B-347BACEE05EE}"/>
                </a:ext>
              </a:extLst>
            </p:cNvPr>
            <p:cNvSpPr/>
            <p:nvPr/>
          </p:nvSpPr>
          <p:spPr>
            <a:xfrm>
              <a:off x="3114587" y="1943610"/>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1"/>
              </a:solidFill>
              <a:prstDash val="solid"/>
              <a:miter/>
            </a:ln>
          </p:spPr>
          <p:txBody>
            <a:bodyPr rtlCol="0" anchor="ctr"/>
            <a:lstStyle/>
            <a:p>
              <a:endParaRPr lang="en-US" dirty="0"/>
            </a:p>
          </p:txBody>
        </p:sp>
        <p:sp>
          <p:nvSpPr>
            <p:cNvPr id="99" name="Freeform: Shape 98">
              <a:extLst>
                <a:ext uri="{FF2B5EF4-FFF2-40B4-BE49-F238E27FC236}">
                  <a16:creationId xmlns:a16="http://schemas.microsoft.com/office/drawing/2014/main" id="{B694BFA6-FA5E-4C20-BA2F-C9160449226C}"/>
                </a:ext>
              </a:extLst>
            </p:cNvPr>
            <p:cNvSpPr/>
            <p:nvPr/>
          </p:nvSpPr>
          <p:spPr>
            <a:xfrm>
              <a:off x="2988395" y="2011857"/>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1"/>
              </a:solid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48D6B2ED-7119-4856-8B10-A88239600BAA}"/>
                </a:ext>
              </a:extLst>
            </p:cNvPr>
            <p:cNvSpPr/>
            <p:nvPr/>
          </p:nvSpPr>
          <p:spPr>
            <a:xfrm>
              <a:off x="2862346" y="2079960"/>
              <a:ext cx="643837" cy="14307"/>
            </a:xfrm>
            <a:custGeom>
              <a:avLst/>
              <a:gdLst>
                <a:gd name="connsiteX0" fmla="*/ 8048 w 643836"/>
                <a:gd name="connsiteY0" fmla="*/ 8048 h 14307"/>
                <a:gd name="connsiteX1" fmla="*/ 646019 w 643836"/>
                <a:gd name="connsiteY1" fmla="*/ 8048 h 14307"/>
              </a:gdLst>
              <a:ahLst/>
              <a:cxnLst>
                <a:cxn ang="0">
                  <a:pos x="connsiteX0" y="connsiteY0"/>
                </a:cxn>
                <a:cxn ang="0">
                  <a:pos x="connsiteX1" y="connsiteY1"/>
                </a:cxn>
              </a:cxnLst>
              <a:rect l="l" t="t" r="r" b="b"/>
              <a:pathLst>
                <a:path w="643836" h="14307">
                  <a:moveTo>
                    <a:pt x="8048" y="8048"/>
                  </a:moveTo>
                  <a:lnTo>
                    <a:pt x="646019" y="8048"/>
                  </a:lnTo>
                </a:path>
              </a:pathLst>
            </a:custGeom>
            <a:ln w="7144" cap="flat">
              <a:solidFill>
                <a:schemeClr val="accent1"/>
              </a:solidFill>
              <a:prstDash val="solid"/>
              <a:miter/>
            </a:ln>
          </p:spPr>
          <p:txBody>
            <a:bodyPr rtlCol="0" anchor="ctr"/>
            <a:lstStyle/>
            <a:p>
              <a:endParaRPr lang="en-US" dirty="0"/>
            </a:p>
          </p:txBody>
        </p:sp>
        <p:sp>
          <p:nvSpPr>
            <p:cNvPr id="101" name="Freeform: Shape 100">
              <a:extLst>
                <a:ext uri="{FF2B5EF4-FFF2-40B4-BE49-F238E27FC236}">
                  <a16:creationId xmlns:a16="http://schemas.microsoft.com/office/drawing/2014/main" id="{DA546CB7-BEFE-4D71-8D82-CCE027940BB2}"/>
                </a:ext>
              </a:extLst>
            </p:cNvPr>
            <p:cNvSpPr/>
            <p:nvPr/>
          </p:nvSpPr>
          <p:spPr>
            <a:xfrm>
              <a:off x="2736154" y="2148064"/>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1"/>
              </a:solidFill>
              <a:prstDash val="solid"/>
              <a:miter/>
            </a:ln>
          </p:spPr>
          <p:txBody>
            <a:bodyPr rtlCol="0" anchor="ctr"/>
            <a:lstStyle/>
            <a:p>
              <a:endParaRPr lang="en-US" dirty="0"/>
            </a:p>
          </p:txBody>
        </p:sp>
      </p:grpSp>
      <p:grpSp>
        <p:nvGrpSpPr>
          <p:cNvPr id="13" name="Group 12">
            <a:extLst>
              <a:ext uri="{FF2B5EF4-FFF2-40B4-BE49-F238E27FC236}">
                <a16:creationId xmlns:a16="http://schemas.microsoft.com/office/drawing/2014/main" id="{17436586-C62A-46A8-9960-A00DEBA9BB25}"/>
              </a:ext>
            </a:extLst>
          </p:cNvPr>
          <p:cNvGrpSpPr/>
          <p:nvPr/>
        </p:nvGrpSpPr>
        <p:grpSpPr>
          <a:xfrm>
            <a:off x="2182749" y="4546753"/>
            <a:ext cx="810466" cy="354737"/>
            <a:chOff x="6930329" y="4389692"/>
            <a:chExt cx="860451" cy="376615"/>
          </a:xfrm>
        </p:grpSpPr>
        <p:sp>
          <p:nvSpPr>
            <p:cNvPr id="108" name="Oval 107">
              <a:extLst>
                <a:ext uri="{FF2B5EF4-FFF2-40B4-BE49-F238E27FC236}">
                  <a16:creationId xmlns:a16="http://schemas.microsoft.com/office/drawing/2014/main" id="{70835CE9-6732-4606-B8AE-F5A7811F8C74}"/>
                </a:ext>
              </a:extLst>
            </p:cNvPr>
            <p:cNvSpPr/>
            <p:nvPr/>
          </p:nvSpPr>
          <p:spPr>
            <a:xfrm>
              <a:off x="7466235" y="4417059"/>
              <a:ext cx="324545" cy="324545"/>
            </a:xfrm>
            <a:prstGeom prst="ellipse">
              <a:avLst/>
            </a:prstGeom>
            <a:noFill/>
            <a:ln w="6350" cap="flat" cmpd="sng" algn="ctr">
              <a:solidFill>
                <a:srgbClr val="0D274D"/>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109" name="Oval 108">
              <a:extLst>
                <a:ext uri="{FF2B5EF4-FFF2-40B4-BE49-F238E27FC236}">
                  <a16:creationId xmlns:a16="http://schemas.microsoft.com/office/drawing/2014/main" id="{3AD01173-2DF9-4466-A4BF-62B100EDDA29}"/>
                </a:ext>
              </a:extLst>
            </p:cNvPr>
            <p:cNvSpPr/>
            <p:nvPr/>
          </p:nvSpPr>
          <p:spPr>
            <a:xfrm>
              <a:off x="7433822" y="4400513"/>
              <a:ext cx="322294" cy="322294"/>
            </a:xfrm>
            <a:prstGeom prst="ellipse">
              <a:avLst/>
            </a:prstGeom>
            <a:solidFill>
              <a:srgbClr val="74BF4B">
                <a:alpha val="73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110" name="Freeform: Shape 109">
              <a:extLst>
                <a:ext uri="{FF2B5EF4-FFF2-40B4-BE49-F238E27FC236}">
                  <a16:creationId xmlns:a16="http://schemas.microsoft.com/office/drawing/2014/main" id="{579B8EAD-EDE3-4933-98E6-C213B027E66F}"/>
                </a:ext>
              </a:extLst>
            </p:cNvPr>
            <p:cNvSpPr/>
            <p:nvPr/>
          </p:nvSpPr>
          <p:spPr>
            <a:xfrm>
              <a:off x="6982308" y="4435969"/>
              <a:ext cx="330338" cy="330338"/>
            </a:xfrm>
            <a:custGeom>
              <a:avLst/>
              <a:gdLst>
                <a:gd name="connsiteX0" fmla="*/ 8048 w 414916"/>
                <a:gd name="connsiteY0" fmla="*/ 208353 h 414916"/>
                <a:gd name="connsiteX1" fmla="*/ 208353 w 414916"/>
                <a:gd name="connsiteY1" fmla="*/ 8048 h 414916"/>
                <a:gd name="connsiteX2" fmla="*/ 408657 w 414916"/>
                <a:gd name="connsiteY2" fmla="*/ 208353 h 414916"/>
                <a:gd name="connsiteX3" fmla="*/ 208353 w 414916"/>
                <a:gd name="connsiteY3" fmla="*/ 408657 h 414916"/>
                <a:gd name="connsiteX4" fmla="*/ 8048 w 414916"/>
                <a:gd name="connsiteY4" fmla="*/ 208353 h 414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916" h="414916">
                  <a:moveTo>
                    <a:pt x="8048" y="208353"/>
                  </a:moveTo>
                  <a:cubicBezTo>
                    <a:pt x="8048" y="97727"/>
                    <a:pt x="97727" y="8048"/>
                    <a:pt x="208353" y="8048"/>
                  </a:cubicBezTo>
                  <a:cubicBezTo>
                    <a:pt x="318978" y="8048"/>
                    <a:pt x="408657" y="97727"/>
                    <a:pt x="408657" y="208353"/>
                  </a:cubicBezTo>
                  <a:cubicBezTo>
                    <a:pt x="408657" y="318978"/>
                    <a:pt x="318978" y="408657"/>
                    <a:pt x="208353" y="408657"/>
                  </a:cubicBezTo>
                  <a:cubicBezTo>
                    <a:pt x="97727" y="408657"/>
                    <a:pt x="8048" y="318978"/>
                    <a:pt x="8048" y="208353"/>
                  </a:cubicBezTo>
                  <a:close/>
                </a:path>
              </a:pathLst>
            </a:custGeom>
            <a:noFill/>
            <a:ln w="7144" cap="flat">
              <a:solidFill>
                <a:srgbClr val="0D274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1" name="Freeform: Shape 110">
              <a:extLst>
                <a:ext uri="{FF2B5EF4-FFF2-40B4-BE49-F238E27FC236}">
                  <a16:creationId xmlns:a16="http://schemas.microsoft.com/office/drawing/2014/main" id="{18D9E9FE-C090-454B-85CA-939AC3698ECC}"/>
                </a:ext>
              </a:extLst>
            </p:cNvPr>
            <p:cNvSpPr/>
            <p:nvPr/>
          </p:nvSpPr>
          <p:spPr>
            <a:xfrm>
              <a:off x="6930329" y="4389692"/>
              <a:ext cx="341729" cy="341729"/>
            </a:xfrm>
            <a:custGeom>
              <a:avLst/>
              <a:gdLst>
                <a:gd name="connsiteX0" fmla="*/ 16105 w 429224"/>
                <a:gd name="connsiteY0" fmla="*/ 212110 h 429224"/>
                <a:gd name="connsiteX1" fmla="*/ 220656 w 429224"/>
                <a:gd name="connsiteY1" fmla="*/ 16143 h 429224"/>
                <a:gd name="connsiteX2" fmla="*/ 416623 w 429224"/>
                <a:gd name="connsiteY2" fmla="*/ 220694 h 429224"/>
                <a:gd name="connsiteX3" fmla="*/ 216409 w 429224"/>
                <a:gd name="connsiteY3" fmla="*/ 416706 h 429224"/>
                <a:gd name="connsiteX4" fmla="*/ 16105 w 429224"/>
                <a:gd name="connsiteY4" fmla="*/ 212110 h 429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4" h="429224">
                  <a:moveTo>
                    <a:pt x="16105" y="212110"/>
                  </a:moveTo>
                  <a:cubicBezTo>
                    <a:pt x="18476" y="101510"/>
                    <a:pt x="110056" y="13772"/>
                    <a:pt x="220656" y="16143"/>
                  </a:cubicBezTo>
                  <a:cubicBezTo>
                    <a:pt x="331256" y="18514"/>
                    <a:pt x="418993" y="110094"/>
                    <a:pt x="416623" y="220694"/>
                  </a:cubicBezTo>
                  <a:cubicBezTo>
                    <a:pt x="414288" y="329604"/>
                    <a:pt x="325344" y="416682"/>
                    <a:pt x="216409" y="416706"/>
                  </a:cubicBezTo>
                  <a:cubicBezTo>
                    <a:pt x="104664" y="415370"/>
                    <a:pt x="15072" y="323860"/>
                    <a:pt x="16105" y="212110"/>
                  </a:cubicBezTo>
                  <a:close/>
                </a:path>
              </a:pathLst>
            </a:custGeom>
            <a:solidFill>
              <a:srgbClr val="74BF4B">
                <a:alpha val="73000"/>
              </a:srgbClr>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1" name="Group 10">
            <a:extLst>
              <a:ext uri="{FF2B5EF4-FFF2-40B4-BE49-F238E27FC236}">
                <a16:creationId xmlns:a16="http://schemas.microsoft.com/office/drawing/2014/main" id="{6F0FD259-C7A4-4569-AD83-3582BAF596B5}"/>
              </a:ext>
            </a:extLst>
          </p:cNvPr>
          <p:cNvGrpSpPr/>
          <p:nvPr/>
        </p:nvGrpSpPr>
        <p:grpSpPr>
          <a:xfrm>
            <a:off x="11418221" y="5640773"/>
            <a:ext cx="619946" cy="254065"/>
            <a:chOff x="4609069" y="1291161"/>
            <a:chExt cx="941865" cy="385993"/>
          </a:xfrm>
          <a:solidFill>
            <a:schemeClr val="accent1"/>
          </a:solidFill>
        </p:grpSpPr>
        <p:sp>
          <p:nvSpPr>
            <p:cNvPr id="131" name="Oval 130">
              <a:extLst>
                <a:ext uri="{FF2B5EF4-FFF2-40B4-BE49-F238E27FC236}">
                  <a16:creationId xmlns:a16="http://schemas.microsoft.com/office/drawing/2014/main" id="{A3615FCB-BDEA-495D-B966-4203F2D250C7}"/>
                </a:ext>
              </a:extLst>
            </p:cNvPr>
            <p:cNvSpPr/>
            <p:nvPr/>
          </p:nvSpPr>
          <p:spPr>
            <a:xfrm>
              <a:off x="4609069" y="1291161"/>
              <a:ext cx="422464" cy="385993"/>
            </a:xfrm>
            <a:prstGeom prst="ellipse">
              <a:avLst/>
            </a:prstGeom>
            <a:grp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132" name="Oval 131">
              <a:extLst>
                <a:ext uri="{FF2B5EF4-FFF2-40B4-BE49-F238E27FC236}">
                  <a16:creationId xmlns:a16="http://schemas.microsoft.com/office/drawing/2014/main" id="{36DDE946-04F6-401F-BBD7-26C9782BA3EE}"/>
                </a:ext>
              </a:extLst>
            </p:cNvPr>
            <p:cNvSpPr/>
            <p:nvPr/>
          </p:nvSpPr>
          <p:spPr>
            <a:xfrm>
              <a:off x="5454157" y="1439946"/>
              <a:ext cx="96777" cy="88423"/>
            </a:xfrm>
            <a:prstGeom prst="ellipse">
              <a:avLst/>
            </a:prstGeom>
            <a:grp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133" name="Oval 132">
              <a:extLst>
                <a:ext uri="{FF2B5EF4-FFF2-40B4-BE49-F238E27FC236}">
                  <a16:creationId xmlns:a16="http://schemas.microsoft.com/office/drawing/2014/main" id="{0D15A7DB-F955-4B92-8C69-36C0BA55A683}"/>
                </a:ext>
              </a:extLst>
            </p:cNvPr>
            <p:cNvSpPr/>
            <p:nvPr/>
          </p:nvSpPr>
          <p:spPr>
            <a:xfrm>
              <a:off x="5166320" y="1401352"/>
              <a:ext cx="181273" cy="165623"/>
            </a:xfrm>
            <a:prstGeom prst="ellipse">
              <a:avLst/>
            </a:prstGeom>
            <a:grp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grpSp>
      <p:grpSp>
        <p:nvGrpSpPr>
          <p:cNvPr id="114" name="Group 113">
            <a:extLst>
              <a:ext uri="{FF2B5EF4-FFF2-40B4-BE49-F238E27FC236}">
                <a16:creationId xmlns:a16="http://schemas.microsoft.com/office/drawing/2014/main" id="{059001FF-4A49-AF49-8E29-0571E38F6B26}"/>
              </a:ext>
            </a:extLst>
          </p:cNvPr>
          <p:cNvGrpSpPr/>
          <p:nvPr/>
        </p:nvGrpSpPr>
        <p:grpSpPr>
          <a:xfrm>
            <a:off x="8212517" y="3752236"/>
            <a:ext cx="915723" cy="195960"/>
            <a:chOff x="2736154" y="1943610"/>
            <a:chExt cx="1022270" cy="218761"/>
          </a:xfrm>
        </p:grpSpPr>
        <p:sp>
          <p:nvSpPr>
            <p:cNvPr id="120" name="Freeform: Shape 115">
              <a:extLst>
                <a:ext uri="{FF2B5EF4-FFF2-40B4-BE49-F238E27FC236}">
                  <a16:creationId xmlns:a16="http://schemas.microsoft.com/office/drawing/2014/main" id="{8D5BF0D5-108E-5248-8553-5F0D497BA0BD}"/>
                </a:ext>
              </a:extLst>
            </p:cNvPr>
            <p:cNvSpPr/>
            <p:nvPr/>
          </p:nvSpPr>
          <p:spPr>
            <a:xfrm>
              <a:off x="3114587" y="1943610"/>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1" name="Freeform: Shape 116">
              <a:extLst>
                <a:ext uri="{FF2B5EF4-FFF2-40B4-BE49-F238E27FC236}">
                  <a16:creationId xmlns:a16="http://schemas.microsoft.com/office/drawing/2014/main" id="{C87EF567-82E2-B442-979F-62339976AAD2}"/>
                </a:ext>
              </a:extLst>
            </p:cNvPr>
            <p:cNvSpPr/>
            <p:nvPr/>
          </p:nvSpPr>
          <p:spPr>
            <a:xfrm>
              <a:off x="2988395" y="2011857"/>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2" name="Freeform: Shape 117">
              <a:extLst>
                <a:ext uri="{FF2B5EF4-FFF2-40B4-BE49-F238E27FC236}">
                  <a16:creationId xmlns:a16="http://schemas.microsoft.com/office/drawing/2014/main" id="{A38567E1-DBBE-9B47-A797-F285E9C4FD84}"/>
                </a:ext>
              </a:extLst>
            </p:cNvPr>
            <p:cNvSpPr/>
            <p:nvPr/>
          </p:nvSpPr>
          <p:spPr>
            <a:xfrm>
              <a:off x="2862346" y="2079960"/>
              <a:ext cx="643837" cy="14307"/>
            </a:xfrm>
            <a:custGeom>
              <a:avLst/>
              <a:gdLst>
                <a:gd name="connsiteX0" fmla="*/ 8048 w 643836"/>
                <a:gd name="connsiteY0" fmla="*/ 8048 h 14307"/>
                <a:gd name="connsiteX1" fmla="*/ 646019 w 643836"/>
                <a:gd name="connsiteY1" fmla="*/ 8048 h 14307"/>
              </a:gdLst>
              <a:ahLst/>
              <a:cxnLst>
                <a:cxn ang="0">
                  <a:pos x="connsiteX0" y="connsiteY0"/>
                </a:cxn>
                <a:cxn ang="0">
                  <a:pos x="connsiteX1" y="connsiteY1"/>
                </a:cxn>
              </a:cxnLst>
              <a:rect l="l" t="t" r="r" b="b"/>
              <a:pathLst>
                <a:path w="643836" h="14307">
                  <a:moveTo>
                    <a:pt x="8048" y="8048"/>
                  </a:moveTo>
                  <a:lnTo>
                    <a:pt x="646019" y="8048"/>
                  </a:lnTo>
                </a:path>
              </a:pathLst>
            </a:custGeom>
            <a:ln w="7144"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9" name="Freeform: Shape 118">
              <a:extLst>
                <a:ext uri="{FF2B5EF4-FFF2-40B4-BE49-F238E27FC236}">
                  <a16:creationId xmlns:a16="http://schemas.microsoft.com/office/drawing/2014/main" id="{0F25BA34-D27F-1C48-9425-30A9EBA12C25}"/>
                </a:ext>
              </a:extLst>
            </p:cNvPr>
            <p:cNvSpPr/>
            <p:nvPr/>
          </p:nvSpPr>
          <p:spPr>
            <a:xfrm>
              <a:off x="2736154" y="2148064"/>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2"/>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134" name="Oval 133">
            <a:extLst>
              <a:ext uri="{FF2B5EF4-FFF2-40B4-BE49-F238E27FC236}">
                <a16:creationId xmlns:a16="http://schemas.microsoft.com/office/drawing/2014/main" id="{5265A2A5-0CB5-6046-BC9A-B9EA421C2B5C}"/>
              </a:ext>
            </a:extLst>
          </p:cNvPr>
          <p:cNvSpPr/>
          <p:nvPr/>
        </p:nvSpPr>
        <p:spPr>
          <a:xfrm>
            <a:off x="6435199" y="1987975"/>
            <a:ext cx="2186932" cy="2142164"/>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2000" dirty="0">
                <a:solidFill>
                  <a:schemeClr val="accent1"/>
                </a:solidFill>
              </a:rPr>
              <a:t>49% </a:t>
            </a:r>
            <a:r>
              <a:rPr lang="en-US" sz="1400" dirty="0">
                <a:solidFill>
                  <a:schemeClr val="bg1"/>
                </a:solidFill>
              </a:rPr>
              <a:t>2019</a:t>
            </a:r>
          </a:p>
          <a:p>
            <a:pPr algn="ctr"/>
            <a:r>
              <a:rPr lang="en-US" sz="1400" dirty="0">
                <a:solidFill>
                  <a:schemeClr val="bg1"/>
                </a:solidFill>
              </a:rPr>
              <a:t>Estimated percentage of remote workers¹</a:t>
            </a:r>
          </a:p>
        </p:txBody>
      </p:sp>
      <p:sp>
        <p:nvSpPr>
          <p:cNvPr id="135" name="Oval 134">
            <a:extLst>
              <a:ext uri="{FF2B5EF4-FFF2-40B4-BE49-F238E27FC236}">
                <a16:creationId xmlns:a16="http://schemas.microsoft.com/office/drawing/2014/main" id="{7A30FB21-D42D-BA42-B55D-D0881593C541}"/>
              </a:ext>
            </a:extLst>
          </p:cNvPr>
          <p:cNvSpPr/>
          <p:nvPr/>
        </p:nvSpPr>
        <p:spPr>
          <a:xfrm>
            <a:off x="9108883" y="1987975"/>
            <a:ext cx="2186932" cy="2142164"/>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2000" dirty="0">
                <a:solidFill>
                  <a:schemeClr val="accent1"/>
                </a:solidFill>
              </a:rPr>
              <a:t>83% </a:t>
            </a:r>
            <a:r>
              <a:rPr lang="en-US" sz="1400" dirty="0">
                <a:solidFill>
                  <a:schemeClr val="bg1"/>
                </a:solidFill>
              </a:rPr>
              <a:t>2021</a:t>
            </a:r>
          </a:p>
          <a:p>
            <a:pPr algn="ctr"/>
            <a:r>
              <a:rPr lang="en-US" sz="1400" dirty="0">
                <a:solidFill>
                  <a:schemeClr val="bg1"/>
                </a:solidFill>
              </a:rPr>
              <a:t>Predicted </a:t>
            </a:r>
            <a:r>
              <a:rPr lang="en-US" sz="1400" dirty="0">
                <a:solidFill>
                  <a:schemeClr val="tx2"/>
                </a:solidFill>
              </a:rPr>
              <a:t>increase</a:t>
            </a:r>
            <a:r>
              <a:rPr lang="en-US" sz="1400" baseline="30000" dirty="0">
                <a:solidFill>
                  <a:schemeClr val="tx2"/>
                </a:solidFill>
              </a:rPr>
              <a:t>2</a:t>
            </a:r>
            <a:endParaRPr lang="en-US" sz="1400" dirty="0">
              <a:solidFill>
                <a:schemeClr val="bg1"/>
              </a:solidFill>
            </a:endParaRPr>
          </a:p>
        </p:txBody>
      </p:sp>
    </p:spTree>
    <p:extLst>
      <p:ext uri="{BB962C8B-B14F-4D97-AF65-F5344CB8AC3E}">
        <p14:creationId xmlns:p14="http://schemas.microsoft.com/office/powerpoint/2010/main" val="475751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4" name="Oval 433">
            <a:extLst>
              <a:ext uri="{FF2B5EF4-FFF2-40B4-BE49-F238E27FC236}">
                <a16:creationId xmlns:a16="http://schemas.microsoft.com/office/drawing/2014/main" id="{FF593839-D3A1-4FF0-B45F-F34012CD85D8}"/>
              </a:ext>
            </a:extLst>
          </p:cNvPr>
          <p:cNvSpPr/>
          <p:nvPr/>
        </p:nvSpPr>
        <p:spPr>
          <a:xfrm>
            <a:off x="7962062" y="2031274"/>
            <a:ext cx="1033272" cy="1033272"/>
          </a:xfrm>
          <a:prstGeom prst="ellipse">
            <a:avLst/>
          </a:prstGeom>
          <a:solidFill>
            <a:schemeClr val="tx2">
              <a:alpha val="7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5" name="Freeform: Shape 434">
            <a:extLst>
              <a:ext uri="{FF2B5EF4-FFF2-40B4-BE49-F238E27FC236}">
                <a16:creationId xmlns:a16="http://schemas.microsoft.com/office/drawing/2014/main" id="{CBC7DBD4-9C90-4F6F-8398-245F4C5CA86D}"/>
              </a:ext>
            </a:extLst>
          </p:cNvPr>
          <p:cNvSpPr/>
          <p:nvPr/>
        </p:nvSpPr>
        <p:spPr>
          <a:xfrm>
            <a:off x="8103867" y="2316389"/>
            <a:ext cx="749662" cy="385617"/>
          </a:xfrm>
          <a:custGeom>
            <a:avLst/>
            <a:gdLst>
              <a:gd name="connsiteX0" fmla="*/ 2426859 w 2427461"/>
              <a:gd name="connsiteY0" fmla="*/ 1305036 h 2496364"/>
              <a:gd name="connsiteX1" fmla="*/ 2275440 w 2427461"/>
              <a:gd name="connsiteY1" fmla="*/ 725154 h 2496364"/>
              <a:gd name="connsiteX2" fmla="*/ 2275440 w 2427461"/>
              <a:gd name="connsiteY2" fmla="*/ 516753 h 2496364"/>
              <a:gd name="connsiteX3" fmla="*/ 2203637 w 2427461"/>
              <a:gd name="connsiteY3" fmla="*/ 516753 h 2496364"/>
              <a:gd name="connsiteX4" fmla="*/ 2203637 w 2427461"/>
              <a:gd name="connsiteY4" fmla="*/ 611418 h 2496364"/>
              <a:gd name="connsiteX5" fmla="*/ 2122988 w 2427461"/>
              <a:gd name="connsiteY5" fmla="*/ 509601 h 2496364"/>
              <a:gd name="connsiteX6" fmla="*/ 2122988 w 2427461"/>
              <a:gd name="connsiteY6" fmla="*/ 353444 h 2496364"/>
              <a:gd name="connsiteX7" fmla="*/ 2051185 w 2427461"/>
              <a:gd name="connsiteY7" fmla="*/ 353444 h 2496364"/>
              <a:gd name="connsiteX8" fmla="*/ 2051185 w 2427461"/>
              <a:gd name="connsiteY8" fmla="*/ 434897 h 2496364"/>
              <a:gd name="connsiteX9" fmla="*/ 1956204 w 2427461"/>
              <a:gd name="connsiteY9" fmla="*/ 352984 h 2496364"/>
              <a:gd name="connsiteX10" fmla="*/ 1956204 w 2427461"/>
              <a:gd name="connsiteY10" fmla="*/ 224715 h 2496364"/>
              <a:gd name="connsiteX11" fmla="*/ 1884401 w 2427461"/>
              <a:gd name="connsiteY11" fmla="*/ 224715 h 2496364"/>
              <a:gd name="connsiteX12" fmla="*/ 1884401 w 2427461"/>
              <a:gd name="connsiteY12" fmla="*/ 301027 h 2496364"/>
              <a:gd name="connsiteX13" fmla="*/ 1814350 w 2427461"/>
              <a:gd name="connsiteY13" fmla="*/ 257945 h 2496364"/>
              <a:gd name="connsiteX14" fmla="*/ 1814350 w 2427461"/>
              <a:gd name="connsiteY14" fmla="*/ 172040 h 2496364"/>
              <a:gd name="connsiteX15" fmla="*/ 1742546 w 2427461"/>
              <a:gd name="connsiteY15" fmla="*/ 172040 h 2496364"/>
              <a:gd name="connsiteX16" fmla="*/ 1742546 w 2427461"/>
              <a:gd name="connsiteY16" fmla="*/ 219717 h 2496364"/>
              <a:gd name="connsiteX17" fmla="*/ 1684616 w 2427461"/>
              <a:gd name="connsiteY17" fmla="*/ 193294 h 2496364"/>
              <a:gd name="connsiteX18" fmla="*/ 1684616 w 2427461"/>
              <a:gd name="connsiteY18" fmla="*/ 138465 h 2496364"/>
              <a:gd name="connsiteX19" fmla="*/ 1612813 w 2427461"/>
              <a:gd name="connsiteY19" fmla="*/ 138465 h 2496364"/>
              <a:gd name="connsiteX20" fmla="*/ 1612813 w 2427461"/>
              <a:gd name="connsiteY20" fmla="*/ 165894 h 2496364"/>
              <a:gd name="connsiteX21" fmla="*/ 1543795 w 2427461"/>
              <a:gd name="connsiteY21" fmla="*/ 144152 h 2496364"/>
              <a:gd name="connsiteX22" fmla="*/ 1543795 w 2427461"/>
              <a:gd name="connsiteY22" fmla="*/ 4509 h 2496364"/>
              <a:gd name="connsiteX23" fmla="*/ 1471992 w 2427461"/>
              <a:gd name="connsiteY23" fmla="*/ 4509 h 2496364"/>
              <a:gd name="connsiteX24" fmla="*/ 1471992 w 2427461"/>
              <a:gd name="connsiteY24" fmla="*/ 126058 h 2496364"/>
              <a:gd name="connsiteX25" fmla="*/ 1243084 w 2427461"/>
              <a:gd name="connsiteY25" fmla="*/ 98801 h 2496364"/>
              <a:gd name="connsiteX26" fmla="*/ 1243084 w 2427461"/>
              <a:gd name="connsiteY26" fmla="*/ 0 h 2496364"/>
              <a:gd name="connsiteX27" fmla="*/ 1171281 w 2427461"/>
              <a:gd name="connsiteY27" fmla="*/ 0 h 2496364"/>
              <a:gd name="connsiteX28" fmla="*/ 1171281 w 2427461"/>
              <a:gd name="connsiteY28" fmla="*/ 99117 h 2496364"/>
              <a:gd name="connsiteX29" fmla="*/ 958973 w 2427461"/>
              <a:gd name="connsiteY29" fmla="*/ 125110 h 2496364"/>
              <a:gd name="connsiteX30" fmla="*/ 958973 w 2427461"/>
              <a:gd name="connsiteY30" fmla="*/ 0 h 2496364"/>
              <a:gd name="connsiteX31" fmla="*/ 887170 w 2427461"/>
              <a:gd name="connsiteY31" fmla="*/ 0 h 2496364"/>
              <a:gd name="connsiteX32" fmla="*/ 887170 w 2427461"/>
              <a:gd name="connsiteY32" fmla="*/ 142974 h 2496364"/>
              <a:gd name="connsiteX33" fmla="*/ 817493 w 2427461"/>
              <a:gd name="connsiteY33" fmla="*/ 164745 h 2496364"/>
              <a:gd name="connsiteX34" fmla="*/ 817493 w 2427461"/>
              <a:gd name="connsiteY34" fmla="*/ 133956 h 2496364"/>
              <a:gd name="connsiteX35" fmla="*/ 745690 w 2427461"/>
              <a:gd name="connsiteY35" fmla="*/ 133956 h 2496364"/>
              <a:gd name="connsiteX36" fmla="*/ 745690 w 2427461"/>
              <a:gd name="connsiteY36" fmla="*/ 191944 h 2496364"/>
              <a:gd name="connsiteX37" fmla="*/ 687156 w 2427461"/>
              <a:gd name="connsiteY37" fmla="*/ 218253 h 2496364"/>
              <a:gd name="connsiteX38" fmla="*/ 687156 w 2427461"/>
              <a:gd name="connsiteY38" fmla="*/ 167560 h 2496364"/>
              <a:gd name="connsiteX39" fmla="*/ 615353 w 2427461"/>
              <a:gd name="connsiteY39" fmla="*/ 167560 h 2496364"/>
              <a:gd name="connsiteX40" fmla="*/ 615353 w 2427461"/>
              <a:gd name="connsiteY40" fmla="*/ 256337 h 2496364"/>
              <a:gd name="connsiteX41" fmla="*/ 544641 w 2427461"/>
              <a:gd name="connsiteY41" fmla="*/ 299706 h 2496364"/>
              <a:gd name="connsiteX42" fmla="*/ 544641 w 2427461"/>
              <a:gd name="connsiteY42" fmla="*/ 220206 h 2496364"/>
              <a:gd name="connsiteX43" fmla="*/ 472838 w 2427461"/>
              <a:gd name="connsiteY43" fmla="*/ 220206 h 2496364"/>
              <a:gd name="connsiteX44" fmla="*/ 472838 w 2427461"/>
              <a:gd name="connsiteY44" fmla="*/ 351261 h 2496364"/>
              <a:gd name="connsiteX45" fmla="*/ 377110 w 2427461"/>
              <a:gd name="connsiteY45" fmla="*/ 433547 h 2496364"/>
              <a:gd name="connsiteX46" fmla="*/ 377110 w 2427461"/>
              <a:gd name="connsiteY46" fmla="*/ 348906 h 2496364"/>
              <a:gd name="connsiteX47" fmla="*/ 305307 w 2427461"/>
              <a:gd name="connsiteY47" fmla="*/ 348906 h 2496364"/>
              <a:gd name="connsiteX48" fmla="*/ 305307 w 2427461"/>
              <a:gd name="connsiteY48" fmla="*/ 507906 h 2496364"/>
              <a:gd name="connsiteX49" fmla="*/ 223940 w 2427461"/>
              <a:gd name="connsiteY49" fmla="*/ 610441 h 2496364"/>
              <a:gd name="connsiteX50" fmla="*/ 223940 w 2427461"/>
              <a:gd name="connsiteY50" fmla="*/ 512186 h 2496364"/>
              <a:gd name="connsiteX51" fmla="*/ 152136 w 2427461"/>
              <a:gd name="connsiteY51" fmla="*/ 512186 h 2496364"/>
              <a:gd name="connsiteX52" fmla="*/ 152136 w 2427461"/>
              <a:gd name="connsiteY52" fmla="*/ 722741 h 2496364"/>
              <a:gd name="connsiteX53" fmla="*/ 152912 w 2427461"/>
              <a:gd name="connsiteY53" fmla="*/ 722741 h 2496364"/>
              <a:gd name="connsiteX54" fmla="*/ 0 w 2427461"/>
              <a:gd name="connsiteY54" fmla="*/ 1311527 h 2496364"/>
              <a:gd name="connsiteX55" fmla="*/ 37740 w 2427461"/>
              <a:gd name="connsiteY55" fmla="*/ 1347428 h 2496364"/>
              <a:gd name="connsiteX56" fmla="*/ 73440 w 2427461"/>
              <a:gd name="connsiteY56" fmla="*/ 1315375 h 2496364"/>
              <a:gd name="connsiteX57" fmla="*/ 429210 w 2427461"/>
              <a:gd name="connsiteY57" fmla="*/ 1039565 h 2496364"/>
              <a:gd name="connsiteX58" fmla="*/ 781246 w 2427461"/>
              <a:gd name="connsiteY58" fmla="*/ 1292657 h 2496364"/>
              <a:gd name="connsiteX59" fmla="*/ 816459 w 2427461"/>
              <a:gd name="connsiteY59" fmla="*/ 1321579 h 2496364"/>
              <a:gd name="connsiteX60" fmla="*/ 851671 w 2427461"/>
              <a:gd name="connsiteY60" fmla="*/ 1292657 h 2496364"/>
              <a:gd name="connsiteX61" fmla="*/ 1171281 w 2427461"/>
              <a:gd name="connsiteY61" fmla="*/ 1040800 h 2496364"/>
              <a:gd name="connsiteX62" fmla="*/ 1171281 w 2427461"/>
              <a:gd name="connsiteY62" fmla="*/ 1175158 h 2496364"/>
              <a:gd name="connsiteX63" fmla="*/ 1147414 w 2427461"/>
              <a:gd name="connsiteY63" fmla="*/ 1175158 h 2496364"/>
              <a:gd name="connsiteX64" fmla="*/ 1111512 w 2427461"/>
              <a:gd name="connsiteY64" fmla="*/ 1211060 h 2496364"/>
              <a:gd name="connsiteX65" fmla="*/ 1147414 w 2427461"/>
              <a:gd name="connsiteY65" fmla="*/ 1246961 h 2496364"/>
              <a:gd name="connsiteX66" fmla="*/ 1171281 w 2427461"/>
              <a:gd name="connsiteY66" fmla="*/ 1246961 h 2496364"/>
              <a:gd name="connsiteX67" fmla="*/ 1171281 w 2427461"/>
              <a:gd name="connsiteY67" fmla="*/ 2137320 h 2496364"/>
              <a:gd name="connsiteX68" fmla="*/ 1147414 w 2427461"/>
              <a:gd name="connsiteY68" fmla="*/ 2137320 h 2496364"/>
              <a:gd name="connsiteX69" fmla="*/ 1111512 w 2427461"/>
              <a:gd name="connsiteY69" fmla="*/ 2173221 h 2496364"/>
              <a:gd name="connsiteX70" fmla="*/ 1147414 w 2427461"/>
              <a:gd name="connsiteY70" fmla="*/ 2209123 h 2496364"/>
              <a:gd name="connsiteX71" fmla="*/ 1171281 w 2427461"/>
              <a:gd name="connsiteY71" fmla="*/ 2209123 h 2496364"/>
              <a:gd name="connsiteX72" fmla="*/ 1171281 w 2427461"/>
              <a:gd name="connsiteY72" fmla="*/ 2345578 h 2496364"/>
              <a:gd name="connsiteX73" fmla="*/ 1092298 w 2427461"/>
              <a:gd name="connsiteY73" fmla="*/ 2424561 h 2496364"/>
              <a:gd name="connsiteX74" fmla="*/ 1013314 w 2427461"/>
              <a:gd name="connsiteY74" fmla="*/ 2345578 h 2496364"/>
              <a:gd name="connsiteX75" fmla="*/ 941511 w 2427461"/>
              <a:gd name="connsiteY75" fmla="*/ 2345578 h 2496364"/>
              <a:gd name="connsiteX76" fmla="*/ 1092298 w 2427461"/>
              <a:gd name="connsiteY76" fmla="*/ 2496364 h 2496364"/>
              <a:gd name="connsiteX77" fmla="*/ 1243084 w 2427461"/>
              <a:gd name="connsiteY77" fmla="*/ 2345578 h 2496364"/>
              <a:gd name="connsiteX78" fmla="*/ 1243084 w 2427461"/>
              <a:gd name="connsiteY78" fmla="*/ 2209152 h 2496364"/>
              <a:gd name="connsiteX79" fmla="*/ 1275912 w 2427461"/>
              <a:gd name="connsiteY79" fmla="*/ 2209152 h 2496364"/>
              <a:gd name="connsiteX80" fmla="*/ 1311814 w 2427461"/>
              <a:gd name="connsiteY80" fmla="*/ 2173250 h 2496364"/>
              <a:gd name="connsiteX81" fmla="*/ 1275912 w 2427461"/>
              <a:gd name="connsiteY81" fmla="*/ 2137349 h 2496364"/>
              <a:gd name="connsiteX82" fmla="*/ 1243084 w 2427461"/>
              <a:gd name="connsiteY82" fmla="*/ 2137349 h 2496364"/>
              <a:gd name="connsiteX83" fmla="*/ 1243084 w 2427461"/>
              <a:gd name="connsiteY83" fmla="*/ 1246990 h 2496364"/>
              <a:gd name="connsiteX84" fmla="*/ 1275912 w 2427461"/>
              <a:gd name="connsiteY84" fmla="*/ 1246990 h 2496364"/>
              <a:gd name="connsiteX85" fmla="*/ 1311814 w 2427461"/>
              <a:gd name="connsiteY85" fmla="*/ 1211089 h 2496364"/>
              <a:gd name="connsiteX86" fmla="*/ 1275912 w 2427461"/>
              <a:gd name="connsiteY86" fmla="*/ 1175187 h 2496364"/>
              <a:gd name="connsiteX87" fmla="*/ 1243084 w 2427461"/>
              <a:gd name="connsiteY87" fmla="*/ 1175187 h 2496364"/>
              <a:gd name="connsiteX88" fmla="*/ 1243084 w 2427461"/>
              <a:gd name="connsiteY88" fmla="*/ 1041576 h 2496364"/>
              <a:gd name="connsiteX89" fmla="*/ 1559449 w 2427461"/>
              <a:gd name="connsiteY89" fmla="*/ 1315404 h 2496364"/>
              <a:gd name="connsiteX90" fmla="*/ 1595149 w 2427461"/>
              <a:gd name="connsiteY90" fmla="*/ 1347457 h 2496364"/>
              <a:gd name="connsiteX91" fmla="*/ 1606207 w 2427461"/>
              <a:gd name="connsiteY91" fmla="*/ 1347457 h 2496364"/>
              <a:gd name="connsiteX92" fmla="*/ 1641907 w 2427461"/>
              <a:gd name="connsiteY92" fmla="*/ 1315404 h 2496364"/>
              <a:gd name="connsiteX93" fmla="*/ 1997706 w 2427461"/>
              <a:gd name="connsiteY93" fmla="*/ 1039594 h 2496364"/>
              <a:gd name="connsiteX94" fmla="*/ 2353447 w 2427461"/>
              <a:gd name="connsiteY94" fmla="*/ 1315404 h 2496364"/>
              <a:gd name="connsiteX95" fmla="*/ 2389148 w 2427461"/>
              <a:gd name="connsiteY95" fmla="*/ 1347457 h 2496364"/>
              <a:gd name="connsiteX96" fmla="*/ 2390986 w 2427461"/>
              <a:gd name="connsiteY96" fmla="*/ 1347457 h 2496364"/>
              <a:gd name="connsiteX97" fmla="*/ 2391560 w 2427461"/>
              <a:gd name="connsiteY97" fmla="*/ 1347457 h 2496364"/>
              <a:gd name="connsiteX98" fmla="*/ 2427462 w 2427461"/>
              <a:gd name="connsiteY98" fmla="*/ 1311556 h 2496364"/>
              <a:gd name="connsiteX99" fmla="*/ 2426859 w 2427461"/>
              <a:gd name="connsiteY99" fmla="*/ 1305036 h 2496364"/>
              <a:gd name="connsiteX100" fmla="*/ 88978 w 2427461"/>
              <a:gd name="connsiteY100" fmla="*/ 1113465 h 2496364"/>
              <a:gd name="connsiteX101" fmla="*/ 920889 w 2427461"/>
              <a:gd name="connsiteY101" fmla="*/ 208057 h 2496364"/>
              <a:gd name="connsiteX102" fmla="*/ 393050 w 2427461"/>
              <a:gd name="connsiteY102" fmla="*/ 969629 h 2496364"/>
              <a:gd name="connsiteX103" fmla="*/ 88978 w 2427461"/>
              <a:gd name="connsiteY103" fmla="*/ 1113465 h 2496364"/>
              <a:gd name="connsiteX104" fmla="*/ 467237 w 2427461"/>
              <a:gd name="connsiteY104" fmla="*/ 969399 h 2496364"/>
              <a:gd name="connsiteX105" fmla="*/ 1122800 w 2427461"/>
              <a:gd name="connsiteY105" fmla="*/ 201077 h 2496364"/>
              <a:gd name="connsiteX106" fmla="*/ 790409 w 2427461"/>
              <a:gd name="connsiteY106" fmla="*/ 1140635 h 2496364"/>
              <a:gd name="connsiteX107" fmla="*/ 467237 w 2427461"/>
              <a:gd name="connsiteY107" fmla="*/ 969399 h 2496364"/>
              <a:gd name="connsiteX108" fmla="*/ 863217 w 2427461"/>
              <a:gd name="connsiteY108" fmla="*/ 1114556 h 2496364"/>
              <a:gd name="connsiteX109" fmla="*/ 1171281 w 2427461"/>
              <a:gd name="connsiteY109" fmla="*/ 255418 h 2496364"/>
              <a:gd name="connsiteX110" fmla="*/ 1171281 w 2427461"/>
              <a:gd name="connsiteY110" fmla="*/ 968882 h 2496364"/>
              <a:gd name="connsiteX111" fmla="*/ 863217 w 2427461"/>
              <a:gd name="connsiteY111" fmla="*/ 1114556 h 2496364"/>
              <a:gd name="connsiteX112" fmla="*/ 1243084 w 2427461"/>
              <a:gd name="connsiteY112" fmla="*/ 969514 h 2496364"/>
              <a:gd name="connsiteX113" fmla="*/ 1243084 w 2427461"/>
              <a:gd name="connsiteY113" fmla="*/ 244849 h 2496364"/>
              <a:gd name="connsiteX114" fmla="*/ 1560368 w 2427461"/>
              <a:gd name="connsiteY114" fmla="*/ 1133886 h 2496364"/>
              <a:gd name="connsiteX115" fmla="*/ 1243084 w 2427461"/>
              <a:gd name="connsiteY115" fmla="*/ 969514 h 2496364"/>
              <a:gd name="connsiteX116" fmla="*/ 1632659 w 2427461"/>
              <a:gd name="connsiteY116" fmla="*/ 1145173 h 2496364"/>
              <a:gd name="connsiteX117" fmla="*/ 1300096 w 2427461"/>
              <a:gd name="connsiteY117" fmla="*/ 201077 h 2496364"/>
              <a:gd name="connsiteX118" fmla="*/ 1955744 w 2427461"/>
              <a:gd name="connsiteY118" fmla="*/ 969773 h 2496364"/>
              <a:gd name="connsiteX119" fmla="*/ 1632659 w 2427461"/>
              <a:gd name="connsiteY119" fmla="*/ 1145173 h 2496364"/>
              <a:gd name="connsiteX120" fmla="*/ 2029759 w 2427461"/>
              <a:gd name="connsiteY120" fmla="*/ 969428 h 2496364"/>
              <a:gd name="connsiteX121" fmla="*/ 1498789 w 2427461"/>
              <a:gd name="connsiteY121" fmla="*/ 206247 h 2496364"/>
              <a:gd name="connsiteX122" fmla="*/ 2337909 w 2427461"/>
              <a:gd name="connsiteY122" fmla="*/ 1113465 h 2496364"/>
              <a:gd name="connsiteX123" fmla="*/ 2029759 w 2427461"/>
              <a:gd name="connsiteY123" fmla="*/ 969428 h 2496364"/>
              <a:gd name="connsiteX0" fmla="*/ 2426859 w 2427462"/>
              <a:gd name="connsiteY0" fmla="*/ 1305036 h 2496364"/>
              <a:gd name="connsiteX1" fmla="*/ 2275440 w 2427462"/>
              <a:gd name="connsiteY1" fmla="*/ 725154 h 2496364"/>
              <a:gd name="connsiteX2" fmla="*/ 2275440 w 2427462"/>
              <a:gd name="connsiteY2" fmla="*/ 516753 h 2496364"/>
              <a:gd name="connsiteX3" fmla="*/ 2203637 w 2427462"/>
              <a:gd name="connsiteY3" fmla="*/ 516753 h 2496364"/>
              <a:gd name="connsiteX4" fmla="*/ 2203637 w 2427462"/>
              <a:gd name="connsiteY4" fmla="*/ 611418 h 2496364"/>
              <a:gd name="connsiteX5" fmla="*/ 2122988 w 2427462"/>
              <a:gd name="connsiteY5" fmla="*/ 509601 h 2496364"/>
              <a:gd name="connsiteX6" fmla="*/ 2122988 w 2427462"/>
              <a:gd name="connsiteY6" fmla="*/ 353444 h 2496364"/>
              <a:gd name="connsiteX7" fmla="*/ 2051185 w 2427462"/>
              <a:gd name="connsiteY7" fmla="*/ 353444 h 2496364"/>
              <a:gd name="connsiteX8" fmla="*/ 2051185 w 2427462"/>
              <a:gd name="connsiteY8" fmla="*/ 434897 h 2496364"/>
              <a:gd name="connsiteX9" fmla="*/ 1956204 w 2427462"/>
              <a:gd name="connsiteY9" fmla="*/ 352984 h 2496364"/>
              <a:gd name="connsiteX10" fmla="*/ 1956204 w 2427462"/>
              <a:gd name="connsiteY10" fmla="*/ 224715 h 2496364"/>
              <a:gd name="connsiteX11" fmla="*/ 1884401 w 2427462"/>
              <a:gd name="connsiteY11" fmla="*/ 224715 h 2496364"/>
              <a:gd name="connsiteX12" fmla="*/ 1884401 w 2427462"/>
              <a:gd name="connsiteY12" fmla="*/ 301027 h 2496364"/>
              <a:gd name="connsiteX13" fmla="*/ 1814350 w 2427462"/>
              <a:gd name="connsiteY13" fmla="*/ 257945 h 2496364"/>
              <a:gd name="connsiteX14" fmla="*/ 1814350 w 2427462"/>
              <a:gd name="connsiteY14" fmla="*/ 172040 h 2496364"/>
              <a:gd name="connsiteX15" fmla="*/ 1742546 w 2427462"/>
              <a:gd name="connsiteY15" fmla="*/ 172040 h 2496364"/>
              <a:gd name="connsiteX16" fmla="*/ 1742546 w 2427462"/>
              <a:gd name="connsiteY16" fmla="*/ 219717 h 2496364"/>
              <a:gd name="connsiteX17" fmla="*/ 1684616 w 2427462"/>
              <a:gd name="connsiteY17" fmla="*/ 193294 h 2496364"/>
              <a:gd name="connsiteX18" fmla="*/ 1684616 w 2427462"/>
              <a:gd name="connsiteY18" fmla="*/ 138465 h 2496364"/>
              <a:gd name="connsiteX19" fmla="*/ 1612813 w 2427462"/>
              <a:gd name="connsiteY19" fmla="*/ 138465 h 2496364"/>
              <a:gd name="connsiteX20" fmla="*/ 1612813 w 2427462"/>
              <a:gd name="connsiteY20" fmla="*/ 165894 h 2496364"/>
              <a:gd name="connsiteX21" fmla="*/ 1543795 w 2427462"/>
              <a:gd name="connsiteY21" fmla="*/ 144152 h 2496364"/>
              <a:gd name="connsiteX22" fmla="*/ 1543795 w 2427462"/>
              <a:gd name="connsiteY22" fmla="*/ 4509 h 2496364"/>
              <a:gd name="connsiteX23" fmla="*/ 1471992 w 2427462"/>
              <a:gd name="connsiteY23" fmla="*/ 4509 h 2496364"/>
              <a:gd name="connsiteX24" fmla="*/ 1471992 w 2427462"/>
              <a:gd name="connsiteY24" fmla="*/ 126058 h 2496364"/>
              <a:gd name="connsiteX25" fmla="*/ 1243084 w 2427462"/>
              <a:gd name="connsiteY25" fmla="*/ 98801 h 2496364"/>
              <a:gd name="connsiteX26" fmla="*/ 1243084 w 2427462"/>
              <a:gd name="connsiteY26" fmla="*/ 0 h 2496364"/>
              <a:gd name="connsiteX27" fmla="*/ 1171281 w 2427462"/>
              <a:gd name="connsiteY27" fmla="*/ 0 h 2496364"/>
              <a:gd name="connsiteX28" fmla="*/ 1171281 w 2427462"/>
              <a:gd name="connsiteY28" fmla="*/ 99117 h 2496364"/>
              <a:gd name="connsiteX29" fmla="*/ 958973 w 2427462"/>
              <a:gd name="connsiteY29" fmla="*/ 125110 h 2496364"/>
              <a:gd name="connsiteX30" fmla="*/ 958973 w 2427462"/>
              <a:gd name="connsiteY30" fmla="*/ 0 h 2496364"/>
              <a:gd name="connsiteX31" fmla="*/ 887170 w 2427462"/>
              <a:gd name="connsiteY31" fmla="*/ 0 h 2496364"/>
              <a:gd name="connsiteX32" fmla="*/ 887170 w 2427462"/>
              <a:gd name="connsiteY32" fmla="*/ 142974 h 2496364"/>
              <a:gd name="connsiteX33" fmla="*/ 817493 w 2427462"/>
              <a:gd name="connsiteY33" fmla="*/ 164745 h 2496364"/>
              <a:gd name="connsiteX34" fmla="*/ 817493 w 2427462"/>
              <a:gd name="connsiteY34" fmla="*/ 133956 h 2496364"/>
              <a:gd name="connsiteX35" fmla="*/ 745690 w 2427462"/>
              <a:gd name="connsiteY35" fmla="*/ 133956 h 2496364"/>
              <a:gd name="connsiteX36" fmla="*/ 745690 w 2427462"/>
              <a:gd name="connsiteY36" fmla="*/ 191944 h 2496364"/>
              <a:gd name="connsiteX37" fmla="*/ 687156 w 2427462"/>
              <a:gd name="connsiteY37" fmla="*/ 218253 h 2496364"/>
              <a:gd name="connsiteX38" fmla="*/ 687156 w 2427462"/>
              <a:gd name="connsiteY38" fmla="*/ 167560 h 2496364"/>
              <a:gd name="connsiteX39" fmla="*/ 615353 w 2427462"/>
              <a:gd name="connsiteY39" fmla="*/ 167560 h 2496364"/>
              <a:gd name="connsiteX40" fmla="*/ 615353 w 2427462"/>
              <a:gd name="connsiteY40" fmla="*/ 256337 h 2496364"/>
              <a:gd name="connsiteX41" fmla="*/ 544641 w 2427462"/>
              <a:gd name="connsiteY41" fmla="*/ 299706 h 2496364"/>
              <a:gd name="connsiteX42" fmla="*/ 544641 w 2427462"/>
              <a:gd name="connsiteY42" fmla="*/ 220206 h 2496364"/>
              <a:gd name="connsiteX43" fmla="*/ 472838 w 2427462"/>
              <a:gd name="connsiteY43" fmla="*/ 220206 h 2496364"/>
              <a:gd name="connsiteX44" fmla="*/ 472838 w 2427462"/>
              <a:gd name="connsiteY44" fmla="*/ 351261 h 2496364"/>
              <a:gd name="connsiteX45" fmla="*/ 377110 w 2427462"/>
              <a:gd name="connsiteY45" fmla="*/ 433547 h 2496364"/>
              <a:gd name="connsiteX46" fmla="*/ 377110 w 2427462"/>
              <a:gd name="connsiteY46" fmla="*/ 348906 h 2496364"/>
              <a:gd name="connsiteX47" fmla="*/ 305307 w 2427462"/>
              <a:gd name="connsiteY47" fmla="*/ 348906 h 2496364"/>
              <a:gd name="connsiteX48" fmla="*/ 305307 w 2427462"/>
              <a:gd name="connsiteY48" fmla="*/ 507906 h 2496364"/>
              <a:gd name="connsiteX49" fmla="*/ 223940 w 2427462"/>
              <a:gd name="connsiteY49" fmla="*/ 610441 h 2496364"/>
              <a:gd name="connsiteX50" fmla="*/ 223940 w 2427462"/>
              <a:gd name="connsiteY50" fmla="*/ 512186 h 2496364"/>
              <a:gd name="connsiteX51" fmla="*/ 152136 w 2427462"/>
              <a:gd name="connsiteY51" fmla="*/ 512186 h 2496364"/>
              <a:gd name="connsiteX52" fmla="*/ 152136 w 2427462"/>
              <a:gd name="connsiteY52" fmla="*/ 722741 h 2496364"/>
              <a:gd name="connsiteX53" fmla="*/ 152912 w 2427462"/>
              <a:gd name="connsiteY53" fmla="*/ 722741 h 2496364"/>
              <a:gd name="connsiteX54" fmla="*/ 0 w 2427462"/>
              <a:gd name="connsiteY54" fmla="*/ 1311527 h 2496364"/>
              <a:gd name="connsiteX55" fmla="*/ 37740 w 2427462"/>
              <a:gd name="connsiteY55" fmla="*/ 1347428 h 2496364"/>
              <a:gd name="connsiteX56" fmla="*/ 73440 w 2427462"/>
              <a:gd name="connsiteY56" fmla="*/ 1315375 h 2496364"/>
              <a:gd name="connsiteX57" fmla="*/ 429210 w 2427462"/>
              <a:gd name="connsiteY57" fmla="*/ 1039565 h 2496364"/>
              <a:gd name="connsiteX58" fmla="*/ 781246 w 2427462"/>
              <a:gd name="connsiteY58" fmla="*/ 1292657 h 2496364"/>
              <a:gd name="connsiteX59" fmla="*/ 816459 w 2427462"/>
              <a:gd name="connsiteY59" fmla="*/ 1321579 h 2496364"/>
              <a:gd name="connsiteX60" fmla="*/ 851671 w 2427462"/>
              <a:gd name="connsiteY60" fmla="*/ 1292657 h 2496364"/>
              <a:gd name="connsiteX61" fmla="*/ 1171281 w 2427462"/>
              <a:gd name="connsiteY61" fmla="*/ 1040800 h 2496364"/>
              <a:gd name="connsiteX62" fmla="*/ 1171281 w 2427462"/>
              <a:gd name="connsiteY62" fmla="*/ 1175158 h 2496364"/>
              <a:gd name="connsiteX63" fmla="*/ 1147414 w 2427462"/>
              <a:gd name="connsiteY63" fmla="*/ 1175158 h 2496364"/>
              <a:gd name="connsiteX64" fmla="*/ 1111512 w 2427462"/>
              <a:gd name="connsiteY64" fmla="*/ 1211060 h 2496364"/>
              <a:gd name="connsiteX65" fmla="*/ 1147414 w 2427462"/>
              <a:gd name="connsiteY65" fmla="*/ 1246961 h 2496364"/>
              <a:gd name="connsiteX66" fmla="*/ 1171281 w 2427462"/>
              <a:gd name="connsiteY66" fmla="*/ 1246961 h 2496364"/>
              <a:gd name="connsiteX67" fmla="*/ 1171281 w 2427462"/>
              <a:gd name="connsiteY67" fmla="*/ 2137320 h 2496364"/>
              <a:gd name="connsiteX68" fmla="*/ 1147414 w 2427462"/>
              <a:gd name="connsiteY68" fmla="*/ 2137320 h 2496364"/>
              <a:gd name="connsiteX69" fmla="*/ 1111512 w 2427462"/>
              <a:gd name="connsiteY69" fmla="*/ 2173221 h 2496364"/>
              <a:gd name="connsiteX70" fmla="*/ 1147414 w 2427462"/>
              <a:gd name="connsiteY70" fmla="*/ 2209123 h 2496364"/>
              <a:gd name="connsiteX71" fmla="*/ 1171281 w 2427462"/>
              <a:gd name="connsiteY71" fmla="*/ 2209123 h 2496364"/>
              <a:gd name="connsiteX72" fmla="*/ 1171281 w 2427462"/>
              <a:gd name="connsiteY72" fmla="*/ 2345578 h 2496364"/>
              <a:gd name="connsiteX73" fmla="*/ 1092298 w 2427462"/>
              <a:gd name="connsiteY73" fmla="*/ 2424561 h 2496364"/>
              <a:gd name="connsiteX74" fmla="*/ 1013314 w 2427462"/>
              <a:gd name="connsiteY74" fmla="*/ 2345578 h 2496364"/>
              <a:gd name="connsiteX75" fmla="*/ 1092298 w 2427462"/>
              <a:gd name="connsiteY75" fmla="*/ 2496364 h 2496364"/>
              <a:gd name="connsiteX76" fmla="*/ 1243084 w 2427462"/>
              <a:gd name="connsiteY76" fmla="*/ 2345578 h 2496364"/>
              <a:gd name="connsiteX77" fmla="*/ 1243084 w 2427462"/>
              <a:gd name="connsiteY77" fmla="*/ 2209152 h 2496364"/>
              <a:gd name="connsiteX78" fmla="*/ 1275912 w 2427462"/>
              <a:gd name="connsiteY78" fmla="*/ 2209152 h 2496364"/>
              <a:gd name="connsiteX79" fmla="*/ 1311814 w 2427462"/>
              <a:gd name="connsiteY79" fmla="*/ 2173250 h 2496364"/>
              <a:gd name="connsiteX80" fmla="*/ 1275912 w 2427462"/>
              <a:gd name="connsiteY80" fmla="*/ 2137349 h 2496364"/>
              <a:gd name="connsiteX81" fmla="*/ 1243084 w 2427462"/>
              <a:gd name="connsiteY81" fmla="*/ 2137349 h 2496364"/>
              <a:gd name="connsiteX82" fmla="*/ 1243084 w 2427462"/>
              <a:gd name="connsiteY82" fmla="*/ 1246990 h 2496364"/>
              <a:gd name="connsiteX83" fmla="*/ 1275912 w 2427462"/>
              <a:gd name="connsiteY83" fmla="*/ 1246990 h 2496364"/>
              <a:gd name="connsiteX84" fmla="*/ 1311814 w 2427462"/>
              <a:gd name="connsiteY84" fmla="*/ 1211089 h 2496364"/>
              <a:gd name="connsiteX85" fmla="*/ 1275912 w 2427462"/>
              <a:gd name="connsiteY85" fmla="*/ 1175187 h 2496364"/>
              <a:gd name="connsiteX86" fmla="*/ 1243084 w 2427462"/>
              <a:gd name="connsiteY86" fmla="*/ 1175187 h 2496364"/>
              <a:gd name="connsiteX87" fmla="*/ 1243084 w 2427462"/>
              <a:gd name="connsiteY87" fmla="*/ 1041576 h 2496364"/>
              <a:gd name="connsiteX88" fmla="*/ 1559449 w 2427462"/>
              <a:gd name="connsiteY88" fmla="*/ 1315404 h 2496364"/>
              <a:gd name="connsiteX89" fmla="*/ 1595149 w 2427462"/>
              <a:gd name="connsiteY89" fmla="*/ 1347457 h 2496364"/>
              <a:gd name="connsiteX90" fmla="*/ 1606207 w 2427462"/>
              <a:gd name="connsiteY90" fmla="*/ 1347457 h 2496364"/>
              <a:gd name="connsiteX91" fmla="*/ 1641907 w 2427462"/>
              <a:gd name="connsiteY91" fmla="*/ 1315404 h 2496364"/>
              <a:gd name="connsiteX92" fmla="*/ 1997706 w 2427462"/>
              <a:gd name="connsiteY92" fmla="*/ 1039594 h 2496364"/>
              <a:gd name="connsiteX93" fmla="*/ 2353447 w 2427462"/>
              <a:gd name="connsiteY93" fmla="*/ 1315404 h 2496364"/>
              <a:gd name="connsiteX94" fmla="*/ 2389148 w 2427462"/>
              <a:gd name="connsiteY94" fmla="*/ 1347457 h 2496364"/>
              <a:gd name="connsiteX95" fmla="*/ 2390986 w 2427462"/>
              <a:gd name="connsiteY95" fmla="*/ 1347457 h 2496364"/>
              <a:gd name="connsiteX96" fmla="*/ 2391560 w 2427462"/>
              <a:gd name="connsiteY96" fmla="*/ 1347457 h 2496364"/>
              <a:gd name="connsiteX97" fmla="*/ 2427462 w 2427462"/>
              <a:gd name="connsiteY97" fmla="*/ 1311556 h 2496364"/>
              <a:gd name="connsiteX98" fmla="*/ 2426859 w 2427462"/>
              <a:gd name="connsiteY98" fmla="*/ 1305036 h 2496364"/>
              <a:gd name="connsiteX99" fmla="*/ 88978 w 2427462"/>
              <a:gd name="connsiteY99" fmla="*/ 1113465 h 2496364"/>
              <a:gd name="connsiteX100" fmla="*/ 920889 w 2427462"/>
              <a:gd name="connsiteY100" fmla="*/ 208057 h 2496364"/>
              <a:gd name="connsiteX101" fmla="*/ 393050 w 2427462"/>
              <a:gd name="connsiteY101" fmla="*/ 969629 h 2496364"/>
              <a:gd name="connsiteX102" fmla="*/ 88978 w 2427462"/>
              <a:gd name="connsiteY102" fmla="*/ 1113465 h 2496364"/>
              <a:gd name="connsiteX103" fmla="*/ 467237 w 2427462"/>
              <a:gd name="connsiteY103" fmla="*/ 969399 h 2496364"/>
              <a:gd name="connsiteX104" fmla="*/ 1122800 w 2427462"/>
              <a:gd name="connsiteY104" fmla="*/ 201077 h 2496364"/>
              <a:gd name="connsiteX105" fmla="*/ 790409 w 2427462"/>
              <a:gd name="connsiteY105" fmla="*/ 1140635 h 2496364"/>
              <a:gd name="connsiteX106" fmla="*/ 467237 w 2427462"/>
              <a:gd name="connsiteY106" fmla="*/ 969399 h 2496364"/>
              <a:gd name="connsiteX107" fmla="*/ 863217 w 2427462"/>
              <a:gd name="connsiteY107" fmla="*/ 1114556 h 2496364"/>
              <a:gd name="connsiteX108" fmla="*/ 1171281 w 2427462"/>
              <a:gd name="connsiteY108" fmla="*/ 255418 h 2496364"/>
              <a:gd name="connsiteX109" fmla="*/ 1171281 w 2427462"/>
              <a:gd name="connsiteY109" fmla="*/ 968882 h 2496364"/>
              <a:gd name="connsiteX110" fmla="*/ 863217 w 2427462"/>
              <a:gd name="connsiteY110" fmla="*/ 1114556 h 2496364"/>
              <a:gd name="connsiteX111" fmla="*/ 1243084 w 2427462"/>
              <a:gd name="connsiteY111" fmla="*/ 969514 h 2496364"/>
              <a:gd name="connsiteX112" fmla="*/ 1243084 w 2427462"/>
              <a:gd name="connsiteY112" fmla="*/ 244849 h 2496364"/>
              <a:gd name="connsiteX113" fmla="*/ 1560368 w 2427462"/>
              <a:gd name="connsiteY113" fmla="*/ 1133886 h 2496364"/>
              <a:gd name="connsiteX114" fmla="*/ 1243084 w 2427462"/>
              <a:gd name="connsiteY114" fmla="*/ 969514 h 2496364"/>
              <a:gd name="connsiteX115" fmla="*/ 1632659 w 2427462"/>
              <a:gd name="connsiteY115" fmla="*/ 1145173 h 2496364"/>
              <a:gd name="connsiteX116" fmla="*/ 1300096 w 2427462"/>
              <a:gd name="connsiteY116" fmla="*/ 201077 h 2496364"/>
              <a:gd name="connsiteX117" fmla="*/ 1955744 w 2427462"/>
              <a:gd name="connsiteY117" fmla="*/ 969773 h 2496364"/>
              <a:gd name="connsiteX118" fmla="*/ 1632659 w 2427462"/>
              <a:gd name="connsiteY118" fmla="*/ 1145173 h 2496364"/>
              <a:gd name="connsiteX119" fmla="*/ 2029759 w 2427462"/>
              <a:gd name="connsiteY119" fmla="*/ 969428 h 2496364"/>
              <a:gd name="connsiteX120" fmla="*/ 1498789 w 2427462"/>
              <a:gd name="connsiteY120" fmla="*/ 206247 h 2496364"/>
              <a:gd name="connsiteX121" fmla="*/ 2337909 w 2427462"/>
              <a:gd name="connsiteY121" fmla="*/ 1113465 h 2496364"/>
              <a:gd name="connsiteX122" fmla="*/ 2029759 w 2427462"/>
              <a:gd name="connsiteY122" fmla="*/ 969428 h 2496364"/>
              <a:gd name="connsiteX0" fmla="*/ 2426859 w 2427462"/>
              <a:gd name="connsiteY0" fmla="*/ 1305036 h 2498232"/>
              <a:gd name="connsiteX1" fmla="*/ 2275440 w 2427462"/>
              <a:gd name="connsiteY1" fmla="*/ 725154 h 2498232"/>
              <a:gd name="connsiteX2" fmla="*/ 2275440 w 2427462"/>
              <a:gd name="connsiteY2" fmla="*/ 516753 h 2498232"/>
              <a:gd name="connsiteX3" fmla="*/ 2203637 w 2427462"/>
              <a:gd name="connsiteY3" fmla="*/ 516753 h 2498232"/>
              <a:gd name="connsiteX4" fmla="*/ 2203637 w 2427462"/>
              <a:gd name="connsiteY4" fmla="*/ 611418 h 2498232"/>
              <a:gd name="connsiteX5" fmla="*/ 2122988 w 2427462"/>
              <a:gd name="connsiteY5" fmla="*/ 509601 h 2498232"/>
              <a:gd name="connsiteX6" fmla="*/ 2122988 w 2427462"/>
              <a:gd name="connsiteY6" fmla="*/ 353444 h 2498232"/>
              <a:gd name="connsiteX7" fmla="*/ 2051185 w 2427462"/>
              <a:gd name="connsiteY7" fmla="*/ 353444 h 2498232"/>
              <a:gd name="connsiteX8" fmla="*/ 2051185 w 2427462"/>
              <a:gd name="connsiteY8" fmla="*/ 434897 h 2498232"/>
              <a:gd name="connsiteX9" fmla="*/ 1956204 w 2427462"/>
              <a:gd name="connsiteY9" fmla="*/ 352984 h 2498232"/>
              <a:gd name="connsiteX10" fmla="*/ 1956204 w 2427462"/>
              <a:gd name="connsiteY10" fmla="*/ 224715 h 2498232"/>
              <a:gd name="connsiteX11" fmla="*/ 1884401 w 2427462"/>
              <a:gd name="connsiteY11" fmla="*/ 224715 h 2498232"/>
              <a:gd name="connsiteX12" fmla="*/ 1884401 w 2427462"/>
              <a:gd name="connsiteY12" fmla="*/ 301027 h 2498232"/>
              <a:gd name="connsiteX13" fmla="*/ 1814350 w 2427462"/>
              <a:gd name="connsiteY13" fmla="*/ 257945 h 2498232"/>
              <a:gd name="connsiteX14" fmla="*/ 1814350 w 2427462"/>
              <a:gd name="connsiteY14" fmla="*/ 172040 h 2498232"/>
              <a:gd name="connsiteX15" fmla="*/ 1742546 w 2427462"/>
              <a:gd name="connsiteY15" fmla="*/ 172040 h 2498232"/>
              <a:gd name="connsiteX16" fmla="*/ 1742546 w 2427462"/>
              <a:gd name="connsiteY16" fmla="*/ 219717 h 2498232"/>
              <a:gd name="connsiteX17" fmla="*/ 1684616 w 2427462"/>
              <a:gd name="connsiteY17" fmla="*/ 193294 h 2498232"/>
              <a:gd name="connsiteX18" fmla="*/ 1684616 w 2427462"/>
              <a:gd name="connsiteY18" fmla="*/ 138465 h 2498232"/>
              <a:gd name="connsiteX19" fmla="*/ 1612813 w 2427462"/>
              <a:gd name="connsiteY19" fmla="*/ 138465 h 2498232"/>
              <a:gd name="connsiteX20" fmla="*/ 1612813 w 2427462"/>
              <a:gd name="connsiteY20" fmla="*/ 165894 h 2498232"/>
              <a:gd name="connsiteX21" fmla="*/ 1543795 w 2427462"/>
              <a:gd name="connsiteY21" fmla="*/ 144152 h 2498232"/>
              <a:gd name="connsiteX22" fmla="*/ 1543795 w 2427462"/>
              <a:gd name="connsiteY22" fmla="*/ 4509 h 2498232"/>
              <a:gd name="connsiteX23" fmla="*/ 1471992 w 2427462"/>
              <a:gd name="connsiteY23" fmla="*/ 4509 h 2498232"/>
              <a:gd name="connsiteX24" fmla="*/ 1471992 w 2427462"/>
              <a:gd name="connsiteY24" fmla="*/ 126058 h 2498232"/>
              <a:gd name="connsiteX25" fmla="*/ 1243084 w 2427462"/>
              <a:gd name="connsiteY25" fmla="*/ 98801 h 2498232"/>
              <a:gd name="connsiteX26" fmla="*/ 1243084 w 2427462"/>
              <a:gd name="connsiteY26" fmla="*/ 0 h 2498232"/>
              <a:gd name="connsiteX27" fmla="*/ 1171281 w 2427462"/>
              <a:gd name="connsiteY27" fmla="*/ 0 h 2498232"/>
              <a:gd name="connsiteX28" fmla="*/ 1171281 w 2427462"/>
              <a:gd name="connsiteY28" fmla="*/ 99117 h 2498232"/>
              <a:gd name="connsiteX29" fmla="*/ 958973 w 2427462"/>
              <a:gd name="connsiteY29" fmla="*/ 125110 h 2498232"/>
              <a:gd name="connsiteX30" fmla="*/ 958973 w 2427462"/>
              <a:gd name="connsiteY30" fmla="*/ 0 h 2498232"/>
              <a:gd name="connsiteX31" fmla="*/ 887170 w 2427462"/>
              <a:gd name="connsiteY31" fmla="*/ 0 h 2498232"/>
              <a:gd name="connsiteX32" fmla="*/ 887170 w 2427462"/>
              <a:gd name="connsiteY32" fmla="*/ 142974 h 2498232"/>
              <a:gd name="connsiteX33" fmla="*/ 817493 w 2427462"/>
              <a:gd name="connsiteY33" fmla="*/ 164745 h 2498232"/>
              <a:gd name="connsiteX34" fmla="*/ 817493 w 2427462"/>
              <a:gd name="connsiteY34" fmla="*/ 133956 h 2498232"/>
              <a:gd name="connsiteX35" fmla="*/ 745690 w 2427462"/>
              <a:gd name="connsiteY35" fmla="*/ 133956 h 2498232"/>
              <a:gd name="connsiteX36" fmla="*/ 745690 w 2427462"/>
              <a:gd name="connsiteY36" fmla="*/ 191944 h 2498232"/>
              <a:gd name="connsiteX37" fmla="*/ 687156 w 2427462"/>
              <a:gd name="connsiteY37" fmla="*/ 218253 h 2498232"/>
              <a:gd name="connsiteX38" fmla="*/ 687156 w 2427462"/>
              <a:gd name="connsiteY38" fmla="*/ 167560 h 2498232"/>
              <a:gd name="connsiteX39" fmla="*/ 615353 w 2427462"/>
              <a:gd name="connsiteY39" fmla="*/ 167560 h 2498232"/>
              <a:gd name="connsiteX40" fmla="*/ 615353 w 2427462"/>
              <a:gd name="connsiteY40" fmla="*/ 256337 h 2498232"/>
              <a:gd name="connsiteX41" fmla="*/ 544641 w 2427462"/>
              <a:gd name="connsiteY41" fmla="*/ 299706 h 2498232"/>
              <a:gd name="connsiteX42" fmla="*/ 544641 w 2427462"/>
              <a:gd name="connsiteY42" fmla="*/ 220206 h 2498232"/>
              <a:gd name="connsiteX43" fmla="*/ 472838 w 2427462"/>
              <a:gd name="connsiteY43" fmla="*/ 220206 h 2498232"/>
              <a:gd name="connsiteX44" fmla="*/ 472838 w 2427462"/>
              <a:gd name="connsiteY44" fmla="*/ 351261 h 2498232"/>
              <a:gd name="connsiteX45" fmla="*/ 377110 w 2427462"/>
              <a:gd name="connsiteY45" fmla="*/ 433547 h 2498232"/>
              <a:gd name="connsiteX46" fmla="*/ 377110 w 2427462"/>
              <a:gd name="connsiteY46" fmla="*/ 348906 h 2498232"/>
              <a:gd name="connsiteX47" fmla="*/ 305307 w 2427462"/>
              <a:gd name="connsiteY47" fmla="*/ 348906 h 2498232"/>
              <a:gd name="connsiteX48" fmla="*/ 305307 w 2427462"/>
              <a:gd name="connsiteY48" fmla="*/ 507906 h 2498232"/>
              <a:gd name="connsiteX49" fmla="*/ 223940 w 2427462"/>
              <a:gd name="connsiteY49" fmla="*/ 610441 h 2498232"/>
              <a:gd name="connsiteX50" fmla="*/ 223940 w 2427462"/>
              <a:gd name="connsiteY50" fmla="*/ 512186 h 2498232"/>
              <a:gd name="connsiteX51" fmla="*/ 152136 w 2427462"/>
              <a:gd name="connsiteY51" fmla="*/ 512186 h 2498232"/>
              <a:gd name="connsiteX52" fmla="*/ 152136 w 2427462"/>
              <a:gd name="connsiteY52" fmla="*/ 722741 h 2498232"/>
              <a:gd name="connsiteX53" fmla="*/ 152912 w 2427462"/>
              <a:gd name="connsiteY53" fmla="*/ 722741 h 2498232"/>
              <a:gd name="connsiteX54" fmla="*/ 0 w 2427462"/>
              <a:gd name="connsiteY54" fmla="*/ 1311527 h 2498232"/>
              <a:gd name="connsiteX55" fmla="*/ 37740 w 2427462"/>
              <a:gd name="connsiteY55" fmla="*/ 1347428 h 2498232"/>
              <a:gd name="connsiteX56" fmla="*/ 73440 w 2427462"/>
              <a:gd name="connsiteY56" fmla="*/ 1315375 h 2498232"/>
              <a:gd name="connsiteX57" fmla="*/ 429210 w 2427462"/>
              <a:gd name="connsiteY57" fmla="*/ 1039565 h 2498232"/>
              <a:gd name="connsiteX58" fmla="*/ 781246 w 2427462"/>
              <a:gd name="connsiteY58" fmla="*/ 1292657 h 2498232"/>
              <a:gd name="connsiteX59" fmla="*/ 816459 w 2427462"/>
              <a:gd name="connsiteY59" fmla="*/ 1321579 h 2498232"/>
              <a:gd name="connsiteX60" fmla="*/ 851671 w 2427462"/>
              <a:gd name="connsiteY60" fmla="*/ 1292657 h 2498232"/>
              <a:gd name="connsiteX61" fmla="*/ 1171281 w 2427462"/>
              <a:gd name="connsiteY61" fmla="*/ 1040800 h 2498232"/>
              <a:gd name="connsiteX62" fmla="*/ 1171281 w 2427462"/>
              <a:gd name="connsiteY62" fmla="*/ 1175158 h 2498232"/>
              <a:gd name="connsiteX63" fmla="*/ 1147414 w 2427462"/>
              <a:gd name="connsiteY63" fmla="*/ 1175158 h 2498232"/>
              <a:gd name="connsiteX64" fmla="*/ 1111512 w 2427462"/>
              <a:gd name="connsiteY64" fmla="*/ 1211060 h 2498232"/>
              <a:gd name="connsiteX65" fmla="*/ 1147414 w 2427462"/>
              <a:gd name="connsiteY65" fmla="*/ 1246961 h 2498232"/>
              <a:gd name="connsiteX66" fmla="*/ 1171281 w 2427462"/>
              <a:gd name="connsiteY66" fmla="*/ 1246961 h 2498232"/>
              <a:gd name="connsiteX67" fmla="*/ 1171281 w 2427462"/>
              <a:gd name="connsiteY67" fmla="*/ 2137320 h 2498232"/>
              <a:gd name="connsiteX68" fmla="*/ 1147414 w 2427462"/>
              <a:gd name="connsiteY68" fmla="*/ 2137320 h 2498232"/>
              <a:gd name="connsiteX69" fmla="*/ 1111512 w 2427462"/>
              <a:gd name="connsiteY69" fmla="*/ 2173221 h 2498232"/>
              <a:gd name="connsiteX70" fmla="*/ 1147414 w 2427462"/>
              <a:gd name="connsiteY70" fmla="*/ 2209123 h 2498232"/>
              <a:gd name="connsiteX71" fmla="*/ 1171281 w 2427462"/>
              <a:gd name="connsiteY71" fmla="*/ 2209123 h 2498232"/>
              <a:gd name="connsiteX72" fmla="*/ 1171281 w 2427462"/>
              <a:gd name="connsiteY72" fmla="*/ 2345578 h 2498232"/>
              <a:gd name="connsiteX73" fmla="*/ 1092298 w 2427462"/>
              <a:gd name="connsiteY73" fmla="*/ 2424561 h 2498232"/>
              <a:gd name="connsiteX74" fmla="*/ 1092298 w 2427462"/>
              <a:gd name="connsiteY74" fmla="*/ 2496364 h 2498232"/>
              <a:gd name="connsiteX75" fmla="*/ 1243084 w 2427462"/>
              <a:gd name="connsiteY75" fmla="*/ 2345578 h 2498232"/>
              <a:gd name="connsiteX76" fmla="*/ 1243084 w 2427462"/>
              <a:gd name="connsiteY76" fmla="*/ 2209152 h 2498232"/>
              <a:gd name="connsiteX77" fmla="*/ 1275912 w 2427462"/>
              <a:gd name="connsiteY77" fmla="*/ 2209152 h 2498232"/>
              <a:gd name="connsiteX78" fmla="*/ 1311814 w 2427462"/>
              <a:gd name="connsiteY78" fmla="*/ 2173250 h 2498232"/>
              <a:gd name="connsiteX79" fmla="*/ 1275912 w 2427462"/>
              <a:gd name="connsiteY79" fmla="*/ 2137349 h 2498232"/>
              <a:gd name="connsiteX80" fmla="*/ 1243084 w 2427462"/>
              <a:gd name="connsiteY80" fmla="*/ 2137349 h 2498232"/>
              <a:gd name="connsiteX81" fmla="*/ 1243084 w 2427462"/>
              <a:gd name="connsiteY81" fmla="*/ 1246990 h 2498232"/>
              <a:gd name="connsiteX82" fmla="*/ 1275912 w 2427462"/>
              <a:gd name="connsiteY82" fmla="*/ 1246990 h 2498232"/>
              <a:gd name="connsiteX83" fmla="*/ 1311814 w 2427462"/>
              <a:gd name="connsiteY83" fmla="*/ 1211089 h 2498232"/>
              <a:gd name="connsiteX84" fmla="*/ 1275912 w 2427462"/>
              <a:gd name="connsiteY84" fmla="*/ 1175187 h 2498232"/>
              <a:gd name="connsiteX85" fmla="*/ 1243084 w 2427462"/>
              <a:gd name="connsiteY85" fmla="*/ 1175187 h 2498232"/>
              <a:gd name="connsiteX86" fmla="*/ 1243084 w 2427462"/>
              <a:gd name="connsiteY86" fmla="*/ 1041576 h 2498232"/>
              <a:gd name="connsiteX87" fmla="*/ 1559449 w 2427462"/>
              <a:gd name="connsiteY87" fmla="*/ 1315404 h 2498232"/>
              <a:gd name="connsiteX88" fmla="*/ 1595149 w 2427462"/>
              <a:gd name="connsiteY88" fmla="*/ 1347457 h 2498232"/>
              <a:gd name="connsiteX89" fmla="*/ 1606207 w 2427462"/>
              <a:gd name="connsiteY89" fmla="*/ 1347457 h 2498232"/>
              <a:gd name="connsiteX90" fmla="*/ 1641907 w 2427462"/>
              <a:gd name="connsiteY90" fmla="*/ 1315404 h 2498232"/>
              <a:gd name="connsiteX91" fmla="*/ 1997706 w 2427462"/>
              <a:gd name="connsiteY91" fmla="*/ 1039594 h 2498232"/>
              <a:gd name="connsiteX92" fmla="*/ 2353447 w 2427462"/>
              <a:gd name="connsiteY92" fmla="*/ 1315404 h 2498232"/>
              <a:gd name="connsiteX93" fmla="*/ 2389148 w 2427462"/>
              <a:gd name="connsiteY93" fmla="*/ 1347457 h 2498232"/>
              <a:gd name="connsiteX94" fmla="*/ 2390986 w 2427462"/>
              <a:gd name="connsiteY94" fmla="*/ 1347457 h 2498232"/>
              <a:gd name="connsiteX95" fmla="*/ 2391560 w 2427462"/>
              <a:gd name="connsiteY95" fmla="*/ 1347457 h 2498232"/>
              <a:gd name="connsiteX96" fmla="*/ 2427462 w 2427462"/>
              <a:gd name="connsiteY96" fmla="*/ 1311556 h 2498232"/>
              <a:gd name="connsiteX97" fmla="*/ 2426859 w 2427462"/>
              <a:gd name="connsiteY97" fmla="*/ 1305036 h 2498232"/>
              <a:gd name="connsiteX98" fmla="*/ 88978 w 2427462"/>
              <a:gd name="connsiteY98" fmla="*/ 1113465 h 2498232"/>
              <a:gd name="connsiteX99" fmla="*/ 920889 w 2427462"/>
              <a:gd name="connsiteY99" fmla="*/ 208057 h 2498232"/>
              <a:gd name="connsiteX100" fmla="*/ 393050 w 2427462"/>
              <a:gd name="connsiteY100" fmla="*/ 969629 h 2498232"/>
              <a:gd name="connsiteX101" fmla="*/ 88978 w 2427462"/>
              <a:gd name="connsiteY101" fmla="*/ 1113465 h 2498232"/>
              <a:gd name="connsiteX102" fmla="*/ 467237 w 2427462"/>
              <a:gd name="connsiteY102" fmla="*/ 969399 h 2498232"/>
              <a:gd name="connsiteX103" fmla="*/ 1122800 w 2427462"/>
              <a:gd name="connsiteY103" fmla="*/ 201077 h 2498232"/>
              <a:gd name="connsiteX104" fmla="*/ 790409 w 2427462"/>
              <a:gd name="connsiteY104" fmla="*/ 1140635 h 2498232"/>
              <a:gd name="connsiteX105" fmla="*/ 467237 w 2427462"/>
              <a:gd name="connsiteY105" fmla="*/ 969399 h 2498232"/>
              <a:gd name="connsiteX106" fmla="*/ 863217 w 2427462"/>
              <a:gd name="connsiteY106" fmla="*/ 1114556 h 2498232"/>
              <a:gd name="connsiteX107" fmla="*/ 1171281 w 2427462"/>
              <a:gd name="connsiteY107" fmla="*/ 255418 h 2498232"/>
              <a:gd name="connsiteX108" fmla="*/ 1171281 w 2427462"/>
              <a:gd name="connsiteY108" fmla="*/ 968882 h 2498232"/>
              <a:gd name="connsiteX109" fmla="*/ 863217 w 2427462"/>
              <a:gd name="connsiteY109" fmla="*/ 1114556 h 2498232"/>
              <a:gd name="connsiteX110" fmla="*/ 1243084 w 2427462"/>
              <a:gd name="connsiteY110" fmla="*/ 969514 h 2498232"/>
              <a:gd name="connsiteX111" fmla="*/ 1243084 w 2427462"/>
              <a:gd name="connsiteY111" fmla="*/ 244849 h 2498232"/>
              <a:gd name="connsiteX112" fmla="*/ 1560368 w 2427462"/>
              <a:gd name="connsiteY112" fmla="*/ 1133886 h 2498232"/>
              <a:gd name="connsiteX113" fmla="*/ 1243084 w 2427462"/>
              <a:gd name="connsiteY113" fmla="*/ 969514 h 2498232"/>
              <a:gd name="connsiteX114" fmla="*/ 1632659 w 2427462"/>
              <a:gd name="connsiteY114" fmla="*/ 1145173 h 2498232"/>
              <a:gd name="connsiteX115" fmla="*/ 1300096 w 2427462"/>
              <a:gd name="connsiteY115" fmla="*/ 201077 h 2498232"/>
              <a:gd name="connsiteX116" fmla="*/ 1955744 w 2427462"/>
              <a:gd name="connsiteY116" fmla="*/ 969773 h 2498232"/>
              <a:gd name="connsiteX117" fmla="*/ 1632659 w 2427462"/>
              <a:gd name="connsiteY117" fmla="*/ 1145173 h 2498232"/>
              <a:gd name="connsiteX118" fmla="*/ 2029759 w 2427462"/>
              <a:gd name="connsiteY118" fmla="*/ 969428 h 2498232"/>
              <a:gd name="connsiteX119" fmla="*/ 1498789 w 2427462"/>
              <a:gd name="connsiteY119" fmla="*/ 206247 h 2498232"/>
              <a:gd name="connsiteX120" fmla="*/ 2337909 w 2427462"/>
              <a:gd name="connsiteY120" fmla="*/ 1113465 h 2498232"/>
              <a:gd name="connsiteX121" fmla="*/ 2029759 w 2427462"/>
              <a:gd name="connsiteY121" fmla="*/ 969428 h 2498232"/>
              <a:gd name="connsiteX0" fmla="*/ 2426859 w 2427462"/>
              <a:gd name="connsiteY0" fmla="*/ 1305036 h 2424561"/>
              <a:gd name="connsiteX1" fmla="*/ 2275440 w 2427462"/>
              <a:gd name="connsiteY1" fmla="*/ 725154 h 2424561"/>
              <a:gd name="connsiteX2" fmla="*/ 2275440 w 2427462"/>
              <a:gd name="connsiteY2" fmla="*/ 516753 h 2424561"/>
              <a:gd name="connsiteX3" fmla="*/ 2203637 w 2427462"/>
              <a:gd name="connsiteY3" fmla="*/ 516753 h 2424561"/>
              <a:gd name="connsiteX4" fmla="*/ 2203637 w 2427462"/>
              <a:gd name="connsiteY4" fmla="*/ 611418 h 2424561"/>
              <a:gd name="connsiteX5" fmla="*/ 2122988 w 2427462"/>
              <a:gd name="connsiteY5" fmla="*/ 509601 h 2424561"/>
              <a:gd name="connsiteX6" fmla="*/ 2122988 w 2427462"/>
              <a:gd name="connsiteY6" fmla="*/ 353444 h 2424561"/>
              <a:gd name="connsiteX7" fmla="*/ 2051185 w 2427462"/>
              <a:gd name="connsiteY7" fmla="*/ 353444 h 2424561"/>
              <a:gd name="connsiteX8" fmla="*/ 2051185 w 2427462"/>
              <a:gd name="connsiteY8" fmla="*/ 434897 h 2424561"/>
              <a:gd name="connsiteX9" fmla="*/ 1956204 w 2427462"/>
              <a:gd name="connsiteY9" fmla="*/ 352984 h 2424561"/>
              <a:gd name="connsiteX10" fmla="*/ 1956204 w 2427462"/>
              <a:gd name="connsiteY10" fmla="*/ 224715 h 2424561"/>
              <a:gd name="connsiteX11" fmla="*/ 1884401 w 2427462"/>
              <a:gd name="connsiteY11" fmla="*/ 224715 h 2424561"/>
              <a:gd name="connsiteX12" fmla="*/ 1884401 w 2427462"/>
              <a:gd name="connsiteY12" fmla="*/ 301027 h 2424561"/>
              <a:gd name="connsiteX13" fmla="*/ 1814350 w 2427462"/>
              <a:gd name="connsiteY13" fmla="*/ 257945 h 2424561"/>
              <a:gd name="connsiteX14" fmla="*/ 1814350 w 2427462"/>
              <a:gd name="connsiteY14" fmla="*/ 172040 h 2424561"/>
              <a:gd name="connsiteX15" fmla="*/ 1742546 w 2427462"/>
              <a:gd name="connsiteY15" fmla="*/ 172040 h 2424561"/>
              <a:gd name="connsiteX16" fmla="*/ 1742546 w 2427462"/>
              <a:gd name="connsiteY16" fmla="*/ 219717 h 2424561"/>
              <a:gd name="connsiteX17" fmla="*/ 1684616 w 2427462"/>
              <a:gd name="connsiteY17" fmla="*/ 193294 h 2424561"/>
              <a:gd name="connsiteX18" fmla="*/ 1684616 w 2427462"/>
              <a:gd name="connsiteY18" fmla="*/ 138465 h 2424561"/>
              <a:gd name="connsiteX19" fmla="*/ 1612813 w 2427462"/>
              <a:gd name="connsiteY19" fmla="*/ 138465 h 2424561"/>
              <a:gd name="connsiteX20" fmla="*/ 1612813 w 2427462"/>
              <a:gd name="connsiteY20" fmla="*/ 165894 h 2424561"/>
              <a:gd name="connsiteX21" fmla="*/ 1543795 w 2427462"/>
              <a:gd name="connsiteY21" fmla="*/ 144152 h 2424561"/>
              <a:gd name="connsiteX22" fmla="*/ 1543795 w 2427462"/>
              <a:gd name="connsiteY22" fmla="*/ 4509 h 2424561"/>
              <a:gd name="connsiteX23" fmla="*/ 1471992 w 2427462"/>
              <a:gd name="connsiteY23" fmla="*/ 4509 h 2424561"/>
              <a:gd name="connsiteX24" fmla="*/ 1471992 w 2427462"/>
              <a:gd name="connsiteY24" fmla="*/ 126058 h 2424561"/>
              <a:gd name="connsiteX25" fmla="*/ 1243084 w 2427462"/>
              <a:gd name="connsiteY25" fmla="*/ 98801 h 2424561"/>
              <a:gd name="connsiteX26" fmla="*/ 1243084 w 2427462"/>
              <a:gd name="connsiteY26" fmla="*/ 0 h 2424561"/>
              <a:gd name="connsiteX27" fmla="*/ 1171281 w 2427462"/>
              <a:gd name="connsiteY27" fmla="*/ 0 h 2424561"/>
              <a:gd name="connsiteX28" fmla="*/ 1171281 w 2427462"/>
              <a:gd name="connsiteY28" fmla="*/ 99117 h 2424561"/>
              <a:gd name="connsiteX29" fmla="*/ 958973 w 2427462"/>
              <a:gd name="connsiteY29" fmla="*/ 125110 h 2424561"/>
              <a:gd name="connsiteX30" fmla="*/ 958973 w 2427462"/>
              <a:gd name="connsiteY30" fmla="*/ 0 h 2424561"/>
              <a:gd name="connsiteX31" fmla="*/ 887170 w 2427462"/>
              <a:gd name="connsiteY31" fmla="*/ 0 h 2424561"/>
              <a:gd name="connsiteX32" fmla="*/ 887170 w 2427462"/>
              <a:gd name="connsiteY32" fmla="*/ 142974 h 2424561"/>
              <a:gd name="connsiteX33" fmla="*/ 817493 w 2427462"/>
              <a:gd name="connsiteY33" fmla="*/ 164745 h 2424561"/>
              <a:gd name="connsiteX34" fmla="*/ 817493 w 2427462"/>
              <a:gd name="connsiteY34" fmla="*/ 133956 h 2424561"/>
              <a:gd name="connsiteX35" fmla="*/ 745690 w 2427462"/>
              <a:gd name="connsiteY35" fmla="*/ 133956 h 2424561"/>
              <a:gd name="connsiteX36" fmla="*/ 745690 w 2427462"/>
              <a:gd name="connsiteY36" fmla="*/ 191944 h 2424561"/>
              <a:gd name="connsiteX37" fmla="*/ 687156 w 2427462"/>
              <a:gd name="connsiteY37" fmla="*/ 218253 h 2424561"/>
              <a:gd name="connsiteX38" fmla="*/ 687156 w 2427462"/>
              <a:gd name="connsiteY38" fmla="*/ 167560 h 2424561"/>
              <a:gd name="connsiteX39" fmla="*/ 615353 w 2427462"/>
              <a:gd name="connsiteY39" fmla="*/ 167560 h 2424561"/>
              <a:gd name="connsiteX40" fmla="*/ 615353 w 2427462"/>
              <a:gd name="connsiteY40" fmla="*/ 256337 h 2424561"/>
              <a:gd name="connsiteX41" fmla="*/ 544641 w 2427462"/>
              <a:gd name="connsiteY41" fmla="*/ 299706 h 2424561"/>
              <a:gd name="connsiteX42" fmla="*/ 544641 w 2427462"/>
              <a:gd name="connsiteY42" fmla="*/ 220206 h 2424561"/>
              <a:gd name="connsiteX43" fmla="*/ 472838 w 2427462"/>
              <a:gd name="connsiteY43" fmla="*/ 220206 h 2424561"/>
              <a:gd name="connsiteX44" fmla="*/ 472838 w 2427462"/>
              <a:gd name="connsiteY44" fmla="*/ 351261 h 2424561"/>
              <a:gd name="connsiteX45" fmla="*/ 377110 w 2427462"/>
              <a:gd name="connsiteY45" fmla="*/ 433547 h 2424561"/>
              <a:gd name="connsiteX46" fmla="*/ 377110 w 2427462"/>
              <a:gd name="connsiteY46" fmla="*/ 348906 h 2424561"/>
              <a:gd name="connsiteX47" fmla="*/ 305307 w 2427462"/>
              <a:gd name="connsiteY47" fmla="*/ 348906 h 2424561"/>
              <a:gd name="connsiteX48" fmla="*/ 305307 w 2427462"/>
              <a:gd name="connsiteY48" fmla="*/ 507906 h 2424561"/>
              <a:gd name="connsiteX49" fmla="*/ 223940 w 2427462"/>
              <a:gd name="connsiteY49" fmla="*/ 610441 h 2424561"/>
              <a:gd name="connsiteX50" fmla="*/ 223940 w 2427462"/>
              <a:gd name="connsiteY50" fmla="*/ 512186 h 2424561"/>
              <a:gd name="connsiteX51" fmla="*/ 152136 w 2427462"/>
              <a:gd name="connsiteY51" fmla="*/ 512186 h 2424561"/>
              <a:gd name="connsiteX52" fmla="*/ 152136 w 2427462"/>
              <a:gd name="connsiteY52" fmla="*/ 722741 h 2424561"/>
              <a:gd name="connsiteX53" fmla="*/ 152912 w 2427462"/>
              <a:gd name="connsiteY53" fmla="*/ 722741 h 2424561"/>
              <a:gd name="connsiteX54" fmla="*/ 0 w 2427462"/>
              <a:gd name="connsiteY54" fmla="*/ 1311527 h 2424561"/>
              <a:gd name="connsiteX55" fmla="*/ 37740 w 2427462"/>
              <a:gd name="connsiteY55" fmla="*/ 1347428 h 2424561"/>
              <a:gd name="connsiteX56" fmla="*/ 73440 w 2427462"/>
              <a:gd name="connsiteY56" fmla="*/ 1315375 h 2424561"/>
              <a:gd name="connsiteX57" fmla="*/ 429210 w 2427462"/>
              <a:gd name="connsiteY57" fmla="*/ 1039565 h 2424561"/>
              <a:gd name="connsiteX58" fmla="*/ 781246 w 2427462"/>
              <a:gd name="connsiteY58" fmla="*/ 1292657 h 2424561"/>
              <a:gd name="connsiteX59" fmla="*/ 816459 w 2427462"/>
              <a:gd name="connsiteY59" fmla="*/ 1321579 h 2424561"/>
              <a:gd name="connsiteX60" fmla="*/ 851671 w 2427462"/>
              <a:gd name="connsiteY60" fmla="*/ 1292657 h 2424561"/>
              <a:gd name="connsiteX61" fmla="*/ 1171281 w 2427462"/>
              <a:gd name="connsiteY61" fmla="*/ 1040800 h 2424561"/>
              <a:gd name="connsiteX62" fmla="*/ 1171281 w 2427462"/>
              <a:gd name="connsiteY62" fmla="*/ 1175158 h 2424561"/>
              <a:gd name="connsiteX63" fmla="*/ 1147414 w 2427462"/>
              <a:gd name="connsiteY63" fmla="*/ 1175158 h 2424561"/>
              <a:gd name="connsiteX64" fmla="*/ 1111512 w 2427462"/>
              <a:gd name="connsiteY64" fmla="*/ 1211060 h 2424561"/>
              <a:gd name="connsiteX65" fmla="*/ 1147414 w 2427462"/>
              <a:gd name="connsiteY65" fmla="*/ 1246961 h 2424561"/>
              <a:gd name="connsiteX66" fmla="*/ 1171281 w 2427462"/>
              <a:gd name="connsiteY66" fmla="*/ 1246961 h 2424561"/>
              <a:gd name="connsiteX67" fmla="*/ 1171281 w 2427462"/>
              <a:gd name="connsiteY67" fmla="*/ 2137320 h 2424561"/>
              <a:gd name="connsiteX68" fmla="*/ 1147414 w 2427462"/>
              <a:gd name="connsiteY68" fmla="*/ 2137320 h 2424561"/>
              <a:gd name="connsiteX69" fmla="*/ 1111512 w 2427462"/>
              <a:gd name="connsiteY69" fmla="*/ 2173221 h 2424561"/>
              <a:gd name="connsiteX70" fmla="*/ 1147414 w 2427462"/>
              <a:gd name="connsiteY70" fmla="*/ 2209123 h 2424561"/>
              <a:gd name="connsiteX71" fmla="*/ 1171281 w 2427462"/>
              <a:gd name="connsiteY71" fmla="*/ 2209123 h 2424561"/>
              <a:gd name="connsiteX72" fmla="*/ 1171281 w 2427462"/>
              <a:gd name="connsiteY72" fmla="*/ 2345578 h 2424561"/>
              <a:gd name="connsiteX73" fmla="*/ 1092298 w 2427462"/>
              <a:gd name="connsiteY73" fmla="*/ 2424561 h 2424561"/>
              <a:gd name="connsiteX74" fmla="*/ 1243084 w 2427462"/>
              <a:gd name="connsiteY74" fmla="*/ 2345578 h 2424561"/>
              <a:gd name="connsiteX75" fmla="*/ 1243084 w 2427462"/>
              <a:gd name="connsiteY75" fmla="*/ 2209152 h 2424561"/>
              <a:gd name="connsiteX76" fmla="*/ 1275912 w 2427462"/>
              <a:gd name="connsiteY76" fmla="*/ 2209152 h 2424561"/>
              <a:gd name="connsiteX77" fmla="*/ 1311814 w 2427462"/>
              <a:gd name="connsiteY77" fmla="*/ 2173250 h 2424561"/>
              <a:gd name="connsiteX78" fmla="*/ 1275912 w 2427462"/>
              <a:gd name="connsiteY78" fmla="*/ 2137349 h 2424561"/>
              <a:gd name="connsiteX79" fmla="*/ 1243084 w 2427462"/>
              <a:gd name="connsiteY79" fmla="*/ 2137349 h 2424561"/>
              <a:gd name="connsiteX80" fmla="*/ 1243084 w 2427462"/>
              <a:gd name="connsiteY80" fmla="*/ 1246990 h 2424561"/>
              <a:gd name="connsiteX81" fmla="*/ 1275912 w 2427462"/>
              <a:gd name="connsiteY81" fmla="*/ 1246990 h 2424561"/>
              <a:gd name="connsiteX82" fmla="*/ 1311814 w 2427462"/>
              <a:gd name="connsiteY82" fmla="*/ 1211089 h 2424561"/>
              <a:gd name="connsiteX83" fmla="*/ 1275912 w 2427462"/>
              <a:gd name="connsiteY83" fmla="*/ 1175187 h 2424561"/>
              <a:gd name="connsiteX84" fmla="*/ 1243084 w 2427462"/>
              <a:gd name="connsiteY84" fmla="*/ 1175187 h 2424561"/>
              <a:gd name="connsiteX85" fmla="*/ 1243084 w 2427462"/>
              <a:gd name="connsiteY85" fmla="*/ 1041576 h 2424561"/>
              <a:gd name="connsiteX86" fmla="*/ 1559449 w 2427462"/>
              <a:gd name="connsiteY86" fmla="*/ 1315404 h 2424561"/>
              <a:gd name="connsiteX87" fmla="*/ 1595149 w 2427462"/>
              <a:gd name="connsiteY87" fmla="*/ 1347457 h 2424561"/>
              <a:gd name="connsiteX88" fmla="*/ 1606207 w 2427462"/>
              <a:gd name="connsiteY88" fmla="*/ 1347457 h 2424561"/>
              <a:gd name="connsiteX89" fmla="*/ 1641907 w 2427462"/>
              <a:gd name="connsiteY89" fmla="*/ 1315404 h 2424561"/>
              <a:gd name="connsiteX90" fmla="*/ 1997706 w 2427462"/>
              <a:gd name="connsiteY90" fmla="*/ 1039594 h 2424561"/>
              <a:gd name="connsiteX91" fmla="*/ 2353447 w 2427462"/>
              <a:gd name="connsiteY91" fmla="*/ 1315404 h 2424561"/>
              <a:gd name="connsiteX92" fmla="*/ 2389148 w 2427462"/>
              <a:gd name="connsiteY92" fmla="*/ 1347457 h 2424561"/>
              <a:gd name="connsiteX93" fmla="*/ 2390986 w 2427462"/>
              <a:gd name="connsiteY93" fmla="*/ 1347457 h 2424561"/>
              <a:gd name="connsiteX94" fmla="*/ 2391560 w 2427462"/>
              <a:gd name="connsiteY94" fmla="*/ 1347457 h 2424561"/>
              <a:gd name="connsiteX95" fmla="*/ 2427462 w 2427462"/>
              <a:gd name="connsiteY95" fmla="*/ 1311556 h 2424561"/>
              <a:gd name="connsiteX96" fmla="*/ 2426859 w 2427462"/>
              <a:gd name="connsiteY96" fmla="*/ 1305036 h 2424561"/>
              <a:gd name="connsiteX97" fmla="*/ 88978 w 2427462"/>
              <a:gd name="connsiteY97" fmla="*/ 1113465 h 2424561"/>
              <a:gd name="connsiteX98" fmla="*/ 920889 w 2427462"/>
              <a:gd name="connsiteY98" fmla="*/ 208057 h 2424561"/>
              <a:gd name="connsiteX99" fmla="*/ 393050 w 2427462"/>
              <a:gd name="connsiteY99" fmla="*/ 969629 h 2424561"/>
              <a:gd name="connsiteX100" fmla="*/ 88978 w 2427462"/>
              <a:gd name="connsiteY100" fmla="*/ 1113465 h 2424561"/>
              <a:gd name="connsiteX101" fmla="*/ 467237 w 2427462"/>
              <a:gd name="connsiteY101" fmla="*/ 969399 h 2424561"/>
              <a:gd name="connsiteX102" fmla="*/ 1122800 w 2427462"/>
              <a:gd name="connsiteY102" fmla="*/ 201077 h 2424561"/>
              <a:gd name="connsiteX103" fmla="*/ 790409 w 2427462"/>
              <a:gd name="connsiteY103" fmla="*/ 1140635 h 2424561"/>
              <a:gd name="connsiteX104" fmla="*/ 467237 w 2427462"/>
              <a:gd name="connsiteY104" fmla="*/ 969399 h 2424561"/>
              <a:gd name="connsiteX105" fmla="*/ 863217 w 2427462"/>
              <a:gd name="connsiteY105" fmla="*/ 1114556 h 2424561"/>
              <a:gd name="connsiteX106" fmla="*/ 1171281 w 2427462"/>
              <a:gd name="connsiteY106" fmla="*/ 255418 h 2424561"/>
              <a:gd name="connsiteX107" fmla="*/ 1171281 w 2427462"/>
              <a:gd name="connsiteY107" fmla="*/ 968882 h 2424561"/>
              <a:gd name="connsiteX108" fmla="*/ 863217 w 2427462"/>
              <a:gd name="connsiteY108" fmla="*/ 1114556 h 2424561"/>
              <a:gd name="connsiteX109" fmla="*/ 1243084 w 2427462"/>
              <a:gd name="connsiteY109" fmla="*/ 969514 h 2424561"/>
              <a:gd name="connsiteX110" fmla="*/ 1243084 w 2427462"/>
              <a:gd name="connsiteY110" fmla="*/ 244849 h 2424561"/>
              <a:gd name="connsiteX111" fmla="*/ 1560368 w 2427462"/>
              <a:gd name="connsiteY111" fmla="*/ 1133886 h 2424561"/>
              <a:gd name="connsiteX112" fmla="*/ 1243084 w 2427462"/>
              <a:gd name="connsiteY112" fmla="*/ 969514 h 2424561"/>
              <a:gd name="connsiteX113" fmla="*/ 1632659 w 2427462"/>
              <a:gd name="connsiteY113" fmla="*/ 1145173 h 2424561"/>
              <a:gd name="connsiteX114" fmla="*/ 1300096 w 2427462"/>
              <a:gd name="connsiteY114" fmla="*/ 201077 h 2424561"/>
              <a:gd name="connsiteX115" fmla="*/ 1955744 w 2427462"/>
              <a:gd name="connsiteY115" fmla="*/ 969773 h 2424561"/>
              <a:gd name="connsiteX116" fmla="*/ 1632659 w 2427462"/>
              <a:gd name="connsiteY116" fmla="*/ 1145173 h 2424561"/>
              <a:gd name="connsiteX117" fmla="*/ 2029759 w 2427462"/>
              <a:gd name="connsiteY117" fmla="*/ 969428 h 2424561"/>
              <a:gd name="connsiteX118" fmla="*/ 1498789 w 2427462"/>
              <a:gd name="connsiteY118" fmla="*/ 206247 h 2424561"/>
              <a:gd name="connsiteX119" fmla="*/ 2337909 w 2427462"/>
              <a:gd name="connsiteY119" fmla="*/ 1113465 h 2424561"/>
              <a:gd name="connsiteX120" fmla="*/ 2029759 w 2427462"/>
              <a:gd name="connsiteY120" fmla="*/ 969428 h 2424561"/>
              <a:gd name="connsiteX0" fmla="*/ 2426859 w 2427462"/>
              <a:gd name="connsiteY0" fmla="*/ 1305036 h 2362633"/>
              <a:gd name="connsiteX1" fmla="*/ 2275440 w 2427462"/>
              <a:gd name="connsiteY1" fmla="*/ 725154 h 2362633"/>
              <a:gd name="connsiteX2" fmla="*/ 2275440 w 2427462"/>
              <a:gd name="connsiteY2" fmla="*/ 516753 h 2362633"/>
              <a:gd name="connsiteX3" fmla="*/ 2203637 w 2427462"/>
              <a:gd name="connsiteY3" fmla="*/ 516753 h 2362633"/>
              <a:gd name="connsiteX4" fmla="*/ 2203637 w 2427462"/>
              <a:gd name="connsiteY4" fmla="*/ 611418 h 2362633"/>
              <a:gd name="connsiteX5" fmla="*/ 2122988 w 2427462"/>
              <a:gd name="connsiteY5" fmla="*/ 509601 h 2362633"/>
              <a:gd name="connsiteX6" fmla="*/ 2122988 w 2427462"/>
              <a:gd name="connsiteY6" fmla="*/ 353444 h 2362633"/>
              <a:gd name="connsiteX7" fmla="*/ 2051185 w 2427462"/>
              <a:gd name="connsiteY7" fmla="*/ 353444 h 2362633"/>
              <a:gd name="connsiteX8" fmla="*/ 2051185 w 2427462"/>
              <a:gd name="connsiteY8" fmla="*/ 434897 h 2362633"/>
              <a:gd name="connsiteX9" fmla="*/ 1956204 w 2427462"/>
              <a:gd name="connsiteY9" fmla="*/ 352984 h 2362633"/>
              <a:gd name="connsiteX10" fmla="*/ 1956204 w 2427462"/>
              <a:gd name="connsiteY10" fmla="*/ 224715 h 2362633"/>
              <a:gd name="connsiteX11" fmla="*/ 1884401 w 2427462"/>
              <a:gd name="connsiteY11" fmla="*/ 224715 h 2362633"/>
              <a:gd name="connsiteX12" fmla="*/ 1884401 w 2427462"/>
              <a:gd name="connsiteY12" fmla="*/ 301027 h 2362633"/>
              <a:gd name="connsiteX13" fmla="*/ 1814350 w 2427462"/>
              <a:gd name="connsiteY13" fmla="*/ 257945 h 2362633"/>
              <a:gd name="connsiteX14" fmla="*/ 1814350 w 2427462"/>
              <a:gd name="connsiteY14" fmla="*/ 172040 h 2362633"/>
              <a:gd name="connsiteX15" fmla="*/ 1742546 w 2427462"/>
              <a:gd name="connsiteY15" fmla="*/ 172040 h 2362633"/>
              <a:gd name="connsiteX16" fmla="*/ 1742546 w 2427462"/>
              <a:gd name="connsiteY16" fmla="*/ 219717 h 2362633"/>
              <a:gd name="connsiteX17" fmla="*/ 1684616 w 2427462"/>
              <a:gd name="connsiteY17" fmla="*/ 193294 h 2362633"/>
              <a:gd name="connsiteX18" fmla="*/ 1684616 w 2427462"/>
              <a:gd name="connsiteY18" fmla="*/ 138465 h 2362633"/>
              <a:gd name="connsiteX19" fmla="*/ 1612813 w 2427462"/>
              <a:gd name="connsiteY19" fmla="*/ 138465 h 2362633"/>
              <a:gd name="connsiteX20" fmla="*/ 1612813 w 2427462"/>
              <a:gd name="connsiteY20" fmla="*/ 165894 h 2362633"/>
              <a:gd name="connsiteX21" fmla="*/ 1543795 w 2427462"/>
              <a:gd name="connsiteY21" fmla="*/ 144152 h 2362633"/>
              <a:gd name="connsiteX22" fmla="*/ 1543795 w 2427462"/>
              <a:gd name="connsiteY22" fmla="*/ 4509 h 2362633"/>
              <a:gd name="connsiteX23" fmla="*/ 1471992 w 2427462"/>
              <a:gd name="connsiteY23" fmla="*/ 4509 h 2362633"/>
              <a:gd name="connsiteX24" fmla="*/ 1471992 w 2427462"/>
              <a:gd name="connsiteY24" fmla="*/ 126058 h 2362633"/>
              <a:gd name="connsiteX25" fmla="*/ 1243084 w 2427462"/>
              <a:gd name="connsiteY25" fmla="*/ 98801 h 2362633"/>
              <a:gd name="connsiteX26" fmla="*/ 1243084 w 2427462"/>
              <a:gd name="connsiteY26" fmla="*/ 0 h 2362633"/>
              <a:gd name="connsiteX27" fmla="*/ 1171281 w 2427462"/>
              <a:gd name="connsiteY27" fmla="*/ 0 h 2362633"/>
              <a:gd name="connsiteX28" fmla="*/ 1171281 w 2427462"/>
              <a:gd name="connsiteY28" fmla="*/ 99117 h 2362633"/>
              <a:gd name="connsiteX29" fmla="*/ 958973 w 2427462"/>
              <a:gd name="connsiteY29" fmla="*/ 125110 h 2362633"/>
              <a:gd name="connsiteX30" fmla="*/ 958973 w 2427462"/>
              <a:gd name="connsiteY30" fmla="*/ 0 h 2362633"/>
              <a:gd name="connsiteX31" fmla="*/ 887170 w 2427462"/>
              <a:gd name="connsiteY31" fmla="*/ 0 h 2362633"/>
              <a:gd name="connsiteX32" fmla="*/ 887170 w 2427462"/>
              <a:gd name="connsiteY32" fmla="*/ 142974 h 2362633"/>
              <a:gd name="connsiteX33" fmla="*/ 817493 w 2427462"/>
              <a:gd name="connsiteY33" fmla="*/ 164745 h 2362633"/>
              <a:gd name="connsiteX34" fmla="*/ 817493 w 2427462"/>
              <a:gd name="connsiteY34" fmla="*/ 133956 h 2362633"/>
              <a:gd name="connsiteX35" fmla="*/ 745690 w 2427462"/>
              <a:gd name="connsiteY35" fmla="*/ 133956 h 2362633"/>
              <a:gd name="connsiteX36" fmla="*/ 745690 w 2427462"/>
              <a:gd name="connsiteY36" fmla="*/ 191944 h 2362633"/>
              <a:gd name="connsiteX37" fmla="*/ 687156 w 2427462"/>
              <a:gd name="connsiteY37" fmla="*/ 218253 h 2362633"/>
              <a:gd name="connsiteX38" fmla="*/ 687156 w 2427462"/>
              <a:gd name="connsiteY38" fmla="*/ 167560 h 2362633"/>
              <a:gd name="connsiteX39" fmla="*/ 615353 w 2427462"/>
              <a:gd name="connsiteY39" fmla="*/ 167560 h 2362633"/>
              <a:gd name="connsiteX40" fmla="*/ 615353 w 2427462"/>
              <a:gd name="connsiteY40" fmla="*/ 256337 h 2362633"/>
              <a:gd name="connsiteX41" fmla="*/ 544641 w 2427462"/>
              <a:gd name="connsiteY41" fmla="*/ 299706 h 2362633"/>
              <a:gd name="connsiteX42" fmla="*/ 544641 w 2427462"/>
              <a:gd name="connsiteY42" fmla="*/ 220206 h 2362633"/>
              <a:gd name="connsiteX43" fmla="*/ 472838 w 2427462"/>
              <a:gd name="connsiteY43" fmla="*/ 220206 h 2362633"/>
              <a:gd name="connsiteX44" fmla="*/ 472838 w 2427462"/>
              <a:gd name="connsiteY44" fmla="*/ 351261 h 2362633"/>
              <a:gd name="connsiteX45" fmla="*/ 377110 w 2427462"/>
              <a:gd name="connsiteY45" fmla="*/ 433547 h 2362633"/>
              <a:gd name="connsiteX46" fmla="*/ 377110 w 2427462"/>
              <a:gd name="connsiteY46" fmla="*/ 348906 h 2362633"/>
              <a:gd name="connsiteX47" fmla="*/ 305307 w 2427462"/>
              <a:gd name="connsiteY47" fmla="*/ 348906 h 2362633"/>
              <a:gd name="connsiteX48" fmla="*/ 305307 w 2427462"/>
              <a:gd name="connsiteY48" fmla="*/ 507906 h 2362633"/>
              <a:gd name="connsiteX49" fmla="*/ 223940 w 2427462"/>
              <a:gd name="connsiteY49" fmla="*/ 610441 h 2362633"/>
              <a:gd name="connsiteX50" fmla="*/ 223940 w 2427462"/>
              <a:gd name="connsiteY50" fmla="*/ 512186 h 2362633"/>
              <a:gd name="connsiteX51" fmla="*/ 152136 w 2427462"/>
              <a:gd name="connsiteY51" fmla="*/ 512186 h 2362633"/>
              <a:gd name="connsiteX52" fmla="*/ 152136 w 2427462"/>
              <a:gd name="connsiteY52" fmla="*/ 722741 h 2362633"/>
              <a:gd name="connsiteX53" fmla="*/ 152912 w 2427462"/>
              <a:gd name="connsiteY53" fmla="*/ 722741 h 2362633"/>
              <a:gd name="connsiteX54" fmla="*/ 0 w 2427462"/>
              <a:gd name="connsiteY54" fmla="*/ 1311527 h 2362633"/>
              <a:gd name="connsiteX55" fmla="*/ 37740 w 2427462"/>
              <a:gd name="connsiteY55" fmla="*/ 1347428 h 2362633"/>
              <a:gd name="connsiteX56" fmla="*/ 73440 w 2427462"/>
              <a:gd name="connsiteY56" fmla="*/ 1315375 h 2362633"/>
              <a:gd name="connsiteX57" fmla="*/ 429210 w 2427462"/>
              <a:gd name="connsiteY57" fmla="*/ 1039565 h 2362633"/>
              <a:gd name="connsiteX58" fmla="*/ 781246 w 2427462"/>
              <a:gd name="connsiteY58" fmla="*/ 1292657 h 2362633"/>
              <a:gd name="connsiteX59" fmla="*/ 816459 w 2427462"/>
              <a:gd name="connsiteY59" fmla="*/ 1321579 h 2362633"/>
              <a:gd name="connsiteX60" fmla="*/ 851671 w 2427462"/>
              <a:gd name="connsiteY60" fmla="*/ 1292657 h 2362633"/>
              <a:gd name="connsiteX61" fmla="*/ 1171281 w 2427462"/>
              <a:gd name="connsiteY61" fmla="*/ 1040800 h 2362633"/>
              <a:gd name="connsiteX62" fmla="*/ 1171281 w 2427462"/>
              <a:gd name="connsiteY62" fmla="*/ 1175158 h 2362633"/>
              <a:gd name="connsiteX63" fmla="*/ 1147414 w 2427462"/>
              <a:gd name="connsiteY63" fmla="*/ 1175158 h 2362633"/>
              <a:gd name="connsiteX64" fmla="*/ 1111512 w 2427462"/>
              <a:gd name="connsiteY64" fmla="*/ 1211060 h 2362633"/>
              <a:gd name="connsiteX65" fmla="*/ 1147414 w 2427462"/>
              <a:gd name="connsiteY65" fmla="*/ 1246961 h 2362633"/>
              <a:gd name="connsiteX66" fmla="*/ 1171281 w 2427462"/>
              <a:gd name="connsiteY66" fmla="*/ 1246961 h 2362633"/>
              <a:gd name="connsiteX67" fmla="*/ 1171281 w 2427462"/>
              <a:gd name="connsiteY67" fmla="*/ 2137320 h 2362633"/>
              <a:gd name="connsiteX68" fmla="*/ 1147414 w 2427462"/>
              <a:gd name="connsiteY68" fmla="*/ 2137320 h 2362633"/>
              <a:gd name="connsiteX69" fmla="*/ 1111512 w 2427462"/>
              <a:gd name="connsiteY69" fmla="*/ 2173221 h 2362633"/>
              <a:gd name="connsiteX70" fmla="*/ 1147414 w 2427462"/>
              <a:gd name="connsiteY70" fmla="*/ 2209123 h 2362633"/>
              <a:gd name="connsiteX71" fmla="*/ 1171281 w 2427462"/>
              <a:gd name="connsiteY71" fmla="*/ 2209123 h 2362633"/>
              <a:gd name="connsiteX72" fmla="*/ 1171281 w 2427462"/>
              <a:gd name="connsiteY72" fmla="*/ 2345578 h 2362633"/>
              <a:gd name="connsiteX73" fmla="*/ 1243084 w 2427462"/>
              <a:gd name="connsiteY73" fmla="*/ 2345578 h 2362633"/>
              <a:gd name="connsiteX74" fmla="*/ 1243084 w 2427462"/>
              <a:gd name="connsiteY74" fmla="*/ 2209152 h 2362633"/>
              <a:gd name="connsiteX75" fmla="*/ 1275912 w 2427462"/>
              <a:gd name="connsiteY75" fmla="*/ 2209152 h 2362633"/>
              <a:gd name="connsiteX76" fmla="*/ 1311814 w 2427462"/>
              <a:gd name="connsiteY76" fmla="*/ 2173250 h 2362633"/>
              <a:gd name="connsiteX77" fmla="*/ 1275912 w 2427462"/>
              <a:gd name="connsiteY77" fmla="*/ 2137349 h 2362633"/>
              <a:gd name="connsiteX78" fmla="*/ 1243084 w 2427462"/>
              <a:gd name="connsiteY78" fmla="*/ 2137349 h 2362633"/>
              <a:gd name="connsiteX79" fmla="*/ 1243084 w 2427462"/>
              <a:gd name="connsiteY79" fmla="*/ 1246990 h 2362633"/>
              <a:gd name="connsiteX80" fmla="*/ 1275912 w 2427462"/>
              <a:gd name="connsiteY80" fmla="*/ 1246990 h 2362633"/>
              <a:gd name="connsiteX81" fmla="*/ 1311814 w 2427462"/>
              <a:gd name="connsiteY81" fmla="*/ 1211089 h 2362633"/>
              <a:gd name="connsiteX82" fmla="*/ 1275912 w 2427462"/>
              <a:gd name="connsiteY82" fmla="*/ 1175187 h 2362633"/>
              <a:gd name="connsiteX83" fmla="*/ 1243084 w 2427462"/>
              <a:gd name="connsiteY83" fmla="*/ 1175187 h 2362633"/>
              <a:gd name="connsiteX84" fmla="*/ 1243084 w 2427462"/>
              <a:gd name="connsiteY84" fmla="*/ 1041576 h 2362633"/>
              <a:gd name="connsiteX85" fmla="*/ 1559449 w 2427462"/>
              <a:gd name="connsiteY85" fmla="*/ 1315404 h 2362633"/>
              <a:gd name="connsiteX86" fmla="*/ 1595149 w 2427462"/>
              <a:gd name="connsiteY86" fmla="*/ 1347457 h 2362633"/>
              <a:gd name="connsiteX87" fmla="*/ 1606207 w 2427462"/>
              <a:gd name="connsiteY87" fmla="*/ 1347457 h 2362633"/>
              <a:gd name="connsiteX88" fmla="*/ 1641907 w 2427462"/>
              <a:gd name="connsiteY88" fmla="*/ 1315404 h 2362633"/>
              <a:gd name="connsiteX89" fmla="*/ 1997706 w 2427462"/>
              <a:gd name="connsiteY89" fmla="*/ 1039594 h 2362633"/>
              <a:gd name="connsiteX90" fmla="*/ 2353447 w 2427462"/>
              <a:gd name="connsiteY90" fmla="*/ 1315404 h 2362633"/>
              <a:gd name="connsiteX91" fmla="*/ 2389148 w 2427462"/>
              <a:gd name="connsiteY91" fmla="*/ 1347457 h 2362633"/>
              <a:gd name="connsiteX92" fmla="*/ 2390986 w 2427462"/>
              <a:gd name="connsiteY92" fmla="*/ 1347457 h 2362633"/>
              <a:gd name="connsiteX93" fmla="*/ 2391560 w 2427462"/>
              <a:gd name="connsiteY93" fmla="*/ 1347457 h 2362633"/>
              <a:gd name="connsiteX94" fmla="*/ 2427462 w 2427462"/>
              <a:gd name="connsiteY94" fmla="*/ 1311556 h 2362633"/>
              <a:gd name="connsiteX95" fmla="*/ 2426859 w 2427462"/>
              <a:gd name="connsiteY95" fmla="*/ 1305036 h 2362633"/>
              <a:gd name="connsiteX96" fmla="*/ 88978 w 2427462"/>
              <a:gd name="connsiteY96" fmla="*/ 1113465 h 2362633"/>
              <a:gd name="connsiteX97" fmla="*/ 920889 w 2427462"/>
              <a:gd name="connsiteY97" fmla="*/ 208057 h 2362633"/>
              <a:gd name="connsiteX98" fmla="*/ 393050 w 2427462"/>
              <a:gd name="connsiteY98" fmla="*/ 969629 h 2362633"/>
              <a:gd name="connsiteX99" fmla="*/ 88978 w 2427462"/>
              <a:gd name="connsiteY99" fmla="*/ 1113465 h 2362633"/>
              <a:gd name="connsiteX100" fmla="*/ 467237 w 2427462"/>
              <a:gd name="connsiteY100" fmla="*/ 969399 h 2362633"/>
              <a:gd name="connsiteX101" fmla="*/ 1122800 w 2427462"/>
              <a:gd name="connsiteY101" fmla="*/ 201077 h 2362633"/>
              <a:gd name="connsiteX102" fmla="*/ 790409 w 2427462"/>
              <a:gd name="connsiteY102" fmla="*/ 1140635 h 2362633"/>
              <a:gd name="connsiteX103" fmla="*/ 467237 w 2427462"/>
              <a:gd name="connsiteY103" fmla="*/ 969399 h 2362633"/>
              <a:gd name="connsiteX104" fmla="*/ 863217 w 2427462"/>
              <a:gd name="connsiteY104" fmla="*/ 1114556 h 2362633"/>
              <a:gd name="connsiteX105" fmla="*/ 1171281 w 2427462"/>
              <a:gd name="connsiteY105" fmla="*/ 255418 h 2362633"/>
              <a:gd name="connsiteX106" fmla="*/ 1171281 w 2427462"/>
              <a:gd name="connsiteY106" fmla="*/ 968882 h 2362633"/>
              <a:gd name="connsiteX107" fmla="*/ 863217 w 2427462"/>
              <a:gd name="connsiteY107" fmla="*/ 1114556 h 2362633"/>
              <a:gd name="connsiteX108" fmla="*/ 1243084 w 2427462"/>
              <a:gd name="connsiteY108" fmla="*/ 969514 h 2362633"/>
              <a:gd name="connsiteX109" fmla="*/ 1243084 w 2427462"/>
              <a:gd name="connsiteY109" fmla="*/ 244849 h 2362633"/>
              <a:gd name="connsiteX110" fmla="*/ 1560368 w 2427462"/>
              <a:gd name="connsiteY110" fmla="*/ 1133886 h 2362633"/>
              <a:gd name="connsiteX111" fmla="*/ 1243084 w 2427462"/>
              <a:gd name="connsiteY111" fmla="*/ 969514 h 2362633"/>
              <a:gd name="connsiteX112" fmla="*/ 1632659 w 2427462"/>
              <a:gd name="connsiteY112" fmla="*/ 1145173 h 2362633"/>
              <a:gd name="connsiteX113" fmla="*/ 1300096 w 2427462"/>
              <a:gd name="connsiteY113" fmla="*/ 201077 h 2362633"/>
              <a:gd name="connsiteX114" fmla="*/ 1955744 w 2427462"/>
              <a:gd name="connsiteY114" fmla="*/ 969773 h 2362633"/>
              <a:gd name="connsiteX115" fmla="*/ 1632659 w 2427462"/>
              <a:gd name="connsiteY115" fmla="*/ 1145173 h 2362633"/>
              <a:gd name="connsiteX116" fmla="*/ 2029759 w 2427462"/>
              <a:gd name="connsiteY116" fmla="*/ 969428 h 2362633"/>
              <a:gd name="connsiteX117" fmla="*/ 1498789 w 2427462"/>
              <a:gd name="connsiteY117" fmla="*/ 206247 h 2362633"/>
              <a:gd name="connsiteX118" fmla="*/ 2337909 w 2427462"/>
              <a:gd name="connsiteY118" fmla="*/ 1113465 h 2362633"/>
              <a:gd name="connsiteX119" fmla="*/ 2029759 w 2427462"/>
              <a:gd name="connsiteY119" fmla="*/ 969428 h 2362633"/>
              <a:gd name="connsiteX0" fmla="*/ 2426859 w 2427462"/>
              <a:gd name="connsiteY0" fmla="*/ 1305036 h 2345578"/>
              <a:gd name="connsiteX1" fmla="*/ 2275440 w 2427462"/>
              <a:gd name="connsiteY1" fmla="*/ 725154 h 2345578"/>
              <a:gd name="connsiteX2" fmla="*/ 2275440 w 2427462"/>
              <a:gd name="connsiteY2" fmla="*/ 516753 h 2345578"/>
              <a:gd name="connsiteX3" fmla="*/ 2203637 w 2427462"/>
              <a:gd name="connsiteY3" fmla="*/ 516753 h 2345578"/>
              <a:gd name="connsiteX4" fmla="*/ 2203637 w 2427462"/>
              <a:gd name="connsiteY4" fmla="*/ 611418 h 2345578"/>
              <a:gd name="connsiteX5" fmla="*/ 2122988 w 2427462"/>
              <a:gd name="connsiteY5" fmla="*/ 509601 h 2345578"/>
              <a:gd name="connsiteX6" fmla="*/ 2122988 w 2427462"/>
              <a:gd name="connsiteY6" fmla="*/ 353444 h 2345578"/>
              <a:gd name="connsiteX7" fmla="*/ 2051185 w 2427462"/>
              <a:gd name="connsiteY7" fmla="*/ 353444 h 2345578"/>
              <a:gd name="connsiteX8" fmla="*/ 2051185 w 2427462"/>
              <a:gd name="connsiteY8" fmla="*/ 434897 h 2345578"/>
              <a:gd name="connsiteX9" fmla="*/ 1956204 w 2427462"/>
              <a:gd name="connsiteY9" fmla="*/ 352984 h 2345578"/>
              <a:gd name="connsiteX10" fmla="*/ 1956204 w 2427462"/>
              <a:gd name="connsiteY10" fmla="*/ 224715 h 2345578"/>
              <a:gd name="connsiteX11" fmla="*/ 1884401 w 2427462"/>
              <a:gd name="connsiteY11" fmla="*/ 224715 h 2345578"/>
              <a:gd name="connsiteX12" fmla="*/ 1884401 w 2427462"/>
              <a:gd name="connsiteY12" fmla="*/ 301027 h 2345578"/>
              <a:gd name="connsiteX13" fmla="*/ 1814350 w 2427462"/>
              <a:gd name="connsiteY13" fmla="*/ 257945 h 2345578"/>
              <a:gd name="connsiteX14" fmla="*/ 1814350 w 2427462"/>
              <a:gd name="connsiteY14" fmla="*/ 172040 h 2345578"/>
              <a:gd name="connsiteX15" fmla="*/ 1742546 w 2427462"/>
              <a:gd name="connsiteY15" fmla="*/ 172040 h 2345578"/>
              <a:gd name="connsiteX16" fmla="*/ 1742546 w 2427462"/>
              <a:gd name="connsiteY16" fmla="*/ 219717 h 2345578"/>
              <a:gd name="connsiteX17" fmla="*/ 1684616 w 2427462"/>
              <a:gd name="connsiteY17" fmla="*/ 193294 h 2345578"/>
              <a:gd name="connsiteX18" fmla="*/ 1684616 w 2427462"/>
              <a:gd name="connsiteY18" fmla="*/ 138465 h 2345578"/>
              <a:gd name="connsiteX19" fmla="*/ 1612813 w 2427462"/>
              <a:gd name="connsiteY19" fmla="*/ 138465 h 2345578"/>
              <a:gd name="connsiteX20" fmla="*/ 1612813 w 2427462"/>
              <a:gd name="connsiteY20" fmla="*/ 165894 h 2345578"/>
              <a:gd name="connsiteX21" fmla="*/ 1543795 w 2427462"/>
              <a:gd name="connsiteY21" fmla="*/ 144152 h 2345578"/>
              <a:gd name="connsiteX22" fmla="*/ 1543795 w 2427462"/>
              <a:gd name="connsiteY22" fmla="*/ 4509 h 2345578"/>
              <a:gd name="connsiteX23" fmla="*/ 1471992 w 2427462"/>
              <a:gd name="connsiteY23" fmla="*/ 4509 h 2345578"/>
              <a:gd name="connsiteX24" fmla="*/ 1471992 w 2427462"/>
              <a:gd name="connsiteY24" fmla="*/ 126058 h 2345578"/>
              <a:gd name="connsiteX25" fmla="*/ 1243084 w 2427462"/>
              <a:gd name="connsiteY25" fmla="*/ 98801 h 2345578"/>
              <a:gd name="connsiteX26" fmla="*/ 1243084 w 2427462"/>
              <a:gd name="connsiteY26" fmla="*/ 0 h 2345578"/>
              <a:gd name="connsiteX27" fmla="*/ 1171281 w 2427462"/>
              <a:gd name="connsiteY27" fmla="*/ 0 h 2345578"/>
              <a:gd name="connsiteX28" fmla="*/ 1171281 w 2427462"/>
              <a:gd name="connsiteY28" fmla="*/ 99117 h 2345578"/>
              <a:gd name="connsiteX29" fmla="*/ 958973 w 2427462"/>
              <a:gd name="connsiteY29" fmla="*/ 125110 h 2345578"/>
              <a:gd name="connsiteX30" fmla="*/ 958973 w 2427462"/>
              <a:gd name="connsiteY30" fmla="*/ 0 h 2345578"/>
              <a:gd name="connsiteX31" fmla="*/ 887170 w 2427462"/>
              <a:gd name="connsiteY31" fmla="*/ 0 h 2345578"/>
              <a:gd name="connsiteX32" fmla="*/ 887170 w 2427462"/>
              <a:gd name="connsiteY32" fmla="*/ 142974 h 2345578"/>
              <a:gd name="connsiteX33" fmla="*/ 817493 w 2427462"/>
              <a:gd name="connsiteY33" fmla="*/ 164745 h 2345578"/>
              <a:gd name="connsiteX34" fmla="*/ 817493 w 2427462"/>
              <a:gd name="connsiteY34" fmla="*/ 133956 h 2345578"/>
              <a:gd name="connsiteX35" fmla="*/ 745690 w 2427462"/>
              <a:gd name="connsiteY35" fmla="*/ 133956 h 2345578"/>
              <a:gd name="connsiteX36" fmla="*/ 745690 w 2427462"/>
              <a:gd name="connsiteY36" fmla="*/ 191944 h 2345578"/>
              <a:gd name="connsiteX37" fmla="*/ 687156 w 2427462"/>
              <a:gd name="connsiteY37" fmla="*/ 218253 h 2345578"/>
              <a:gd name="connsiteX38" fmla="*/ 687156 w 2427462"/>
              <a:gd name="connsiteY38" fmla="*/ 167560 h 2345578"/>
              <a:gd name="connsiteX39" fmla="*/ 615353 w 2427462"/>
              <a:gd name="connsiteY39" fmla="*/ 167560 h 2345578"/>
              <a:gd name="connsiteX40" fmla="*/ 615353 w 2427462"/>
              <a:gd name="connsiteY40" fmla="*/ 256337 h 2345578"/>
              <a:gd name="connsiteX41" fmla="*/ 544641 w 2427462"/>
              <a:gd name="connsiteY41" fmla="*/ 299706 h 2345578"/>
              <a:gd name="connsiteX42" fmla="*/ 544641 w 2427462"/>
              <a:gd name="connsiteY42" fmla="*/ 220206 h 2345578"/>
              <a:gd name="connsiteX43" fmla="*/ 472838 w 2427462"/>
              <a:gd name="connsiteY43" fmla="*/ 220206 h 2345578"/>
              <a:gd name="connsiteX44" fmla="*/ 472838 w 2427462"/>
              <a:gd name="connsiteY44" fmla="*/ 351261 h 2345578"/>
              <a:gd name="connsiteX45" fmla="*/ 377110 w 2427462"/>
              <a:gd name="connsiteY45" fmla="*/ 433547 h 2345578"/>
              <a:gd name="connsiteX46" fmla="*/ 377110 w 2427462"/>
              <a:gd name="connsiteY46" fmla="*/ 348906 h 2345578"/>
              <a:gd name="connsiteX47" fmla="*/ 305307 w 2427462"/>
              <a:gd name="connsiteY47" fmla="*/ 348906 h 2345578"/>
              <a:gd name="connsiteX48" fmla="*/ 305307 w 2427462"/>
              <a:gd name="connsiteY48" fmla="*/ 507906 h 2345578"/>
              <a:gd name="connsiteX49" fmla="*/ 223940 w 2427462"/>
              <a:gd name="connsiteY49" fmla="*/ 610441 h 2345578"/>
              <a:gd name="connsiteX50" fmla="*/ 223940 w 2427462"/>
              <a:gd name="connsiteY50" fmla="*/ 512186 h 2345578"/>
              <a:gd name="connsiteX51" fmla="*/ 152136 w 2427462"/>
              <a:gd name="connsiteY51" fmla="*/ 512186 h 2345578"/>
              <a:gd name="connsiteX52" fmla="*/ 152136 w 2427462"/>
              <a:gd name="connsiteY52" fmla="*/ 722741 h 2345578"/>
              <a:gd name="connsiteX53" fmla="*/ 152912 w 2427462"/>
              <a:gd name="connsiteY53" fmla="*/ 722741 h 2345578"/>
              <a:gd name="connsiteX54" fmla="*/ 0 w 2427462"/>
              <a:gd name="connsiteY54" fmla="*/ 1311527 h 2345578"/>
              <a:gd name="connsiteX55" fmla="*/ 37740 w 2427462"/>
              <a:gd name="connsiteY55" fmla="*/ 1347428 h 2345578"/>
              <a:gd name="connsiteX56" fmla="*/ 73440 w 2427462"/>
              <a:gd name="connsiteY56" fmla="*/ 1315375 h 2345578"/>
              <a:gd name="connsiteX57" fmla="*/ 429210 w 2427462"/>
              <a:gd name="connsiteY57" fmla="*/ 1039565 h 2345578"/>
              <a:gd name="connsiteX58" fmla="*/ 781246 w 2427462"/>
              <a:gd name="connsiteY58" fmla="*/ 1292657 h 2345578"/>
              <a:gd name="connsiteX59" fmla="*/ 816459 w 2427462"/>
              <a:gd name="connsiteY59" fmla="*/ 1321579 h 2345578"/>
              <a:gd name="connsiteX60" fmla="*/ 851671 w 2427462"/>
              <a:gd name="connsiteY60" fmla="*/ 1292657 h 2345578"/>
              <a:gd name="connsiteX61" fmla="*/ 1171281 w 2427462"/>
              <a:gd name="connsiteY61" fmla="*/ 1040800 h 2345578"/>
              <a:gd name="connsiteX62" fmla="*/ 1171281 w 2427462"/>
              <a:gd name="connsiteY62" fmla="*/ 1175158 h 2345578"/>
              <a:gd name="connsiteX63" fmla="*/ 1147414 w 2427462"/>
              <a:gd name="connsiteY63" fmla="*/ 1175158 h 2345578"/>
              <a:gd name="connsiteX64" fmla="*/ 1111512 w 2427462"/>
              <a:gd name="connsiteY64" fmla="*/ 1211060 h 2345578"/>
              <a:gd name="connsiteX65" fmla="*/ 1147414 w 2427462"/>
              <a:gd name="connsiteY65" fmla="*/ 1246961 h 2345578"/>
              <a:gd name="connsiteX66" fmla="*/ 1171281 w 2427462"/>
              <a:gd name="connsiteY66" fmla="*/ 1246961 h 2345578"/>
              <a:gd name="connsiteX67" fmla="*/ 1171281 w 2427462"/>
              <a:gd name="connsiteY67" fmla="*/ 2137320 h 2345578"/>
              <a:gd name="connsiteX68" fmla="*/ 1147414 w 2427462"/>
              <a:gd name="connsiteY68" fmla="*/ 2137320 h 2345578"/>
              <a:gd name="connsiteX69" fmla="*/ 1111512 w 2427462"/>
              <a:gd name="connsiteY69" fmla="*/ 2173221 h 2345578"/>
              <a:gd name="connsiteX70" fmla="*/ 1147414 w 2427462"/>
              <a:gd name="connsiteY70" fmla="*/ 2209123 h 2345578"/>
              <a:gd name="connsiteX71" fmla="*/ 1171281 w 2427462"/>
              <a:gd name="connsiteY71" fmla="*/ 2209123 h 2345578"/>
              <a:gd name="connsiteX72" fmla="*/ 1171281 w 2427462"/>
              <a:gd name="connsiteY72" fmla="*/ 2345578 h 2345578"/>
              <a:gd name="connsiteX73" fmla="*/ 1243084 w 2427462"/>
              <a:gd name="connsiteY73" fmla="*/ 2209152 h 2345578"/>
              <a:gd name="connsiteX74" fmla="*/ 1275912 w 2427462"/>
              <a:gd name="connsiteY74" fmla="*/ 2209152 h 2345578"/>
              <a:gd name="connsiteX75" fmla="*/ 1311814 w 2427462"/>
              <a:gd name="connsiteY75" fmla="*/ 2173250 h 2345578"/>
              <a:gd name="connsiteX76" fmla="*/ 1275912 w 2427462"/>
              <a:gd name="connsiteY76" fmla="*/ 2137349 h 2345578"/>
              <a:gd name="connsiteX77" fmla="*/ 1243084 w 2427462"/>
              <a:gd name="connsiteY77" fmla="*/ 2137349 h 2345578"/>
              <a:gd name="connsiteX78" fmla="*/ 1243084 w 2427462"/>
              <a:gd name="connsiteY78" fmla="*/ 1246990 h 2345578"/>
              <a:gd name="connsiteX79" fmla="*/ 1275912 w 2427462"/>
              <a:gd name="connsiteY79" fmla="*/ 1246990 h 2345578"/>
              <a:gd name="connsiteX80" fmla="*/ 1311814 w 2427462"/>
              <a:gd name="connsiteY80" fmla="*/ 1211089 h 2345578"/>
              <a:gd name="connsiteX81" fmla="*/ 1275912 w 2427462"/>
              <a:gd name="connsiteY81" fmla="*/ 1175187 h 2345578"/>
              <a:gd name="connsiteX82" fmla="*/ 1243084 w 2427462"/>
              <a:gd name="connsiteY82" fmla="*/ 1175187 h 2345578"/>
              <a:gd name="connsiteX83" fmla="*/ 1243084 w 2427462"/>
              <a:gd name="connsiteY83" fmla="*/ 1041576 h 2345578"/>
              <a:gd name="connsiteX84" fmla="*/ 1559449 w 2427462"/>
              <a:gd name="connsiteY84" fmla="*/ 1315404 h 2345578"/>
              <a:gd name="connsiteX85" fmla="*/ 1595149 w 2427462"/>
              <a:gd name="connsiteY85" fmla="*/ 1347457 h 2345578"/>
              <a:gd name="connsiteX86" fmla="*/ 1606207 w 2427462"/>
              <a:gd name="connsiteY86" fmla="*/ 1347457 h 2345578"/>
              <a:gd name="connsiteX87" fmla="*/ 1641907 w 2427462"/>
              <a:gd name="connsiteY87" fmla="*/ 1315404 h 2345578"/>
              <a:gd name="connsiteX88" fmla="*/ 1997706 w 2427462"/>
              <a:gd name="connsiteY88" fmla="*/ 1039594 h 2345578"/>
              <a:gd name="connsiteX89" fmla="*/ 2353447 w 2427462"/>
              <a:gd name="connsiteY89" fmla="*/ 1315404 h 2345578"/>
              <a:gd name="connsiteX90" fmla="*/ 2389148 w 2427462"/>
              <a:gd name="connsiteY90" fmla="*/ 1347457 h 2345578"/>
              <a:gd name="connsiteX91" fmla="*/ 2390986 w 2427462"/>
              <a:gd name="connsiteY91" fmla="*/ 1347457 h 2345578"/>
              <a:gd name="connsiteX92" fmla="*/ 2391560 w 2427462"/>
              <a:gd name="connsiteY92" fmla="*/ 1347457 h 2345578"/>
              <a:gd name="connsiteX93" fmla="*/ 2427462 w 2427462"/>
              <a:gd name="connsiteY93" fmla="*/ 1311556 h 2345578"/>
              <a:gd name="connsiteX94" fmla="*/ 2426859 w 2427462"/>
              <a:gd name="connsiteY94" fmla="*/ 1305036 h 2345578"/>
              <a:gd name="connsiteX95" fmla="*/ 88978 w 2427462"/>
              <a:gd name="connsiteY95" fmla="*/ 1113465 h 2345578"/>
              <a:gd name="connsiteX96" fmla="*/ 920889 w 2427462"/>
              <a:gd name="connsiteY96" fmla="*/ 208057 h 2345578"/>
              <a:gd name="connsiteX97" fmla="*/ 393050 w 2427462"/>
              <a:gd name="connsiteY97" fmla="*/ 969629 h 2345578"/>
              <a:gd name="connsiteX98" fmla="*/ 88978 w 2427462"/>
              <a:gd name="connsiteY98" fmla="*/ 1113465 h 2345578"/>
              <a:gd name="connsiteX99" fmla="*/ 467237 w 2427462"/>
              <a:gd name="connsiteY99" fmla="*/ 969399 h 2345578"/>
              <a:gd name="connsiteX100" fmla="*/ 1122800 w 2427462"/>
              <a:gd name="connsiteY100" fmla="*/ 201077 h 2345578"/>
              <a:gd name="connsiteX101" fmla="*/ 790409 w 2427462"/>
              <a:gd name="connsiteY101" fmla="*/ 1140635 h 2345578"/>
              <a:gd name="connsiteX102" fmla="*/ 467237 w 2427462"/>
              <a:gd name="connsiteY102" fmla="*/ 969399 h 2345578"/>
              <a:gd name="connsiteX103" fmla="*/ 863217 w 2427462"/>
              <a:gd name="connsiteY103" fmla="*/ 1114556 h 2345578"/>
              <a:gd name="connsiteX104" fmla="*/ 1171281 w 2427462"/>
              <a:gd name="connsiteY104" fmla="*/ 255418 h 2345578"/>
              <a:gd name="connsiteX105" fmla="*/ 1171281 w 2427462"/>
              <a:gd name="connsiteY105" fmla="*/ 968882 h 2345578"/>
              <a:gd name="connsiteX106" fmla="*/ 863217 w 2427462"/>
              <a:gd name="connsiteY106" fmla="*/ 1114556 h 2345578"/>
              <a:gd name="connsiteX107" fmla="*/ 1243084 w 2427462"/>
              <a:gd name="connsiteY107" fmla="*/ 969514 h 2345578"/>
              <a:gd name="connsiteX108" fmla="*/ 1243084 w 2427462"/>
              <a:gd name="connsiteY108" fmla="*/ 244849 h 2345578"/>
              <a:gd name="connsiteX109" fmla="*/ 1560368 w 2427462"/>
              <a:gd name="connsiteY109" fmla="*/ 1133886 h 2345578"/>
              <a:gd name="connsiteX110" fmla="*/ 1243084 w 2427462"/>
              <a:gd name="connsiteY110" fmla="*/ 969514 h 2345578"/>
              <a:gd name="connsiteX111" fmla="*/ 1632659 w 2427462"/>
              <a:gd name="connsiteY111" fmla="*/ 1145173 h 2345578"/>
              <a:gd name="connsiteX112" fmla="*/ 1300096 w 2427462"/>
              <a:gd name="connsiteY112" fmla="*/ 201077 h 2345578"/>
              <a:gd name="connsiteX113" fmla="*/ 1955744 w 2427462"/>
              <a:gd name="connsiteY113" fmla="*/ 969773 h 2345578"/>
              <a:gd name="connsiteX114" fmla="*/ 1632659 w 2427462"/>
              <a:gd name="connsiteY114" fmla="*/ 1145173 h 2345578"/>
              <a:gd name="connsiteX115" fmla="*/ 2029759 w 2427462"/>
              <a:gd name="connsiteY115" fmla="*/ 969428 h 2345578"/>
              <a:gd name="connsiteX116" fmla="*/ 1498789 w 2427462"/>
              <a:gd name="connsiteY116" fmla="*/ 206247 h 2345578"/>
              <a:gd name="connsiteX117" fmla="*/ 2337909 w 2427462"/>
              <a:gd name="connsiteY117" fmla="*/ 1113465 h 2345578"/>
              <a:gd name="connsiteX118" fmla="*/ 2029759 w 2427462"/>
              <a:gd name="connsiteY118" fmla="*/ 969428 h 2345578"/>
              <a:gd name="connsiteX0" fmla="*/ 2426859 w 2427462"/>
              <a:gd name="connsiteY0" fmla="*/ 1305036 h 2209152"/>
              <a:gd name="connsiteX1" fmla="*/ 2275440 w 2427462"/>
              <a:gd name="connsiteY1" fmla="*/ 725154 h 2209152"/>
              <a:gd name="connsiteX2" fmla="*/ 2275440 w 2427462"/>
              <a:gd name="connsiteY2" fmla="*/ 516753 h 2209152"/>
              <a:gd name="connsiteX3" fmla="*/ 2203637 w 2427462"/>
              <a:gd name="connsiteY3" fmla="*/ 516753 h 2209152"/>
              <a:gd name="connsiteX4" fmla="*/ 2203637 w 2427462"/>
              <a:gd name="connsiteY4" fmla="*/ 611418 h 2209152"/>
              <a:gd name="connsiteX5" fmla="*/ 2122988 w 2427462"/>
              <a:gd name="connsiteY5" fmla="*/ 509601 h 2209152"/>
              <a:gd name="connsiteX6" fmla="*/ 2122988 w 2427462"/>
              <a:gd name="connsiteY6" fmla="*/ 353444 h 2209152"/>
              <a:gd name="connsiteX7" fmla="*/ 2051185 w 2427462"/>
              <a:gd name="connsiteY7" fmla="*/ 353444 h 2209152"/>
              <a:gd name="connsiteX8" fmla="*/ 2051185 w 2427462"/>
              <a:gd name="connsiteY8" fmla="*/ 434897 h 2209152"/>
              <a:gd name="connsiteX9" fmla="*/ 1956204 w 2427462"/>
              <a:gd name="connsiteY9" fmla="*/ 352984 h 2209152"/>
              <a:gd name="connsiteX10" fmla="*/ 1956204 w 2427462"/>
              <a:gd name="connsiteY10" fmla="*/ 224715 h 2209152"/>
              <a:gd name="connsiteX11" fmla="*/ 1884401 w 2427462"/>
              <a:gd name="connsiteY11" fmla="*/ 224715 h 2209152"/>
              <a:gd name="connsiteX12" fmla="*/ 1884401 w 2427462"/>
              <a:gd name="connsiteY12" fmla="*/ 301027 h 2209152"/>
              <a:gd name="connsiteX13" fmla="*/ 1814350 w 2427462"/>
              <a:gd name="connsiteY13" fmla="*/ 257945 h 2209152"/>
              <a:gd name="connsiteX14" fmla="*/ 1814350 w 2427462"/>
              <a:gd name="connsiteY14" fmla="*/ 172040 h 2209152"/>
              <a:gd name="connsiteX15" fmla="*/ 1742546 w 2427462"/>
              <a:gd name="connsiteY15" fmla="*/ 172040 h 2209152"/>
              <a:gd name="connsiteX16" fmla="*/ 1742546 w 2427462"/>
              <a:gd name="connsiteY16" fmla="*/ 219717 h 2209152"/>
              <a:gd name="connsiteX17" fmla="*/ 1684616 w 2427462"/>
              <a:gd name="connsiteY17" fmla="*/ 193294 h 2209152"/>
              <a:gd name="connsiteX18" fmla="*/ 1684616 w 2427462"/>
              <a:gd name="connsiteY18" fmla="*/ 138465 h 2209152"/>
              <a:gd name="connsiteX19" fmla="*/ 1612813 w 2427462"/>
              <a:gd name="connsiteY19" fmla="*/ 138465 h 2209152"/>
              <a:gd name="connsiteX20" fmla="*/ 1612813 w 2427462"/>
              <a:gd name="connsiteY20" fmla="*/ 165894 h 2209152"/>
              <a:gd name="connsiteX21" fmla="*/ 1543795 w 2427462"/>
              <a:gd name="connsiteY21" fmla="*/ 144152 h 2209152"/>
              <a:gd name="connsiteX22" fmla="*/ 1543795 w 2427462"/>
              <a:gd name="connsiteY22" fmla="*/ 4509 h 2209152"/>
              <a:gd name="connsiteX23" fmla="*/ 1471992 w 2427462"/>
              <a:gd name="connsiteY23" fmla="*/ 4509 h 2209152"/>
              <a:gd name="connsiteX24" fmla="*/ 1471992 w 2427462"/>
              <a:gd name="connsiteY24" fmla="*/ 126058 h 2209152"/>
              <a:gd name="connsiteX25" fmla="*/ 1243084 w 2427462"/>
              <a:gd name="connsiteY25" fmla="*/ 98801 h 2209152"/>
              <a:gd name="connsiteX26" fmla="*/ 1243084 w 2427462"/>
              <a:gd name="connsiteY26" fmla="*/ 0 h 2209152"/>
              <a:gd name="connsiteX27" fmla="*/ 1171281 w 2427462"/>
              <a:gd name="connsiteY27" fmla="*/ 0 h 2209152"/>
              <a:gd name="connsiteX28" fmla="*/ 1171281 w 2427462"/>
              <a:gd name="connsiteY28" fmla="*/ 99117 h 2209152"/>
              <a:gd name="connsiteX29" fmla="*/ 958973 w 2427462"/>
              <a:gd name="connsiteY29" fmla="*/ 125110 h 2209152"/>
              <a:gd name="connsiteX30" fmla="*/ 958973 w 2427462"/>
              <a:gd name="connsiteY30" fmla="*/ 0 h 2209152"/>
              <a:gd name="connsiteX31" fmla="*/ 887170 w 2427462"/>
              <a:gd name="connsiteY31" fmla="*/ 0 h 2209152"/>
              <a:gd name="connsiteX32" fmla="*/ 887170 w 2427462"/>
              <a:gd name="connsiteY32" fmla="*/ 142974 h 2209152"/>
              <a:gd name="connsiteX33" fmla="*/ 817493 w 2427462"/>
              <a:gd name="connsiteY33" fmla="*/ 164745 h 2209152"/>
              <a:gd name="connsiteX34" fmla="*/ 817493 w 2427462"/>
              <a:gd name="connsiteY34" fmla="*/ 133956 h 2209152"/>
              <a:gd name="connsiteX35" fmla="*/ 745690 w 2427462"/>
              <a:gd name="connsiteY35" fmla="*/ 133956 h 2209152"/>
              <a:gd name="connsiteX36" fmla="*/ 745690 w 2427462"/>
              <a:gd name="connsiteY36" fmla="*/ 191944 h 2209152"/>
              <a:gd name="connsiteX37" fmla="*/ 687156 w 2427462"/>
              <a:gd name="connsiteY37" fmla="*/ 218253 h 2209152"/>
              <a:gd name="connsiteX38" fmla="*/ 687156 w 2427462"/>
              <a:gd name="connsiteY38" fmla="*/ 167560 h 2209152"/>
              <a:gd name="connsiteX39" fmla="*/ 615353 w 2427462"/>
              <a:gd name="connsiteY39" fmla="*/ 167560 h 2209152"/>
              <a:gd name="connsiteX40" fmla="*/ 615353 w 2427462"/>
              <a:gd name="connsiteY40" fmla="*/ 256337 h 2209152"/>
              <a:gd name="connsiteX41" fmla="*/ 544641 w 2427462"/>
              <a:gd name="connsiteY41" fmla="*/ 299706 h 2209152"/>
              <a:gd name="connsiteX42" fmla="*/ 544641 w 2427462"/>
              <a:gd name="connsiteY42" fmla="*/ 220206 h 2209152"/>
              <a:gd name="connsiteX43" fmla="*/ 472838 w 2427462"/>
              <a:gd name="connsiteY43" fmla="*/ 220206 h 2209152"/>
              <a:gd name="connsiteX44" fmla="*/ 472838 w 2427462"/>
              <a:gd name="connsiteY44" fmla="*/ 351261 h 2209152"/>
              <a:gd name="connsiteX45" fmla="*/ 377110 w 2427462"/>
              <a:gd name="connsiteY45" fmla="*/ 433547 h 2209152"/>
              <a:gd name="connsiteX46" fmla="*/ 377110 w 2427462"/>
              <a:gd name="connsiteY46" fmla="*/ 348906 h 2209152"/>
              <a:gd name="connsiteX47" fmla="*/ 305307 w 2427462"/>
              <a:gd name="connsiteY47" fmla="*/ 348906 h 2209152"/>
              <a:gd name="connsiteX48" fmla="*/ 305307 w 2427462"/>
              <a:gd name="connsiteY48" fmla="*/ 507906 h 2209152"/>
              <a:gd name="connsiteX49" fmla="*/ 223940 w 2427462"/>
              <a:gd name="connsiteY49" fmla="*/ 610441 h 2209152"/>
              <a:gd name="connsiteX50" fmla="*/ 223940 w 2427462"/>
              <a:gd name="connsiteY50" fmla="*/ 512186 h 2209152"/>
              <a:gd name="connsiteX51" fmla="*/ 152136 w 2427462"/>
              <a:gd name="connsiteY51" fmla="*/ 512186 h 2209152"/>
              <a:gd name="connsiteX52" fmla="*/ 152136 w 2427462"/>
              <a:gd name="connsiteY52" fmla="*/ 722741 h 2209152"/>
              <a:gd name="connsiteX53" fmla="*/ 152912 w 2427462"/>
              <a:gd name="connsiteY53" fmla="*/ 722741 h 2209152"/>
              <a:gd name="connsiteX54" fmla="*/ 0 w 2427462"/>
              <a:gd name="connsiteY54" fmla="*/ 1311527 h 2209152"/>
              <a:gd name="connsiteX55" fmla="*/ 37740 w 2427462"/>
              <a:gd name="connsiteY55" fmla="*/ 1347428 h 2209152"/>
              <a:gd name="connsiteX56" fmla="*/ 73440 w 2427462"/>
              <a:gd name="connsiteY56" fmla="*/ 1315375 h 2209152"/>
              <a:gd name="connsiteX57" fmla="*/ 429210 w 2427462"/>
              <a:gd name="connsiteY57" fmla="*/ 1039565 h 2209152"/>
              <a:gd name="connsiteX58" fmla="*/ 781246 w 2427462"/>
              <a:gd name="connsiteY58" fmla="*/ 1292657 h 2209152"/>
              <a:gd name="connsiteX59" fmla="*/ 816459 w 2427462"/>
              <a:gd name="connsiteY59" fmla="*/ 1321579 h 2209152"/>
              <a:gd name="connsiteX60" fmla="*/ 851671 w 2427462"/>
              <a:gd name="connsiteY60" fmla="*/ 1292657 h 2209152"/>
              <a:gd name="connsiteX61" fmla="*/ 1171281 w 2427462"/>
              <a:gd name="connsiteY61" fmla="*/ 1040800 h 2209152"/>
              <a:gd name="connsiteX62" fmla="*/ 1171281 w 2427462"/>
              <a:gd name="connsiteY62" fmla="*/ 1175158 h 2209152"/>
              <a:gd name="connsiteX63" fmla="*/ 1147414 w 2427462"/>
              <a:gd name="connsiteY63" fmla="*/ 1175158 h 2209152"/>
              <a:gd name="connsiteX64" fmla="*/ 1111512 w 2427462"/>
              <a:gd name="connsiteY64" fmla="*/ 1211060 h 2209152"/>
              <a:gd name="connsiteX65" fmla="*/ 1147414 w 2427462"/>
              <a:gd name="connsiteY65" fmla="*/ 1246961 h 2209152"/>
              <a:gd name="connsiteX66" fmla="*/ 1171281 w 2427462"/>
              <a:gd name="connsiteY66" fmla="*/ 1246961 h 2209152"/>
              <a:gd name="connsiteX67" fmla="*/ 1171281 w 2427462"/>
              <a:gd name="connsiteY67" fmla="*/ 2137320 h 2209152"/>
              <a:gd name="connsiteX68" fmla="*/ 1147414 w 2427462"/>
              <a:gd name="connsiteY68" fmla="*/ 2137320 h 2209152"/>
              <a:gd name="connsiteX69" fmla="*/ 1111512 w 2427462"/>
              <a:gd name="connsiteY69" fmla="*/ 2173221 h 2209152"/>
              <a:gd name="connsiteX70" fmla="*/ 1147414 w 2427462"/>
              <a:gd name="connsiteY70" fmla="*/ 2209123 h 2209152"/>
              <a:gd name="connsiteX71" fmla="*/ 1171281 w 2427462"/>
              <a:gd name="connsiteY71" fmla="*/ 2209123 h 2209152"/>
              <a:gd name="connsiteX72" fmla="*/ 1243084 w 2427462"/>
              <a:gd name="connsiteY72" fmla="*/ 2209152 h 2209152"/>
              <a:gd name="connsiteX73" fmla="*/ 1275912 w 2427462"/>
              <a:gd name="connsiteY73" fmla="*/ 2209152 h 2209152"/>
              <a:gd name="connsiteX74" fmla="*/ 1311814 w 2427462"/>
              <a:gd name="connsiteY74" fmla="*/ 2173250 h 2209152"/>
              <a:gd name="connsiteX75" fmla="*/ 1275912 w 2427462"/>
              <a:gd name="connsiteY75" fmla="*/ 2137349 h 2209152"/>
              <a:gd name="connsiteX76" fmla="*/ 1243084 w 2427462"/>
              <a:gd name="connsiteY76" fmla="*/ 2137349 h 2209152"/>
              <a:gd name="connsiteX77" fmla="*/ 1243084 w 2427462"/>
              <a:gd name="connsiteY77" fmla="*/ 1246990 h 2209152"/>
              <a:gd name="connsiteX78" fmla="*/ 1275912 w 2427462"/>
              <a:gd name="connsiteY78" fmla="*/ 1246990 h 2209152"/>
              <a:gd name="connsiteX79" fmla="*/ 1311814 w 2427462"/>
              <a:gd name="connsiteY79" fmla="*/ 1211089 h 2209152"/>
              <a:gd name="connsiteX80" fmla="*/ 1275912 w 2427462"/>
              <a:gd name="connsiteY80" fmla="*/ 1175187 h 2209152"/>
              <a:gd name="connsiteX81" fmla="*/ 1243084 w 2427462"/>
              <a:gd name="connsiteY81" fmla="*/ 1175187 h 2209152"/>
              <a:gd name="connsiteX82" fmla="*/ 1243084 w 2427462"/>
              <a:gd name="connsiteY82" fmla="*/ 1041576 h 2209152"/>
              <a:gd name="connsiteX83" fmla="*/ 1559449 w 2427462"/>
              <a:gd name="connsiteY83" fmla="*/ 1315404 h 2209152"/>
              <a:gd name="connsiteX84" fmla="*/ 1595149 w 2427462"/>
              <a:gd name="connsiteY84" fmla="*/ 1347457 h 2209152"/>
              <a:gd name="connsiteX85" fmla="*/ 1606207 w 2427462"/>
              <a:gd name="connsiteY85" fmla="*/ 1347457 h 2209152"/>
              <a:gd name="connsiteX86" fmla="*/ 1641907 w 2427462"/>
              <a:gd name="connsiteY86" fmla="*/ 1315404 h 2209152"/>
              <a:gd name="connsiteX87" fmla="*/ 1997706 w 2427462"/>
              <a:gd name="connsiteY87" fmla="*/ 1039594 h 2209152"/>
              <a:gd name="connsiteX88" fmla="*/ 2353447 w 2427462"/>
              <a:gd name="connsiteY88" fmla="*/ 1315404 h 2209152"/>
              <a:gd name="connsiteX89" fmla="*/ 2389148 w 2427462"/>
              <a:gd name="connsiteY89" fmla="*/ 1347457 h 2209152"/>
              <a:gd name="connsiteX90" fmla="*/ 2390986 w 2427462"/>
              <a:gd name="connsiteY90" fmla="*/ 1347457 h 2209152"/>
              <a:gd name="connsiteX91" fmla="*/ 2391560 w 2427462"/>
              <a:gd name="connsiteY91" fmla="*/ 1347457 h 2209152"/>
              <a:gd name="connsiteX92" fmla="*/ 2427462 w 2427462"/>
              <a:gd name="connsiteY92" fmla="*/ 1311556 h 2209152"/>
              <a:gd name="connsiteX93" fmla="*/ 2426859 w 2427462"/>
              <a:gd name="connsiteY93" fmla="*/ 1305036 h 2209152"/>
              <a:gd name="connsiteX94" fmla="*/ 88978 w 2427462"/>
              <a:gd name="connsiteY94" fmla="*/ 1113465 h 2209152"/>
              <a:gd name="connsiteX95" fmla="*/ 920889 w 2427462"/>
              <a:gd name="connsiteY95" fmla="*/ 208057 h 2209152"/>
              <a:gd name="connsiteX96" fmla="*/ 393050 w 2427462"/>
              <a:gd name="connsiteY96" fmla="*/ 969629 h 2209152"/>
              <a:gd name="connsiteX97" fmla="*/ 88978 w 2427462"/>
              <a:gd name="connsiteY97" fmla="*/ 1113465 h 2209152"/>
              <a:gd name="connsiteX98" fmla="*/ 467237 w 2427462"/>
              <a:gd name="connsiteY98" fmla="*/ 969399 h 2209152"/>
              <a:gd name="connsiteX99" fmla="*/ 1122800 w 2427462"/>
              <a:gd name="connsiteY99" fmla="*/ 201077 h 2209152"/>
              <a:gd name="connsiteX100" fmla="*/ 790409 w 2427462"/>
              <a:gd name="connsiteY100" fmla="*/ 1140635 h 2209152"/>
              <a:gd name="connsiteX101" fmla="*/ 467237 w 2427462"/>
              <a:gd name="connsiteY101" fmla="*/ 969399 h 2209152"/>
              <a:gd name="connsiteX102" fmla="*/ 863217 w 2427462"/>
              <a:gd name="connsiteY102" fmla="*/ 1114556 h 2209152"/>
              <a:gd name="connsiteX103" fmla="*/ 1171281 w 2427462"/>
              <a:gd name="connsiteY103" fmla="*/ 255418 h 2209152"/>
              <a:gd name="connsiteX104" fmla="*/ 1171281 w 2427462"/>
              <a:gd name="connsiteY104" fmla="*/ 968882 h 2209152"/>
              <a:gd name="connsiteX105" fmla="*/ 863217 w 2427462"/>
              <a:gd name="connsiteY105" fmla="*/ 1114556 h 2209152"/>
              <a:gd name="connsiteX106" fmla="*/ 1243084 w 2427462"/>
              <a:gd name="connsiteY106" fmla="*/ 969514 h 2209152"/>
              <a:gd name="connsiteX107" fmla="*/ 1243084 w 2427462"/>
              <a:gd name="connsiteY107" fmla="*/ 244849 h 2209152"/>
              <a:gd name="connsiteX108" fmla="*/ 1560368 w 2427462"/>
              <a:gd name="connsiteY108" fmla="*/ 1133886 h 2209152"/>
              <a:gd name="connsiteX109" fmla="*/ 1243084 w 2427462"/>
              <a:gd name="connsiteY109" fmla="*/ 969514 h 2209152"/>
              <a:gd name="connsiteX110" fmla="*/ 1632659 w 2427462"/>
              <a:gd name="connsiteY110" fmla="*/ 1145173 h 2209152"/>
              <a:gd name="connsiteX111" fmla="*/ 1300096 w 2427462"/>
              <a:gd name="connsiteY111" fmla="*/ 201077 h 2209152"/>
              <a:gd name="connsiteX112" fmla="*/ 1955744 w 2427462"/>
              <a:gd name="connsiteY112" fmla="*/ 969773 h 2209152"/>
              <a:gd name="connsiteX113" fmla="*/ 1632659 w 2427462"/>
              <a:gd name="connsiteY113" fmla="*/ 1145173 h 2209152"/>
              <a:gd name="connsiteX114" fmla="*/ 2029759 w 2427462"/>
              <a:gd name="connsiteY114" fmla="*/ 969428 h 2209152"/>
              <a:gd name="connsiteX115" fmla="*/ 1498789 w 2427462"/>
              <a:gd name="connsiteY115" fmla="*/ 206247 h 2209152"/>
              <a:gd name="connsiteX116" fmla="*/ 2337909 w 2427462"/>
              <a:gd name="connsiteY116" fmla="*/ 1113465 h 2209152"/>
              <a:gd name="connsiteX117" fmla="*/ 2029759 w 2427462"/>
              <a:gd name="connsiteY117" fmla="*/ 969428 h 2209152"/>
              <a:gd name="connsiteX0" fmla="*/ 2426859 w 2427462"/>
              <a:gd name="connsiteY0" fmla="*/ 1305036 h 2209152"/>
              <a:gd name="connsiteX1" fmla="*/ 2275440 w 2427462"/>
              <a:gd name="connsiteY1" fmla="*/ 725154 h 2209152"/>
              <a:gd name="connsiteX2" fmla="*/ 2275440 w 2427462"/>
              <a:gd name="connsiteY2" fmla="*/ 516753 h 2209152"/>
              <a:gd name="connsiteX3" fmla="*/ 2203637 w 2427462"/>
              <a:gd name="connsiteY3" fmla="*/ 516753 h 2209152"/>
              <a:gd name="connsiteX4" fmla="*/ 2203637 w 2427462"/>
              <a:gd name="connsiteY4" fmla="*/ 611418 h 2209152"/>
              <a:gd name="connsiteX5" fmla="*/ 2122988 w 2427462"/>
              <a:gd name="connsiteY5" fmla="*/ 509601 h 2209152"/>
              <a:gd name="connsiteX6" fmla="*/ 2122988 w 2427462"/>
              <a:gd name="connsiteY6" fmla="*/ 353444 h 2209152"/>
              <a:gd name="connsiteX7" fmla="*/ 2051185 w 2427462"/>
              <a:gd name="connsiteY7" fmla="*/ 353444 h 2209152"/>
              <a:gd name="connsiteX8" fmla="*/ 2051185 w 2427462"/>
              <a:gd name="connsiteY8" fmla="*/ 434897 h 2209152"/>
              <a:gd name="connsiteX9" fmla="*/ 1956204 w 2427462"/>
              <a:gd name="connsiteY9" fmla="*/ 352984 h 2209152"/>
              <a:gd name="connsiteX10" fmla="*/ 1956204 w 2427462"/>
              <a:gd name="connsiteY10" fmla="*/ 224715 h 2209152"/>
              <a:gd name="connsiteX11" fmla="*/ 1884401 w 2427462"/>
              <a:gd name="connsiteY11" fmla="*/ 224715 h 2209152"/>
              <a:gd name="connsiteX12" fmla="*/ 1884401 w 2427462"/>
              <a:gd name="connsiteY12" fmla="*/ 301027 h 2209152"/>
              <a:gd name="connsiteX13" fmla="*/ 1814350 w 2427462"/>
              <a:gd name="connsiteY13" fmla="*/ 257945 h 2209152"/>
              <a:gd name="connsiteX14" fmla="*/ 1814350 w 2427462"/>
              <a:gd name="connsiteY14" fmla="*/ 172040 h 2209152"/>
              <a:gd name="connsiteX15" fmla="*/ 1742546 w 2427462"/>
              <a:gd name="connsiteY15" fmla="*/ 172040 h 2209152"/>
              <a:gd name="connsiteX16" fmla="*/ 1742546 w 2427462"/>
              <a:gd name="connsiteY16" fmla="*/ 219717 h 2209152"/>
              <a:gd name="connsiteX17" fmla="*/ 1684616 w 2427462"/>
              <a:gd name="connsiteY17" fmla="*/ 193294 h 2209152"/>
              <a:gd name="connsiteX18" fmla="*/ 1684616 w 2427462"/>
              <a:gd name="connsiteY18" fmla="*/ 138465 h 2209152"/>
              <a:gd name="connsiteX19" fmla="*/ 1612813 w 2427462"/>
              <a:gd name="connsiteY19" fmla="*/ 138465 h 2209152"/>
              <a:gd name="connsiteX20" fmla="*/ 1612813 w 2427462"/>
              <a:gd name="connsiteY20" fmla="*/ 165894 h 2209152"/>
              <a:gd name="connsiteX21" fmla="*/ 1543795 w 2427462"/>
              <a:gd name="connsiteY21" fmla="*/ 144152 h 2209152"/>
              <a:gd name="connsiteX22" fmla="*/ 1543795 w 2427462"/>
              <a:gd name="connsiteY22" fmla="*/ 4509 h 2209152"/>
              <a:gd name="connsiteX23" fmla="*/ 1471992 w 2427462"/>
              <a:gd name="connsiteY23" fmla="*/ 4509 h 2209152"/>
              <a:gd name="connsiteX24" fmla="*/ 1471992 w 2427462"/>
              <a:gd name="connsiteY24" fmla="*/ 126058 h 2209152"/>
              <a:gd name="connsiteX25" fmla="*/ 1243084 w 2427462"/>
              <a:gd name="connsiteY25" fmla="*/ 98801 h 2209152"/>
              <a:gd name="connsiteX26" fmla="*/ 1243084 w 2427462"/>
              <a:gd name="connsiteY26" fmla="*/ 0 h 2209152"/>
              <a:gd name="connsiteX27" fmla="*/ 1171281 w 2427462"/>
              <a:gd name="connsiteY27" fmla="*/ 0 h 2209152"/>
              <a:gd name="connsiteX28" fmla="*/ 1171281 w 2427462"/>
              <a:gd name="connsiteY28" fmla="*/ 99117 h 2209152"/>
              <a:gd name="connsiteX29" fmla="*/ 958973 w 2427462"/>
              <a:gd name="connsiteY29" fmla="*/ 125110 h 2209152"/>
              <a:gd name="connsiteX30" fmla="*/ 958973 w 2427462"/>
              <a:gd name="connsiteY30" fmla="*/ 0 h 2209152"/>
              <a:gd name="connsiteX31" fmla="*/ 887170 w 2427462"/>
              <a:gd name="connsiteY31" fmla="*/ 0 h 2209152"/>
              <a:gd name="connsiteX32" fmla="*/ 887170 w 2427462"/>
              <a:gd name="connsiteY32" fmla="*/ 142974 h 2209152"/>
              <a:gd name="connsiteX33" fmla="*/ 817493 w 2427462"/>
              <a:gd name="connsiteY33" fmla="*/ 164745 h 2209152"/>
              <a:gd name="connsiteX34" fmla="*/ 817493 w 2427462"/>
              <a:gd name="connsiteY34" fmla="*/ 133956 h 2209152"/>
              <a:gd name="connsiteX35" fmla="*/ 745690 w 2427462"/>
              <a:gd name="connsiteY35" fmla="*/ 133956 h 2209152"/>
              <a:gd name="connsiteX36" fmla="*/ 745690 w 2427462"/>
              <a:gd name="connsiteY36" fmla="*/ 191944 h 2209152"/>
              <a:gd name="connsiteX37" fmla="*/ 687156 w 2427462"/>
              <a:gd name="connsiteY37" fmla="*/ 218253 h 2209152"/>
              <a:gd name="connsiteX38" fmla="*/ 687156 w 2427462"/>
              <a:gd name="connsiteY38" fmla="*/ 167560 h 2209152"/>
              <a:gd name="connsiteX39" fmla="*/ 615353 w 2427462"/>
              <a:gd name="connsiteY39" fmla="*/ 167560 h 2209152"/>
              <a:gd name="connsiteX40" fmla="*/ 615353 w 2427462"/>
              <a:gd name="connsiteY40" fmla="*/ 256337 h 2209152"/>
              <a:gd name="connsiteX41" fmla="*/ 544641 w 2427462"/>
              <a:gd name="connsiteY41" fmla="*/ 299706 h 2209152"/>
              <a:gd name="connsiteX42" fmla="*/ 544641 w 2427462"/>
              <a:gd name="connsiteY42" fmla="*/ 220206 h 2209152"/>
              <a:gd name="connsiteX43" fmla="*/ 472838 w 2427462"/>
              <a:gd name="connsiteY43" fmla="*/ 220206 h 2209152"/>
              <a:gd name="connsiteX44" fmla="*/ 472838 w 2427462"/>
              <a:gd name="connsiteY44" fmla="*/ 351261 h 2209152"/>
              <a:gd name="connsiteX45" fmla="*/ 377110 w 2427462"/>
              <a:gd name="connsiteY45" fmla="*/ 433547 h 2209152"/>
              <a:gd name="connsiteX46" fmla="*/ 377110 w 2427462"/>
              <a:gd name="connsiteY46" fmla="*/ 348906 h 2209152"/>
              <a:gd name="connsiteX47" fmla="*/ 305307 w 2427462"/>
              <a:gd name="connsiteY47" fmla="*/ 348906 h 2209152"/>
              <a:gd name="connsiteX48" fmla="*/ 305307 w 2427462"/>
              <a:gd name="connsiteY48" fmla="*/ 507906 h 2209152"/>
              <a:gd name="connsiteX49" fmla="*/ 223940 w 2427462"/>
              <a:gd name="connsiteY49" fmla="*/ 610441 h 2209152"/>
              <a:gd name="connsiteX50" fmla="*/ 223940 w 2427462"/>
              <a:gd name="connsiteY50" fmla="*/ 512186 h 2209152"/>
              <a:gd name="connsiteX51" fmla="*/ 152136 w 2427462"/>
              <a:gd name="connsiteY51" fmla="*/ 512186 h 2209152"/>
              <a:gd name="connsiteX52" fmla="*/ 152136 w 2427462"/>
              <a:gd name="connsiteY52" fmla="*/ 722741 h 2209152"/>
              <a:gd name="connsiteX53" fmla="*/ 152912 w 2427462"/>
              <a:gd name="connsiteY53" fmla="*/ 722741 h 2209152"/>
              <a:gd name="connsiteX54" fmla="*/ 0 w 2427462"/>
              <a:gd name="connsiteY54" fmla="*/ 1311527 h 2209152"/>
              <a:gd name="connsiteX55" fmla="*/ 37740 w 2427462"/>
              <a:gd name="connsiteY55" fmla="*/ 1347428 h 2209152"/>
              <a:gd name="connsiteX56" fmla="*/ 73440 w 2427462"/>
              <a:gd name="connsiteY56" fmla="*/ 1315375 h 2209152"/>
              <a:gd name="connsiteX57" fmla="*/ 429210 w 2427462"/>
              <a:gd name="connsiteY57" fmla="*/ 1039565 h 2209152"/>
              <a:gd name="connsiteX58" fmla="*/ 781246 w 2427462"/>
              <a:gd name="connsiteY58" fmla="*/ 1292657 h 2209152"/>
              <a:gd name="connsiteX59" fmla="*/ 816459 w 2427462"/>
              <a:gd name="connsiteY59" fmla="*/ 1321579 h 2209152"/>
              <a:gd name="connsiteX60" fmla="*/ 851671 w 2427462"/>
              <a:gd name="connsiteY60" fmla="*/ 1292657 h 2209152"/>
              <a:gd name="connsiteX61" fmla="*/ 1171281 w 2427462"/>
              <a:gd name="connsiteY61" fmla="*/ 1040800 h 2209152"/>
              <a:gd name="connsiteX62" fmla="*/ 1171281 w 2427462"/>
              <a:gd name="connsiteY62" fmla="*/ 1175158 h 2209152"/>
              <a:gd name="connsiteX63" fmla="*/ 1147414 w 2427462"/>
              <a:gd name="connsiteY63" fmla="*/ 1175158 h 2209152"/>
              <a:gd name="connsiteX64" fmla="*/ 1111512 w 2427462"/>
              <a:gd name="connsiteY64" fmla="*/ 1211060 h 2209152"/>
              <a:gd name="connsiteX65" fmla="*/ 1147414 w 2427462"/>
              <a:gd name="connsiteY65" fmla="*/ 1246961 h 2209152"/>
              <a:gd name="connsiteX66" fmla="*/ 1171281 w 2427462"/>
              <a:gd name="connsiteY66" fmla="*/ 1246961 h 2209152"/>
              <a:gd name="connsiteX67" fmla="*/ 1171281 w 2427462"/>
              <a:gd name="connsiteY67" fmla="*/ 2137320 h 2209152"/>
              <a:gd name="connsiteX68" fmla="*/ 1147414 w 2427462"/>
              <a:gd name="connsiteY68" fmla="*/ 2137320 h 2209152"/>
              <a:gd name="connsiteX69" fmla="*/ 1111512 w 2427462"/>
              <a:gd name="connsiteY69" fmla="*/ 2173221 h 2209152"/>
              <a:gd name="connsiteX70" fmla="*/ 1147414 w 2427462"/>
              <a:gd name="connsiteY70" fmla="*/ 2209123 h 2209152"/>
              <a:gd name="connsiteX71" fmla="*/ 1171281 w 2427462"/>
              <a:gd name="connsiteY71" fmla="*/ 2209123 h 2209152"/>
              <a:gd name="connsiteX72" fmla="*/ 1243084 w 2427462"/>
              <a:gd name="connsiteY72" fmla="*/ 2209152 h 2209152"/>
              <a:gd name="connsiteX73" fmla="*/ 1311814 w 2427462"/>
              <a:gd name="connsiteY73" fmla="*/ 2173250 h 2209152"/>
              <a:gd name="connsiteX74" fmla="*/ 1275912 w 2427462"/>
              <a:gd name="connsiteY74" fmla="*/ 2137349 h 2209152"/>
              <a:gd name="connsiteX75" fmla="*/ 1243084 w 2427462"/>
              <a:gd name="connsiteY75" fmla="*/ 2137349 h 2209152"/>
              <a:gd name="connsiteX76" fmla="*/ 1243084 w 2427462"/>
              <a:gd name="connsiteY76" fmla="*/ 1246990 h 2209152"/>
              <a:gd name="connsiteX77" fmla="*/ 1275912 w 2427462"/>
              <a:gd name="connsiteY77" fmla="*/ 1246990 h 2209152"/>
              <a:gd name="connsiteX78" fmla="*/ 1311814 w 2427462"/>
              <a:gd name="connsiteY78" fmla="*/ 1211089 h 2209152"/>
              <a:gd name="connsiteX79" fmla="*/ 1275912 w 2427462"/>
              <a:gd name="connsiteY79" fmla="*/ 1175187 h 2209152"/>
              <a:gd name="connsiteX80" fmla="*/ 1243084 w 2427462"/>
              <a:gd name="connsiteY80" fmla="*/ 1175187 h 2209152"/>
              <a:gd name="connsiteX81" fmla="*/ 1243084 w 2427462"/>
              <a:gd name="connsiteY81" fmla="*/ 1041576 h 2209152"/>
              <a:gd name="connsiteX82" fmla="*/ 1559449 w 2427462"/>
              <a:gd name="connsiteY82" fmla="*/ 1315404 h 2209152"/>
              <a:gd name="connsiteX83" fmla="*/ 1595149 w 2427462"/>
              <a:gd name="connsiteY83" fmla="*/ 1347457 h 2209152"/>
              <a:gd name="connsiteX84" fmla="*/ 1606207 w 2427462"/>
              <a:gd name="connsiteY84" fmla="*/ 1347457 h 2209152"/>
              <a:gd name="connsiteX85" fmla="*/ 1641907 w 2427462"/>
              <a:gd name="connsiteY85" fmla="*/ 1315404 h 2209152"/>
              <a:gd name="connsiteX86" fmla="*/ 1997706 w 2427462"/>
              <a:gd name="connsiteY86" fmla="*/ 1039594 h 2209152"/>
              <a:gd name="connsiteX87" fmla="*/ 2353447 w 2427462"/>
              <a:gd name="connsiteY87" fmla="*/ 1315404 h 2209152"/>
              <a:gd name="connsiteX88" fmla="*/ 2389148 w 2427462"/>
              <a:gd name="connsiteY88" fmla="*/ 1347457 h 2209152"/>
              <a:gd name="connsiteX89" fmla="*/ 2390986 w 2427462"/>
              <a:gd name="connsiteY89" fmla="*/ 1347457 h 2209152"/>
              <a:gd name="connsiteX90" fmla="*/ 2391560 w 2427462"/>
              <a:gd name="connsiteY90" fmla="*/ 1347457 h 2209152"/>
              <a:gd name="connsiteX91" fmla="*/ 2427462 w 2427462"/>
              <a:gd name="connsiteY91" fmla="*/ 1311556 h 2209152"/>
              <a:gd name="connsiteX92" fmla="*/ 2426859 w 2427462"/>
              <a:gd name="connsiteY92" fmla="*/ 1305036 h 2209152"/>
              <a:gd name="connsiteX93" fmla="*/ 88978 w 2427462"/>
              <a:gd name="connsiteY93" fmla="*/ 1113465 h 2209152"/>
              <a:gd name="connsiteX94" fmla="*/ 920889 w 2427462"/>
              <a:gd name="connsiteY94" fmla="*/ 208057 h 2209152"/>
              <a:gd name="connsiteX95" fmla="*/ 393050 w 2427462"/>
              <a:gd name="connsiteY95" fmla="*/ 969629 h 2209152"/>
              <a:gd name="connsiteX96" fmla="*/ 88978 w 2427462"/>
              <a:gd name="connsiteY96" fmla="*/ 1113465 h 2209152"/>
              <a:gd name="connsiteX97" fmla="*/ 467237 w 2427462"/>
              <a:gd name="connsiteY97" fmla="*/ 969399 h 2209152"/>
              <a:gd name="connsiteX98" fmla="*/ 1122800 w 2427462"/>
              <a:gd name="connsiteY98" fmla="*/ 201077 h 2209152"/>
              <a:gd name="connsiteX99" fmla="*/ 790409 w 2427462"/>
              <a:gd name="connsiteY99" fmla="*/ 1140635 h 2209152"/>
              <a:gd name="connsiteX100" fmla="*/ 467237 w 2427462"/>
              <a:gd name="connsiteY100" fmla="*/ 969399 h 2209152"/>
              <a:gd name="connsiteX101" fmla="*/ 863217 w 2427462"/>
              <a:gd name="connsiteY101" fmla="*/ 1114556 h 2209152"/>
              <a:gd name="connsiteX102" fmla="*/ 1171281 w 2427462"/>
              <a:gd name="connsiteY102" fmla="*/ 255418 h 2209152"/>
              <a:gd name="connsiteX103" fmla="*/ 1171281 w 2427462"/>
              <a:gd name="connsiteY103" fmla="*/ 968882 h 2209152"/>
              <a:gd name="connsiteX104" fmla="*/ 863217 w 2427462"/>
              <a:gd name="connsiteY104" fmla="*/ 1114556 h 2209152"/>
              <a:gd name="connsiteX105" fmla="*/ 1243084 w 2427462"/>
              <a:gd name="connsiteY105" fmla="*/ 969514 h 2209152"/>
              <a:gd name="connsiteX106" fmla="*/ 1243084 w 2427462"/>
              <a:gd name="connsiteY106" fmla="*/ 244849 h 2209152"/>
              <a:gd name="connsiteX107" fmla="*/ 1560368 w 2427462"/>
              <a:gd name="connsiteY107" fmla="*/ 1133886 h 2209152"/>
              <a:gd name="connsiteX108" fmla="*/ 1243084 w 2427462"/>
              <a:gd name="connsiteY108" fmla="*/ 969514 h 2209152"/>
              <a:gd name="connsiteX109" fmla="*/ 1632659 w 2427462"/>
              <a:gd name="connsiteY109" fmla="*/ 1145173 h 2209152"/>
              <a:gd name="connsiteX110" fmla="*/ 1300096 w 2427462"/>
              <a:gd name="connsiteY110" fmla="*/ 201077 h 2209152"/>
              <a:gd name="connsiteX111" fmla="*/ 1955744 w 2427462"/>
              <a:gd name="connsiteY111" fmla="*/ 969773 h 2209152"/>
              <a:gd name="connsiteX112" fmla="*/ 1632659 w 2427462"/>
              <a:gd name="connsiteY112" fmla="*/ 1145173 h 2209152"/>
              <a:gd name="connsiteX113" fmla="*/ 2029759 w 2427462"/>
              <a:gd name="connsiteY113" fmla="*/ 969428 h 2209152"/>
              <a:gd name="connsiteX114" fmla="*/ 1498789 w 2427462"/>
              <a:gd name="connsiteY114" fmla="*/ 206247 h 2209152"/>
              <a:gd name="connsiteX115" fmla="*/ 2337909 w 2427462"/>
              <a:gd name="connsiteY115" fmla="*/ 1113465 h 2209152"/>
              <a:gd name="connsiteX116" fmla="*/ 2029759 w 2427462"/>
              <a:gd name="connsiteY116" fmla="*/ 969428 h 2209152"/>
              <a:gd name="connsiteX0" fmla="*/ 2426859 w 2427462"/>
              <a:gd name="connsiteY0" fmla="*/ 1305036 h 2209123"/>
              <a:gd name="connsiteX1" fmla="*/ 2275440 w 2427462"/>
              <a:gd name="connsiteY1" fmla="*/ 725154 h 2209123"/>
              <a:gd name="connsiteX2" fmla="*/ 2275440 w 2427462"/>
              <a:gd name="connsiteY2" fmla="*/ 516753 h 2209123"/>
              <a:gd name="connsiteX3" fmla="*/ 2203637 w 2427462"/>
              <a:gd name="connsiteY3" fmla="*/ 516753 h 2209123"/>
              <a:gd name="connsiteX4" fmla="*/ 2203637 w 2427462"/>
              <a:gd name="connsiteY4" fmla="*/ 611418 h 2209123"/>
              <a:gd name="connsiteX5" fmla="*/ 2122988 w 2427462"/>
              <a:gd name="connsiteY5" fmla="*/ 509601 h 2209123"/>
              <a:gd name="connsiteX6" fmla="*/ 2122988 w 2427462"/>
              <a:gd name="connsiteY6" fmla="*/ 353444 h 2209123"/>
              <a:gd name="connsiteX7" fmla="*/ 2051185 w 2427462"/>
              <a:gd name="connsiteY7" fmla="*/ 353444 h 2209123"/>
              <a:gd name="connsiteX8" fmla="*/ 2051185 w 2427462"/>
              <a:gd name="connsiteY8" fmla="*/ 434897 h 2209123"/>
              <a:gd name="connsiteX9" fmla="*/ 1956204 w 2427462"/>
              <a:gd name="connsiteY9" fmla="*/ 352984 h 2209123"/>
              <a:gd name="connsiteX10" fmla="*/ 1956204 w 2427462"/>
              <a:gd name="connsiteY10" fmla="*/ 224715 h 2209123"/>
              <a:gd name="connsiteX11" fmla="*/ 1884401 w 2427462"/>
              <a:gd name="connsiteY11" fmla="*/ 224715 h 2209123"/>
              <a:gd name="connsiteX12" fmla="*/ 1884401 w 2427462"/>
              <a:gd name="connsiteY12" fmla="*/ 301027 h 2209123"/>
              <a:gd name="connsiteX13" fmla="*/ 1814350 w 2427462"/>
              <a:gd name="connsiteY13" fmla="*/ 257945 h 2209123"/>
              <a:gd name="connsiteX14" fmla="*/ 1814350 w 2427462"/>
              <a:gd name="connsiteY14" fmla="*/ 172040 h 2209123"/>
              <a:gd name="connsiteX15" fmla="*/ 1742546 w 2427462"/>
              <a:gd name="connsiteY15" fmla="*/ 172040 h 2209123"/>
              <a:gd name="connsiteX16" fmla="*/ 1742546 w 2427462"/>
              <a:gd name="connsiteY16" fmla="*/ 219717 h 2209123"/>
              <a:gd name="connsiteX17" fmla="*/ 1684616 w 2427462"/>
              <a:gd name="connsiteY17" fmla="*/ 193294 h 2209123"/>
              <a:gd name="connsiteX18" fmla="*/ 1684616 w 2427462"/>
              <a:gd name="connsiteY18" fmla="*/ 138465 h 2209123"/>
              <a:gd name="connsiteX19" fmla="*/ 1612813 w 2427462"/>
              <a:gd name="connsiteY19" fmla="*/ 138465 h 2209123"/>
              <a:gd name="connsiteX20" fmla="*/ 1612813 w 2427462"/>
              <a:gd name="connsiteY20" fmla="*/ 165894 h 2209123"/>
              <a:gd name="connsiteX21" fmla="*/ 1543795 w 2427462"/>
              <a:gd name="connsiteY21" fmla="*/ 144152 h 2209123"/>
              <a:gd name="connsiteX22" fmla="*/ 1543795 w 2427462"/>
              <a:gd name="connsiteY22" fmla="*/ 4509 h 2209123"/>
              <a:gd name="connsiteX23" fmla="*/ 1471992 w 2427462"/>
              <a:gd name="connsiteY23" fmla="*/ 4509 h 2209123"/>
              <a:gd name="connsiteX24" fmla="*/ 1471992 w 2427462"/>
              <a:gd name="connsiteY24" fmla="*/ 126058 h 2209123"/>
              <a:gd name="connsiteX25" fmla="*/ 1243084 w 2427462"/>
              <a:gd name="connsiteY25" fmla="*/ 98801 h 2209123"/>
              <a:gd name="connsiteX26" fmla="*/ 1243084 w 2427462"/>
              <a:gd name="connsiteY26" fmla="*/ 0 h 2209123"/>
              <a:gd name="connsiteX27" fmla="*/ 1171281 w 2427462"/>
              <a:gd name="connsiteY27" fmla="*/ 0 h 2209123"/>
              <a:gd name="connsiteX28" fmla="*/ 1171281 w 2427462"/>
              <a:gd name="connsiteY28" fmla="*/ 99117 h 2209123"/>
              <a:gd name="connsiteX29" fmla="*/ 958973 w 2427462"/>
              <a:gd name="connsiteY29" fmla="*/ 125110 h 2209123"/>
              <a:gd name="connsiteX30" fmla="*/ 958973 w 2427462"/>
              <a:gd name="connsiteY30" fmla="*/ 0 h 2209123"/>
              <a:gd name="connsiteX31" fmla="*/ 887170 w 2427462"/>
              <a:gd name="connsiteY31" fmla="*/ 0 h 2209123"/>
              <a:gd name="connsiteX32" fmla="*/ 887170 w 2427462"/>
              <a:gd name="connsiteY32" fmla="*/ 142974 h 2209123"/>
              <a:gd name="connsiteX33" fmla="*/ 817493 w 2427462"/>
              <a:gd name="connsiteY33" fmla="*/ 164745 h 2209123"/>
              <a:gd name="connsiteX34" fmla="*/ 817493 w 2427462"/>
              <a:gd name="connsiteY34" fmla="*/ 133956 h 2209123"/>
              <a:gd name="connsiteX35" fmla="*/ 745690 w 2427462"/>
              <a:gd name="connsiteY35" fmla="*/ 133956 h 2209123"/>
              <a:gd name="connsiteX36" fmla="*/ 745690 w 2427462"/>
              <a:gd name="connsiteY36" fmla="*/ 191944 h 2209123"/>
              <a:gd name="connsiteX37" fmla="*/ 687156 w 2427462"/>
              <a:gd name="connsiteY37" fmla="*/ 218253 h 2209123"/>
              <a:gd name="connsiteX38" fmla="*/ 687156 w 2427462"/>
              <a:gd name="connsiteY38" fmla="*/ 167560 h 2209123"/>
              <a:gd name="connsiteX39" fmla="*/ 615353 w 2427462"/>
              <a:gd name="connsiteY39" fmla="*/ 167560 h 2209123"/>
              <a:gd name="connsiteX40" fmla="*/ 615353 w 2427462"/>
              <a:gd name="connsiteY40" fmla="*/ 256337 h 2209123"/>
              <a:gd name="connsiteX41" fmla="*/ 544641 w 2427462"/>
              <a:gd name="connsiteY41" fmla="*/ 299706 h 2209123"/>
              <a:gd name="connsiteX42" fmla="*/ 544641 w 2427462"/>
              <a:gd name="connsiteY42" fmla="*/ 220206 h 2209123"/>
              <a:gd name="connsiteX43" fmla="*/ 472838 w 2427462"/>
              <a:gd name="connsiteY43" fmla="*/ 220206 h 2209123"/>
              <a:gd name="connsiteX44" fmla="*/ 472838 w 2427462"/>
              <a:gd name="connsiteY44" fmla="*/ 351261 h 2209123"/>
              <a:gd name="connsiteX45" fmla="*/ 377110 w 2427462"/>
              <a:gd name="connsiteY45" fmla="*/ 433547 h 2209123"/>
              <a:gd name="connsiteX46" fmla="*/ 377110 w 2427462"/>
              <a:gd name="connsiteY46" fmla="*/ 348906 h 2209123"/>
              <a:gd name="connsiteX47" fmla="*/ 305307 w 2427462"/>
              <a:gd name="connsiteY47" fmla="*/ 348906 h 2209123"/>
              <a:gd name="connsiteX48" fmla="*/ 305307 w 2427462"/>
              <a:gd name="connsiteY48" fmla="*/ 507906 h 2209123"/>
              <a:gd name="connsiteX49" fmla="*/ 223940 w 2427462"/>
              <a:gd name="connsiteY49" fmla="*/ 610441 h 2209123"/>
              <a:gd name="connsiteX50" fmla="*/ 223940 w 2427462"/>
              <a:gd name="connsiteY50" fmla="*/ 512186 h 2209123"/>
              <a:gd name="connsiteX51" fmla="*/ 152136 w 2427462"/>
              <a:gd name="connsiteY51" fmla="*/ 512186 h 2209123"/>
              <a:gd name="connsiteX52" fmla="*/ 152136 w 2427462"/>
              <a:gd name="connsiteY52" fmla="*/ 722741 h 2209123"/>
              <a:gd name="connsiteX53" fmla="*/ 152912 w 2427462"/>
              <a:gd name="connsiteY53" fmla="*/ 722741 h 2209123"/>
              <a:gd name="connsiteX54" fmla="*/ 0 w 2427462"/>
              <a:gd name="connsiteY54" fmla="*/ 1311527 h 2209123"/>
              <a:gd name="connsiteX55" fmla="*/ 37740 w 2427462"/>
              <a:gd name="connsiteY55" fmla="*/ 1347428 h 2209123"/>
              <a:gd name="connsiteX56" fmla="*/ 73440 w 2427462"/>
              <a:gd name="connsiteY56" fmla="*/ 1315375 h 2209123"/>
              <a:gd name="connsiteX57" fmla="*/ 429210 w 2427462"/>
              <a:gd name="connsiteY57" fmla="*/ 1039565 h 2209123"/>
              <a:gd name="connsiteX58" fmla="*/ 781246 w 2427462"/>
              <a:gd name="connsiteY58" fmla="*/ 1292657 h 2209123"/>
              <a:gd name="connsiteX59" fmla="*/ 816459 w 2427462"/>
              <a:gd name="connsiteY59" fmla="*/ 1321579 h 2209123"/>
              <a:gd name="connsiteX60" fmla="*/ 851671 w 2427462"/>
              <a:gd name="connsiteY60" fmla="*/ 1292657 h 2209123"/>
              <a:gd name="connsiteX61" fmla="*/ 1171281 w 2427462"/>
              <a:gd name="connsiteY61" fmla="*/ 1040800 h 2209123"/>
              <a:gd name="connsiteX62" fmla="*/ 1171281 w 2427462"/>
              <a:gd name="connsiteY62" fmla="*/ 1175158 h 2209123"/>
              <a:gd name="connsiteX63" fmla="*/ 1147414 w 2427462"/>
              <a:gd name="connsiteY63" fmla="*/ 1175158 h 2209123"/>
              <a:gd name="connsiteX64" fmla="*/ 1111512 w 2427462"/>
              <a:gd name="connsiteY64" fmla="*/ 1211060 h 2209123"/>
              <a:gd name="connsiteX65" fmla="*/ 1147414 w 2427462"/>
              <a:gd name="connsiteY65" fmla="*/ 1246961 h 2209123"/>
              <a:gd name="connsiteX66" fmla="*/ 1171281 w 2427462"/>
              <a:gd name="connsiteY66" fmla="*/ 1246961 h 2209123"/>
              <a:gd name="connsiteX67" fmla="*/ 1171281 w 2427462"/>
              <a:gd name="connsiteY67" fmla="*/ 2137320 h 2209123"/>
              <a:gd name="connsiteX68" fmla="*/ 1147414 w 2427462"/>
              <a:gd name="connsiteY68" fmla="*/ 2137320 h 2209123"/>
              <a:gd name="connsiteX69" fmla="*/ 1111512 w 2427462"/>
              <a:gd name="connsiteY69" fmla="*/ 2173221 h 2209123"/>
              <a:gd name="connsiteX70" fmla="*/ 1147414 w 2427462"/>
              <a:gd name="connsiteY70" fmla="*/ 2209123 h 2209123"/>
              <a:gd name="connsiteX71" fmla="*/ 1171281 w 2427462"/>
              <a:gd name="connsiteY71" fmla="*/ 2209123 h 2209123"/>
              <a:gd name="connsiteX72" fmla="*/ 1311814 w 2427462"/>
              <a:gd name="connsiteY72" fmla="*/ 2173250 h 2209123"/>
              <a:gd name="connsiteX73" fmla="*/ 1275912 w 2427462"/>
              <a:gd name="connsiteY73" fmla="*/ 2137349 h 2209123"/>
              <a:gd name="connsiteX74" fmla="*/ 1243084 w 2427462"/>
              <a:gd name="connsiteY74" fmla="*/ 2137349 h 2209123"/>
              <a:gd name="connsiteX75" fmla="*/ 1243084 w 2427462"/>
              <a:gd name="connsiteY75" fmla="*/ 1246990 h 2209123"/>
              <a:gd name="connsiteX76" fmla="*/ 1275912 w 2427462"/>
              <a:gd name="connsiteY76" fmla="*/ 1246990 h 2209123"/>
              <a:gd name="connsiteX77" fmla="*/ 1311814 w 2427462"/>
              <a:gd name="connsiteY77" fmla="*/ 1211089 h 2209123"/>
              <a:gd name="connsiteX78" fmla="*/ 1275912 w 2427462"/>
              <a:gd name="connsiteY78" fmla="*/ 1175187 h 2209123"/>
              <a:gd name="connsiteX79" fmla="*/ 1243084 w 2427462"/>
              <a:gd name="connsiteY79" fmla="*/ 1175187 h 2209123"/>
              <a:gd name="connsiteX80" fmla="*/ 1243084 w 2427462"/>
              <a:gd name="connsiteY80" fmla="*/ 1041576 h 2209123"/>
              <a:gd name="connsiteX81" fmla="*/ 1559449 w 2427462"/>
              <a:gd name="connsiteY81" fmla="*/ 1315404 h 2209123"/>
              <a:gd name="connsiteX82" fmla="*/ 1595149 w 2427462"/>
              <a:gd name="connsiteY82" fmla="*/ 1347457 h 2209123"/>
              <a:gd name="connsiteX83" fmla="*/ 1606207 w 2427462"/>
              <a:gd name="connsiteY83" fmla="*/ 1347457 h 2209123"/>
              <a:gd name="connsiteX84" fmla="*/ 1641907 w 2427462"/>
              <a:gd name="connsiteY84" fmla="*/ 1315404 h 2209123"/>
              <a:gd name="connsiteX85" fmla="*/ 1997706 w 2427462"/>
              <a:gd name="connsiteY85" fmla="*/ 1039594 h 2209123"/>
              <a:gd name="connsiteX86" fmla="*/ 2353447 w 2427462"/>
              <a:gd name="connsiteY86" fmla="*/ 1315404 h 2209123"/>
              <a:gd name="connsiteX87" fmla="*/ 2389148 w 2427462"/>
              <a:gd name="connsiteY87" fmla="*/ 1347457 h 2209123"/>
              <a:gd name="connsiteX88" fmla="*/ 2390986 w 2427462"/>
              <a:gd name="connsiteY88" fmla="*/ 1347457 h 2209123"/>
              <a:gd name="connsiteX89" fmla="*/ 2391560 w 2427462"/>
              <a:gd name="connsiteY89" fmla="*/ 1347457 h 2209123"/>
              <a:gd name="connsiteX90" fmla="*/ 2427462 w 2427462"/>
              <a:gd name="connsiteY90" fmla="*/ 1311556 h 2209123"/>
              <a:gd name="connsiteX91" fmla="*/ 2426859 w 2427462"/>
              <a:gd name="connsiteY91" fmla="*/ 1305036 h 2209123"/>
              <a:gd name="connsiteX92" fmla="*/ 88978 w 2427462"/>
              <a:gd name="connsiteY92" fmla="*/ 1113465 h 2209123"/>
              <a:gd name="connsiteX93" fmla="*/ 920889 w 2427462"/>
              <a:gd name="connsiteY93" fmla="*/ 208057 h 2209123"/>
              <a:gd name="connsiteX94" fmla="*/ 393050 w 2427462"/>
              <a:gd name="connsiteY94" fmla="*/ 969629 h 2209123"/>
              <a:gd name="connsiteX95" fmla="*/ 88978 w 2427462"/>
              <a:gd name="connsiteY95" fmla="*/ 1113465 h 2209123"/>
              <a:gd name="connsiteX96" fmla="*/ 467237 w 2427462"/>
              <a:gd name="connsiteY96" fmla="*/ 969399 h 2209123"/>
              <a:gd name="connsiteX97" fmla="*/ 1122800 w 2427462"/>
              <a:gd name="connsiteY97" fmla="*/ 201077 h 2209123"/>
              <a:gd name="connsiteX98" fmla="*/ 790409 w 2427462"/>
              <a:gd name="connsiteY98" fmla="*/ 1140635 h 2209123"/>
              <a:gd name="connsiteX99" fmla="*/ 467237 w 2427462"/>
              <a:gd name="connsiteY99" fmla="*/ 969399 h 2209123"/>
              <a:gd name="connsiteX100" fmla="*/ 863217 w 2427462"/>
              <a:gd name="connsiteY100" fmla="*/ 1114556 h 2209123"/>
              <a:gd name="connsiteX101" fmla="*/ 1171281 w 2427462"/>
              <a:gd name="connsiteY101" fmla="*/ 255418 h 2209123"/>
              <a:gd name="connsiteX102" fmla="*/ 1171281 w 2427462"/>
              <a:gd name="connsiteY102" fmla="*/ 968882 h 2209123"/>
              <a:gd name="connsiteX103" fmla="*/ 863217 w 2427462"/>
              <a:gd name="connsiteY103" fmla="*/ 1114556 h 2209123"/>
              <a:gd name="connsiteX104" fmla="*/ 1243084 w 2427462"/>
              <a:gd name="connsiteY104" fmla="*/ 969514 h 2209123"/>
              <a:gd name="connsiteX105" fmla="*/ 1243084 w 2427462"/>
              <a:gd name="connsiteY105" fmla="*/ 244849 h 2209123"/>
              <a:gd name="connsiteX106" fmla="*/ 1560368 w 2427462"/>
              <a:gd name="connsiteY106" fmla="*/ 1133886 h 2209123"/>
              <a:gd name="connsiteX107" fmla="*/ 1243084 w 2427462"/>
              <a:gd name="connsiteY107" fmla="*/ 969514 h 2209123"/>
              <a:gd name="connsiteX108" fmla="*/ 1632659 w 2427462"/>
              <a:gd name="connsiteY108" fmla="*/ 1145173 h 2209123"/>
              <a:gd name="connsiteX109" fmla="*/ 1300096 w 2427462"/>
              <a:gd name="connsiteY109" fmla="*/ 201077 h 2209123"/>
              <a:gd name="connsiteX110" fmla="*/ 1955744 w 2427462"/>
              <a:gd name="connsiteY110" fmla="*/ 969773 h 2209123"/>
              <a:gd name="connsiteX111" fmla="*/ 1632659 w 2427462"/>
              <a:gd name="connsiteY111" fmla="*/ 1145173 h 2209123"/>
              <a:gd name="connsiteX112" fmla="*/ 2029759 w 2427462"/>
              <a:gd name="connsiteY112" fmla="*/ 969428 h 2209123"/>
              <a:gd name="connsiteX113" fmla="*/ 1498789 w 2427462"/>
              <a:gd name="connsiteY113" fmla="*/ 206247 h 2209123"/>
              <a:gd name="connsiteX114" fmla="*/ 2337909 w 2427462"/>
              <a:gd name="connsiteY114" fmla="*/ 1113465 h 2209123"/>
              <a:gd name="connsiteX115" fmla="*/ 2029759 w 2427462"/>
              <a:gd name="connsiteY115" fmla="*/ 969428 h 2209123"/>
              <a:gd name="connsiteX0" fmla="*/ 2426859 w 2427462"/>
              <a:gd name="connsiteY0" fmla="*/ 1305036 h 2209123"/>
              <a:gd name="connsiteX1" fmla="*/ 2275440 w 2427462"/>
              <a:gd name="connsiteY1" fmla="*/ 725154 h 2209123"/>
              <a:gd name="connsiteX2" fmla="*/ 2275440 w 2427462"/>
              <a:gd name="connsiteY2" fmla="*/ 516753 h 2209123"/>
              <a:gd name="connsiteX3" fmla="*/ 2203637 w 2427462"/>
              <a:gd name="connsiteY3" fmla="*/ 516753 h 2209123"/>
              <a:gd name="connsiteX4" fmla="*/ 2203637 w 2427462"/>
              <a:gd name="connsiteY4" fmla="*/ 611418 h 2209123"/>
              <a:gd name="connsiteX5" fmla="*/ 2122988 w 2427462"/>
              <a:gd name="connsiteY5" fmla="*/ 509601 h 2209123"/>
              <a:gd name="connsiteX6" fmla="*/ 2122988 w 2427462"/>
              <a:gd name="connsiteY6" fmla="*/ 353444 h 2209123"/>
              <a:gd name="connsiteX7" fmla="*/ 2051185 w 2427462"/>
              <a:gd name="connsiteY7" fmla="*/ 353444 h 2209123"/>
              <a:gd name="connsiteX8" fmla="*/ 2051185 w 2427462"/>
              <a:gd name="connsiteY8" fmla="*/ 434897 h 2209123"/>
              <a:gd name="connsiteX9" fmla="*/ 1956204 w 2427462"/>
              <a:gd name="connsiteY9" fmla="*/ 352984 h 2209123"/>
              <a:gd name="connsiteX10" fmla="*/ 1956204 w 2427462"/>
              <a:gd name="connsiteY10" fmla="*/ 224715 h 2209123"/>
              <a:gd name="connsiteX11" fmla="*/ 1884401 w 2427462"/>
              <a:gd name="connsiteY11" fmla="*/ 224715 h 2209123"/>
              <a:gd name="connsiteX12" fmla="*/ 1884401 w 2427462"/>
              <a:gd name="connsiteY12" fmla="*/ 301027 h 2209123"/>
              <a:gd name="connsiteX13" fmla="*/ 1814350 w 2427462"/>
              <a:gd name="connsiteY13" fmla="*/ 257945 h 2209123"/>
              <a:gd name="connsiteX14" fmla="*/ 1814350 w 2427462"/>
              <a:gd name="connsiteY14" fmla="*/ 172040 h 2209123"/>
              <a:gd name="connsiteX15" fmla="*/ 1742546 w 2427462"/>
              <a:gd name="connsiteY15" fmla="*/ 172040 h 2209123"/>
              <a:gd name="connsiteX16" fmla="*/ 1742546 w 2427462"/>
              <a:gd name="connsiteY16" fmla="*/ 219717 h 2209123"/>
              <a:gd name="connsiteX17" fmla="*/ 1684616 w 2427462"/>
              <a:gd name="connsiteY17" fmla="*/ 193294 h 2209123"/>
              <a:gd name="connsiteX18" fmla="*/ 1684616 w 2427462"/>
              <a:gd name="connsiteY18" fmla="*/ 138465 h 2209123"/>
              <a:gd name="connsiteX19" fmla="*/ 1612813 w 2427462"/>
              <a:gd name="connsiteY19" fmla="*/ 138465 h 2209123"/>
              <a:gd name="connsiteX20" fmla="*/ 1612813 w 2427462"/>
              <a:gd name="connsiteY20" fmla="*/ 165894 h 2209123"/>
              <a:gd name="connsiteX21" fmla="*/ 1543795 w 2427462"/>
              <a:gd name="connsiteY21" fmla="*/ 144152 h 2209123"/>
              <a:gd name="connsiteX22" fmla="*/ 1543795 w 2427462"/>
              <a:gd name="connsiteY22" fmla="*/ 4509 h 2209123"/>
              <a:gd name="connsiteX23" fmla="*/ 1471992 w 2427462"/>
              <a:gd name="connsiteY23" fmla="*/ 4509 h 2209123"/>
              <a:gd name="connsiteX24" fmla="*/ 1471992 w 2427462"/>
              <a:gd name="connsiteY24" fmla="*/ 126058 h 2209123"/>
              <a:gd name="connsiteX25" fmla="*/ 1243084 w 2427462"/>
              <a:gd name="connsiteY25" fmla="*/ 98801 h 2209123"/>
              <a:gd name="connsiteX26" fmla="*/ 1243084 w 2427462"/>
              <a:gd name="connsiteY26" fmla="*/ 0 h 2209123"/>
              <a:gd name="connsiteX27" fmla="*/ 1171281 w 2427462"/>
              <a:gd name="connsiteY27" fmla="*/ 0 h 2209123"/>
              <a:gd name="connsiteX28" fmla="*/ 1171281 w 2427462"/>
              <a:gd name="connsiteY28" fmla="*/ 99117 h 2209123"/>
              <a:gd name="connsiteX29" fmla="*/ 958973 w 2427462"/>
              <a:gd name="connsiteY29" fmla="*/ 125110 h 2209123"/>
              <a:gd name="connsiteX30" fmla="*/ 958973 w 2427462"/>
              <a:gd name="connsiteY30" fmla="*/ 0 h 2209123"/>
              <a:gd name="connsiteX31" fmla="*/ 887170 w 2427462"/>
              <a:gd name="connsiteY31" fmla="*/ 0 h 2209123"/>
              <a:gd name="connsiteX32" fmla="*/ 887170 w 2427462"/>
              <a:gd name="connsiteY32" fmla="*/ 142974 h 2209123"/>
              <a:gd name="connsiteX33" fmla="*/ 817493 w 2427462"/>
              <a:gd name="connsiteY33" fmla="*/ 164745 h 2209123"/>
              <a:gd name="connsiteX34" fmla="*/ 817493 w 2427462"/>
              <a:gd name="connsiteY34" fmla="*/ 133956 h 2209123"/>
              <a:gd name="connsiteX35" fmla="*/ 745690 w 2427462"/>
              <a:gd name="connsiteY35" fmla="*/ 133956 h 2209123"/>
              <a:gd name="connsiteX36" fmla="*/ 745690 w 2427462"/>
              <a:gd name="connsiteY36" fmla="*/ 191944 h 2209123"/>
              <a:gd name="connsiteX37" fmla="*/ 687156 w 2427462"/>
              <a:gd name="connsiteY37" fmla="*/ 218253 h 2209123"/>
              <a:gd name="connsiteX38" fmla="*/ 687156 w 2427462"/>
              <a:gd name="connsiteY38" fmla="*/ 167560 h 2209123"/>
              <a:gd name="connsiteX39" fmla="*/ 615353 w 2427462"/>
              <a:gd name="connsiteY39" fmla="*/ 167560 h 2209123"/>
              <a:gd name="connsiteX40" fmla="*/ 615353 w 2427462"/>
              <a:gd name="connsiteY40" fmla="*/ 256337 h 2209123"/>
              <a:gd name="connsiteX41" fmla="*/ 544641 w 2427462"/>
              <a:gd name="connsiteY41" fmla="*/ 299706 h 2209123"/>
              <a:gd name="connsiteX42" fmla="*/ 544641 w 2427462"/>
              <a:gd name="connsiteY42" fmla="*/ 220206 h 2209123"/>
              <a:gd name="connsiteX43" fmla="*/ 472838 w 2427462"/>
              <a:gd name="connsiteY43" fmla="*/ 220206 h 2209123"/>
              <a:gd name="connsiteX44" fmla="*/ 472838 w 2427462"/>
              <a:gd name="connsiteY44" fmla="*/ 351261 h 2209123"/>
              <a:gd name="connsiteX45" fmla="*/ 377110 w 2427462"/>
              <a:gd name="connsiteY45" fmla="*/ 433547 h 2209123"/>
              <a:gd name="connsiteX46" fmla="*/ 377110 w 2427462"/>
              <a:gd name="connsiteY46" fmla="*/ 348906 h 2209123"/>
              <a:gd name="connsiteX47" fmla="*/ 305307 w 2427462"/>
              <a:gd name="connsiteY47" fmla="*/ 348906 h 2209123"/>
              <a:gd name="connsiteX48" fmla="*/ 305307 w 2427462"/>
              <a:gd name="connsiteY48" fmla="*/ 507906 h 2209123"/>
              <a:gd name="connsiteX49" fmla="*/ 223940 w 2427462"/>
              <a:gd name="connsiteY49" fmla="*/ 610441 h 2209123"/>
              <a:gd name="connsiteX50" fmla="*/ 223940 w 2427462"/>
              <a:gd name="connsiteY50" fmla="*/ 512186 h 2209123"/>
              <a:gd name="connsiteX51" fmla="*/ 152136 w 2427462"/>
              <a:gd name="connsiteY51" fmla="*/ 512186 h 2209123"/>
              <a:gd name="connsiteX52" fmla="*/ 152136 w 2427462"/>
              <a:gd name="connsiteY52" fmla="*/ 722741 h 2209123"/>
              <a:gd name="connsiteX53" fmla="*/ 152912 w 2427462"/>
              <a:gd name="connsiteY53" fmla="*/ 722741 h 2209123"/>
              <a:gd name="connsiteX54" fmla="*/ 0 w 2427462"/>
              <a:gd name="connsiteY54" fmla="*/ 1311527 h 2209123"/>
              <a:gd name="connsiteX55" fmla="*/ 37740 w 2427462"/>
              <a:gd name="connsiteY55" fmla="*/ 1347428 h 2209123"/>
              <a:gd name="connsiteX56" fmla="*/ 73440 w 2427462"/>
              <a:gd name="connsiteY56" fmla="*/ 1315375 h 2209123"/>
              <a:gd name="connsiteX57" fmla="*/ 429210 w 2427462"/>
              <a:gd name="connsiteY57" fmla="*/ 1039565 h 2209123"/>
              <a:gd name="connsiteX58" fmla="*/ 781246 w 2427462"/>
              <a:gd name="connsiteY58" fmla="*/ 1292657 h 2209123"/>
              <a:gd name="connsiteX59" fmla="*/ 816459 w 2427462"/>
              <a:gd name="connsiteY59" fmla="*/ 1321579 h 2209123"/>
              <a:gd name="connsiteX60" fmla="*/ 851671 w 2427462"/>
              <a:gd name="connsiteY60" fmla="*/ 1292657 h 2209123"/>
              <a:gd name="connsiteX61" fmla="*/ 1171281 w 2427462"/>
              <a:gd name="connsiteY61" fmla="*/ 1040800 h 2209123"/>
              <a:gd name="connsiteX62" fmla="*/ 1171281 w 2427462"/>
              <a:gd name="connsiteY62" fmla="*/ 1175158 h 2209123"/>
              <a:gd name="connsiteX63" fmla="*/ 1147414 w 2427462"/>
              <a:gd name="connsiteY63" fmla="*/ 1175158 h 2209123"/>
              <a:gd name="connsiteX64" fmla="*/ 1111512 w 2427462"/>
              <a:gd name="connsiteY64" fmla="*/ 1211060 h 2209123"/>
              <a:gd name="connsiteX65" fmla="*/ 1147414 w 2427462"/>
              <a:gd name="connsiteY65" fmla="*/ 1246961 h 2209123"/>
              <a:gd name="connsiteX66" fmla="*/ 1171281 w 2427462"/>
              <a:gd name="connsiteY66" fmla="*/ 1246961 h 2209123"/>
              <a:gd name="connsiteX67" fmla="*/ 1171281 w 2427462"/>
              <a:gd name="connsiteY67" fmla="*/ 2137320 h 2209123"/>
              <a:gd name="connsiteX68" fmla="*/ 1147414 w 2427462"/>
              <a:gd name="connsiteY68" fmla="*/ 2137320 h 2209123"/>
              <a:gd name="connsiteX69" fmla="*/ 1111512 w 2427462"/>
              <a:gd name="connsiteY69" fmla="*/ 2173221 h 2209123"/>
              <a:gd name="connsiteX70" fmla="*/ 1147414 w 2427462"/>
              <a:gd name="connsiteY70" fmla="*/ 2209123 h 2209123"/>
              <a:gd name="connsiteX71" fmla="*/ 1311814 w 2427462"/>
              <a:gd name="connsiteY71" fmla="*/ 2173250 h 2209123"/>
              <a:gd name="connsiteX72" fmla="*/ 1275912 w 2427462"/>
              <a:gd name="connsiteY72" fmla="*/ 2137349 h 2209123"/>
              <a:gd name="connsiteX73" fmla="*/ 1243084 w 2427462"/>
              <a:gd name="connsiteY73" fmla="*/ 2137349 h 2209123"/>
              <a:gd name="connsiteX74" fmla="*/ 1243084 w 2427462"/>
              <a:gd name="connsiteY74" fmla="*/ 1246990 h 2209123"/>
              <a:gd name="connsiteX75" fmla="*/ 1275912 w 2427462"/>
              <a:gd name="connsiteY75" fmla="*/ 1246990 h 2209123"/>
              <a:gd name="connsiteX76" fmla="*/ 1311814 w 2427462"/>
              <a:gd name="connsiteY76" fmla="*/ 1211089 h 2209123"/>
              <a:gd name="connsiteX77" fmla="*/ 1275912 w 2427462"/>
              <a:gd name="connsiteY77" fmla="*/ 1175187 h 2209123"/>
              <a:gd name="connsiteX78" fmla="*/ 1243084 w 2427462"/>
              <a:gd name="connsiteY78" fmla="*/ 1175187 h 2209123"/>
              <a:gd name="connsiteX79" fmla="*/ 1243084 w 2427462"/>
              <a:gd name="connsiteY79" fmla="*/ 1041576 h 2209123"/>
              <a:gd name="connsiteX80" fmla="*/ 1559449 w 2427462"/>
              <a:gd name="connsiteY80" fmla="*/ 1315404 h 2209123"/>
              <a:gd name="connsiteX81" fmla="*/ 1595149 w 2427462"/>
              <a:gd name="connsiteY81" fmla="*/ 1347457 h 2209123"/>
              <a:gd name="connsiteX82" fmla="*/ 1606207 w 2427462"/>
              <a:gd name="connsiteY82" fmla="*/ 1347457 h 2209123"/>
              <a:gd name="connsiteX83" fmla="*/ 1641907 w 2427462"/>
              <a:gd name="connsiteY83" fmla="*/ 1315404 h 2209123"/>
              <a:gd name="connsiteX84" fmla="*/ 1997706 w 2427462"/>
              <a:gd name="connsiteY84" fmla="*/ 1039594 h 2209123"/>
              <a:gd name="connsiteX85" fmla="*/ 2353447 w 2427462"/>
              <a:gd name="connsiteY85" fmla="*/ 1315404 h 2209123"/>
              <a:gd name="connsiteX86" fmla="*/ 2389148 w 2427462"/>
              <a:gd name="connsiteY86" fmla="*/ 1347457 h 2209123"/>
              <a:gd name="connsiteX87" fmla="*/ 2390986 w 2427462"/>
              <a:gd name="connsiteY87" fmla="*/ 1347457 h 2209123"/>
              <a:gd name="connsiteX88" fmla="*/ 2391560 w 2427462"/>
              <a:gd name="connsiteY88" fmla="*/ 1347457 h 2209123"/>
              <a:gd name="connsiteX89" fmla="*/ 2427462 w 2427462"/>
              <a:gd name="connsiteY89" fmla="*/ 1311556 h 2209123"/>
              <a:gd name="connsiteX90" fmla="*/ 2426859 w 2427462"/>
              <a:gd name="connsiteY90" fmla="*/ 1305036 h 2209123"/>
              <a:gd name="connsiteX91" fmla="*/ 88978 w 2427462"/>
              <a:gd name="connsiteY91" fmla="*/ 1113465 h 2209123"/>
              <a:gd name="connsiteX92" fmla="*/ 920889 w 2427462"/>
              <a:gd name="connsiteY92" fmla="*/ 208057 h 2209123"/>
              <a:gd name="connsiteX93" fmla="*/ 393050 w 2427462"/>
              <a:gd name="connsiteY93" fmla="*/ 969629 h 2209123"/>
              <a:gd name="connsiteX94" fmla="*/ 88978 w 2427462"/>
              <a:gd name="connsiteY94" fmla="*/ 1113465 h 2209123"/>
              <a:gd name="connsiteX95" fmla="*/ 467237 w 2427462"/>
              <a:gd name="connsiteY95" fmla="*/ 969399 h 2209123"/>
              <a:gd name="connsiteX96" fmla="*/ 1122800 w 2427462"/>
              <a:gd name="connsiteY96" fmla="*/ 201077 h 2209123"/>
              <a:gd name="connsiteX97" fmla="*/ 790409 w 2427462"/>
              <a:gd name="connsiteY97" fmla="*/ 1140635 h 2209123"/>
              <a:gd name="connsiteX98" fmla="*/ 467237 w 2427462"/>
              <a:gd name="connsiteY98" fmla="*/ 969399 h 2209123"/>
              <a:gd name="connsiteX99" fmla="*/ 863217 w 2427462"/>
              <a:gd name="connsiteY99" fmla="*/ 1114556 h 2209123"/>
              <a:gd name="connsiteX100" fmla="*/ 1171281 w 2427462"/>
              <a:gd name="connsiteY100" fmla="*/ 255418 h 2209123"/>
              <a:gd name="connsiteX101" fmla="*/ 1171281 w 2427462"/>
              <a:gd name="connsiteY101" fmla="*/ 968882 h 2209123"/>
              <a:gd name="connsiteX102" fmla="*/ 863217 w 2427462"/>
              <a:gd name="connsiteY102" fmla="*/ 1114556 h 2209123"/>
              <a:gd name="connsiteX103" fmla="*/ 1243084 w 2427462"/>
              <a:gd name="connsiteY103" fmla="*/ 969514 h 2209123"/>
              <a:gd name="connsiteX104" fmla="*/ 1243084 w 2427462"/>
              <a:gd name="connsiteY104" fmla="*/ 244849 h 2209123"/>
              <a:gd name="connsiteX105" fmla="*/ 1560368 w 2427462"/>
              <a:gd name="connsiteY105" fmla="*/ 1133886 h 2209123"/>
              <a:gd name="connsiteX106" fmla="*/ 1243084 w 2427462"/>
              <a:gd name="connsiteY106" fmla="*/ 969514 h 2209123"/>
              <a:gd name="connsiteX107" fmla="*/ 1632659 w 2427462"/>
              <a:gd name="connsiteY107" fmla="*/ 1145173 h 2209123"/>
              <a:gd name="connsiteX108" fmla="*/ 1300096 w 2427462"/>
              <a:gd name="connsiteY108" fmla="*/ 201077 h 2209123"/>
              <a:gd name="connsiteX109" fmla="*/ 1955744 w 2427462"/>
              <a:gd name="connsiteY109" fmla="*/ 969773 h 2209123"/>
              <a:gd name="connsiteX110" fmla="*/ 1632659 w 2427462"/>
              <a:gd name="connsiteY110" fmla="*/ 1145173 h 2209123"/>
              <a:gd name="connsiteX111" fmla="*/ 2029759 w 2427462"/>
              <a:gd name="connsiteY111" fmla="*/ 969428 h 2209123"/>
              <a:gd name="connsiteX112" fmla="*/ 1498789 w 2427462"/>
              <a:gd name="connsiteY112" fmla="*/ 206247 h 2209123"/>
              <a:gd name="connsiteX113" fmla="*/ 2337909 w 2427462"/>
              <a:gd name="connsiteY113" fmla="*/ 1113465 h 2209123"/>
              <a:gd name="connsiteX114" fmla="*/ 2029759 w 2427462"/>
              <a:gd name="connsiteY114" fmla="*/ 969428 h 2209123"/>
              <a:gd name="connsiteX0" fmla="*/ 2426859 w 2427462"/>
              <a:gd name="connsiteY0" fmla="*/ 1305036 h 2177723"/>
              <a:gd name="connsiteX1" fmla="*/ 2275440 w 2427462"/>
              <a:gd name="connsiteY1" fmla="*/ 725154 h 2177723"/>
              <a:gd name="connsiteX2" fmla="*/ 2275440 w 2427462"/>
              <a:gd name="connsiteY2" fmla="*/ 516753 h 2177723"/>
              <a:gd name="connsiteX3" fmla="*/ 2203637 w 2427462"/>
              <a:gd name="connsiteY3" fmla="*/ 516753 h 2177723"/>
              <a:gd name="connsiteX4" fmla="*/ 2203637 w 2427462"/>
              <a:gd name="connsiteY4" fmla="*/ 611418 h 2177723"/>
              <a:gd name="connsiteX5" fmla="*/ 2122988 w 2427462"/>
              <a:gd name="connsiteY5" fmla="*/ 509601 h 2177723"/>
              <a:gd name="connsiteX6" fmla="*/ 2122988 w 2427462"/>
              <a:gd name="connsiteY6" fmla="*/ 353444 h 2177723"/>
              <a:gd name="connsiteX7" fmla="*/ 2051185 w 2427462"/>
              <a:gd name="connsiteY7" fmla="*/ 353444 h 2177723"/>
              <a:gd name="connsiteX8" fmla="*/ 2051185 w 2427462"/>
              <a:gd name="connsiteY8" fmla="*/ 434897 h 2177723"/>
              <a:gd name="connsiteX9" fmla="*/ 1956204 w 2427462"/>
              <a:gd name="connsiteY9" fmla="*/ 352984 h 2177723"/>
              <a:gd name="connsiteX10" fmla="*/ 1956204 w 2427462"/>
              <a:gd name="connsiteY10" fmla="*/ 224715 h 2177723"/>
              <a:gd name="connsiteX11" fmla="*/ 1884401 w 2427462"/>
              <a:gd name="connsiteY11" fmla="*/ 224715 h 2177723"/>
              <a:gd name="connsiteX12" fmla="*/ 1884401 w 2427462"/>
              <a:gd name="connsiteY12" fmla="*/ 301027 h 2177723"/>
              <a:gd name="connsiteX13" fmla="*/ 1814350 w 2427462"/>
              <a:gd name="connsiteY13" fmla="*/ 257945 h 2177723"/>
              <a:gd name="connsiteX14" fmla="*/ 1814350 w 2427462"/>
              <a:gd name="connsiteY14" fmla="*/ 172040 h 2177723"/>
              <a:gd name="connsiteX15" fmla="*/ 1742546 w 2427462"/>
              <a:gd name="connsiteY15" fmla="*/ 172040 h 2177723"/>
              <a:gd name="connsiteX16" fmla="*/ 1742546 w 2427462"/>
              <a:gd name="connsiteY16" fmla="*/ 219717 h 2177723"/>
              <a:gd name="connsiteX17" fmla="*/ 1684616 w 2427462"/>
              <a:gd name="connsiteY17" fmla="*/ 193294 h 2177723"/>
              <a:gd name="connsiteX18" fmla="*/ 1684616 w 2427462"/>
              <a:gd name="connsiteY18" fmla="*/ 138465 h 2177723"/>
              <a:gd name="connsiteX19" fmla="*/ 1612813 w 2427462"/>
              <a:gd name="connsiteY19" fmla="*/ 138465 h 2177723"/>
              <a:gd name="connsiteX20" fmla="*/ 1612813 w 2427462"/>
              <a:gd name="connsiteY20" fmla="*/ 165894 h 2177723"/>
              <a:gd name="connsiteX21" fmla="*/ 1543795 w 2427462"/>
              <a:gd name="connsiteY21" fmla="*/ 144152 h 2177723"/>
              <a:gd name="connsiteX22" fmla="*/ 1543795 w 2427462"/>
              <a:gd name="connsiteY22" fmla="*/ 4509 h 2177723"/>
              <a:gd name="connsiteX23" fmla="*/ 1471992 w 2427462"/>
              <a:gd name="connsiteY23" fmla="*/ 4509 h 2177723"/>
              <a:gd name="connsiteX24" fmla="*/ 1471992 w 2427462"/>
              <a:gd name="connsiteY24" fmla="*/ 126058 h 2177723"/>
              <a:gd name="connsiteX25" fmla="*/ 1243084 w 2427462"/>
              <a:gd name="connsiteY25" fmla="*/ 98801 h 2177723"/>
              <a:gd name="connsiteX26" fmla="*/ 1243084 w 2427462"/>
              <a:gd name="connsiteY26" fmla="*/ 0 h 2177723"/>
              <a:gd name="connsiteX27" fmla="*/ 1171281 w 2427462"/>
              <a:gd name="connsiteY27" fmla="*/ 0 h 2177723"/>
              <a:gd name="connsiteX28" fmla="*/ 1171281 w 2427462"/>
              <a:gd name="connsiteY28" fmla="*/ 99117 h 2177723"/>
              <a:gd name="connsiteX29" fmla="*/ 958973 w 2427462"/>
              <a:gd name="connsiteY29" fmla="*/ 125110 h 2177723"/>
              <a:gd name="connsiteX30" fmla="*/ 958973 w 2427462"/>
              <a:gd name="connsiteY30" fmla="*/ 0 h 2177723"/>
              <a:gd name="connsiteX31" fmla="*/ 887170 w 2427462"/>
              <a:gd name="connsiteY31" fmla="*/ 0 h 2177723"/>
              <a:gd name="connsiteX32" fmla="*/ 887170 w 2427462"/>
              <a:gd name="connsiteY32" fmla="*/ 142974 h 2177723"/>
              <a:gd name="connsiteX33" fmla="*/ 817493 w 2427462"/>
              <a:gd name="connsiteY33" fmla="*/ 164745 h 2177723"/>
              <a:gd name="connsiteX34" fmla="*/ 817493 w 2427462"/>
              <a:gd name="connsiteY34" fmla="*/ 133956 h 2177723"/>
              <a:gd name="connsiteX35" fmla="*/ 745690 w 2427462"/>
              <a:gd name="connsiteY35" fmla="*/ 133956 h 2177723"/>
              <a:gd name="connsiteX36" fmla="*/ 745690 w 2427462"/>
              <a:gd name="connsiteY36" fmla="*/ 191944 h 2177723"/>
              <a:gd name="connsiteX37" fmla="*/ 687156 w 2427462"/>
              <a:gd name="connsiteY37" fmla="*/ 218253 h 2177723"/>
              <a:gd name="connsiteX38" fmla="*/ 687156 w 2427462"/>
              <a:gd name="connsiteY38" fmla="*/ 167560 h 2177723"/>
              <a:gd name="connsiteX39" fmla="*/ 615353 w 2427462"/>
              <a:gd name="connsiteY39" fmla="*/ 167560 h 2177723"/>
              <a:gd name="connsiteX40" fmla="*/ 615353 w 2427462"/>
              <a:gd name="connsiteY40" fmla="*/ 256337 h 2177723"/>
              <a:gd name="connsiteX41" fmla="*/ 544641 w 2427462"/>
              <a:gd name="connsiteY41" fmla="*/ 299706 h 2177723"/>
              <a:gd name="connsiteX42" fmla="*/ 544641 w 2427462"/>
              <a:gd name="connsiteY42" fmla="*/ 220206 h 2177723"/>
              <a:gd name="connsiteX43" fmla="*/ 472838 w 2427462"/>
              <a:gd name="connsiteY43" fmla="*/ 220206 h 2177723"/>
              <a:gd name="connsiteX44" fmla="*/ 472838 w 2427462"/>
              <a:gd name="connsiteY44" fmla="*/ 351261 h 2177723"/>
              <a:gd name="connsiteX45" fmla="*/ 377110 w 2427462"/>
              <a:gd name="connsiteY45" fmla="*/ 433547 h 2177723"/>
              <a:gd name="connsiteX46" fmla="*/ 377110 w 2427462"/>
              <a:gd name="connsiteY46" fmla="*/ 348906 h 2177723"/>
              <a:gd name="connsiteX47" fmla="*/ 305307 w 2427462"/>
              <a:gd name="connsiteY47" fmla="*/ 348906 h 2177723"/>
              <a:gd name="connsiteX48" fmla="*/ 305307 w 2427462"/>
              <a:gd name="connsiteY48" fmla="*/ 507906 h 2177723"/>
              <a:gd name="connsiteX49" fmla="*/ 223940 w 2427462"/>
              <a:gd name="connsiteY49" fmla="*/ 610441 h 2177723"/>
              <a:gd name="connsiteX50" fmla="*/ 223940 w 2427462"/>
              <a:gd name="connsiteY50" fmla="*/ 512186 h 2177723"/>
              <a:gd name="connsiteX51" fmla="*/ 152136 w 2427462"/>
              <a:gd name="connsiteY51" fmla="*/ 512186 h 2177723"/>
              <a:gd name="connsiteX52" fmla="*/ 152136 w 2427462"/>
              <a:gd name="connsiteY52" fmla="*/ 722741 h 2177723"/>
              <a:gd name="connsiteX53" fmla="*/ 152912 w 2427462"/>
              <a:gd name="connsiteY53" fmla="*/ 722741 h 2177723"/>
              <a:gd name="connsiteX54" fmla="*/ 0 w 2427462"/>
              <a:gd name="connsiteY54" fmla="*/ 1311527 h 2177723"/>
              <a:gd name="connsiteX55" fmla="*/ 37740 w 2427462"/>
              <a:gd name="connsiteY55" fmla="*/ 1347428 h 2177723"/>
              <a:gd name="connsiteX56" fmla="*/ 73440 w 2427462"/>
              <a:gd name="connsiteY56" fmla="*/ 1315375 h 2177723"/>
              <a:gd name="connsiteX57" fmla="*/ 429210 w 2427462"/>
              <a:gd name="connsiteY57" fmla="*/ 1039565 h 2177723"/>
              <a:gd name="connsiteX58" fmla="*/ 781246 w 2427462"/>
              <a:gd name="connsiteY58" fmla="*/ 1292657 h 2177723"/>
              <a:gd name="connsiteX59" fmla="*/ 816459 w 2427462"/>
              <a:gd name="connsiteY59" fmla="*/ 1321579 h 2177723"/>
              <a:gd name="connsiteX60" fmla="*/ 851671 w 2427462"/>
              <a:gd name="connsiteY60" fmla="*/ 1292657 h 2177723"/>
              <a:gd name="connsiteX61" fmla="*/ 1171281 w 2427462"/>
              <a:gd name="connsiteY61" fmla="*/ 1040800 h 2177723"/>
              <a:gd name="connsiteX62" fmla="*/ 1171281 w 2427462"/>
              <a:gd name="connsiteY62" fmla="*/ 1175158 h 2177723"/>
              <a:gd name="connsiteX63" fmla="*/ 1147414 w 2427462"/>
              <a:gd name="connsiteY63" fmla="*/ 1175158 h 2177723"/>
              <a:gd name="connsiteX64" fmla="*/ 1111512 w 2427462"/>
              <a:gd name="connsiteY64" fmla="*/ 1211060 h 2177723"/>
              <a:gd name="connsiteX65" fmla="*/ 1147414 w 2427462"/>
              <a:gd name="connsiteY65" fmla="*/ 1246961 h 2177723"/>
              <a:gd name="connsiteX66" fmla="*/ 1171281 w 2427462"/>
              <a:gd name="connsiteY66" fmla="*/ 1246961 h 2177723"/>
              <a:gd name="connsiteX67" fmla="*/ 1171281 w 2427462"/>
              <a:gd name="connsiteY67" fmla="*/ 2137320 h 2177723"/>
              <a:gd name="connsiteX68" fmla="*/ 1147414 w 2427462"/>
              <a:gd name="connsiteY68" fmla="*/ 2137320 h 2177723"/>
              <a:gd name="connsiteX69" fmla="*/ 1111512 w 2427462"/>
              <a:gd name="connsiteY69" fmla="*/ 2173221 h 2177723"/>
              <a:gd name="connsiteX70" fmla="*/ 1311814 w 2427462"/>
              <a:gd name="connsiteY70" fmla="*/ 2173250 h 2177723"/>
              <a:gd name="connsiteX71" fmla="*/ 1275912 w 2427462"/>
              <a:gd name="connsiteY71" fmla="*/ 2137349 h 2177723"/>
              <a:gd name="connsiteX72" fmla="*/ 1243084 w 2427462"/>
              <a:gd name="connsiteY72" fmla="*/ 2137349 h 2177723"/>
              <a:gd name="connsiteX73" fmla="*/ 1243084 w 2427462"/>
              <a:gd name="connsiteY73" fmla="*/ 1246990 h 2177723"/>
              <a:gd name="connsiteX74" fmla="*/ 1275912 w 2427462"/>
              <a:gd name="connsiteY74" fmla="*/ 1246990 h 2177723"/>
              <a:gd name="connsiteX75" fmla="*/ 1311814 w 2427462"/>
              <a:gd name="connsiteY75" fmla="*/ 1211089 h 2177723"/>
              <a:gd name="connsiteX76" fmla="*/ 1275912 w 2427462"/>
              <a:gd name="connsiteY76" fmla="*/ 1175187 h 2177723"/>
              <a:gd name="connsiteX77" fmla="*/ 1243084 w 2427462"/>
              <a:gd name="connsiteY77" fmla="*/ 1175187 h 2177723"/>
              <a:gd name="connsiteX78" fmla="*/ 1243084 w 2427462"/>
              <a:gd name="connsiteY78" fmla="*/ 1041576 h 2177723"/>
              <a:gd name="connsiteX79" fmla="*/ 1559449 w 2427462"/>
              <a:gd name="connsiteY79" fmla="*/ 1315404 h 2177723"/>
              <a:gd name="connsiteX80" fmla="*/ 1595149 w 2427462"/>
              <a:gd name="connsiteY80" fmla="*/ 1347457 h 2177723"/>
              <a:gd name="connsiteX81" fmla="*/ 1606207 w 2427462"/>
              <a:gd name="connsiteY81" fmla="*/ 1347457 h 2177723"/>
              <a:gd name="connsiteX82" fmla="*/ 1641907 w 2427462"/>
              <a:gd name="connsiteY82" fmla="*/ 1315404 h 2177723"/>
              <a:gd name="connsiteX83" fmla="*/ 1997706 w 2427462"/>
              <a:gd name="connsiteY83" fmla="*/ 1039594 h 2177723"/>
              <a:gd name="connsiteX84" fmla="*/ 2353447 w 2427462"/>
              <a:gd name="connsiteY84" fmla="*/ 1315404 h 2177723"/>
              <a:gd name="connsiteX85" fmla="*/ 2389148 w 2427462"/>
              <a:gd name="connsiteY85" fmla="*/ 1347457 h 2177723"/>
              <a:gd name="connsiteX86" fmla="*/ 2390986 w 2427462"/>
              <a:gd name="connsiteY86" fmla="*/ 1347457 h 2177723"/>
              <a:gd name="connsiteX87" fmla="*/ 2391560 w 2427462"/>
              <a:gd name="connsiteY87" fmla="*/ 1347457 h 2177723"/>
              <a:gd name="connsiteX88" fmla="*/ 2427462 w 2427462"/>
              <a:gd name="connsiteY88" fmla="*/ 1311556 h 2177723"/>
              <a:gd name="connsiteX89" fmla="*/ 2426859 w 2427462"/>
              <a:gd name="connsiteY89" fmla="*/ 1305036 h 2177723"/>
              <a:gd name="connsiteX90" fmla="*/ 88978 w 2427462"/>
              <a:gd name="connsiteY90" fmla="*/ 1113465 h 2177723"/>
              <a:gd name="connsiteX91" fmla="*/ 920889 w 2427462"/>
              <a:gd name="connsiteY91" fmla="*/ 208057 h 2177723"/>
              <a:gd name="connsiteX92" fmla="*/ 393050 w 2427462"/>
              <a:gd name="connsiteY92" fmla="*/ 969629 h 2177723"/>
              <a:gd name="connsiteX93" fmla="*/ 88978 w 2427462"/>
              <a:gd name="connsiteY93" fmla="*/ 1113465 h 2177723"/>
              <a:gd name="connsiteX94" fmla="*/ 467237 w 2427462"/>
              <a:gd name="connsiteY94" fmla="*/ 969399 h 2177723"/>
              <a:gd name="connsiteX95" fmla="*/ 1122800 w 2427462"/>
              <a:gd name="connsiteY95" fmla="*/ 201077 h 2177723"/>
              <a:gd name="connsiteX96" fmla="*/ 790409 w 2427462"/>
              <a:gd name="connsiteY96" fmla="*/ 1140635 h 2177723"/>
              <a:gd name="connsiteX97" fmla="*/ 467237 w 2427462"/>
              <a:gd name="connsiteY97" fmla="*/ 969399 h 2177723"/>
              <a:gd name="connsiteX98" fmla="*/ 863217 w 2427462"/>
              <a:gd name="connsiteY98" fmla="*/ 1114556 h 2177723"/>
              <a:gd name="connsiteX99" fmla="*/ 1171281 w 2427462"/>
              <a:gd name="connsiteY99" fmla="*/ 255418 h 2177723"/>
              <a:gd name="connsiteX100" fmla="*/ 1171281 w 2427462"/>
              <a:gd name="connsiteY100" fmla="*/ 968882 h 2177723"/>
              <a:gd name="connsiteX101" fmla="*/ 863217 w 2427462"/>
              <a:gd name="connsiteY101" fmla="*/ 1114556 h 2177723"/>
              <a:gd name="connsiteX102" fmla="*/ 1243084 w 2427462"/>
              <a:gd name="connsiteY102" fmla="*/ 969514 h 2177723"/>
              <a:gd name="connsiteX103" fmla="*/ 1243084 w 2427462"/>
              <a:gd name="connsiteY103" fmla="*/ 244849 h 2177723"/>
              <a:gd name="connsiteX104" fmla="*/ 1560368 w 2427462"/>
              <a:gd name="connsiteY104" fmla="*/ 1133886 h 2177723"/>
              <a:gd name="connsiteX105" fmla="*/ 1243084 w 2427462"/>
              <a:gd name="connsiteY105" fmla="*/ 969514 h 2177723"/>
              <a:gd name="connsiteX106" fmla="*/ 1632659 w 2427462"/>
              <a:gd name="connsiteY106" fmla="*/ 1145173 h 2177723"/>
              <a:gd name="connsiteX107" fmla="*/ 1300096 w 2427462"/>
              <a:gd name="connsiteY107" fmla="*/ 201077 h 2177723"/>
              <a:gd name="connsiteX108" fmla="*/ 1955744 w 2427462"/>
              <a:gd name="connsiteY108" fmla="*/ 969773 h 2177723"/>
              <a:gd name="connsiteX109" fmla="*/ 1632659 w 2427462"/>
              <a:gd name="connsiteY109" fmla="*/ 1145173 h 2177723"/>
              <a:gd name="connsiteX110" fmla="*/ 2029759 w 2427462"/>
              <a:gd name="connsiteY110" fmla="*/ 969428 h 2177723"/>
              <a:gd name="connsiteX111" fmla="*/ 1498789 w 2427462"/>
              <a:gd name="connsiteY111" fmla="*/ 206247 h 2177723"/>
              <a:gd name="connsiteX112" fmla="*/ 2337909 w 2427462"/>
              <a:gd name="connsiteY112" fmla="*/ 1113465 h 2177723"/>
              <a:gd name="connsiteX113" fmla="*/ 2029759 w 2427462"/>
              <a:gd name="connsiteY113" fmla="*/ 969428 h 2177723"/>
              <a:gd name="connsiteX0" fmla="*/ 2426859 w 2427462"/>
              <a:gd name="connsiteY0" fmla="*/ 1305036 h 2173250"/>
              <a:gd name="connsiteX1" fmla="*/ 2275440 w 2427462"/>
              <a:gd name="connsiteY1" fmla="*/ 725154 h 2173250"/>
              <a:gd name="connsiteX2" fmla="*/ 2275440 w 2427462"/>
              <a:gd name="connsiteY2" fmla="*/ 516753 h 2173250"/>
              <a:gd name="connsiteX3" fmla="*/ 2203637 w 2427462"/>
              <a:gd name="connsiteY3" fmla="*/ 516753 h 2173250"/>
              <a:gd name="connsiteX4" fmla="*/ 2203637 w 2427462"/>
              <a:gd name="connsiteY4" fmla="*/ 611418 h 2173250"/>
              <a:gd name="connsiteX5" fmla="*/ 2122988 w 2427462"/>
              <a:gd name="connsiteY5" fmla="*/ 509601 h 2173250"/>
              <a:gd name="connsiteX6" fmla="*/ 2122988 w 2427462"/>
              <a:gd name="connsiteY6" fmla="*/ 353444 h 2173250"/>
              <a:gd name="connsiteX7" fmla="*/ 2051185 w 2427462"/>
              <a:gd name="connsiteY7" fmla="*/ 353444 h 2173250"/>
              <a:gd name="connsiteX8" fmla="*/ 2051185 w 2427462"/>
              <a:gd name="connsiteY8" fmla="*/ 434897 h 2173250"/>
              <a:gd name="connsiteX9" fmla="*/ 1956204 w 2427462"/>
              <a:gd name="connsiteY9" fmla="*/ 352984 h 2173250"/>
              <a:gd name="connsiteX10" fmla="*/ 1956204 w 2427462"/>
              <a:gd name="connsiteY10" fmla="*/ 224715 h 2173250"/>
              <a:gd name="connsiteX11" fmla="*/ 1884401 w 2427462"/>
              <a:gd name="connsiteY11" fmla="*/ 224715 h 2173250"/>
              <a:gd name="connsiteX12" fmla="*/ 1884401 w 2427462"/>
              <a:gd name="connsiteY12" fmla="*/ 301027 h 2173250"/>
              <a:gd name="connsiteX13" fmla="*/ 1814350 w 2427462"/>
              <a:gd name="connsiteY13" fmla="*/ 257945 h 2173250"/>
              <a:gd name="connsiteX14" fmla="*/ 1814350 w 2427462"/>
              <a:gd name="connsiteY14" fmla="*/ 172040 h 2173250"/>
              <a:gd name="connsiteX15" fmla="*/ 1742546 w 2427462"/>
              <a:gd name="connsiteY15" fmla="*/ 172040 h 2173250"/>
              <a:gd name="connsiteX16" fmla="*/ 1742546 w 2427462"/>
              <a:gd name="connsiteY16" fmla="*/ 219717 h 2173250"/>
              <a:gd name="connsiteX17" fmla="*/ 1684616 w 2427462"/>
              <a:gd name="connsiteY17" fmla="*/ 193294 h 2173250"/>
              <a:gd name="connsiteX18" fmla="*/ 1684616 w 2427462"/>
              <a:gd name="connsiteY18" fmla="*/ 138465 h 2173250"/>
              <a:gd name="connsiteX19" fmla="*/ 1612813 w 2427462"/>
              <a:gd name="connsiteY19" fmla="*/ 138465 h 2173250"/>
              <a:gd name="connsiteX20" fmla="*/ 1612813 w 2427462"/>
              <a:gd name="connsiteY20" fmla="*/ 165894 h 2173250"/>
              <a:gd name="connsiteX21" fmla="*/ 1543795 w 2427462"/>
              <a:gd name="connsiteY21" fmla="*/ 144152 h 2173250"/>
              <a:gd name="connsiteX22" fmla="*/ 1543795 w 2427462"/>
              <a:gd name="connsiteY22" fmla="*/ 4509 h 2173250"/>
              <a:gd name="connsiteX23" fmla="*/ 1471992 w 2427462"/>
              <a:gd name="connsiteY23" fmla="*/ 4509 h 2173250"/>
              <a:gd name="connsiteX24" fmla="*/ 1471992 w 2427462"/>
              <a:gd name="connsiteY24" fmla="*/ 126058 h 2173250"/>
              <a:gd name="connsiteX25" fmla="*/ 1243084 w 2427462"/>
              <a:gd name="connsiteY25" fmla="*/ 98801 h 2173250"/>
              <a:gd name="connsiteX26" fmla="*/ 1243084 w 2427462"/>
              <a:gd name="connsiteY26" fmla="*/ 0 h 2173250"/>
              <a:gd name="connsiteX27" fmla="*/ 1171281 w 2427462"/>
              <a:gd name="connsiteY27" fmla="*/ 0 h 2173250"/>
              <a:gd name="connsiteX28" fmla="*/ 1171281 w 2427462"/>
              <a:gd name="connsiteY28" fmla="*/ 99117 h 2173250"/>
              <a:gd name="connsiteX29" fmla="*/ 958973 w 2427462"/>
              <a:gd name="connsiteY29" fmla="*/ 125110 h 2173250"/>
              <a:gd name="connsiteX30" fmla="*/ 958973 w 2427462"/>
              <a:gd name="connsiteY30" fmla="*/ 0 h 2173250"/>
              <a:gd name="connsiteX31" fmla="*/ 887170 w 2427462"/>
              <a:gd name="connsiteY31" fmla="*/ 0 h 2173250"/>
              <a:gd name="connsiteX32" fmla="*/ 887170 w 2427462"/>
              <a:gd name="connsiteY32" fmla="*/ 142974 h 2173250"/>
              <a:gd name="connsiteX33" fmla="*/ 817493 w 2427462"/>
              <a:gd name="connsiteY33" fmla="*/ 164745 h 2173250"/>
              <a:gd name="connsiteX34" fmla="*/ 817493 w 2427462"/>
              <a:gd name="connsiteY34" fmla="*/ 133956 h 2173250"/>
              <a:gd name="connsiteX35" fmla="*/ 745690 w 2427462"/>
              <a:gd name="connsiteY35" fmla="*/ 133956 h 2173250"/>
              <a:gd name="connsiteX36" fmla="*/ 745690 w 2427462"/>
              <a:gd name="connsiteY36" fmla="*/ 191944 h 2173250"/>
              <a:gd name="connsiteX37" fmla="*/ 687156 w 2427462"/>
              <a:gd name="connsiteY37" fmla="*/ 218253 h 2173250"/>
              <a:gd name="connsiteX38" fmla="*/ 687156 w 2427462"/>
              <a:gd name="connsiteY38" fmla="*/ 167560 h 2173250"/>
              <a:gd name="connsiteX39" fmla="*/ 615353 w 2427462"/>
              <a:gd name="connsiteY39" fmla="*/ 167560 h 2173250"/>
              <a:gd name="connsiteX40" fmla="*/ 615353 w 2427462"/>
              <a:gd name="connsiteY40" fmla="*/ 256337 h 2173250"/>
              <a:gd name="connsiteX41" fmla="*/ 544641 w 2427462"/>
              <a:gd name="connsiteY41" fmla="*/ 299706 h 2173250"/>
              <a:gd name="connsiteX42" fmla="*/ 544641 w 2427462"/>
              <a:gd name="connsiteY42" fmla="*/ 220206 h 2173250"/>
              <a:gd name="connsiteX43" fmla="*/ 472838 w 2427462"/>
              <a:gd name="connsiteY43" fmla="*/ 220206 h 2173250"/>
              <a:gd name="connsiteX44" fmla="*/ 472838 w 2427462"/>
              <a:gd name="connsiteY44" fmla="*/ 351261 h 2173250"/>
              <a:gd name="connsiteX45" fmla="*/ 377110 w 2427462"/>
              <a:gd name="connsiteY45" fmla="*/ 433547 h 2173250"/>
              <a:gd name="connsiteX46" fmla="*/ 377110 w 2427462"/>
              <a:gd name="connsiteY46" fmla="*/ 348906 h 2173250"/>
              <a:gd name="connsiteX47" fmla="*/ 305307 w 2427462"/>
              <a:gd name="connsiteY47" fmla="*/ 348906 h 2173250"/>
              <a:gd name="connsiteX48" fmla="*/ 305307 w 2427462"/>
              <a:gd name="connsiteY48" fmla="*/ 507906 h 2173250"/>
              <a:gd name="connsiteX49" fmla="*/ 223940 w 2427462"/>
              <a:gd name="connsiteY49" fmla="*/ 610441 h 2173250"/>
              <a:gd name="connsiteX50" fmla="*/ 223940 w 2427462"/>
              <a:gd name="connsiteY50" fmla="*/ 512186 h 2173250"/>
              <a:gd name="connsiteX51" fmla="*/ 152136 w 2427462"/>
              <a:gd name="connsiteY51" fmla="*/ 512186 h 2173250"/>
              <a:gd name="connsiteX52" fmla="*/ 152136 w 2427462"/>
              <a:gd name="connsiteY52" fmla="*/ 722741 h 2173250"/>
              <a:gd name="connsiteX53" fmla="*/ 152912 w 2427462"/>
              <a:gd name="connsiteY53" fmla="*/ 722741 h 2173250"/>
              <a:gd name="connsiteX54" fmla="*/ 0 w 2427462"/>
              <a:gd name="connsiteY54" fmla="*/ 1311527 h 2173250"/>
              <a:gd name="connsiteX55" fmla="*/ 37740 w 2427462"/>
              <a:gd name="connsiteY55" fmla="*/ 1347428 h 2173250"/>
              <a:gd name="connsiteX56" fmla="*/ 73440 w 2427462"/>
              <a:gd name="connsiteY56" fmla="*/ 1315375 h 2173250"/>
              <a:gd name="connsiteX57" fmla="*/ 429210 w 2427462"/>
              <a:gd name="connsiteY57" fmla="*/ 1039565 h 2173250"/>
              <a:gd name="connsiteX58" fmla="*/ 781246 w 2427462"/>
              <a:gd name="connsiteY58" fmla="*/ 1292657 h 2173250"/>
              <a:gd name="connsiteX59" fmla="*/ 816459 w 2427462"/>
              <a:gd name="connsiteY59" fmla="*/ 1321579 h 2173250"/>
              <a:gd name="connsiteX60" fmla="*/ 851671 w 2427462"/>
              <a:gd name="connsiteY60" fmla="*/ 1292657 h 2173250"/>
              <a:gd name="connsiteX61" fmla="*/ 1171281 w 2427462"/>
              <a:gd name="connsiteY61" fmla="*/ 1040800 h 2173250"/>
              <a:gd name="connsiteX62" fmla="*/ 1171281 w 2427462"/>
              <a:gd name="connsiteY62" fmla="*/ 1175158 h 2173250"/>
              <a:gd name="connsiteX63" fmla="*/ 1147414 w 2427462"/>
              <a:gd name="connsiteY63" fmla="*/ 1175158 h 2173250"/>
              <a:gd name="connsiteX64" fmla="*/ 1111512 w 2427462"/>
              <a:gd name="connsiteY64" fmla="*/ 1211060 h 2173250"/>
              <a:gd name="connsiteX65" fmla="*/ 1147414 w 2427462"/>
              <a:gd name="connsiteY65" fmla="*/ 1246961 h 2173250"/>
              <a:gd name="connsiteX66" fmla="*/ 1171281 w 2427462"/>
              <a:gd name="connsiteY66" fmla="*/ 1246961 h 2173250"/>
              <a:gd name="connsiteX67" fmla="*/ 1171281 w 2427462"/>
              <a:gd name="connsiteY67" fmla="*/ 2137320 h 2173250"/>
              <a:gd name="connsiteX68" fmla="*/ 1147414 w 2427462"/>
              <a:gd name="connsiteY68" fmla="*/ 2137320 h 2173250"/>
              <a:gd name="connsiteX69" fmla="*/ 1311814 w 2427462"/>
              <a:gd name="connsiteY69" fmla="*/ 2173250 h 2173250"/>
              <a:gd name="connsiteX70" fmla="*/ 1275912 w 2427462"/>
              <a:gd name="connsiteY70" fmla="*/ 2137349 h 2173250"/>
              <a:gd name="connsiteX71" fmla="*/ 1243084 w 2427462"/>
              <a:gd name="connsiteY71" fmla="*/ 2137349 h 2173250"/>
              <a:gd name="connsiteX72" fmla="*/ 1243084 w 2427462"/>
              <a:gd name="connsiteY72" fmla="*/ 1246990 h 2173250"/>
              <a:gd name="connsiteX73" fmla="*/ 1275912 w 2427462"/>
              <a:gd name="connsiteY73" fmla="*/ 1246990 h 2173250"/>
              <a:gd name="connsiteX74" fmla="*/ 1311814 w 2427462"/>
              <a:gd name="connsiteY74" fmla="*/ 1211089 h 2173250"/>
              <a:gd name="connsiteX75" fmla="*/ 1275912 w 2427462"/>
              <a:gd name="connsiteY75" fmla="*/ 1175187 h 2173250"/>
              <a:gd name="connsiteX76" fmla="*/ 1243084 w 2427462"/>
              <a:gd name="connsiteY76" fmla="*/ 1175187 h 2173250"/>
              <a:gd name="connsiteX77" fmla="*/ 1243084 w 2427462"/>
              <a:gd name="connsiteY77" fmla="*/ 1041576 h 2173250"/>
              <a:gd name="connsiteX78" fmla="*/ 1559449 w 2427462"/>
              <a:gd name="connsiteY78" fmla="*/ 1315404 h 2173250"/>
              <a:gd name="connsiteX79" fmla="*/ 1595149 w 2427462"/>
              <a:gd name="connsiteY79" fmla="*/ 1347457 h 2173250"/>
              <a:gd name="connsiteX80" fmla="*/ 1606207 w 2427462"/>
              <a:gd name="connsiteY80" fmla="*/ 1347457 h 2173250"/>
              <a:gd name="connsiteX81" fmla="*/ 1641907 w 2427462"/>
              <a:gd name="connsiteY81" fmla="*/ 1315404 h 2173250"/>
              <a:gd name="connsiteX82" fmla="*/ 1997706 w 2427462"/>
              <a:gd name="connsiteY82" fmla="*/ 1039594 h 2173250"/>
              <a:gd name="connsiteX83" fmla="*/ 2353447 w 2427462"/>
              <a:gd name="connsiteY83" fmla="*/ 1315404 h 2173250"/>
              <a:gd name="connsiteX84" fmla="*/ 2389148 w 2427462"/>
              <a:gd name="connsiteY84" fmla="*/ 1347457 h 2173250"/>
              <a:gd name="connsiteX85" fmla="*/ 2390986 w 2427462"/>
              <a:gd name="connsiteY85" fmla="*/ 1347457 h 2173250"/>
              <a:gd name="connsiteX86" fmla="*/ 2391560 w 2427462"/>
              <a:gd name="connsiteY86" fmla="*/ 1347457 h 2173250"/>
              <a:gd name="connsiteX87" fmla="*/ 2427462 w 2427462"/>
              <a:gd name="connsiteY87" fmla="*/ 1311556 h 2173250"/>
              <a:gd name="connsiteX88" fmla="*/ 2426859 w 2427462"/>
              <a:gd name="connsiteY88" fmla="*/ 1305036 h 2173250"/>
              <a:gd name="connsiteX89" fmla="*/ 88978 w 2427462"/>
              <a:gd name="connsiteY89" fmla="*/ 1113465 h 2173250"/>
              <a:gd name="connsiteX90" fmla="*/ 920889 w 2427462"/>
              <a:gd name="connsiteY90" fmla="*/ 208057 h 2173250"/>
              <a:gd name="connsiteX91" fmla="*/ 393050 w 2427462"/>
              <a:gd name="connsiteY91" fmla="*/ 969629 h 2173250"/>
              <a:gd name="connsiteX92" fmla="*/ 88978 w 2427462"/>
              <a:gd name="connsiteY92" fmla="*/ 1113465 h 2173250"/>
              <a:gd name="connsiteX93" fmla="*/ 467237 w 2427462"/>
              <a:gd name="connsiteY93" fmla="*/ 969399 h 2173250"/>
              <a:gd name="connsiteX94" fmla="*/ 1122800 w 2427462"/>
              <a:gd name="connsiteY94" fmla="*/ 201077 h 2173250"/>
              <a:gd name="connsiteX95" fmla="*/ 790409 w 2427462"/>
              <a:gd name="connsiteY95" fmla="*/ 1140635 h 2173250"/>
              <a:gd name="connsiteX96" fmla="*/ 467237 w 2427462"/>
              <a:gd name="connsiteY96" fmla="*/ 969399 h 2173250"/>
              <a:gd name="connsiteX97" fmla="*/ 863217 w 2427462"/>
              <a:gd name="connsiteY97" fmla="*/ 1114556 h 2173250"/>
              <a:gd name="connsiteX98" fmla="*/ 1171281 w 2427462"/>
              <a:gd name="connsiteY98" fmla="*/ 255418 h 2173250"/>
              <a:gd name="connsiteX99" fmla="*/ 1171281 w 2427462"/>
              <a:gd name="connsiteY99" fmla="*/ 968882 h 2173250"/>
              <a:gd name="connsiteX100" fmla="*/ 863217 w 2427462"/>
              <a:gd name="connsiteY100" fmla="*/ 1114556 h 2173250"/>
              <a:gd name="connsiteX101" fmla="*/ 1243084 w 2427462"/>
              <a:gd name="connsiteY101" fmla="*/ 969514 h 2173250"/>
              <a:gd name="connsiteX102" fmla="*/ 1243084 w 2427462"/>
              <a:gd name="connsiteY102" fmla="*/ 244849 h 2173250"/>
              <a:gd name="connsiteX103" fmla="*/ 1560368 w 2427462"/>
              <a:gd name="connsiteY103" fmla="*/ 1133886 h 2173250"/>
              <a:gd name="connsiteX104" fmla="*/ 1243084 w 2427462"/>
              <a:gd name="connsiteY104" fmla="*/ 969514 h 2173250"/>
              <a:gd name="connsiteX105" fmla="*/ 1632659 w 2427462"/>
              <a:gd name="connsiteY105" fmla="*/ 1145173 h 2173250"/>
              <a:gd name="connsiteX106" fmla="*/ 1300096 w 2427462"/>
              <a:gd name="connsiteY106" fmla="*/ 201077 h 2173250"/>
              <a:gd name="connsiteX107" fmla="*/ 1955744 w 2427462"/>
              <a:gd name="connsiteY107" fmla="*/ 969773 h 2173250"/>
              <a:gd name="connsiteX108" fmla="*/ 1632659 w 2427462"/>
              <a:gd name="connsiteY108" fmla="*/ 1145173 h 2173250"/>
              <a:gd name="connsiteX109" fmla="*/ 2029759 w 2427462"/>
              <a:gd name="connsiteY109" fmla="*/ 969428 h 2173250"/>
              <a:gd name="connsiteX110" fmla="*/ 1498789 w 2427462"/>
              <a:gd name="connsiteY110" fmla="*/ 206247 h 2173250"/>
              <a:gd name="connsiteX111" fmla="*/ 2337909 w 2427462"/>
              <a:gd name="connsiteY111" fmla="*/ 1113465 h 2173250"/>
              <a:gd name="connsiteX112" fmla="*/ 2029759 w 2427462"/>
              <a:gd name="connsiteY112" fmla="*/ 969428 h 2173250"/>
              <a:gd name="connsiteX0" fmla="*/ 2426859 w 2427462"/>
              <a:gd name="connsiteY0" fmla="*/ 1305036 h 2173250"/>
              <a:gd name="connsiteX1" fmla="*/ 2275440 w 2427462"/>
              <a:gd name="connsiteY1" fmla="*/ 725154 h 2173250"/>
              <a:gd name="connsiteX2" fmla="*/ 2275440 w 2427462"/>
              <a:gd name="connsiteY2" fmla="*/ 516753 h 2173250"/>
              <a:gd name="connsiteX3" fmla="*/ 2203637 w 2427462"/>
              <a:gd name="connsiteY3" fmla="*/ 516753 h 2173250"/>
              <a:gd name="connsiteX4" fmla="*/ 2203637 w 2427462"/>
              <a:gd name="connsiteY4" fmla="*/ 611418 h 2173250"/>
              <a:gd name="connsiteX5" fmla="*/ 2122988 w 2427462"/>
              <a:gd name="connsiteY5" fmla="*/ 509601 h 2173250"/>
              <a:gd name="connsiteX6" fmla="*/ 2122988 w 2427462"/>
              <a:gd name="connsiteY6" fmla="*/ 353444 h 2173250"/>
              <a:gd name="connsiteX7" fmla="*/ 2051185 w 2427462"/>
              <a:gd name="connsiteY7" fmla="*/ 353444 h 2173250"/>
              <a:gd name="connsiteX8" fmla="*/ 2051185 w 2427462"/>
              <a:gd name="connsiteY8" fmla="*/ 434897 h 2173250"/>
              <a:gd name="connsiteX9" fmla="*/ 1956204 w 2427462"/>
              <a:gd name="connsiteY9" fmla="*/ 352984 h 2173250"/>
              <a:gd name="connsiteX10" fmla="*/ 1956204 w 2427462"/>
              <a:gd name="connsiteY10" fmla="*/ 224715 h 2173250"/>
              <a:gd name="connsiteX11" fmla="*/ 1884401 w 2427462"/>
              <a:gd name="connsiteY11" fmla="*/ 224715 h 2173250"/>
              <a:gd name="connsiteX12" fmla="*/ 1884401 w 2427462"/>
              <a:gd name="connsiteY12" fmla="*/ 301027 h 2173250"/>
              <a:gd name="connsiteX13" fmla="*/ 1814350 w 2427462"/>
              <a:gd name="connsiteY13" fmla="*/ 257945 h 2173250"/>
              <a:gd name="connsiteX14" fmla="*/ 1814350 w 2427462"/>
              <a:gd name="connsiteY14" fmla="*/ 172040 h 2173250"/>
              <a:gd name="connsiteX15" fmla="*/ 1742546 w 2427462"/>
              <a:gd name="connsiteY15" fmla="*/ 172040 h 2173250"/>
              <a:gd name="connsiteX16" fmla="*/ 1742546 w 2427462"/>
              <a:gd name="connsiteY16" fmla="*/ 219717 h 2173250"/>
              <a:gd name="connsiteX17" fmla="*/ 1684616 w 2427462"/>
              <a:gd name="connsiteY17" fmla="*/ 193294 h 2173250"/>
              <a:gd name="connsiteX18" fmla="*/ 1684616 w 2427462"/>
              <a:gd name="connsiteY18" fmla="*/ 138465 h 2173250"/>
              <a:gd name="connsiteX19" fmla="*/ 1612813 w 2427462"/>
              <a:gd name="connsiteY19" fmla="*/ 138465 h 2173250"/>
              <a:gd name="connsiteX20" fmla="*/ 1612813 w 2427462"/>
              <a:gd name="connsiteY20" fmla="*/ 165894 h 2173250"/>
              <a:gd name="connsiteX21" fmla="*/ 1543795 w 2427462"/>
              <a:gd name="connsiteY21" fmla="*/ 144152 h 2173250"/>
              <a:gd name="connsiteX22" fmla="*/ 1543795 w 2427462"/>
              <a:gd name="connsiteY22" fmla="*/ 4509 h 2173250"/>
              <a:gd name="connsiteX23" fmla="*/ 1471992 w 2427462"/>
              <a:gd name="connsiteY23" fmla="*/ 4509 h 2173250"/>
              <a:gd name="connsiteX24" fmla="*/ 1471992 w 2427462"/>
              <a:gd name="connsiteY24" fmla="*/ 126058 h 2173250"/>
              <a:gd name="connsiteX25" fmla="*/ 1243084 w 2427462"/>
              <a:gd name="connsiteY25" fmla="*/ 98801 h 2173250"/>
              <a:gd name="connsiteX26" fmla="*/ 1243084 w 2427462"/>
              <a:gd name="connsiteY26" fmla="*/ 0 h 2173250"/>
              <a:gd name="connsiteX27" fmla="*/ 1171281 w 2427462"/>
              <a:gd name="connsiteY27" fmla="*/ 0 h 2173250"/>
              <a:gd name="connsiteX28" fmla="*/ 1171281 w 2427462"/>
              <a:gd name="connsiteY28" fmla="*/ 99117 h 2173250"/>
              <a:gd name="connsiteX29" fmla="*/ 958973 w 2427462"/>
              <a:gd name="connsiteY29" fmla="*/ 125110 h 2173250"/>
              <a:gd name="connsiteX30" fmla="*/ 958973 w 2427462"/>
              <a:gd name="connsiteY30" fmla="*/ 0 h 2173250"/>
              <a:gd name="connsiteX31" fmla="*/ 887170 w 2427462"/>
              <a:gd name="connsiteY31" fmla="*/ 0 h 2173250"/>
              <a:gd name="connsiteX32" fmla="*/ 887170 w 2427462"/>
              <a:gd name="connsiteY32" fmla="*/ 142974 h 2173250"/>
              <a:gd name="connsiteX33" fmla="*/ 817493 w 2427462"/>
              <a:gd name="connsiteY33" fmla="*/ 164745 h 2173250"/>
              <a:gd name="connsiteX34" fmla="*/ 817493 w 2427462"/>
              <a:gd name="connsiteY34" fmla="*/ 133956 h 2173250"/>
              <a:gd name="connsiteX35" fmla="*/ 745690 w 2427462"/>
              <a:gd name="connsiteY35" fmla="*/ 133956 h 2173250"/>
              <a:gd name="connsiteX36" fmla="*/ 745690 w 2427462"/>
              <a:gd name="connsiteY36" fmla="*/ 191944 h 2173250"/>
              <a:gd name="connsiteX37" fmla="*/ 687156 w 2427462"/>
              <a:gd name="connsiteY37" fmla="*/ 218253 h 2173250"/>
              <a:gd name="connsiteX38" fmla="*/ 687156 w 2427462"/>
              <a:gd name="connsiteY38" fmla="*/ 167560 h 2173250"/>
              <a:gd name="connsiteX39" fmla="*/ 615353 w 2427462"/>
              <a:gd name="connsiteY39" fmla="*/ 167560 h 2173250"/>
              <a:gd name="connsiteX40" fmla="*/ 615353 w 2427462"/>
              <a:gd name="connsiteY40" fmla="*/ 256337 h 2173250"/>
              <a:gd name="connsiteX41" fmla="*/ 544641 w 2427462"/>
              <a:gd name="connsiteY41" fmla="*/ 299706 h 2173250"/>
              <a:gd name="connsiteX42" fmla="*/ 544641 w 2427462"/>
              <a:gd name="connsiteY42" fmla="*/ 220206 h 2173250"/>
              <a:gd name="connsiteX43" fmla="*/ 472838 w 2427462"/>
              <a:gd name="connsiteY43" fmla="*/ 220206 h 2173250"/>
              <a:gd name="connsiteX44" fmla="*/ 472838 w 2427462"/>
              <a:gd name="connsiteY44" fmla="*/ 351261 h 2173250"/>
              <a:gd name="connsiteX45" fmla="*/ 377110 w 2427462"/>
              <a:gd name="connsiteY45" fmla="*/ 433547 h 2173250"/>
              <a:gd name="connsiteX46" fmla="*/ 377110 w 2427462"/>
              <a:gd name="connsiteY46" fmla="*/ 348906 h 2173250"/>
              <a:gd name="connsiteX47" fmla="*/ 305307 w 2427462"/>
              <a:gd name="connsiteY47" fmla="*/ 348906 h 2173250"/>
              <a:gd name="connsiteX48" fmla="*/ 305307 w 2427462"/>
              <a:gd name="connsiteY48" fmla="*/ 507906 h 2173250"/>
              <a:gd name="connsiteX49" fmla="*/ 223940 w 2427462"/>
              <a:gd name="connsiteY49" fmla="*/ 610441 h 2173250"/>
              <a:gd name="connsiteX50" fmla="*/ 223940 w 2427462"/>
              <a:gd name="connsiteY50" fmla="*/ 512186 h 2173250"/>
              <a:gd name="connsiteX51" fmla="*/ 152136 w 2427462"/>
              <a:gd name="connsiteY51" fmla="*/ 512186 h 2173250"/>
              <a:gd name="connsiteX52" fmla="*/ 152136 w 2427462"/>
              <a:gd name="connsiteY52" fmla="*/ 722741 h 2173250"/>
              <a:gd name="connsiteX53" fmla="*/ 152912 w 2427462"/>
              <a:gd name="connsiteY53" fmla="*/ 722741 h 2173250"/>
              <a:gd name="connsiteX54" fmla="*/ 0 w 2427462"/>
              <a:gd name="connsiteY54" fmla="*/ 1311527 h 2173250"/>
              <a:gd name="connsiteX55" fmla="*/ 37740 w 2427462"/>
              <a:gd name="connsiteY55" fmla="*/ 1347428 h 2173250"/>
              <a:gd name="connsiteX56" fmla="*/ 73440 w 2427462"/>
              <a:gd name="connsiteY56" fmla="*/ 1315375 h 2173250"/>
              <a:gd name="connsiteX57" fmla="*/ 429210 w 2427462"/>
              <a:gd name="connsiteY57" fmla="*/ 1039565 h 2173250"/>
              <a:gd name="connsiteX58" fmla="*/ 781246 w 2427462"/>
              <a:gd name="connsiteY58" fmla="*/ 1292657 h 2173250"/>
              <a:gd name="connsiteX59" fmla="*/ 816459 w 2427462"/>
              <a:gd name="connsiteY59" fmla="*/ 1321579 h 2173250"/>
              <a:gd name="connsiteX60" fmla="*/ 851671 w 2427462"/>
              <a:gd name="connsiteY60" fmla="*/ 1292657 h 2173250"/>
              <a:gd name="connsiteX61" fmla="*/ 1171281 w 2427462"/>
              <a:gd name="connsiteY61" fmla="*/ 1040800 h 2173250"/>
              <a:gd name="connsiteX62" fmla="*/ 1171281 w 2427462"/>
              <a:gd name="connsiteY62" fmla="*/ 1175158 h 2173250"/>
              <a:gd name="connsiteX63" fmla="*/ 1147414 w 2427462"/>
              <a:gd name="connsiteY63" fmla="*/ 1175158 h 2173250"/>
              <a:gd name="connsiteX64" fmla="*/ 1111512 w 2427462"/>
              <a:gd name="connsiteY64" fmla="*/ 1211060 h 2173250"/>
              <a:gd name="connsiteX65" fmla="*/ 1147414 w 2427462"/>
              <a:gd name="connsiteY65" fmla="*/ 1246961 h 2173250"/>
              <a:gd name="connsiteX66" fmla="*/ 1171281 w 2427462"/>
              <a:gd name="connsiteY66" fmla="*/ 1246961 h 2173250"/>
              <a:gd name="connsiteX67" fmla="*/ 1171281 w 2427462"/>
              <a:gd name="connsiteY67" fmla="*/ 2137320 h 2173250"/>
              <a:gd name="connsiteX68" fmla="*/ 1147414 w 2427462"/>
              <a:gd name="connsiteY68" fmla="*/ 2137320 h 2173250"/>
              <a:gd name="connsiteX69" fmla="*/ 1311814 w 2427462"/>
              <a:gd name="connsiteY69" fmla="*/ 2173250 h 2173250"/>
              <a:gd name="connsiteX70" fmla="*/ 1275912 w 2427462"/>
              <a:gd name="connsiteY70" fmla="*/ 2137349 h 2173250"/>
              <a:gd name="connsiteX71" fmla="*/ 1243084 w 2427462"/>
              <a:gd name="connsiteY71" fmla="*/ 1246990 h 2173250"/>
              <a:gd name="connsiteX72" fmla="*/ 1275912 w 2427462"/>
              <a:gd name="connsiteY72" fmla="*/ 1246990 h 2173250"/>
              <a:gd name="connsiteX73" fmla="*/ 1311814 w 2427462"/>
              <a:gd name="connsiteY73" fmla="*/ 1211089 h 2173250"/>
              <a:gd name="connsiteX74" fmla="*/ 1275912 w 2427462"/>
              <a:gd name="connsiteY74" fmla="*/ 1175187 h 2173250"/>
              <a:gd name="connsiteX75" fmla="*/ 1243084 w 2427462"/>
              <a:gd name="connsiteY75" fmla="*/ 1175187 h 2173250"/>
              <a:gd name="connsiteX76" fmla="*/ 1243084 w 2427462"/>
              <a:gd name="connsiteY76" fmla="*/ 1041576 h 2173250"/>
              <a:gd name="connsiteX77" fmla="*/ 1559449 w 2427462"/>
              <a:gd name="connsiteY77" fmla="*/ 1315404 h 2173250"/>
              <a:gd name="connsiteX78" fmla="*/ 1595149 w 2427462"/>
              <a:gd name="connsiteY78" fmla="*/ 1347457 h 2173250"/>
              <a:gd name="connsiteX79" fmla="*/ 1606207 w 2427462"/>
              <a:gd name="connsiteY79" fmla="*/ 1347457 h 2173250"/>
              <a:gd name="connsiteX80" fmla="*/ 1641907 w 2427462"/>
              <a:gd name="connsiteY80" fmla="*/ 1315404 h 2173250"/>
              <a:gd name="connsiteX81" fmla="*/ 1997706 w 2427462"/>
              <a:gd name="connsiteY81" fmla="*/ 1039594 h 2173250"/>
              <a:gd name="connsiteX82" fmla="*/ 2353447 w 2427462"/>
              <a:gd name="connsiteY82" fmla="*/ 1315404 h 2173250"/>
              <a:gd name="connsiteX83" fmla="*/ 2389148 w 2427462"/>
              <a:gd name="connsiteY83" fmla="*/ 1347457 h 2173250"/>
              <a:gd name="connsiteX84" fmla="*/ 2390986 w 2427462"/>
              <a:gd name="connsiteY84" fmla="*/ 1347457 h 2173250"/>
              <a:gd name="connsiteX85" fmla="*/ 2391560 w 2427462"/>
              <a:gd name="connsiteY85" fmla="*/ 1347457 h 2173250"/>
              <a:gd name="connsiteX86" fmla="*/ 2427462 w 2427462"/>
              <a:gd name="connsiteY86" fmla="*/ 1311556 h 2173250"/>
              <a:gd name="connsiteX87" fmla="*/ 2426859 w 2427462"/>
              <a:gd name="connsiteY87" fmla="*/ 1305036 h 2173250"/>
              <a:gd name="connsiteX88" fmla="*/ 88978 w 2427462"/>
              <a:gd name="connsiteY88" fmla="*/ 1113465 h 2173250"/>
              <a:gd name="connsiteX89" fmla="*/ 920889 w 2427462"/>
              <a:gd name="connsiteY89" fmla="*/ 208057 h 2173250"/>
              <a:gd name="connsiteX90" fmla="*/ 393050 w 2427462"/>
              <a:gd name="connsiteY90" fmla="*/ 969629 h 2173250"/>
              <a:gd name="connsiteX91" fmla="*/ 88978 w 2427462"/>
              <a:gd name="connsiteY91" fmla="*/ 1113465 h 2173250"/>
              <a:gd name="connsiteX92" fmla="*/ 467237 w 2427462"/>
              <a:gd name="connsiteY92" fmla="*/ 969399 h 2173250"/>
              <a:gd name="connsiteX93" fmla="*/ 1122800 w 2427462"/>
              <a:gd name="connsiteY93" fmla="*/ 201077 h 2173250"/>
              <a:gd name="connsiteX94" fmla="*/ 790409 w 2427462"/>
              <a:gd name="connsiteY94" fmla="*/ 1140635 h 2173250"/>
              <a:gd name="connsiteX95" fmla="*/ 467237 w 2427462"/>
              <a:gd name="connsiteY95" fmla="*/ 969399 h 2173250"/>
              <a:gd name="connsiteX96" fmla="*/ 863217 w 2427462"/>
              <a:gd name="connsiteY96" fmla="*/ 1114556 h 2173250"/>
              <a:gd name="connsiteX97" fmla="*/ 1171281 w 2427462"/>
              <a:gd name="connsiteY97" fmla="*/ 255418 h 2173250"/>
              <a:gd name="connsiteX98" fmla="*/ 1171281 w 2427462"/>
              <a:gd name="connsiteY98" fmla="*/ 968882 h 2173250"/>
              <a:gd name="connsiteX99" fmla="*/ 863217 w 2427462"/>
              <a:gd name="connsiteY99" fmla="*/ 1114556 h 2173250"/>
              <a:gd name="connsiteX100" fmla="*/ 1243084 w 2427462"/>
              <a:gd name="connsiteY100" fmla="*/ 969514 h 2173250"/>
              <a:gd name="connsiteX101" fmla="*/ 1243084 w 2427462"/>
              <a:gd name="connsiteY101" fmla="*/ 244849 h 2173250"/>
              <a:gd name="connsiteX102" fmla="*/ 1560368 w 2427462"/>
              <a:gd name="connsiteY102" fmla="*/ 1133886 h 2173250"/>
              <a:gd name="connsiteX103" fmla="*/ 1243084 w 2427462"/>
              <a:gd name="connsiteY103" fmla="*/ 969514 h 2173250"/>
              <a:gd name="connsiteX104" fmla="*/ 1632659 w 2427462"/>
              <a:gd name="connsiteY104" fmla="*/ 1145173 h 2173250"/>
              <a:gd name="connsiteX105" fmla="*/ 1300096 w 2427462"/>
              <a:gd name="connsiteY105" fmla="*/ 201077 h 2173250"/>
              <a:gd name="connsiteX106" fmla="*/ 1955744 w 2427462"/>
              <a:gd name="connsiteY106" fmla="*/ 969773 h 2173250"/>
              <a:gd name="connsiteX107" fmla="*/ 1632659 w 2427462"/>
              <a:gd name="connsiteY107" fmla="*/ 1145173 h 2173250"/>
              <a:gd name="connsiteX108" fmla="*/ 2029759 w 2427462"/>
              <a:gd name="connsiteY108" fmla="*/ 969428 h 2173250"/>
              <a:gd name="connsiteX109" fmla="*/ 1498789 w 2427462"/>
              <a:gd name="connsiteY109" fmla="*/ 206247 h 2173250"/>
              <a:gd name="connsiteX110" fmla="*/ 2337909 w 2427462"/>
              <a:gd name="connsiteY110" fmla="*/ 1113465 h 2173250"/>
              <a:gd name="connsiteX111" fmla="*/ 2029759 w 2427462"/>
              <a:gd name="connsiteY111" fmla="*/ 969428 h 2173250"/>
              <a:gd name="connsiteX0" fmla="*/ 2426859 w 2427462"/>
              <a:gd name="connsiteY0" fmla="*/ 1305036 h 2173250"/>
              <a:gd name="connsiteX1" fmla="*/ 2275440 w 2427462"/>
              <a:gd name="connsiteY1" fmla="*/ 725154 h 2173250"/>
              <a:gd name="connsiteX2" fmla="*/ 2275440 w 2427462"/>
              <a:gd name="connsiteY2" fmla="*/ 516753 h 2173250"/>
              <a:gd name="connsiteX3" fmla="*/ 2203637 w 2427462"/>
              <a:gd name="connsiteY3" fmla="*/ 516753 h 2173250"/>
              <a:gd name="connsiteX4" fmla="*/ 2203637 w 2427462"/>
              <a:gd name="connsiteY4" fmla="*/ 611418 h 2173250"/>
              <a:gd name="connsiteX5" fmla="*/ 2122988 w 2427462"/>
              <a:gd name="connsiteY5" fmla="*/ 509601 h 2173250"/>
              <a:gd name="connsiteX6" fmla="*/ 2122988 w 2427462"/>
              <a:gd name="connsiteY6" fmla="*/ 353444 h 2173250"/>
              <a:gd name="connsiteX7" fmla="*/ 2051185 w 2427462"/>
              <a:gd name="connsiteY7" fmla="*/ 353444 h 2173250"/>
              <a:gd name="connsiteX8" fmla="*/ 2051185 w 2427462"/>
              <a:gd name="connsiteY8" fmla="*/ 434897 h 2173250"/>
              <a:gd name="connsiteX9" fmla="*/ 1956204 w 2427462"/>
              <a:gd name="connsiteY9" fmla="*/ 352984 h 2173250"/>
              <a:gd name="connsiteX10" fmla="*/ 1956204 w 2427462"/>
              <a:gd name="connsiteY10" fmla="*/ 224715 h 2173250"/>
              <a:gd name="connsiteX11" fmla="*/ 1884401 w 2427462"/>
              <a:gd name="connsiteY11" fmla="*/ 224715 h 2173250"/>
              <a:gd name="connsiteX12" fmla="*/ 1884401 w 2427462"/>
              <a:gd name="connsiteY12" fmla="*/ 301027 h 2173250"/>
              <a:gd name="connsiteX13" fmla="*/ 1814350 w 2427462"/>
              <a:gd name="connsiteY13" fmla="*/ 257945 h 2173250"/>
              <a:gd name="connsiteX14" fmla="*/ 1814350 w 2427462"/>
              <a:gd name="connsiteY14" fmla="*/ 172040 h 2173250"/>
              <a:gd name="connsiteX15" fmla="*/ 1742546 w 2427462"/>
              <a:gd name="connsiteY15" fmla="*/ 172040 h 2173250"/>
              <a:gd name="connsiteX16" fmla="*/ 1742546 w 2427462"/>
              <a:gd name="connsiteY16" fmla="*/ 219717 h 2173250"/>
              <a:gd name="connsiteX17" fmla="*/ 1684616 w 2427462"/>
              <a:gd name="connsiteY17" fmla="*/ 193294 h 2173250"/>
              <a:gd name="connsiteX18" fmla="*/ 1684616 w 2427462"/>
              <a:gd name="connsiteY18" fmla="*/ 138465 h 2173250"/>
              <a:gd name="connsiteX19" fmla="*/ 1612813 w 2427462"/>
              <a:gd name="connsiteY19" fmla="*/ 138465 h 2173250"/>
              <a:gd name="connsiteX20" fmla="*/ 1612813 w 2427462"/>
              <a:gd name="connsiteY20" fmla="*/ 165894 h 2173250"/>
              <a:gd name="connsiteX21" fmla="*/ 1543795 w 2427462"/>
              <a:gd name="connsiteY21" fmla="*/ 144152 h 2173250"/>
              <a:gd name="connsiteX22" fmla="*/ 1543795 w 2427462"/>
              <a:gd name="connsiteY22" fmla="*/ 4509 h 2173250"/>
              <a:gd name="connsiteX23" fmla="*/ 1471992 w 2427462"/>
              <a:gd name="connsiteY23" fmla="*/ 4509 h 2173250"/>
              <a:gd name="connsiteX24" fmla="*/ 1471992 w 2427462"/>
              <a:gd name="connsiteY24" fmla="*/ 126058 h 2173250"/>
              <a:gd name="connsiteX25" fmla="*/ 1243084 w 2427462"/>
              <a:gd name="connsiteY25" fmla="*/ 98801 h 2173250"/>
              <a:gd name="connsiteX26" fmla="*/ 1243084 w 2427462"/>
              <a:gd name="connsiteY26" fmla="*/ 0 h 2173250"/>
              <a:gd name="connsiteX27" fmla="*/ 1171281 w 2427462"/>
              <a:gd name="connsiteY27" fmla="*/ 0 h 2173250"/>
              <a:gd name="connsiteX28" fmla="*/ 1171281 w 2427462"/>
              <a:gd name="connsiteY28" fmla="*/ 99117 h 2173250"/>
              <a:gd name="connsiteX29" fmla="*/ 958973 w 2427462"/>
              <a:gd name="connsiteY29" fmla="*/ 125110 h 2173250"/>
              <a:gd name="connsiteX30" fmla="*/ 958973 w 2427462"/>
              <a:gd name="connsiteY30" fmla="*/ 0 h 2173250"/>
              <a:gd name="connsiteX31" fmla="*/ 887170 w 2427462"/>
              <a:gd name="connsiteY31" fmla="*/ 0 h 2173250"/>
              <a:gd name="connsiteX32" fmla="*/ 887170 w 2427462"/>
              <a:gd name="connsiteY32" fmla="*/ 142974 h 2173250"/>
              <a:gd name="connsiteX33" fmla="*/ 817493 w 2427462"/>
              <a:gd name="connsiteY33" fmla="*/ 164745 h 2173250"/>
              <a:gd name="connsiteX34" fmla="*/ 817493 w 2427462"/>
              <a:gd name="connsiteY34" fmla="*/ 133956 h 2173250"/>
              <a:gd name="connsiteX35" fmla="*/ 745690 w 2427462"/>
              <a:gd name="connsiteY35" fmla="*/ 133956 h 2173250"/>
              <a:gd name="connsiteX36" fmla="*/ 745690 w 2427462"/>
              <a:gd name="connsiteY36" fmla="*/ 191944 h 2173250"/>
              <a:gd name="connsiteX37" fmla="*/ 687156 w 2427462"/>
              <a:gd name="connsiteY37" fmla="*/ 218253 h 2173250"/>
              <a:gd name="connsiteX38" fmla="*/ 687156 w 2427462"/>
              <a:gd name="connsiteY38" fmla="*/ 167560 h 2173250"/>
              <a:gd name="connsiteX39" fmla="*/ 615353 w 2427462"/>
              <a:gd name="connsiteY39" fmla="*/ 167560 h 2173250"/>
              <a:gd name="connsiteX40" fmla="*/ 615353 w 2427462"/>
              <a:gd name="connsiteY40" fmla="*/ 256337 h 2173250"/>
              <a:gd name="connsiteX41" fmla="*/ 544641 w 2427462"/>
              <a:gd name="connsiteY41" fmla="*/ 299706 h 2173250"/>
              <a:gd name="connsiteX42" fmla="*/ 544641 w 2427462"/>
              <a:gd name="connsiteY42" fmla="*/ 220206 h 2173250"/>
              <a:gd name="connsiteX43" fmla="*/ 472838 w 2427462"/>
              <a:gd name="connsiteY43" fmla="*/ 220206 h 2173250"/>
              <a:gd name="connsiteX44" fmla="*/ 472838 w 2427462"/>
              <a:gd name="connsiteY44" fmla="*/ 351261 h 2173250"/>
              <a:gd name="connsiteX45" fmla="*/ 377110 w 2427462"/>
              <a:gd name="connsiteY45" fmla="*/ 433547 h 2173250"/>
              <a:gd name="connsiteX46" fmla="*/ 377110 w 2427462"/>
              <a:gd name="connsiteY46" fmla="*/ 348906 h 2173250"/>
              <a:gd name="connsiteX47" fmla="*/ 305307 w 2427462"/>
              <a:gd name="connsiteY47" fmla="*/ 348906 h 2173250"/>
              <a:gd name="connsiteX48" fmla="*/ 305307 w 2427462"/>
              <a:gd name="connsiteY48" fmla="*/ 507906 h 2173250"/>
              <a:gd name="connsiteX49" fmla="*/ 223940 w 2427462"/>
              <a:gd name="connsiteY49" fmla="*/ 610441 h 2173250"/>
              <a:gd name="connsiteX50" fmla="*/ 223940 w 2427462"/>
              <a:gd name="connsiteY50" fmla="*/ 512186 h 2173250"/>
              <a:gd name="connsiteX51" fmla="*/ 152136 w 2427462"/>
              <a:gd name="connsiteY51" fmla="*/ 512186 h 2173250"/>
              <a:gd name="connsiteX52" fmla="*/ 152136 w 2427462"/>
              <a:gd name="connsiteY52" fmla="*/ 722741 h 2173250"/>
              <a:gd name="connsiteX53" fmla="*/ 152912 w 2427462"/>
              <a:gd name="connsiteY53" fmla="*/ 722741 h 2173250"/>
              <a:gd name="connsiteX54" fmla="*/ 0 w 2427462"/>
              <a:gd name="connsiteY54" fmla="*/ 1311527 h 2173250"/>
              <a:gd name="connsiteX55" fmla="*/ 37740 w 2427462"/>
              <a:gd name="connsiteY55" fmla="*/ 1347428 h 2173250"/>
              <a:gd name="connsiteX56" fmla="*/ 73440 w 2427462"/>
              <a:gd name="connsiteY56" fmla="*/ 1315375 h 2173250"/>
              <a:gd name="connsiteX57" fmla="*/ 429210 w 2427462"/>
              <a:gd name="connsiteY57" fmla="*/ 1039565 h 2173250"/>
              <a:gd name="connsiteX58" fmla="*/ 781246 w 2427462"/>
              <a:gd name="connsiteY58" fmla="*/ 1292657 h 2173250"/>
              <a:gd name="connsiteX59" fmla="*/ 816459 w 2427462"/>
              <a:gd name="connsiteY59" fmla="*/ 1321579 h 2173250"/>
              <a:gd name="connsiteX60" fmla="*/ 851671 w 2427462"/>
              <a:gd name="connsiteY60" fmla="*/ 1292657 h 2173250"/>
              <a:gd name="connsiteX61" fmla="*/ 1171281 w 2427462"/>
              <a:gd name="connsiteY61" fmla="*/ 1040800 h 2173250"/>
              <a:gd name="connsiteX62" fmla="*/ 1171281 w 2427462"/>
              <a:gd name="connsiteY62" fmla="*/ 1175158 h 2173250"/>
              <a:gd name="connsiteX63" fmla="*/ 1147414 w 2427462"/>
              <a:gd name="connsiteY63" fmla="*/ 1175158 h 2173250"/>
              <a:gd name="connsiteX64" fmla="*/ 1111512 w 2427462"/>
              <a:gd name="connsiteY64" fmla="*/ 1211060 h 2173250"/>
              <a:gd name="connsiteX65" fmla="*/ 1147414 w 2427462"/>
              <a:gd name="connsiteY65" fmla="*/ 1246961 h 2173250"/>
              <a:gd name="connsiteX66" fmla="*/ 1171281 w 2427462"/>
              <a:gd name="connsiteY66" fmla="*/ 1246961 h 2173250"/>
              <a:gd name="connsiteX67" fmla="*/ 1171281 w 2427462"/>
              <a:gd name="connsiteY67" fmla="*/ 2137320 h 2173250"/>
              <a:gd name="connsiteX68" fmla="*/ 1147414 w 2427462"/>
              <a:gd name="connsiteY68" fmla="*/ 2137320 h 2173250"/>
              <a:gd name="connsiteX69" fmla="*/ 1311814 w 2427462"/>
              <a:gd name="connsiteY69" fmla="*/ 2173250 h 2173250"/>
              <a:gd name="connsiteX70" fmla="*/ 1243084 w 2427462"/>
              <a:gd name="connsiteY70" fmla="*/ 1246990 h 2173250"/>
              <a:gd name="connsiteX71" fmla="*/ 1275912 w 2427462"/>
              <a:gd name="connsiteY71" fmla="*/ 1246990 h 2173250"/>
              <a:gd name="connsiteX72" fmla="*/ 1311814 w 2427462"/>
              <a:gd name="connsiteY72" fmla="*/ 1211089 h 2173250"/>
              <a:gd name="connsiteX73" fmla="*/ 1275912 w 2427462"/>
              <a:gd name="connsiteY73" fmla="*/ 1175187 h 2173250"/>
              <a:gd name="connsiteX74" fmla="*/ 1243084 w 2427462"/>
              <a:gd name="connsiteY74" fmla="*/ 1175187 h 2173250"/>
              <a:gd name="connsiteX75" fmla="*/ 1243084 w 2427462"/>
              <a:gd name="connsiteY75" fmla="*/ 1041576 h 2173250"/>
              <a:gd name="connsiteX76" fmla="*/ 1559449 w 2427462"/>
              <a:gd name="connsiteY76" fmla="*/ 1315404 h 2173250"/>
              <a:gd name="connsiteX77" fmla="*/ 1595149 w 2427462"/>
              <a:gd name="connsiteY77" fmla="*/ 1347457 h 2173250"/>
              <a:gd name="connsiteX78" fmla="*/ 1606207 w 2427462"/>
              <a:gd name="connsiteY78" fmla="*/ 1347457 h 2173250"/>
              <a:gd name="connsiteX79" fmla="*/ 1641907 w 2427462"/>
              <a:gd name="connsiteY79" fmla="*/ 1315404 h 2173250"/>
              <a:gd name="connsiteX80" fmla="*/ 1997706 w 2427462"/>
              <a:gd name="connsiteY80" fmla="*/ 1039594 h 2173250"/>
              <a:gd name="connsiteX81" fmla="*/ 2353447 w 2427462"/>
              <a:gd name="connsiteY81" fmla="*/ 1315404 h 2173250"/>
              <a:gd name="connsiteX82" fmla="*/ 2389148 w 2427462"/>
              <a:gd name="connsiteY82" fmla="*/ 1347457 h 2173250"/>
              <a:gd name="connsiteX83" fmla="*/ 2390986 w 2427462"/>
              <a:gd name="connsiteY83" fmla="*/ 1347457 h 2173250"/>
              <a:gd name="connsiteX84" fmla="*/ 2391560 w 2427462"/>
              <a:gd name="connsiteY84" fmla="*/ 1347457 h 2173250"/>
              <a:gd name="connsiteX85" fmla="*/ 2427462 w 2427462"/>
              <a:gd name="connsiteY85" fmla="*/ 1311556 h 2173250"/>
              <a:gd name="connsiteX86" fmla="*/ 2426859 w 2427462"/>
              <a:gd name="connsiteY86" fmla="*/ 1305036 h 2173250"/>
              <a:gd name="connsiteX87" fmla="*/ 88978 w 2427462"/>
              <a:gd name="connsiteY87" fmla="*/ 1113465 h 2173250"/>
              <a:gd name="connsiteX88" fmla="*/ 920889 w 2427462"/>
              <a:gd name="connsiteY88" fmla="*/ 208057 h 2173250"/>
              <a:gd name="connsiteX89" fmla="*/ 393050 w 2427462"/>
              <a:gd name="connsiteY89" fmla="*/ 969629 h 2173250"/>
              <a:gd name="connsiteX90" fmla="*/ 88978 w 2427462"/>
              <a:gd name="connsiteY90" fmla="*/ 1113465 h 2173250"/>
              <a:gd name="connsiteX91" fmla="*/ 467237 w 2427462"/>
              <a:gd name="connsiteY91" fmla="*/ 969399 h 2173250"/>
              <a:gd name="connsiteX92" fmla="*/ 1122800 w 2427462"/>
              <a:gd name="connsiteY92" fmla="*/ 201077 h 2173250"/>
              <a:gd name="connsiteX93" fmla="*/ 790409 w 2427462"/>
              <a:gd name="connsiteY93" fmla="*/ 1140635 h 2173250"/>
              <a:gd name="connsiteX94" fmla="*/ 467237 w 2427462"/>
              <a:gd name="connsiteY94" fmla="*/ 969399 h 2173250"/>
              <a:gd name="connsiteX95" fmla="*/ 863217 w 2427462"/>
              <a:gd name="connsiteY95" fmla="*/ 1114556 h 2173250"/>
              <a:gd name="connsiteX96" fmla="*/ 1171281 w 2427462"/>
              <a:gd name="connsiteY96" fmla="*/ 255418 h 2173250"/>
              <a:gd name="connsiteX97" fmla="*/ 1171281 w 2427462"/>
              <a:gd name="connsiteY97" fmla="*/ 968882 h 2173250"/>
              <a:gd name="connsiteX98" fmla="*/ 863217 w 2427462"/>
              <a:gd name="connsiteY98" fmla="*/ 1114556 h 2173250"/>
              <a:gd name="connsiteX99" fmla="*/ 1243084 w 2427462"/>
              <a:gd name="connsiteY99" fmla="*/ 969514 h 2173250"/>
              <a:gd name="connsiteX100" fmla="*/ 1243084 w 2427462"/>
              <a:gd name="connsiteY100" fmla="*/ 244849 h 2173250"/>
              <a:gd name="connsiteX101" fmla="*/ 1560368 w 2427462"/>
              <a:gd name="connsiteY101" fmla="*/ 1133886 h 2173250"/>
              <a:gd name="connsiteX102" fmla="*/ 1243084 w 2427462"/>
              <a:gd name="connsiteY102" fmla="*/ 969514 h 2173250"/>
              <a:gd name="connsiteX103" fmla="*/ 1632659 w 2427462"/>
              <a:gd name="connsiteY103" fmla="*/ 1145173 h 2173250"/>
              <a:gd name="connsiteX104" fmla="*/ 1300096 w 2427462"/>
              <a:gd name="connsiteY104" fmla="*/ 201077 h 2173250"/>
              <a:gd name="connsiteX105" fmla="*/ 1955744 w 2427462"/>
              <a:gd name="connsiteY105" fmla="*/ 969773 h 2173250"/>
              <a:gd name="connsiteX106" fmla="*/ 1632659 w 2427462"/>
              <a:gd name="connsiteY106" fmla="*/ 1145173 h 2173250"/>
              <a:gd name="connsiteX107" fmla="*/ 2029759 w 2427462"/>
              <a:gd name="connsiteY107" fmla="*/ 969428 h 2173250"/>
              <a:gd name="connsiteX108" fmla="*/ 1498789 w 2427462"/>
              <a:gd name="connsiteY108" fmla="*/ 206247 h 2173250"/>
              <a:gd name="connsiteX109" fmla="*/ 2337909 w 2427462"/>
              <a:gd name="connsiteY109" fmla="*/ 1113465 h 2173250"/>
              <a:gd name="connsiteX110" fmla="*/ 2029759 w 2427462"/>
              <a:gd name="connsiteY110" fmla="*/ 969428 h 2173250"/>
              <a:gd name="connsiteX0" fmla="*/ 2426859 w 2427462"/>
              <a:gd name="connsiteY0" fmla="*/ 1305036 h 2173250"/>
              <a:gd name="connsiteX1" fmla="*/ 2275440 w 2427462"/>
              <a:gd name="connsiteY1" fmla="*/ 725154 h 2173250"/>
              <a:gd name="connsiteX2" fmla="*/ 2275440 w 2427462"/>
              <a:gd name="connsiteY2" fmla="*/ 516753 h 2173250"/>
              <a:gd name="connsiteX3" fmla="*/ 2203637 w 2427462"/>
              <a:gd name="connsiteY3" fmla="*/ 516753 h 2173250"/>
              <a:gd name="connsiteX4" fmla="*/ 2203637 w 2427462"/>
              <a:gd name="connsiteY4" fmla="*/ 611418 h 2173250"/>
              <a:gd name="connsiteX5" fmla="*/ 2122988 w 2427462"/>
              <a:gd name="connsiteY5" fmla="*/ 509601 h 2173250"/>
              <a:gd name="connsiteX6" fmla="*/ 2122988 w 2427462"/>
              <a:gd name="connsiteY6" fmla="*/ 353444 h 2173250"/>
              <a:gd name="connsiteX7" fmla="*/ 2051185 w 2427462"/>
              <a:gd name="connsiteY7" fmla="*/ 353444 h 2173250"/>
              <a:gd name="connsiteX8" fmla="*/ 2051185 w 2427462"/>
              <a:gd name="connsiteY8" fmla="*/ 434897 h 2173250"/>
              <a:gd name="connsiteX9" fmla="*/ 1956204 w 2427462"/>
              <a:gd name="connsiteY9" fmla="*/ 352984 h 2173250"/>
              <a:gd name="connsiteX10" fmla="*/ 1956204 w 2427462"/>
              <a:gd name="connsiteY10" fmla="*/ 224715 h 2173250"/>
              <a:gd name="connsiteX11" fmla="*/ 1884401 w 2427462"/>
              <a:gd name="connsiteY11" fmla="*/ 224715 h 2173250"/>
              <a:gd name="connsiteX12" fmla="*/ 1884401 w 2427462"/>
              <a:gd name="connsiteY12" fmla="*/ 301027 h 2173250"/>
              <a:gd name="connsiteX13" fmla="*/ 1814350 w 2427462"/>
              <a:gd name="connsiteY13" fmla="*/ 257945 h 2173250"/>
              <a:gd name="connsiteX14" fmla="*/ 1814350 w 2427462"/>
              <a:gd name="connsiteY14" fmla="*/ 172040 h 2173250"/>
              <a:gd name="connsiteX15" fmla="*/ 1742546 w 2427462"/>
              <a:gd name="connsiteY15" fmla="*/ 172040 h 2173250"/>
              <a:gd name="connsiteX16" fmla="*/ 1742546 w 2427462"/>
              <a:gd name="connsiteY16" fmla="*/ 219717 h 2173250"/>
              <a:gd name="connsiteX17" fmla="*/ 1684616 w 2427462"/>
              <a:gd name="connsiteY17" fmla="*/ 193294 h 2173250"/>
              <a:gd name="connsiteX18" fmla="*/ 1684616 w 2427462"/>
              <a:gd name="connsiteY18" fmla="*/ 138465 h 2173250"/>
              <a:gd name="connsiteX19" fmla="*/ 1612813 w 2427462"/>
              <a:gd name="connsiteY19" fmla="*/ 138465 h 2173250"/>
              <a:gd name="connsiteX20" fmla="*/ 1612813 w 2427462"/>
              <a:gd name="connsiteY20" fmla="*/ 165894 h 2173250"/>
              <a:gd name="connsiteX21" fmla="*/ 1543795 w 2427462"/>
              <a:gd name="connsiteY21" fmla="*/ 144152 h 2173250"/>
              <a:gd name="connsiteX22" fmla="*/ 1543795 w 2427462"/>
              <a:gd name="connsiteY22" fmla="*/ 4509 h 2173250"/>
              <a:gd name="connsiteX23" fmla="*/ 1471992 w 2427462"/>
              <a:gd name="connsiteY23" fmla="*/ 4509 h 2173250"/>
              <a:gd name="connsiteX24" fmla="*/ 1471992 w 2427462"/>
              <a:gd name="connsiteY24" fmla="*/ 126058 h 2173250"/>
              <a:gd name="connsiteX25" fmla="*/ 1243084 w 2427462"/>
              <a:gd name="connsiteY25" fmla="*/ 98801 h 2173250"/>
              <a:gd name="connsiteX26" fmla="*/ 1243084 w 2427462"/>
              <a:gd name="connsiteY26" fmla="*/ 0 h 2173250"/>
              <a:gd name="connsiteX27" fmla="*/ 1171281 w 2427462"/>
              <a:gd name="connsiteY27" fmla="*/ 0 h 2173250"/>
              <a:gd name="connsiteX28" fmla="*/ 1171281 w 2427462"/>
              <a:gd name="connsiteY28" fmla="*/ 99117 h 2173250"/>
              <a:gd name="connsiteX29" fmla="*/ 958973 w 2427462"/>
              <a:gd name="connsiteY29" fmla="*/ 125110 h 2173250"/>
              <a:gd name="connsiteX30" fmla="*/ 958973 w 2427462"/>
              <a:gd name="connsiteY30" fmla="*/ 0 h 2173250"/>
              <a:gd name="connsiteX31" fmla="*/ 887170 w 2427462"/>
              <a:gd name="connsiteY31" fmla="*/ 0 h 2173250"/>
              <a:gd name="connsiteX32" fmla="*/ 887170 w 2427462"/>
              <a:gd name="connsiteY32" fmla="*/ 142974 h 2173250"/>
              <a:gd name="connsiteX33" fmla="*/ 817493 w 2427462"/>
              <a:gd name="connsiteY33" fmla="*/ 164745 h 2173250"/>
              <a:gd name="connsiteX34" fmla="*/ 817493 w 2427462"/>
              <a:gd name="connsiteY34" fmla="*/ 133956 h 2173250"/>
              <a:gd name="connsiteX35" fmla="*/ 745690 w 2427462"/>
              <a:gd name="connsiteY35" fmla="*/ 133956 h 2173250"/>
              <a:gd name="connsiteX36" fmla="*/ 745690 w 2427462"/>
              <a:gd name="connsiteY36" fmla="*/ 191944 h 2173250"/>
              <a:gd name="connsiteX37" fmla="*/ 687156 w 2427462"/>
              <a:gd name="connsiteY37" fmla="*/ 218253 h 2173250"/>
              <a:gd name="connsiteX38" fmla="*/ 687156 w 2427462"/>
              <a:gd name="connsiteY38" fmla="*/ 167560 h 2173250"/>
              <a:gd name="connsiteX39" fmla="*/ 615353 w 2427462"/>
              <a:gd name="connsiteY39" fmla="*/ 167560 h 2173250"/>
              <a:gd name="connsiteX40" fmla="*/ 615353 w 2427462"/>
              <a:gd name="connsiteY40" fmla="*/ 256337 h 2173250"/>
              <a:gd name="connsiteX41" fmla="*/ 544641 w 2427462"/>
              <a:gd name="connsiteY41" fmla="*/ 299706 h 2173250"/>
              <a:gd name="connsiteX42" fmla="*/ 544641 w 2427462"/>
              <a:gd name="connsiteY42" fmla="*/ 220206 h 2173250"/>
              <a:gd name="connsiteX43" fmla="*/ 472838 w 2427462"/>
              <a:gd name="connsiteY43" fmla="*/ 220206 h 2173250"/>
              <a:gd name="connsiteX44" fmla="*/ 472838 w 2427462"/>
              <a:gd name="connsiteY44" fmla="*/ 351261 h 2173250"/>
              <a:gd name="connsiteX45" fmla="*/ 377110 w 2427462"/>
              <a:gd name="connsiteY45" fmla="*/ 433547 h 2173250"/>
              <a:gd name="connsiteX46" fmla="*/ 377110 w 2427462"/>
              <a:gd name="connsiteY46" fmla="*/ 348906 h 2173250"/>
              <a:gd name="connsiteX47" fmla="*/ 305307 w 2427462"/>
              <a:gd name="connsiteY47" fmla="*/ 348906 h 2173250"/>
              <a:gd name="connsiteX48" fmla="*/ 305307 w 2427462"/>
              <a:gd name="connsiteY48" fmla="*/ 507906 h 2173250"/>
              <a:gd name="connsiteX49" fmla="*/ 223940 w 2427462"/>
              <a:gd name="connsiteY49" fmla="*/ 610441 h 2173250"/>
              <a:gd name="connsiteX50" fmla="*/ 223940 w 2427462"/>
              <a:gd name="connsiteY50" fmla="*/ 512186 h 2173250"/>
              <a:gd name="connsiteX51" fmla="*/ 152136 w 2427462"/>
              <a:gd name="connsiteY51" fmla="*/ 512186 h 2173250"/>
              <a:gd name="connsiteX52" fmla="*/ 152136 w 2427462"/>
              <a:gd name="connsiteY52" fmla="*/ 722741 h 2173250"/>
              <a:gd name="connsiteX53" fmla="*/ 152912 w 2427462"/>
              <a:gd name="connsiteY53" fmla="*/ 722741 h 2173250"/>
              <a:gd name="connsiteX54" fmla="*/ 0 w 2427462"/>
              <a:gd name="connsiteY54" fmla="*/ 1311527 h 2173250"/>
              <a:gd name="connsiteX55" fmla="*/ 37740 w 2427462"/>
              <a:gd name="connsiteY55" fmla="*/ 1347428 h 2173250"/>
              <a:gd name="connsiteX56" fmla="*/ 73440 w 2427462"/>
              <a:gd name="connsiteY56" fmla="*/ 1315375 h 2173250"/>
              <a:gd name="connsiteX57" fmla="*/ 429210 w 2427462"/>
              <a:gd name="connsiteY57" fmla="*/ 1039565 h 2173250"/>
              <a:gd name="connsiteX58" fmla="*/ 781246 w 2427462"/>
              <a:gd name="connsiteY58" fmla="*/ 1292657 h 2173250"/>
              <a:gd name="connsiteX59" fmla="*/ 816459 w 2427462"/>
              <a:gd name="connsiteY59" fmla="*/ 1321579 h 2173250"/>
              <a:gd name="connsiteX60" fmla="*/ 851671 w 2427462"/>
              <a:gd name="connsiteY60" fmla="*/ 1292657 h 2173250"/>
              <a:gd name="connsiteX61" fmla="*/ 1171281 w 2427462"/>
              <a:gd name="connsiteY61" fmla="*/ 1040800 h 2173250"/>
              <a:gd name="connsiteX62" fmla="*/ 1171281 w 2427462"/>
              <a:gd name="connsiteY62" fmla="*/ 1175158 h 2173250"/>
              <a:gd name="connsiteX63" fmla="*/ 1147414 w 2427462"/>
              <a:gd name="connsiteY63" fmla="*/ 1175158 h 2173250"/>
              <a:gd name="connsiteX64" fmla="*/ 1111512 w 2427462"/>
              <a:gd name="connsiteY64" fmla="*/ 1211060 h 2173250"/>
              <a:gd name="connsiteX65" fmla="*/ 1147414 w 2427462"/>
              <a:gd name="connsiteY65" fmla="*/ 1246961 h 2173250"/>
              <a:gd name="connsiteX66" fmla="*/ 1171281 w 2427462"/>
              <a:gd name="connsiteY66" fmla="*/ 1246961 h 2173250"/>
              <a:gd name="connsiteX67" fmla="*/ 1171281 w 2427462"/>
              <a:gd name="connsiteY67" fmla="*/ 2137320 h 2173250"/>
              <a:gd name="connsiteX68" fmla="*/ 1311814 w 2427462"/>
              <a:gd name="connsiteY68" fmla="*/ 2173250 h 2173250"/>
              <a:gd name="connsiteX69" fmla="*/ 1243084 w 2427462"/>
              <a:gd name="connsiteY69" fmla="*/ 1246990 h 2173250"/>
              <a:gd name="connsiteX70" fmla="*/ 1275912 w 2427462"/>
              <a:gd name="connsiteY70" fmla="*/ 1246990 h 2173250"/>
              <a:gd name="connsiteX71" fmla="*/ 1311814 w 2427462"/>
              <a:gd name="connsiteY71" fmla="*/ 1211089 h 2173250"/>
              <a:gd name="connsiteX72" fmla="*/ 1275912 w 2427462"/>
              <a:gd name="connsiteY72" fmla="*/ 1175187 h 2173250"/>
              <a:gd name="connsiteX73" fmla="*/ 1243084 w 2427462"/>
              <a:gd name="connsiteY73" fmla="*/ 1175187 h 2173250"/>
              <a:gd name="connsiteX74" fmla="*/ 1243084 w 2427462"/>
              <a:gd name="connsiteY74" fmla="*/ 1041576 h 2173250"/>
              <a:gd name="connsiteX75" fmla="*/ 1559449 w 2427462"/>
              <a:gd name="connsiteY75" fmla="*/ 1315404 h 2173250"/>
              <a:gd name="connsiteX76" fmla="*/ 1595149 w 2427462"/>
              <a:gd name="connsiteY76" fmla="*/ 1347457 h 2173250"/>
              <a:gd name="connsiteX77" fmla="*/ 1606207 w 2427462"/>
              <a:gd name="connsiteY77" fmla="*/ 1347457 h 2173250"/>
              <a:gd name="connsiteX78" fmla="*/ 1641907 w 2427462"/>
              <a:gd name="connsiteY78" fmla="*/ 1315404 h 2173250"/>
              <a:gd name="connsiteX79" fmla="*/ 1997706 w 2427462"/>
              <a:gd name="connsiteY79" fmla="*/ 1039594 h 2173250"/>
              <a:gd name="connsiteX80" fmla="*/ 2353447 w 2427462"/>
              <a:gd name="connsiteY80" fmla="*/ 1315404 h 2173250"/>
              <a:gd name="connsiteX81" fmla="*/ 2389148 w 2427462"/>
              <a:gd name="connsiteY81" fmla="*/ 1347457 h 2173250"/>
              <a:gd name="connsiteX82" fmla="*/ 2390986 w 2427462"/>
              <a:gd name="connsiteY82" fmla="*/ 1347457 h 2173250"/>
              <a:gd name="connsiteX83" fmla="*/ 2391560 w 2427462"/>
              <a:gd name="connsiteY83" fmla="*/ 1347457 h 2173250"/>
              <a:gd name="connsiteX84" fmla="*/ 2427462 w 2427462"/>
              <a:gd name="connsiteY84" fmla="*/ 1311556 h 2173250"/>
              <a:gd name="connsiteX85" fmla="*/ 2426859 w 2427462"/>
              <a:gd name="connsiteY85" fmla="*/ 1305036 h 2173250"/>
              <a:gd name="connsiteX86" fmla="*/ 88978 w 2427462"/>
              <a:gd name="connsiteY86" fmla="*/ 1113465 h 2173250"/>
              <a:gd name="connsiteX87" fmla="*/ 920889 w 2427462"/>
              <a:gd name="connsiteY87" fmla="*/ 208057 h 2173250"/>
              <a:gd name="connsiteX88" fmla="*/ 393050 w 2427462"/>
              <a:gd name="connsiteY88" fmla="*/ 969629 h 2173250"/>
              <a:gd name="connsiteX89" fmla="*/ 88978 w 2427462"/>
              <a:gd name="connsiteY89" fmla="*/ 1113465 h 2173250"/>
              <a:gd name="connsiteX90" fmla="*/ 467237 w 2427462"/>
              <a:gd name="connsiteY90" fmla="*/ 969399 h 2173250"/>
              <a:gd name="connsiteX91" fmla="*/ 1122800 w 2427462"/>
              <a:gd name="connsiteY91" fmla="*/ 201077 h 2173250"/>
              <a:gd name="connsiteX92" fmla="*/ 790409 w 2427462"/>
              <a:gd name="connsiteY92" fmla="*/ 1140635 h 2173250"/>
              <a:gd name="connsiteX93" fmla="*/ 467237 w 2427462"/>
              <a:gd name="connsiteY93" fmla="*/ 969399 h 2173250"/>
              <a:gd name="connsiteX94" fmla="*/ 863217 w 2427462"/>
              <a:gd name="connsiteY94" fmla="*/ 1114556 h 2173250"/>
              <a:gd name="connsiteX95" fmla="*/ 1171281 w 2427462"/>
              <a:gd name="connsiteY95" fmla="*/ 255418 h 2173250"/>
              <a:gd name="connsiteX96" fmla="*/ 1171281 w 2427462"/>
              <a:gd name="connsiteY96" fmla="*/ 968882 h 2173250"/>
              <a:gd name="connsiteX97" fmla="*/ 863217 w 2427462"/>
              <a:gd name="connsiteY97" fmla="*/ 1114556 h 2173250"/>
              <a:gd name="connsiteX98" fmla="*/ 1243084 w 2427462"/>
              <a:gd name="connsiteY98" fmla="*/ 969514 h 2173250"/>
              <a:gd name="connsiteX99" fmla="*/ 1243084 w 2427462"/>
              <a:gd name="connsiteY99" fmla="*/ 244849 h 2173250"/>
              <a:gd name="connsiteX100" fmla="*/ 1560368 w 2427462"/>
              <a:gd name="connsiteY100" fmla="*/ 1133886 h 2173250"/>
              <a:gd name="connsiteX101" fmla="*/ 1243084 w 2427462"/>
              <a:gd name="connsiteY101" fmla="*/ 969514 h 2173250"/>
              <a:gd name="connsiteX102" fmla="*/ 1632659 w 2427462"/>
              <a:gd name="connsiteY102" fmla="*/ 1145173 h 2173250"/>
              <a:gd name="connsiteX103" fmla="*/ 1300096 w 2427462"/>
              <a:gd name="connsiteY103" fmla="*/ 201077 h 2173250"/>
              <a:gd name="connsiteX104" fmla="*/ 1955744 w 2427462"/>
              <a:gd name="connsiteY104" fmla="*/ 969773 h 2173250"/>
              <a:gd name="connsiteX105" fmla="*/ 1632659 w 2427462"/>
              <a:gd name="connsiteY105" fmla="*/ 1145173 h 2173250"/>
              <a:gd name="connsiteX106" fmla="*/ 2029759 w 2427462"/>
              <a:gd name="connsiteY106" fmla="*/ 969428 h 2173250"/>
              <a:gd name="connsiteX107" fmla="*/ 1498789 w 2427462"/>
              <a:gd name="connsiteY107" fmla="*/ 206247 h 2173250"/>
              <a:gd name="connsiteX108" fmla="*/ 2337909 w 2427462"/>
              <a:gd name="connsiteY108" fmla="*/ 1113465 h 2173250"/>
              <a:gd name="connsiteX109" fmla="*/ 2029759 w 2427462"/>
              <a:gd name="connsiteY109" fmla="*/ 969428 h 2173250"/>
              <a:gd name="connsiteX0" fmla="*/ 2426859 w 2427462"/>
              <a:gd name="connsiteY0" fmla="*/ 1305036 h 2137320"/>
              <a:gd name="connsiteX1" fmla="*/ 2275440 w 2427462"/>
              <a:gd name="connsiteY1" fmla="*/ 725154 h 2137320"/>
              <a:gd name="connsiteX2" fmla="*/ 2275440 w 2427462"/>
              <a:gd name="connsiteY2" fmla="*/ 516753 h 2137320"/>
              <a:gd name="connsiteX3" fmla="*/ 2203637 w 2427462"/>
              <a:gd name="connsiteY3" fmla="*/ 516753 h 2137320"/>
              <a:gd name="connsiteX4" fmla="*/ 2203637 w 2427462"/>
              <a:gd name="connsiteY4" fmla="*/ 611418 h 2137320"/>
              <a:gd name="connsiteX5" fmla="*/ 2122988 w 2427462"/>
              <a:gd name="connsiteY5" fmla="*/ 509601 h 2137320"/>
              <a:gd name="connsiteX6" fmla="*/ 2122988 w 2427462"/>
              <a:gd name="connsiteY6" fmla="*/ 353444 h 2137320"/>
              <a:gd name="connsiteX7" fmla="*/ 2051185 w 2427462"/>
              <a:gd name="connsiteY7" fmla="*/ 353444 h 2137320"/>
              <a:gd name="connsiteX8" fmla="*/ 2051185 w 2427462"/>
              <a:gd name="connsiteY8" fmla="*/ 434897 h 2137320"/>
              <a:gd name="connsiteX9" fmla="*/ 1956204 w 2427462"/>
              <a:gd name="connsiteY9" fmla="*/ 352984 h 2137320"/>
              <a:gd name="connsiteX10" fmla="*/ 1956204 w 2427462"/>
              <a:gd name="connsiteY10" fmla="*/ 224715 h 2137320"/>
              <a:gd name="connsiteX11" fmla="*/ 1884401 w 2427462"/>
              <a:gd name="connsiteY11" fmla="*/ 224715 h 2137320"/>
              <a:gd name="connsiteX12" fmla="*/ 1884401 w 2427462"/>
              <a:gd name="connsiteY12" fmla="*/ 301027 h 2137320"/>
              <a:gd name="connsiteX13" fmla="*/ 1814350 w 2427462"/>
              <a:gd name="connsiteY13" fmla="*/ 257945 h 2137320"/>
              <a:gd name="connsiteX14" fmla="*/ 1814350 w 2427462"/>
              <a:gd name="connsiteY14" fmla="*/ 172040 h 2137320"/>
              <a:gd name="connsiteX15" fmla="*/ 1742546 w 2427462"/>
              <a:gd name="connsiteY15" fmla="*/ 172040 h 2137320"/>
              <a:gd name="connsiteX16" fmla="*/ 1742546 w 2427462"/>
              <a:gd name="connsiteY16" fmla="*/ 219717 h 2137320"/>
              <a:gd name="connsiteX17" fmla="*/ 1684616 w 2427462"/>
              <a:gd name="connsiteY17" fmla="*/ 193294 h 2137320"/>
              <a:gd name="connsiteX18" fmla="*/ 1684616 w 2427462"/>
              <a:gd name="connsiteY18" fmla="*/ 138465 h 2137320"/>
              <a:gd name="connsiteX19" fmla="*/ 1612813 w 2427462"/>
              <a:gd name="connsiteY19" fmla="*/ 138465 h 2137320"/>
              <a:gd name="connsiteX20" fmla="*/ 1612813 w 2427462"/>
              <a:gd name="connsiteY20" fmla="*/ 165894 h 2137320"/>
              <a:gd name="connsiteX21" fmla="*/ 1543795 w 2427462"/>
              <a:gd name="connsiteY21" fmla="*/ 144152 h 2137320"/>
              <a:gd name="connsiteX22" fmla="*/ 1543795 w 2427462"/>
              <a:gd name="connsiteY22" fmla="*/ 4509 h 2137320"/>
              <a:gd name="connsiteX23" fmla="*/ 1471992 w 2427462"/>
              <a:gd name="connsiteY23" fmla="*/ 4509 h 2137320"/>
              <a:gd name="connsiteX24" fmla="*/ 1471992 w 2427462"/>
              <a:gd name="connsiteY24" fmla="*/ 126058 h 2137320"/>
              <a:gd name="connsiteX25" fmla="*/ 1243084 w 2427462"/>
              <a:gd name="connsiteY25" fmla="*/ 98801 h 2137320"/>
              <a:gd name="connsiteX26" fmla="*/ 1243084 w 2427462"/>
              <a:gd name="connsiteY26" fmla="*/ 0 h 2137320"/>
              <a:gd name="connsiteX27" fmla="*/ 1171281 w 2427462"/>
              <a:gd name="connsiteY27" fmla="*/ 0 h 2137320"/>
              <a:gd name="connsiteX28" fmla="*/ 1171281 w 2427462"/>
              <a:gd name="connsiteY28" fmla="*/ 99117 h 2137320"/>
              <a:gd name="connsiteX29" fmla="*/ 958973 w 2427462"/>
              <a:gd name="connsiteY29" fmla="*/ 125110 h 2137320"/>
              <a:gd name="connsiteX30" fmla="*/ 958973 w 2427462"/>
              <a:gd name="connsiteY30" fmla="*/ 0 h 2137320"/>
              <a:gd name="connsiteX31" fmla="*/ 887170 w 2427462"/>
              <a:gd name="connsiteY31" fmla="*/ 0 h 2137320"/>
              <a:gd name="connsiteX32" fmla="*/ 887170 w 2427462"/>
              <a:gd name="connsiteY32" fmla="*/ 142974 h 2137320"/>
              <a:gd name="connsiteX33" fmla="*/ 817493 w 2427462"/>
              <a:gd name="connsiteY33" fmla="*/ 164745 h 2137320"/>
              <a:gd name="connsiteX34" fmla="*/ 817493 w 2427462"/>
              <a:gd name="connsiteY34" fmla="*/ 133956 h 2137320"/>
              <a:gd name="connsiteX35" fmla="*/ 745690 w 2427462"/>
              <a:gd name="connsiteY35" fmla="*/ 133956 h 2137320"/>
              <a:gd name="connsiteX36" fmla="*/ 745690 w 2427462"/>
              <a:gd name="connsiteY36" fmla="*/ 191944 h 2137320"/>
              <a:gd name="connsiteX37" fmla="*/ 687156 w 2427462"/>
              <a:gd name="connsiteY37" fmla="*/ 218253 h 2137320"/>
              <a:gd name="connsiteX38" fmla="*/ 687156 w 2427462"/>
              <a:gd name="connsiteY38" fmla="*/ 167560 h 2137320"/>
              <a:gd name="connsiteX39" fmla="*/ 615353 w 2427462"/>
              <a:gd name="connsiteY39" fmla="*/ 167560 h 2137320"/>
              <a:gd name="connsiteX40" fmla="*/ 615353 w 2427462"/>
              <a:gd name="connsiteY40" fmla="*/ 256337 h 2137320"/>
              <a:gd name="connsiteX41" fmla="*/ 544641 w 2427462"/>
              <a:gd name="connsiteY41" fmla="*/ 299706 h 2137320"/>
              <a:gd name="connsiteX42" fmla="*/ 544641 w 2427462"/>
              <a:gd name="connsiteY42" fmla="*/ 220206 h 2137320"/>
              <a:gd name="connsiteX43" fmla="*/ 472838 w 2427462"/>
              <a:gd name="connsiteY43" fmla="*/ 220206 h 2137320"/>
              <a:gd name="connsiteX44" fmla="*/ 472838 w 2427462"/>
              <a:gd name="connsiteY44" fmla="*/ 351261 h 2137320"/>
              <a:gd name="connsiteX45" fmla="*/ 377110 w 2427462"/>
              <a:gd name="connsiteY45" fmla="*/ 433547 h 2137320"/>
              <a:gd name="connsiteX46" fmla="*/ 377110 w 2427462"/>
              <a:gd name="connsiteY46" fmla="*/ 348906 h 2137320"/>
              <a:gd name="connsiteX47" fmla="*/ 305307 w 2427462"/>
              <a:gd name="connsiteY47" fmla="*/ 348906 h 2137320"/>
              <a:gd name="connsiteX48" fmla="*/ 305307 w 2427462"/>
              <a:gd name="connsiteY48" fmla="*/ 507906 h 2137320"/>
              <a:gd name="connsiteX49" fmla="*/ 223940 w 2427462"/>
              <a:gd name="connsiteY49" fmla="*/ 610441 h 2137320"/>
              <a:gd name="connsiteX50" fmla="*/ 223940 w 2427462"/>
              <a:gd name="connsiteY50" fmla="*/ 512186 h 2137320"/>
              <a:gd name="connsiteX51" fmla="*/ 152136 w 2427462"/>
              <a:gd name="connsiteY51" fmla="*/ 512186 h 2137320"/>
              <a:gd name="connsiteX52" fmla="*/ 152136 w 2427462"/>
              <a:gd name="connsiteY52" fmla="*/ 722741 h 2137320"/>
              <a:gd name="connsiteX53" fmla="*/ 152912 w 2427462"/>
              <a:gd name="connsiteY53" fmla="*/ 722741 h 2137320"/>
              <a:gd name="connsiteX54" fmla="*/ 0 w 2427462"/>
              <a:gd name="connsiteY54" fmla="*/ 1311527 h 2137320"/>
              <a:gd name="connsiteX55" fmla="*/ 37740 w 2427462"/>
              <a:gd name="connsiteY55" fmla="*/ 1347428 h 2137320"/>
              <a:gd name="connsiteX56" fmla="*/ 73440 w 2427462"/>
              <a:gd name="connsiteY56" fmla="*/ 1315375 h 2137320"/>
              <a:gd name="connsiteX57" fmla="*/ 429210 w 2427462"/>
              <a:gd name="connsiteY57" fmla="*/ 1039565 h 2137320"/>
              <a:gd name="connsiteX58" fmla="*/ 781246 w 2427462"/>
              <a:gd name="connsiteY58" fmla="*/ 1292657 h 2137320"/>
              <a:gd name="connsiteX59" fmla="*/ 816459 w 2427462"/>
              <a:gd name="connsiteY59" fmla="*/ 1321579 h 2137320"/>
              <a:gd name="connsiteX60" fmla="*/ 851671 w 2427462"/>
              <a:gd name="connsiteY60" fmla="*/ 1292657 h 2137320"/>
              <a:gd name="connsiteX61" fmla="*/ 1171281 w 2427462"/>
              <a:gd name="connsiteY61" fmla="*/ 1040800 h 2137320"/>
              <a:gd name="connsiteX62" fmla="*/ 1171281 w 2427462"/>
              <a:gd name="connsiteY62" fmla="*/ 1175158 h 2137320"/>
              <a:gd name="connsiteX63" fmla="*/ 1147414 w 2427462"/>
              <a:gd name="connsiteY63" fmla="*/ 1175158 h 2137320"/>
              <a:gd name="connsiteX64" fmla="*/ 1111512 w 2427462"/>
              <a:gd name="connsiteY64" fmla="*/ 1211060 h 2137320"/>
              <a:gd name="connsiteX65" fmla="*/ 1147414 w 2427462"/>
              <a:gd name="connsiteY65" fmla="*/ 1246961 h 2137320"/>
              <a:gd name="connsiteX66" fmla="*/ 1171281 w 2427462"/>
              <a:gd name="connsiteY66" fmla="*/ 1246961 h 2137320"/>
              <a:gd name="connsiteX67" fmla="*/ 1171281 w 2427462"/>
              <a:gd name="connsiteY67" fmla="*/ 2137320 h 2137320"/>
              <a:gd name="connsiteX68" fmla="*/ 1243084 w 2427462"/>
              <a:gd name="connsiteY68" fmla="*/ 1246990 h 2137320"/>
              <a:gd name="connsiteX69" fmla="*/ 1275912 w 2427462"/>
              <a:gd name="connsiteY69" fmla="*/ 1246990 h 2137320"/>
              <a:gd name="connsiteX70" fmla="*/ 1311814 w 2427462"/>
              <a:gd name="connsiteY70" fmla="*/ 1211089 h 2137320"/>
              <a:gd name="connsiteX71" fmla="*/ 1275912 w 2427462"/>
              <a:gd name="connsiteY71" fmla="*/ 1175187 h 2137320"/>
              <a:gd name="connsiteX72" fmla="*/ 1243084 w 2427462"/>
              <a:gd name="connsiteY72" fmla="*/ 1175187 h 2137320"/>
              <a:gd name="connsiteX73" fmla="*/ 1243084 w 2427462"/>
              <a:gd name="connsiteY73" fmla="*/ 1041576 h 2137320"/>
              <a:gd name="connsiteX74" fmla="*/ 1559449 w 2427462"/>
              <a:gd name="connsiteY74" fmla="*/ 1315404 h 2137320"/>
              <a:gd name="connsiteX75" fmla="*/ 1595149 w 2427462"/>
              <a:gd name="connsiteY75" fmla="*/ 1347457 h 2137320"/>
              <a:gd name="connsiteX76" fmla="*/ 1606207 w 2427462"/>
              <a:gd name="connsiteY76" fmla="*/ 1347457 h 2137320"/>
              <a:gd name="connsiteX77" fmla="*/ 1641907 w 2427462"/>
              <a:gd name="connsiteY77" fmla="*/ 1315404 h 2137320"/>
              <a:gd name="connsiteX78" fmla="*/ 1997706 w 2427462"/>
              <a:gd name="connsiteY78" fmla="*/ 1039594 h 2137320"/>
              <a:gd name="connsiteX79" fmla="*/ 2353447 w 2427462"/>
              <a:gd name="connsiteY79" fmla="*/ 1315404 h 2137320"/>
              <a:gd name="connsiteX80" fmla="*/ 2389148 w 2427462"/>
              <a:gd name="connsiteY80" fmla="*/ 1347457 h 2137320"/>
              <a:gd name="connsiteX81" fmla="*/ 2390986 w 2427462"/>
              <a:gd name="connsiteY81" fmla="*/ 1347457 h 2137320"/>
              <a:gd name="connsiteX82" fmla="*/ 2391560 w 2427462"/>
              <a:gd name="connsiteY82" fmla="*/ 1347457 h 2137320"/>
              <a:gd name="connsiteX83" fmla="*/ 2427462 w 2427462"/>
              <a:gd name="connsiteY83" fmla="*/ 1311556 h 2137320"/>
              <a:gd name="connsiteX84" fmla="*/ 2426859 w 2427462"/>
              <a:gd name="connsiteY84" fmla="*/ 1305036 h 2137320"/>
              <a:gd name="connsiteX85" fmla="*/ 88978 w 2427462"/>
              <a:gd name="connsiteY85" fmla="*/ 1113465 h 2137320"/>
              <a:gd name="connsiteX86" fmla="*/ 920889 w 2427462"/>
              <a:gd name="connsiteY86" fmla="*/ 208057 h 2137320"/>
              <a:gd name="connsiteX87" fmla="*/ 393050 w 2427462"/>
              <a:gd name="connsiteY87" fmla="*/ 969629 h 2137320"/>
              <a:gd name="connsiteX88" fmla="*/ 88978 w 2427462"/>
              <a:gd name="connsiteY88" fmla="*/ 1113465 h 2137320"/>
              <a:gd name="connsiteX89" fmla="*/ 467237 w 2427462"/>
              <a:gd name="connsiteY89" fmla="*/ 969399 h 2137320"/>
              <a:gd name="connsiteX90" fmla="*/ 1122800 w 2427462"/>
              <a:gd name="connsiteY90" fmla="*/ 201077 h 2137320"/>
              <a:gd name="connsiteX91" fmla="*/ 790409 w 2427462"/>
              <a:gd name="connsiteY91" fmla="*/ 1140635 h 2137320"/>
              <a:gd name="connsiteX92" fmla="*/ 467237 w 2427462"/>
              <a:gd name="connsiteY92" fmla="*/ 969399 h 2137320"/>
              <a:gd name="connsiteX93" fmla="*/ 863217 w 2427462"/>
              <a:gd name="connsiteY93" fmla="*/ 1114556 h 2137320"/>
              <a:gd name="connsiteX94" fmla="*/ 1171281 w 2427462"/>
              <a:gd name="connsiteY94" fmla="*/ 255418 h 2137320"/>
              <a:gd name="connsiteX95" fmla="*/ 1171281 w 2427462"/>
              <a:gd name="connsiteY95" fmla="*/ 968882 h 2137320"/>
              <a:gd name="connsiteX96" fmla="*/ 863217 w 2427462"/>
              <a:gd name="connsiteY96" fmla="*/ 1114556 h 2137320"/>
              <a:gd name="connsiteX97" fmla="*/ 1243084 w 2427462"/>
              <a:gd name="connsiteY97" fmla="*/ 969514 h 2137320"/>
              <a:gd name="connsiteX98" fmla="*/ 1243084 w 2427462"/>
              <a:gd name="connsiteY98" fmla="*/ 244849 h 2137320"/>
              <a:gd name="connsiteX99" fmla="*/ 1560368 w 2427462"/>
              <a:gd name="connsiteY99" fmla="*/ 1133886 h 2137320"/>
              <a:gd name="connsiteX100" fmla="*/ 1243084 w 2427462"/>
              <a:gd name="connsiteY100" fmla="*/ 969514 h 2137320"/>
              <a:gd name="connsiteX101" fmla="*/ 1632659 w 2427462"/>
              <a:gd name="connsiteY101" fmla="*/ 1145173 h 2137320"/>
              <a:gd name="connsiteX102" fmla="*/ 1300096 w 2427462"/>
              <a:gd name="connsiteY102" fmla="*/ 201077 h 2137320"/>
              <a:gd name="connsiteX103" fmla="*/ 1955744 w 2427462"/>
              <a:gd name="connsiteY103" fmla="*/ 969773 h 2137320"/>
              <a:gd name="connsiteX104" fmla="*/ 1632659 w 2427462"/>
              <a:gd name="connsiteY104" fmla="*/ 1145173 h 2137320"/>
              <a:gd name="connsiteX105" fmla="*/ 2029759 w 2427462"/>
              <a:gd name="connsiteY105" fmla="*/ 969428 h 2137320"/>
              <a:gd name="connsiteX106" fmla="*/ 1498789 w 2427462"/>
              <a:gd name="connsiteY106" fmla="*/ 206247 h 2137320"/>
              <a:gd name="connsiteX107" fmla="*/ 2337909 w 2427462"/>
              <a:gd name="connsiteY107" fmla="*/ 1113465 h 2137320"/>
              <a:gd name="connsiteX108" fmla="*/ 2029759 w 2427462"/>
              <a:gd name="connsiteY108" fmla="*/ 969428 h 2137320"/>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71281 w 2427462"/>
              <a:gd name="connsiteY62" fmla="*/ 1175158 h 1347457"/>
              <a:gd name="connsiteX63" fmla="*/ 1147414 w 2427462"/>
              <a:gd name="connsiteY63" fmla="*/ 1175158 h 1347457"/>
              <a:gd name="connsiteX64" fmla="*/ 1111512 w 2427462"/>
              <a:gd name="connsiteY64" fmla="*/ 1211060 h 1347457"/>
              <a:gd name="connsiteX65" fmla="*/ 1147414 w 2427462"/>
              <a:gd name="connsiteY65" fmla="*/ 1246961 h 1347457"/>
              <a:gd name="connsiteX66" fmla="*/ 1171281 w 2427462"/>
              <a:gd name="connsiteY66" fmla="*/ 1246961 h 1347457"/>
              <a:gd name="connsiteX67" fmla="*/ 1243084 w 2427462"/>
              <a:gd name="connsiteY67" fmla="*/ 1246990 h 1347457"/>
              <a:gd name="connsiteX68" fmla="*/ 1275912 w 2427462"/>
              <a:gd name="connsiteY68" fmla="*/ 1246990 h 1347457"/>
              <a:gd name="connsiteX69" fmla="*/ 1311814 w 2427462"/>
              <a:gd name="connsiteY69" fmla="*/ 1211089 h 1347457"/>
              <a:gd name="connsiteX70" fmla="*/ 1275912 w 2427462"/>
              <a:gd name="connsiteY70" fmla="*/ 1175187 h 1347457"/>
              <a:gd name="connsiteX71" fmla="*/ 1243084 w 2427462"/>
              <a:gd name="connsiteY71" fmla="*/ 1175187 h 1347457"/>
              <a:gd name="connsiteX72" fmla="*/ 1243084 w 2427462"/>
              <a:gd name="connsiteY72" fmla="*/ 1041576 h 1347457"/>
              <a:gd name="connsiteX73" fmla="*/ 1559449 w 2427462"/>
              <a:gd name="connsiteY73" fmla="*/ 1315404 h 1347457"/>
              <a:gd name="connsiteX74" fmla="*/ 1595149 w 2427462"/>
              <a:gd name="connsiteY74" fmla="*/ 1347457 h 1347457"/>
              <a:gd name="connsiteX75" fmla="*/ 1606207 w 2427462"/>
              <a:gd name="connsiteY75" fmla="*/ 1347457 h 1347457"/>
              <a:gd name="connsiteX76" fmla="*/ 1641907 w 2427462"/>
              <a:gd name="connsiteY76" fmla="*/ 1315404 h 1347457"/>
              <a:gd name="connsiteX77" fmla="*/ 1997706 w 2427462"/>
              <a:gd name="connsiteY77" fmla="*/ 1039594 h 1347457"/>
              <a:gd name="connsiteX78" fmla="*/ 2353447 w 2427462"/>
              <a:gd name="connsiteY78" fmla="*/ 1315404 h 1347457"/>
              <a:gd name="connsiteX79" fmla="*/ 2389148 w 2427462"/>
              <a:gd name="connsiteY79" fmla="*/ 1347457 h 1347457"/>
              <a:gd name="connsiteX80" fmla="*/ 2390986 w 2427462"/>
              <a:gd name="connsiteY80" fmla="*/ 1347457 h 1347457"/>
              <a:gd name="connsiteX81" fmla="*/ 2391560 w 2427462"/>
              <a:gd name="connsiteY81" fmla="*/ 1347457 h 1347457"/>
              <a:gd name="connsiteX82" fmla="*/ 2427462 w 2427462"/>
              <a:gd name="connsiteY82" fmla="*/ 1311556 h 1347457"/>
              <a:gd name="connsiteX83" fmla="*/ 2426859 w 2427462"/>
              <a:gd name="connsiteY83" fmla="*/ 1305036 h 1347457"/>
              <a:gd name="connsiteX84" fmla="*/ 88978 w 2427462"/>
              <a:gd name="connsiteY84" fmla="*/ 1113465 h 1347457"/>
              <a:gd name="connsiteX85" fmla="*/ 920889 w 2427462"/>
              <a:gd name="connsiteY85" fmla="*/ 208057 h 1347457"/>
              <a:gd name="connsiteX86" fmla="*/ 393050 w 2427462"/>
              <a:gd name="connsiteY86" fmla="*/ 969629 h 1347457"/>
              <a:gd name="connsiteX87" fmla="*/ 88978 w 2427462"/>
              <a:gd name="connsiteY87" fmla="*/ 1113465 h 1347457"/>
              <a:gd name="connsiteX88" fmla="*/ 467237 w 2427462"/>
              <a:gd name="connsiteY88" fmla="*/ 969399 h 1347457"/>
              <a:gd name="connsiteX89" fmla="*/ 1122800 w 2427462"/>
              <a:gd name="connsiteY89" fmla="*/ 201077 h 1347457"/>
              <a:gd name="connsiteX90" fmla="*/ 790409 w 2427462"/>
              <a:gd name="connsiteY90" fmla="*/ 1140635 h 1347457"/>
              <a:gd name="connsiteX91" fmla="*/ 467237 w 2427462"/>
              <a:gd name="connsiteY91" fmla="*/ 969399 h 1347457"/>
              <a:gd name="connsiteX92" fmla="*/ 863217 w 2427462"/>
              <a:gd name="connsiteY92" fmla="*/ 1114556 h 1347457"/>
              <a:gd name="connsiteX93" fmla="*/ 1171281 w 2427462"/>
              <a:gd name="connsiteY93" fmla="*/ 255418 h 1347457"/>
              <a:gd name="connsiteX94" fmla="*/ 1171281 w 2427462"/>
              <a:gd name="connsiteY94" fmla="*/ 968882 h 1347457"/>
              <a:gd name="connsiteX95" fmla="*/ 863217 w 2427462"/>
              <a:gd name="connsiteY95" fmla="*/ 1114556 h 1347457"/>
              <a:gd name="connsiteX96" fmla="*/ 1243084 w 2427462"/>
              <a:gd name="connsiteY96" fmla="*/ 969514 h 1347457"/>
              <a:gd name="connsiteX97" fmla="*/ 1243084 w 2427462"/>
              <a:gd name="connsiteY97" fmla="*/ 244849 h 1347457"/>
              <a:gd name="connsiteX98" fmla="*/ 1560368 w 2427462"/>
              <a:gd name="connsiteY98" fmla="*/ 1133886 h 1347457"/>
              <a:gd name="connsiteX99" fmla="*/ 1243084 w 2427462"/>
              <a:gd name="connsiteY99" fmla="*/ 969514 h 1347457"/>
              <a:gd name="connsiteX100" fmla="*/ 1632659 w 2427462"/>
              <a:gd name="connsiteY100" fmla="*/ 1145173 h 1347457"/>
              <a:gd name="connsiteX101" fmla="*/ 1300096 w 2427462"/>
              <a:gd name="connsiteY101" fmla="*/ 201077 h 1347457"/>
              <a:gd name="connsiteX102" fmla="*/ 1955744 w 2427462"/>
              <a:gd name="connsiteY102" fmla="*/ 969773 h 1347457"/>
              <a:gd name="connsiteX103" fmla="*/ 1632659 w 2427462"/>
              <a:gd name="connsiteY103" fmla="*/ 1145173 h 1347457"/>
              <a:gd name="connsiteX104" fmla="*/ 2029759 w 2427462"/>
              <a:gd name="connsiteY104" fmla="*/ 969428 h 1347457"/>
              <a:gd name="connsiteX105" fmla="*/ 1498789 w 2427462"/>
              <a:gd name="connsiteY105" fmla="*/ 206247 h 1347457"/>
              <a:gd name="connsiteX106" fmla="*/ 2337909 w 2427462"/>
              <a:gd name="connsiteY106" fmla="*/ 1113465 h 1347457"/>
              <a:gd name="connsiteX107" fmla="*/ 2029759 w 2427462"/>
              <a:gd name="connsiteY107"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71281 w 2427462"/>
              <a:gd name="connsiteY62" fmla="*/ 1175158 h 1347457"/>
              <a:gd name="connsiteX63" fmla="*/ 1111512 w 2427462"/>
              <a:gd name="connsiteY63" fmla="*/ 1211060 h 1347457"/>
              <a:gd name="connsiteX64" fmla="*/ 1147414 w 2427462"/>
              <a:gd name="connsiteY64" fmla="*/ 1246961 h 1347457"/>
              <a:gd name="connsiteX65" fmla="*/ 1171281 w 2427462"/>
              <a:gd name="connsiteY65" fmla="*/ 1246961 h 1347457"/>
              <a:gd name="connsiteX66" fmla="*/ 1243084 w 2427462"/>
              <a:gd name="connsiteY66" fmla="*/ 1246990 h 1347457"/>
              <a:gd name="connsiteX67" fmla="*/ 1275912 w 2427462"/>
              <a:gd name="connsiteY67" fmla="*/ 1246990 h 1347457"/>
              <a:gd name="connsiteX68" fmla="*/ 1311814 w 2427462"/>
              <a:gd name="connsiteY68" fmla="*/ 1211089 h 1347457"/>
              <a:gd name="connsiteX69" fmla="*/ 1275912 w 2427462"/>
              <a:gd name="connsiteY69" fmla="*/ 1175187 h 1347457"/>
              <a:gd name="connsiteX70" fmla="*/ 1243084 w 2427462"/>
              <a:gd name="connsiteY70" fmla="*/ 1175187 h 1347457"/>
              <a:gd name="connsiteX71" fmla="*/ 1243084 w 2427462"/>
              <a:gd name="connsiteY71" fmla="*/ 1041576 h 1347457"/>
              <a:gd name="connsiteX72" fmla="*/ 1559449 w 2427462"/>
              <a:gd name="connsiteY72" fmla="*/ 1315404 h 1347457"/>
              <a:gd name="connsiteX73" fmla="*/ 1595149 w 2427462"/>
              <a:gd name="connsiteY73" fmla="*/ 1347457 h 1347457"/>
              <a:gd name="connsiteX74" fmla="*/ 1606207 w 2427462"/>
              <a:gd name="connsiteY74" fmla="*/ 1347457 h 1347457"/>
              <a:gd name="connsiteX75" fmla="*/ 1641907 w 2427462"/>
              <a:gd name="connsiteY75" fmla="*/ 1315404 h 1347457"/>
              <a:gd name="connsiteX76" fmla="*/ 1997706 w 2427462"/>
              <a:gd name="connsiteY76" fmla="*/ 1039594 h 1347457"/>
              <a:gd name="connsiteX77" fmla="*/ 2353447 w 2427462"/>
              <a:gd name="connsiteY77" fmla="*/ 1315404 h 1347457"/>
              <a:gd name="connsiteX78" fmla="*/ 2389148 w 2427462"/>
              <a:gd name="connsiteY78" fmla="*/ 1347457 h 1347457"/>
              <a:gd name="connsiteX79" fmla="*/ 2390986 w 2427462"/>
              <a:gd name="connsiteY79" fmla="*/ 1347457 h 1347457"/>
              <a:gd name="connsiteX80" fmla="*/ 2391560 w 2427462"/>
              <a:gd name="connsiteY80" fmla="*/ 1347457 h 1347457"/>
              <a:gd name="connsiteX81" fmla="*/ 2427462 w 2427462"/>
              <a:gd name="connsiteY81" fmla="*/ 1311556 h 1347457"/>
              <a:gd name="connsiteX82" fmla="*/ 2426859 w 2427462"/>
              <a:gd name="connsiteY82" fmla="*/ 1305036 h 1347457"/>
              <a:gd name="connsiteX83" fmla="*/ 88978 w 2427462"/>
              <a:gd name="connsiteY83" fmla="*/ 1113465 h 1347457"/>
              <a:gd name="connsiteX84" fmla="*/ 920889 w 2427462"/>
              <a:gd name="connsiteY84" fmla="*/ 208057 h 1347457"/>
              <a:gd name="connsiteX85" fmla="*/ 393050 w 2427462"/>
              <a:gd name="connsiteY85" fmla="*/ 969629 h 1347457"/>
              <a:gd name="connsiteX86" fmla="*/ 88978 w 2427462"/>
              <a:gd name="connsiteY86" fmla="*/ 1113465 h 1347457"/>
              <a:gd name="connsiteX87" fmla="*/ 467237 w 2427462"/>
              <a:gd name="connsiteY87" fmla="*/ 969399 h 1347457"/>
              <a:gd name="connsiteX88" fmla="*/ 1122800 w 2427462"/>
              <a:gd name="connsiteY88" fmla="*/ 201077 h 1347457"/>
              <a:gd name="connsiteX89" fmla="*/ 790409 w 2427462"/>
              <a:gd name="connsiteY89" fmla="*/ 1140635 h 1347457"/>
              <a:gd name="connsiteX90" fmla="*/ 467237 w 2427462"/>
              <a:gd name="connsiteY90" fmla="*/ 969399 h 1347457"/>
              <a:gd name="connsiteX91" fmla="*/ 863217 w 2427462"/>
              <a:gd name="connsiteY91" fmla="*/ 1114556 h 1347457"/>
              <a:gd name="connsiteX92" fmla="*/ 1171281 w 2427462"/>
              <a:gd name="connsiteY92" fmla="*/ 255418 h 1347457"/>
              <a:gd name="connsiteX93" fmla="*/ 1171281 w 2427462"/>
              <a:gd name="connsiteY93" fmla="*/ 968882 h 1347457"/>
              <a:gd name="connsiteX94" fmla="*/ 863217 w 2427462"/>
              <a:gd name="connsiteY94" fmla="*/ 1114556 h 1347457"/>
              <a:gd name="connsiteX95" fmla="*/ 1243084 w 2427462"/>
              <a:gd name="connsiteY95" fmla="*/ 969514 h 1347457"/>
              <a:gd name="connsiteX96" fmla="*/ 1243084 w 2427462"/>
              <a:gd name="connsiteY96" fmla="*/ 244849 h 1347457"/>
              <a:gd name="connsiteX97" fmla="*/ 1560368 w 2427462"/>
              <a:gd name="connsiteY97" fmla="*/ 1133886 h 1347457"/>
              <a:gd name="connsiteX98" fmla="*/ 1243084 w 2427462"/>
              <a:gd name="connsiteY98" fmla="*/ 969514 h 1347457"/>
              <a:gd name="connsiteX99" fmla="*/ 1632659 w 2427462"/>
              <a:gd name="connsiteY99" fmla="*/ 1145173 h 1347457"/>
              <a:gd name="connsiteX100" fmla="*/ 1300096 w 2427462"/>
              <a:gd name="connsiteY100" fmla="*/ 201077 h 1347457"/>
              <a:gd name="connsiteX101" fmla="*/ 1955744 w 2427462"/>
              <a:gd name="connsiteY101" fmla="*/ 969773 h 1347457"/>
              <a:gd name="connsiteX102" fmla="*/ 1632659 w 2427462"/>
              <a:gd name="connsiteY102" fmla="*/ 1145173 h 1347457"/>
              <a:gd name="connsiteX103" fmla="*/ 2029759 w 2427462"/>
              <a:gd name="connsiteY103" fmla="*/ 969428 h 1347457"/>
              <a:gd name="connsiteX104" fmla="*/ 1498789 w 2427462"/>
              <a:gd name="connsiteY104" fmla="*/ 206247 h 1347457"/>
              <a:gd name="connsiteX105" fmla="*/ 2337909 w 2427462"/>
              <a:gd name="connsiteY105" fmla="*/ 1113465 h 1347457"/>
              <a:gd name="connsiteX106" fmla="*/ 2029759 w 2427462"/>
              <a:gd name="connsiteY106"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11512 w 2427462"/>
              <a:gd name="connsiteY62" fmla="*/ 1211060 h 1347457"/>
              <a:gd name="connsiteX63" fmla="*/ 1147414 w 2427462"/>
              <a:gd name="connsiteY63" fmla="*/ 1246961 h 1347457"/>
              <a:gd name="connsiteX64" fmla="*/ 1171281 w 2427462"/>
              <a:gd name="connsiteY64" fmla="*/ 1246961 h 1347457"/>
              <a:gd name="connsiteX65" fmla="*/ 1243084 w 2427462"/>
              <a:gd name="connsiteY65" fmla="*/ 1246990 h 1347457"/>
              <a:gd name="connsiteX66" fmla="*/ 1275912 w 2427462"/>
              <a:gd name="connsiteY66" fmla="*/ 1246990 h 1347457"/>
              <a:gd name="connsiteX67" fmla="*/ 1311814 w 2427462"/>
              <a:gd name="connsiteY67" fmla="*/ 1211089 h 1347457"/>
              <a:gd name="connsiteX68" fmla="*/ 1275912 w 2427462"/>
              <a:gd name="connsiteY68" fmla="*/ 1175187 h 1347457"/>
              <a:gd name="connsiteX69" fmla="*/ 1243084 w 2427462"/>
              <a:gd name="connsiteY69" fmla="*/ 1175187 h 1347457"/>
              <a:gd name="connsiteX70" fmla="*/ 1243084 w 2427462"/>
              <a:gd name="connsiteY70" fmla="*/ 1041576 h 1347457"/>
              <a:gd name="connsiteX71" fmla="*/ 1559449 w 2427462"/>
              <a:gd name="connsiteY71" fmla="*/ 1315404 h 1347457"/>
              <a:gd name="connsiteX72" fmla="*/ 1595149 w 2427462"/>
              <a:gd name="connsiteY72" fmla="*/ 1347457 h 1347457"/>
              <a:gd name="connsiteX73" fmla="*/ 1606207 w 2427462"/>
              <a:gd name="connsiteY73" fmla="*/ 1347457 h 1347457"/>
              <a:gd name="connsiteX74" fmla="*/ 1641907 w 2427462"/>
              <a:gd name="connsiteY74" fmla="*/ 1315404 h 1347457"/>
              <a:gd name="connsiteX75" fmla="*/ 1997706 w 2427462"/>
              <a:gd name="connsiteY75" fmla="*/ 1039594 h 1347457"/>
              <a:gd name="connsiteX76" fmla="*/ 2353447 w 2427462"/>
              <a:gd name="connsiteY76" fmla="*/ 1315404 h 1347457"/>
              <a:gd name="connsiteX77" fmla="*/ 2389148 w 2427462"/>
              <a:gd name="connsiteY77" fmla="*/ 1347457 h 1347457"/>
              <a:gd name="connsiteX78" fmla="*/ 2390986 w 2427462"/>
              <a:gd name="connsiteY78" fmla="*/ 1347457 h 1347457"/>
              <a:gd name="connsiteX79" fmla="*/ 2391560 w 2427462"/>
              <a:gd name="connsiteY79" fmla="*/ 1347457 h 1347457"/>
              <a:gd name="connsiteX80" fmla="*/ 2427462 w 2427462"/>
              <a:gd name="connsiteY80" fmla="*/ 1311556 h 1347457"/>
              <a:gd name="connsiteX81" fmla="*/ 2426859 w 2427462"/>
              <a:gd name="connsiteY81" fmla="*/ 1305036 h 1347457"/>
              <a:gd name="connsiteX82" fmla="*/ 88978 w 2427462"/>
              <a:gd name="connsiteY82" fmla="*/ 1113465 h 1347457"/>
              <a:gd name="connsiteX83" fmla="*/ 920889 w 2427462"/>
              <a:gd name="connsiteY83" fmla="*/ 208057 h 1347457"/>
              <a:gd name="connsiteX84" fmla="*/ 393050 w 2427462"/>
              <a:gd name="connsiteY84" fmla="*/ 969629 h 1347457"/>
              <a:gd name="connsiteX85" fmla="*/ 88978 w 2427462"/>
              <a:gd name="connsiteY85" fmla="*/ 1113465 h 1347457"/>
              <a:gd name="connsiteX86" fmla="*/ 467237 w 2427462"/>
              <a:gd name="connsiteY86" fmla="*/ 969399 h 1347457"/>
              <a:gd name="connsiteX87" fmla="*/ 1122800 w 2427462"/>
              <a:gd name="connsiteY87" fmla="*/ 201077 h 1347457"/>
              <a:gd name="connsiteX88" fmla="*/ 790409 w 2427462"/>
              <a:gd name="connsiteY88" fmla="*/ 1140635 h 1347457"/>
              <a:gd name="connsiteX89" fmla="*/ 467237 w 2427462"/>
              <a:gd name="connsiteY89" fmla="*/ 969399 h 1347457"/>
              <a:gd name="connsiteX90" fmla="*/ 863217 w 2427462"/>
              <a:gd name="connsiteY90" fmla="*/ 1114556 h 1347457"/>
              <a:gd name="connsiteX91" fmla="*/ 1171281 w 2427462"/>
              <a:gd name="connsiteY91" fmla="*/ 255418 h 1347457"/>
              <a:gd name="connsiteX92" fmla="*/ 1171281 w 2427462"/>
              <a:gd name="connsiteY92" fmla="*/ 968882 h 1347457"/>
              <a:gd name="connsiteX93" fmla="*/ 863217 w 2427462"/>
              <a:gd name="connsiteY93" fmla="*/ 1114556 h 1347457"/>
              <a:gd name="connsiteX94" fmla="*/ 1243084 w 2427462"/>
              <a:gd name="connsiteY94" fmla="*/ 969514 h 1347457"/>
              <a:gd name="connsiteX95" fmla="*/ 1243084 w 2427462"/>
              <a:gd name="connsiteY95" fmla="*/ 244849 h 1347457"/>
              <a:gd name="connsiteX96" fmla="*/ 1560368 w 2427462"/>
              <a:gd name="connsiteY96" fmla="*/ 1133886 h 1347457"/>
              <a:gd name="connsiteX97" fmla="*/ 1243084 w 2427462"/>
              <a:gd name="connsiteY97" fmla="*/ 969514 h 1347457"/>
              <a:gd name="connsiteX98" fmla="*/ 1632659 w 2427462"/>
              <a:gd name="connsiteY98" fmla="*/ 1145173 h 1347457"/>
              <a:gd name="connsiteX99" fmla="*/ 1300096 w 2427462"/>
              <a:gd name="connsiteY99" fmla="*/ 201077 h 1347457"/>
              <a:gd name="connsiteX100" fmla="*/ 1955744 w 2427462"/>
              <a:gd name="connsiteY100" fmla="*/ 969773 h 1347457"/>
              <a:gd name="connsiteX101" fmla="*/ 1632659 w 2427462"/>
              <a:gd name="connsiteY101" fmla="*/ 1145173 h 1347457"/>
              <a:gd name="connsiteX102" fmla="*/ 2029759 w 2427462"/>
              <a:gd name="connsiteY102" fmla="*/ 969428 h 1347457"/>
              <a:gd name="connsiteX103" fmla="*/ 1498789 w 2427462"/>
              <a:gd name="connsiteY103" fmla="*/ 206247 h 1347457"/>
              <a:gd name="connsiteX104" fmla="*/ 2337909 w 2427462"/>
              <a:gd name="connsiteY104" fmla="*/ 1113465 h 1347457"/>
              <a:gd name="connsiteX105" fmla="*/ 2029759 w 2427462"/>
              <a:gd name="connsiteY105"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47414 w 2427462"/>
              <a:gd name="connsiteY62" fmla="*/ 1246961 h 1347457"/>
              <a:gd name="connsiteX63" fmla="*/ 1171281 w 2427462"/>
              <a:gd name="connsiteY63" fmla="*/ 1246961 h 1347457"/>
              <a:gd name="connsiteX64" fmla="*/ 1243084 w 2427462"/>
              <a:gd name="connsiteY64" fmla="*/ 1246990 h 1347457"/>
              <a:gd name="connsiteX65" fmla="*/ 1275912 w 2427462"/>
              <a:gd name="connsiteY65" fmla="*/ 1246990 h 1347457"/>
              <a:gd name="connsiteX66" fmla="*/ 1311814 w 2427462"/>
              <a:gd name="connsiteY66" fmla="*/ 1211089 h 1347457"/>
              <a:gd name="connsiteX67" fmla="*/ 1275912 w 2427462"/>
              <a:gd name="connsiteY67" fmla="*/ 1175187 h 1347457"/>
              <a:gd name="connsiteX68" fmla="*/ 1243084 w 2427462"/>
              <a:gd name="connsiteY68" fmla="*/ 1175187 h 1347457"/>
              <a:gd name="connsiteX69" fmla="*/ 1243084 w 2427462"/>
              <a:gd name="connsiteY69" fmla="*/ 1041576 h 1347457"/>
              <a:gd name="connsiteX70" fmla="*/ 1559449 w 2427462"/>
              <a:gd name="connsiteY70" fmla="*/ 1315404 h 1347457"/>
              <a:gd name="connsiteX71" fmla="*/ 1595149 w 2427462"/>
              <a:gd name="connsiteY71" fmla="*/ 1347457 h 1347457"/>
              <a:gd name="connsiteX72" fmla="*/ 1606207 w 2427462"/>
              <a:gd name="connsiteY72" fmla="*/ 1347457 h 1347457"/>
              <a:gd name="connsiteX73" fmla="*/ 1641907 w 2427462"/>
              <a:gd name="connsiteY73" fmla="*/ 1315404 h 1347457"/>
              <a:gd name="connsiteX74" fmla="*/ 1997706 w 2427462"/>
              <a:gd name="connsiteY74" fmla="*/ 1039594 h 1347457"/>
              <a:gd name="connsiteX75" fmla="*/ 2353447 w 2427462"/>
              <a:gd name="connsiteY75" fmla="*/ 1315404 h 1347457"/>
              <a:gd name="connsiteX76" fmla="*/ 2389148 w 2427462"/>
              <a:gd name="connsiteY76" fmla="*/ 1347457 h 1347457"/>
              <a:gd name="connsiteX77" fmla="*/ 2390986 w 2427462"/>
              <a:gd name="connsiteY77" fmla="*/ 1347457 h 1347457"/>
              <a:gd name="connsiteX78" fmla="*/ 2391560 w 2427462"/>
              <a:gd name="connsiteY78" fmla="*/ 1347457 h 1347457"/>
              <a:gd name="connsiteX79" fmla="*/ 2427462 w 2427462"/>
              <a:gd name="connsiteY79" fmla="*/ 1311556 h 1347457"/>
              <a:gd name="connsiteX80" fmla="*/ 2426859 w 2427462"/>
              <a:gd name="connsiteY80" fmla="*/ 1305036 h 1347457"/>
              <a:gd name="connsiteX81" fmla="*/ 88978 w 2427462"/>
              <a:gd name="connsiteY81" fmla="*/ 1113465 h 1347457"/>
              <a:gd name="connsiteX82" fmla="*/ 920889 w 2427462"/>
              <a:gd name="connsiteY82" fmla="*/ 208057 h 1347457"/>
              <a:gd name="connsiteX83" fmla="*/ 393050 w 2427462"/>
              <a:gd name="connsiteY83" fmla="*/ 969629 h 1347457"/>
              <a:gd name="connsiteX84" fmla="*/ 88978 w 2427462"/>
              <a:gd name="connsiteY84" fmla="*/ 1113465 h 1347457"/>
              <a:gd name="connsiteX85" fmla="*/ 467237 w 2427462"/>
              <a:gd name="connsiteY85" fmla="*/ 969399 h 1347457"/>
              <a:gd name="connsiteX86" fmla="*/ 1122800 w 2427462"/>
              <a:gd name="connsiteY86" fmla="*/ 201077 h 1347457"/>
              <a:gd name="connsiteX87" fmla="*/ 790409 w 2427462"/>
              <a:gd name="connsiteY87" fmla="*/ 1140635 h 1347457"/>
              <a:gd name="connsiteX88" fmla="*/ 467237 w 2427462"/>
              <a:gd name="connsiteY88" fmla="*/ 969399 h 1347457"/>
              <a:gd name="connsiteX89" fmla="*/ 863217 w 2427462"/>
              <a:gd name="connsiteY89" fmla="*/ 1114556 h 1347457"/>
              <a:gd name="connsiteX90" fmla="*/ 1171281 w 2427462"/>
              <a:gd name="connsiteY90" fmla="*/ 255418 h 1347457"/>
              <a:gd name="connsiteX91" fmla="*/ 1171281 w 2427462"/>
              <a:gd name="connsiteY91" fmla="*/ 968882 h 1347457"/>
              <a:gd name="connsiteX92" fmla="*/ 863217 w 2427462"/>
              <a:gd name="connsiteY92" fmla="*/ 1114556 h 1347457"/>
              <a:gd name="connsiteX93" fmla="*/ 1243084 w 2427462"/>
              <a:gd name="connsiteY93" fmla="*/ 969514 h 1347457"/>
              <a:gd name="connsiteX94" fmla="*/ 1243084 w 2427462"/>
              <a:gd name="connsiteY94" fmla="*/ 244849 h 1347457"/>
              <a:gd name="connsiteX95" fmla="*/ 1560368 w 2427462"/>
              <a:gd name="connsiteY95" fmla="*/ 1133886 h 1347457"/>
              <a:gd name="connsiteX96" fmla="*/ 1243084 w 2427462"/>
              <a:gd name="connsiteY96" fmla="*/ 969514 h 1347457"/>
              <a:gd name="connsiteX97" fmla="*/ 1632659 w 2427462"/>
              <a:gd name="connsiteY97" fmla="*/ 1145173 h 1347457"/>
              <a:gd name="connsiteX98" fmla="*/ 1300096 w 2427462"/>
              <a:gd name="connsiteY98" fmla="*/ 201077 h 1347457"/>
              <a:gd name="connsiteX99" fmla="*/ 1955744 w 2427462"/>
              <a:gd name="connsiteY99" fmla="*/ 969773 h 1347457"/>
              <a:gd name="connsiteX100" fmla="*/ 1632659 w 2427462"/>
              <a:gd name="connsiteY100" fmla="*/ 1145173 h 1347457"/>
              <a:gd name="connsiteX101" fmla="*/ 2029759 w 2427462"/>
              <a:gd name="connsiteY101" fmla="*/ 969428 h 1347457"/>
              <a:gd name="connsiteX102" fmla="*/ 1498789 w 2427462"/>
              <a:gd name="connsiteY102" fmla="*/ 206247 h 1347457"/>
              <a:gd name="connsiteX103" fmla="*/ 2337909 w 2427462"/>
              <a:gd name="connsiteY103" fmla="*/ 1113465 h 1347457"/>
              <a:gd name="connsiteX104" fmla="*/ 2029759 w 2427462"/>
              <a:gd name="connsiteY104"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47414 w 2427462"/>
              <a:gd name="connsiteY62" fmla="*/ 1246961 h 1347457"/>
              <a:gd name="connsiteX63" fmla="*/ 1171281 w 2427462"/>
              <a:gd name="connsiteY63" fmla="*/ 1246961 h 1347457"/>
              <a:gd name="connsiteX64" fmla="*/ 1243084 w 2427462"/>
              <a:gd name="connsiteY64" fmla="*/ 1246990 h 1347457"/>
              <a:gd name="connsiteX65" fmla="*/ 1311814 w 2427462"/>
              <a:gd name="connsiteY65" fmla="*/ 1211089 h 1347457"/>
              <a:gd name="connsiteX66" fmla="*/ 1275912 w 2427462"/>
              <a:gd name="connsiteY66" fmla="*/ 1175187 h 1347457"/>
              <a:gd name="connsiteX67" fmla="*/ 1243084 w 2427462"/>
              <a:gd name="connsiteY67" fmla="*/ 1175187 h 1347457"/>
              <a:gd name="connsiteX68" fmla="*/ 1243084 w 2427462"/>
              <a:gd name="connsiteY68" fmla="*/ 1041576 h 1347457"/>
              <a:gd name="connsiteX69" fmla="*/ 1559449 w 2427462"/>
              <a:gd name="connsiteY69" fmla="*/ 1315404 h 1347457"/>
              <a:gd name="connsiteX70" fmla="*/ 1595149 w 2427462"/>
              <a:gd name="connsiteY70" fmla="*/ 1347457 h 1347457"/>
              <a:gd name="connsiteX71" fmla="*/ 1606207 w 2427462"/>
              <a:gd name="connsiteY71" fmla="*/ 1347457 h 1347457"/>
              <a:gd name="connsiteX72" fmla="*/ 1641907 w 2427462"/>
              <a:gd name="connsiteY72" fmla="*/ 1315404 h 1347457"/>
              <a:gd name="connsiteX73" fmla="*/ 1997706 w 2427462"/>
              <a:gd name="connsiteY73" fmla="*/ 1039594 h 1347457"/>
              <a:gd name="connsiteX74" fmla="*/ 2353447 w 2427462"/>
              <a:gd name="connsiteY74" fmla="*/ 1315404 h 1347457"/>
              <a:gd name="connsiteX75" fmla="*/ 2389148 w 2427462"/>
              <a:gd name="connsiteY75" fmla="*/ 1347457 h 1347457"/>
              <a:gd name="connsiteX76" fmla="*/ 2390986 w 2427462"/>
              <a:gd name="connsiteY76" fmla="*/ 1347457 h 1347457"/>
              <a:gd name="connsiteX77" fmla="*/ 2391560 w 2427462"/>
              <a:gd name="connsiteY77" fmla="*/ 1347457 h 1347457"/>
              <a:gd name="connsiteX78" fmla="*/ 2427462 w 2427462"/>
              <a:gd name="connsiteY78" fmla="*/ 1311556 h 1347457"/>
              <a:gd name="connsiteX79" fmla="*/ 2426859 w 2427462"/>
              <a:gd name="connsiteY79" fmla="*/ 1305036 h 1347457"/>
              <a:gd name="connsiteX80" fmla="*/ 88978 w 2427462"/>
              <a:gd name="connsiteY80" fmla="*/ 1113465 h 1347457"/>
              <a:gd name="connsiteX81" fmla="*/ 920889 w 2427462"/>
              <a:gd name="connsiteY81" fmla="*/ 208057 h 1347457"/>
              <a:gd name="connsiteX82" fmla="*/ 393050 w 2427462"/>
              <a:gd name="connsiteY82" fmla="*/ 969629 h 1347457"/>
              <a:gd name="connsiteX83" fmla="*/ 88978 w 2427462"/>
              <a:gd name="connsiteY83" fmla="*/ 1113465 h 1347457"/>
              <a:gd name="connsiteX84" fmla="*/ 467237 w 2427462"/>
              <a:gd name="connsiteY84" fmla="*/ 969399 h 1347457"/>
              <a:gd name="connsiteX85" fmla="*/ 1122800 w 2427462"/>
              <a:gd name="connsiteY85" fmla="*/ 201077 h 1347457"/>
              <a:gd name="connsiteX86" fmla="*/ 790409 w 2427462"/>
              <a:gd name="connsiteY86" fmla="*/ 1140635 h 1347457"/>
              <a:gd name="connsiteX87" fmla="*/ 467237 w 2427462"/>
              <a:gd name="connsiteY87" fmla="*/ 969399 h 1347457"/>
              <a:gd name="connsiteX88" fmla="*/ 863217 w 2427462"/>
              <a:gd name="connsiteY88" fmla="*/ 1114556 h 1347457"/>
              <a:gd name="connsiteX89" fmla="*/ 1171281 w 2427462"/>
              <a:gd name="connsiteY89" fmla="*/ 255418 h 1347457"/>
              <a:gd name="connsiteX90" fmla="*/ 1171281 w 2427462"/>
              <a:gd name="connsiteY90" fmla="*/ 968882 h 1347457"/>
              <a:gd name="connsiteX91" fmla="*/ 863217 w 2427462"/>
              <a:gd name="connsiteY91" fmla="*/ 1114556 h 1347457"/>
              <a:gd name="connsiteX92" fmla="*/ 1243084 w 2427462"/>
              <a:gd name="connsiteY92" fmla="*/ 969514 h 1347457"/>
              <a:gd name="connsiteX93" fmla="*/ 1243084 w 2427462"/>
              <a:gd name="connsiteY93" fmla="*/ 244849 h 1347457"/>
              <a:gd name="connsiteX94" fmla="*/ 1560368 w 2427462"/>
              <a:gd name="connsiteY94" fmla="*/ 1133886 h 1347457"/>
              <a:gd name="connsiteX95" fmla="*/ 1243084 w 2427462"/>
              <a:gd name="connsiteY95" fmla="*/ 969514 h 1347457"/>
              <a:gd name="connsiteX96" fmla="*/ 1632659 w 2427462"/>
              <a:gd name="connsiteY96" fmla="*/ 1145173 h 1347457"/>
              <a:gd name="connsiteX97" fmla="*/ 1300096 w 2427462"/>
              <a:gd name="connsiteY97" fmla="*/ 201077 h 1347457"/>
              <a:gd name="connsiteX98" fmla="*/ 1955744 w 2427462"/>
              <a:gd name="connsiteY98" fmla="*/ 969773 h 1347457"/>
              <a:gd name="connsiteX99" fmla="*/ 1632659 w 2427462"/>
              <a:gd name="connsiteY99" fmla="*/ 1145173 h 1347457"/>
              <a:gd name="connsiteX100" fmla="*/ 2029759 w 2427462"/>
              <a:gd name="connsiteY100" fmla="*/ 969428 h 1347457"/>
              <a:gd name="connsiteX101" fmla="*/ 1498789 w 2427462"/>
              <a:gd name="connsiteY101" fmla="*/ 206247 h 1347457"/>
              <a:gd name="connsiteX102" fmla="*/ 2337909 w 2427462"/>
              <a:gd name="connsiteY102" fmla="*/ 1113465 h 1347457"/>
              <a:gd name="connsiteX103" fmla="*/ 2029759 w 2427462"/>
              <a:gd name="connsiteY103"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47414 w 2427462"/>
              <a:gd name="connsiteY62" fmla="*/ 1246961 h 1347457"/>
              <a:gd name="connsiteX63" fmla="*/ 1243084 w 2427462"/>
              <a:gd name="connsiteY63" fmla="*/ 1246990 h 1347457"/>
              <a:gd name="connsiteX64" fmla="*/ 1311814 w 2427462"/>
              <a:gd name="connsiteY64" fmla="*/ 1211089 h 1347457"/>
              <a:gd name="connsiteX65" fmla="*/ 1275912 w 2427462"/>
              <a:gd name="connsiteY65" fmla="*/ 1175187 h 1347457"/>
              <a:gd name="connsiteX66" fmla="*/ 1243084 w 2427462"/>
              <a:gd name="connsiteY66" fmla="*/ 1175187 h 1347457"/>
              <a:gd name="connsiteX67" fmla="*/ 1243084 w 2427462"/>
              <a:gd name="connsiteY67" fmla="*/ 1041576 h 1347457"/>
              <a:gd name="connsiteX68" fmla="*/ 1559449 w 2427462"/>
              <a:gd name="connsiteY68" fmla="*/ 1315404 h 1347457"/>
              <a:gd name="connsiteX69" fmla="*/ 1595149 w 2427462"/>
              <a:gd name="connsiteY69" fmla="*/ 1347457 h 1347457"/>
              <a:gd name="connsiteX70" fmla="*/ 1606207 w 2427462"/>
              <a:gd name="connsiteY70" fmla="*/ 1347457 h 1347457"/>
              <a:gd name="connsiteX71" fmla="*/ 1641907 w 2427462"/>
              <a:gd name="connsiteY71" fmla="*/ 1315404 h 1347457"/>
              <a:gd name="connsiteX72" fmla="*/ 1997706 w 2427462"/>
              <a:gd name="connsiteY72" fmla="*/ 1039594 h 1347457"/>
              <a:gd name="connsiteX73" fmla="*/ 2353447 w 2427462"/>
              <a:gd name="connsiteY73" fmla="*/ 1315404 h 1347457"/>
              <a:gd name="connsiteX74" fmla="*/ 2389148 w 2427462"/>
              <a:gd name="connsiteY74" fmla="*/ 1347457 h 1347457"/>
              <a:gd name="connsiteX75" fmla="*/ 2390986 w 2427462"/>
              <a:gd name="connsiteY75" fmla="*/ 1347457 h 1347457"/>
              <a:gd name="connsiteX76" fmla="*/ 2391560 w 2427462"/>
              <a:gd name="connsiteY76" fmla="*/ 1347457 h 1347457"/>
              <a:gd name="connsiteX77" fmla="*/ 2427462 w 2427462"/>
              <a:gd name="connsiteY77" fmla="*/ 1311556 h 1347457"/>
              <a:gd name="connsiteX78" fmla="*/ 2426859 w 2427462"/>
              <a:gd name="connsiteY78" fmla="*/ 1305036 h 1347457"/>
              <a:gd name="connsiteX79" fmla="*/ 88978 w 2427462"/>
              <a:gd name="connsiteY79" fmla="*/ 1113465 h 1347457"/>
              <a:gd name="connsiteX80" fmla="*/ 920889 w 2427462"/>
              <a:gd name="connsiteY80" fmla="*/ 208057 h 1347457"/>
              <a:gd name="connsiteX81" fmla="*/ 393050 w 2427462"/>
              <a:gd name="connsiteY81" fmla="*/ 969629 h 1347457"/>
              <a:gd name="connsiteX82" fmla="*/ 88978 w 2427462"/>
              <a:gd name="connsiteY82" fmla="*/ 1113465 h 1347457"/>
              <a:gd name="connsiteX83" fmla="*/ 467237 w 2427462"/>
              <a:gd name="connsiteY83" fmla="*/ 969399 h 1347457"/>
              <a:gd name="connsiteX84" fmla="*/ 1122800 w 2427462"/>
              <a:gd name="connsiteY84" fmla="*/ 201077 h 1347457"/>
              <a:gd name="connsiteX85" fmla="*/ 790409 w 2427462"/>
              <a:gd name="connsiteY85" fmla="*/ 1140635 h 1347457"/>
              <a:gd name="connsiteX86" fmla="*/ 467237 w 2427462"/>
              <a:gd name="connsiteY86" fmla="*/ 969399 h 1347457"/>
              <a:gd name="connsiteX87" fmla="*/ 863217 w 2427462"/>
              <a:gd name="connsiteY87" fmla="*/ 1114556 h 1347457"/>
              <a:gd name="connsiteX88" fmla="*/ 1171281 w 2427462"/>
              <a:gd name="connsiteY88" fmla="*/ 255418 h 1347457"/>
              <a:gd name="connsiteX89" fmla="*/ 1171281 w 2427462"/>
              <a:gd name="connsiteY89" fmla="*/ 968882 h 1347457"/>
              <a:gd name="connsiteX90" fmla="*/ 863217 w 2427462"/>
              <a:gd name="connsiteY90" fmla="*/ 1114556 h 1347457"/>
              <a:gd name="connsiteX91" fmla="*/ 1243084 w 2427462"/>
              <a:gd name="connsiteY91" fmla="*/ 969514 h 1347457"/>
              <a:gd name="connsiteX92" fmla="*/ 1243084 w 2427462"/>
              <a:gd name="connsiteY92" fmla="*/ 244849 h 1347457"/>
              <a:gd name="connsiteX93" fmla="*/ 1560368 w 2427462"/>
              <a:gd name="connsiteY93" fmla="*/ 1133886 h 1347457"/>
              <a:gd name="connsiteX94" fmla="*/ 1243084 w 2427462"/>
              <a:gd name="connsiteY94" fmla="*/ 969514 h 1347457"/>
              <a:gd name="connsiteX95" fmla="*/ 1632659 w 2427462"/>
              <a:gd name="connsiteY95" fmla="*/ 1145173 h 1347457"/>
              <a:gd name="connsiteX96" fmla="*/ 1300096 w 2427462"/>
              <a:gd name="connsiteY96" fmla="*/ 201077 h 1347457"/>
              <a:gd name="connsiteX97" fmla="*/ 1955744 w 2427462"/>
              <a:gd name="connsiteY97" fmla="*/ 969773 h 1347457"/>
              <a:gd name="connsiteX98" fmla="*/ 1632659 w 2427462"/>
              <a:gd name="connsiteY98" fmla="*/ 1145173 h 1347457"/>
              <a:gd name="connsiteX99" fmla="*/ 2029759 w 2427462"/>
              <a:gd name="connsiteY99" fmla="*/ 969428 h 1347457"/>
              <a:gd name="connsiteX100" fmla="*/ 1498789 w 2427462"/>
              <a:gd name="connsiteY100" fmla="*/ 206247 h 1347457"/>
              <a:gd name="connsiteX101" fmla="*/ 2337909 w 2427462"/>
              <a:gd name="connsiteY101" fmla="*/ 1113465 h 1347457"/>
              <a:gd name="connsiteX102" fmla="*/ 2029759 w 2427462"/>
              <a:gd name="connsiteY102"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243084 w 2427462"/>
              <a:gd name="connsiteY62" fmla="*/ 1246990 h 1347457"/>
              <a:gd name="connsiteX63" fmla="*/ 1311814 w 2427462"/>
              <a:gd name="connsiteY63" fmla="*/ 1211089 h 1347457"/>
              <a:gd name="connsiteX64" fmla="*/ 1275912 w 2427462"/>
              <a:gd name="connsiteY64" fmla="*/ 1175187 h 1347457"/>
              <a:gd name="connsiteX65" fmla="*/ 1243084 w 2427462"/>
              <a:gd name="connsiteY65" fmla="*/ 1175187 h 1347457"/>
              <a:gd name="connsiteX66" fmla="*/ 1243084 w 2427462"/>
              <a:gd name="connsiteY66" fmla="*/ 1041576 h 1347457"/>
              <a:gd name="connsiteX67" fmla="*/ 1559449 w 2427462"/>
              <a:gd name="connsiteY67" fmla="*/ 1315404 h 1347457"/>
              <a:gd name="connsiteX68" fmla="*/ 1595149 w 2427462"/>
              <a:gd name="connsiteY68" fmla="*/ 1347457 h 1347457"/>
              <a:gd name="connsiteX69" fmla="*/ 1606207 w 2427462"/>
              <a:gd name="connsiteY69" fmla="*/ 1347457 h 1347457"/>
              <a:gd name="connsiteX70" fmla="*/ 1641907 w 2427462"/>
              <a:gd name="connsiteY70" fmla="*/ 1315404 h 1347457"/>
              <a:gd name="connsiteX71" fmla="*/ 1997706 w 2427462"/>
              <a:gd name="connsiteY71" fmla="*/ 1039594 h 1347457"/>
              <a:gd name="connsiteX72" fmla="*/ 2353447 w 2427462"/>
              <a:gd name="connsiteY72" fmla="*/ 1315404 h 1347457"/>
              <a:gd name="connsiteX73" fmla="*/ 2389148 w 2427462"/>
              <a:gd name="connsiteY73" fmla="*/ 1347457 h 1347457"/>
              <a:gd name="connsiteX74" fmla="*/ 2390986 w 2427462"/>
              <a:gd name="connsiteY74" fmla="*/ 1347457 h 1347457"/>
              <a:gd name="connsiteX75" fmla="*/ 2391560 w 2427462"/>
              <a:gd name="connsiteY75" fmla="*/ 1347457 h 1347457"/>
              <a:gd name="connsiteX76" fmla="*/ 2427462 w 2427462"/>
              <a:gd name="connsiteY76" fmla="*/ 1311556 h 1347457"/>
              <a:gd name="connsiteX77" fmla="*/ 2426859 w 2427462"/>
              <a:gd name="connsiteY77" fmla="*/ 1305036 h 1347457"/>
              <a:gd name="connsiteX78" fmla="*/ 88978 w 2427462"/>
              <a:gd name="connsiteY78" fmla="*/ 1113465 h 1347457"/>
              <a:gd name="connsiteX79" fmla="*/ 920889 w 2427462"/>
              <a:gd name="connsiteY79" fmla="*/ 208057 h 1347457"/>
              <a:gd name="connsiteX80" fmla="*/ 393050 w 2427462"/>
              <a:gd name="connsiteY80" fmla="*/ 969629 h 1347457"/>
              <a:gd name="connsiteX81" fmla="*/ 88978 w 2427462"/>
              <a:gd name="connsiteY81" fmla="*/ 1113465 h 1347457"/>
              <a:gd name="connsiteX82" fmla="*/ 467237 w 2427462"/>
              <a:gd name="connsiteY82" fmla="*/ 969399 h 1347457"/>
              <a:gd name="connsiteX83" fmla="*/ 1122800 w 2427462"/>
              <a:gd name="connsiteY83" fmla="*/ 201077 h 1347457"/>
              <a:gd name="connsiteX84" fmla="*/ 790409 w 2427462"/>
              <a:gd name="connsiteY84" fmla="*/ 1140635 h 1347457"/>
              <a:gd name="connsiteX85" fmla="*/ 467237 w 2427462"/>
              <a:gd name="connsiteY85" fmla="*/ 969399 h 1347457"/>
              <a:gd name="connsiteX86" fmla="*/ 863217 w 2427462"/>
              <a:gd name="connsiteY86" fmla="*/ 1114556 h 1347457"/>
              <a:gd name="connsiteX87" fmla="*/ 1171281 w 2427462"/>
              <a:gd name="connsiteY87" fmla="*/ 255418 h 1347457"/>
              <a:gd name="connsiteX88" fmla="*/ 1171281 w 2427462"/>
              <a:gd name="connsiteY88" fmla="*/ 968882 h 1347457"/>
              <a:gd name="connsiteX89" fmla="*/ 863217 w 2427462"/>
              <a:gd name="connsiteY89" fmla="*/ 1114556 h 1347457"/>
              <a:gd name="connsiteX90" fmla="*/ 1243084 w 2427462"/>
              <a:gd name="connsiteY90" fmla="*/ 969514 h 1347457"/>
              <a:gd name="connsiteX91" fmla="*/ 1243084 w 2427462"/>
              <a:gd name="connsiteY91" fmla="*/ 244849 h 1347457"/>
              <a:gd name="connsiteX92" fmla="*/ 1560368 w 2427462"/>
              <a:gd name="connsiteY92" fmla="*/ 1133886 h 1347457"/>
              <a:gd name="connsiteX93" fmla="*/ 1243084 w 2427462"/>
              <a:gd name="connsiteY93" fmla="*/ 969514 h 1347457"/>
              <a:gd name="connsiteX94" fmla="*/ 1632659 w 2427462"/>
              <a:gd name="connsiteY94" fmla="*/ 1145173 h 1347457"/>
              <a:gd name="connsiteX95" fmla="*/ 1300096 w 2427462"/>
              <a:gd name="connsiteY95" fmla="*/ 201077 h 1347457"/>
              <a:gd name="connsiteX96" fmla="*/ 1955744 w 2427462"/>
              <a:gd name="connsiteY96" fmla="*/ 969773 h 1347457"/>
              <a:gd name="connsiteX97" fmla="*/ 1632659 w 2427462"/>
              <a:gd name="connsiteY97" fmla="*/ 1145173 h 1347457"/>
              <a:gd name="connsiteX98" fmla="*/ 2029759 w 2427462"/>
              <a:gd name="connsiteY98" fmla="*/ 969428 h 1347457"/>
              <a:gd name="connsiteX99" fmla="*/ 1498789 w 2427462"/>
              <a:gd name="connsiteY99" fmla="*/ 206247 h 1347457"/>
              <a:gd name="connsiteX100" fmla="*/ 2337909 w 2427462"/>
              <a:gd name="connsiteY100" fmla="*/ 1113465 h 1347457"/>
              <a:gd name="connsiteX101" fmla="*/ 2029759 w 2427462"/>
              <a:gd name="connsiteY101"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311814 w 2427462"/>
              <a:gd name="connsiteY62" fmla="*/ 1211089 h 1347457"/>
              <a:gd name="connsiteX63" fmla="*/ 1275912 w 2427462"/>
              <a:gd name="connsiteY63" fmla="*/ 1175187 h 1347457"/>
              <a:gd name="connsiteX64" fmla="*/ 1243084 w 2427462"/>
              <a:gd name="connsiteY64" fmla="*/ 1175187 h 1347457"/>
              <a:gd name="connsiteX65" fmla="*/ 1243084 w 2427462"/>
              <a:gd name="connsiteY65" fmla="*/ 1041576 h 1347457"/>
              <a:gd name="connsiteX66" fmla="*/ 1559449 w 2427462"/>
              <a:gd name="connsiteY66" fmla="*/ 1315404 h 1347457"/>
              <a:gd name="connsiteX67" fmla="*/ 1595149 w 2427462"/>
              <a:gd name="connsiteY67" fmla="*/ 1347457 h 1347457"/>
              <a:gd name="connsiteX68" fmla="*/ 1606207 w 2427462"/>
              <a:gd name="connsiteY68" fmla="*/ 1347457 h 1347457"/>
              <a:gd name="connsiteX69" fmla="*/ 1641907 w 2427462"/>
              <a:gd name="connsiteY69" fmla="*/ 1315404 h 1347457"/>
              <a:gd name="connsiteX70" fmla="*/ 1997706 w 2427462"/>
              <a:gd name="connsiteY70" fmla="*/ 1039594 h 1347457"/>
              <a:gd name="connsiteX71" fmla="*/ 2353447 w 2427462"/>
              <a:gd name="connsiteY71" fmla="*/ 1315404 h 1347457"/>
              <a:gd name="connsiteX72" fmla="*/ 2389148 w 2427462"/>
              <a:gd name="connsiteY72" fmla="*/ 1347457 h 1347457"/>
              <a:gd name="connsiteX73" fmla="*/ 2390986 w 2427462"/>
              <a:gd name="connsiteY73" fmla="*/ 1347457 h 1347457"/>
              <a:gd name="connsiteX74" fmla="*/ 2391560 w 2427462"/>
              <a:gd name="connsiteY74" fmla="*/ 1347457 h 1347457"/>
              <a:gd name="connsiteX75" fmla="*/ 2427462 w 2427462"/>
              <a:gd name="connsiteY75" fmla="*/ 1311556 h 1347457"/>
              <a:gd name="connsiteX76" fmla="*/ 2426859 w 2427462"/>
              <a:gd name="connsiteY76" fmla="*/ 1305036 h 1347457"/>
              <a:gd name="connsiteX77" fmla="*/ 88978 w 2427462"/>
              <a:gd name="connsiteY77" fmla="*/ 1113465 h 1347457"/>
              <a:gd name="connsiteX78" fmla="*/ 920889 w 2427462"/>
              <a:gd name="connsiteY78" fmla="*/ 208057 h 1347457"/>
              <a:gd name="connsiteX79" fmla="*/ 393050 w 2427462"/>
              <a:gd name="connsiteY79" fmla="*/ 969629 h 1347457"/>
              <a:gd name="connsiteX80" fmla="*/ 88978 w 2427462"/>
              <a:gd name="connsiteY80" fmla="*/ 1113465 h 1347457"/>
              <a:gd name="connsiteX81" fmla="*/ 467237 w 2427462"/>
              <a:gd name="connsiteY81" fmla="*/ 969399 h 1347457"/>
              <a:gd name="connsiteX82" fmla="*/ 1122800 w 2427462"/>
              <a:gd name="connsiteY82" fmla="*/ 201077 h 1347457"/>
              <a:gd name="connsiteX83" fmla="*/ 790409 w 2427462"/>
              <a:gd name="connsiteY83" fmla="*/ 1140635 h 1347457"/>
              <a:gd name="connsiteX84" fmla="*/ 467237 w 2427462"/>
              <a:gd name="connsiteY84" fmla="*/ 969399 h 1347457"/>
              <a:gd name="connsiteX85" fmla="*/ 863217 w 2427462"/>
              <a:gd name="connsiteY85" fmla="*/ 1114556 h 1347457"/>
              <a:gd name="connsiteX86" fmla="*/ 1171281 w 2427462"/>
              <a:gd name="connsiteY86" fmla="*/ 255418 h 1347457"/>
              <a:gd name="connsiteX87" fmla="*/ 1171281 w 2427462"/>
              <a:gd name="connsiteY87" fmla="*/ 968882 h 1347457"/>
              <a:gd name="connsiteX88" fmla="*/ 863217 w 2427462"/>
              <a:gd name="connsiteY88" fmla="*/ 1114556 h 1347457"/>
              <a:gd name="connsiteX89" fmla="*/ 1243084 w 2427462"/>
              <a:gd name="connsiteY89" fmla="*/ 969514 h 1347457"/>
              <a:gd name="connsiteX90" fmla="*/ 1243084 w 2427462"/>
              <a:gd name="connsiteY90" fmla="*/ 244849 h 1347457"/>
              <a:gd name="connsiteX91" fmla="*/ 1560368 w 2427462"/>
              <a:gd name="connsiteY91" fmla="*/ 1133886 h 1347457"/>
              <a:gd name="connsiteX92" fmla="*/ 1243084 w 2427462"/>
              <a:gd name="connsiteY92" fmla="*/ 969514 h 1347457"/>
              <a:gd name="connsiteX93" fmla="*/ 1632659 w 2427462"/>
              <a:gd name="connsiteY93" fmla="*/ 1145173 h 1347457"/>
              <a:gd name="connsiteX94" fmla="*/ 1300096 w 2427462"/>
              <a:gd name="connsiteY94" fmla="*/ 201077 h 1347457"/>
              <a:gd name="connsiteX95" fmla="*/ 1955744 w 2427462"/>
              <a:gd name="connsiteY95" fmla="*/ 969773 h 1347457"/>
              <a:gd name="connsiteX96" fmla="*/ 1632659 w 2427462"/>
              <a:gd name="connsiteY96" fmla="*/ 1145173 h 1347457"/>
              <a:gd name="connsiteX97" fmla="*/ 2029759 w 2427462"/>
              <a:gd name="connsiteY97" fmla="*/ 969428 h 1347457"/>
              <a:gd name="connsiteX98" fmla="*/ 1498789 w 2427462"/>
              <a:gd name="connsiteY98" fmla="*/ 206247 h 1347457"/>
              <a:gd name="connsiteX99" fmla="*/ 2337909 w 2427462"/>
              <a:gd name="connsiteY99" fmla="*/ 1113465 h 1347457"/>
              <a:gd name="connsiteX100" fmla="*/ 2029759 w 2427462"/>
              <a:gd name="connsiteY100"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311814 w 2427462"/>
              <a:gd name="connsiteY62" fmla="*/ 1211089 h 1347457"/>
              <a:gd name="connsiteX63" fmla="*/ 1275912 w 2427462"/>
              <a:gd name="connsiteY63" fmla="*/ 1175187 h 1347457"/>
              <a:gd name="connsiteX64" fmla="*/ 1243084 w 2427462"/>
              <a:gd name="connsiteY64" fmla="*/ 1041576 h 1347457"/>
              <a:gd name="connsiteX65" fmla="*/ 1559449 w 2427462"/>
              <a:gd name="connsiteY65" fmla="*/ 1315404 h 1347457"/>
              <a:gd name="connsiteX66" fmla="*/ 1595149 w 2427462"/>
              <a:gd name="connsiteY66" fmla="*/ 1347457 h 1347457"/>
              <a:gd name="connsiteX67" fmla="*/ 1606207 w 2427462"/>
              <a:gd name="connsiteY67" fmla="*/ 1347457 h 1347457"/>
              <a:gd name="connsiteX68" fmla="*/ 1641907 w 2427462"/>
              <a:gd name="connsiteY68" fmla="*/ 1315404 h 1347457"/>
              <a:gd name="connsiteX69" fmla="*/ 1997706 w 2427462"/>
              <a:gd name="connsiteY69" fmla="*/ 1039594 h 1347457"/>
              <a:gd name="connsiteX70" fmla="*/ 2353447 w 2427462"/>
              <a:gd name="connsiteY70" fmla="*/ 1315404 h 1347457"/>
              <a:gd name="connsiteX71" fmla="*/ 2389148 w 2427462"/>
              <a:gd name="connsiteY71" fmla="*/ 1347457 h 1347457"/>
              <a:gd name="connsiteX72" fmla="*/ 2390986 w 2427462"/>
              <a:gd name="connsiteY72" fmla="*/ 1347457 h 1347457"/>
              <a:gd name="connsiteX73" fmla="*/ 2391560 w 2427462"/>
              <a:gd name="connsiteY73" fmla="*/ 1347457 h 1347457"/>
              <a:gd name="connsiteX74" fmla="*/ 2427462 w 2427462"/>
              <a:gd name="connsiteY74" fmla="*/ 1311556 h 1347457"/>
              <a:gd name="connsiteX75" fmla="*/ 2426859 w 2427462"/>
              <a:gd name="connsiteY75" fmla="*/ 1305036 h 1347457"/>
              <a:gd name="connsiteX76" fmla="*/ 88978 w 2427462"/>
              <a:gd name="connsiteY76" fmla="*/ 1113465 h 1347457"/>
              <a:gd name="connsiteX77" fmla="*/ 920889 w 2427462"/>
              <a:gd name="connsiteY77" fmla="*/ 208057 h 1347457"/>
              <a:gd name="connsiteX78" fmla="*/ 393050 w 2427462"/>
              <a:gd name="connsiteY78" fmla="*/ 969629 h 1347457"/>
              <a:gd name="connsiteX79" fmla="*/ 88978 w 2427462"/>
              <a:gd name="connsiteY79" fmla="*/ 1113465 h 1347457"/>
              <a:gd name="connsiteX80" fmla="*/ 467237 w 2427462"/>
              <a:gd name="connsiteY80" fmla="*/ 969399 h 1347457"/>
              <a:gd name="connsiteX81" fmla="*/ 1122800 w 2427462"/>
              <a:gd name="connsiteY81" fmla="*/ 201077 h 1347457"/>
              <a:gd name="connsiteX82" fmla="*/ 790409 w 2427462"/>
              <a:gd name="connsiteY82" fmla="*/ 1140635 h 1347457"/>
              <a:gd name="connsiteX83" fmla="*/ 467237 w 2427462"/>
              <a:gd name="connsiteY83" fmla="*/ 969399 h 1347457"/>
              <a:gd name="connsiteX84" fmla="*/ 863217 w 2427462"/>
              <a:gd name="connsiteY84" fmla="*/ 1114556 h 1347457"/>
              <a:gd name="connsiteX85" fmla="*/ 1171281 w 2427462"/>
              <a:gd name="connsiteY85" fmla="*/ 255418 h 1347457"/>
              <a:gd name="connsiteX86" fmla="*/ 1171281 w 2427462"/>
              <a:gd name="connsiteY86" fmla="*/ 968882 h 1347457"/>
              <a:gd name="connsiteX87" fmla="*/ 863217 w 2427462"/>
              <a:gd name="connsiteY87" fmla="*/ 1114556 h 1347457"/>
              <a:gd name="connsiteX88" fmla="*/ 1243084 w 2427462"/>
              <a:gd name="connsiteY88" fmla="*/ 969514 h 1347457"/>
              <a:gd name="connsiteX89" fmla="*/ 1243084 w 2427462"/>
              <a:gd name="connsiteY89" fmla="*/ 244849 h 1347457"/>
              <a:gd name="connsiteX90" fmla="*/ 1560368 w 2427462"/>
              <a:gd name="connsiteY90" fmla="*/ 1133886 h 1347457"/>
              <a:gd name="connsiteX91" fmla="*/ 1243084 w 2427462"/>
              <a:gd name="connsiteY91" fmla="*/ 969514 h 1347457"/>
              <a:gd name="connsiteX92" fmla="*/ 1632659 w 2427462"/>
              <a:gd name="connsiteY92" fmla="*/ 1145173 h 1347457"/>
              <a:gd name="connsiteX93" fmla="*/ 1300096 w 2427462"/>
              <a:gd name="connsiteY93" fmla="*/ 201077 h 1347457"/>
              <a:gd name="connsiteX94" fmla="*/ 1955744 w 2427462"/>
              <a:gd name="connsiteY94" fmla="*/ 969773 h 1347457"/>
              <a:gd name="connsiteX95" fmla="*/ 1632659 w 2427462"/>
              <a:gd name="connsiteY95" fmla="*/ 1145173 h 1347457"/>
              <a:gd name="connsiteX96" fmla="*/ 2029759 w 2427462"/>
              <a:gd name="connsiteY96" fmla="*/ 969428 h 1347457"/>
              <a:gd name="connsiteX97" fmla="*/ 1498789 w 2427462"/>
              <a:gd name="connsiteY97" fmla="*/ 206247 h 1347457"/>
              <a:gd name="connsiteX98" fmla="*/ 2337909 w 2427462"/>
              <a:gd name="connsiteY98" fmla="*/ 1113465 h 1347457"/>
              <a:gd name="connsiteX99" fmla="*/ 2029759 w 2427462"/>
              <a:gd name="connsiteY99"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311814 w 2427462"/>
              <a:gd name="connsiteY62" fmla="*/ 1211089 h 1347457"/>
              <a:gd name="connsiteX63" fmla="*/ 1243084 w 2427462"/>
              <a:gd name="connsiteY63" fmla="*/ 1041576 h 1347457"/>
              <a:gd name="connsiteX64" fmla="*/ 1559449 w 2427462"/>
              <a:gd name="connsiteY64" fmla="*/ 1315404 h 1347457"/>
              <a:gd name="connsiteX65" fmla="*/ 1595149 w 2427462"/>
              <a:gd name="connsiteY65" fmla="*/ 1347457 h 1347457"/>
              <a:gd name="connsiteX66" fmla="*/ 1606207 w 2427462"/>
              <a:gd name="connsiteY66" fmla="*/ 1347457 h 1347457"/>
              <a:gd name="connsiteX67" fmla="*/ 1641907 w 2427462"/>
              <a:gd name="connsiteY67" fmla="*/ 1315404 h 1347457"/>
              <a:gd name="connsiteX68" fmla="*/ 1997706 w 2427462"/>
              <a:gd name="connsiteY68" fmla="*/ 1039594 h 1347457"/>
              <a:gd name="connsiteX69" fmla="*/ 2353447 w 2427462"/>
              <a:gd name="connsiteY69" fmla="*/ 1315404 h 1347457"/>
              <a:gd name="connsiteX70" fmla="*/ 2389148 w 2427462"/>
              <a:gd name="connsiteY70" fmla="*/ 1347457 h 1347457"/>
              <a:gd name="connsiteX71" fmla="*/ 2390986 w 2427462"/>
              <a:gd name="connsiteY71" fmla="*/ 1347457 h 1347457"/>
              <a:gd name="connsiteX72" fmla="*/ 2391560 w 2427462"/>
              <a:gd name="connsiteY72" fmla="*/ 1347457 h 1347457"/>
              <a:gd name="connsiteX73" fmla="*/ 2427462 w 2427462"/>
              <a:gd name="connsiteY73" fmla="*/ 1311556 h 1347457"/>
              <a:gd name="connsiteX74" fmla="*/ 2426859 w 2427462"/>
              <a:gd name="connsiteY74" fmla="*/ 1305036 h 1347457"/>
              <a:gd name="connsiteX75" fmla="*/ 88978 w 2427462"/>
              <a:gd name="connsiteY75" fmla="*/ 1113465 h 1347457"/>
              <a:gd name="connsiteX76" fmla="*/ 920889 w 2427462"/>
              <a:gd name="connsiteY76" fmla="*/ 208057 h 1347457"/>
              <a:gd name="connsiteX77" fmla="*/ 393050 w 2427462"/>
              <a:gd name="connsiteY77" fmla="*/ 969629 h 1347457"/>
              <a:gd name="connsiteX78" fmla="*/ 88978 w 2427462"/>
              <a:gd name="connsiteY78" fmla="*/ 1113465 h 1347457"/>
              <a:gd name="connsiteX79" fmla="*/ 467237 w 2427462"/>
              <a:gd name="connsiteY79" fmla="*/ 969399 h 1347457"/>
              <a:gd name="connsiteX80" fmla="*/ 1122800 w 2427462"/>
              <a:gd name="connsiteY80" fmla="*/ 201077 h 1347457"/>
              <a:gd name="connsiteX81" fmla="*/ 790409 w 2427462"/>
              <a:gd name="connsiteY81" fmla="*/ 1140635 h 1347457"/>
              <a:gd name="connsiteX82" fmla="*/ 467237 w 2427462"/>
              <a:gd name="connsiteY82" fmla="*/ 969399 h 1347457"/>
              <a:gd name="connsiteX83" fmla="*/ 863217 w 2427462"/>
              <a:gd name="connsiteY83" fmla="*/ 1114556 h 1347457"/>
              <a:gd name="connsiteX84" fmla="*/ 1171281 w 2427462"/>
              <a:gd name="connsiteY84" fmla="*/ 255418 h 1347457"/>
              <a:gd name="connsiteX85" fmla="*/ 1171281 w 2427462"/>
              <a:gd name="connsiteY85" fmla="*/ 968882 h 1347457"/>
              <a:gd name="connsiteX86" fmla="*/ 863217 w 2427462"/>
              <a:gd name="connsiteY86" fmla="*/ 1114556 h 1347457"/>
              <a:gd name="connsiteX87" fmla="*/ 1243084 w 2427462"/>
              <a:gd name="connsiteY87" fmla="*/ 969514 h 1347457"/>
              <a:gd name="connsiteX88" fmla="*/ 1243084 w 2427462"/>
              <a:gd name="connsiteY88" fmla="*/ 244849 h 1347457"/>
              <a:gd name="connsiteX89" fmla="*/ 1560368 w 2427462"/>
              <a:gd name="connsiteY89" fmla="*/ 1133886 h 1347457"/>
              <a:gd name="connsiteX90" fmla="*/ 1243084 w 2427462"/>
              <a:gd name="connsiteY90" fmla="*/ 969514 h 1347457"/>
              <a:gd name="connsiteX91" fmla="*/ 1632659 w 2427462"/>
              <a:gd name="connsiteY91" fmla="*/ 1145173 h 1347457"/>
              <a:gd name="connsiteX92" fmla="*/ 1300096 w 2427462"/>
              <a:gd name="connsiteY92" fmla="*/ 201077 h 1347457"/>
              <a:gd name="connsiteX93" fmla="*/ 1955744 w 2427462"/>
              <a:gd name="connsiteY93" fmla="*/ 969773 h 1347457"/>
              <a:gd name="connsiteX94" fmla="*/ 1632659 w 2427462"/>
              <a:gd name="connsiteY94" fmla="*/ 1145173 h 1347457"/>
              <a:gd name="connsiteX95" fmla="*/ 2029759 w 2427462"/>
              <a:gd name="connsiteY95" fmla="*/ 969428 h 1347457"/>
              <a:gd name="connsiteX96" fmla="*/ 1498789 w 2427462"/>
              <a:gd name="connsiteY96" fmla="*/ 206247 h 1347457"/>
              <a:gd name="connsiteX97" fmla="*/ 2337909 w 2427462"/>
              <a:gd name="connsiteY97" fmla="*/ 1113465 h 1347457"/>
              <a:gd name="connsiteX98" fmla="*/ 2029759 w 2427462"/>
              <a:gd name="connsiteY98"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243084 w 2427462"/>
              <a:gd name="connsiteY62" fmla="*/ 1041576 h 1347457"/>
              <a:gd name="connsiteX63" fmla="*/ 1559449 w 2427462"/>
              <a:gd name="connsiteY63" fmla="*/ 1315404 h 1347457"/>
              <a:gd name="connsiteX64" fmla="*/ 1595149 w 2427462"/>
              <a:gd name="connsiteY64" fmla="*/ 1347457 h 1347457"/>
              <a:gd name="connsiteX65" fmla="*/ 1606207 w 2427462"/>
              <a:gd name="connsiteY65" fmla="*/ 1347457 h 1347457"/>
              <a:gd name="connsiteX66" fmla="*/ 1641907 w 2427462"/>
              <a:gd name="connsiteY66" fmla="*/ 1315404 h 1347457"/>
              <a:gd name="connsiteX67" fmla="*/ 1997706 w 2427462"/>
              <a:gd name="connsiteY67" fmla="*/ 1039594 h 1347457"/>
              <a:gd name="connsiteX68" fmla="*/ 2353447 w 2427462"/>
              <a:gd name="connsiteY68" fmla="*/ 1315404 h 1347457"/>
              <a:gd name="connsiteX69" fmla="*/ 2389148 w 2427462"/>
              <a:gd name="connsiteY69" fmla="*/ 1347457 h 1347457"/>
              <a:gd name="connsiteX70" fmla="*/ 2390986 w 2427462"/>
              <a:gd name="connsiteY70" fmla="*/ 1347457 h 1347457"/>
              <a:gd name="connsiteX71" fmla="*/ 2391560 w 2427462"/>
              <a:gd name="connsiteY71" fmla="*/ 1347457 h 1347457"/>
              <a:gd name="connsiteX72" fmla="*/ 2427462 w 2427462"/>
              <a:gd name="connsiteY72" fmla="*/ 1311556 h 1347457"/>
              <a:gd name="connsiteX73" fmla="*/ 2426859 w 2427462"/>
              <a:gd name="connsiteY73" fmla="*/ 1305036 h 1347457"/>
              <a:gd name="connsiteX74" fmla="*/ 88978 w 2427462"/>
              <a:gd name="connsiteY74" fmla="*/ 1113465 h 1347457"/>
              <a:gd name="connsiteX75" fmla="*/ 920889 w 2427462"/>
              <a:gd name="connsiteY75" fmla="*/ 208057 h 1347457"/>
              <a:gd name="connsiteX76" fmla="*/ 393050 w 2427462"/>
              <a:gd name="connsiteY76" fmla="*/ 969629 h 1347457"/>
              <a:gd name="connsiteX77" fmla="*/ 88978 w 2427462"/>
              <a:gd name="connsiteY77" fmla="*/ 1113465 h 1347457"/>
              <a:gd name="connsiteX78" fmla="*/ 467237 w 2427462"/>
              <a:gd name="connsiteY78" fmla="*/ 969399 h 1347457"/>
              <a:gd name="connsiteX79" fmla="*/ 1122800 w 2427462"/>
              <a:gd name="connsiteY79" fmla="*/ 201077 h 1347457"/>
              <a:gd name="connsiteX80" fmla="*/ 790409 w 2427462"/>
              <a:gd name="connsiteY80" fmla="*/ 1140635 h 1347457"/>
              <a:gd name="connsiteX81" fmla="*/ 467237 w 2427462"/>
              <a:gd name="connsiteY81" fmla="*/ 969399 h 1347457"/>
              <a:gd name="connsiteX82" fmla="*/ 863217 w 2427462"/>
              <a:gd name="connsiteY82" fmla="*/ 1114556 h 1347457"/>
              <a:gd name="connsiteX83" fmla="*/ 1171281 w 2427462"/>
              <a:gd name="connsiteY83" fmla="*/ 255418 h 1347457"/>
              <a:gd name="connsiteX84" fmla="*/ 1171281 w 2427462"/>
              <a:gd name="connsiteY84" fmla="*/ 968882 h 1347457"/>
              <a:gd name="connsiteX85" fmla="*/ 863217 w 2427462"/>
              <a:gd name="connsiteY85" fmla="*/ 1114556 h 1347457"/>
              <a:gd name="connsiteX86" fmla="*/ 1243084 w 2427462"/>
              <a:gd name="connsiteY86" fmla="*/ 969514 h 1347457"/>
              <a:gd name="connsiteX87" fmla="*/ 1243084 w 2427462"/>
              <a:gd name="connsiteY87" fmla="*/ 244849 h 1347457"/>
              <a:gd name="connsiteX88" fmla="*/ 1560368 w 2427462"/>
              <a:gd name="connsiteY88" fmla="*/ 1133886 h 1347457"/>
              <a:gd name="connsiteX89" fmla="*/ 1243084 w 2427462"/>
              <a:gd name="connsiteY89" fmla="*/ 969514 h 1347457"/>
              <a:gd name="connsiteX90" fmla="*/ 1632659 w 2427462"/>
              <a:gd name="connsiteY90" fmla="*/ 1145173 h 1347457"/>
              <a:gd name="connsiteX91" fmla="*/ 1300096 w 2427462"/>
              <a:gd name="connsiteY91" fmla="*/ 201077 h 1347457"/>
              <a:gd name="connsiteX92" fmla="*/ 1955744 w 2427462"/>
              <a:gd name="connsiteY92" fmla="*/ 969773 h 1347457"/>
              <a:gd name="connsiteX93" fmla="*/ 1632659 w 2427462"/>
              <a:gd name="connsiteY93" fmla="*/ 1145173 h 1347457"/>
              <a:gd name="connsiteX94" fmla="*/ 2029759 w 2427462"/>
              <a:gd name="connsiteY94" fmla="*/ 969428 h 1347457"/>
              <a:gd name="connsiteX95" fmla="*/ 1498789 w 2427462"/>
              <a:gd name="connsiteY95" fmla="*/ 206247 h 1347457"/>
              <a:gd name="connsiteX96" fmla="*/ 2337909 w 2427462"/>
              <a:gd name="connsiteY96" fmla="*/ 1113465 h 1347457"/>
              <a:gd name="connsiteX97" fmla="*/ 2029759 w 2427462"/>
              <a:gd name="connsiteY97"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722741 h 1347457"/>
              <a:gd name="connsiteX52" fmla="*/ 152912 w 2427462"/>
              <a:gd name="connsiteY52" fmla="*/ 722741 h 1347457"/>
              <a:gd name="connsiteX53" fmla="*/ 0 w 2427462"/>
              <a:gd name="connsiteY53" fmla="*/ 1311527 h 1347457"/>
              <a:gd name="connsiteX54" fmla="*/ 37740 w 2427462"/>
              <a:gd name="connsiteY54" fmla="*/ 1347428 h 1347457"/>
              <a:gd name="connsiteX55" fmla="*/ 73440 w 2427462"/>
              <a:gd name="connsiteY55" fmla="*/ 1315375 h 1347457"/>
              <a:gd name="connsiteX56" fmla="*/ 429210 w 2427462"/>
              <a:gd name="connsiteY56" fmla="*/ 1039565 h 1347457"/>
              <a:gd name="connsiteX57" fmla="*/ 781246 w 2427462"/>
              <a:gd name="connsiteY57" fmla="*/ 1292657 h 1347457"/>
              <a:gd name="connsiteX58" fmla="*/ 816459 w 2427462"/>
              <a:gd name="connsiteY58" fmla="*/ 1321579 h 1347457"/>
              <a:gd name="connsiteX59" fmla="*/ 851671 w 2427462"/>
              <a:gd name="connsiteY59" fmla="*/ 1292657 h 1347457"/>
              <a:gd name="connsiteX60" fmla="*/ 1171281 w 2427462"/>
              <a:gd name="connsiteY60" fmla="*/ 1040800 h 1347457"/>
              <a:gd name="connsiteX61" fmla="*/ 1243084 w 2427462"/>
              <a:gd name="connsiteY61" fmla="*/ 1041576 h 1347457"/>
              <a:gd name="connsiteX62" fmla="*/ 1559449 w 2427462"/>
              <a:gd name="connsiteY62" fmla="*/ 1315404 h 1347457"/>
              <a:gd name="connsiteX63" fmla="*/ 1595149 w 2427462"/>
              <a:gd name="connsiteY63" fmla="*/ 1347457 h 1347457"/>
              <a:gd name="connsiteX64" fmla="*/ 1606207 w 2427462"/>
              <a:gd name="connsiteY64" fmla="*/ 1347457 h 1347457"/>
              <a:gd name="connsiteX65" fmla="*/ 1641907 w 2427462"/>
              <a:gd name="connsiteY65" fmla="*/ 1315404 h 1347457"/>
              <a:gd name="connsiteX66" fmla="*/ 1997706 w 2427462"/>
              <a:gd name="connsiteY66" fmla="*/ 1039594 h 1347457"/>
              <a:gd name="connsiteX67" fmla="*/ 2353447 w 2427462"/>
              <a:gd name="connsiteY67" fmla="*/ 1315404 h 1347457"/>
              <a:gd name="connsiteX68" fmla="*/ 2389148 w 2427462"/>
              <a:gd name="connsiteY68" fmla="*/ 1347457 h 1347457"/>
              <a:gd name="connsiteX69" fmla="*/ 2390986 w 2427462"/>
              <a:gd name="connsiteY69" fmla="*/ 1347457 h 1347457"/>
              <a:gd name="connsiteX70" fmla="*/ 2391560 w 2427462"/>
              <a:gd name="connsiteY70" fmla="*/ 1347457 h 1347457"/>
              <a:gd name="connsiteX71" fmla="*/ 2427462 w 2427462"/>
              <a:gd name="connsiteY71" fmla="*/ 1311556 h 1347457"/>
              <a:gd name="connsiteX72" fmla="*/ 2426859 w 2427462"/>
              <a:gd name="connsiteY72" fmla="*/ 1305036 h 1347457"/>
              <a:gd name="connsiteX73" fmla="*/ 88978 w 2427462"/>
              <a:gd name="connsiteY73" fmla="*/ 1113465 h 1347457"/>
              <a:gd name="connsiteX74" fmla="*/ 920889 w 2427462"/>
              <a:gd name="connsiteY74" fmla="*/ 208057 h 1347457"/>
              <a:gd name="connsiteX75" fmla="*/ 393050 w 2427462"/>
              <a:gd name="connsiteY75" fmla="*/ 969629 h 1347457"/>
              <a:gd name="connsiteX76" fmla="*/ 88978 w 2427462"/>
              <a:gd name="connsiteY76" fmla="*/ 1113465 h 1347457"/>
              <a:gd name="connsiteX77" fmla="*/ 467237 w 2427462"/>
              <a:gd name="connsiteY77" fmla="*/ 969399 h 1347457"/>
              <a:gd name="connsiteX78" fmla="*/ 1122800 w 2427462"/>
              <a:gd name="connsiteY78" fmla="*/ 201077 h 1347457"/>
              <a:gd name="connsiteX79" fmla="*/ 790409 w 2427462"/>
              <a:gd name="connsiteY79" fmla="*/ 1140635 h 1347457"/>
              <a:gd name="connsiteX80" fmla="*/ 467237 w 2427462"/>
              <a:gd name="connsiteY80" fmla="*/ 969399 h 1347457"/>
              <a:gd name="connsiteX81" fmla="*/ 863217 w 2427462"/>
              <a:gd name="connsiteY81" fmla="*/ 1114556 h 1347457"/>
              <a:gd name="connsiteX82" fmla="*/ 1171281 w 2427462"/>
              <a:gd name="connsiteY82" fmla="*/ 255418 h 1347457"/>
              <a:gd name="connsiteX83" fmla="*/ 1171281 w 2427462"/>
              <a:gd name="connsiteY83" fmla="*/ 968882 h 1347457"/>
              <a:gd name="connsiteX84" fmla="*/ 863217 w 2427462"/>
              <a:gd name="connsiteY84" fmla="*/ 1114556 h 1347457"/>
              <a:gd name="connsiteX85" fmla="*/ 1243084 w 2427462"/>
              <a:gd name="connsiteY85" fmla="*/ 969514 h 1347457"/>
              <a:gd name="connsiteX86" fmla="*/ 1243084 w 2427462"/>
              <a:gd name="connsiteY86" fmla="*/ 244849 h 1347457"/>
              <a:gd name="connsiteX87" fmla="*/ 1560368 w 2427462"/>
              <a:gd name="connsiteY87" fmla="*/ 1133886 h 1347457"/>
              <a:gd name="connsiteX88" fmla="*/ 1243084 w 2427462"/>
              <a:gd name="connsiteY88" fmla="*/ 969514 h 1347457"/>
              <a:gd name="connsiteX89" fmla="*/ 1632659 w 2427462"/>
              <a:gd name="connsiteY89" fmla="*/ 1145173 h 1347457"/>
              <a:gd name="connsiteX90" fmla="*/ 1300096 w 2427462"/>
              <a:gd name="connsiteY90" fmla="*/ 201077 h 1347457"/>
              <a:gd name="connsiteX91" fmla="*/ 1955744 w 2427462"/>
              <a:gd name="connsiteY91" fmla="*/ 969773 h 1347457"/>
              <a:gd name="connsiteX92" fmla="*/ 1632659 w 2427462"/>
              <a:gd name="connsiteY92" fmla="*/ 1145173 h 1347457"/>
              <a:gd name="connsiteX93" fmla="*/ 2029759 w 2427462"/>
              <a:gd name="connsiteY93" fmla="*/ 969428 h 1347457"/>
              <a:gd name="connsiteX94" fmla="*/ 1498789 w 2427462"/>
              <a:gd name="connsiteY94" fmla="*/ 206247 h 1347457"/>
              <a:gd name="connsiteX95" fmla="*/ 2337909 w 2427462"/>
              <a:gd name="connsiteY95" fmla="*/ 1113465 h 1347457"/>
              <a:gd name="connsiteX96" fmla="*/ 2029759 w 2427462"/>
              <a:gd name="connsiteY96"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152136 w 2427462"/>
              <a:gd name="connsiteY50" fmla="*/ 722741 h 1347457"/>
              <a:gd name="connsiteX51" fmla="*/ 152912 w 2427462"/>
              <a:gd name="connsiteY51" fmla="*/ 722741 h 1347457"/>
              <a:gd name="connsiteX52" fmla="*/ 0 w 2427462"/>
              <a:gd name="connsiteY52" fmla="*/ 1311527 h 1347457"/>
              <a:gd name="connsiteX53" fmla="*/ 37740 w 2427462"/>
              <a:gd name="connsiteY53" fmla="*/ 1347428 h 1347457"/>
              <a:gd name="connsiteX54" fmla="*/ 73440 w 2427462"/>
              <a:gd name="connsiteY54" fmla="*/ 1315375 h 1347457"/>
              <a:gd name="connsiteX55" fmla="*/ 429210 w 2427462"/>
              <a:gd name="connsiteY55" fmla="*/ 1039565 h 1347457"/>
              <a:gd name="connsiteX56" fmla="*/ 781246 w 2427462"/>
              <a:gd name="connsiteY56" fmla="*/ 1292657 h 1347457"/>
              <a:gd name="connsiteX57" fmla="*/ 816459 w 2427462"/>
              <a:gd name="connsiteY57" fmla="*/ 1321579 h 1347457"/>
              <a:gd name="connsiteX58" fmla="*/ 851671 w 2427462"/>
              <a:gd name="connsiteY58" fmla="*/ 1292657 h 1347457"/>
              <a:gd name="connsiteX59" fmla="*/ 1171281 w 2427462"/>
              <a:gd name="connsiteY59" fmla="*/ 1040800 h 1347457"/>
              <a:gd name="connsiteX60" fmla="*/ 1243084 w 2427462"/>
              <a:gd name="connsiteY60" fmla="*/ 1041576 h 1347457"/>
              <a:gd name="connsiteX61" fmla="*/ 1559449 w 2427462"/>
              <a:gd name="connsiteY61" fmla="*/ 1315404 h 1347457"/>
              <a:gd name="connsiteX62" fmla="*/ 1595149 w 2427462"/>
              <a:gd name="connsiteY62" fmla="*/ 1347457 h 1347457"/>
              <a:gd name="connsiteX63" fmla="*/ 1606207 w 2427462"/>
              <a:gd name="connsiteY63" fmla="*/ 1347457 h 1347457"/>
              <a:gd name="connsiteX64" fmla="*/ 1641907 w 2427462"/>
              <a:gd name="connsiteY64" fmla="*/ 1315404 h 1347457"/>
              <a:gd name="connsiteX65" fmla="*/ 1997706 w 2427462"/>
              <a:gd name="connsiteY65" fmla="*/ 1039594 h 1347457"/>
              <a:gd name="connsiteX66" fmla="*/ 2353447 w 2427462"/>
              <a:gd name="connsiteY66" fmla="*/ 1315404 h 1347457"/>
              <a:gd name="connsiteX67" fmla="*/ 2389148 w 2427462"/>
              <a:gd name="connsiteY67" fmla="*/ 1347457 h 1347457"/>
              <a:gd name="connsiteX68" fmla="*/ 2390986 w 2427462"/>
              <a:gd name="connsiteY68" fmla="*/ 1347457 h 1347457"/>
              <a:gd name="connsiteX69" fmla="*/ 2391560 w 2427462"/>
              <a:gd name="connsiteY69" fmla="*/ 1347457 h 1347457"/>
              <a:gd name="connsiteX70" fmla="*/ 2427462 w 2427462"/>
              <a:gd name="connsiteY70" fmla="*/ 1311556 h 1347457"/>
              <a:gd name="connsiteX71" fmla="*/ 2426859 w 2427462"/>
              <a:gd name="connsiteY71" fmla="*/ 1305036 h 1347457"/>
              <a:gd name="connsiteX72" fmla="*/ 88978 w 2427462"/>
              <a:gd name="connsiteY72" fmla="*/ 1113465 h 1347457"/>
              <a:gd name="connsiteX73" fmla="*/ 920889 w 2427462"/>
              <a:gd name="connsiteY73" fmla="*/ 208057 h 1347457"/>
              <a:gd name="connsiteX74" fmla="*/ 393050 w 2427462"/>
              <a:gd name="connsiteY74" fmla="*/ 969629 h 1347457"/>
              <a:gd name="connsiteX75" fmla="*/ 88978 w 2427462"/>
              <a:gd name="connsiteY75" fmla="*/ 1113465 h 1347457"/>
              <a:gd name="connsiteX76" fmla="*/ 467237 w 2427462"/>
              <a:gd name="connsiteY76" fmla="*/ 969399 h 1347457"/>
              <a:gd name="connsiteX77" fmla="*/ 1122800 w 2427462"/>
              <a:gd name="connsiteY77" fmla="*/ 201077 h 1347457"/>
              <a:gd name="connsiteX78" fmla="*/ 790409 w 2427462"/>
              <a:gd name="connsiteY78" fmla="*/ 1140635 h 1347457"/>
              <a:gd name="connsiteX79" fmla="*/ 467237 w 2427462"/>
              <a:gd name="connsiteY79" fmla="*/ 969399 h 1347457"/>
              <a:gd name="connsiteX80" fmla="*/ 863217 w 2427462"/>
              <a:gd name="connsiteY80" fmla="*/ 1114556 h 1347457"/>
              <a:gd name="connsiteX81" fmla="*/ 1171281 w 2427462"/>
              <a:gd name="connsiteY81" fmla="*/ 255418 h 1347457"/>
              <a:gd name="connsiteX82" fmla="*/ 1171281 w 2427462"/>
              <a:gd name="connsiteY82" fmla="*/ 968882 h 1347457"/>
              <a:gd name="connsiteX83" fmla="*/ 863217 w 2427462"/>
              <a:gd name="connsiteY83" fmla="*/ 1114556 h 1347457"/>
              <a:gd name="connsiteX84" fmla="*/ 1243084 w 2427462"/>
              <a:gd name="connsiteY84" fmla="*/ 969514 h 1347457"/>
              <a:gd name="connsiteX85" fmla="*/ 1243084 w 2427462"/>
              <a:gd name="connsiteY85" fmla="*/ 244849 h 1347457"/>
              <a:gd name="connsiteX86" fmla="*/ 1560368 w 2427462"/>
              <a:gd name="connsiteY86" fmla="*/ 1133886 h 1347457"/>
              <a:gd name="connsiteX87" fmla="*/ 1243084 w 2427462"/>
              <a:gd name="connsiteY87" fmla="*/ 969514 h 1347457"/>
              <a:gd name="connsiteX88" fmla="*/ 1632659 w 2427462"/>
              <a:gd name="connsiteY88" fmla="*/ 1145173 h 1347457"/>
              <a:gd name="connsiteX89" fmla="*/ 1300096 w 2427462"/>
              <a:gd name="connsiteY89" fmla="*/ 201077 h 1347457"/>
              <a:gd name="connsiteX90" fmla="*/ 1955744 w 2427462"/>
              <a:gd name="connsiteY90" fmla="*/ 969773 h 1347457"/>
              <a:gd name="connsiteX91" fmla="*/ 1632659 w 2427462"/>
              <a:gd name="connsiteY91" fmla="*/ 1145173 h 1347457"/>
              <a:gd name="connsiteX92" fmla="*/ 2029759 w 2427462"/>
              <a:gd name="connsiteY92" fmla="*/ 969428 h 1347457"/>
              <a:gd name="connsiteX93" fmla="*/ 1498789 w 2427462"/>
              <a:gd name="connsiteY93" fmla="*/ 206247 h 1347457"/>
              <a:gd name="connsiteX94" fmla="*/ 2337909 w 2427462"/>
              <a:gd name="connsiteY94" fmla="*/ 1113465 h 1347457"/>
              <a:gd name="connsiteX95" fmla="*/ 2029759 w 2427462"/>
              <a:gd name="connsiteY95"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507906 h 1347457"/>
              <a:gd name="connsiteX48" fmla="*/ 223940 w 2427462"/>
              <a:gd name="connsiteY48" fmla="*/ 610441 h 1347457"/>
              <a:gd name="connsiteX49" fmla="*/ 152136 w 2427462"/>
              <a:gd name="connsiteY49" fmla="*/ 722741 h 1347457"/>
              <a:gd name="connsiteX50" fmla="*/ 152912 w 2427462"/>
              <a:gd name="connsiteY50" fmla="*/ 722741 h 1347457"/>
              <a:gd name="connsiteX51" fmla="*/ 0 w 2427462"/>
              <a:gd name="connsiteY51" fmla="*/ 1311527 h 1347457"/>
              <a:gd name="connsiteX52" fmla="*/ 37740 w 2427462"/>
              <a:gd name="connsiteY52" fmla="*/ 1347428 h 1347457"/>
              <a:gd name="connsiteX53" fmla="*/ 73440 w 2427462"/>
              <a:gd name="connsiteY53" fmla="*/ 1315375 h 1347457"/>
              <a:gd name="connsiteX54" fmla="*/ 429210 w 2427462"/>
              <a:gd name="connsiteY54" fmla="*/ 1039565 h 1347457"/>
              <a:gd name="connsiteX55" fmla="*/ 781246 w 2427462"/>
              <a:gd name="connsiteY55" fmla="*/ 1292657 h 1347457"/>
              <a:gd name="connsiteX56" fmla="*/ 816459 w 2427462"/>
              <a:gd name="connsiteY56" fmla="*/ 1321579 h 1347457"/>
              <a:gd name="connsiteX57" fmla="*/ 851671 w 2427462"/>
              <a:gd name="connsiteY57" fmla="*/ 1292657 h 1347457"/>
              <a:gd name="connsiteX58" fmla="*/ 1171281 w 2427462"/>
              <a:gd name="connsiteY58" fmla="*/ 1040800 h 1347457"/>
              <a:gd name="connsiteX59" fmla="*/ 1243084 w 2427462"/>
              <a:gd name="connsiteY59" fmla="*/ 1041576 h 1347457"/>
              <a:gd name="connsiteX60" fmla="*/ 1559449 w 2427462"/>
              <a:gd name="connsiteY60" fmla="*/ 1315404 h 1347457"/>
              <a:gd name="connsiteX61" fmla="*/ 1595149 w 2427462"/>
              <a:gd name="connsiteY61" fmla="*/ 1347457 h 1347457"/>
              <a:gd name="connsiteX62" fmla="*/ 1606207 w 2427462"/>
              <a:gd name="connsiteY62" fmla="*/ 1347457 h 1347457"/>
              <a:gd name="connsiteX63" fmla="*/ 1641907 w 2427462"/>
              <a:gd name="connsiteY63" fmla="*/ 1315404 h 1347457"/>
              <a:gd name="connsiteX64" fmla="*/ 1997706 w 2427462"/>
              <a:gd name="connsiteY64" fmla="*/ 1039594 h 1347457"/>
              <a:gd name="connsiteX65" fmla="*/ 2353447 w 2427462"/>
              <a:gd name="connsiteY65" fmla="*/ 1315404 h 1347457"/>
              <a:gd name="connsiteX66" fmla="*/ 2389148 w 2427462"/>
              <a:gd name="connsiteY66" fmla="*/ 1347457 h 1347457"/>
              <a:gd name="connsiteX67" fmla="*/ 2390986 w 2427462"/>
              <a:gd name="connsiteY67" fmla="*/ 1347457 h 1347457"/>
              <a:gd name="connsiteX68" fmla="*/ 2391560 w 2427462"/>
              <a:gd name="connsiteY68" fmla="*/ 1347457 h 1347457"/>
              <a:gd name="connsiteX69" fmla="*/ 2427462 w 2427462"/>
              <a:gd name="connsiteY69" fmla="*/ 1311556 h 1347457"/>
              <a:gd name="connsiteX70" fmla="*/ 2426859 w 2427462"/>
              <a:gd name="connsiteY70" fmla="*/ 1305036 h 1347457"/>
              <a:gd name="connsiteX71" fmla="*/ 88978 w 2427462"/>
              <a:gd name="connsiteY71" fmla="*/ 1113465 h 1347457"/>
              <a:gd name="connsiteX72" fmla="*/ 920889 w 2427462"/>
              <a:gd name="connsiteY72" fmla="*/ 208057 h 1347457"/>
              <a:gd name="connsiteX73" fmla="*/ 393050 w 2427462"/>
              <a:gd name="connsiteY73" fmla="*/ 969629 h 1347457"/>
              <a:gd name="connsiteX74" fmla="*/ 88978 w 2427462"/>
              <a:gd name="connsiteY74" fmla="*/ 1113465 h 1347457"/>
              <a:gd name="connsiteX75" fmla="*/ 467237 w 2427462"/>
              <a:gd name="connsiteY75" fmla="*/ 969399 h 1347457"/>
              <a:gd name="connsiteX76" fmla="*/ 1122800 w 2427462"/>
              <a:gd name="connsiteY76" fmla="*/ 201077 h 1347457"/>
              <a:gd name="connsiteX77" fmla="*/ 790409 w 2427462"/>
              <a:gd name="connsiteY77" fmla="*/ 1140635 h 1347457"/>
              <a:gd name="connsiteX78" fmla="*/ 467237 w 2427462"/>
              <a:gd name="connsiteY78" fmla="*/ 969399 h 1347457"/>
              <a:gd name="connsiteX79" fmla="*/ 863217 w 2427462"/>
              <a:gd name="connsiteY79" fmla="*/ 1114556 h 1347457"/>
              <a:gd name="connsiteX80" fmla="*/ 1171281 w 2427462"/>
              <a:gd name="connsiteY80" fmla="*/ 255418 h 1347457"/>
              <a:gd name="connsiteX81" fmla="*/ 1171281 w 2427462"/>
              <a:gd name="connsiteY81" fmla="*/ 968882 h 1347457"/>
              <a:gd name="connsiteX82" fmla="*/ 863217 w 2427462"/>
              <a:gd name="connsiteY82" fmla="*/ 1114556 h 1347457"/>
              <a:gd name="connsiteX83" fmla="*/ 1243084 w 2427462"/>
              <a:gd name="connsiteY83" fmla="*/ 969514 h 1347457"/>
              <a:gd name="connsiteX84" fmla="*/ 1243084 w 2427462"/>
              <a:gd name="connsiteY84" fmla="*/ 244849 h 1347457"/>
              <a:gd name="connsiteX85" fmla="*/ 1560368 w 2427462"/>
              <a:gd name="connsiteY85" fmla="*/ 1133886 h 1347457"/>
              <a:gd name="connsiteX86" fmla="*/ 1243084 w 2427462"/>
              <a:gd name="connsiteY86" fmla="*/ 969514 h 1347457"/>
              <a:gd name="connsiteX87" fmla="*/ 1632659 w 2427462"/>
              <a:gd name="connsiteY87" fmla="*/ 1145173 h 1347457"/>
              <a:gd name="connsiteX88" fmla="*/ 1300096 w 2427462"/>
              <a:gd name="connsiteY88" fmla="*/ 201077 h 1347457"/>
              <a:gd name="connsiteX89" fmla="*/ 1955744 w 2427462"/>
              <a:gd name="connsiteY89" fmla="*/ 969773 h 1347457"/>
              <a:gd name="connsiteX90" fmla="*/ 1632659 w 2427462"/>
              <a:gd name="connsiteY90" fmla="*/ 1145173 h 1347457"/>
              <a:gd name="connsiteX91" fmla="*/ 2029759 w 2427462"/>
              <a:gd name="connsiteY91" fmla="*/ 969428 h 1347457"/>
              <a:gd name="connsiteX92" fmla="*/ 1498789 w 2427462"/>
              <a:gd name="connsiteY92" fmla="*/ 206247 h 1347457"/>
              <a:gd name="connsiteX93" fmla="*/ 2337909 w 2427462"/>
              <a:gd name="connsiteY93" fmla="*/ 1113465 h 1347457"/>
              <a:gd name="connsiteX94" fmla="*/ 2029759 w 2427462"/>
              <a:gd name="connsiteY94"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05307 w 2427462"/>
              <a:gd name="connsiteY46" fmla="*/ 507906 h 1347457"/>
              <a:gd name="connsiteX47" fmla="*/ 223940 w 2427462"/>
              <a:gd name="connsiteY47" fmla="*/ 610441 h 1347457"/>
              <a:gd name="connsiteX48" fmla="*/ 152136 w 2427462"/>
              <a:gd name="connsiteY48" fmla="*/ 722741 h 1347457"/>
              <a:gd name="connsiteX49" fmla="*/ 152912 w 2427462"/>
              <a:gd name="connsiteY49" fmla="*/ 722741 h 1347457"/>
              <a:gd name="connsiteX50" fmla="*/ 0 w 2427462"/>
              <a:gd name="connsiteY50" fmla="*/ 1311527 h 1347457"/>
              <a:gd name="connsiteX51" fmla="*/ 37740 w 2427462"/>
              <a:gd name="connsiteY51" fmla="*/ 1347428 h 1347457"/>
              <a:gd name="connsiteX52" fmla="*/ 73440 w 2427462"/>
              <a:gd name="connsiteY52" fmla="*/ 1315375 h 1347457"/>
              <a:gd name="connsiteX53" fmla="*/ 429210 w 2427462"/>
              <a:gd name="connsiteY53" fmla="*/ 1039565 h 1347457"/>
              <a:gd name="connsiteX54" fmla="*/ 781246 w 2427462"/>
              <a:gd name="connsiteY54" fmla="*/ 1292657 h 1347457"/>
              <a:gd name="connsiteX55" fmla="*/ 816459 w 2427462"/>
              <a:gd name="connsiteY55" fmla="*/ 1321579 h 1347457"/>
              <a:gd name="connsiteX56" fmla="*/ 851671 w 2427462"/>
              <a:gd name="connsiteY56" fmla="*/ 1292657 h 1347457"/>
              <a:gd name="connsiteX57" fmla="*/ 1171281 w 2427462"/>
              <a:gd name="connsiteY57" fmla="*/ 1040800 h 1347457"/>
              <a:gd name="connsiteX58" fmla="*/ 1243084 w 2427462"/>
              <a:gd name="connsiteY58" fmla="*/ 1041576 h 1347457"/>
              <a:gd name="connsiteX59" fmla="*/ 1559449 w 2427462"/>
              <a:gd name="connsiteY59" fmla="*/ 1315404 h 1347457"/>
              <a:gd name="connsiteX60" fmla="*/ 1595149 w 2427462"/>
              <a:gd name="connsiteY60" fmla="*/ 1347457 h 1347457"/>
              <a:gd name="connsiteX61" fmla="*/ 1606207 w 2427462"/>
              <a:gd name="connsiteY61" fmla="*/ 1347457 h 1347457"/>
              <a:gd name="connsiteX62" fmla="*/ 1641907 w 2427462"/>
              <a:gd name="connsiteY62" fmla="*/ 1315404 h 1347457"/>
              <a:gd name="connsiteX63" fmla="*/ 1997706 w 2427462"/>
              <a:gd name="connsiteY63" fmla="*/ 1039594 h 1347457"/>
              <a:gd name="connsiteX64" fmla="*/ 2353447 w 2427462"/>
              <a:gd name="connsiteY64" fmla="*/ 1315404 h 1347457"/>
              <a:gd name="connsiteX65" fmla="*/ 2389148 w 2427462"/>
              <a:gd name="connsiteY65" fmla="*/ 1347457 h 1347457"/>
              <a:gd name="connsiteX66" fmla="*/ 2390986 w 2427462"/>
              <a:gd name="connsiteY66" fmla="*/ 1347457 h 1347457"/>
              <a:gd name="connsiteX67" fmla="*/ 2391560 w 2427462"/>
              <a:gd name="connsiteY67" fmla="*/ 1347457 h 1347457"/>
              <a:gd name="connsiteX68" fmla="*/ 2427462 w 2427462"/>
              <a:gd name="connsiteY68" fmla="*/ 1311556 h 1347457"/>
              <a:gd name="connsiteX69" fmla="*/ 2426859 w 2427462"/>
              <a:gd name="connsiteY69" fmla="*/ 1305036 h 1347457"/>
              <a:gd name="connsiteX70" fmla="*/ 88978 w 2427462"/>
              <a:gd name="connsiteY70" fmla="*/ 1113465 h 1347457"/>
              <a:gd name="connsiteX71" fmla="*/ 920889 w 2427462"/>
              <a:gd name="connsiteY71" fmla="*/ 208057 h 1347457"/>
              <a:gd name="connsiteX72" fmla="*/ 393050 w 2427462"/>
              <a:gd name="connsiteY72" fmla="*/ 969629 h 1347457"/>
              <a:gd name="connsiteX73" fmla="*/ 88978 w 2427462"/>
              <a:gd name="connsiteY73" fmla="*/ 1113465 h 1347457"/>
              <a:gd name="connsiteX74" fmla="*/ 467237 w 2427462"/>
              <a:gd name="connsiteY74" fmla="*/ 969399 h 1347457"/>
              <a:gd name="connsiteX75" fmla="*/ 1122800 w 2427462"/>
              <a:gd name="connsiteY75" fmla="*/ 201077 h 1347457"/>
              <a:gd name="connsiteX76" fmla="*/ 790409 w 2427462"/>
              <a:gd name="connsiteY76" fmla="*/ 1140635 h 1347457"/>
              <a:gd name="connsiteX77" fmla="*/ 467237 w 2427462"/>
              <a:gd name="connsiteY77" fmla="*/ 969399 h 1347457"/>
              <a:gd name="connsiteX78" fmla="*/ 863217 w 2427462"/>
              <a:gd name="connsiteY78" fmla="*/ 1114556 h 1347457"/>
              <a:gd name="connsiteX79" fmla="*/ 1171281 w 2427462"/>
              <a:gd name="connsiteY79" fmla="*/ 255418 h 1347457"/>
              <a:gd name="connsiteX80" fmla="*/ 1171281 w 2427462"/>
              <a:gd name="connsiteY80" fmla="*/ 968882 h 1347457"/>
              <a:gd name="connsiteX81" fmla="*/ 863217 w 2427462"/>
              <a:gd name="connsiteY81" fmla="*/ 1114556 h 1347457"/>
              <a:gd name="connsiteX82" fmla="*/ 1243084 w 2427462"/>
              <a:gd name="connsiteY82" fmla="*/ 969514 h 1347457"/>
              <a:gd name="connsiteX83" fmla="*/ 1243084 w 2427462"/>
              <a:gd name="connsiteY83" fmla="*/ 244849 h 1347457"/>
              <a:gd name="connsiteX84" fmla="*/ 1560368 w 2427462"/>
              <a:gd name="connsiteY84" fmla="*/ 1133886 h 1347457"/>
              <a:gd name="connsiteX85" fmla="*/ 1243084 w 2427462"/>
              <a:gd name="connsiteY85" fmla="*/ 969514 h 1347457"/>
              <a:gd name="connsiteX86" fmla="*/ 1632659 w 2427462"/>
              <a:gd name="connsiteY86" fmla="*/ 1145173 h 1347457"/>
              <a:gd name="connsiteX87" fmla="*/ 1300096 w 2427462"/>
              <a:gd name="connsiteY87" fmla="*/ 201077 h 1347457"/>
              <a:gd name="connsiteX88" fmla="*/ 1955744 w 2427462"/>
              <a:gd name="connsiteY88" fmla="*/ 969773 h 1347457"/>
              <a:gd name="connsiteX89" fmla="*/ 1632659 w 2427462"/>
              <a:gd name="connsiteY89" fmla="*/ 1145173 h 1347457"/>
              <a:gd name="connsiteX90" fmla="*/ 2029759 w 2427462"/>
              <a:gd name="connsiteY90" fmla="*/ 969428 h 1347457"/>
              <a:gd name="connsiteX91" fmla="*/ 1498789 w 2427462"/>
              <a:gd name="connsiteY91" fmla="*/ 206247 h 1347457"/>
              <a:gd name="connsiteX92" fmla="*/ 2337909 w 2427462"/>
              <a:gd name="connsiteY92" fmla="*/ 1113465 h 1347457"/>
              <a:gd name="connsiteX93" fmla="*/ 2029759 w 2427462"/>
              <a:gd name="connsiteY93"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351261 h 1347457"/>
              <a:gd name="connsiteX44" fmla="*/ 377110 w 2427462"/>
              <a:gd name="connsiteY44" fmla="*/ 433547 h 1347457"/>
              <a:gd name="connsiteX45" fmla="*/ 305307 w 2427462"/>
              <a:gd name="connsiteY45" fmla="*/ 507906 h 1347457"/>
              <a:gd name="connsiteX46" fmla="*/ 223940 w 2427462"/>
              <a:gd name="connsiteY46" fmla="*/ 610441 h 1347457"/>
              <a:gd name="connsiteX47" fmla="*/ 152136 w 2427462"/>
              <a:gd name="connsiteY47" fmla="*/ 722741 h 1347457"/>
              <a:gd name="connsiteX48" fmla="*/ 152912 w 2427462"/>
              <a:gd name="connsiteY48" fmla="*/ 722741 h 1347457"/>
              <a:gd name="connsiteX49" fmla="*/ 0 w 2427462"/>
              <a:gd name="connsiteY49" fmla="*/ 1311527 h 1347457"/>
              <a:gd name="connsiteX50" fmla="*/ 37740 w 2427462"/>
              <a:gd name="connsiteY50" fmla="*/ 1347428 h 1347457"/>
              <a:gd name="connsiteX51" fmla="*/ 73440 w 2427462"/>
              <a:gd name="connsiteY51" fmla="*/ 1315375 h 1347457"/>
              <a:gd name="connsiteX52" fmla="*/ 429210 w 2427462"/>
              <a:gd name="connsiteY52" fmla="*/ 1039565 h 1347457"/>
              <a:gd name="connsiteX53" fmla="*/ 781246 w 2427462"/>
              <a:gd name="connsiteY53" fmla="*/ 1292657 h 1347457"/>
              <a:gd name="connsiteX54" fmla="*/ 816459 w 2427462"/>
              <a:gd name="connsiteY54" fmla="*/ 1321579 h 1347457"/>
              <a:gd name="connsiteX55" fmla="*/ 851671 w 2427462"/>
              <a:gd name="connsiteY55" fmla="*/ 1292657 h 1347457"/>
              <a:gd name="connsiteX56" fmla="*/ 1171281 w 2427462"/>
              <a:gd name="connsiteY56" fmla="*/ 1040800 h 1347457"/>
              <a:gd name="connsiteX57" fmla="*/ 1243084 w 2427462"/>
              <a:gd name="connsiteY57" fmla="*/ 1041576 h 1347457"/>
              <a:gd name="connsiteX58" fmla="*/ 1559449 w 2427462"/>
              <a:gd name="connsiteY58" fmla="*/ 1315404 h 1347457"/>
              <a:gd name="connsiteX59" fmla="*/ 1595149 w 2427462"/>
              <a:gd name="connsiteY59" fmla="*/ 1347457 h 1347457"/>
              <a:gd name="connsiteX60" fmla="*/ 1606207 w 2427462"/>
              <a:gd name="connsiteY60" fmla="*/ 1347457 h 1347457"/>
              <a:gd name="connsiteX61" fmla="*/ 1641907 w 2427462"/>
              <a:gd name="connsiteY61" fmla="*/ 1315404 h 1347457"/>
              <a:gd name="connsiteX62" fmla="*/ 1997706 w 2427462"/>
              <a:gd name="connsiteY62" fmla="*/ 1039594 h 1347457"/>
              <a:gd name="connsiteX63" fmla="*/ 2353447 w 2427462"/>
              <a:gd name="connsiteY63" fmla="*/ 1315404 h 1347457"/>
              <a:gd name="connsiteX64" fmla="*/ 2389148 w 2427462"/>
              <a:gd name="connsiteY64" fmla="*/ 1347457 h 1347457"/>
              <a:gd name="connsiteX65" fmla="*/ 2390986 w 2427462"/>
              <a:gd name="connsiteY65" fmla="*/ 1347457 h 1347457"/>
              <a:gd name="connsiteX66" fmla="*/ 2391560 w 2427462"/>
              <a:gd name="connsiteY66" fmla="*/ 1347457 h 1347457"/>
              <a:gd name="connsiteX67" fmla="*/ 2427462 w 2427462"/>
              <a:gd name="connsiteY67" fmla="*/ 1311556 h 1347457"/>
              <a:gd name="connsiteX68" fmla="*/ 2426859 w 2427462"/>
              <a:gd name="connsiteY68" fmla="*/ 1305036 h 1347457"/>
              <a:gd name="connsiteX69" fmla="*/ 88978 w 2427462"/>
              <a:gd name="connsiteY69" fmla="*/ 1113465 h 1347457"/>
              <a:gd name="connsiteX70" fmla="*/ 920889 w 2427462"/>
              <a:gd name="connsiteY70" fmla="*/ 208057 h 1347457"/>
              <a:gd name="connsiteX71" fmla="*/ 393050 w 2427462"/>
              <a:gd name="connsiteY71" fmla="*/ 969629 h 1347457"/>
              <a:gd name="connsiteX72" fmla="*/ 88978 w 2427462"/>
              <a:gd name="connsiteY72" fmla="*/ 1113465 h 1347457"/>
              <a:gd name="connsiteX73" fmla="*/ 467237 w 2427462"/>
              <a:gd name="connsiteY73" fmla="*/ 969399 h 1347457"/>
              <a:gd name="connsiteX74" fmla="*/ 1122800 w 2427462"/>
              <a:gd name="connsiteY74" fmla="*/ 201077 h 1347457"/>
              <a:gd name="connsiteX75" fmla="*/ 790409 w 2427462"/>
              <a:gd name="connsiteY75" fmla="*/ 1140635 h 1347457"/>
              <a:gd name="connsiteX76" fmla="*/ 467237 w 2427462"/>
              <a:gd name="connsiteY76" fmla="*/ 969399 h 1347457"/>
              <a:gd name="connsiteX77" fmla="*/ 863217 w 2427462"/>
              <a:gd name="connsiteY77" fmla="*/ 1114556 h 1347457"/>
              <a:gd name="connsiteX78" fmla="*/ 1171281 w 2427462"/>
              <a:gd name="connsiteY78" fmla="*/ 255418 h 1347457"/>
              <a:gd name="connsiteX79" fmla="*/ 1171281 w 2427462"/>
              <a:gd name="connsiteY79" fmla="*/ 968882 h 1347457"/>
              <a:gd name="connsiteX80" fmla="*/ 863217 w 2427462"/>
              <a:gd name="connsiteY80" fmla="*/ 1114556 h 1347457"/>
              <a:gd name="connsiteX81" fmla="*/ 1243084 w 2427462"/>
              <a:gd name="connsiteY81" fmla="*/ 969514 h 1347457"/>
              <a:gd name="connsiteX82" fmla="*/ 1243084 w 2427462"/>
              <a:gd name="connsiteY82" fmla="*/ 244849 h 1347457"/>
              <a:gd name="connsiteX83" fmla="*/ 1560368 w 2427462"/>
              <a:gd name="connsiteY83" fmla="*/ 1133886 h 1347457"/>
              <a:gd name="connsiteX84" fmla="*/ 1243084 w 2427462"/>
              <a:gd name="connsiteY84" fmla="*/ 969514 h 1347457"/>
              <a:gd name="connsiteX85" fmla="*/ 1632659 w 2427462"/>
              <a:gd name="connsiteY85" fmla="*/ 1145173 h 1347457"/>
              <a:gd name="connsiteX86" fmla="*/ 1300096 w 2427462"/>
              <a:gd name="connsiteY86" fmla="*/ 201077 h 1347457"/>
              <a:gd name="connsiteX87" fmla="*/ 1955744 w 2427462"/>
              <a:gd name="connsiteY87" fmla="*/ 969773 h 1347457"/>
              <a:gd name="connsiteX88" fmla="*/ 1632659 w 2427462"/>
              <a:gd name="connsiteY88" fmla="*/ 1145173 h 1347457"/>
              <a:gd name="connsiteX89" fmla="*/ 2029759 w 2427462"/>
              <a:gd name="connsiteY89" fmla="*/ 969428 h 1347457"/>
              <a:gd name="connsiteX90" fmla="*/ 1498789 w 2427462"/>
              <a:gd name="connsiteY90" fmla="*/ 206247 h 1347457"/>
              <a:gd name="connsiteX91" fmla="*/ 2337909 w 2427462"/>
              <a:gd name="connsiteY91" fmla="*/ 1113465 h 1347457"/>
              <a:gd name="connsiteX92" fmla="*/ 2029759 w 2427462"/>
              <a:gd name="connsiteY92"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472838 w 2427462"/>
              <a:gd name="connsiteY42" fmla="*/ 351261 h 1347457"/>
              <a:gd name="connsiteX43" fmla="*/ 377110 w 2427462"/>
              <a:gd name="connsiteY43" fmla="*/ 433547 h 1347457"/>
              <a:gd name="connsiteX44" fmla="*/ 305307 w 2427462"/>
              <a:gd name="connsiteY44" fmla="*/ 507906 h 1347457"/>
              <a:gd name="connsiteX45" fmla="*/ 223940 w 2427462"/>
              <a:gd name="connsiteY45" fmla="*/ 610441 h 1347457"/>
              <a:gd name="connsiteX46" fmla="*/ 152136 w 2427462"/>
              <a:gd name="connsiteY46" fmla="*/ 722741 h 1347457"/>
              <a:gd name="connsiteX47" fmla="*/ 152912 w 2427462"/>
              <a:gd name="connsiteY47" fmla="*/ 722741 h 1347457"/>
              <a:gd name="connsiteX48" fmla="*/ 0 w 2427462"/>
              <a:gd name="connsiteY48" fmla="*/ 1311527 h 1347457"/>
              <a:gd name="connsiteX49" fmla="*/ 37740 w 2427462"/>
              <a:gd name="connsiteY49" fmla="*/ 1347428 h 1347457"/>
              <a:gd name="connsiteX50" fmla="*/ 73440 w 2427462"/>
              <a:gd name="connsiteY50" fmla="*/ 1315375 h 1347457"/>
              <a:gd name="connsiteX51" fmla="*/ 429210 w 2427462"/>
              <a:gd name="connsiteY51" fmla="*/ 1039565 h 1347457"/>
              <a:gd name="connsiteX52" fmla="*/ 781246 w 2427462"/>
              <a:gd name="connsiteY52" fmla="*/ 1292657 h 1347457"/>
              <a:gd name="connsiteX53" fmla="*/ 816459 w 2427462"/>
              <a:gd name="connsiteY53" fmla="*/ 1321579 h 1347457"/>
              <a:gd name="connsiteX54" fmla="*/ 851671 w 2427462"/>
              <a:gd name="connsiteY54" fmla="*/ 1292657 h 1347457"/>
              <a:gd name="connsiteX55" fmla="*/ 1171281 w 2427462"/>
              <a:gd name="connsiteY55" fmla="*/ 1040800 h 1347457"/>
              <a:gd name="connsiteX56" fmla="*/ 1243084 w 2427462"/>
              <a:gd name="connsiteY56" fmla="*/ 1041576 h 1347457"/>
              <a:gd name="connsiteX57" fmla="*/ 1559449 w 2427462"/>
              <a:gd name="connsiteY57" fmla="*/ 1315404 h 1347457"/>
              <a:gd name="connsiteX58" fmla="*/ 1595149 w 2427462"/>
              <a:gd name="connsiteY58" fmla="*/ 1347457 h 1347457"/>
              <a:gd name="connsiteX59" fmla="*/ 1606207 w 2427462"/>
              <a:gd name="connsiteY59" fmla="*/ 1347457 h 1347457"/>
              <a:gd name="connsiteX60" fmla="*/ 1641907 w 2427462"/>
              <a:gd name="connsiteY60" fmla="*/ 1315404 h 1347457"/>
              <a:gd name="connsiteX61" fmla="*/ 1997706 w 2427462"/>
              <a:gd name="connsiteY61" fmla="*/ 1039594 h 1347457"/>
              <a:gd name="connsiteX62" fmla="*/ 2353447 w 2427462"/>
              <a:gd name="connsiteY62" fmla="*/ 1315404 h 1347457"/>
              <a:gd name="connsiteX63" fmla="*/ 2389148 w 2427462"/>
              <a:gd name="connsiteY63" fmla="*/ 1347457 h 1347457"/>
              <a:gd name="connsiteX64" fmla="*/ 2390986 w 2427462"/>
              <a:gd name="connsiteY64" fmla="*/ 1347457 h 1347457"/>
              <a:gd name="connsiteX65" fmla="*/ 2391560 w 2427462"/>
              <a:gd name="connsiteY65" fmla="*/ 1347457 h 1347457"/>
              <a:gd name="connsiteX66" fmla="*/ 2427462 w 2427462"/>
              <a:gd name="connsiteY66" fmla="*/ 1311556 h 1347457"/>
              <a:gd name="connsiteX67" fmla="*/ 2426859 w 2427462"/>
              <a:gd name="connsiteY67" fmla="*/ 1305036 h 1347457"/>
              <a:gd name="connsiteX68" fmla="*/ 88978 w 2427462"/>
              <a:gd name="connsiteY68" fmla="*/ 1113465 h 1347457"/>
              <a:gd name="connsiteX69" fmla="*/ 920889 w 2427462"/>
              <a:gd name="connsiteY69" fmla="*/ 208057 h 1347457"/>
              <a:gd name="connsiteX70" fmla="*/ 393050 w 2427462"/>
              <a:gd name="connsiteY70" fmla="*/ 969629 h 1347457"/>
              <a:gd name="connsiteX71" fmla="*/ 88978 w 2427462"/>
              <a:gd name="connsiteY71" fmla="*/ 1113465 h 1347457"/>
              <a:gd name="connsiteX72" fmla="*/ 467237 w 2427462"/>
              <a:gd name="connsiteY72" fmla="*/ 969399 h 1347457"/>
              <a:gd name="connsiteX73" fmla="*/ 1122800 w 2427462"/>
              <a:gd name="connsiteY73" fmla="*/ 201077 h 1347457"/>
              <a:gd name="connsiteX74" fmla="*/ 790409 w 2427462"/>
              <a:gd name="connsiteY74" fmla="*/ 1140635 h 1347457"/>
              <a:gd name="connsiteX75" fmla="*/ 467237 w 2427462"/>
              <a:gd name="connsiteY75" fmla="*/ 969399 h 1347457"/>
              <a:gd name="connsiteX76" fmla="*/ 863217 w 2427462"/>
              <a:gd name="connsiteY76" fmla="*/ 1114556 h 1347457"/>
              <a:gd name="connsiteX77" fmla="*/ 1171281 w 2427462"/>
              <a:gd name="connsiteY77" fmla="*/ 255418 h 1347457"/>
              <a:gd name="connsiteX78" fmla="*/ 1171281 w 2427462"/>
              <a:gd name="connsiteY78" fmla="*/ 968882 h 1347457"/>
              <a:gd name="connsiteX79" fmla="*/ 863217 w 2427462"/>
              <a:gd name="connsiteY79" fmla="*/ 1114556 h 1347457"/>
              <a:gd name="connsiteX80" fmla="*/ 1243084 w 2427462"/>
              <a:gd name="connsiteY80" fmla="*/ 969514 h 1347457"/>
              <a:gd name="connsiteX81" fmla="*/ 1243084 w 2427462"/>
              <a:gd name="connsiteY81" fmla="*/ 244849 h 1347457"/>
              <a:gd name="connsiteX82" fmla="*/ 1560368 w 2427462"/>
              <a:gd name="connsiteY82" fmla="*/ 1133886 h 1347457"/>
              <a:gd name="connsiteX83" fmla="*/ 1243084 w 2427462"/>
              <a:gd name="connsiteY83" fmla="*/ 969514 h 1347457"/>
              <a:gd name="connsiteX84" fmla="*/ 1632659 w 2427462"/>
              <a:gd name="connsiteY84" fmla="*/ 1145173 h 1347457"/>
              <a:gd name="connsiteX85" fmla="*/ 1300096 w 2427462"/>
              <a:gd name="connsiteY85" fmla="*/ 201077 h 1347457"/>
              <a:gd name="connsiteX86" fmla="*/ 1955744 w 2427462"/>
              <a:gd name="connsiteY86" fmla="*/ 969773 h 1347457"/>
              <a:gd name="connsiteX87" fmla="*/ 1632659 w 2427462"/>
              <a:gd name="connsiteY87" fmla="*/ 1145173 h 1347457"/>
              <a:gd name="connsiteX88" fmla="*/ 2029759 w 2427462"/>
              <a:gd name="connsiteY88" fmla="*/ 969428 h 1347457"/>
              <a:gd name="connsiteX89" fmla="*/ 1498789 w 2427462"/>
              <a:gd name="connsiteY89" fmla="*/ 206247 h 1347457"/>
              <a:gd name="connsiteX90" fmla="*/ 2337909 w 2427462"/>
              <a:gd name="connsiteY90" fmla="*/ 1113465 h 1347457"/>
              <a:gd name="connsiteX91" fmla="*/ 2029759 w 2427462"/>
              <a:gd name="connsiteY91"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256337 h 1347457"/>
              <a:gd name="connsiteX40" fmla="*/ 544641 w 2427462"/>
              <a:gd name="connsiteY40" fmla="*/ 299706 h 1347457"/>
              <a:gd name="connsiteX41" fmla="*/ 472838 w 2427462"/>
              <a:gd name="connsiteY41" fmla="*/ 351261 h 1347457"/>
              <a:gd name="connsiteX42" fmla="*/ 377110 w 2427462"/>
              <a:gd name="connsiteY42" fmla="*/ 433547 h 1347457"/>
              <a:gd name="connsiteX43" fmla="*/ 305307 w 2427462"/>
              <a:gd name="connsiteY43" fmla="*/ 507906 h 1347457"/>
              <a:gd name="connsiteX44" fmla="*/ 223940 w 2427462"/>
              <a:gd name="connsiteY44" fmla="*/ 610441 h 1347457"/>
              <a:gd name="connsiteX45" fmla="*/ 152136 w 2427462"/>
              <a:gd name="connsiteY45" fmla="*/ 722741 h 1347457"/>
              <a:gd name="connsiteX46" fmla="*/ 152912 w 2427462"/>
              <a:gd name="connsiteY46" fmla="*/ 722741 h 1347457"/>
              <a:gd name="connsiteX47" fmla="*/ 0 w 2427462"/>
              <a:gd name="connsiteY47" fmla="*/ 1311527 h 1347457"/>
              <a:gd name="connsiteX48" fmla="*/ 37740 w 2427462"/>
              <a:gd name="connsiteY48" fmla="*/ 1347428 h 1347457"/>
              <a:gd name="connsiteX49" fmla="*/ 73440 w 2427462"/>
              <a:gd name="connsiteY49" fmla="*/ 1315375 h 1347457"/>
              <a:gd name="connsiteX50" fmla="*/ 429210 w 2427462"/>
              <a:gd name="connsiteY50" fmla="*/ 1039565 h 1347457"/>
              <a:gd name="connsiteX51" fmla="*/ 781246 w 2427462"/>
              <a:gd name="connsiteY51" fmla="*/ 1292657 h 1347457"/>
              <a:gd name="connsiteX52" fmla="*/ 816459 w 2427462"/>
              <a:gd name="connsiteY52" fmla="*/ 1321579 h 1347457"/>
              <a:gd name="connsiteX53" fmla="*/ 851671 w 2427462"/>
              <a:gd name="connsiteY53" fmla="*/ 1292657 h 1347457"/>
              <a:gd name="connsiteX54" fmla="*/ 1171281 w 2427462"/>
              <a:gd name="connsiteY54" fmla="*/ 1040800 h 1347457"/>
              <a:gd name="connsiteX55" fmla="*/ 1243084 w 2427462"/>
              <a:gd name="connsiteY55" fmla="*/ 1041576 h 1347457"/>
              <a:gd name="connsiteX56" fmla="*/ 1559449 w 2427462"/>
              <a:gd name="connsiteY56" fmla="*/ 1315404 h 1347457"/>
              <a:gd name="connsiteX57" fmla="*/ 1595149 w 2427462"/>
              <a:gd name="connsiteY57" fmla="*/ 1347457 h 1347457"/>
              <a:gd name="connsiteX58" fmla="*/ 1606207 w 2427462"/>
              <a:gd name="connsiteY58" fmla="*/ 1347457 h 1347457"/>
              <a:gd name="connsiteX59" fmla="*/ 1641907 w 2427462"/>
              <a:gd name="connsiteY59" fmla="*/ 1315404 h 1347457"/>
              <a:gd name="connsiteX60" fmla="*/ 1997706 w 2427462"/>
              <a:gd name="connsiteY60" fmla="*/ 1039594 h 1347457"/>
              <a:gd name="connsiteX61" fmla="*/ 2353447 w 2427462"/>
              <a:gd name="connsiteY61" fmla="*/ 1315404 h 1347457"/>
              <a:gd name="connsiteX62" fmla="*/ 2389148 w 2427462"/>
              <a:gd name="connsiteY62" fmla="*/ 1347457 h 1347457"/>
              <a:gd name="connsiteX63" fmla="*/ 2390986 w 2427462"/>
              <a:gd name="connsiteY63" fmla="*/ 1347457 h 1347457"/>
              <a:gd name="connsiteX64" fmla="*/ 2391560 w 2427462"/>
              <a:gd name="connsiteY64" fmla="*/ 1347457 h 1347457"/>
              <a:gd name="connsiteX65" fmla="*/ 2427462 w 2427462"/>
              <a:gd name="connsiteY65" fmla="*/ 1311556 h 1347457"/>
              <a:gd name="connsiteX66" fmla="*/ 2426859 w 2427462"/>
              <a:gd name="connsiteY66" fmla="*/ 1305036 h 1347457"/>
              <a:gd name="connsiteX67" fmla="*/ 88978 w 2427462"/>
              <a:gd name="connsiteY67" fmla="*/ 1113465 h 1347457"/>
              <a:gd name="connsiteX68" fmla="*/ 920889 w 2427462"/>
              <a:gd name="connsiteY68" fmla="*/ 208057 h 1347457"/>
              <a:gd name="connsiteX69" fmla="*/ 393050 w 2427462"/>
              <a:gd name="connsiteY69" fmla="*/ 969629 h 1347457"/>
              <a:gd name="connsiteX70" fmla="*/ 88978 w 2427462"/>
              <a:gd name="connsiteY70" fmla="*/ 1113465 h 1347457"/>
              <a:gd name="connsiteX71" fmla="*/ 467237 w 2427462"/>
              <a:gd name="connsiteY71" fmla="*/ 969399 h 1347457"/>
              <a:gd name="connsiteX72" fmla="*/ 1122800 w 2427462"/>
              <a:gd name="connsiteY72" fmla="*/ 201077 h 1347457"/>
              <a:gd name="connsiteX73" fmla="*/ 790409 w 2427462"/>
              <a:gd name="connsiteY73" fmla="*/ 1140635 h 1347457"/>
              <a:gd name="connsiteX74" fmla="*/ 467237 w 2427462"/>
              <a:gd name="connsiteY74" fmla="*/ 969399 h 1347457"/>
              <a:gd name="connsiteX75" fmla="*/ 863217 w 2427462"/>
              <a:gd name="connsiteY75" fmla="*/ 1114556 h 1347457"/>
              <a:gd name="connsiteX76" fmla="*/ 1171281 w 2427462"/>
              <a:gd name="connsiteY76" fmla="*/ 255418 h 1347457"/>
              <a:gd name="connsiteX77" fmla="*/ 1171281 w 2427462"/>
              <a:gd name="connsiteY77" fmla="*/ 968882 h 1347457"/>
              <a:gd name="connsiteX78" fmla="*/ 863217 w 2427462"/>
              <a:gd name="connsiteY78" fmla="*/ 1114556 h 1347457"/>
              <a:gd name="connsiteX79" fmla="*/ 1243084 w 2427462"/>
              <a:gd name="connsiteY79" fmla="*/ 969514 h 1347457"/>
              <a:gd name="connsiteX80" fmla="*/ 1243084 w 2427462"/>
              <a:gd name="connsiteY80" fmla="*/ 244849 h 1347457"/>
              <a:gd name="connsiteX81" fmla="*/ 1560368 w 2427462"/>
              <a:gd name="connsiteY81" fmla="*/ 1133886 h 1347457"/>
              <a:gd name="connsiteX82" fmla="*/ 1243084 w 2427462"/>
              <a:gd name="connsiteY82" fmla="*/ 969514 h 1347457"/>
              <a:gd name="connsiteX83" fmla="*/ 1632659 w 2427462"/>
              <a:gd name="connsiteY83" fmla="*/ 1145173 h 1347457"/>
              <a:gd name="connsiteX84" fmla="*/ 1300096 w 2427462"/>
              <a:gd name="connsiteY84" fmla="*/ 201077 h 1347457"/>
              <a:gd name="connsiteX85" fmla="*/ 1955744 w 2427462"/>
              <a:gd name="connsiteY85" fmla="*/ 969773 h 1347457"/>
              <a:gd name="connsiteX86" fmla="*/ 1632659 w 2427462"/>
              <a:gd name="connsiteY86" fmla="*/ 1145173 h 1347457"/>
              <a:gd name="connsiteX87" fmla="*/ 2029759 w 2427462"/>
              <a:gd name="connsiteY87" fmla="*/ 969428 h 1347457"/>
              <a:gd name="connsiteX88" fmla="*/ 1498789 w 2427462"/>
              <a:gd name="connsiteY88" fmla="*/ 206247 h 1347457"/>
              <a:gd name="connsiteX89" fmla="*/ 2337909 w 2427462"/>
              <a:gd name="connsiteY89" fmla="*/ 1113465 h 1347457"/>
              <a:gd name="connsiteX90" fmla="*/ 2029759 w 2427462"/>
              <a:gd name="connsiteY90"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15353 w 2427462"/>
              <a:gd name="connsiteY38" fmla="*/ 256337 h 1347457"/>
              <a:gd name="connsiteX39" fmla="*/ 544641 w 2427462"/>
              <a:gd name="connsiteY39" fmla="*/ 299706 h 1347457"/>
              <a:gd name="connsiteX40" fmla="*/ 472838 w 2427462"/>
              <a:gd name="connsiteY40" fmla="*/ 351261 h 1347457"/>
              <a:gd name="connsiteX41" fmla="*/ 377110 w 2427462"/>
              <a:gd name="connsiteY41" fmla="*/ 433547 h 1347457"/>
              <a:gd name="connsiteX42" fmla="*/ 305307 w 2427462"/>
              <a:gd name="connsiteY42" fmla="*/ 507906 h 1347457"/>
              <a:gd name="connsiteX43" fmla="*/ 223940 w 2427462"/>
              <a:gd name="connsiteY43" fmla="*/ 610441 h 1347457"/>
              <a:gd name="connsiteX44" fmla="*/ 152136 w 2427462"/>
              <a:gd name="connsiteY44" fmla="*/ 722741 h 1347457"/>
              <a:gd name="connsiteX45" fmla="*/ 152912 w 2427462"/>
              <a:gd name="connsiteY45" fmla="*/ 722741 h 1347457"/>
              <a:gd name="connsiteX46" fmla="*/ 0 w 2427462"/>
              <a:gd name="connsiteY46" fmla="*/ 1311527 h 1347457"/>
              <a:gd name="connsiteX47" fmla="*/ 37740 w 2427462"/>
              <a:gd name="connsiteY47" fmla="*/ 1347428 h 1347457"/>
              <a:gd name="connsiteX48" fmla="*/ 73440 w 2427462"/>
              <a:gd name="connsiteY48" fmla="*/ 1315375 h 1347457"/>
              <a:gd name="connsiteX49" fmla="*/ 429210 w 2427462"/>
              <a:gd name="connsiteY49" fmla="*/ 1039565 h 1347457"/>
              <a:gd name="connsiteX50" fmla="*/ 781246 w 2427462"/>
              <a:gd name="connsiteY50" fmla="*/ 1292657 h 1347457"/>
              <a:gd name="connsiteX51" fmla="*/ 816459 w 2427462"/>
              <a:gd name="connsiteY51" fmla="*/ 1321579 h 1347457"/>
              <a:gd name="connsiteX52" fmla="*/ 851671 w 2427462"/>
              <a:gd name="connsiteY52" fmla="*/ 1292657 h 1347457"/>
              <a:gd name="connsiteX53" fmla="*/ 1171281 w 2427462"/>
              <a:gd name="connsiteY53" fmla="*/ 1040800 h 1347457"/>
              <a:gd name="connsiteX54" fmla="*/ 1243084 w 2427462"/>
              <a:gd name="connsiteY54" fmla="*/ 1041576 h 1347457"/>
              <a:gd name="connsiteX55" fmla="*/ 1559449 w 2427462"/>
              <a:gd name="connsiteY55" fmla="*/ 1315404 h 1347457"/>
              <a:gd name="connsiteX56" fmla="*/ 1595149 w 2427462"/>
              <a:gd name="connsiteY56" fmla="*/ 1347457 h 1347457"/>
              <a:gd name="connsiteX57" fmla="*/ 1606207 w 2427462"/>
              <a:gd name="connsiteY57" fmla="*/ 1347457 h 1347457"/>
              <a:gd name="connsiteX58" fmla="*/ 1641907 w 2427462"/>
              <a:gd name="connsiteY58" fmla="*/ 1315404 h 1347457"/>
              <a:gd name="connsiteX59" fmla="*/ 1997706 w 2427462"/>
              <a:gd name="connsiteY59" fmla="*/ 1039594 h 1347457"/>
              <a:gd name="connsiteX60" fmla="*/ 2353447 w 2427462"/>
              <a:gd name="connsiteY60" fmla="*/ 1315404 h 1347457"/>
              <a:gd name="connsiteX61" fmla="*/ 2389148 w 2427462"/>
              <a:gd name="connsiteY61" fmla="*/ 1347457 h 1347457"/>
              <a:gd name="connsiteX62" fmla="*/ 2390986 w 2427462"/>
              <a:gd name="connsiteY62" fmla="*/ 1347457 h 1347457"/>
              <a:gd name="connsiteX63" fmla="*/ 2391560 w 2427462"/>
              <a:gd name="connsiteY63" fmla="*/ 1347457 h 1347457"/>
              <a:gd name="connsiteX64" fmla="*/ 2427462 w 2427462"/>
              <a:gd name="connsiteY64" fmla="*/ 1311556 h 1347457"/>
              <a:gd name="connsiteX65" fmla="*/ 2426859 w 2427462"/>
              <a:gd name="connsiteY65" fmla="*/ 1305036 h 1347457"/>
              <a:gd name="connsiteX66" fmla="*/ 88978 w 2427462"/>
              <a:gd name="connsiteY66" fmla="*/ 1113465 h 1347457"/>
              <a:gd name="connsiteX67" fmla="*/ 920889 w 2427462"/>
              <a:gd name="connsiteY67" fmla="*/ 208057 h 1347457"/>
              <a:gd name="connsiteX68" fmla="*/ 393050 w 2427462"/>
              <a:gd name="connsiteY68" fmla="*/ 969629 h 1347457"/>
              <a:gd name="connsiteX69" fmla="*/ 88978 w 2427462"/>
              <a:gd name="connsiteY69" fmla="*/ 1113465 h 1347457"/>
              <a:gd name="connsiteX70" fmla="*/ 467237 w 2427462"/>
              <a:gd name="connsiteY70" fmla="*/ 969399 h 1347457"/>
              <a:gd name="connsiteX71" fmla="*/ 1122800 w 2427462"/>
              <a:gd name="connsiteY71" fmla="*/ 201077 h 1347457"/>
              <a:gd name="connsiteX72" fmla="*/ 790409 w 2427462"/>
              <a:gd name="connsiteY72" fmla="*/ 1140635 h 1347457"/>
              <a:gd name="connsiteX73" fmla="*/ 467237 w 2427462"/>
              <a:gd name="connsiteY73" fmla="*/ 969399 h 1347457"/>
              <a:gd name="connsiteX74" fmla="*/ 863217 w 2427462"/>
              <a:gd name="connsiteY74" fmla="*/ 1114556 h 1347457"/>
              <a:gd name="connsiteX75" fmla="*/ 1171281 w 2427462"/>
              <a:gd name="connsiteY75" fmla="*/ 255418 h 1347457"/>
              <a:gd name="connsiteX76" fmla="*/ 1171281 w 2427462"/>
              <a:gd name="connsiteY76" fmla="*/ 968882 h 1347457"/>
              <a:gd name="connsiteX77" fmla="*/ 863217 w 2427462"/>
              <a:gd name="connsiteY77" fmla="*/ 1114556 h 1347457"/>
              <a:gd name="connsiteX78" fmla="*/ 1243084 w 2427462"/>
              <a:gd name="connsiteY78" fmla="*/ 969514 h 1347457"/>
              <a:gd name="connsiteX79" fmla="*/ 1243084 w 2427462"/>
              <a:gd name="connsiteY79" fmla="*/ 244849 h 1347457"/>
              <a:gd name="connsiteX80" fmla="*/ 1560368 w 2427462"/>
              <a:gd name="connsiteY80" fmla="*/ 1133886 h 1347457"/>
              <a:gd name="connsiteX81" fmla="*/ 1243084 w 2427462"/>
              <a:gd name="connsiteY81" fmla="*/ 969514 h 1347457"/>
              <a:gd name="connsiteX82" fmla="*/ 1632659 w 2427462"/>
              <a:gd name="connsiteY82" fmla="*/ 1145173 h 1347457"/>
              <a:gd name="connsiteX83" fmla="*/ 1300096 w 2427462"/>
              <a:gd name="connsiteY83" fmla="*/ 201077 h 1347457"/>
              <a:gd name="connsiteX84" fmla="*/ 1955744 w 2427462"/>
              <a:gd name="connsiteY84" fmla="*/ 969773 h 1347457"/>
              <a:gd name="connsiteX85" fmla="*/ 1632659 w 2427462"/>
              <a:gd name="connsiteY85" fmla="*/ 1145173 h 1347457"/>
              <a:gd name="connsiteX86" fmla="*/ 2029759 w 2427462"/>
              <a:gd name="connsiteY86" fmla="*/ 969428 h 1347457"/>
              <a:gd name="connsiteX87" fmla="*/ 1498789 w 2427462"/>
              <a:gd name="connsiteY87" fmla="*/ 206247 h 1347457"/>
              <a:gd name="connsiteX88" fmla="*/ 2337909 w 2427462"/>
              <a:gd name="connsiteY88" fmla="*/ 1113465 h 1347457"/>
              <a:gd name="connsiteX89" fmla="*/ 2029759 w 2427462"/>
              <a:gd name="connsiteY89"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91944 h 1347457"/>
              <a:gd name="connsiteX36" fmla="*/ 687156 w 2427462"/>
              <a:gd name="connsiteY36" fmla="*/ 218253 h 1347457"/>
              <a:gd name="connsiteX37" fmla="*/ 615353 w 2427462"/>
              <a:gd name="connsiteY37" fmla="*/ 256337 h 1347457"/>
              <a:gd name="connsiteX38" fmla="*/ 544641 w 2427462"/>
              <a:gd name="connsiteY38" fmla="*/ 299706 h 1347457"/>
              <a:gd name="connsiteX39" fmla="*/ 472838 w 2427462"/>
              <a:gd name="connsiteY39" fmla="*/ 351261 h 1347457"/>
              <a:gd name="connsiteX40" fmla="*/ 377110 w 2427462"/>
              <a:gd name="connsiteY40" fmla="*/ 433547 h 1347457"/>
              <a:gd name="connsiteX41" fmla="*/ 305307 w 2427462"/>
              <a:gd name="connsiteY41" fmla="*/ 507906 h 1347457"/>
              <a:gd name="connsiteX42" fmla="*/ 223940 w 2427462"/>
              <a:gd name="connsiteY42" fmla="*/ 610441 h 1347457"/>
              <a:gd name="connsiteX43" fmla="*/ 152136 w 2427462"/>
              <a:gd name="connsiteY43" fmla="*/ 722741 h 1347457"/>
              <a:gd name="connsiteX44" fmla="*/ 152912 w 2427462"/>
              <a:gd name="connsiteY44" fmla="*/ 722741 h 1347457"/>
              <a:gd name="connsiteX45" fmla="*/ 0 w 2427462"/>
              <a:gd name="connsiteY45" fmla="*/ 1311527 h 1347457"/>
              <a:gd name="connsiteX46" fmla="*/ 37740 w 2427462"/>
              <a:gd name="connsiteY46" fmla="*/ 1347428 h 1347457"/>
              <a:gd name="connsiteX47" fmla="*/ 73440 w 2427462"/>
              <a:gd name="connsiteY47" fmla="*/ 1315375 h 1347457"/>
              <a:gd name="connsiteX48" fmla="*/ 429210 w 2427462"/>
              <a:gd name="connsiteY48" fmla="*/ 1039565 h 1347457"/>
              <a:gd name="connsiteX49" fmla="*/ 781246 w 2427462"/>
              <a:gd name="connsiteY49" fmla="*/ 1292657 h 1347457"/>
              <a:gd name="connsiteX50" fmla="*/ 816459 w 2427462"/>
              <a:gd name="connsiteY50" fmla="*/ 1321579 h 1347457"/>
              <a:gd name="connsiteX51" fmla="*/ 851671 w 2427462"/>
              <a:gd name="connsiteY51" fmla="*/ 1292657 h 1347457"/>
              <a:gd name="connsiteX52" fmla="*/ 1171281 w 2427462"/>
              <a:gd name="connsiteY52" fmla="*/ 1040800 h 1347457"/>
              <a:gd name="connsiteX53" fmla="*/ 1243084 w 2427462"/>
              <a:gd name="connsiteY53" fmla="*/ 1041576 h 1347457"/>
              <a:gd name="connsiteX54" fmla="*/ 1559449 w 2427462"/>
              <a:gd name="connsiteY54" fmla="*/ 1315404 h 1347457"/>
              <a:gd name="connsiteX55" fmla="*/ 1595149 w 2427462"/>
              <a:gd name="connsiteY55" fmla="*/ 1347457 h 1347457"/>
              <a:gd name="connsiteX56" fmla="*/ 1606207 w 2427462"/>
              <a:gd name="connsiteY56" fmla="*/ 1347457 h 1347457"/>
              <a:gd name="connsiteX57" fmla="*/ 1641907 w 2427462"/>
              <a:gd name="connsiteY57" fmla="*/ 1315404 h 1347457"/>
              <a:gd name="connsiteX58" fmla="*/ 1997706 w 2427462"/>
              <a:gd name="connsiteY58" fmla="*/ 1039594 h 1347457"/>
              <a:gd name="connsiteX59" fmla="*/ 2353447 w 2427462"/>
              <a:gd name="connsiteY59" fmla="*/ 1315404 h 1347457"/>
              <a:gd name="connsiteX60" fmla="*/ 2389148 w 2427462"/>
              <a:gd name="connsiteY60" fmla="*/ 1347457 h 1347457"/>
              <a:gd name="connsiteX61" fmla="*/ 2390986 w 2427462"/>
              <a:gd name="connsiteY61" fmla="*/ 1347457 h 1347457"/>
              <a:gd name="connsiteX62" fmla="*/ 2391560 w 2427462"/>
              <a:gd name="connsiteY62" fmla="*/ 1347457 h 1347457"/>
              <a:gd name="connsiteX63" fmla="*/ 2427462 w 2427462"/>
              <a:gd name="connsiteY63" fmla="*/ 1311556 h 1347457"/>
              <a:gd name="connsiteX64" fmla="*/ 2426859 w 2427462"/>
              <a:gd name="connsiteY64" fmla="*/ 1305036 h 1347457"/>
              <a:gd name="connsiteX65" fmla="*/ 88978 w 2427462"/>
              <a:gd name="connsiteY65" fmla="*/ 1113465 h 1347457"/>
              <a:gd name="connsiteX66" fmla="*/ 920889 w 2427462"/>
              <a:gd name="connsiteY66" fmla="*/ 208057 h 1347457"/>
              <a:gd name="connsiteX67" fmla="*/ 393050 w 2427462"/>
              <a:gd name="connsiteY67" fmla="*/ 969629 h 1347457"/>
              <a:gd name="connsiteX68" fmla="*/ 88978 w 2427462"/>
              <a:gd name="connsiteY68" fmla="*/ 1113465 h 1347457"/>
              <a:gd name="connsiteX69" fmla="*/ 467237 w 2427462"/>
              <a:gd name="connsiteY69" fmla="*/ 969399 h 1347457"/>
              <a:gd name="connsiteX70" fmla="*/ 1122800 w 2427462"/>
              <a:gd name="connsiteY70" fmla="*/ 201077 h 1347457"/>
              <a:gd name="connsiteX71" fmla="*/ 790409 w 2427462"/>
              <a:gd name="connsiteY71" fmla="*/ 1140635 h 1347457"/>
              <a:gd name="connsiteX72" fmla="*/ 467237 w 2427462"/>
              <a:gd name="connsiteY72" fmla="*/ 969399 h 1347457"/>
              <a:gd name="connsiteX73" fmla="*/ 863217 w 2427462"/>
              <a:gd name="connsiteY73" fmla="*/ 1114556 h 1347457"/>
              <a:gd name="connsiteX74" fmla="*/ 1171281 w 2427462"/>
              <a:gd name="connsiteY74" fmla="*/ 255418 h 1347457"/>
              <a:gd name="connsiteX75" fmla="*/ 1171281 w 2427462"/>
              <a:gd name="connsiteY75" fmla="*/ 968882 h 1347457"/>
              <a:gd name="connsiteX76" fmla="*/ 863217 w 2427462"/>
              <a:gd name="connsiteY76" fmla="*/ 1114556 h 1347457"/>
              <a:gd name="connsiteX77" fmla="*/ 1243084 w 2427462"/>
              <a:gd name="connsiteY77" fmla="*/ 969514 h 1347457"/>
              <a:gd name="connsiteX78" fmla="*/ 1243084 w 2427462"/>
              <a:gd name="connsiteY78" fmla="*/ 244849 h 1347457"/>
              <a:gd name="connsiteX79" fmla="*/ 1560368 w 2427462"/>
              <a:gd name="connsiteY79" fmla="*/ 1133886 h 1347457"/>
              <a:gd name="connsiteX80" fmla="*/ 1243084 w 2427462"/>
              <a:gd name="connsiteY80" fmla="*/ 969514 h 1347457"/>
              <a:gd name="connsiteX81" fmla="*/ 1632659 w 2427462"/>
              <a:gd name="connsiteY81" fmla="*/ 1145173 h 1347457"/>
              <a:gd name="connsiteX82" fmla="*/ 1300096 w 2427462"/>
              <a:gd name="connsiteY82" fmla="*/ 201077 h 1347457"/>
              <a:gd name="connsiteX83" fmla="*/ 1955744 w 2427462"/>
              <a:gd name="connsiteY83" fmla="*/ 969773 h 1347457"/>
              <a:gd name="connsiteX84" fmla="*/ 1632659 w 2427462"/>
              <a:gd name="connsiteY84" fmla="*/ 1145173 h 1347457"/>
              <a:gd name="connsiteX85" fmla="*/ 2029759 w 2427462"/>
              <a:gd name="connsiteY85" fmla="*/ 969428 h 1347457"/>
              <a:gd name="connsiteX86" fmla="*/ 1498789 w 2427462"/>
              <a:gd name="connsiteY86" fmla="*/ 206247 h 1347457"/>
              <a:gd name="connsiteX87" fmla="*/ 2337909 w 2427462"/>
              <a:gd name="connsiteY87" fmla="*/ 1113465 h 1347457"/>
              <a:gd name="connsiteX88" fmla="*/ 2029759 w 2427462"/>
              <a:gd name="connsiteY88"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745690 w 2427462"/>
              <a:gd name="connsiteY34" fmla="*/ 191944 h 1347457"/>
              <a:gd name="connsiteX35" fmla="*/ 687156 w 2427462"/>
              <a:gd name="connsiteY35" fmla="*/ 218253 h 1347457"/>
              <a:gd name="connsiteX36" fmla="*/ 615353 w 2427462"/>
              <a:gd name="connsiteY36" fmla="*/ 256337 h 1347457"/>
              <a:gd name="connsiteX37" fmla="*/ 544641 w 2427462"/>
              <a:gd name="connsiteY37" fmla="*/ 299706 h 1347457"/>
              <a:gd name="connsiteX38" fmla="*/ 472838 w 2427462"/>
              <a:gd name="connsiteY38" fmla="*/ 351261 h 1347457"/>
              <a:gd name="connsiteX39" fmla="*/ 377110 w 2427462"/>
              <a:gd name="connsiteY39" fmla="*/ 433547 h 1347457"/>
              <a:gd name="connsiteX40" fmla="*/ 305307 w 2427462"/>
              <a:gd name="connsiteY40" fmla="*/ 507906 h 1347457"/>
              <a:gd name="connsiteX41" fmla="*/ 223940 w 2427462"/>
              <a:gd name="connsiteY41" fmla="*/ 610441 h 1347457"/>
              <a:gd name="connsiteX42" fmla="*/ 152136 w 2427462"/>
              <a:gd name="connsiteY42" fmla="*/ 722741 h 1347457"/>
              <a:gd name="connsiteX43" fmla="*/ 152912 w 2427462"/>
              <a:gd name="connsiteY43" fmla="*/ 722741 h 1347457"/>
              <a:gd name="connsiteX44" fmla="*/ 0 w 2427462"/>
              <a:gd name="connsiteY44" fmla="*/ 1311527 h 1347457"/>
              <a:gd name="connsiteX45" fmla="*/ 37740 w 2427462"/>
              <a:gd name="connsiteY45" fmla="*/ 1347428 h 1347457"/>
              <a:gd name="connsiteX46" fmla="*/ 73440 w 2427462"/>
              <a:gd name="connsiteY46" fmla="*/ 1315375 h 1347457"/>
              <a:gd name="connsiteX47" fmla="*/ 429210 w 2427462"/>
              <a:gd name="connsiteY47" fmla="*/ 1039565 h 1347457"/>
              <a:gd name="connsiteX48" fmla="*/ 781246 w 2427462"/>
              <a:gd name="connsiteY48" fmla="*/ 1292657 h 1347457"/>
              <a:gd name="connsiteX49" fmla="*/ 816459 w 2427462"/>
              <a:gd name="connsiteY49" fmla="*/ 1321579 h 1347457"/>
              <a:gd name="connsiteX50" fmla="*/ 851671 w 2427462"/>
              <a:gd name="connsiteY50" fmla="*/ 1292657 h 1347457"/>
              <a:gd name="connsiteX51" fmla="*/ 1171281 w 2427462"/>
              <a:gd name="connsiteY51" fmla="*/ 1040800 h 1347457"/>
              <a:gd name="connsiteX52" fmla="*/ 1243084 w 2427462"/>
              <a:gd name="connsiteY52" fmla="*/ 1041576 h 1347457"/>
              <a:gd name="connsiteX53" fmla="*/ 1559449 w 2427462"/>
              <a:gd name="connsiteY53" fmla="*/ 1315404 h 1347457"/>
              <a:gd name="connsiteX54" fmla="*/ 1595149 w 2427462"/>
              <a:gd name="connsiteY54" fmla="*/ 1347457 h 1347457"/>
              <a:gd name="connsiteX55" fmla="*/ 1606207 w 2427462"/>
              <a:gd name="connsiteY55" fmla="*/ 1347457 h 1347457"/>
              <a:gd name="connsiteX56" fmla="*/ 1641907 w 2427462"/>
              <a:gd name="connsiteY56" fmla="*/ 1315404 h 1347457"/>
              <a:gd name="connsiteX57" fmla="*/ 1997706 w 2427462"/>
              <a:gd name="connsiteY57" fmla="*/ 1039594 h 1347457"/>
              <a:gd name="connsiteX58" fmla="*/ 2353447 w 2427462"/>
              <a:gd name="connsiteY58" fmla="*/ 1315404 h 1347457"/>
              <a:gd name="connsiteX59" fmla="*/ 2389148 w 2427462"/>
              <a:gd name="connsiteY59" fmla="*/ 1347457 h 1347457"/>
              <a:gd name="connsiteX60" fmla="*/ 2390986 w 2427462"/>
              <a:gd name="connsiteY60" fmla="*/ 1347457 h 1347457"/>
              <a:gd name="connsiteX61" fmla="*/ 2391560 w 2427462"/>
              <a:gd name="connsiteY61" fmla="*/ 1347457 h 1347457"/>
              <a:gd name="connsiteX62" fmla="*/ 2427462 w 2427462"/>
              <a:gd name="connsiteY62" fmla="*/ 1311556 h 1347457"/>
              <a:gd name="connsiteX63" fmla="*/ 2426859 w 2427462"/>
              <a:gd name="connsiteY63" fmla="*/ 1305036 h 1347457"/>
              <a:gd name="connsiteX64" fmla="*/ 88978 w 2427462"/>
              <a:gd name="connsiteY64" fmla="*/ 1113465 h 1347457"/>
              <a:gd name="connsiteX65" fmla="*/ 920889 w 2427462"/>
              <a:gd name="connsiteY65" fmla="*/ 208057 h 1347457"/>
              <a:gd name="connsiteX66" fmla="*/ 393050 w 2427462"/>
              <a:gd name="connsiteY66" fmla="*/ 969629 h 1347457"/>
              <a:gd name="connsiteX67" fmla="*/ 88978 w 2427462"/>
              <a:gd name="connsiteY67" fmla="*/ 1113465 h 1347457"/>
              <a:gd name="connsiteX68" fmla="*/ 467237 w 2427462"/>
              <a:gd name="connsiteY68" fmla="*/ 969399 h 1347457"/>
              <a:gd name="connsiteX69" fmla="*/ 1122800 w 2427462"/>
              <a:gd name="connsiteY69" fmla="*/ 201077 h 1347457"/>
              <a:gd name="connsiteX70" fmla="*/ 790409 w 2427462"/>
              <a:gd name="connsiteY70" fmla="*/ 1140635 h 1347457"/>
              <a:gd name="connsiteX71" fmla="*/ 467237 w 2427462"/>
              <a:gd name="connsiteY71" fmla="*/ 969399 h 1347457"/>
              <a:gd name="connsiteX72" fmla="*/ 863217 w 2427462"/>
              <a:gd name="connsiteY72" fmla="*/ 1114556 h 1347457"/>
              <a:gd name="connsiteX73" fmla="*/ 1171281 w 2427462"/>
              <a:gd name="connsiteY73" fmla="*/ 255418 h 1347457"/>
              <a:gd name="connsiteX74" fmla="*/ 1171281 w 2427462"/>
              <a:gd name="connsiteY74" fmla="*/ 968882 h 1347457"/>
              <a:gd name="connsiteX75" fmla="*/ 863217 w 2427462"/>
              <a:gd name="connsiteY75" fmla="*/ 1114556 h 1347457"/>
              <a:gd name="connsiteX76" fmla="*/ 1243084 w 2427462"/>
              <a:gd name="connsiteY76" fmla="*/ 969514 h 1347457"/>
              <a:gd name="connsiteX77" fmla="*/ 1243084 w 2427462"/>
              <a:gd name="connsiteY77" fmla="*/ 244849 h 1347457"/>
              <a:gd name="connsiteX78" fmla="*/ 1560368 w 2427462"/>
              <a:gd name="connsiteY78" fmla="*/ 1133886 h 1347457"/>
              <a:gd name="connsiteX79" fmla="*/ 1243084 w 2427462"/>
              <a:gd name="connsiteY79" fmla="*/ 969514 h 1347457"/>
              <a:gd name="connsiteX80" fmla="*/ 1632659 w 2427462"/>
              <a:gd name="connsiteY80" fmla="*/ 1145173 h 1347457"/>
              <a:gd name="connsiteX81" fmla="*/ 1300096 w 2427462"/>
              <a:gd name="connsiteY81" fmla="*/ 201077 h 1347457"/>
              <a:gd name="connsiteX82" fmla="*/ 1955744 w 2427462"/>
              <a:gd name="connsiteY82" fmla="*/ 969773 h 1347457"/>
              <a:gd name="connsiteX83" fmla="*/ 1632659 w 2427462"/>
              <a:gd name="connsiteY83" fmla="*/ 1145173 h 1347457"/>
              <a:gd name="connsiteX84" fmla="*/ 2029759 w 2427462"/>
              <a:gd name="connsiteY84" fmla="*/ 969428 h 1347457"/>
              <a:gd name="connsiteX85" fmla="*/ 1498789 w 2427462"/>
              <a:gd name="connsiteY85" fmla="*/ 206247 h 1347457"/>
              <a:gd name="connsiteX86" fmla="*/ 2337909 w 2427462"/>
              <a:gd name="connsiteY86" fmla="*/ 1113465 h 1347457"/>
              <a:gd name="connsiteX87" fmla="*/ 2029759 w 2427462"/>
              <a:gd name="connsiteY87"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142974 h 1347457"/>
              <a:gd name="connsiteX32" fmla="*/ 817493 w 2427462"/>
              <a:gd name="connsiteY32" fmla="*/ 164745 h 1347457"/>
              <a:gd name="connsiteX33" fmla="*/ 745690 w 2427462"/>
              <a:gd name="connsiteY33" fmla="*/ 191944 h 1347457"/>
              <a:gd name="connsiteX34" fmla="*/ 687156 w 2427462"/>
              <a:gd name="connsiteY34" fmla="*/ 218253 h 1347457"/>
              <a:gd name="connsiteX35" fmla="*/ 615353 w 2427462"/>
              <a:gd name="connsiteY35" fmla="*/ 256337 h 1347457"/>
              <a:gd name="connsiteX36" fmla="*/ 544641 w 2427462"/>
              <a:gd name="connsiteY36" fmla="*/ 299706 h 1347457"/>
              <a:gd name="connsiteX37" fmla="*/ 472838 w 2427462"/>
              <a:gd name="connsiteY37" fmla="*/ 351261 h 1347457"/>
              <a:gd name="connsiteX38" fmla="*/ 377110 w 2427462"/>
              <a:gd name="connsiteY38" fmla="*/ 433547 h 1347457"/>
              <a:gd name="connsiteX39" fmla="*/ 305307 w 2427462"/>
              <a:gd name="connsiteY39" fmla="*/ 507906 h 1347457"/>
              <a:gd name="connsiteX40" fmla="*/ 223940 w 2427462"/>
              <a:gd name="connsiteY40" fmla="*/ 610441 h 1347457"/>
              <a:gd name="connsiteX41" fmla="*/ 152136 w 2427462"/>
              <a:gd name="connsiteY41" fmla="*/ 722741 h 1347457"/>
              <a:gd name="connsiteX42" fmla="*/ 152912 w 2427462"/>
              <a:gd name="connsiteY42" fmla="*/ 722741 h 1347457"/>
              <a:gd name="connsiteX43" fmla="*/ 0 w 2427462"/>
              <a:gd name="connsiteY43" fmla="*/ 1311527 h 1347457"/>
              <a:gd name="connsiteX44" fmla="*/ 37740 w 2427462"/>
              <a:gd name="connsiteY44" fmla="*/ 1347428 h 1347457"/>
              <a:gd name="connsiteX45" fmla="*/ 73440 w 2427462"/>
              <a:gd name="connsiteY45" fmla="*/ 1315375 h 1347457"/>
              <a:gd name="connsiteX46" fmla="*/ 429210 w 2427462"/>
              <a:gd name="connsiteY46" fmla="*/ 1039565 h 1347457"/>
              <a:gd name="connsiteX47" fmla="*/ 781246 w 2427462"/>
              <a:gd name="connsiteY47" fmla="*/ 1292657 h 1347457"/>
              <a:gd name="connsiteX48" fmla="*/ 816459 w 2427462"/>
              <a:gd name="connsiteY48" fmla="*/ 1321579 h 1347457"/>
              <a:gd name="connsiteX49" fmla="*/ 851671 w 2427462"/>
              <a:gd name="connsiteY49" fmla="*/ 1292657 h 1347457"/>
              <a:gd name="connsiteX50" fmla="*/ 1171281 w 2427462"/>
              <a:gd name="connsiteY50" fmla="*/ 1040800 h 1347457"/>
              <a:gd name="connsiteX51" fmla="*/ 1243084 w 2427462"/>
              <a:gd name="connsiteY51" fmla="*/ 1041576 h 1347457"/>
              <a:gd name="connsiteX52" fmla="*/ 1559449 w 2427462"/>
              <a:gd name="connsiteY52" fmla="*/ 1315404 h 1347457"/>
              <a:gd name="connsiteX53" fmla="*/ 1595149 w 2427462"/>
              <a:gd name="connsiteY53" fmla="*/ 1347457 h 1347457"/>
              <a:gd name="connsiteX54" fmla="*/ 1606207 w 2427462"/>
              <a:gd name="connsiteY54" fmla="*/ 1347457 h 1347457"/>
              <a:gd name="connsiteX55" fmla="*/ 1641907 w 2427462"/>
              <a:gd name="connsiteY55" fmla="*/ 1315404 h 1347457"/>
              <a:gd name="connsiteX56" fmla="*/ 1997706 w 2427462"/>
              <a:gd name="connsiteY56" fmla="*/ 1039594 h 1347457"/>
              <a:gd name="connsiteX57" fmla="*/ 2353447 w 2427462"/>
              <a:gd name="connsiteY57" fmla="*/ 1315404 h 1347457"/>
              <a:gd name="connsiteX58" fmla="*/ 2389148 w 2427462"/>
              <a:gd name="connsiteY58" fmla="*/ 1347457 h 1347457"/>
              <a:gd name="connsiteX59" fmla="*/ 2390986 w 2427462"/>
              <a:gd name="connsiteY59" fmla="*/ 1347457 h 1347457"/>
              <a:gd name="connsiteX60" fmla="*/ 2391560 w 2427462"/>
              <a:gd name="connsiteY60" fmla="*/ 1347457 h 1347457"/>
              <a:gd name="connsiteX61" fmla="*/ 2427462 w 2427462"/>
              <a:gd name="connsiteY61" fmla="*/ 1311556 h 1347457"/>
              <a:gd name="connsiteX62" fmla="*/ 2426859 w 2427462"/>
              <a:gd name="connsiteY62" fmla="*/ 1305036 h 1347457"/>
              <a:gd name="connsiteX63" fmla="*/ 88978 w 2427462"/>
              <a:gd name="connsiteY63" fmla="*/ 1113465 h 1347457"/>
              <a:gd name="connsiteX64" fmla="*/ 920889 w 2427462"/>
              <a:gd name="connsiteY64" fmla="*/ 208057 h 1347457"/>
              <a:gd name="connsiteX65" fmla="*/ 393050 w 2427462"/>
              <a:gd name="connsiteY65" fmla="*/ 969629 h 1347457"/>
              <a:gd name="connsiteX66" fmla="*/ 88978 w 2427462"/>
              <a:gd name="connsiteY66" fmla="*/ 1113465 h 1347457"/>
              <a:gd name="connsiteX67" fmla="*/ 467237 w 2427462"/>
              <a:gd name="connsiteY67" fmla="*/ 969399 h 1347457"/>
              <a:gd name="connsiteX68" fmla="*/ 1122800 w 2427462"/>
              <a:gd name="connsiteY68" fmla="*/ 201077 h 1347457"/>
              <a:gd name="connsiteX69" fmla="*/ 790409 w 2427462"/>
              <a:gd name="connsiteY69" fmla="*/ 1140635 h 1347457"/>
              <a:gd name="connsiteX70" fmla="*/ 467237 w 2427462"/>
              <a:gd name="connsiteY70" fmla="*/ 969399 h 1347457"/>
              <a:gd name="connsiteX71" fmla="*/ 863217 w 2427462"/>
              <a:gd name="connsiteY71" fmla="*/ 1114556 h 1347457"/>
              <a:gd name="connsiteX72" fmla="*/ 1171281 w 2427462"/>
              <a:gd name="connsiteY72" fmla="*/ 255418 h 1347457"/>
              <a:gd name="connsiteX73" fmla="*/ 1171281 w 2427462"/>
              <a:gd name="connsiteY73" fmla="*/ 968882 h 1347457"/>
              <a:gd name="connsiteX74" fmla="*/ 863217 w 2427462"/>
              <a:gd name="connsiteY74" fmla="*/ 1114556 h 1347457"/>
              <a:gd name="connsiteX75" fmla="*/ 1243084 w 2427462"/>
              <a:gd name="connsiteY75" fmla="*/ 969514 h 1347457"/>
              <a:gd name="connsiteX76" fmla="*/ 1243084 w 2427462"/>
              <a:gd name="connsiteY76" fmla="*/ 244849 h 1347457"/>
              <a:gd name="connsiteX77" fmla="*/ 1560368 w 2427462"/>
              <a:gd name="connsiteY77" fmla="*/ 1133886 h 1347457"/>
              <a:gd name="connsiteX78" fmla="*/ 1243084 w 2427462"/>
              <a:gd name="connsiteY78" fmla="*/ 969514 h 1347457"/>
              <a:gd name="connsiteX79" fmla="*/ 1632659 w 2427462"/>
              <a:gd name="connsiteY79" fmla="*/ 1145173 h 1347457"/>
              <a:gd name="connsiteX80" fmla="*/ 1300096 w 2427462"/>
              <a:gd name="connsiteY80" fmla="*/ 201077 h 1347457"/>
              <a:gd name="connsiteX81" fmla="*/ 1955744 w 2427462"/>
              <a:gd name="connsiteY81" fmla="*/ 969773 h 1347457"/>
              <a:gd name="connsiteX82" fmla="*/ 1632659 w 2427462"/>
              <a:gd name="connsiteY82" fmla="*/ 1145173 h 1347457"/>
              <a:gd name="connsiteX83" fmla="*/ 2029759 w 2427462"/>
              <a:gd name="connsiteY83" fmla="*/ 969428 h 1347457"/>
              <a:gd name="connsiteX84" fmla="*/ 1498789 w 2427462"/>
              <a:gd name="connsiteY84" fmla="*/ 206247 h 1347457"/>
              <a:gd name="connsiteX85" fmla="*/ 2337909 w 2427462"/>
              <a:gd name="connsiteY85" fmla="*/ 1113465 h 1347457"/>
              <a:gd name="connsiteX86" fmla="*/ 2029759 w 2427462"/>
              <a:gd name="connsiteY86"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887170 w 2427462"/>
              <a:gd name="connsiteY30" fmla="*/ 142974 h 1347457"/>
              <a:gd name="connsiteX31" fmla="*/ 817493 w 2427462"/>
              <a:gd name="connsiteY31" fmla="*/ 164745 h 1347457"/>
              <a:gd name="connsiteX32" fmla="*/ 745690 w 2427462"/>
              <a:gd name="connsiteY32" fmla="*/ 191944 h 1347457"/>
              <a:gd name="connsiteX33" fmla="*/ 687156 w 2427462"/>
              <a:gd name="connsiteY33" fmla="*/ 218253 h 1347457"/>
              <a:gd name="connsiteX34" fmla="*/ 615353 w 2427462"/>
              <a:gd name="connsiteY34" fmla="*/ 256337 h 1347457"/>
              <a:gd name="connsiteX35" fmla="*/ 544641 w 2427462"/>
              <a:gd name="connsiteY35" fmla="*/ 299706 h 1347457"/>
              <a:gd name="connsiteX36" fmla="*/ 472838 w 2427462"/>
              <a:gd name="connsiteY36" fmla="*/ 351261 h 1347457"/>
              <a:gd name="connsiteX37" fmla="*/ 377110 w 2427462"/>
              <a:gd name="connsiteY37" fmla="*/ 433547 h 1347457"/>
              <a:gd name="connsiteX38" fmla="*/ 305307 w 2427462"/>
              <a:gd name="connsiteY38" fmla="*/ 507906 h 1347457"/>
              <a:gd name="connsiteX39" fmla="*/ 223940 w 2427462"/>
              <a:gd name="connsiteY39" fmla="*/ 610441 h 1347457"/>
              <a:gd name="connsiteX40" fmla="*/ 152136 w 2427462"/>
              <a:gd name="connsiteY40" fmla="*/ 722741 h 1347457"/>
              <a:gd name="connsiteX41" fmla="*/ 152912 w 2427462"/>
              <a:gd name="connsiteY41" fmla="*/ 722741 h 1347457"/>
              <a:gd name="connsiteX42" fmla="*/ 0 w 2427462"/>
              <a:gd name="connsiteY42" fmla="*/ 1311527 h 1347457"/>
              <a:gd name="connsiteX43" fmla="*/ 37740 w 2427462"/>
              <a:gd name="connsiteY43" fmla="*/ 1347428 h 1347457"/>
              <a:gd name="connsiteX44" fmla="*/ 73440 w 2427462"/>
              <a:gd name="connsiteY44" fmla="*/ 1315375 h 1347457"/>
              <a:gd name="connsiteX45" fmla="*/ 429210 w 2427462"/>
              <a:gd name="connsiteY45" fmla="*/ 1039565 h 1347457"/>
              <a:gd name="connsiteX46" fmla="*/ 781246 w 2427462"/>
              <a:gd name="connsiteY46" fmla="*/ 1292657 h 1347457"/>
              <a:gd name="connsiteX47" fmla="*/ 816459 w 2427462"/>
              <a:gd name="connsiteY47" fmla="*/ 1321579 h 1347457"/>
              <a:gd name="connsiteX48" fmla="*/ 851671 w 2427462"/>
              <a:gd name="connsiteY48" fmla="*/ 1292657 h 1347457"/>
              <a:gd name="connsiteX49" fmla="*/ 1171281 w 2427462"/>
              <a:gd name="connsiteY49" fmla="*/ 1040800 h 1347457"/>
              <a:gd name="connsiteX50" fmla="*/ 1243084 w 2427462"/>
              <a:gd name="connsiteY50" fmla="*/ 1041576 h 1347457"/>
              <a:gd name="connsiteX51" fmla="*/ 1559449 w 2427462"/>
              <a:gd name="connsiteY51" fmla="*/ 1315404 h 1347457"/>
              <a:gd name="connsiteX52" fmla="*/ 1595149 w 2427462"/>
              <a:gd name="connsiteY52" fmla="*/ 1347457 h 1347457"/>
              <a:gd name="connsiteX53" fmla="*/ 1606207 w 2427462"/>
              <a:gd name="connsiteY53" fmla="*/ 1347457 h 1347457"/>
              <a:gd name="connsiteX54" fmla="*/ 1641907 w 2427462"/>
              <a:gd name="connsiteY54" fmla="*/ 1315404 h 1347457"/>
              <a:gd name="connsiteX55" fmla="*/ 1997706 w 2427462"/>
              <a:gd name="connsiteY55" fmla="*/ 1039594 h 1347457"/>
              <a:gd name="connsiteX56" fmla="*/ 2353447 w 2427462"/>
              <a:gd name="connsiteY56" fmla="*/ 1315404 h 1347457"/>
              <a:gd name="connsiteX57" fmla="*/ 2389148 w 2427462"/>
              <a:gd name="connsiteY57" fmla="*/ 1347457 h 1347457"/>
              <a:gd name="connsiteX58" fmla="*/ 2390986 w 2427462"/>
              <a:gd name="connsiteY58" fmla="*/ 1347457 h 1347457"/>
              <a:gd name="connsiteX59" fmla="*/ 2391560 w 2427462"/>
              <a:gd name="connsiteY59" fmla="*/ 1347457 h 1347457"/>
              <a:gd name="connsiteX60" fmla="*/ 2427462 w 2427462"/>
              <a:gd name="connsiteY60" fmla="*/ 1311556 h 1347457"/>
              <a:gd name="connsiteX61" fmla="*/ 2426859 w 2427462"/>
              <a:gd name="connsiteY61" fmla="*/ 1305036 h 1347457"/>
              <a:gd name="connsiteX62" fmla="*/ 88978 w 2427462"/>
              <a:gd name="connsiteY62" fmla="*/ 1113465 h 1347457"/>
              <a:gd name="connsiteX63" fmla="*/ 920889 w 2427462"/>
              <a:gd name="connsiteY63" fmla="*/ 208057 h 1347457"/>
              <a:gd name="connsiteX64" fmla="*/ 393050 w 2427462"/>
              <a:gd name="connsiteY64" fmla="*/ 969629 h 1347457"/>
              <a:gd name="connsiteX65" fmla="*/ 88978 w 2427462"/>
              <a:gd name="connsiteY65" fmla="*/ 1113465 h 1347457"/>
              <a:gd name="connsiteX66" fmla="*/ 467237 w 2427462"/>
              <a:gd name="connsiteY66" fmla="*/ 969399 h 1347457"/>
              <a:gd name="connsiteX67" fmla="*/ 1122800 w 2427462"/>
              <a:gd name="connsiteY67" fmla="*/ 201077 h 1347457"/>
              <a:gd name="connsiteX68" fmla="*/ 790409 w 2427462"/>
              <a:gd name="connsiteY68" fmla="*/ 1140635 h 1347457"/>
              <a:gd name="connsiteX69" fmla="*/ 467237 w 2427462"/>
              <a:gd name="connsiteY69" fmla="*/ 969399 h 1347457"/>
              <a:gd name="connsiteX70" fmla="*/ 863217 w 2427462"/>
              <a:gd name="connsiteY70" fmla="*/ 1114556 h 1347457"/>
              <a:gd name="connsiteX71" fmla="*/ 1171281 w 2427462"/>
              <a:gd name="connsiteY71" fmla="*/ 255418 h 1347457"/>
              <a:gd name="connsiteX72" fmla="*/ 1171281 w 2427462"/>
              <a:gd name="connsiteY72" fmla="*/ 968882 h 1347457"/>
              <a:gd name="connsiteX73" fmla="*/ 863217 w 2427462"/>
              <a:gd name="connsiteY73" fmla="*/ 1114556 h 1347457"/>
              <a:gd name="connsiteX74" fmla="*/ 1243084 w 2427462"/>
              <a:gd name="connsiteY74" fmla="*/ 969514 h 1347457"/>
              <a:gd name="connsiteX75" fmla="*/ 1243084 w 2427462"/>
              <a:gd name="connsiteY75" fmla="*/ 244849 h 1347457"/>
              <a:gd name="connsiteX76" fmla="*/ 1560368 w 2427462"/>
              <a:gd name="connsiteY76" fmla="*/ 1133886 h 1347457"/>
              <a:gd name="connsiteX77" fmla="*/ 1243084 w 2427462"/>
              <a:gd name="connsiteY77" fmla="*/ 969514 h 1347457"/>
              <a:gd name="connsiteX78" fmla="*/ 1632659 w 2427462"/>
              <a:gd name="connsiteY78" fmla="*/ 1145173 h 1347457"/>
              <a:gd name="connsiteX79" fmla="*/ 1300096 w 2427462"/>
              <a:gd name="connsiteY79" fmla="*/ 201077 h 1347457"/>
              <a:gd name="connsiteX80" fmla="*/ 1955744 w 2427462"/>
              <a:gd name="connsiteY80" fmla="*/ 969773 h 1347457"/>
              <a:gd name="connsiteX81" fmla="*/ 1632659 w 2427462"/>
              <a:gd name="connsiteY81" fmla="*/ 1145173 h 1347457"/>
              <a:gd name="connsiteX82" fmla="*/ 2029759 w 2427462"/>
              <a:gd name="connsiteY82" fmla="*/ 969428 h 1347457"/>
              <a:gd name="connsiteX83" fmla="*/ 1498789 w 2427462"/>
              <a:gd name="connsiteY83" fmla="*/ 206247 h 1347457"/>
              <a:gd name="connsiteX84" fmla="*/ 2337909 w 2427462"/>
              <a:gd name="connsiteY84" fmla="*/ 1113465 h 1347457"/>
              <a:gd name="connsiteX85" fmla="*/ 2029759 w 2427462"/>
              <a:gd name="connsiteY85"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171281 w 2427462"/>
              <a:gd name="connsiteY26" fmla="*/ 0 h 1347457"/>
              <a:gd name="connsiteX27" fmla="*/ 1171281 w 2427462"/>
              <a:gd name="connsiteY27" fmla="*/ 99117 h 1347457"/>
              <a:gd name="connsiteX28" fmla="*/ 958973 w 2427462"/>
              <a:gd name="connsiteY28" fmla="*/ 125110 h 1347457"/>
              <a:gd name="connsiteX29" fmla="*/ 887170 w 2427462"/>
              <a:gd name="connsiteY29" fmla="*/ 142974 h 1347457"/>
              <a:gd name="connsiteX30" fmla="*/ 817493 w 2427462"/>
              <a:gd name="connsiteY30" fmla="*/ 164745 h 1347457"/>
              <a:gd name="connsiteX31" fmla="*/ 745690 w 2427462"/>
              <a:gd name="connsiteY31" fmla="*/ 191944 h 1347457"/>
              <a:gd name="connsiteX32" fmla="*/ 687156 w 2427462"/>
              <a:gd name="connsiteY32" fmla="*/ 218253 h 1347457"/>
              <a:gd name="connsiteX33" fmla="*/ 615353 w 2427462"/>
              <a:gd name="connsiteY33" fmla="*/ 256337 h 1347457"/>
              <a:gd name="connsiteX34" fmla="*/ 544641 w 2427462"/>
              <a:gd name="connsiteY34" fmla="*/ 299706 h 1347457"/>
              <a:gd name="connsiteX35" fmla="*/ 472838 w 2427462"/>
              <a:gd name="connsiteY35" fmla="*/ 351261 h 1347457"/>
              <a:gd name="connsiteX36" fmla="*/ 377110 w 2427462"/>
              <a:gd name="connsiteY36" fmla="*/ 433547 h 1347457"/>
              <a:gd name="connsiteX37" fmla="*/ 305307 w 2427462"/>
              <a:gd name="connsiteY37" fmla="*/ 507906 h 1347457"/>
              <a:gd name="connsiteX38" fmla="*/ 223940 w 2427462"/>
              <a:gd name="connsiteY38" fmla="*/ 610441 h 1347457"/>
              <a:gd name="connsiteX39" fmla="*/ 152136 w 2427462"/>
              <a:gd name="connsiteY39" fmla="*/ 722741 h 1347457"/>
              <a:gd name="connsiteX40" fmla="*/ 152912 w 2427462"/>
              <a:gd name="connsiteY40" fmla="*/ 722741 h 1347457"/>
              <a:gd name="connsiteX41" fmla="*/ 0 w 2427462"/>
              <a:gd name="connsiteY41" fmla="*/ 1311527 h 1347457"/>
              <a:gd name="connsiteX42" fmla="*/ 37740 w 2427462"/>
              <a:gd name="connsiteY42" fmla="*/ 1347428 h 1347457"/>
              <a:gd name="connsiteX43" fmla="*/ 73440 w 2427462"/>
              <a:gd name="connsiteY43" fmla="*/ 1315375 h 1347457"/>
              <a:gd name="connsiteX44" fmla="*/ 429210 w 2427462"/>
              <a:gd name="connsiteY44" fmla="*/ 1039565 h 1347457"/>
              <a:gd name="connsiteX45" fmla="*/ 781246 w 2427462"/>
              <a:gd name="connsiteY45" fmla="*/ 1292657 h 1347457"/>
              <a:gd name="connsiteX46" fmla="*/ 816459 w 2427462"/>
              <a:gd name="connsiteY46" fmla="*/ 1321579 h 1347457"/>
              <a:gd name="connsiteX47" fmla="*/ 851671 w 2427462"/>
              <a:gd name="connsiteY47" fmla="*/ 1292657 h 1347457"/>
              <a:gd name="connsiteX48" fmla="*/ 1171281 w 2427462"/>
              <a:gd name="connsiteY48" fmla="*/ 1040800 h 1347457"/>
              <a:gd name="connsiteX49" fmla="*/ 1243084 w 2427462"/>
              <a:gd name="connsiteY49" fmla="*/ 1041576 h 1347457"/>
              <a:gd name="connsiteX50" fmla="*/ 1559449 w 2427462"/>
              <a:gd name="connsiteY50" fmla="*/ 1315404 h 1347457"/>
              <a:gd name="connsiteX51" fmla="*/ 1595149 w 2427462"/>
              <a:gd name="connsiteY51" fmla="*/ 1347457 h 1347457"/>
              <a:gd name="connsiteX52" fmla="*/ 1606207 w 2427462"/>
              <a:gd name="connsiteY52" fmla="*/ 1347457 h 1347457"/>
              <a:gd name="connsiteX53" fmla="*/ 1641907 w 2427462"/>
              <a:gd name="connsiteY53" fmla="*/ 1315404 h 1347457"/>
              <a:gd name="connsiteX54" fmla="*/ 1997706 w 2427462"/>
              <a:gd name="connsiteY54" fmla="*/ 1039594 h 1347457"/>
              <a:gd name="connsiteX55" fmla="*/ 2353447 w 2427462"/>
              <a:gd name="connsiteY55" fmla="*/ 1315404 h 1347457"/>
              <a:gd name="connsiteX56" fmla="*/ 2389148 w 2427462"/>
              <a:gd name="connsiteY56" fmla="*/ 1347457 h 1347457"/>
              <a:gd name="connsiteX57" fmla="*/ 2390986 w 2427462"/>
              <a:gd name="connsiteY57" fmla="*/ 1347457 h 1347457"/>
              <a:gd name="connsiteX58" fmla="*/ 2391560 w 2427462"/>
              <a:gd name="connsiteY58" fmla="*/ 1347457 h 1347457"/>
              <a:gd name="connsiteX59" fmla="*/ 2427462 w 2427462"/>
              <a:gd name="connsiteY59" fmla="*/ 1311556 h 1347457"/>
              <a:gd name="connsiteX60" fmla="*/ 2426859 w 2427462"/>
              <a:gd name="connsiteY60" fmla="*/ 1305036 h 1347457"/>
              <a:gd name="connsiteX61" fmla="*/ 88978 w 2427462"/>
              <a:gd name="connsiteY61" fmla="*/ 1113465 h 1347457"/>
              <a:gd name="connsiteX62" fmla="*/ 920889 w 2427462"/>
              <a:gd name="connsiteY62" fmla="*/ 208057 h 1347457"/>
              <a:gd name="connsiteX63" fmla="*/ 393050 w 2427462"/>
              <a:gd name="connsiteY63" fmla="*/ 969629 h 1347457"/>
              <a:gd name="connsiteX64" fmla="*/ 88978 w 2427462"/>
              <a:gd name="connsiteY64" fmla="*/ 1113465 h 1347457"/>
              <a:gd name="connsiteX65" fmla="*/ 467237 w 2427462"/>
              <a:gd name="connsiteY65" fmla="*/ 969399 h 1347457"/>
              <a:gd name="connsiteX66" fmla="*/ 1122800 w 2427462"/>
              <a:gd name="connsiteY66" fmla="*/ 201077 h 1347457"/>
              <a:gd name="connsiteX67" fmla="*/ 790409 w 2427462"/>
              <a:gd name="connsiteY67" fmla="*/ 1140635 h 1347457"/>
              <a:gd name="connsiteX68" fmla="*/ 467237 w 2427462"/>
              <a:gd name="connsiteY68" fmla="*/ 969399 h 1347457"/>
              <a:gd name="connsiteX69" fmla="*/ 863217 w 2427462"/>
              <a:gd name="connsiteY69" fmla="*/ 1114556 h 1347457"/>
              <a:gd name="connsiteX70" fmla="*/ 1171281 w 2427462"/>
              <a:gd name="connsiteY70" fmla="*/ 255418 h 1347457"/>
              <a:gd name="connsiteX71" fmla="*/ 1171281 w 2427462"/>
              <a:gd name="connsiteY71" fmla="*/ 968882 h 1347457"/>
              <a:gd name="connsiteX72" fmla="*/ 863217 w 2427462"/>
              <a:gd name="connsiteY72" fmla="*/ 1114556 h 1347457"/>
              <a:gd name="connsiteX73" fmla="*/ 1243084 w 2427462"/>
              <a:gd name="connsiteY73" fmla="*/ 969514 h 1347457"/>
              <a:gd name="connsiteX74" fmla="*/ 1243084 w 2427462"/>
              <a:gd name="connsiteY74" fmla="*/ 244849 h 1347457"/>
              <a:gd name="connsiteX75" fmla="*/ 1560368 w 2427462"/>
              <a:gd name="connsiteY75" fmla="*/ 1133886 h 1347457"/>
              <a:gd name="connsiteX76" fmla="*/ 1243084 w 2427462"/>
              <a:gd name="connsiteY76" fmla="*/ 969514 h 1347457"/>
              <a:gd name="connsiteX77" fmla="*/ 1632659 w 2427462"/>
              <a:gd name="connsiteY77" fmla="*/ 1145173 h 1347457"/>
              <a:gd name="connsiteX78" fmla="*/ 1300096 w 2427462"/>
              <a:gd name="connsiteY78" fmla="*/ 201077 h 1347457"/>
              <a:gd name="connsiteX79" fmla="*/ 1955744 w 2427462"/>
              <a:gd name="connsiteY79" fmla="*/ 969773 h 1347457"/>
              <a:gd name="connsiteX80" fmla="*/ 1632659 w 2427462"/>
              <a:gd name="connsiteY80" fmla="*/ 1145173 h 1347457"/>
              <a:gd name="connsiteX81" fmla="*/ 2029759 w 2427462"/>
              <a:gd name="connsiteY81" fmla="*/ 969428 h 1347457"/>
              <a:gd name="connsiteX82" fmla="*/ 1498789 w 2427462"/>
              <a:gd name="connsiteY82" fmla="*/ 206247 h 1347457"/>
              <a:gd name="connsiteX83" fmla="*/ 2337909 w 2427462"/>
              <a:gd name="connsiteY83" fmla="*/ 1113465 h 1347457"/>
              <a:gd name="connsiteX84" fmla="*/ 2029759 w 2427462"/>
              <a:gd name="connsiteY84" fmla="*/ 969428 h 1347457"/>
              <a:gd name="connsiteX0" fmla="*/ 2426859 w 2427462"/>
              <a:gd name="connsiteY0" fmla="*/ 1300527 h 1342948"/>
              <a:gd name="connsiteX1" fmla="*/ 2275440 w 2427462"/>
              <a:gd name="connsiteY1" fmla="*/ 720645 h 1342948"/>
              <a:gd name="connsiteX2" fmla="*/ 2275440 w 2427462"/>
              <a:gd name="connsiteY2" fmla="*/ 512244 h 1342948"/>
              <a:gd name="connsiteX3" fmla="*/ 2203637 w 2427462"/>
              <a:gd name="connsiteY3" fmla="*/ 512244 h 1342948"/>
              <a:gd name="connsiteX4" fmla="*/ 2203637 w 2427462"/>
              <a:gd name="connsiteY4" fmla="*/ 606909 h 1342948"/>
              <a:gd name="connsiteX5" fmla="*/ 2122988 w 2427462"/>
              <a:gd name="connsiteY5" fmla="*/ 505092 h 1342948"/>
              <a:gd name="connsiteX6" fmla="*/ 2122988 w 2427462"/>
              <a:gd name="connsiteY6" fmla="*/ 348935 h 1342948"/>
              <a:gd name="connsiteX7" fmla="*/ 2051185 w 2427462"/>
              <a:gd name="connsiteY7" fmla="*/ 348935 h 1342948"/>
              <a:gd name="connsiteX8" fmla="*/ 2051185 w 2427462"/>
              <a:gd name="connsiteY8" fmla="*/ 430388 h 1342948"/>
              <a:gd name="connsiteX9" fmla="*/ 1956204 w 2427462"/>
              <a:gd name="connsiteY9" fmla="*/ 348475 h 1342948"/>
              <a:gd name="connsiteX10" fmla="*/ 1956204 w 2427462"/>
              <a:gd name="connsiteY10" fmla="*/ 220206 h 1342948"/>
              <a:gd name="connsiteX11" fmla="*/ 1884401 w 2427462"/>
              <a:gd name="connsiteY11" fmla="*/ 220206 h 1342948"/>
              <a:gd name="connsiteX12" fmla="*/ 1884401 w 2427462"/>
              <a:gd name="connsiteY12" fmla="*/ 296518 h 1342948"/>
              <a:gd name="connsiteX13" fmla="*/ 1814350 w 2427462"/>
              <a:gd name="connsiteY13" fmla="*/ 253436 h 1342948"/>
              <a:gd name="connsiteX14" fmla="*/ 1814350 w 2427462"/>
              <a:gd name="connsiteY14" fmla="*/ 167531 h 1342948"/>
              <a:gd name="connsiteX15" fmla="*/ 1742546 w 2427462"/>
              <a:gd name="connsiteY15" fmla="*/ 167531 h 1342948"/>
              <a:gd name="connsiteX16" fmla="*/ 1742546 w 2427462"/>
              <a:gd name="connsiteY16" fmla="*/ 215208 h 1342948"/>
              <a:gd name="connsiteX17" fmla="*/ 1684616 w 2427462"/>
              <a:gd name="connsiteY17" fmla="*/ 188785 h 1342948"/>
              <a:gd name="connsiteX18" fmla="*/ 1684616 w 2427462"/>
              <a:gd name="connsiteY18" fmla="*/ 133956 h 1342948"/>
              <a:gd name="connsiteX19" fmla="*/ 1612813 w 2427462"/>
              <a:gd name="connsiteY19" fmla="*/ 133956 h 1342948"/>
              <a:gd name="connsiteX20" fmla="*/ 1612813 w 2427462"/>
              <a:gd name="connsiteY20" fmla="*/ 161385 h 1342948"/>
              <a:gd name="connsiteX21" fmla="*/ 1543795 w 2427462"/>
              <a:gd name="connsiteY21" fmla="*/ 139643 h 1342948"/>
              <a:gd name="connsiteX22" fmla="*/ 1543795 w 2427462"/>
              <a:gd name="connsiteY22" fmla="*/ 0 h 1342948"/>
              <a:gd name="connsiteX23" fmla="*/ 1471992 w 2427462"/>
              <a:gd name="connsiteY23" fmla="*/ 0 h 1342948"/>
              <a:gd name="connsiteX24" fmla="*/ 1471992 w 2427462"/>
              <a:gd name="connsiteY24" fmla="*/ 121549 h 1342948"/>
              <a:gd name="connsiteX25" fmla="*/ 1243084 w 2427462"/>
              <a:gd name="connsiteY25" fmla="*/ 94292 h 1342948"/>
              <a:gd name="connsiteX26" fmla="*/ 1171281 w 2427462"/>
              <a:gd name="connsiteY26" fmla="*/ 94608 h 1342948"/>
              <a:gd name="connsiteX27" fmla="*/ 958973 w 2427462"/>
              <a:gd name="connsiteY27" fmla="*/ 120601 h 1342948"/>
              <a:gd name="connsiteX28" fmla="*/ 887170 w 2427462"/>
              <a:gd name="connsiteY28" fmla="*/ 138465 h 1342948"/>
              <a:gd name="connsiteX29" fmla="*/ 817493 w 2427462"/>
              <a:gd name="connsiteY29" fmla="*/ 160236 h 1342948"/>
              <a:gd name="connsiteX30" fmla="*/ 745690 w 2427462"/>
              <a:gd name="connsiteY30" fmla="*/ 187435 h 1342948"/>
              <a:gd name="connsiteX31" fmla="*/ 687156 w 2427462"/>
              <a:gd name="connsiteY31" fmla="*/ 213744 h 1342948"/>
              <a:gd name="connsiteX32" fmla="*/ 615353 w 2427462"/>
              <a:gd name="connsiteY32" fmla="*/ 251828 h 1342948"/>
              <a:gd name="connsiteX33" fmla="*/ 544641 w 2427462"/>
              <a:gd name="connsiteY33" fmla="*/ 295197 h 1342948"/>
              <a:gd name="connsiteX34" fmla="*/ 472838 w 2427462"/>
              <a:gd name="connsiteY34" fmla="*/ 346752 h 1342948"/>
              <a:gd name="connsiteX35" fmla="*/ 377110 w 2427462"/>
              <a:gd name="connsiteY35" fmla="*/ 429038 h 1342948"/>
              <a:gd name="connsiteX36" fmla="*/ 305307 w 2427462"/>
              <a:gd name="connsiteY36" fmla="*/ 503397 h 1342948"/>
              <a:gd name="connsiteX37" fmla="*/ 223940 w 2427462"/>
              <a:gd name="connsiteY37" fmla="*/ 605932 h 1342948"/>
              <a:gd name="connsiteX38" fmla="*/ 152136 w 2427462"/>
              <a:gd name="connsiteY38" fmla="*/ 718232 h 1342948"/>
              <a:gd name="connsiteX39" fmla="*/ 152912 w 2427462"/>
              <a:gd name="connsiteY39" fmla="*/ 718232 h 1342948"/>
              <a:gd name="connsiteX40" fmla="*/ 0 w 2427462"/>
              <a:gd name="connsiteY40" fmla="*/ 1307018 h 1342948"/>
              <a:gd name="connsiteX41" fmla="*/ 37740 w 2427462"/>
              <a:gd name="connsiteY41" fmla="*/ 1342919 h 1342948"/>
              <a:gd name="connsiteX42" fmla="*/ 73440 w 2427462"/>
              <a:gd name="connsiteY42" fmla="*/ 1310866 h 1342948"/>
              <a:gd name="connsiteX43" fmla="*/ 429210 w 2427462"/>
              <a:gd name="connsiteY43" fmla="*/ 1035056 h 1342948"/>
              <a:gd name="connsiteX44" fmla="*/ 781246 w 2427462"/>
              <a:gd name="connsiteY44" fmla="*/ 1288148 h 1342948"/>
              <a:gd name="connsiteX45" fmla="*/ 816459 w 2427462"/>
              <a:gd name="connsiteY45" fmla="*/ 1317070 h 1342948"/>
              <a:gd name="connsiteX46" fmla="*/ 851671 w 2427462"/>
              <a:gd name="connsiteY46" fmla="*/ 1288148 h 1342948"/>
              <a:gd name="connsiteX47" fmla="*/ 1171281 w 2427462"/>
              <a:gd name="connsiteY47" fmla="*/ 1036291 h 1342948"/>
              <a:gd name="connsiteX48" fmla="*/ 1243084 w 2427462"/>
              <a:gd name="connsiteY48" fmla="*/ 1037067 h 1342948"/>
              <a:gd name="connsiteX49" fmla="*/ 1559449 w 2427462"/>
              <a:gd name="connsiteY49" fmla="*/ 1310895 h 1342948"/>
              <a:gd name="connsiteX50" fmla="*/ 1595149 w 2427462"/>
              <a:gd name="connsiteY50" fmla="*/ 1342948 h 1342948"/>
              <a:gd name="connsiteX51" fmla="*/ 1606207 w 2427462"/>
              <a:gd name="connsiteY51" fmla="*/ 1342948 h 1342948"/>
              <a:gd name="connsiteX52" fmla="*/ 1641907 w 2427462"/>
              <a:gd name="connsiteY52" fmla="*/ 1310895 h 1342948"/>
              <a:gd name="connsiteX53" fmla="*/ 1997706 w 2427462"/>
              <a:gd name="connsiteY53" fmla="*/ 1035085 h 1342948"/>
              <a:gd name="connsiteX54" fmla="*/ 2353447 w 2427462"/>
              <a:gd name="connsiteY54" fmla="*/ 1310895 h 1342948"/>
              <a:gd name="connsiteX55" fmla="*/ 2389148 w 2427462"/>
              <a:gd name="connsiteY55" fmla="*/ 1342948 h 1342948"/>
              <a:gd name="connsiteX56" fmla="*/ 2390986 w 2427462"/>
              <a:gd name="connsiteY56" fmla="*/ 1342948 h 1342948"/>
              <a:gd name="connsiteX57" fmla="*/ 2391560 w 2427462"/>
              <a:gd name="connsiteY57" fmla="*/ 1342948 h 1342948"/>
              <a:gd name="connsiteX58" fmla="*/ 2427462 w 2427462"/>
              <a:gd name="connsiteY58" fmla="*/ 1307047 h 1342948"/>
              <a:gd name="connsiteX59" fmla="*/ 2426859 w 2427462"/>
              <a:gd name="connsiteY59" fmla="*/ 1300527 h 1342948"/>
              <a:gd name="connsiteX60" fmla="*/ 88978 w 2427462"/>
              <a:gd name="connsiteY60" fmla="*/ 1108956 h 1342948"/>
              <a:gd name="connsiteX61" fmla="*/ 920889 w 2427462"/>
              <a:gd name="connsiteY61" fmla="*/ 203548 h 1342948"/>
              <a:gd name="connsiteX62" fmla="*/ 393050 w 2427462"/>
              <a:gd name="connsiteY62" fmla="*/ 965120 h 1342948"/>
              <a:gd name="connsiteX63" fmla="*/ 88978 w 2427462"/>
              <a:gd name="connsiteY63" fmla="*/ 1108956 h 1342948"/>
              <a:gd name="connsiteX64" fmla="*/ 467237 w 2427462"/>
              <a:gd name="connsiteY64" fmla="*/ 964890 h 1342948"/>
              <a:gd name="connsiteX65" fmla="*/ 1122800 w 2427462"/>
              <a:gd name="connsiteY65" fmla="*/ 196568 h 1342948"/>
              <a:gd name="connsiteX66" fmla="*/ 790409 w 2427462"/>
              <a:gd name="connsiteY66" fmla="*/ 1136126 h 1342948"/>
              <a:gd name="connsiteX67" fmla="*/ 467237 w 2427462"/>
              <a:gd name="connsiteY67" fmla="*/ 964890 h 1342948"/>
              <a:gd name="connsiteX68" fmla="*/ 863217 w 2427462"/>
              <a:gd name="connsiteY68" fmla="*/ 1110047 h 1342948"/>
              <a:gd name="connsiteX69" fmla="*/ 1171281 w 2427462"/>
              <a:gd name="connsiteY69" fmla="*/ 250909 h 1342948"/>
              <a:gd name="connsiteX70" fmla="*/ 1171281 w 2427462"/>
              <a:gd name="connsiteY70" fmla="*/ 964373 h 1342948"/>
              <a:gd name="connsiteX71" fmla="*/ 863217 w 2427462"/>
              <a:gd name="connsiteY71" fmla="*/ 1110047 h 1342948"/>
              <a:gd name="connsiteX72" fmla="*/ 1243084 w 2427462"/>
              <a:gd name="connsiteY72" fmla="*/ 965005 h 1342948"/>
              <a:gd name="connsiteX73" fmla="*/ 1243084 w 2427462"/>
              <a:gd name="connsiteY73" fmla="*/ 240340 h 1342948"/>
              <a:gd name="connsiteX74" fmla="*/ 1560368 w 2427462"/>
              <a:gd name="connsiteY74" fmla="*/ 1129377 h 1342948"/>
              <a:gd name="connsiteX75" fmla="*/ 1243084 w 2427462"/>
              <a:gd name="connsiteY75" fmla="*/ 965005 h 1342948"/>
              <a:gd name="connsiteX76" fmla="*/ 1632659 w 2427462"/>
              <a:gd name="connsiteY76" fmla="*/ 1140664 h 1342948"/>
              <a:gd name="connsiteX77" fmla="*/ 1300096 w 2427462"/>
              <a:gd name="connsiteY77" fmla="*/ 196568 h 1342948"/>
              <a:gd name="connsiteX78" fmla="*/ 1955744 w 2427462"/>
              <a:gd name="connsiteY78" fmla="*/ 965264 h 1342948"/>
              <a:gd name="connsiteX79" fmla="*/ 1632659 w 2427462"/>
              <a:gd name="connsiteY79" fmla="*/ 1140664 h 1342948"/>
              <a:gd name="connsiteX80" fmla="*/ 2029759 w 2427462"/>
              <a:gd name="connsiteY80" fmla="*/ 964919 h 1342948"/>
              <a:gd name="connsiteX81" fmla="*/ 1498789 w 2427462"/>
              <a:gd name="connsiteY81" fmla="*/ 201738 h 1342948"/>
              <a:gd name="connsiteX82" fmla="*/ 2337909 w 2427462"/>
              <a:gd name="connsiteY82" fmla="*/ 1108956 h 1342948"/>
              <a:gd name="connsiteX83" fmla="*/ 2029759 w 2427462"/>
              <a:gd name="connsiteY83" fmla="*/ 964919 h 1342948"/>
              <a:gd name="connsiteX0" fmla="*/ 2426859 w 2427462"/>
              <a:gd name="connsiteY0" fmla="*/ 1300527 h 1342948"/>
              <a:gd name="connsiteX1" fmla="*/ 2275440 w 2427462"/>
              <a:gd name="connsiteY1" fmla="*/ 720645 h 1342948"/>
              <a:gd name="connsiteX2" fmla="*/ 2275440 w 2427462"/>
              <a:gd name="connsiteY2" fmla="*/ 512244 h 1342948"/>
              <a:gd name="connsiteX3" fmla="*/ 2203637 w 2427462"/>
              <a:gd name="connsiteY3" fmla="*/ 512244 h 1342948"/>
              <a:gd name="connsiteX4" fmla="*/ 2203637 w 2427462"/>
              <a:gd name="connsiteY4" fmla="*/ 606909 h 1342948"/>
              <a:gd name="connsiteX5" fmla="*/ 2122988 w 2427462"/>
              <a:gd name="connsiteY5" fmla="*/ 505092 h 1342948"/>
              <a:gd name="connsiteX6" fmla="*/ 2122988 w 2427462"/>
              <a:gd name="connsiteY6" fmla="*/ 348935 h 1342948"/>
              <a:gd name="connsiteX7" fmla="*/ 2051185 w 2427462"/>
              <a:gd name="connsiteY7" fmla="*/ 348935 h 1342948"/>
              <a:gd name="connsiteX8" fmla="*/ 2051185 w 2427462"/>
              <a:gd name="connsiteY8" fmla="*/ 430388 h 1342948"/>
              <a:gd name="connsiteX9" fmla="*/ 1956204 w 2427462"/>
              <a:gd name="connsiteY9" fmla="*/ 348475 h 1342948"/>
              <a:gd name="connsiteX10" fmla="*/ 1956204 w 2427462"/>
              <a:gd name="connsiteY10" fmla="*/ 220206 h 1342948"/>
              <a:gd name="connsiteX11" fmla="*/ 1884401 w 2427462"/>
              <a:gd name="connsiteY11" fmla="*/ 220206 h 1342948"/>
              <a:gd name="connsiteX12" fmla="*/ 1884401 w 2427462"/>
              <a:gd name="connsiteY12" fmla="*/ 296518 h 1342948"/>
              <a:gd name="connsiteX13" fmla="*/ 1814350 w 2427462"/>
              <a:gd name="connsiteY13" fmla="*/ 253436 h 1342948"/>
              <a:gd name="connsiteX14" fmla="*/ 1814350 w 2427462"/>
              <a:gd name="connsiteY14" fmla="*/ 167531 h 1342948"/>
              <a:gd name="connsiteX15" fmla="*/ 1742546 w 2427462"/>
              <a:gd name="connsiteY15" fmla="*/ 167531 h 1342948"/>
              <a:gd name="connsiteX16" fmla="*/ 1742546 w 2427462"/>
              <a:gd name="connsiteY16" fmla="*/ 215208 h 1342948"/>
              <a:gd name="connsiteX17" fmla="*/ 1684616 w 2427462"/>
              <a:gd name="connsiteY17" fmla="*/ 188785 h 1342948"/>
              <a:gd name="connsiteX18" fmla="*/ 1684616 w 2427462"/>
              <a:gd name="connsiteY18" fmla="*/ 133956 h 1342948"/>
              <a:gd name="connsiteX19" fmla="*/ 1612813 w 2427462"/>
              <a:gd name="connsiteY19" fmla="*/ 133956 h 1342948"/>
              <a:gd name="connsiteX20" fmla="*/ 1612813 w 2427462"/>
              <a:gd name="connsiteY20" fmla="*/ 161385 h 1342948"/>
              <a:gd name="connsiteX21" fmla="*/ 1543795 w 2427462"/>
              <a:gd name="connsiteY21" fmla="*/ 139643 h 1342948"/>
              <a:gd name="connsiteX22" fmla="*/ 1471992 w 2427462"/>
              <a:gd name="connsiteY22" fmla="*/ 0 h 1342948"/>
              <a:gd name="connsiteX23" fmla="*/ 1471992 w 2427462"/>
              <a:gd name="connsiteY23" fmla="*/ 121549 h 1342948"/>
              <a:gd name="connsiteX24" fmla="*/ 1243084 w 2427462"/>
              <a:gd name="connsiteY24" fmla="*/ 94292 h 1342948"/>
              <a:gd name="connsiteX25" fmla="*/ 1171281 w 2427462"/>
              <a:gd name="connsiteY25" fmla="*/ 94608 h 1342948"/>
              <a:gd name="connsiteX26" fmla="*/ 958973 w 2427462"/>
              <a:gd name="connsiteY26" fmla="*/ 120601 h 1342948"/>
              <a:gd name="connsiteX27" fmla="*/ 887170 w 2427462"/>
              <a:gd name="connsiteY27" fmla="*/ 138465 h 1342948"/>
              <a:gd name="connsiteX28" fmla="*/ 817493 w 2427462"/>
              <a:gd name="connsiteY28" fmla="*/ 160236 h 1342948"/>
              <a:gd name="connsiteX29" fmla="*/ 745690 w 2427462"/>
              <a:gd name="connsiteY29" fmla="*/ 187435 h 1342948"/>
              <a:gd name="connsiteX30" fmla="*/ 687156 w 2427462"/>
              <a:gd name="connsiteY30" fmla="*/ 213744 h 1342948"/>
              <a:gd name="connsiteX31" fmla="*/ 615353 w 2427462"/>
              <a:gd name="connsiteY31" fmla="*/ 251828 h 1342948"/>
              <a:gd name="connsiteX32" fmla="*/ 544641 w 2427462"/>
              <a:gd name="connsiteY32" fmla="*/ 295197 h 1342948"/>
              <a:gd name="connsiteX33" fmla="*/ 472838 w 2427462"/>
              <a:gd name="connsiteY33" fmla="*/ 346752 h 1342948"/>
              <a:gd name="connsiteX34" fmla="*/ 377110 w 2427462"/>
              <a:gd name="connsiteY34" fmla="*/ 429038 h 1342948"/>
              <a:gd name="connsiteX35" fmla="*/ 305307 w 2427462"/>
              <a:gd name="connsiteY35" fmla="*/ 503397 h 1342948"/>
              <a:gd name="connsiteX36" fmla="*/ 223940 w 2427462"/>
              <a:gd name="connsiteY36" fmla="*/ 605932 h 1342948"/>
              <a:gd name="connsiteX37" fmla="*/ 152136 w 2427462"/>
              <a:gd name="connsiteY37" fmla="*/ 718232 h 1342948"/>
              <a:gd name="connsiteX38" fmla="*/ 152912 w 2427462"/>
              <a:gd name="connsiteY38" fmla="*/ 718232 h 1342948"/>
              <a:gd name="connsiteX39" fmla="*/ 0 w 2427462"/>
              <a:gd name="connsiteY39" fmla="*/ 1307018 h 1342948"/>
              <a:gd name="connsiteX40" fmla="*/ 37740 w 2427462"/>
              <a:gd name="connsiteY40" fmla="*/ 1342919 h 1342948"/>
              <a:gd name="connsiteX41" fmla="*/ 73440 w 2427462"/>
              <a:gd name="connsiteY41" fmla="*/ 1310866 h 1342948"/>
              <a:gd name="connsiteX42" fmla="*/ 429210 w 2427462"/>
              <a:gd name="connsiteY42" fmla="*/ 1035056 h 1342948"/>
              <a:gd name="connsiteX43" fmla="*/ 781246 w 2427462"/>
              <a:gd name="connsiteY43" fmla="*/ 1288148 h 1342948"/>
              <a:gd name="connsiteX44" fmla="*/ 816459 w 2427462"/>
              <a:gd name="connsiteY44" fmla="*/ 1317070 h 1342948"/>
              <a:gd name="connsiteX45" fmla="*/ 851671 w 2427462"/>
              <a:gd name="connsiteY45" fmla="*/ 1288148 h 1342948"/>
              <a:gd name="connsiteX46" fmla="*/ 1171281 w 2427462"/>
              <a:gd name="connsiteY46" fmla="*/ 1036291 h 1342948"/>
              <a:gd name="connsiteX47" fmla="*/ 1243084 w 2427462"/>
              <a:gd name="connsiteY47" fmla="*/ 1037067 h 1342948"/>
              <a:gd name="connsiteX48" fmla="*/ 1559449 w 2427462"/>
              <a:gd name="connsiteY48" fmla="*/ 1310895 h 1342948"/>
              <a:gd name="connsiteX49" fmla="*/ 1595149 w 2427462"/>
              <a:gd name="connsiteY49" fmla="*/ 1342948 h 1342948"/>
              <a:gd name="connsiteX50" fmla="*/ 1606207 w 2427462"/>
              <a:gd name="connsiteY50" fmla="*/ 1342948 h 1342948"/>
              <a:gd name="connsiteX51" fmla="*/ 1641907 w 2427462"/>
              <a:gd name="connsiteY51" fmla="*/ 1310895 h 1342948"/>
              <a:gd name="connsiteX52" fmla="*/ 1997706 w 2427462"/>
              <a:gd name="connsiteY52" fmla="*/ 1035085 h 1342948"/>
              <a:gd name="connsiteX53" fmla="*/ 2353447 w 2427462"/>
              <a:gd name="connsiteY53" fmla="*/ 1310895 h 1342948"/>
              <a:gd name="connsiteX54" fmla="*/ 2389148 w 2427462"/>
              <a:gd name="connsiteY54" fmla="*/ 1342948 h 1342948"/>
              <a:gd name="connsiteX55" fmla="*/ 2390986 w 2427462"/>
              <a:gd name="connsiteY55" fmla="*/ 1342948 h 1342948"/>
              <a:gd name="connsiteX56" fmla="*/ 2391560 w 2427462"/>
              <a:gd name="connsiteY56" fmla="*/ 1342948 h 1342948"/>
              <a:gd name="connsiteX57" fmla="*/ 2427462 w 2427462"/>
              <a:gd name="connsiteY57" fmla="*/ 1307047 h 1342948"/>
              <a:gd name="connsiteX58" fmla="*/ 2426859 w 2427462"/>
              <a:gd name="connsiteY58" fmla="*/ 1300527 h 1342948"/>
              <a:gd name="connsiteX59" fmla="*/ 88978 w 2427462"/>
              <a:gd name="connsiteY59" fmla="*/ 1108956 h 1342948"/>
              <a:gd name="connsiteX60" fmla="*/ 920889 w 2427462"/>
              <a:gd name="connsiteY60" fmla="*/ 203548 h 1342948"/>
              <a:gd name="connsiteX61" fmla="*/ 393050 w 2427462"/>
              <a:gd name="connsiteY61" fmla="*/ 965120 h 1342948"/>
              <a:gd name="connsiteX62" fmla="*/ 88978 w 2427462"/>
              <a:gd name="connsiteY62" fmla="*/ 1108956 h 1342948"/>
              <a:gd name="connsiteX63" fmla="*/ 467237 w 2427462"/>
              <a:gd name="connsiteY63" fmla="*/ 964890 h 1342948"/>
              <a:gd name="connsiteX64" fmla="*/ 1122800 w 2427462"/>
              <a:gd name="connsiteY64" fmla="*/ 196568 h 1342948"/>
              <a:gd name="connsiteX65" fmla="*/ 790409 w 2427462"/>
              <a:gd name="connsiteY65" fmla="*/ 1136126 h 1342948"/>
              <a:gd name="connsiteX66" fmla="*/ 467237 w 2427462"/>
              <a:gd name="connsiteY66" fmla="*/ 964890 h 1342948"/>
              <a:gd name="connsiteX67" fmla="*/ 863217 w 2427462"/>
              <a:gd name="connsiteY67" fmla="*/ 1110047 h 1342948"/>
              <a:gd name="connsiteX68" fmla="*/ 1171281 w 2427462"/>
              <a:gd name="connsiteY68" fmla="*/ 250909 h 1342948"/>
              <a:gd name="connsiteX69" fmla="*/ 1171281 w 2427462"/>
              <a:gd name="connsiteY69" fmla="*/ 964373 h 1342948"/>
              <a:gd name="connsiteX70" fmla="*/ 863217 w 2427462"/>
              <a:gd name="connsiteY70" fmla="*/ 1110047 h 1342948"/>
              <a:gd name="connsiteX71" fmla="*/ 1243084 w 2427462"/>
              <a:gd name="connsiteY71" fmla="*/ 965005 h 1342948"/>
              <a:gd name="connsiteX72" fmla="*/ 1243084 w 2427462"/>
              <a:gd name="connsiteY72" fmla="*/ 240340 h 1342948"/>
              <a:gd name="connsiteX73" fmla="*/ 1560368 w 2427462"/>
              <a:gd name="connsiteY73" fmla="*/ 1129377 h 1342948"/>
              <a:gd name="connsiteX74" fmla="*/ 1243084 w 2427462"/>
              <a:gd name="connsiteY74" fmla="*/ 965005 h 1342948"/>
              <a:gd name="connsiteX75" fmla="*/ 1632659 w 2427462"/>
              <a:gd name="connsiteY75" fmla="*/ 1140664 h 1342948"/>
              <a:gd name="connsiteX76" fmla="*/ 1300096 w 2427462"/>
              <a:gd name="connsiteY76" fmla="*/ 196568 h 1342948"/>
              <a:gd name="connsiteX77" fmla="*/ 1955744 w 2427462"/>
              <a:gd name="connsiteY77" fmla="*/ 965264 h 1342948"/>
              <a:gd name="connsiteX78" fmla="*/ 1632659 w 2427462"/>
              <a:gd name="connsiteY78" fmla="*/ 1140664 h 1342948"/>
              <a:gd name="connsiteX79" fmla="*/ 2029759 w 2427462"/>
              <a:gd name="connsiteY79" fmla="*/ 964919 h 1342948"/>
              <a:gd name="connsiteX80" fmla="*/ 1498789 w 2427462"/>
              <a:gd name="connsiteY80" fmla="*/ 201738 h 1342948"/>
              <a:gd name="connsiteX81" fmla="*/ 2337909 w 2427462"/>
              <a:gd name="connsiteY81" fmla="*/ 1108956 h 1342948"/>
              <a:gd name="connsiteX82" fmla="*/ 2029759 w 2427462"/>
              <a:gd name="connsiteY82" fmla="*/ 964919 h 1342948"/>
              <a:gd name="connsiteX0" fmla="*/ 2426859 w 2427462"/>
              <a:gd name="connsiteY0" fmla="*/ 1206235 h 1248656"/>
              <a:gd name="connsiteX1" fmla="*/ 2275440 w 2427462"/>
              <a:gd name="connsiteY1" fmla="*/ 626353 h 1248656"/>
              <a:gd name="connsiteX2" fmla="*/ 2275440 w 2427462"/>
              <a:gd name="connsiteY2" fmla="*/ 417952 h 1248656"/>
              <a:gd name="connsiteX3" fmla="*/ 2203637 w 2427462"/>
              <a:gd name="connsiteY3" fmla="*/ 417952 h 1248656"/>
              <a:gd name="connsiteX4" fmla="*/ 2203637 w 2427462"/>
              <a:gd name="connsiteY4" fmla="*/ 512617 h 1248656"/>
              <a:gd name="connsiteX5" fmla="*/ 2122988 w 2427462"/>
              <a:gd name="connsiteY5" fmla="*/ 410800 h 1248656"/>
              <a:gd name="connsiteX6" fmla="*/ 2122988 w 2427462"/>
              <a:gd name="connsiteY6" fmla="*/ 254643 h 1248656"/>
              <a:gd name="connsiteX7" fmla="*/ 2051185 w 2427462"/>
              <a:gd name="connsiteY7" fmla="*/ 254643 h 1248656"/>
              <a:gd name="connsiteX8" fmla="*/ 2051185 w 2427462"/>
              <a:gd name="connsiteY8" fmla="*/ 336096 h 1248656"/>
              <a:gd name="connsiteX9" fmla="*/ 1956204 w 2427462"/>
              <a:gd name="connsiteY9" fmla="*/ 254183 h 1248656"/>
              <a:gd name="connsiteX10" fmla="*/ 1956204 w 2427462"/>
              <a:gd name="connsiteY10" fmla="*/ 125914 h 1248656"/>
              <a:gd name="connsiteX11" fmla="*/ 1884401 w 2427462"/>
              <a:gd name="connsiteY11" fmla="*/ 125914 h 1248656"/>
              <a:gd name="connsiteX12" fmla="*/ 1884401 w 2427462"/>
              <a:gd name="connsiteY12" fmla="*/ 202226 h 1248656"/>
              <a:gd name="connsiteX13" fmla="*/ 1814350 w 2427462"/>
              <a:gd name="connsiteY13" fmla="*/ 159144 h 1248656"/>
              <a:gd name="connsiteX14" fmla="*/ 1814350 w 2427462"/>
              <a:gd name="connsiteY14" fmla="*/ 73239 h 1248656"/>
              <a:gd name="connsiteX15" fmla="*/ 1742546 w 2427462"/>
              <a:gd name="connsiteY15" fmla="*/ 73239 h 1248656"/>
              <a:gd name="connsiteX16" fmla="*/ 1742546 w 2427462"/>
              <a:gd name="connsiteY16" fmla="*/ 120916 h 1248656"/>
              <a:gd name="connsiteX17" fmla="*/ 1684616 w 2427462"/>
              <a:gd name="connsiteY17" fmla="*/ 94493 h 1248656"/>
              <a:gd name="connsiteX18" fmla="*/ 1684616 w 2427462"/>
              <a:gd name="connsiteY18" fmla="*/ 39664 h 1248656"/>
              <a:gd name="connsiteX19" fmla="*/ 1612813 w 2427462"/>
              <a:gd name="connsiteY19" fmla="*/ 39664 h 1248656"/>
              <a:gd name="connsiteX20" fmla="*/ 1612813 w 2427462"/>
              <a:gd name="connsiteY20" fmla="*/ 67093 h 1248656"/>
              <a:gd name="connsiteX21" fmla="*/ 1543795 w 2427462"/>
              <a:gd name="connsiteY21" fmla="*/ 45351 h 1248656"/>
              <a:gd name="connsiteX22" fmla="*/ 1471992 w 2427462"/>
              <a:gd name="connsiteY22" fmla="*/ 27257 h 1248656"/>
              <a:gd name="connsiteX23" fmla="*/ 1243084 w 2427462"/>
              <a:gd name="connsiteY23" fmla="*/ 0 h 1248656"/>
              <a:gd name="connsiteX24" fmla="*/ 1171281 w 2427462"/>
              <a:gd name="connsiteY24" fmla="*/ 316 h 1248656"/>
              <a:gd name="connsiteX25" fmla="*/ 958973 w 2427462"/>
              <a:gd name="connsiteY25" fmla="*/ 26309 h 1248656"/>
              <a:gd name="connsiteX26" fmla="*/ 887170 w 2427462"/>
              <a:gd name="connsiteY26" fmla="*/ 44173 h 1248656"/>
              <a:gd name="connsiteX27" fmla="*/ 817493 w 2427462"/>
              <a:gd name="connsiteY27" fmla="*/ 65944 h 1248656"/>
              <a:gd name="connsiteX28" fmla="*/ 745690 w 2427462"/>
              <a:gd name="connsiteY28" fmla="*/ 93143 h 1248656"/>
              <a:gd name="connsiteX29" fmla="*/ 687156 w 2427462"/>
              <a:gd name="connsiteY29" fmla="*/ 119452 h 1248656"/>
              <a:gd name="connsiteX30" fmla="*/ 615353 w 2427462"/>
              <a:gd name="connsiteY30" fmla="*/ 157536 h 1248656"/>
              <a:gd name="connsiteX31" fmla="*/ 544641 w 2427462"/>
              <a:gd name="connsiteY31" fmla="*/ 200905 h 1248656"/>
              <a:gd name="connsiteX32" fmla="*/ 472838 w 2427462"/>
              <a:gd name="connsiteY32" fmla="*/ 252460 h 1248656"/>
              <a:gd name="connsiteX33" fmla="*/ 377110 w 2427462"/>
              <a:gd name="connsiteY33" fmla="*/ 334746 h 1248656"/>
              <a:gd name="connsiteX34" fmla="*/ 305307 w 2427462"/>
              <a:gd name="connsiteY34" fmla="*/ 409105 h 1248656"/>
              <a:gd name="connsiteX35" fmla="*/ 223940 w 2427462"/>
              <a:gd name="connsiteY35" fmla="*/ 511640 h 1248656"/>
              <a:gd name="connsiteX36" fmla="*/ 152136 w 2427462"/>
              <a:gd name="connsiteY36" fmla="*/ 623940 h 1248656"/>
              <a:gd name="connsiteX37" fmla="*/ 152912 w 2427462"/>
              <a:gd name="connsiteY37" fmla="*/ 623940 h 1248656"/>
              <a:gd name="connsiteX38" fmla="*/ 0 w 2427462"/>
              <a:gd name="connsiteY38" fmla="*/ 1212726 h 1248656"/>
              <a:gd name="connsiteX39" fmla="*/ 37740 w 2427462"/>
              <a:gd name="connsiteY39" fmla="*/ 1248627 h 1248656"/>
              <a:gd name="connsiteX40" fmla="*/ 73440 w 2427462"/>
              <a:gd name="connsiteY40" fmla="*/ 1216574 h 1248656"/>
              <a:gd name="connsiteX41" fmla="*/ 429210 w 2427462"/>
              <a:gd name="connsiteY41" fmla="*/ 940764 h 1248656"/>
              <a:gd name="connsiteX42" fmla="*/ 781246 w 2427462"/>
              <a:gd name="connsiteY42" fmla="*/ 1193856 h 1248656"/>
              <a:gd name="connsiteX43" fmla="*/ 816459 w 2427462"/>
              <a:gd name="connsiteY43" fmla="*/ 1222778 h 1248656"/>
              <a:gd name="connsiteX44" fmla="*/ 851671 w 2427462"/>
              <a:gd name="connsiteY44" fmla="*/ 1193856 h 1248656"/>
              <a:gd name="connsiteX45" fmla="*/ 1171281 w 2427462"/>
              <a:gd name="connsiteY45" fmla="*/ 941999 h 1248656"/>
              <a:gd name="connsiteX46" fmla="*/ 1243084 w 2427462"/>
              <a:gd name="connsiteY46" fmla="*/ 942775 h 1248656"/>
              <a:gd name="connsiteX47" fmla="*/ 1559449 w 2427462"/>
              <a:gd name="connsiteY47" fmla="*/ 1216603 h 1248656"/>
              <a:gd name="connsiteX48" fmla="*/ 1595149 w 2427462"/>
              <a:gd name="connsiteY48" fmla="*/ 1248656 h 1248656"/>
              <a:gd name="connsiteX49" fmla="*/ 1606207 w 2427462"/>
              <a:gd name="connsiteY49" fmla="*/ 1248656 h 1248656"/>
              <a:gd name="connsiteX50" fmla="*/ 1641907 w 2427462"/>
              <a:gd name="connsiteY50" fmla="*/ 1216603 h 1248656"/>
              <a:gd name="connsiteX51" fmla="*/ 1997706 w 2427462"/>
              <a:gd name="connsiteY51" fmla="*/ 940793 h 1248656"/>
              <a:gd name="connsiteX52" fmla="*/ 2353447 w 2427462"/>
              <a:gd name="connsiteY52" fmla="*/ 1216603 h 1248656"/>
              <a:gd name="connsiteX53" fmla="*/ 2389148 w 2427462"/>
              <a:gd name="connsiteY53" fmla="*/ 1248656 h 1248656"/>
              <a:gd name="connsiteX54" fmla="*/ 2390986 w 2427462"/>
              <a:gd name="connsiteY54" fmla="*/ 1248656 h 1248656"/>
              <a:gd name="connsiteX55" fmla="*/ 2391560 w 2427462"/>
              <a:gd name="connsiteY55" fmla="*/ 1248656 h 1248656"/>
              <a:gd name="connsiteX56" fmla="*/ 2427462 w 2427462"/>
              <a:gd name="connsiteY56" fmla="*/ 1212755 h 1248656"/>
              <a:gd name="connsiteX57" fmla="*/ 2426859 w 2427462"/>
              <a:gd name="connsiteY57" fmla="*/ 1206235 h 1248656"/>
              <a:gd name="connsiteX58" fmla="*/ 88978 w 2427462"/>
              <a:gd name="connsiteY58" fmla="*/ 1014664 h 1248656"/>
              <a:gd name="connsiteX59" fmla="*/ 920889 w 2427462"/>
              <a:gd name="connsiteY59" fmla="*/ 109256 h 1248656"/>
              <a:gd name="connsiteX60" fmla="*/ 393050 w 2427462"/>
              <a:gd name="connsiteY60" fmla="*/ 870828 h 1248656"/>
              <a:gd name="connsiteX61" fmla="*/ 88978 w 2427462"/>
              <a:gd name="connsiteY61" fmla="*/ 1014664 h 1248656"/>
              <a:gd name="connsiteX62" fmla="*/ 467237 w 2427462"/>
              <a:gd name="connsiteY62" fmla="*/ 870598 h 1248656"/>
              <a:gd name="connsiteX63" fmla="*/ 1122800 w 2427462"/>
              <a:gd name="connsiteY63" fmla="*/ 102276 h 1248656"/>
              <a:gd name="connsiteX64" fmla="*/ 790409 w 2427462"/>
              <a:gd name="connsiteY64" fmla="*/ 1041834 h 1248656"/>
              <a:gd name="connsiteX65" fmla="*/ 467237 w 2427462"/>
              <a:gd name="connsiteY65" fmla="*/ 870598 h 1248656"/>
              <a:gd name="connsiteX66" fmla="*/ 863217 w 2427462"/>
              <a:gd name="connsiteY66" fmla="*/ 1015755 h 1248656"/>
              <a:gd name="connsiteX67" fmla="*/ 1171281 w 2427462"/>
              <a:gd name="connsiteY67" fmla="*/ 156617 h 1248656"/>
              <a:gd name="connsiteX68" fmla="*/ 1171281 w 2427462"/>
              <a:gd name="connsiteY68" fmla="*/ 870081 h 1248656"/>
              <a:gd name="connsiteX69" fmla="*/ 863217 w 2427462"/>
              <a:gd name="connsiteY69" fmla="*/ 1015755 h 1248656"/>
              <a:gd name="connsiteX70" fmla="*/ 1243084 w 2427462"/>
              <a:gd name="connsiteY70" fmla="*/ 870713 h 1248656"/>
              <a:gd name="connsiteX71" fmla="*/ 1243084 w 2427462"/>
              <a:gd name="connsiteY71" fmla="*/ 146048 h 1248656"/>
              <a:gd name="connsiteX72" fmla="*/ 1560368 w 2427462"/>
              <a:gd name="connsiteY72" fmla="*/ 1035085 h 1248656"/>
              <a:gd name="connsiteX73" fmla="*/ 1243084 w 2427462"/>
              <a:gd name="connsiteY73" fmla="*/ 870713 h 1248656"/>
              <a:gd name="connsiteX74" fmla="*/ 1632659 w 2427462"/>
              <a:gd name="connsiteY74" fmla="*/ 1046372 h 1248656"/>
              <a:gd name="connsiteX75" fmla="*/ 1300096 w 2427462"/>
              <a:gd name="connsiteY75" fmla="*/ 102276 h 1248656"/>
              <a:gd name="connsiteX76" fmla="*/ 1955744 w 2427462"/>
              <a:gd name="connsiteY76" fmla="*/ 870972 h 1248656"/>
              <a:gd name="connsiteX77" fmla="*/ 1632659 w 2427462"/>
              <a:gd name="connsiteY77" fmla="*/ 1046372 h 1248656"/>
              <a:gd name="connsiteX78" fmla="*/ 2029759 w 2427462"/>
              <a:gd name="connsiteY78" fmla="*/ 870627 h 1248656"/>
              <a:gd name="connsiteX79" fmla="*/ 1498789 w 2427462"/>
              <a:gd name="connsiteY79" fmla="*/ 107446 h 1248656"/>
              <a:gd name="connsiteX80" fmla="*/ 2337909 w 2427462"/>
              <a:gd name="connsiteY80" fmla="*/ 1014664 h 1248656"/>
              <a:gd name="connsiteX81" fmla="*/ 2029759 w 2427462"/>
              <a:gd name="connsiteY81" fmla="*/ 870627 h 1248656"/>
              <a:gd name="connsiteX0" fmla="*/ 2426859 w 2427462"/>
              <a:gd name="connsiteY0" fmla="*/ 1206235 h 1248656"/>
              <a:gd name="connsiteX1" fmla="*/ 2275440 w 2427462"/>
              <a:gd name="connsiteY1" fmla="*/ 626353 h 1248656"/>
              <a:gd name="connsiteX2" fmla="*/ 2275440 w 2427462"/>
              <a:gd name="connsiteY2" fmla="*/ 417952 h 1248656"/>
              <a:gd name="connsiteX3" fmla="*/ 2203637 w 2427462"/>
              <a:gd name="connsiteY3" fmla="*/ 417952 h 1248656"/>
              <a:gd name="connsiteX4" fmla="*/ 2203637 w 2427462"/>
              <a:gd name="connsiteY4" fmla="*/ 512617 h 1248656"/>
              <a:gd name="connsiteX5" fmla="*/ 2122988 w 2427462"/>
              <a:gd name="connsiteY5" fmla="*/ 410800 h 1248656"/>
              <a:gd name="connsiteX6" fmla="*/ 2122988 w 2427462"/>
              <a:gd name="connsiteY6" fmla="*/ 254643 h 1248656"/>
              <a:gd name="connsiteX7" fmla="*/ 2051185 w 2427462"/>
              <a:gd name="connsiteY7" fmla="*/ 254643 h 1248656"/>
              <a:gd name="connsiteX8" fmla="*/ 2051185 w 2427462"/>
              <a:gd name="connsiteY8" fmla="*/ 336096 h 1248656"/>
              <a:gd name="connsiteX9" fmla="*/ 1956204 w 2427462"/>
              <a:gd name="connsiteY9" fmla="*/ 254183 h 1248656"/>
              <a:gd name="connsiteX10" fmla="*/ 1956204 w 2427462"/>
              <a:gd name="connsiteY10" fmla="*/ 125914 h 1248656"/>
              <a:gd name="connsiteX11" fmla="*/ 1884401 w 2427462"/>
              <a:gd name="connsiteY11" fmla="*/ 125914 h 1248656"/>
              <a:gd name="connsiteX12" fmla="*/ 1884401 w 2427462"/>
              <a:gd name="connsiteY12" fmla="*/ 202226 h 1248656"/>
              <a:gd name="connsiteX13" fmla="*/ 1814350 w 2427462"/>
              <a:gd name="connsiteY13" fmla="*/ 159144 h 1248656"/>
              <a:gd name="connsiteX14" fmla="*/ 1814350 w 2427462"/>
              <a:gd name="connsiteY14" fmla="*/ 73239 h 1248656"/>
              <a:gd name="connsiteX15" fmla="*/ 1742546 w 2427462"/>
              <a:gd name="connsiteY15" fmla="*/ 73239 h 1248656"/>
              <a:gd name="connsiteX16" fmla="*/ 1742546 w 2427462"/>
              <a:gd name="connsiteY16" fmla="*/ 120916 h 1248656"/>
              <a:gd name="connsiteX17" fmla="*/ 1684616 w 2427462"/>
              <a:gd name="connsiteY17" fmla="*/ 94493 h 1248656"/>
              <a:gd name="connsiteX18" fmla="*/ 1612813 w 2427462"/>
              <a:gd name="connsiteY18" fmla="*/ 39664 h 1248656"/>
              <a:gd name="connsiteX19" fmla="*/ 1612813 w 2427462"/>
              <a:gd name="connsiteY19" fmla="*/ 67093 h 1248656"/>
              <a:gd name="connsiteX20" fmla="*/ 1543795 w 2427462"/>
              <a:gd name="connsiteY20" fmla="*/ 45351 h 1248656"/>
              <a:gd name="connsiteX21" fmla="*/ 1471992 w 2427462"/>
              <a:gd name="connsiteY21" fmla="*/ 27257 h 1248656"/>
              <a:gd name="connsiteX22" fmla="*/ 1243084 w 2427462"/>
              <a:gd name="connsiteY22" fmla="*/ 0 h 1248656"/>
              <a:gd name="connsiteX23" fmla="*/ 1171281 w 2427462"/>
              <a:gd name="connsiteY23" fmla="*/ 316 h 1248656"/>
              <a:gd name="connsiteX24" fmla="*/ 958973 w 2427462"/>
              <a:gd name="connsiteY24" fmla="*/ 26309 h 1248656"/>
              <a:gd name="connsiteX25" fmla="*/ 887170 w 2427462"/>
              <a:gd name="connsiteY25" fmla="*/ 44173 h 1248656"/>
              <a:gd name="connsiteX26" fmla="*/ 817493 w 2427462"/>
              <a:gd name="connsiteY26" fmla="*/ 65944 h 1248656"/>
              <a:gd name="connsiteX27" fmla="*/ 745690 w 2427462"/>
              <a:gd name="connsiteY27" fmla="*/ 93143 h 1248656"/>
              <a:gd name="connsiteX28" fmla="*/ 687156 w 2427462"/>
              <a:gd name="connsiteY28" fmla="*/ 119452 h 1248656"/>
              <a:gd name="connsiteX29" fmla="*/ 615353 w 2427462"/>
              <a:gd name="connsiteY29" fmla="*/ 157536 h 1248656"/>
              <a:gd name="connsiteX30" fmla="*/ 544641 w 2427462"/>
              <a:gd name="connsiteY30" fmla="*/ 200905 h 1248656"/>
              <a:gd name="connsiteX31" fmla="*/ 472838 w 2427462"/>
              <a:gd name="connsiteY31" fmla="*/ 252460 h 1248656"/>
              <a:gd name="connsiteX32" fmla="*/ 377110 w 2427462"/>
              <a:gd name="connsiteY32" fmla="*/ 334746 h 1248656"/>
              <a:gd name="connsiteX33" fmla="*/ 305307 w 2427462"/>
              <a:gd name="connsiteY33" fmla="*/ 409105 h 1248656"/>
              <a:gd name="connsiteX34" fmla="*/ 223940 w 2427462"/>
              <a:gd name="connsiteY34" fmla="*/ 511640 h 1248656"/>
              <a:gd name="connsiteX35" fmla="*/ 152136 w 2427462"/>
              <a:gd name="connsiteY35" fmla="*/ 623940 h 1248656"/>
              <a:gd name="connsiteX36" fmla="*/ 152912 w 2427462"/>
              <a:gd name="connsiteY36" fmla="*/ 623940 h 1248656"/>
              <a:gd name="connsiteX37" fmla="*/ 0 w 2427462"/>
              <a:gd name="connsiteY37" fmla="*/ 1212726 h 1248656"/>
              <a:gd name="connsiteX38" fmla="*/ 37740 w 2427462"/>
              <a:gd name="connsiteY38" fmla="*/ 1248627 h 1248656"/>
              <a:gd name="connsiteX39" fmla="*/ 73440 w 2427462"/>
              <a:gd name="connsiteY39" fmla="*/ 1216574 h 1248656"/>
              <a:gd name="connsiteX40" fmla="*/ 429210 w 2427462"/>
              <a:gd name="connsiteY40" fmla="*/ 940764 h 1248656"/>
              <a:gd name="connsiteX41" fmla="*/ 781246 w 2427462"/>
              <a:gd name="connsiteY41" fmla="*/ 1193856 h 1248656"/>
              <a:gd name="connsiteX42" fmla="*/ 816459 w 2427462"/>
              <a:gd name="connsiteY42" fmla="*/ 1222778 h 1248656"/>
              <a:gd name="connsiteX43" fmla="*/ 851671 w 2427462"/>
              <a:gd name="connsiteY43" fmla="*/ 1193856 h 1248656"/>
              <a:gd name="connsiteX44" fmla="*/ 1171281 w 2427462"/>
              <a:gd name="connsiteY44" fmla="*/ 941999 h 1248656"/>
              <a:gd name="connsiteX45" fmla="*/ 1243084 w 2427462"/>
              <a:gd name="connsiteY45" fmla="*/ 942775 h 1248656"/>
              <a:gd name="connsiteX46" fmla="*/ 1559449 w 2427462"/>
              <a:gd name="connsiteY46" fmla="*/ 1216603 h 1248656"/>
              <a:gd name="connsiteX47" fmla="*/ 1595149 w 2427462"/>
              <a:gd name="connsiteY47" fmla="*/ 1248656 h 1248656"/>
              <a:gd name="connsiteX48" fmla="*/ 1606207 w 2427462"/>
              <a:gd name="connsiteY48" fmla="*/ 1248656 h 1248656"/>
              <a:gd name="connsiteX49" fmla="*/ 1641907 w 2427462"/>
              <a:gd name="connsiteY49" fmla="*/ 1216603 h 1248656"/>
              <a:gd name="connsiteX50" fmla="*/ 1997706 w 2427462"/>
              <a:gd name="connsiteY50" fmla="*/ 940793 h 1248656"/>
              <a:gd name="connsiteX51" fmla="*/ 2353447 w 2427462"/>
              <a:gd name="connsiteY51" fmla="*/ 1216603 h 1248656"/>
              <a:gd name="connsiteX52" fmla="*/ 2389148 w 2427462"/>
              <a:gd name="connsiteY52" fmla="*/ 1248656 h 1248656"/>
              <a:gd name="connsiteX53" fmla="*/ 2390986 w 2427462"/>
              <a:gd name="connsiteY53" fmla="*/ 1248656 h 1248656"/>
              <a:gd name="connsiteX54" fmla="*/ 2391560 w 2427462"/>
              <a:gd name="connsiteY54" fmla="*/ 1248656 h 1248656"/>
              <a:gd name="connsiteX55" fmla="*/ 2427462 w 2427462"/>
              <a:gd name="connsiteY55" fmla="*/ 1212755 h 1248656"/>
              <a:gd name="connsiteX56" fmla="*/ 2426859 w 2427462"/>
              <a:gd name="connsiteY56" fmla="*/ 1206235 h 1248656"/>
              <a:gd name="connsiteX57" fmla="*/ 88978 w 2427462"/>
              <a:gd name="connsiteY57" fmla="*/ 1014664 h 1248656"/>
              <a:gd name="connsiteX58" fmla="*/ 920889 w 2427462"/>
              <a:gd name="connsiteY58" fmla="*/ 109256 h 1248656"/>
              <a:gd name="connsiteX59" fmla="*/ 393050 w 2427462"/>
              <a:gd name="connsiteY59" fmla="*/ 870828 h 1248656"/>
              <a:gd name="connsiteX60" fmla="*/ 88978 w 2427462"/>
              <a:gd name="connsiteY60" fmla="*/ 1014664 h 1248656"/>
              <a:gd name="connsiteX61" fmla="*/ 467237 w 2427462"/>
              <a:gd name="connsiteY61" fmla="*/ 870598 h 1248656"/>
              <a:gd name="connsiteX62" fmla="*/ 1122800 w 2427462"/>
              <a:gd name="connsiteY62" fmla="*/ 102276 h 1248656"/>
              <a:gd name="connsiteX63" fmla="*/ 790409 w 2427462"/>
              <a:gd name="connsiteY63" fmla="*/ 1041834 h 1248656"/>
              <a:gd name="connsiteX64" fmla="*/ 467237 w 2427462"/>
              <a:gd name="connsiteY64" fmla="*/ 870598 h 1248656"/>
              <a:gd name="connsiteX65" fmla="*/ 863217 w 2427462"/>
              <a:gd name="connsiteY65" fmla="*/ 1015755 h 1248656"/>
              <a:gd name="connsiteX66" fmla="*/ 1171281 w 2427462"/>
              <a:gd name="connsiteY66" fmla="*/ 156617 h 1248656"/>
              <a:gd name="connsiteX67" fmla="*/ 1171281 w 2427462"/>
              <a:gd name="connsiteY67" fmla="*/ 870081 h 1248656"/>
              <a:gd name="connsiteX68" fmla="*/ 863217 w 2427462"/>
              <a:gd name="connsiteY68" fmla="*/ 1015755 h 1248656"/>
              <a:gd name="connsiteX69" fmla="*/ 1243084 w 2427462"/>
              <a:gd name="connsiteY69" fmla="*/ 870713 h 1248656"/>
              <a:gd name="connsiteX70" fmla="*/ 1243084 w 2427462"/>
              <a:gd name="connsiteY70" fmla="*/ 146048 h 1248656"/>
              <a:gd name="connsiteX71" fmla="*/ 1560368 w 2427462"/>
              <a:gd name="connsiteY71" fmla="*/ 1035085 h 1248656"/>
              <a:gd name="connsiteX72" fmla="*/ 1243084 w 2427462"/>
              <a:gd name="connsiteY72" fmla="*/ 870713 h 1248656"/>
              <a:gd name="connsiteX73" fmla="*/ 1632659 w 2427462"/>
              <a:gd name="connsiteY73" fmla="*/ 1046372 h 1248656"/>
              <a:gd name="connsiteX74" fmla="*/ 1300096 w 2427462"/>
              <a:gd name="connsiteY74" fmla="*/ 102276 h 1248656"/>
              <a:gd name="connsiteX75" fmla="*/ 1955744 w 2427462"/>
              <a:gd name="connsiteY75" fmla="*/ 870972 h 1248656"/>
              <a:gd name="connsiteX76" fmla="*/ 1632659 w 2427462"/>
              <a:gd name="connsiteY76" fmla="*/ 1046372 h 1248656"/>
              <a:gd name="connsiteX77" fmla="*/ 2029759 w 2427462"/>
              <a:gd name="connsiteY77" fmla="*/ 870627 h 1248656"/>
              <a:gd name="connsiteX78" fmla="*/ 1498789 w 2427462"/>
              <a:gd name="connsiteY78" fmla="*/ 107446 h 1248656"/>
              <a:gd name="connsiteX79" fmla="*/ 2337909 w 2427462"/>
              <a:gd name="connsiteY79" fmla="*/ 1014664 h 1248656"/>
              <a:gd name="connsiteX80" fmla="*/ 2029759 w 2427462"/>
              <a:gd name="connsiteY80" fmla="*/ 870627 h 1248656"/>
              <a:gd name="connsiteX0" fmla="*/ 2426859 w 2427462"/>
              <a:gd name="connsiteY0" fmla="*/ 1206235 h 1248656"/>
              <a:gd name="connsiteX1" fmla="*/ 2275440 w 2427462"/>
              <a:gd name="connsiteY1" fmla="*/ 626353 h 1248656"/>
              <a:gd name="connsiteX2" fmla="*/ 2275440 w 2427462"/>
              <a:gd name="connsiteY2" fmla="*/ 417952 h 1248656"/>
              <a:gd name="connsiteX3" fmla="*/ 2203637 w 2427462"/>
              <a:gd name="connsiteY3" fmla="*/ 417952 h 1248656"/>
              <a:gd name="connsiteX4" fmla="*/ 2203637 w 2427462"/>
              <a:gd name="connsiteY4" fmla="*/ 512617 h 1248656"/>
              <a:gd name="connsiteX5" fmla="*/ 2122988 w 2427462"/>
              <a:gd name="connsiteY5" fmla="*/ 410800 h 1248656"/>
              <a:gd name="connsiteX6" fmla="*/ 2122988 w 2427462"/>
              <a:gd name="connsiteY6" fmla="*/ 254643 h 1248656"/>
              <a:gd name="connsiteX7" fmla="*/ 2051185 w 2427462"/>
              <a:gd name="connsiteY7" fmla="*/ 254643 h 1248656"/>
              <a:gd name="connsiteX8" fmla="*/ 2051185 w 2427462"/>
              <a:gd name="connsiteY8" fmla="*/ 336096 h 1248656"/>
              <a:gd name="connsiteX9" fmla="*/ 1956204 w 2427462"/>
              <a:gd name="connsiteY9" fmla="*/ 254183 h 1248656"/>
              <a:gd name="connsiteX10" fmla="*/ 1956204 w 2427462"/>
              <a:gd name="connsiteY10" fmla="*/ 125914 h 1248656"/>
              <a:gd name="connsiteX11" fmla="*/ 1884401 w 2427462"/>
              <a:gd name="connsiteY11" fmla="*/ 125914 h 1248656"/>
              <a:gd name="connsiteX12" fmla="*/ 1884401 w 2427462"/>
              <a:gd name="connsiteY12" fmla="*/ 202226 h 1248656"/>
              <a:gd name="connsiteX13" fmla="*/ 1814350 w 2427462"/>
              <a:gd name="connsiteY13" fmla="*/ 159144 h 1248656"/>
              <a:gd name="connsiteX14" fmla="*/ 1742546 w 2427462"/>
              <a:gd name="connsiteY14" fmla="*/ 73239 h 1248656"/>
              <a:gd name="connsiteX15" fmla="*/ 1742546 w 2427462"/>
              <a:gd name="connsiteY15" fmla="*/ 120916 h 1248656"/>
              <a:gd name="connsiteX16" fmla="*/ 1684616 w 2427462"/>
              <a:gd name="connsiteY16" fmla="*/ 94493 h 1248656"/>
              <a:gd name="connsiteX17" fmla="*/ 1612813 w 2427462"/>
              <a:gd name="connsiteY17" fmla="*/ 39664 h 1248656"/>
              <a:gd name="connsiteX18" fmla="*/ 1612813 w 2427462"/>
              <a:gd name="connsiteY18" fmla="*/ 67093 h 1248656"/>
              <a:gd name="connsiteX19" fmla="*/ 1543795 w 2427462"/>
              <a:gd name="connsiteY19" fmla="*/ 45351 h 1248656"/>
              <a:gd name="connsiteX20" fmla="*/ 1471992 w 2427462"/>
              <a:gd name="connsiteY20" fmla="*/ 27257 h 1248656"/>
              <a:gd name="connsiteX21" fmla="*/ 1243084 w 2427462"/>
              <a:gd name="connsiteY21" fmla="*/ 0 h 1248656"/>
              <a:gd name="connsiteX22" fmla="*/ 1171281 w 2427462"/>
              <a:gd name="connsiteY22" fmla="*/ 316 h 1248656"/>
              <a:gd name="connsiteX23" fmla="*/ 958973 w 2427462"/>
              <a:gd name="connsiteY23" fmla="*/ 26309 h 1248656"/>
              <a:gd name="connsiteX24" fmla="*/ 887170 w 2427462"/>
              <a:gd name="connsiteY24" fmla="*/ 44173 h 1248656"/>
              <a:gd name="connsiteX25" fmla="*/ 817493 w 2427462"/>
              <a:gd name="connsiteY25" fmla="*/ 65944 h 1248656"/>
              <a:gd name="connsiteX26" fmla="*/ 745690 w 2427462"/>
              <a:gd name="connsiteY26" fmla="*/ 93143 h 1248656"/>
              <a:gd name="connsiteX27" fmla="*/ 687156 w 2427462"/>
              <a:gd name="connsiteY27" fmla="*/ 119452 h 1248656"/>
              <a:gd name="connsiteX28" fmla="*/ 615353 w 2427462"/>
              <a:gd name="connsiteY28" fmla="*/ 157536 h 1248656"/>
              <a:gd name="connsiteX29" fmla="*/ 544641 w 2427462"/>
              <a:gd name="connsiteY29" fmla="*/ 200905 h 1248656"/>
              <a:gd name="connsiteX30" fmla="*/ 472838 w 2427462"/>
              <a:gd name="connsiteY30" fmla="*/ 252460 h 1248656"/>
              <a:gd name="connsiteX31" fmla="*/ 377110 w 2427462"/>
              <a:gd name="connsiteY31" fmla="*/ 334746 h 1248656"/>
              <a:gd name="connsiteX32" fmla="*/ 305307 w 2427462"/>
              <a:gd name="connsiteY32" fmla="*/ 409105 h 1248656"/>
              <a:gd name="connsiteX33" fmla="*/ 223940 w 2427462"/>
              <a:gd name="connsiteY33" fmla="*/ 511640 h 1248656"/>
              <a:gd name="connsiteX34" fmla="*/ 152136 w 2427462"/>
              <a:gd name="connsiteY34" fmla="*/ 623940 h 1248656"/>
              <a:gd name="connsiteX35" fmla="*/ 152912 w 2427462"/>
              <a:gd name="connsiteY35" fmla="*/ 623940 h 1248656"/>
              <a:gd name="connsiteX36" fmla="*/ 0 w 2427462"/>
              <a:gd name="connsiteY36" fmla="*/ 1212726 h 1248656"/>
              <a:gd name="connsiteX37" fmla="*/ 37740 w 2427462"/>
              <a:gd name="connsiteY37" fmla="*/ 1248627 h 1248656"/>
              <a:gd name="connsiteX38" fmla="*/ 73440 w 2427462"/>
              <a:gd name="connsiteY38" fmla="*/ 1216574 h 1248656"/>
              <a:gd name="connsiteX39" fmla="*/ 429210 w 2427462"/>
              <a:gd name="connsiteY39" fmla="*/ 940764 h 1248656"/>
              <a:gd name="connsiteX40" fmla="*/ 781246 w 2427462"/>
              <a:gd name="connsiteY40" fmla="*/ 1193856 h 1248656"/>
              <a:gd name="connsiteX41" fmla="*/ 816459 w 2427462"/>
              <a:gd name="connsiteY41" fmla="*/ 1222778 h 1248656"/>
              <a:gd name="connsiteX42" fmla="*/ 851671 w 2427462"/>
              <a:gd name="connsiteY42" fmla="*/ 1193856 h 1248656"/>
              <a:gd name="connsiteX43" fmla="*/ 1171281 w 2427462"/>
              <a:gd name="connsiteY43" fmla="*/ 941999 h 1248656"/>
              <a:gd name="connsiteX44" fmla="*/ 1243084 w 2427462"/>
              <a:gd name="connsiteY44" fmla="*/ 942775 h 1248656"/>
              <a:gd name="connsiteX45" fmla="*/ 1559449 w 2427462"/>
              <a:gd name="connsiteY45" fmla="*/ 1216603 h 1248656"/>
              <a:gd name="connsiteX46" fmla="*/ 1595149 w 2427462"/>
              <a:gd name="connsiteY46" fmla="*/ 1248656 h 1248656"/>
              <a:gd name="connsiteX47" fmla="*/ 1606207 w 2427462"/>
              <a:gd name="connsiteY47" fmla="*/ 1248656 h 1248656"/>
              <a:gd name="connsiteX48" fmla="*/ 1641907 w 2427462"/>
              <a:gd name="connsiteY48" fmla="*/ 1216603 h 1248656"/>
              <a:gd name="connsiteX49" fmla="*/ 1997706 w 2427462"/>
              <a:gd name="connsiteY49" fmla="*/ 940793 h 1248656"/>
              <a:gd name="connsiteX50" fmla="*/ 2353447 w 2427462"/>
              <a:gd name="connsiteY50" fmla="*/ 1216603 h 1248656"/>
              <a:gd name="connsiteX51" fmla="*/ 2389148 w 2427462"/>
              <a:gd name="connsiteY51" fmla="*/ 1248656 h 1248656"/>
              <a:gd name="connsiteX52" fmla="*/ 2390986 w 2427462"/>
              <a:gd name="connsiteY52" fmla="*/ 1248656 h 1248656"/>
              <a:gd name="connsiteX53" fmla="*/ 2391560 w 2427462"/>
              <a:gd name="connsiteY53" fmla="*/ 1248656 h 1248656"/>
              <a:gd name="connsiteX54" fmla="*/ 2427462 w 2427462"/>
              <a:gd name="connsiteY54" fmla="*/ 1212755 h 1248656"/>
              <a:gd name="connsiteX55" fmla="*/ 2426859 w 2427462"/>
              <a:gd name="connsiteY55" fmla="*/ 1206235 h 1248656"/>
              <a:gd name="connsiteX56" fmla="*/ 88978 w 2427462"/>
              <a:gd name="connsiteY56" fmla="*/ 1014664 h 1248656"/>
              <a:gd name="connsiteX57" fmla="*/ 920889 w 2427462"/>
              <a:gd name="connsiteY57" fmla="*/ 109256 h 1248656"/>
              <a:gd name="connsiteX58" fmla="*/ 393050 w 2427462"/>
              <a:gd name="connsiteY58" fmla="*/ 870828 h 1248656"/>
              <a:gd name="connsiteX59" fmla="*/ 88978 w 2427462"/>
              <a:gd name="connsiteY59" fmla="*/ 1014664 h 1248656"/>
              <a:gd name="connsiteX60" fmla="*/ 467237 w 2427462"/>
              <a:gd name="connsiteY60" fmla="*/ 870598 h 1248656"/>
              <a:gd name="connsiteX61" fmla="*/ 1122800 w 2427462"/>
              <a:gd name="connsiteY61" fmla="*/ 102276 h 1248656"/>
              <a:gd name="connsiteX62" fmla="*/ 790409 w 2427462"/>
              <a:gd name="connsiteY62" fmla="*/ 1041834 h 1248656"/>
              <a:gd name="connsiteX63" fmla="*/ 467237 w 2427462"/>
              <a:gd name="connsiteY63" fmla="*/ 870598 h 1248656"/>
              <a:gd name="connsiteX64" fmla="*/ 863217 w 2427462"/>
              <a:gd name="connsiteY64" fmla="*/ 1015755 h 1248656"/>
              <a:gd name="connsiteX65" fmla="*/ 1171281 w 2427462"/>
              <a:gd name="connsiteY65" fmla="*/ 156617 h 1248656"/>
              <a:gd name="connsiteX66" fmla="*/ 1171281 w 2427462"/>
              <a:gd name="connsiteY66" fmla="*/ 870081 h 1248656"/>
              <a:gd name="connsiteX67" fmla="*/ 863217 w 2427462"/>
              <a:gd name="connsiteY67" fmla="*/ 1015755 h 1248656"/>
              <a:gd name="connsiteX68" fmla="*/ 1243084 w 2427462"/>
              <a:gd name="connsiteY68" fmla="*/ 870713 h 1248656"/>
              <a:gd name="connsiteX69" fmla="*/ 1243084 w 2427462"/>
              <a:gd name="connsiteY69" fmla="*/ 146048 h 1248656"/>
              <a:gd name="connsiteX70" fmla="*/ 1560368 w 2427462"/>
              <a:gd name="connsiteY70" fmla="*/ 1035085 h 1248656"/>
              <a:gd name="connsiteX71" fmla="*/ 1243084 w 2427462"/>
              <a:gd name="connsiteY71" fmla="*/ 870713 h 1248656"/>
              <a:gd name="connsiteX72" fmla="*/ 1632659 w 2427462"/>
              <a:gd name="connsiteY72" fmla="*/ 1046372 h 1248656"/>
              <a:gd name="connsiteX73" fmla="*/ 1300096 w 2427462"/>
              <a:gd name="connsiteY73" fmla="*/ 102276 h 1248656"/>
              <a:gd name="connsiteX74" fmla="*/ 1955744 w 2427462"/>
              <a:gd name="connsiteY74" fmla="*/ 870972 h 1248656"/>
              <a:gd name="connsiteX75" fmla="*/ 1632659 w 2427462"/>
              <a:gd name="connsiteY75" fmla="*/ 1046372 h 1248656"/>
              <a:gd name="connsiteX76" fmla="*/ 2029759 w 2427462"/>
              <a:gd name="connsiteY76" fmla="*/ 870627 h 1248656"/>
              <a:gd name="connsiteX77" fmla="*/ 1498789 w 2427462"/>
              <a:gd name="connsiteY77" fmla="*/ 107446 h 1248656"/>
              <a:gd name="connsiteX78" fmla="*/ 2337909 w 2427462"/>
              <a:gd name="connsiteY78" fmla="*/ 1014664 h 1248656"/>
              <a:gd name="connsiteX79" fmla="*/ 2029759 w 2427462"/>
              <a:gd name="connsiteY79" fmla="*/ 870627 h 1248656"/>
              <a:gd name="connsiteX0" fmla="*/ 2426859 w 2427462"/>
              <a:gd name="connsiteY0" fmla="*/ 1206235 h 1248656"/>
              <a:gd name="connsiteX1" fmla="*/ 2275440 w 2427462"/>
              <a:gd name="connsiteY1" fmla="*/ 626353 h 1248656"/>
              <a:gd name="connsiteX2" fmla="*/ 2275440 w 2427462"/>
              <a:gd name="connsiteY2" fmla="*/ 417952 h 1248656"/>
              <a:gd name="connsiteX3" fmla="*/ 2203637 w 2427462"/>
              <a:gd name="connsiteY3" fmla="*/ 417952 h 1248656"/>
              <a:gd name="connsiteX4" fmla="*/ 2203637 w 2427462"/>
              <a:gd name="connsiteY4" fmla="*/ 512617 h 1248656"/>
              <a:gd name="connsiteX5" fmla="*/ 2122988 w 2427462"/>
              <a:gd name="connsiteY5" fmla="*/ 410800 h 1248656"/>
              <a:gd name="connsiteX6" fmla="*/ 2122988 w 2427462"/>
              <a:gd name="connsiteY6" fmla="*/ 254643 h 1248656"/>
              <a:gd name="connsiteX7" fmla="*/ 2051185 w 2427462"/>
              <a:gd name="connsiteY7" fmla="*/ 254643 h 1248656"/>
              <a:gd name="connsiteX8" fmla="*/ 2051185 w 2427462"/>
              <a:gd name="connsiteY8" fmla="*/ 336096 h 1248656"/>
              <a:gd name="connsiteX9" fmla="*/ 1956204 w 2427462"/>
              <a:gd name="connsiteY9" fmla="*/ 254183 h 1248656"/>
              <a:gd name="connsiteX10" fmla="*/ 1884401 w 2427462"/>
              <a:gd name="connsiteY10" fmla="*/ 125914 h 1248656"/>
              <a:gd name="connsiteX11" fmla="*/ 1884401 w 2427462"/>
              <a:gd name="connsiteY11" fmla="*/ 202226 h 1248656"/>
              <a:gd name="connsiteX12" fmla="*/ 1814350 w 2427462"/>
              <a:gd name="connsiteY12" fmla="*/ 159144 h 1248656"/>
              <a:gd name="connsiteX13" fmla="*/ 1742546 w 2427462"/>
              <a:gd name="connsiteY13" fmla="*/ 73239 h 1248656"/>
              <a:gd name="connsiteX14" fmla="*/ 1742546 w 2427462"/>
              <a:gd name="connsiteY14" fmla="*/ 120916 h 1248656"/>
              <a:gd name="connsiteX15" fmla="*/ 1684616 w 2427462"/>
              <a:gd name="connsiteY15" fmla="*/ 94493 h 1248656"/>
              <a:gd name="connsiteX16" fmla="*/ 1612813 w 2427462"/>
              <a:gd name="connsiteY16" fmla="*/ 39664 h 1248656"/>
              <a:gd name="connsiteX17" fmla="*/ 1612813 w 2427462"/>
              <a:gd name="connsiteY17" fmla="*/ 67093 h 1248656"/>
              <a:gd name="connsiteX18" fmla="*/ 1543795 w 2427462"/>
              <a:gd name="connsiteY18" fmla="*/ 45351 h 1248656"/>
              <a:gd name="connsiteX19" fmla="*/ 1471992 w 2427462"/>
              <a:gd name="connsiteY19" fmla="*/ 27257 h 1248656"/>
              <a:gd name="connsiteX20" fmla="*/ 1243084 w 2427462"/>
              <a:gd name="connsiteY20" fmla="*/ 0 h 1248656"/>
              <a:gd name="connsiteX21" fmla="*/ 1171281 w 2427462"/>
              <a:gd name="connsiteY21" fmla="*/ 316 h 1248656"/>
              <a:gd name="connsiteX22" fmla="*/ 958973 w 2427462"/>
              <a:gd name="connsiteY22" fmla="*/ 26309 h 1248656"/>
              <a:gd name="connsiteX23" fmla="*/ 887170 w 2427462"/>
              <a:gd name="connsiteY23" fmla="*/ 44173 h 1248656"/>
              <a:gd name="connsiteX24" fmla="*/ 817493 w 2427462"/>
              <a:gd name="connsiteY24" fmla="*/ 65944 h 1248656"/>
              <a:gd name="connsiteX25" fmla="*/ 745690 w 2427462"/>
              <a:gd name="connsiteY25" fmla="*/ 93143 h 1248656"/>
              <a:gd name="connsiteX26" fmla="*/ 687156 w 2427462"/>
              <a:gd name="connsiteY26" fmla="*/ 119452 h 1248656"/>
              <a:gd name="connsiteX27" fmla="*/ 615353 w 2427462"/>
              <a:gd name="connsiteY27" fmla="*/ 157536 h 1248656"/>
              <a:gd name="connsiteX28" fmla="*/ 544641 w 2427462"/>
              <a:gd name="connsiteY28" fmla="*/ 200905 h 1248656"/>
              <a:gd name="connsiteX29" fmla="*/ 472838 w 2427462"/>
              <a:gd name="connsiteY29" fmla="*/ 252460 h 1248656"/>
              <a:gd name="connsiteX30" fmla="*/ 377110 w 2427462"/>
              <a:gd name="connsiteY30" fmla="*/ 334746 h 1248656"/>
              <a:gd name="connsiteX31" fmla="*/ 305307 w 2427462"/>
              <a:gd name="connsiteY31" fmla="*/ 409105 h 1248656"/>
              <a:gd name="connsiteX32" fmla="*/ 223940 w 2427462"/>
              <a:gd name="connsiteY32" fmla="*/ 511640 h 1248656"/>
              <a:gd name="connsiteX33" fmla="*/ 152136 w 2427462"/>
              <a:gd name="connsiteY33" fmla="*/ 623940 h 1248656"/>
              <a:gd name="connsiteX34" fmla="*/ 152912 w 2427462"/>
              <a:gd name="connsiteY34" fmla="*/ 623940 h 1248656"/>
              <a:gd name="connsiteX35" fmla="*/ 0 w 2427462"/>
              <a:gd name="connsiteY35" fmla="*/ 1212726 h 1248656"/>
              <a:gd name="connsiteX36" fmla="*/ 37740 w 2427462"/>
              <a:gd name="connsiteY36" fmla="*/ 1248627 h 1248656"/>
              <a:gd name="connsiteX37" fmla="*/ 73440 w 2427462"/>
              <a:gd name="connsiteY37" fmla="*/ 1216574 h 1248656"/>
              <a:gd name="connsiteX38" fmla="*/ 429210 w 2427462"/>
              <a:gd name="connsiteY38" fmla="*/ 940764 h 1248656"/>
              <a:gd name="connsiteX39" fmla="*/ 781246 w 2427462"/>
              <a:gd name="connsiteY39" fmla="*/ 1193856 h 1248656"/>
              <a:gd name="connsiteX40" fmla="*/ 816459 w 2427462"/>
              <a:gd name="connsiteY40" fmla="*/ 1222778 h 1248656"/>
              <a:gd name="connsiteX41" fmla="*/ 851671 w 2427462"/>
              <a:gd name="connsiteY41" fmla="*/ 1193856 h 1248656"/>
              <a:gd name="connsiteX42" fmla="*/ 1171281 w 2427462"/>
              <a:gd name="connsiteY42" fmla="*/ 941999 h 1248656"/>
              <a:gd name="connsiteX43" fmla="*/ 1243084 w 2427462"/>
              <a:gd name="connsiteY43" fmla="*/ 942775 h 1248656"/>
              <a:gd name="connsiteX44" fmla="*/ 1559449 w 2427462"/>
              <a:gd name="connsiteY44" fmla="*/ 1216603 h 1248656"/>
              <a:gd name="connsiteX45" fmla="*/ 1595149 w 2427462"/>
              <a:gd name="connsiteY45" fmla="*/ 1248656 h 1248656"/>
              <a:gd name="connsiteX46" fmla="*/ 1606207 w 2427462"/>
              <a:gd name="connsiteY46" fmla="*/ 1248656 h 1248656"/>
              <a:gd name="connsiteX47" fmla="*/ 1641907 w 2427462"/>
              <a:gd name="connsiteY47" fmla="*/ 1216603 h 1248656"/>
              <a:gd name="connsiteX48" fmla="*/ 1997706 w 2427462"/>
              <a:gd name="connsiteY48" fmla="*/ 940793 h 1248656"/>
              <a:gd name="connsiteX49" fmla="*/ 2353447 w 2427462"/>
              <a:gd name="connsiteY49" fmla="*/ 1216603 h 1248656"/>
              <a:gd name="connsiteX50" fmla="*/ 2389148 w 2427462"/>
              <a:gd name="connsiteY50" fmla="*/ 1248656 h 1248656"/>
              <a:gd name="connsiteX51" fmla="*/ 2390986 w 2427462"/>
              <a:gd name="connsiteY51" fmla="*/ 1248656 h 1248656"/>
              <a:gd name="connsiteX52" fmla="*/ 2391560 w 2427462"/>
              <a:gd name="connsiteY52" fmla="*/ 1248656 h 1248656"/>
              <a:gd name="connsiteX53" fmla="*/ 2427462 w 2427462"/>
              <a:gd name="connsiteY53" fmla="*/ 1212755 h 1248656"/>
              <a:gd name="connsiteX54" fmla="*/ 2426859 w 2427462"/>
              <a:gd name="connsiteY54" fmla="*/ 1206235 h 1248656"/>
              <a:gd name="connsiteX55" fmla="*/ 88978 w 2427462"/>
              <a:gd name="connsiteY55" fmla="*/ 1014664 h 1248656"/>
              <a:gd name="connsiteX56" fmla="*/ 920889 w 2427462"/>
              <a:gd name="connsiteY56" fmla="*/ 109256 h 1248656"/>
              <a:gd name="connsiteX57" fmla="*/ 393050 w 2427462"/>
              <a:gd name="connsiteY57" fmla="*/ 870828 h 1248656"/>
              <a:gd name="connsiteX58" fmla="*/ 88978 w 2427462"/>
              <a:gd name="connsiteY58" fmla="*/ 1014664 h 1248656"/>
              <a:gd name="connsiteX59" fmla="*/ 467237 w 2427462"/>
              <a:gd name="connsiteY59" fmla="*/ 870598 h 1248656"/>
              <a:gd name="connsiteX60" fmla="*/ 1122800 w 2427462"/>
              <a:gd name="connsiteY60" fmla="*/ 102276 h 1248656"/>
              <a:gd name="connsiteX61" fmla="*/ 790409 w 2427462"/>
              <a:gd name="connsiteY61" fmla="*/ 1041834 h 1248656"/>
              <a:gd name="connsiteX62" fmla="*/ 467237 w 2427462"/>
              <a:gd name="connsiteY62" fmla="*/ 870598 h 1248656"/>
              <a:gd name="connsiteX63" fmla="*/ 863217 w 2427462"/>
              <a:gd name="connsiteY63" fmla="*/ 1015755 h 1248656"/>
              <a:gd name="connsiteX64" fmla="*/ 1171281 w 2427462"/>
              <a:gd name="connsiteY64" fmla="*/ 156617 h 1248656"/>
              <a:gd name="connsiteX65" fmla="*/ 1171281 w 2427462"/>
              <a:gd name="connsiteY65" fmla="*/ 870081 h 1248656"/>
              <a:gd name="connsiteX66" fmla="*/ 863217 w 2427462"/>
              <a:gd name="connsiteY66" fmla="*/ 1015755 h 1248656"/>
              <a:gd name="connsiteX67" fmla="*/ 1243084 w 2427462"/>
              <a:gd name="connsiteY67" fmla="*/ 870713 h 1248656"/>
              <a:gd name="connsiteX68" fmla="*/ 1243084 w 2427462"/>
              <a:gd name="connsiteY68" fmla="*/ 146048 h 1248656"/>
              <a:gd name="connsiteX69" fmla="*/ 1560368 w 2427462"/>
              <a:gd name="connsiteY69" fmla="*/ 1035085 h 1248656"/>
              <a:gd name="connsiteX70" fmla="*/ 1243084 w 2427462"/>
              <a:gd name="connsiteY70" fmla="*/ 870713 h 1248656"/>
              <a:gd name="connsiteX71" fmla="*/ 1632659 w 2427462"/>
              <a:gd name="connsiteY71" fmla="*/ 1046372 h 1248656"/>
              <a:gd name="connsiteX72" fmla="*/ 1300096 w 2427462"/>
              <a:gd name="connsiteY72" fmla="*/ 102276 h 1248656"/>
              <a:gd name="connsiteX73" fmla="*/ 1955744 w 2427462"/>
              <a:gd name="connsiteY73" fmla="*/ 870972 h 1248656"/>
              <a:gd name="connsiteX74" fmla="*/ 1632659 w 2427462"/>
              <a:gd name="connsiteY74" fmla="*/ 1046372 h 1248656"/>
              <a:gd name="connsiteX75" fmla="*/ 2029759 w 2427462"/>
              <a:gd name="connsiteY75" fmla="*/ 870627 h 1248656"/>
              <a:gd name="connsiteX76" fmla="*/ 1498789 w 2427462"/>
              <a:gd name="connsiteY76" fmla="*/ 107446 h 1248656"/>
              <a:gd name="connsiteX77" fmla="*/ 2337909 w 2427462"/>
              <a:gd name="connsiteY77" fmla="*/ 1014664 h 1248656"/>
              <a:gd name="connsiteX78" fmla="*/ 2029759 w 2427462"/>
              <a:gd name="connsiteY78" fmla="*/ 870627 h 1248656"/>
              <a:gd name="connsiteX0" fmla="*/ 2426859 w 2427462"/>
              <a:gd name="connsiteY0" fmla="*/ 1206235 h 1248656"/>
              <a:gd name="connsiteX1" fmla="*/ 2275440 w 2427462"/>
              <a:gd name="connsiteY1" fmla="*/ 626353 h 1248656"/>
              <a:gd name="connsiteX2" fmla="*/ 2275440 w 2427462"/>
              <a:gd name="connsiteY2" fmla="*/ 417952 h 1248656"/>
              <a:gd name="connsiteX3" fmla="*/ 2203637 w 2427462"/>
              <a:gd name="connsiteY3" fmla="*/ 417952 h 1248656"/>
              <a:gd name="connsiteX4" fmla="*/ 2203637 w 2427462"/>
              <a:gd name="connsiteY4" fmla="*/ 512617 h 1248656"/>
              <a:gd name="connsiteX5" fmla="*/ 2122988 w 2427462"/>
              <a:gd name="connsiteY5" fmla="*/ 410800 h 1248656"/>
              <a:gd name="connsiteX6" fmla="*/ 2051185 w 2427462"/>
              <a:gd name="connsiteY6" fmla="*/ 254643 h 1248656"/>
              <a:gd name="connsiteX7" fmla="*/ 2051185 w 2427462"/>
              <a:gd name="connsiteY7" fmla="*/ 336096 h 1248656"/>
              <a:gd name="connsiteX8" fmla="*/ 1956204 w 2427462"/>
              <a:gd name="connsiteY8" fmla="*/ 254183 h 1248656"/>
              <a:gd name="connsiteX9" fmla="*/ 1884401 w 2427462"/>
              <a:gd name="connsiteY9" fmla="*/ 125914 h 1248656"/>
              <a:gd name="connsiteX10" fmla="*/ 1884401 w 2427462"/>
              <a:gd name="connsiteY10" fmla="*/ 202226 h 1248656"/>
              <a:gd name="connsiteX11" fmla="*/ 1814350 w 2427462"/>
              <a:gd name="connsiteY11" fmla="*/ 159144 h 1248656"/>
              <a:gd name="connsiteX12" fmla="*/ 1742546 w 2427462"/>
              <a:gd name="connsiteY12" fmla="*/ 73239 h 1248656"/>
              <a:gd name="connsiteX13" fmla="*/ 1742546 w 2427462"/>
              <a:gd name="connsiteY13" fmla="*/ 120916 h 1248656"/>
              <a:gd name="connsiteX14" fmla="*/ 1684616 w 2427462"/>
              <a:gd name="connsiteY14" fmla="*/ 94493 h 1248656"/>
              <a:gd name="connsiteX15" fmla="*/ 1612813 w 2427462"/>
              <a:gd name="connsiteY15" fmla="*/ 39664 h 1248656"/>
              <a:gd name="connsiteX16" fmla="*/ 1612813 w 2427462"/>
              <a:gd name="connsiteY16" fmla="*/ 67093 h 1248656"/>
              <a:gd name="connsiteX17" fmla="*/ 1543795 w 2427462"/>
              <a:gd name="connsiteY17" fmla="*/ 45351 h 1248656"/>
              <a:gd name="connsiteX18" fmla="*/ 1471992 w 2427462"/>
              <a:gd name="connsiteY18" fmla="*/ 27257 h 1248656"/>
              <a:gd name="connsiteX19" fmla="*/ 1243084 w 2427462"/>
              <a:gd name="connsiteY19" fmla="*/ 0 h 1248656"/>
              <a:gd name="connsiteX20" fmla="*/ 1171281 w 2427462"/>
              <a:gd name="connsiteY20" fmla="*/ 316 h 1248656"/>
              <a:gd name="connsiteX21" fmla="*/ 958973 w 2427462"/>
              <a:gd name="connsiteY21" fmla="*/ 26309 h 1248656"/>
              <a:gd name="connsiteX22" fmla="*/ 887170 w 2427462"/>
              <a:gd name="connsiteY22" fmla="*/ 44173 h 1248656"/>
              <a:gd name="connsiteX23" fmla="*/ 817493 w 2427462"/>
              <a:gd name="connsiteY23" fmla="*/ 65944 h 1248656"/>
              <a:gd name="connsiteX24" fmla="*/ 745690 w 2427462"/>
              <a:gd name="connsiteY24" fmla="*/ 93143 h 1248656"/>
              <a:gd name="connsiteX25" fmla="*/ 687156 w 2427462"/>
              <a:gd name="connsiteY25" fmla="*/ 119452 h 1248656"/>
              <a:gd name="connsiteX26" fmla="*/ 615353 w 2427462"/>
              <a:gd name="connsiteY26" fmla="*/ 157536 h 1248656"/>
              <a:gd name="connsiteX27" fmla="*/ 544641 w 2427462"/>
              <a:gd name="connsiteY27" fmla="*/ 200905 h 1248656"/>
              <a:gd name="connsiteX28" fmla="*/ 472838 w 2427462"/>
              <a:gd name="connsiteY28" fmla="*/ 252460 h 1248656"/>
              <a:gd name="connsiteX29" fmla="*/ 377110 w 2427462"/>
              <a:gd name="connsiteY29" fmla="*/ 334746 h 1248656"/>
              <a:gd name="connsiteX30" fmla="*/ 305307 w 2427462"/>
              <a:gd name="connsiteY30" fmla="*/ 409105 h 1248656"/>
              <a:gd name="connsiteX31" fmla="*/ 223940 w 2427462"/>
              <a:gd name="connsiteY31" fmla="*/ 511640 h 1248656"/>
              <a:gd name="connsiteX32" fmla="*/ 152136 w 2427462"/>
              <a:gd name="connsiteY32" fmla="*/ 623940 h 1248656"/>
              <a:gd name="connsiteX33" fmla="*/ 152912 w 2427462"/>
              <a:gd name="connsiteY33" fmla="*/ 623940 h 1248656"/>
              <a:gd name="connsiteX34" fmla="*/ 0 w 2427462"/>
              <a:gd name="connsiteY34" fmla="*/ 1212726 h 1248656"/>
              <a:gd name="connsiteX35" fmla="*/ 37740 w 2427462"/>
              <a:gd name="connsiteY35" fmla="*/ 1248627 h 1248656"/>
              <a:gd name="connsiteX36" fmla="*/ 73440 w 2427462"/>
              <a:gd name="connsiteY36" fmla="*/ 1216574 h 1248656"/>
              <a:gd name="connsiteX37" fmla="*/ 429210 w 2427462"/>
              <a:gd name="connsiteY37" fmla="*/ 940764 h 1248656"/>
              <a:gd name="connsiteX38" fmla="*/ 781246 w 2427462"/>
              <a:gd name="connsiteY38" fmla="*/ 1193856 h 1248656"/>
              <a:gd name="connsiteX39" fmla="*/ 816459 w 2427462"/>
              <a:gd name="connsiteY39" fmla="*/ 1222778 h 1248656"/>
              <a:gd name="connsiteX40" fmla="*/ 851671 w 2427462"/>
              <a:gd name="connsiteY40" fmla="*/ 1193856 h 1248656"/>
              <a:gd name="connsiteX41" fmla="*/ 1171281 w 2427462"/>
              <a:gd name="connsiteY41" fmla="*/ 941999 h 1248656"/>
              <a:gd name="connsiteX42" fmla="*/ 1243084 w 2427462"/>
              <a:gd name="connsiteY42" fmla="*/ 942775 h 1248656"/>
              <a:gd name="connsiteX43" fmla="*/ 1559449 w 2427462"/>
              <a:gd name="connsiteY43" fmla="*/ 1216603 h 1248656"/>
              <a:gd name="connsiteX44" fmla="*/ 1595149 w 2427462"/>
              <a:gd name="connsiteY44" fmla="*/ 1248656 h 1248656"/>
              <a:gd name="connsiteX45" fmla="*/ 1606207 w 2427462"/>
              <a:gd name="connsiteY45" fmla="*/ 1248656 h 1248656"/>
              <a:gd name="connsiteX46" fmla="*/ 1641907 w 2427462"/>
              <a:gd name="connsiteY46" fmla="*/ 1216603 h 1248656"/>
              <a:gd name="connsiteX47" fmla="*/ 1997706 w 2427462"/>
              <a:gd name="connsiteY47" fmla="*/ 940793 h 1248656"/>
              <a:gd name="connsiteX48" fmla="*/ 2353447 w 2427462"/>
              <a:gd name="connsiteY48" fmla="*/ 1216603 h 1248656"/>
              <a:gd name="connsiteX49" fmla="*/ 2389148 w 2427462"/>
              <a:gd name="connsiteY49" fmla="*/ 1248656 h 1248656"/>
              <a:gd name="connsiteX50" fmla="*/ 2390986 w 2427462"/>
              <a:gd name="connsiteY50" fmla="*/ 1248656 h 1248656"/>
              <a:gd name="connsiteX51" fmla="*/ 2391560 w 2427462"/>
              <a:gd name="connsiteY51" fmla="*/ 1248656 h 1248656"/>
              <a:gd name="connsiteX52" fmla="*/ 2427462 w 2427462"/>
              <a:gd name="connsiteY52" fmla="*/ 1212755 h 1248656"/>
              <a:gd name="connsiteX53" fmla="*/ 2426859 w 2427462"/>
              <a:gd name="connsiteY53" fmla="*/ 1206235 h 1248656"/>
              <a:gd name="connsiteX54" fmla="*/ 88978 w 2427462"/>
              <a:gd name="connsiteY54" fmla="*/ 1014664 h 1248656"/>
              <a:gd name="connsiteX55" fmla="*/ 920889 w 2427462"/>
              <a:gd name="connsiteY55" fmla="*/ 109256 h 1248656"/>
              <a:gd name="connsiteX56" fmla="*/ 393050 w 2427462"/>
              <a:gd name="connsiteY56" fmla="*/ 870828 h 1248656"/>
              <a:gd name="connsiteX57" fmla="*/ 88978 w 2427462"/>
              <a:gd name="connsiteY57" fmla="*/ 1014664 h 1248656"/>
              <a:gd name="connsiteX58" fmla="*/ 467237 w 2427462"/>
              <a:gd name="connsiteY58" fmla="*/ 870598 h 1248656"/>
              <a:gd name="connsiteX59" fmla="*/ 1122800 w 2427462"/>
              <a:gd name="connsiteY59" fmla="*/ 102276 h 1248656"/>
              <a:gd name="connsiteX60" fmla="*/ 790409 w 2427462"/>
              <a:gd name="connsiteY60" fmla="*/ 1041834 h 1248656"/>
              <a:gd name="connsiteX61" fmla="*/ 467237 w 2427462"/>
              <a:gd name="connsiteY61" fmla="*/ 870598 h 1248656"/>
              <a:gd name="connsiteX62" fmla="*/ 863217 w 2427462"/>
              <a:gd name="connsiteY62" fmla="*/ 1015755 h 1248656"/>
              <a:gd name="connsiteX63" fmla="*/ 1171281 w 2427462"/>
              <a:gd name="connsiteY63" fmla="*/ 156617 h 1248656"/>
              <a:gd name="connsiteX64" fmla="*/ 1171281 w 2427462"/>
              <a:gd name="connsiteY64" fmla="*/ 870081 h 1248656"/>
              <a:gd name="connsiteX65" fmla="*/ 863217 w 2427462"/>
              <a:gd name="connsiteY65" fmla="*/ 1015755 h 1248656"/>
              <a:gd name="connsiteX66" fmla="*/ 1243084 w 2427462"/>
              <a:gd name="connsiteY66" fmla="*/ 870713 h 1248656"/>
              <a:gd name="connsiteX67" fmla="*/ 1243084 w 2427462"/>
              <a:gd name="connsiteY67" fmla="*/ 146048 h 1248656"/>
              <a:gd name="connsiteX68" fmla="*/ 1560368 w 2427462"/>
              <a:gd name="connsiteY68" fmla="*/ 1035085 h 1248656"/>
              <a:gd name="connsiteX69" fmla="*/ 1243084 w 2427462"/>
              <a:gd name="connsiteY69" fmla="*/ 870713 h 1248656"/>
              <a:gd name="connsiteX70" fmla="*/ 1632659 w 2427462"/>
              <a:gd name="connsiteY70" fmla="*/ 1046372 h 1248656"/>
              <a:gd name="connsiteX71" fmla="*/ 1300096 w 2427462"/>
              <a:gd name="connsiteY71" fmla="*/ 102276 h 1248656"/>
              <a:gd name="connsiteX72" fmla="*/ 1955744 w 2427462"/>
              <a:gd name="connsiteY72" fmla="*/ 870972 h 1248656"/>
              <a:gd name="connsiteX73" fmla="*/ 1632659 w 2427462"/>
              <a:gd name="connsiteY73" fmla="*/ 1046372 h 1248656"/>
              <a:gd name="connsiteX74" fmla="*/ 2029759 w 2427462"/>
              <a:gd name="connsiteY74" fmla="*/ 870627 h 1248656"/>
              <a:gd name="connsiteX75" fmla="*/ 1498789 w 2427462"/>
              <a:gd name="connsiteY75" fmla="*/ 107446 h 1248656"/>
              <a:gd name="connsiteX76" fmla="*/ 2337909 w 2427462"/>
              <a:gd name="connsiteY76" fmla="*/ 1014664 h 1248656"/>
              <a:gd name="connsiteX77" fmla="*/ 2029759 w 2427462"/>
              <a:gd name="connsiteY77" fmla="*/ 870627 h 1248656"/>
              <a:gd name="connsiteX0" fmla="*/ 2426859 w 2427462"/>
              <a:gd name="connsiteY0" fmla="*/ 1206235 h 1248656"/>
              <a:gd name="connsiteX1" fmla="*/ 2275440 w 2427462"/>
              <a:gd name="connsiteY1" fmla="*/ 626353 h 1248656"/>
              <a:gd name="connsiteX2" fmla="*/ 2203637 w 2427462"/>
              <a:gd name="connsiteY2" fmla="*/ 417952 h 1248656"/>
              <a:gd name="connsiteX3" fmla="*/ 2203637 w 2427462"/>
              <a:gd name="connsiteY3" fmla="*/ 512617 h 1248656"/>
              <a:gd name="connsiteX4" fmla="*/ 2122988 w 2427462"/>
              <a:gd name="connsiteY4" fmla="*/ 410800 h 1248656"/>
              <a:gd name="connsiteX5" fmla="*/ 2051185 w 2427462"/>
              <a:gd name="connsiteY5" fmla="*/ 254643 h 1248656"/>
              <a:gd name="connsiteX6" fmla="*/ 2051185 w 2427462"/>
              <a:gd name="connsiteY6" fmla="*/ 336096 h 1248656"/>
              <a:gd name="connsiteX7" fmla="*/ 1956204 w 2427462"/>
              <a:gd name="connsiteY7" fmla="*/ 254183 h 1248656"/>
              <a:gd name="connsiteX8" fmla="*/ 1884401 w 2427462"/>
              <a:gd name="connsiteY8" fmla="*/ 125914 h 1248656"/>
              <a:gd name="connsiteX9" fmla="*/ 1884401 w 2427462"/>
              <a:gd name="connsiteY9" fmla="*/ 202226 h 1248656"/>
              <a:gd name="connsiteX10" fmla="*/ 1814350 w 2427462"/>
              <a:gd name="connsiteY10" fmla="*/ 159144 h 1248656"/>
              <a:gd name="connsiteX11" fmla="*/ 1742546 w 2427462"/>
              <a:gd name="connsiteY11" fmla="*/ 73239 h 1248656"/>
              <a:gd name="connsiteX12" fmla="*/ 1742546 w 2427462"/>
              <a:gd name="connsiteY12" fmla="*/ 120916 h 1248656"/>
              <a:gd name="connsiteX13" fmla="*/ 1684616 w 2427462"/>
              <a:gd name="connsiteY13" fmla="*/ 94493 h 1248656"/>
              <a:gd name="connsiteX14" fmla="*/ 1612813 w 2427462"/>
              <a:gd name="connsiteY14" fmla="*/ 39664 h 1248656"/>
              <a:gd name="connsiteX15" fmla="*/ 1612813 w 2427462"/>
              <a:gd name="connsiteY15" fmla="*/ 67093 h 1248656"/>
              <a:gd name="connsiteX16" fmla="*/ 1543795 w 2427462"/>
              <a:gd name="connsiteY16" fmla="*/ 45351 h 1248656"/>
              <a:gd name="connsiteX17" fmla="*/ 1471992 w 2427462"/>
              <a:gd name="connsiteY17" fmla="*/ 27257 h 1248656"/>
              <a:gd name="connsiteX18" fmla="*/ 1243084 w 2427462"/>
              <a:gd name="connsiteY18" fmla="*/ 0 h 1248656"/>
              <a:gd name="connsiteX19" fmla="*/ 1171281 w 2427462"/>
              <a:gd name="connsiteY19" fmla="*/ 316 h 1248656"/>
              <a:gd name="connsiteX20" fmla="*/ 958973 w 2427462"/>
              <a:gd name="connsiteY20" fmla="*/ 26309 h 1248656"/>
              <a:gd name="connsiteX21" fmla="*/ 887170 w 2427462"/>
              <a:gd name="connsiteY21" fmla="*/ 44173 h 1248656"/>
              <a:gd name="connsiteX22" fmla="*/ 817493 w 2427462"/>
              <a:gd name="connsiteY22" fmla="*/ 65944 h 1248656"/>
              <a:gd name="connsiteX23" fmla="*/ 745690 w 2427462"/>
              <a:gd name="connsiteY23" fmla="*/ 93143 h 1248656"/>
              <a:gd name="connsiteX24" fmla="*/ 687156 w 2427462"/>
              <a:gd name="connsiteY24" fmla="*/ 119452 h 1248656"/>
              <a:gd name="connsiteX25" fmla="*/ 615353 w 2427462"/>
              <a:gd name="connsiteY25" fmla="*/ 157536 h 1248656"/>
              <a:gd name="connsiteX26" fmla="*/ 544641 w 2427462"/>
              <a:gd name="connsiteY26" fmla="*/ 200905 h 1248656"/>
              <a:gd name="connsiteX27" fmla="*/ 472838 w 2427462"/>
              <a:gd name="connsiteY27" fmla="*/ 252460 h 1248656"/>
              <a:gd name="connsiteX28" fmla="*/ 377110 w 2427462"/>
              <a:gd name="connsiteY28" fmla="*/ 334746 h 1248656"/>
              <a:gd name="connsiteX29" fmla="*/ 305307 w 2427462"/>
              <a:gd name="connsiteY29" fmla="*/ 409105 h 1248656"/>
              <a:gd name="connsiteX30" fmla="*/ 223940 w 2427462"/>
              <a:gd name="connsiteY30" fmla="*/ 511640 h 1248656"/>
              <a:gd name="connsiteX31" fmla="*/ 152136 w 2427462"/>
              <a:gd name="connsiteY31" fmla="*/ 623940 h 1248656"/>
              <a:gd name="connsiteX32" fmla="*/ 152912 w 2427462"/>
              <a:gd name="connsiteY32" fmla="*/ 623940 h 1248656"/>
              <a:gd name="connsiteX33" fmla="*/ 0 w 2427462"/>
              <a:gd name="connsiteY33" fmla="*/ 1212726 h 1248656"/>
              <a:gd name="connsiteX34" fmla="*/ 37740 w 2427462"/>
              <a:gd name="connsiteY34" fmla="*/ 1248627 h 1248656"/>
              <a:gd name="connsiteX35" fmla="*/ 73440 w 2427462"/>
              <a:gd name="connsiteY35" fmla="*/ 1216574 h 1248656"/>
              <a:gd name="connsiteX36" fmla="*/ 429210 w 2427462"/>
              <a:gd name="connsiteY36" fmla="*/ 940764 h 1248656"/>
              <a:gd name="connsiteX37" fmla="*/ 781246 w 2427462"/>
              <a:gd name="connsiteY37" fmla="*/ 1193856 h 1248656"/>
              <a:gd name="connsiteX38" fmla="*/ 816459 w 2427462"/>
              <a:gd name="connsiteY38" fmla="*/ 1222778 h 1248656"/>
              <a:gd name="connsiteX39" fmla="*/ 851671 w 2427462"/>
              <a:gd name="connsiteY39" fmla="*/ 1193856 h 1248656"/>
              <a:gd name="connsiteX40" fmla="*/ 1171281 w 2427462"/>
              <a:gd name="connsiteY40" fmla="*/ 941999 h 1248656"/>
              <a:gd name="connsiteX41" fmla="*/ 1243084 w 2427462"/>
              <a:gd name="connsiteY41" fmla="*/ 942775 h 1248656"/>
              <a:gd name="connsiteX42" fmla="*/ 1559449 w 2427462"/>
              <a:gd name="connsiteY42" fmla="*/ 1216603 h 1248656"/>
              <a:gd name="connsiteX43" fmla="*/ 1595149 w 2427462"/>
              <a:gd name="connsiteY43" fmla="*/ 1248656 h 1248656"/>
              <a:gd name="connsiteX44" fmla="*/ 1606207 w 2427462"/>
              <a:gd name="connsiteY44" fmla="*/ 1248656 h 1248656"/>
              <a:gd name="connsiteX45" fmla="*/ 1641907 w 2427462"/>
              <a:gd name="connsiteY45" fmla="*/ 1216603 h 1248656"/>
              <a:gd name="connsiteX46" fmla="*/ 1997706 w 2427462"/>
              <a:gd name="connsiteY46" fmla="*/ 940793 h 1248656"/>
              <a:gd name="connsiteX47" fmla="*/ 2353447 w 2427462"/>
              <a:gd name="connsiteY47" fmla="*/ 1216603 h 1248656"/>
              <a:gd name="connsiteX48" fmla="*/ 2389148 w 2427462"/>
              <a:gd name="connsiteY48" fmla="*/ 1248656 h 1248656"/>
              <a:gd name="connsiteX49" fmla="*/ 2390986 w 2427462"/>
              <a:gd name="connsiteY49" fmla="*/ 1248656 h 1248656"/>
              <a:gd name="connsiteX50" fmla="*/ 2391560 w 2427462"/>
              <a:gd name="connsiteY50" fmla="*/ 1248656 h 1248656"/>
              <a:gd name="connsiteX51" fmla="*/ 2427462 w 2427462"/>
              <a:gd name="connsiteY51" fmla="*/ 1212755 h 1248656"/>
              <a:gd name="connsiteX52" fmla="*/ 2426859 w 2427462"/>
              <a:gd name="connsiteY52" fmla="*/ 1206235 h 1248656"/>
              <a:gd name="connsiteX53" fmla="*/ 88978 w 2427462"/>
              <a:gd name="connsiteY53" fmla="*/ 1014664 h 1248656"/>
              <a:gd name="connsiteX54" fmla="*/ 920889 w 2427462"/>
              <a:gd name="connsiteY54" fmla="*/ 109256 h 1248656"/>
              <a:gd name="connsiteX55" fmla="*/ 393050 w 2427462"/>
              <a:gd name="connsiteY55" fmla="*/ 870828 h 1248656"/>
              <a:gd name="connsiteX56" fmla="*/ 88978 w 2427462"/>
              <a:gd name="connsiteY56" fmla="*/ 1014664 h 1248656"/>
              <a:gd name="connsiteX57" fmla="*/ 467237 w 2427462"/>
              <a:gd name="connsiteY57" fmla="*/ 870598 h 1248656"/>
              <a:gd name="connsiteX58" fmla="*/ 1122800 w 2427462"/>
              <a:gd name="connsiteY58" fmla="*/ 102276 h 1248656"/>
              <a:gd name="connsiteX59" fmla="*/ 790409 w 2427462"/>
              <a:gd name="connsiteY59" fmla="*/ 1041834 h 1248656"/>
              <a:gd name="connsiteX60" fmla="*/ 467237 w 2427462"/>
              <a:gd name="connsiteY60" fmla="*/ 870598 h 1248656"/>
              <a:gd name="connsiteX61" fmla="*/ 863217 w 2427462"/>
              <a:gd name="connsiteY61" fmla="*/ 1015755 h 1248656"/>
              <a:gd name="connsiteX62" fmla="*/ 1171281 w 2427462"/>
              <a:gd name="connsiteY62" fmla="*/ 156617 h 1248656"/>
              <a:gd name="connsiteX63" fmla="*/ 1171281 w 2427462"/>
              <a:gd name="connsiteY63" fmla="*/ 870081 h 1248656"/>
              <a:gd name="connsiteX64" fmla="*/ 863217 w 2427462"/>
              <a:gd name="connsiteY64" fmla="*/ 1015755 h 1248656"/>
              <a:gd name="connsiteX65" fmla="*/ 1243084 w 2427462"/>
              <a:gd name="connsiteY65" fmla="*/ 870713 h 1248656"/>
              <a:gd name="connsiteX66" fmla="*/ 1243084 w 2427462"/>
              <a:gd name="connsiteY66" fmla="*/ 146048 h 1248656"/>
              <a:gd name="connsiteX67" fmla="*/ 1560368 w 2427462"/>
              <a:gd name="connsiteY67" fmla="*/ 1035085 h 1248656"/>
              <a:gd name="connsiteX68" fmla="*/ 1243084 w 2427462"/>
              <a:gd name="connsiteY68" fmla="*/ 870713 h 1248656"/>
              <a:gd name="connsiteX69" fmla="*/ 1632659 w 2427462"/>
              <a:gd name="connsiteY69" fmla="*/ 1046372 h 1248656"/>
              <a:gd name="connsiteX70" fmla="*/ 1300096 w 2427462"/>
              <a:gd name="connsiteY70" fmla="*/ 102276 h 1248656"/>
              <a:gd name="connsiteX71" fmla="*/ 1955744 w 2427462"/>
              <a:gd name="connsiteY71" fmla="*/ 870972 h 1248656"/>
              <a:gd name="connsiteX72" fmla="*/ 1632659 w 2427462"/>
              <a:gd name="connsiteY72" fmla="*/ 1046372 h 1248656"/>
              <a:gd name="connsiteX73" fmla="*/ 2029759 w 2427462"/>
              <a:gd name="connsiteY73" fmla="*/ 870627 h 1248656"/>
              <a:gd name="connsiteX74" fmla="*/ 1498789 w 2427462"/>
              <a:gd name="connsiteY74" fmla="*/ 107446 h 1248656"/>
              <a:gd name="connsiteX75" fmla="*/ 2337909 w 2427462"/>
              <a:gd name="connsiteY75" fmla="*/ 1014664 h 1248656"/>
              <a:gd name="connsiteX76" fmla="*/ 2029759 w 2427462"/>
              <a:gd name="connsiteY76" fmla="*/ 870627 h 1248656"/>
              <a:gd name="connsiteX0" fmla="*/ 2426859 w 2427462"/>
              <a:gd name="connsiteY0" fmla="*/ 1206235 h 1248656"/>
              <a:gd name="connsiteX1" fmla="*/ 2275440 w 2427462"/>
              <a:gd name="connsiteY1" fmla="*/ 626353 h 1248656"/>
              <a:gd name="connsiteX2" fmla="*/ 2203637 w 2427462"/>
              <a:gd name="connsiteY2" fmla="*/ 512617 h 1248656"/>
              <a:gd name="connsiteX3" fmla="*/ 2122988 w 2427462"/>
              <a:gd name="connsiteY3" fmla="*/ 410800 h 1248656"/>
              <a:gd name="connsiteX4" fmla="*/ 2051185 w 2427462"/>
              <a:gd name="connsiteY4" fmla="*/ 254643 h 1248656"/>
              <a:gd name="connsiteX5" fmla="*/ 2051185 w 2427462"/>
              <a:gd name="connsiteY5" fmla="*/ 336096 h 1248656"/>
              <a:gd name="connsiteX6" fmla="*/ 1956204 w 2427462"/>
              <a:gd name="connsiteY6" fmla="*/ 254183 h 1248656"/>
              <a:gd name="connsiteX7" fmla="*/ 1884401 w 2427462"/>
              <a:gd name="connsiteY7" fmla="*/ 125914 h 1248656"/>
              <a:gd name="connsiteX8" fmla="*/ 1884401 w 2427462"/>
              <a:gd name="connsiteY8" fmla="*/ 202226 h 1248656"/>
              <a:gd name="connsiteX9" fmla="*/ 1814350 w 2427462"/>
              <a:gd name="connsiteY9" fmla="*/ 159144 h 1248656"/>
              <a:gd name="connsiteX10" fmla="*/ 1742546 w 2427462"/>
              <a:gd name="connsiteY10" fmla="*/ 73239 h 1248656"/>
              <a:gd name="connsiteX11" fmla="*/ 1742546 w 2427462"/>
              <a:gd name="connsiteY11" fmla="*/ 120916 h 1248656"/>
              <a:gd name="connsiteX12" fmla="*/ 1684616 w 2427462"/>
              <a:gd name="connsiteY12" fmla="*/ 94493 h 1248656"/>
              <a:gd name="connsiteX13" fmla="*/ 1612813 w 2427462"/>
              <a:gd name="connsiteY13" fmla="*/ 39664 h 1248656"/>
              <a:gd name="connsiteX14" fmla="*/ 1612813 w 2427462"/>
              <a:gd name="connsiteY14" fmla="*/ 67093 h 1248656"/>
              <a:gd name="connsiteX15" fmla="*/ 1543795 w 2427462"/>
              <a:gd name="connsiteY15" fmla="*/ 45351 h 1248656"/>
              <a:gd name="connsiteX16" fmla="*/ 1471992 w 2427462"/>
              <a:gd name="connsiteY16" fmla="*/ 27257 h 1248656"/>
              <a:gd name="connsiteX17" fmla="*/ 1243084 w 2427462"/>
              <a:gd name="connsiteY17" fmla="*/ 0 h 1248656"/>
              <a:gd name="connsiteX18" fmla="*/ 1171281 w 2427462"/>
              <a:gd name="connsiteY18" fmla="*/ 316 h 1248656"/>
              <a:gd name="connsiteX19" fmla="*/ 958973 w 2427462"/>
              <a:gd name="connsiteY19" fmla="*/ 26309 h 1248656"/>
              <a:gd name="connsiteX20" fmla="*/ 887170 w 2427462"/>
              <a:gd name="connsiteY20" fmla="*/ 44173 h 1248656"/>
              <a:gd name="connsiteX21" fmla="*/ 817493 w 2427462"/>
              <a:gd name="connsiteY21" fmla="*/ 65944 h 1248656"/>
              <a:gd name="connsiteX22" fmla="*/ 745690 w 2427462"/>
              <a:gd name="connsiteY22" fmla="*/ 93143 h 1248656"/>
              <a:gd name="connsiteX23" fmla="*/ 687156 w 2427462"/>
              <a:gd name="connsiteY23" fmla="*/ 119452 h 1248656"/>
              <a:gd name="connsiteX24" fmla="*/ 615353 w 2427462"/>
              <a:gd name="connsiteY24" fmla="*/ 157536 h 1248656"/>
              <a:gd name="connsiteX25" fmla="*/ 544641 w 2427462"/>
              <a:gd name="connsiteY25" fmla="*/ 200905 h 1248656"/>
              <a:gd name="connsiteX26" fmla="*/ 472838 w 2427462"/>
              <a:gd name="connsiteY26" fmla="*/ 252460 h 1248656"/>
              <a:gd name="connsiteX27" fmla="*/ 377110 w 2427462"/>
              <a:gd name="connsiteY27" fmla="*/ 334746 h 1248656"/>
              <a:gd name="connsiteX28" fmla="*/ 305307 w 2427462"/>
              <a:gd name="connsiteY28" fmla="*/ 409105 h 1248656"/>
              <a:gd name="connsiteX29" fmla="*/ 223940 w 2427462"/>
              <a:gd name="connsiteY29" fmla="*/ 511640 h 1248656"/>
              <a:gd name="connsiteX30" fmla="*/ 152136 w 2427462"/>
              <a:gd name="connsiteY30" fmla="*/ 623940 h 1248656"/>
              <a:gd name="connsiteX31" fmla="*/ 152912 w 2427462"/>
              <a:gd name="connsiteY31" fmla="*/ 623940 h 1248656"/>
              <a:gd name="connsiteX32" fmla="*/ 0 w 2427462"/>
              <a:gd name="connsiteY32" fmla="*/ 1212726 h 1248656"/>
              <a:gd name="connsiteX33" fmla="*/ 37740 w 2427462"/>
              <a:gd name="connsiteY33" fmla="*/ 1248627 h 1248656"/>
              <a:gd name="connsiteX34" fmla="*/ 73440 w 2427462"/>
              <a:gd name="connsiteY34" fmla="*/ 1216574 h 1248656"/>
              <a:gd name="connsiteX35" fmla="*/ 429210 w 2427462"/>
              <a:gd name="connsiteY35" fmla="*/ 940764 h 1248656"/>
              <a:gd name="connsiteX36" fmla="*/ 781246 w 2427462"/>
              <a:gd name="connsiteY36" fmla="*/ 1193856 h 1248656"/>
              <a:gd name="connsiteX37" fmla="*/ 816459 w 2427462"/>
              <a:gd name="connsiteY37" fmla="*/ 1222778 h 1248656"/>
              <a:gd name="connsiteX38" fmla="*/ 851671 w 2427462"/>
              <a:gd name="connsiteY38" fmla="*/ 1193856 h 1248656"/>
              <a:gd name="connsiteX39" fmla="*/ 1171281 w 2427462"/>
              <a:gd name="connsiteY39" fmla="*/ 941999 h 1248656"/>
              <a:gd name="connsiteX40" fmla="*/ 1243084 w 2427462"/>
              <a:gd name="connsiteY40" fmla="*/ 942775 h 1248656"/>
              <a:gd name="connsiteX41" fmla="*/ 1559449 w 2427462"/>
              <a:gd name="connsiteY41" fmla="*/ 1216603 h 1248656"/>
              <a:gd name="connsiteX42" fmla="*/ 1595149 w 2427462"/>
              <a:gd name="connsiteY42" fmla="*/ 1248656 h 1248656"/>
              <a:gd name="connsiteX43" fmla="*/ 1606207 w 2427462"/>
              <a:gd name="connsiteY43" fmla="*/ 1248656 h 1248656"/>
              <a:gd name="connsiteX44" fmla="*/ 1641907 w 2427462"/>
              <a:gd name="connsiteY44" fmla="*/ 1216603 h 1248656"/>
              <a:gd name="connsiteX45" fmla="*/ 1997706 w 2427462"/>
              <a:gd name="connsiteY45" fmla="*/ 940793 h 1248656"/>
              <a:gd name="connsiteX46" fmla="*/ 2353447 w 2427462"/>
              <a:gd name="connsiteY46" fmla="*/ 1216603 h 1248656"/>
              <a:gd name="connsiteX47" fmla="*/ 2389148 w 2427462"/>
              <a:gd name="connsiteY47" fmla="*/ 1248656 h 1248656"/>
              <a:gd name="connsiteX48" fmla="*/ 2390986 w 2427462"/>
              <a:gd name="connsiteY48" fmla="*/ 1248656 h 1248656"/>
              <a:gd name="connsiteX49" fmla="*/ 2391560 w 2427462"/>
              <a:gd name="connsiteY49" fmla="*/ 1248656 h 1248656"/>
              <a:gd name="connsiteX50" fmla="*/ 2427462 w 2427462"/>
              <a:gd name="connsiteY50" fmla="*/ 1212755 h 1248656"/>
              <a:gd name="connsiteX51" fmla="*/ 2426859 w 2427462"/>
              <a:gd name="connsiteY51" fmla="*/ 1206235 h 1248656"/>
              <a:gd name="connsiteX52" fmla="*/ 88978 w 2427462"/>
              <a:gd name="connsiteY52" fmla="*/ 1014664 h 1248656"/>
              <a:gd name="connsiteX53" fmla="*/ 920889 w 2427462"/>
              <a:gd name="connsiteY53" fmla="*/ 109256 h 1248656"/>
              <a:gd name="connsiteX54" fmla="*/ 393050 w 2427462"/>
              <a:gd name="connsiteY54" fmla="*/ 870828 h 1248656"/>
              <a:gd name="connsiteX55" fmla="*/ 88978 w 2427462"/>
              <a:gd name="connsiteY55" fmla="*/ 1014664 h 1248656"/>
              <a:gd name="connsiteX56" fmla="*/ 467237 w 2427462"/>
              <a:gd name="connsiteY56" fmla="*/ 870598 h 1248656"/>
              <a:gd name="connsiteX57" fmla="*/ 1122800 w 2427462"/>
              <a:gd name="connsiteY57" fmla="*/ 102276 h 1248656"/>
              <a:gd name="connsiteX58" fmla="*/ 790409 w 2427462"/>
              <a:gd name="connsiteY58" fmla="*/ 1041834 h 1248656"/>
              <a:gd name="connsiteX59" fmla="*/ 467237 w 2427462"/>
              <a:gd name="connsiteY59" fmla="*/ 870598 h 1248656"/>
              <a:gd name="connsiteX60" fmla="*/ 863217 w 2427462"/>
              <a:gd name="connsiteY60" fmla="*/ 1015755 h 1248656"/>
              <a:gd name="connsiteX61" fmla="*/ 1171281 w 2427462"/>
              <a:gd name="connsiteY61" fmla="*/ 156617 h 1248656"/>
              <a:gd name="connsiteX62" fmla="*/ 1171281 w 2427462"/>
              <a:gd name="connsiteY62" fmla="*/ 870081 h 1248656"/>
              <a:gd name="connsiteX63" fmla="*/ 863217 w 2427462"/>
              <a:gd name="connsiteY63" fmla="*/ 1015755 h 1248656"/>
              <a:gd name="connsiteX64" fmla="*/ 1243084 w 2427462"/>
              <a:gd name="connsiteY64" fmla="*/ 870713 h 1248656"/>
              <a:gd name="connsiteX65" fmla="*/ 1243084 w 2427462"/>
              <a:gd name="connsiteY65" fmla="*/ 146048 h 1248656"/>
              <a:gd name="connsiteX66" fmla="*/ 1560368 w 2427462"/>
              <a:gd name="connsiteY66" fmla="*/ 1035085 h 1248656"/>
              <a:gd name="connsiteX67" fmla="*/ 1243084 w 2427462"/>
              <a:gd name="connsiteY67" fmla="*/ 870713 h 1248656"/>
              <a:gd name="connsiteX68" fmla="*/ 1632659 w 2427462"/>
              <a:gd name="connsiteY68" fmla="*/ 1046372 h 1248656"/>
              <a:gd name="connsiteX69" fmla="*/ 1300096 w 2427462"/>
              <a:gd name="connsiteY69" fmla="*/ 102276 h 1248656"/>
              <a:gd name="connsiteX70" fmla="*/ 1955744 w 2427462"/>
              <a:gd name="connsiteY70" fmla="*/ 870972 h 1248656"/>
              <a:gd name="connsiteX71" fmla="*/ 1632659 w 2427462"/>
              <a:gd name="connsiteY71" fmla="*/ 1046372 h 1248656"/>
              <a:gd name="connsiteX72" fmla="*/ 2029759 w 2427462"/>
              <a:gd name="connsiteY72" fmla="*/ 870627 h 1248656"/>
              <a:gd name="connsiteX73" fmla="*/ 1498789 w 2427462"/>
              <a:gd name="connsiteY73" fmla="*/ 107446 h 1248656"/>
              <a:gd name="connsiteX74" fmla="*/ 2337909 w 2427462"/>
              <a:gd name="connsiteY74" fmla="*/ 1014664 h 1248656"/>
              <a:gd name="connsiteX75" fmla="*/ 2029759 w 2427462"/>
              <a:gd name="connsiteY75" fmla="*/ 870627 h 1248656"/>
              <a:gd name="connsiteX0" fmla="*/ 2426859 w 2427462"/>
              <a:gd name="connsiteY0" fmla="*/ 1206235 h 1248656"/>
              <a:gd name="connsiteX1" fmla="*/ 2275440 w 2427462"/>
              <a:gd name="connsiteY1" fmla="*/ 626353 h 1248656"/>
              <a:gd name="connsiteX2" fmla="*/ 2203637 w 2427462"/>
              <a:gd name="connsiteY2" fmla="*/ 512617 h 1248656"/>
              <a:gd name="connsiteX3" fmla="*/ 2122988 w 2427462"/>
              <a:gd name="connsiteY3" fmla="*/ 410800 h 1248656"/>
              <a:gd name="connsiteX4" fmla="*/ 2051185 w 2427462"/>
              <a:gd name="connsiteY4" fmla="*/ 336096 h 1248656"/>
              <a:gd name="connsiteX5" fmla="*/ 1956204 w 2427462"/>
              <a:gd name="connsiteY5" fmla="*/ 254183 h 1248656"/>
              <a:gd name="connsiteX6" fmla="*/ 1884401 w 2427462"/>
              <a:gd name="connsiteY6" fmla="*/ 125914 h 1248656"/>
              <a:gd name="connsiteX7" fmla="*/ 1884401 w 2427462"/>
              <a:gd name="connsiteY7" fmla="*/ 202226 h 1248656"/>
              <a:gd name="connsiteX8" fmla="*/ 1814350 w 2427462"/>
              <a:gd name="connsiteY8" fmla="*/ 159144 h 1248656"/>
              <a:gd name="connsiteX9" fmla="*/ 1742546 w 2427462"/>
              <a:gd name="connsiteY9" fmla="*/ 73239 h 1248656"/>
              <a:gd name="connsiteX10" fmla="*/ 1742546 w 2427462"/>
              <a:gd name="connsiteY10" fmla="*/ 120916 h 1248656"/>
              <a:gd name="connsiteX11" fmla="*/ 1684616 w 2427462"/>
              <a:gd name="connsiteY11" fmla="*/ 94493 h 1248656"/>
              <a:gd name="connsiteX12" fmla="*/ 1612813 w 2427462"/>
              <a:gd name="connsiteY12" fmla="*/ 39664 h 1248656"/>
              <a:gd name="connsiteX13" fmla="*/ 1612813 w 2427462"/>
              <a:gd name="connsiteY13" fmla="*/ 67093 h 1248656"/>
              <a:gd name="connsiteX14" fmla="*/ 1543795 w 2427462"/>
              <a:gd name="connsiteY14" fmla="*/ 45351 h 1248656"/>
              <a:gd name="connsiteX15" fmla="*/ 1471992 w 2427462"/>
              <a:gd name="connsiteY15" fmla="*/ 27257 h 1248656"/>
              <a:gd name="connsiteX16" fmla="*/ 1243084 w 2427462"/>
              <a:gd name="connsiteY16" fmla="*/ 0 h 1248656"/>
              <a:gd name="connsiteX17" fmla="*/ 1171281 w 2427462"/>
              <a:gd name="connsiteY17" fmla="*/ 316 h 1248656"/>
              <a:gd name="connsiteX18" fmla="*/ 958973 w 2427462"/>
              <a:gd name="connsiteY18" fmla="*/ 26309 h 1248656"/>
              <a:gd name="connsiteX19" fmla="*/ 887170 w 2427462"/>
              <a:gd name="connsiteY19" fmla="*/ 44173 h 1248656"/>
              <a:gd name="connsiteX20" fmla="*/ 817493 w 2427462"/>
              <a:gd name="connsiteY20" fmla="*/ 65944 h 1248656"/>
              <a:gd name="connsiteX21" fmla="*/ 745690 w 2427462"/>
              <a:gd name="connsiteY21" fmla="*/ 93143 h 1248656"/>
              <a:gd name="connsiteX22" fmla="*/ 687156 w 2427462"/>
              <a:gd name="connsiteY22" fmla="*/ 119452 h 1248656"/>
              <a:gd name="connsiteX23" fmla="*/ 615353 w 2427462"/>
              <a:gd name="connsiteY23" fmla="*/ 157536 h 1248656"/>
              <a:gd name="connsiteX24" fmla="*/ 544641 w 2427462"/>
              <a:gd name="connsiteY24" fmla="*/ 200905 h 1248656"/>
              <a:gd name="connsiteX25" fmla="*/ 472838 w 2427462"/>
              <a:gd name="connsiteY25" fmla="*/ 252460 h 1248656"/>
              <a:gd name="connsiteX26" fmla="*/ 377110 w 2427462"/>
              <a:gd name="connsiteY26" fmla="*/ 334746 h 1248656"/>
              <a:gd name="connsiteX27" fmla="*/ 305307 w 2427462"/>
              <a:gd name="connsiteY27" fmla="*/ 409105 h 1248656"/>
              <a:gd name="connsiteX28" fmla="*/ 223940 w 2427462"/>
              <a:gd name="connsiteY28" fmla="*/ 511640 h 1248656"/>
              <a:gd name="connsiteX29" fmla="*/ 152136 w 2427462"/>
              <a:gd name="connsiteY29" fmla="*/ 623940 h 1248656"/>
              <a:gd name="connsiteX30" fmla="*/ 152912 w 2427462"/>
              <a:gd name="connsiteY30" fmla="*/ 623940 h 1248656"/>
              <a:gd name="connsiteX31" fmla="*/ 0 w 2427462"/>
              <a:gd name="connsiteY31" fmla="*/ 1212726 h 1248656"/>
              <a:gd name="connsiteX32" fmla="*/ 37740 w 2427462"/>
              <a:gd name="connsiteY32" fmla="*/ 1248627 h 1248656"/>
              <a:gd name="connsiteX33" fmla="*/ 73440 w 2427462"/>
              <a:gd name="connsiteY33" fmla="*/ 1216574 h 1248656"/>
              <a:gd name="connsiteX34" fmla="*/ 429210 w 2427462"/>
              <a:gd name="connsiteY34" fmla="*/ 940764 h 1248656"/>
              <a:gd name="connsiteX35" fmla="*/ 781246 w 2427462"/>
              <a:gd name="connsiteY35" fmla="*/ 1193856 h 1248656"/>
              <a:gd name="connsiteX36" fmla="*/ 816459 w 2427462"/>
              <a:gd name="connsiteY36" fmla="*/ 1222778 h 1248656"/>
              <a:gd name="connsiteX37" fmla="*/ 851671 w 2427462"/>
              <a:gd name="connsiteY37" fmla="*/ 1193856 h 1248656"/>
              <a:gd name="connsiteX38" fmla="*/ 1171281 w 2427462"/>
              <a:gd name="connsiteY38" fmla="*/ 941999 h 1248656"/>
              <a:gd name="connsiteX39" fmla="*/ 1243084 w 2427462"/>
              <a:gd name="connsiteY39" fmla="*/ 942775 h 1248656"/>
              <a:gd name="connsiteX40" fmla="*/ 1559449 w 2427462"/>
              <a:gd name="connsiteY40" fmla="*/ 1216603 h 1248656"/>
              <a:gd name="connsiteX41" fmla="*/ 1595149 w 2427462"/>
              <a:gd name="connsiteY41" fmla="*/ 1248656 h 1248656"/>
              <a:gd name="connsiteX42" fmla="*/ 1606207 w 2427462"/>
              <a:gd name="connsiteY42" fmla="*/ 1248656 h 1248656"/>
              <a:gd name="connsiteX43" fmla="*/ 1641907 w 2427462"/>
              <a:gd name="connsiteY43" fmla="*/ 1216603 h 1248656"/>
              <a:gd name="connsiteX44" fmla="*/ 1997706 w 2427462"/>
              <a:gd name="connsiteY44" fmla="*/ 940793 h 1248656"/>
              <a:gd name="connsiteX45" fmla="*/ 2353447 w 2427462"/>
              <a:gd name="connsiteY45" fmla="*/ 1216603 h 1248656"/>
              <a:gd name="connsiteX46" fmla="*/ 2389148 w 2427462"/>
              <a:gd name="connsiteY46" fmla="*/ 1248656 h 1248656"/>
              <a:gd name="connsiteX47" fmla="*/ 2390986 w 2427462"/>
              <a:gd name="connsiteY47" fmla="*/ 1248656 h 1248656"/>
              <a:gd name="connsiteX48" fmla="*/ 2391560 w 2427462"/>
              <a:gd name="connsiteY48" fmla="*/ 1248656 h 1248656"/>
              <a:gd name="connsiteX49" fmla="*/ 2427462 w 2427462"/>
              <a:gd name="connsiteY49" fmla="*/ 1212755 h 1248656"/>
              <a:gd name="connsiteX50" fmla="*/ 2426859 w 2427462"/>
              <a:gd name="connsiteY50" fmla="*/ 1206235 h 1248656"/>
              <a:gd name="connsiteX51" fmla="*/ 88978 w 2427462"/>
              <a:gd name="connsiteY51" fmla="*/ 1014664 h 1248656"/>
              <a:gd name="connsiteX52" fmla="*/ 920889 w 2427462"/>
              <a:gd name="connsiteY52" fmla="*/ 109256 h 1248656"/>
              <a:gd name="connsiteX53" fmla="*/ 393050 w 2427462"/>
              <a:gd name="connsiteY53" fmla="*/ 870828 h 1248656"/>
              <a:gd name="connsiteX54" fmla="*/ 88978 w 2427462"/>
              <a:gd name="connsiteY54" fmla="*/ 1014664 h 1248656"/>
              <a:gd name="connsiteX55" fmla="*/ 467237 w 2427462"/>
              <a:gd name="connsiteY55" fmla="*/ 870598 h 1248656"/>
              <a:gd name="connsiteX56" fmla="*/ 1122800 w 2427462"/>
              <a:gd name="connsiteY56" fmla="*/ 102276 h 1248656"/>
              <a:gd name="connsiteX57" fmla="*/ 790409 w 2427462"/>
              <a:gd name="connsiteY57" fmla="*/ 1041834 h 1248656"/>
              <a:gd name="connsiteX58" fmla="*/ 467237 w 2427462"/>
              <a:gd name="connsiteY58" fmla="*/ 870598 h 1248656"/>
              <a:gd name="connsiteX59" fmla="*/ 863217 w 2427462"/>
              <a:gd name="connsiteY59" fmla="*/ 1015755 h 1248656"/>
              <a:gd name="connsiteX60" fmla="*/ 1171281 w 2427462"/>
              <a:gd name="connsiteY60" fmla="*/ 156617 h 1248656"/>
              <a:gd name="connsiteX61" fmla="*/ 1171281 w 2427462"/>
              <a:gd name="connsiteY61" fmla="*/ 870081 h 1248656"/>
              <a:gd name="connsiteX62" fmla="*/ 863217 w 2427462"/>
              <a:gd name="connsiteY62" fmla="*/ 1015755 h 1248656"/>
              <a:gd name="connsiteX63" fmla="*/ 1243084 w 2427462"/>
              <a:gd name="connsiteY63" fmla="*/ 870713 h 1248656"/>
              <a:gd name="connsiteX64" fmla="*/ 1243084 w 2427462"/>
              <a:gd name="connsiteY64" fmla="*/ 146048 h 1248656"/>
              <a:gd name="connsiteX65" fmla="*/ 1560368 w 2427462"/>
              <a:gd name="connsiteY65" fmla="*/ 1035085 h 1248656"/>
              <a:gd name="connsiteX66" fmla="*/ 1243084 w 2427462"/>
              <a:gd name="connsiteY66" fmla="*/ 870713 h 1248656"/>
              <a:gd name="connsiteX67" fmla="*/ 1632659 w 2427462"/>
              <a:gd name="connsiteY67" fmla="*/ 1046372 h 1248656"/>
              <a:gd name="connsiteX68" fmla="*/ 1300096 w 2427462"/>
              <a:gd name="connsiteY68" fmla="*/ 102276 h 1248656"/>
              <a:gd name="connsiteX69" fmla="*/ 1955744 w 2427462"/>
              <a:gd name="connsiteY69" fmla="*/ 870972 h 1248656"/>
              <a:gd name="connsiteX70" fmla="*/ 1632659 w 2427462"/>
              <a:gd name="connsiteY70" fmla="*/ 1046372 h 1248656"/>
              <a:gd name="connsiteX71" fmla="*/ 2029759 w 2427462"/>
              <a:gd name="connsiteY71" fmla="*/ 870627 h 1248656"/>
              <a:gd name="connsiteX72" fmla="*/ 1498789 w 2427462"/>
              <a:gd name="connsiteY72" fmla="*/ 107446 h 1248656"/>
              <a:gd name="connsiteX73" fmla="*/ 2337909 w 2427462"/>
              <a:gd name="connsiteY73" fmla="*/ 1014664 h 1248656"/>
              <a:gd name="connsiteX74" fmla="*/ 2029759 w 2427462"/>
              <a:gd name="connsiteY74" fmla="*/ 870627 h 1248656"/>
              <a:gd name="connsiteX0" fmla="*/ 2426859 w 2427462"/>
              <a:gd name="connsiteY0" fmla="*/ 1206235 h 1248656"/>
              <a:gd name="connsiteX1" fmla="*/ 2275440 w 2427462"/>
              <a:gd name="connsiteY1" fmla="*/ 626353 h 1248656"/>
              <a:gd name="connsiteX2" fmla="*/ 2203637 w 2427462"/>
              <a:gd name="connsiteY2" fmla="*/ 512617 h 1248656"/>
              <a:gd name="connsiteX3" fmla="*/ 2122988 w 2427462"/>
              <a:gd name="connsiteY3" fmla="*/ 410800 h 1248656"/>
              <a:gd name="connsiteX4" fmla="*/ 2051185 w 2427462"/>
              <a:gd name="connsiteY4" fmla="*/ 336096 h 1248656"/>
              <a:gd name="connsiteX5" fmla="*/ 1956204 w 2427462"/>
              <a:gd name="connsiteY5" fmla="*/ 254183 h 1248656"/>
              <a:gd name="connsiteX6" fmla="*/ 1884401 w 2427462"/>
              <a:gd name="connsiteY6" fmla="*/ 202226 h 1248656"/>
              <a:gd name="connsiteX7" fmla="*/ 1814350 w 2427462"/>
              <a:gd name="connsiteY7" fmla="*/ 159144 h 1248656"/>
              <a:gd name="connsiteX8" fmla="*/ 1742546 w 2427462"/>
              <a:gd name="connsiteY8" fmla="*/ 73239 h 1248656"/>
              <a:gd name="connsiteX9" fmla="*/ 1742546 w 2427462"/>
              <a:gd name="connsiteY9" fmla="*/ 120916 h 1248656"/>
              <a:gd name="connsiteX10" fmla="*/ 1684616 w 2427462"/>
              <a:gd name="connsiteY10" fmla="*/ 94493 h 1248656"/>
              <a:gd name="connsiteX11" fmla="*/ 1612813 w 2427462"/>
              <a:gd name="connsiteY11" fmla="*/ 39664 h 1248656"/>
              <a:gd name="connsiteX12" fmla="*/ 1612813 w 2427462"/>
              <a:gd name="connsiteY12" fmla="*/ 67093 h 1248656"/>
              <a:gd name="connsiteX13" fmla="*/ 1543795 w 2427462"/>
              <a:gd name="connsiteY13" fmla="*/ 45351 h 1248656"/>
              <a:gd name="connsiteX14" fmla="*/ 1471992 w 2427462"/>
              <a:gd name="connsiteY14" fmla="*/ 27257 h 1248656"/>
              <a:gd name="connsiteX15" fmla="*/ 1243084 w 2427462"/>
              <a:gd name="connsiteY15" fmla="*/ 0 h 1248656"/>
              <a:gd name="connsiteX16" fmla="*/ 1171281 w 2427462"/>
              <a:gd name="connsiteY16" fmla="*/ 316 h 1248656"/>
              <a:gd name="connsiteX17" fmla="*/ 958973 w 2427462"/>
              <a:gd name="connsiteY17" fmla="*/ 26309 h 1248656"/>
              <a:gd name="connsiteX18" fmla="*/ 887170 w 2427462"/>
              <a:gd name="connsiteY18" fmla="*/ 44173 h 1248656"/>
              <a:gd name="connsiteX19" fmla="*/ 817493 w 2427462"/>
              <a:gd name="connsiteY19" fmla="*/ 65944 h 1248656"/>
              <a:gd name="connsiteX20" fmla="*/ 745690 w 2427462"/>
              <a:gd name="connsiteY20" fmla="*/ 93143 h 1248656"/>
              <a:gd name="connsiteX21" fmla="*/ 687156 w 2427462"/>
              <a:gd name="connsiteY21" fmla="*/ 119452 h 1248656"/>
              <a:gd name="connsiteX22" fmla="*/ 615353 w 2427462"/>
              <a:gd name="connsiteY22" fmla="*/ 157536 h 1248656"/>
              <a:gd name="connsiteX23" fmla="*/ 544641 w 2427462"/>
              <a:gd name="connsiteY23" fmla="*/ 200905 h 1248656"/>
              <a:gd name="connsiteX24" fmla="*/ 472838 w 2427462"/>
              <a:gd name="connsiteY24" fmla="*/ 252460 h 1248656"/>
              <a:gd name="connsiteX25" fmla="*/ 377110 w 2427462"/>
              <a:gd name="connsiteY25" fmla="*/ 334746 h 1248656"/>
              <a:gd name="connsiteX26" fmla="*/ 305307 w 2427462"/>
              <a:gd name="connsiteY26" fmla="*/ 409105 h 1248656"/>
              <a:gd name="connsiteX27" fmla="*/ 223940 w 2427462"/>
              <a:gd name="connsiteY27" fmla="*/ 511640 h 1248656"/>
              <a:gd name="connsiteX28" fmla="*/ 152136 w 2427462"/>
              <a:gd name="connsiteY28" fmla="*/ 623940 h 1248656"/>
              <a:gd name="connsiteX29" fmla="*/ 152912 w 2427462"/>
              <a:gd name="connsiteY29" fmla="*/ 623940 h 1248656"/>
              <a:gd name="connsiteX30" fmla="*/ 0 w 2427462"/>
              <a:gd name="connsiteY30" fmla="*/ 1212726 h 1248656"/>
              <a:gd name="connsiteX31" fmla="*/ 37740 w 2427462"/>
              <a:gd name="connsiteY31" fmla="*/ 1248627 h 1248656"/>
              <a:gd name="connsiteX32" fmla="*/ 73440 w 2427462"/>
              <a:gd name="connsiteY32" fmla="*/ 1216574 h 1248656"/>
              <a:gd name="connsiteX33" fmla="*/ 429210 w 2427462"/>
              <a:gd name="connsiteY33" fmla="*/ 940764 h 1248656"/>
              <a:gd name="connsiteX34" fmla="*/ 781246 w 2427462"/>
              <a:gd name="connsiteY34" fmla="*/ 1193856 h 1248656"/>
              <a:gd name="connsiteX35" fmla="*/ 816459 w 2427462"/>
              <a:gd name="connsiteY35" fmla="*/ 1222778 h 1248656"/>
              <a:gd name="connsiteX36" fmla="*/ 851671 w 2427462"/>
              <a:gd name="connsiteY36" fmla="*/ 1193856 h 1248656"/>
              <a:gd name="connsiteX37" fmla="*/ 1171281 w 2427462"/>
              <a:gd name="connsiteY37" fmla="*/ 941999 h 1248656"/>
              <a:gd name="connsiteX38" fmla="*/ 1243084 w 2427462"/>
              <a:gd name="connsiteY38" fmla="*/ 942775 h 1248656"/>
              <a:gd name="connsiteX39" fmla="*/ 1559449 w 2427462"/>
              <a:gd name="connsiteY39" fmla="*/ 1216603 h 1248656"/>
              <a:gd name="connsiteX40" fmla="*/ 1595149 w 2427462"/>
              <a:gd name="connsiteY40" fmla="*/ 1248656 h 1248656"/>
              <a:gd name="connsiteX41" fmla="*/ 1606207 w 2427462"/>
              <a:gd name="connsiteY41" fmla="*/ 1248656 h 1248656"/>
              <a:gd name="connsiteX42" fmla="*/ 1641907 w 2427462"/>
              <a:gd name="connsiteY42" fmla="*/ 1216603 h 1248656"/>
              <a:gd name="connsiteX43" fmla="*/ 1997706 w 2427462"/>
              <a:gd name="connsiteY43" fmla="*/ 940793 h 1248656"/>
              <a:gd name="connsiteX44" fmla="*/ 2353447 w 2427462"/>
              <a:gd name="connsiteY44" fmla="*/ 1216603 h 1248656"/>
              <a:gd name="connsiteX45" fmla="*/ 2389148 w 2427462"/>
              <a:gd name="connsiteY45" fmla="*/ 1248656 h 1248656"/>
              <a:gd name="connsiteX46" fmla="*/ 2390986 w 2427462"/>
              <a:gd name="connsiteY46" fmla="*/ 1248656 h 1248656"/>
              <a:gd name="connsiteX47" fmla="*/ 2391560 w 2427462"/>
              <a:gd name="connsiteY47" fmla="*/ 1248656 h 1248656"/>
              <a:gd name="connsiteX48" fmla="*/ 2427462 w 2427462"/>
              <a:gd name="connsiteY48" fmla="*/ 1212755 h 1248656"/>
              <a:gd name="connsiteX49" fmla="*/ 2426859 w 2427462"/>
              <a:gd name="connsiteY49" fmla="*/ 1206235 h 1248656"/>
              <a:gd name="connsiteX50" fmla="*/ 88978 w 2427462"/>
              <a:gd name="connsiteY50" fmla="*/ 1014664 h 1248656"/>
              <a:gd name="connsiteX51" fmla="*/ 920889 w 2427462"/>
              <a:gd name="connsiteY51" fmla="*/ 109256 h 1248656"/>
              <a:gd name="connsiteX52" fmla="*/ 393050 w 2427462"/>
              <a:gd name="connsiteY52" fmla="*/ 870828 h 1248656"/>
              <a:gd name="connsiteX53" fmla="*/ 88978 w 2427462"/>
              <a:gd name="connsiteY53" fmla="*/ 1014664 h 1248656"/>
              <a:gd name="connsiteX54" fmla="*/ 467237 w 2427462"/>
              <a:gd name="connsiteY54" fmla="*/ 870598 h 1248656"/>
              <a:gd name="connsiteX55" fmla="*/ 1122800 w 2427462"/>
              <a:gd name="connsiteY55" fmla="*/ 102276 h 1248656"/>
              <a:gd name="connsiteX56" fmla="*/ 790409 w 2427462"/>
              <a:gd name="connsiteY56" fmla="*/ 1041834 h 1248656"/>
              <a:gd name="connsiteX57" fmla="*/ 467237 w 2427462"/>
              <a:gd name="connsiteY57" fmla="*/ 870598 h 1248656"/>
              <a:gd name="connsiteX58" fmla="*/ 863217 w 2427462"/>
              <a:gd name="connsiteY58" fmla="*/ 1015755 h 1248656"/>
              <a:gd name="connsiteX59" fmla="*/ 1171281 w 2427462"/>
              <a:gd name="connsiteY59" fmla="*/ 156617 h 1248656"/>
              <a:gd name="connsiteX60" fmla="*/ 1171281 w 2427462"/>
              <a:gd name="connsiteY60" fmla="*/ 870081 h 1248656"/>
              <a:gd name="connsiteX61" fmla="*/ 863217 w 2427462"/>
              <a:gd name="connsiteY61" fmla="*/ 1015755 h 1248656"/>
              <a:gd name="connsiteX62" fmla="*/ 1243084 w 2427462"/>
              <a:gd name="connsiteY62" fmla="*/ 870713 h 1248656"/>
              <a:gd name="connsiteX63" fmla="*/ 1243084 w 2427462"/>
              <a:gd name="connsiteY63" fmla="*/ 146048 h 1248656"/>
              <a:gd name="connsiteX64" fmla="*/ 1560368 w 2427462"/>
              <a:gd name="connsiteY64" fmla="*/ 1035085 h 1248656"/>
              <a:gd name="connsiteX65" fmla="*/ 1243084 w 2427462"/>
              <a:gd name="connsiteY65" fmla="*/ 870713 h 1248656"/>
              <a:gd name="connsiteX66" fmla="*/ 1632659 w 2427462"/>
              <a:gd name="connsiteY66" fmla="*/ 1046372 h 1248656"/>
              <a:gd name="connsiteX67" fmla="*/ 1300096 w 2427462"/>
              <a:gd name="connsiteY67" fmla="*/ 102276 h 1248656"/>
              <a:gd name="connsiteX68" fmla="*/ 1955744 w 2427462"/>
              <a:gd name="connsiteY68" fmla="*/ 870972 h 1248656"/>
              <a:gd name="connsiteX69" fmla="*/ 1632659 w 2427462"/>
              <a:gd name="connsiteY69" fmla="*/ 1046372 h 1248656"/>
              <a:gd name="connsiteX70" fmla="*/ 2029759 w 2427462"/>
              <a:gd name="connsiteY70" fmla="*/ 870627 h 1248656"/>
              <a:gd name="connsiteX71" fmla="*/ 1498789 w 2427462"/>
              <a:gd name="connsiteY71" fmla="*/ 107446 h 1248656"/>
              <a:gd name="connsiteX72" fmla="*/ 2337909 w 2427462"/>
              <a:gd name="connsiteY72" fmla="*/ 1014664 h 1248656"/>
              <a:gd name="connsiteX73" fmla="*/ 2029759 w 2427462"/>
              <a:gd name="connsiteY73" fmla="*/ 870627 h 1248656"/>
              <a:gd name="connsiteX0" fmla="*/ 2426859 w 2427462"/>
              <a:gd name="connsiteY0" fmla="*/ 1206235 h 1248656"/>
              <a:gd name="connsiteX1" fmla="*/ 2275440 w 2427462"/>
              <a:gd name="connsiteY1" fmla="*/ 626353 h 1248656"/>
              <a:gd name="connsiteX2" fmla="*/ 2203637 w 2427462"/>
              <a:gd name="connsiteY2" fmla="*/ 512617 h 1248656"/>
              <a:gd name="connsiteX3" fmla="*/ 2122988 w 2427462"/>
              <a:gd name="connsiteY3" fmla="*/ 410800 h 1248656"/>
              <a:gd name="connsiteX4" fmla="*/ 2051185 w 2427462"/>
              <a:gd name="connsiteY4" fmla="*/ 336096 h 1248656"/>
              <a:gd name="connsiteX5" fmla="*/ 1956204 w 2427462"/>
              <a:gd name="connsiteY5" fmla="*/ 254183 h 1248656"/>
              <a:gd name="connsiteX6" fmla="*/ 1884401 w 2427462"/>
              <a:gd name="connsiteY6" fmla="*/ 202226 h 1248656"/>
              <a:gd name="connsiteX7" fmla="*/ 1814350 w 2427462"/>
              <a:gd name="connsiteY7" fmla="*/ 159144 h 1248656"/>
              <a:gd name="connsiteX8" fmla="*/ 1742546 w 2427462"/>
              <a:gd name="connsiteY8" fmla="*/ 120916 h 1248656"/>
              <a:gd name="connsiteX9" fmla="*/ 1684616 w 2427462"/>
              <a:gd name="connsiteY9" fmla="*/ 94493 h 1248656"/>
              <a:gd name="connsiteX10" fmla="*/ 1612813 w 2427462"/>
              <a:gd name="connsiteY10" fmla="*/ 39664 h 1248656"/>
              <a:gd name="connsiteX11" fmla="*/ 1612813 w 2427462"/>
              <a:gd name="connsiteY11" fmla="*/ 67093 h 1248656"/>
              <a:gd name="connsiteX12" fmla="*/ 1543795 w 2427462"/>
              <a:gd name="connsiteY12" fmla="*/ 45351 h 1248656"/>
              <a:gd name="connsiteX13" fmla="*/ 1471992 w 2427462"/>
              <a:gd name="connsiteY13" fmla="*/ 27257 h 1248656"/>
              <a:gd name="connsiteX14" fmla="*/ 1243084 w 2427462"/>
              <a:gd name="connsiteY14" fmla="*/ 0 h 1248656"/>
              <a:gd name="connsiteX15" fmla="*/ 1171281 w 2427462"/>
              <a:gd name="connsiteY15" fmla="*/ 316 h 1248656"/>
              <a:gd name="connsiteX16" fmla="*/ 958973 w 2427462"/>
              <a:gd name="connsiteY16" fmla="*/ 26309 h 1248656"/>
              <a:gd name="connsiteX17" fmla="*/ 887170 w 2427462"/>
              <a:gd name="connsiteY17" fmla="*/ 44173 h 1248656"/>
              <a:gd name="connsiteX18" fmla="*/ 817493 w 2427462"/>
              <a:gd name="connsiteY18" fmla="*/ 65944 h 1248656"/>
              <a:gd name="connsiteX19" fmla="*/ 745690 w 2427462"/>
              <a:gd name="connsiteY19" fmla="*/ 93143 h 1248656"/>
              <a:gd name="connsiteX20" fmla="*/ 687156 w 2427462"/>
              <a:gd name="connsiteY20" fmla="*/ 119452 h 1248656"/>
              <a:gd name="connsiteX21" fmla="*/ 615353 w 2427462"/>
              <a:gd name="connsiteY21" fmla="*/ 157536 h 1248656"/>
              <a:gd name="connsiteX22" fmla="*/ 544641 w 2427462"/>
              <a:gd name="connsiteY22" fmla="*/ 200905 h 1248656"/>
              <a:gd name="connsiteX23" fmla="*/ 472838 w 2427462"/>
              <a:gd name="connsiteY23" fmla="*/ 252460 h 1248656"/>
              <a:gd name="connsiteX24" fmla="*/ 377110 w 2427462"/>
              <a:gd name="connsiteY24" fmla="*/ 334746 h 1248656"/>
              <a:gd name="connsiteX25" fmla="*/ 305307 w 2427462"/>
              <a:gd name="connsiteY25" fmla="*/ 409105 h 1248656"/>
              <a:gd name="connsiteX26" fmla="*/ 223940 w 2427462"/>
              <a:gd name="connsiteY26" fmla="*/ 511640 h 1248656"/>
              <a:gd name="connsiteX27" fmla="*/ 152136 w 2427462"/>
              <a:gd name="connsiteY27" fmla="*/ 623940 h 1248656"/>
              <a:gd name="connsiteX28" fmla="*/ 152912 w 2427462"/>
              <a:gd name="connsiteY28" fmla="*/ 623940 h 1248656"/>
              <a:gd name="connsiteX29" fmla="*/ 0 w 2427462"/>
              <a:gd name="connsiteY29" fmla="*/ 1212726 h 1248656"/>
              <a:gd name="connsiteX30" fmla="*/ 37740 w 2427462"/>
              <a:gd name="connsiteY30" fmla="*/ 1248627 h 1248656"/>
              <a:gd name="connsiteX31" fmla="*/ 73440 w 2427462"/>
              <a:gd name="connsiteY31" fmla="*/ 1216574 h 1248656"/>
              <a:gd name="connsiteX32" fmla="*/ 429210 w 2427462"/>
              <a:gd name="connsiteY32" fmla="*/ 940764 h 1248656"/>
              <a:gd name="connsiteX33" fmla="*/ 781246 w 2427462"/>
              <a:gd name="connsiteY33" fmla="*/ 1193856 h 1248656"/>
              <a:gd name="connsiteX34" fmla="*/ 816459 w 2427462"/>
              <a:gd name="connsiteY34" fmla="*/ 1222778 h 1248656"/>
              <a:gd name="connsiteX35" fmla="*/ 851671 w 2427462"/>
              <a:gd name="connsiteY35" fmla="*/ 1193856 h 1248656"/>
              <a:gd name="connsiteX36" fmla="*/ 1171281 w 2427462"/>
              <a:gd name="connsiteY36" fmla="*/ 941999 h 1248656"/>
              <a:gd name="connsiteX37" fmla="*/ 1243084 w 2427462"/>
              <a:gd name="connsiteY37" fmla="*/ 942775 h 1248656"/>
              <a:gd name="connsiteX38" fmla="*/ 1559449 w 2427462"/>
              <a:gd name="connsiteY38" fmla="*/ 1216603 h 1248656"/>
              <a:gd name="connsiteX39" fmla="*/ 1595149 w 2427462"/>
              <a:gd name="connsiteY39" fmla="*/ 1248656 h 1248656"/>
              <a:gd name="connsiteX40" fmla="*/ 1606207 w 2427462"/>
              <a:gd name="connsiteY40" fmla="*/ 1248656 h 1248656"/>
              <a:gd name="connsiteX41" fmla="*/ 1641907 w 2427462"/>
              <a:gd name="connsiteY41" fmla="*/ 1216603 h 1248656"/>
              <a:gd name="connsiteX42" fmla="*/ 1997706 w 2427462"/>
              <a:gd name="connsiteY42" fmla="*/ 940793 h 1248656"/>
              <a:gd name="connsiteX43" fmla="*/ 2353447 w 2427462"/>
              <a:gd name="connsiteY43" fmla="*/ 1216603 h 1248656"/>
              <a:gd name="connsiteX44" fmla="*/ 2389148 w 2427462"/>
              <a:gd name="connsiteY44" fmla="*/ 1248656 h 1248656"/>
              <a:gd name="connsiteX45" fmla="*/ 2390986 w 2427462"/>
              <a:gd name="connsiteY45" fmla="*/ 1248656 h 1248656"/>
              <a:gd name="connsiteX46" fmla="*/ 2391560 w 2427462"/>
              <a:gd name="connsiteY46" fmla="*/ 1248656 h 1248656"/>
              <a:gd name="connsiteX47" fmla="*/ 2427462 w 2427462"/>
              <a:gd name="connsiteY47" fmla="*/ 1212755 h 1248656"/>
              <a:gd name="connsiteX48" fmla="*/ 2426859 w 2427462"/>
              <a:gd name="connsiteY48" fmla="*/ 1206235 h 1248656"/>
              <a:gd name="connsiteX49" fmla="*/ 88978 w 2427462"/>
              <a:gd name="connsiteY49" fmla="*/ 1014664 h 1248656"/>
              <a:gd name="connsiteX50" fmla="*/ 920889 w 2427462"/>
              <a:gd name="connsiteY50" fmla="*/ 109256 h 1248656"/>
              <a:gd name="connsiteX51" fmla="*/ 393050 w 2427462"/>
              <a:gd name="connsiteY51" fmla="*/ 870828 h 1248656"/>
              <a:gd name="connsiteX52" fmla="*/ 88978 w 2427462"/>
              <a:gd name="connsiteY52" fmla="*/ 1014664 h 1248656"/>
              <a:gd name="connsiteX53" fmla="*/ 467237 w 2427462"/>
              <a:gd name="connsiteY53" fmla="*/ 870598 h 1248656"/>
              <a:gd name="connsiteX54" fmla="*/ 1122800 w 2427462"/>
              <a:gd name="connsiteY54" fmla="*/ 102276 h 1248656"/>
              <a:gd name="connsiteX55" fmla="*/ 790409 w 2427462"/>
              <a:gd name="connsiteY55" fmla="*/ 1041834 h 1248656"/>
              <a:gd name="connsiteX56" fmla="*/ 467237 w 2427462"/>
              <a:gd name="connsiteY56" fmla="*/ 870598 h 1248656"/>
              <a:gd name="connsiteX57" fmla="*/ 863217 w 2427462"/>
              <a:gd name="connsiteY57" fmla="*/ 1015755 h 1248656"/>
              <a:gd name="connsiteX58" fmla="*/ 1171281 w 2427462"/>
              <a:gd name="connsiteY58" fmla="*/ 156617 h 1248656"/>
              <a:gd name="connsiteX59" fmla="*/ 1171281 w 2427462"/>
              <a:gd name="connsiteY59" fmla="*/ 870081 h 1248656"/>
              <a:gd name="connsiteX60" fmla="*/ 863217 w 2427462"/>
              <a:gd name="connsiteY60" fmla="*/ 1015755 h 1248656"/>
              <a:gd name="connsiteX61" fmla="*/ 1243084 w 2427462"/>
              <a:gd name="connsiteY61" fmla="*/ 870713 h 1248656"/>
              <a:gd name="connsiteX62" fmla="*/ 1243084 w 2427462"/>
              <a:gd name="connsiteY62" fmla="*/ 146048 h 1248656"/>
              <a:gd name="connsiteX63" fmla="*/ 1560368 w 2427462"/>
              <a:gd name="connsiteY63" fmla="*/ 1035085 h 1248656"/>
              <a:gd name="connsiteX64" fmla="*/ 1243084 w 2427462"/>
              <a:gd name="connsiteY64" fmla="*/ 870713 h 1248656"/>
              <a:gd name="connsiteX65" fmla="*/ 1632659 w 2427462"/>
              <a:gd name="connsiteY65" fmla="*/ 1046372 h 1248656"/>
              <a:gd name="connsiteX66" fmla="*/ 1300096 w 2427462"/>
              <a:gd name="connsiteY66" fmla="*/ 102276 h 1248656"/>
              <a:gd name="connsiteX67" fmla="*/ 1955744 w 2427462"/>
              <a:gd name="connsiteY67" fmla="*/ 870972 h 1248656"/>
              <a:gd name="connsiteX68" fmla="*/ 1632659 w 2427462"/>
              <a:gd name="connsiteY68" fmla="*/ 1046372 h 1248656"/>
              <a:gd name="connsiteX69" fmla="*/ 2029759 w 2427462"/>
              <a:gd name="connsiteY69" fmla="*/ 870627 h 1248656"/>
              <a:gd name="connsiteX70" fmla="*/ 1498789 w 2427462"/>
              <a:gd name="connsiteY70" fmla="*/ 107446 h 1248656"/>
              <a:gd name="connsiteX71" fmla="*/ 2337909 w 2427462"/>
              <a:gd name="connsiteY71" fmla="*/ 1014664 h 1248656"/>
              <a:gd name="connsiteX72" fmla="*/ 2029759 w 2427462"/>
              <a:gd name="connsiteY72" fmla="*/ 870627 h 1248656"/>
              <a:gd name="connsiteX0" fmla="*/ 2426859 w 2427462"/>
              <a:gd name="connsiteY0" fmla="*/ 1206235 h 1248656"/>
              <a:gd name="connsiteX1" fmla="*/ 2275440 w 2427462"/>
              <a:gd name="connsiteY1" fmla="*/ 626353 h 1248656"/>
              <a:gd name="connsiteX2" fmla="*/ 2203637 w 2427462"/>
              <a:gd name="connsiteY2" fmla="*/ 512617 h 1248656"/>
              <a:gd name="connsiteX3" fmla="*/ 2122988 w 2427462"/>
              <a:gd name="connsiteY3" fmla="*/ 410800 h 1248656"/>
              <a:gd name="connsiteX4" fmla="*/ 2051185 w 2427462"/>
              <a:gd name="connsiteY4" fmla="*/ 336096 h 1248656"/>
              <a:gd name="connsiteX5" fmla="*/ 1956204 w 2427462"/>
              <a:gd name="connsiteY5" fmla="*/ 254183 h 1248656"/>
              <a:gd name="connsiteX6" fmla="*/ 1884401 w 2427462"/>
              <a:gd name="connsiteY6" fmla="*/ 202226 h 1248656"/>
              <a:gd name="connsiteX7" fmla="*/ 1814350 w 2427462"/>
              <a:gd name="connsiteY7" fmla="*/ 159144 h 1248656"/>
              <a:gd name="connsiteX8" fmla="*/ 1742546 w 2427462"/>
              <a:gd name="connsiteY8" fmla="*/ 120916 h 1248656"/>
              <a:gd name="connsiteX9" fmla="*/ 1684616 w 2427462"/>
              <a:gd name="connsiteY9" fmla="*/ 94493 h 1248656"/>
              <a:gd name="connsiteX10" fmla="*/ 1612813 w 2427462"/>
              <a:gd name="connsiteY10" fmla="*/ 67093 h 1248656"/>
              <a:gd name="connsiteX11" fmla="*/ 1543795 w 2427462"/>
              <a:gd name="connsiteY11" fmla="*/ 45351 h 1248656"/>
              <a:gd name="connsiteX12" fmla="*/ 1471992 w 2427462"/>
              <a:gd name="connsiteY12" fmla="*/ 27257 h 1248656"/>
              <a:gd name="connsiteX13" fmla="*/ 1243084 w 2427462"/>
              <a:gd name="connsiteY13" fmla="*/ 0 h 1248656"/>
              <a:gd name="connsiteX14" fmla="*/ 1171281 w 2427462"/>
              <a:gd name="connsiteY14" fmla="*/ 316 h 1248656"/>
              <a:gd name="connsiteX15" fmla="*/ 958973 w 2427462"/>
              <a:gd name="connsiteY15" fmla="*/ 26309 h 1248656"/>
              <a:gd name="connsiteX16" fmla="*/ 887170 w 2427462"/>
              <a:gd name="connsiteY16" fmla="*/ 44173 h 1248656"/>
              <a:gd name="connsiteX17" fmla="*/ 817493 w 2427462"/>
              <a:gd name="connsiteY17" fmla="*/ 65944 h 1248656"/>
              <a:gd name="connsiteX18" fmla="*/ 745690 w 2427462"/>
              <a:gd name="connsiteY18" fmla="*/ 93143 h 1248656"/>
              <a:gd name="connsiteX19" fmla="*/ 687156 w 2427462"/>
              <a:gd name="connsiteY19" fmla="*/ 119452 h 1248656"/>
              <a:gd name="connsiteX20" fmla="*/ 615353 w 2427462"/>
              <a:gd name="connsiteY20" fmla="*/ 157536 h 1248656"/>
              <a:gd name="connsiteX21" fmla="*/ 544641 w 2427462"/>
              <a:gd name="connsiteY21" fmla="*/ 200905 h 1248656"/>
              <a:gd name="connsiteX22" fmla="*/ 472838 w 2427462"/>
              <a:gd name="connsiteY22" fmla="*/ 252460 h 1248656"/>
              <a:gd name="connsiteX23" fmla="*/ 377110 w 2427462"/>
              <a:gd name="connsiteY23" fmla="*/ 334746 h 1248656"/>
              <a:gd name="connsiteX24" fmla="*/ 305307 w 2427462"/>
              <a:gd name="connsiteY24" fmla="*/ 409105 h 1248656"/>
              <a:gd name="connsiteX25" fmla="*/ 223940 w 2427462"/>
              <a:gd name="connsiteY25" fmla="*/ 511640 h 1248656"/>
              <a:gd name="connsiteX26" fmla="*/ 152136 w 2427462"/>
              <a:gd name="connsiteY26" fmla="*/ 623940 h 1248656"/>
              <a:gd name="connsiteX27" fmla="*/ 152912 w 2427462"/>
              <a:gd name="connsiteY27" fmla="*/ 623940 h 1248656"/>
              <a:gd name="connsiteX28" fmla="*/ 0 w 2427462"/>
              <a:gd name="connsiteY28" fmla="*/ 1212726 h 1248656"/>
              <a:gd name="connsiteX29" fmla="*/ 37740 w 2427462"/>
              <a:gd name="connsiteY29" fmla="*/ 1248627 h 1248656"/>
              <a:gd name="connsiteX30" fmla="*/ 73440 w 2427462"/>
              <a:gd name="connsiteY30" fmla="*/ 1216574 h 1248656"/>
              <a:gd name="connsiteX31" fmla="*/ 429210 w 2427462"/>
              <a:gd name="connsiteY31" fmla="*/ 940764 h 1248656"/>
              <a:gd name="connsiteX32" fmla="*/ 781246 w 2427462"/>
              <a:gd name="connsiteY32" fmla="*/ 1193856 h 1248656"/>
              <a:gd name="connsiteX33" fmla="*/ 816459 w 2427462"/>
              <a:gd name="connsiteY33" fmla="*/ 1222778 h 1248656"/>
              <a:gd name="connsiteX34" fmla="*/ 851671 w 2427462"/>
              <a:gd name="connsiteY34" fmla="*/ 1193856 h 1248656"/>
              <a:gd name="connsiteX35" fmla="*/ 1171281 w 2427462"/>
              <a:gd name="connsiteY35" fmla="*/ 941999 h 1248656"/>
              <a:gd name="connsiteX36" fmla="*/ 1243084 w 2427462"/>
              <a:gd name="connsiteY36" fmla="*/ 942775 h 1248656"/>
              <a:gd name="connsiteX37" fmla="*/ 1559449 w 2427462"/>
              <a:gd name="connsiteY37" fmla="*/ 1216603 h 1248656"/>
              <a:gd name="connsiteX38" fmla="*/ 1595149 w 2427462"/>
              <a:gd name="connsiteY38" fmla="*/ 1248656 h 1248656"/>
              <a:gd name="connsiteX39" fmla="*/ 1606207 w 2427462"/>
              <a:gd name="connsiteY39" fmla="*/ 1248656 h 1248656"/>
              <a:gd name="connsiteX40" fmla="*/ 1641907 w 2427462"/>
              <a:gd name="connsiteY40" fmla="*/ 1216603 h 1248656"/>
              <a:gd name="connsiteX41" fmla="*/ 1997706 w 2427462"/>
              <a:gd name="connsiteY41" fmla="*/ 940793 h 1248656"/>
              <a:gd name="connsiteX42" fmla="*/ 2353447 w 2427462"/>
              <a:gd name="connsiteY42" fmla="*/ 1216603 h 1248656"/>
              <a:gd name="connsiteX43" fmla="*/ 2389148 w 2427462"/>
              <a:gd name="connsiteY43" fmla="*/ 1248656 h 1248656"/>
              <a:gd name="connsiteX44" fmla="*/ 2390986 w 2427462"/>
              <a:gd name="connsiteY44" fmla="*/ 1248656 h 1248656"/>
              <a:gd name="connsiteX45" fmla="*/ 2391560 w 2427462"/>
              <a:gd name="connsiteY45" fmla="*/ 1248656 h 1248656"/>
              <a:gd name="connsiteX46" fmla="*/ 2427462 w 2427462"/>
              <a:gd name="connsiteY46" fmla="*/ 1212755 h 1248656"/>
              <a:gd name="connsiteX47" fmla="*/ 2426859 w 2427462"/>
              <a:gd name="connsiteY47" fmla="*/ 1206235 h 1248656"/>
              <a:gd name="connsiteX48" fmla="*/ 88978 w 2427462"/>
              <a:gd name="connsiteY48" fmla="*/ 1014664 h 1248656"/>
              <a:gd name="connsiteX49" fmla="*/ 920889 w 2427462"/>
              <a:gd name="connsiteY49" fmla="*/ 109256 h 1248656"/>
              <a:gd name="connsiteX50" fmla="*/ 393050 w 2427462"/>
              <a:gd name="connsiteY50" fmla="*/ 870828 h 1248656"/>
              <a:gd name="connsiteX51" fmla="*/ 88978 w 2427462"/>
              <a:gd name="connsiteY51" fmla="*/ 1014664 h 1248656"/>
              <a:gd name="connsiteX52" fmla="*/ 467237 w 2427462"/>
              <a:gd name="connsiteY52" fmla="*/ 870598 h 1248656"/>
              <a:gd name="connsiteX53" fmla="*/ 1122800 w 2427462"/>
              <a:gd name="connsiteY53" fmla="*/ 102276 h 1248656"/>
              <a:gd name="connsiteX54" fmla="*/ 790409 w 2427462"/>
              <a:gd name="connsiteY54" fmla="*/ 1041834 h 1248656"/>
              <a:gd name="connsiteX55" fmla="*/ 467237 w 2427462"/>
              <a:gd name="connsiteY55" fmla="*/ 870598 h 1248656"/>
              <a:gd name="connsiteX56" fmla="*/ 863217 w 2427462"/>
              <a:gd name="connsiteY56" fmla="*/ 1015755 h 1248656"/>
              <a:gd name="connsiteX57" fmla="*/ 1171281 w 2427462"/>
              <a:gd name="connsiteY57" fmla="*/ 156617 h 1248656"/>
              <a:gd name="connsiteX58" fmla="*/ 1171281 w 2427462"/>
              <a:gd name="connsiteY58" fmla="*/ 870081 h 1248656"/>
              <a:gd name="connsiteX59" fmla="*/ 863217 w 2427462"/>
              <a:gd name="connsiteY59" fmla="*/ 1015755 h 1248656"/>
              <a:gd name="connsiteX60" fmla="*/ 1243084 w 2427462"/>
              <a:gd name="connsiteY60" fmla="*/ 870713 h 1248656"/>
              <a:gd name="connsiteX61" fmla="*/ 1243084 w 2427462"/>
              <a:gd name="connsiteY61" fmla="*/ 146048 h 1248656"/>
              <a:gd name="connsiteX62" fmla="*/ 1560368 w 2427462"/>
              <a:gd name="connsiteY62" fmla="*/ 1035085 h 1248656"/>
              <a:gd name="connsiteX63" fmla="*/ 1243084 w 2427462"/>
              <a:gd name="connsiteY63" fmla="*/ 870713 h 1248656"/>
              <a:gd name="connsiteX64" fmla="*/ 1632659 w 2427462"/>
              <a:gd name="connsiteY64" fmla="*/ 1046372 h 1248656"/>
              <a:gd name="connsiteX65" fmla="*/ 1300096 w 2427462"/>
              <a:gd name="connsiteY65" fmla="*/ 102276 h 1248656"/>
              <a:gd name="connsiteX66" fmla="*/ 1955744 w 2427462"/>
              <a:gd name="connsiteY66" fmla="*/ 870972 h 1248656"/>
              <a:gd name="connsiteX67" fmla="*/ 1632659 w 2427462"/>
              <a:gd name="connsiteY67" fmla="*/ 1046372 h 1248656"/>
              <a:gd name="connsiteX68" fmla="*/ 2029759 w 2427462"/>
              <a:gd name="connsiteY68" fmla="*/ 870627 h 1248656"/>
              <a:gd name="connsiteX69" fmla="*/ 1498789 w 2427462"/>
              <a:gd name="connsiteY69" fmla="*/ 107446 h 1248656"/>
              <a:gd name="connsiteX70" fmla="*/ 2337909 w 2427462"/>
              <a:gd name="connsiteY70" fmla="*/ 1014664 h 1248656"/>
              <a:gd name="connsiteX71" fmla="*/ 2029759 w 2427462"/>
              <a:gd name="connsiteY71" fmla="*/ 870627 h 124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427462" h="1248656">
                <a:moveTo>
                  <a:pt x="2426859" y="1206235"/>
                </a:moveTo>
                <a:cubicBezTo>
                  <a:pt x="2425767" y="996110"/>
                  <a:pt x="2370852" y="798479"/>
                  <a:pt x="2275440" y="626353"/>
                </a:cubicBezTo>
                <a:lnTo>
                  <a:pt x="2203637" y="512617"/>
                </a:lnTo>
                <a:cubicBezTo>
                  <a:pt x="2178564" y="477232"/>
                  <a:pt x="2151623" y="443255"/>
                  <a:pt x="2122988" y="410800"/>
                </a:cubicBezTo>
                <a:lnTo>
                  <a:pt x="2051185" y="336096"/>
                </a:lnTo>
                <a:cubicBezTo>
                  <a:pt x="2020970" y="307202"/>
                  <a:pt x="1989291" y="279860"/>
                  <a:pt x="1956204" y="254183"/>
                </a:cubicBezTo>
                <a:lnTo>
                  <a:pt x="1884401" y="202226"/>
                </a:lnTo>
                <a:cubicBezTo>
                  <a:pt x="1861625" y="187033"/>
                  <a:pt x="1838188" y="172816"/>
                  <a:pt x="1814350" y="159144"/>
                </a:cubicBezTo>
                <a:lnTo>
                  <a:pt x="1742546" y="120916"/>
                </a:lnTo>
                <a:cubicBezTo>
                  <a:pt x="1723504" y="111640"/>
                  <a:pt x="1704204" y="102765"/>
                  <a:pt x="1684616" y="94493"/>
                </a:cubicBezTo>
                <a:lnTo>
                  <a:pt x="1612813" y="67093"/>
                </a:lnTo>
                <a:cubicBezTo>
                  <a:pt x="1590123" y="59166"/>
                  <a:pt x="1567088" y="51928"/>
                  <a:pt x="1543795" y="45351"/>
                </a:cubicBezTo>
                <a:lnTo>
                  <a:pt x="1471992" y="27257"/>
                </a:lnTo>
                <a:cubicBezTo>
                  <a:pt x="1397978" y="11115"/>
                  <a:pt x="1321436" y="1896"/>
                  <a:pt x="1243084" y="0"/>
                </a:cubicBezTo>
                <a:lnTo>
                  <a:pt x="1171281" y="316"/>
                </a:lnTo>
                <a:cubicBezTo>
                  <a:pt x="1098731" y="2815"/>
                  <a:pt x="1027761" y="11575"/>
                  <a:pt x="958973" y="26309"/>
                </a:cubicBezTo>
                <a:lnTo>
                  <a:pt x="887170" y="44173"/>
                </a:lnTo>
                <a:cubicBezTo>
                  <a:pt x="863648" y="50750"/>
                  <a:pt x="840412" y="57988"/>
                  <a:pt x="817493" y="65944"/>
                </a:cubicBezTo>
                <a:lnTo>
                  <a:pt x="745690" y="93143"/>
                </a:lnTo>
                <a:cubicBezTo>
                  <a:pt x="725929" y="101443"/>
                  <a:pt x="706370" y="110175"/>
                  <a:pt x="687156" y="119452"/>
                </a:cubicBezTo>
                <a:lnTo>
                  <a:pt x="615353" y="157536"/>
                </a:lnTo>
                <a:cubicBezTo>
                  <a:pt x="591284" y="171236"/>
                  <a:pt x="567647" y="185625"/>
                  <a:pt x="544641" y="200905"/>
                </a:cubicBezTo>
                <a:lnTo>
                  <a:pt x="472838" y="252460"/>
                </a:lnTo>
                <a:cubicBezTo>
                  <a:pt x="439492" y="278223"/>
                  <a:pt x="407583" y="305709"/>
                  <a:pt x="377110" y="334746"/>
                </a:cubicBezTo>
                <a:lnTo>
                  <a:pt x="305307" y="409105"/>
                </a:lnTo>
                <a:cubicBezTo>
                  <a:pt x="276384" y="441761"/>
                  <a:pt x="249272" y="476026"/>
                  <a:pt x="223940" y="511640"/>
                </a:cubicBezTo>
                <a:lnTo>
                  <a:pt x="152136" y="623940"/>
                </a:lnTo>
                <a:lnTo>
                  <a:pt x="152912" y="623940"/>
                </a:lnTo>
                <a:cubicBezTo>
                  <a:pt x="55633" y="798451"/>
                  <a:pt x="0" y="999183"/>
                  <a:pt x="0" y="1212726"/>
                </a:cubicBezTo>
                <a:cubicBezTo>
                  <a:pt x="0" y="1232543"/>
                  <a:pt x="17922" y="1248627"/>
                  <a:pt x="37740" y="1248627"/>
                </a:cubicBezTo>
                <a:cubicBezTo>
                  <a:pt x="56093" y="1248627"/>
                  <a:pt x="71487" y="1234812"/>
                  <a:pt x="73440" y="1216574"/>
                </a:cubicBezTo>
                <a:cubicBezTo>
                  <a:pt x="90070" y="1061910"/>
                  <a:pt x="246342" y="940764"/>
                  <a:pt x="429210" y="940764"/>
                </a:cubicBezTo>
                <a:cubicBezTo>
                  <a:pt x="604123" y="940764"/>
                  <a:pt x="752181" y="1047205"/>
                  <a:pt x="781246" y="1193856"/>
                </a:cubicBezTo>
                <a:cubicBezTo>
                  <a:pt x="784578" y="1210658"/>
                  <a:pt x="799312" y="1222778"/>
                  <a:pt x="816459" y="1222778"/>
                </a:cubicBezTo>
                <a:cubicBezTo>
                  <a:pt x="833605" y="1222778"/>
                  <a:pt x="848339" y="1210658"/>
                  <a:pt x="851671" y="1193856"/>
                </a:cubicBezTo>
                <a:cubicBezTo>
                  <a:pt x="878927" y="1056367"/>
                  <a:pt x="1010787" y="954206"/>
                  <a:pt x="1171281" y="941999"/>
                </a:cubicBezTo>
                <a:lnTo>
                  <a:pt x="1243084" y="942775"/>
                </a:lnTo>
                <a:cubicBezTo>
                  <a:pt x="1410787" y="958169"/>
                  <a:pt x="1543767" y="1070642"/>
                  <a:pt x="1559449" y="1216603"/>
                </a:cubicBezTo>
                <a:cubicBezTo>
                  <a:pt x="1561402" y="1234841"/>
                  <a:pt x="1576796" y="1248656"/>
                  <a:pt x="1595149" y="1248656"/>
                </a:cubicBezTo>
                <a:lnTo>
                  <a:pt x="1606207" y="1248656"/>
                </a:lnTo>
                <a:cubicBezTo>
                  <a:pt x="1624560" y="1248656"/>
                  <a:pt x="1639954" y="1234841"/>
                  <a:pt x="1641907" y="1216603"/>
                </a:cubicBezTo>
                <a:cubicBezTo>
                  <a:pt x="1658537" y="1061939"/>
                  <a:pt x="1814838" y="940793"/>
                  <a:pt x="1997706" y="940793"/>
                </a:cubicBezTo>
                <a:cubicBezTo>
                  <a:pt x="2180545" y="940793"/>
                  <a:pt x="2336818" y="1061939"/>
                  <a:pt x="2353447" y="1216603"/>
                </a:cubicBezTo>
                <a:cubicBezTo>
                  <a:pt x="2355400" y="1234841"/>
                  <a:pt x="2370795" y="1248656"/>
                  <a:pt x="2389148" y="1248656"/>
                </a:cubicBezTo>
                <a:lnTo>
                  <a:pt x="2390986" y="1248656"/>
                </a:lnTo>
                <a:lnTo>
                  <a:pt x="2391560" y="1248656"/>
                </a:lnTo>
                <a:cubicBezTo>
                  <a:pt x="2411378" y="1248656"/>
                  <a:pt x="2427462" y="1232572"/>
                  <a:pt x="2427462" y="1212755"/>
                </a:cubicBezTo>
                <a:cubicBezTo>
                  <a:pt x="2427462" y="1210543"/>
                  <a:pt x="2427261" y="1208360"/>
                  <a:pt x="2426859" y="1206235"/>
                </a:cubicBezTo>
                <a:close/>
                <a:moveTo>
                  <a:pt x="88978" y="1014664"/>
                </a:moveTo>
                <a:cubicBezTo>
                  <a:pt x="166124" y="575574"/>
                  <a:pt x="495097" y="222274"/>
                  <a:pt x="920889" y="109256"/>
                </a:cubicBezTo>
                <a:cubicBezTo>
                  <a:pt x="664638" y="252948"/>
                  <a:pt x="469793" y="526891"/>
                  <a:pt x="393050" y="870828"/>
                </a:cubicBezTo>
                <a:cubicBezTo>
                  <a:pt x="269520" y="879760"/>
                  <a:pt x="160552" y="933326"/>
                  <a:pt x="88978" y="1014664"/>
                </a:cubicBezTo>
                <a:close/>
                <a:moveTo>
                  <a:pt x="467237" y="870598"/>
                </a:moveTo>
                <a:cubicBezTo>
                  <a:pt x="558628" y="483350"/>
                  <a:pt x="808015" y="194184"/>
                  <a:pt x="1122800" y="102276"/>
                </a:cubicBezTo>
                <a:cubicBezTo>
                  <a:pt x="867812" y="410743"/>
                  <a:pt x="798996" y="698903"/>
                  <a:pt x="790409" y="1041834"/>
                </a:cubicBezTo>
                <a:cubicBezTo>
                  <a:pt x="720185" y="945733"/>
                  <a:pt x="602026" y="880967"/>
                  <a:pt x="467237" y="870598"/>
                </a:cubicBezTo>
                <a:close/>
                <a:moveTo>
                  <a:pt x="863217" y="1015755"/>
                </a:moveTo>
                <a:cubicBezTo>
                  <a:pt x="874504" y="703843"/>
                  <a:pt x="941913" y="438286"/>
                  <a:pt x="1171281" y="156617"/>
                </a:cubicBezTo>
                <a:lnTo>
                  <a:pt x="1171281" y="870081"/>
                </a:lnTo>
                <a:cubicBezTo>
                  <a:pt x="1046746" y="878209"/>
                  <a:pt x="935853" y="932780"/>
                  <a:pt x="863217" y="1015755"/>
                </a:cubicBezTo>
                <a:close/>
                <a:moveTo>
                  <a:pt x="1243084" y="870713"/>
                </a:moveTo>
                <a:lnTo>
                  <a:pt x="1243084" y="146048"/>
                </a:lnTo>
                <a:cubicBezTo>
                  <a:pt x="1484285" y="437482"/>
                  <a:pt x="1551062" y="710793"/>
                  <a:pt x="1560368" y="1035085"/>
                </a:cubicBezTo>
                <a:cubicBezTo>
                  <a:pt x="1490230" y="943206"/>
                  <a:pt x="1375317" y="881082"/>
                  <a:pt x="1243084" y="870713"/>
                </a:cubicBezTo>
                <a:close/>
                <a:moveTo>
                  <a:pt x="1632659" y="1046372"/>
                </a:moveTo>
                <a:cubicBezTo>
                  <a:pt x="1624560" y="701430"/>
                  <a:pt x="1556232" y="412121"/>
                  <a:pt x="1300096" y="102276"/>
                </a:cubicBezTo>
                <a:cubicBezTo>
                  <a:pt x="1614995" y="194242"/>
                  <a:pt x="1864411" y="483522"/>
                  <a:pt x="1955744" y="870972"/>
                </a:cubicBezTo>
                <a:cubicBezTo>
                  <a:pt x="1819261" y="882403"/>
                  <a:pt x="1701389" y="948950"/>
                  <a:pt x="1632659" y="1046372"/>
                </a:cubicBezTo>
                <a:close/>
                <a:moveTo>
                  <a:pt x="2029759" y="870627"/>
                </a:moveTo>
                <a:cubicBezTo>
                  <a:pt x="1952700" y="525340"/>
                  <a:pt x="1756591" y="250622"/>
                  <a:pt x="1498789" y="107446"/>
                </a:cubicBezTo>
                <a:cubicBezTo>
                  <a:pt x="1928057" y="218339"/>
                  <a:pt x="2260333" y="573104"/>
                  <a:pt x="2337909" y="1014664"/>
                </a:cubicBezTo>
                <a:cubicBezTo>
                  <a:pt x="2265532" y="932435"/>
                  <a:pt x="2154926" y="878640"/>
                  <a:pt x="2029759" y="870627"/>
                </a:cubicBezTo>
                <a:close/>
              </a:path>
            </a:pathLst>
          </a:custGeom>
          <a:solidFill>
            <a:schemeClr val="bg2"/>
          </a:solidFill>
          <a:ln w="28670" cap="flat">
            <a:noFill/>
            <a:prstDash val="solid"/>
            <a:miter/>
          </a:ln>
        </p:spPr>
        <p:txBody>
          <a:bodyPr rtlCol="0" anchor="ctr"/>
          <a:lstStyle/>
          <a:p>
            <a:endParaRPr lang="en-US" dirty="0"/>
          </a:p>
        </p:txBody>
      </p:sp>
      <p:sp>
        <p:nvSpPr>
          <p:cNvPr id="663" name="Rectangle 662">
            <a:extLst>
              <a:ext uri="{FF2B5EF4-FFF2-40B4-BE49-F238E27FC236}">
                <a16:creationId xmlns:a16="http://schemas.microsoft.com/office/drawing/2014/main" id="{8568996D-1E9C-4BDF-8C86-58C66E72A0C6}"/>
              </a:ext>
            </a:extLst>
          </p:cNvPr>
          <p:cNvSpPr/>
          <p:nvPr/>
        </p:nvSpPr>
        <p:spPr>
          <a:xfrm>
            <a:off x="7849357" y="5476837"/>
            <a:ext cx="1177814" cy="430887"/>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AnyConnect</a:t>
            </a:r>
          </a:p>
        </p:txBody>
      </p:sp>
      <p:sp>
        <p:nvSpPr>
          <p:cNvPr id="664" name="Oval 663">
            <a:extLst>
              <a:ext uri="{FF2B5EF4-FFF2-40B4-BE49-F238E27FC236}">
                <a16:creationId xmlns:a16="http://schemas.microsoft.com/office/drawing/2014/main" id="{B8D114A6-681F-4958-9D85-EA8969BA36CD}"/>
              </a:ext>
            </a:extLst>
          </p:cNvPr>
          <p:cNvSpPr/>
          <p:nvPr/>
        </p:nvSpPr>
        <p:spPr>
          <a:xfrm>
            <a:off x="7751750" y="1820962"/>
            <a:ext cx="1453896" cy="1453896"/>
          </a:xfrm>
          <a:prstGeom prst="ellipse">
            <a:avLst/>
          </a:prstGeom>
          <a:noFill/>
          <a:ln w="9525" cap="rnd">
            <a:solidFill>
              <a:schemeClr val="accent3"/>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5" name="Oval 664">
            <a:extLst>
              <a:ext uri="{FF2B5EF4-FFF2-40B4-BE49-F238E27FC236}">
                <a16:creationId xmlns:a16="http://schemas.microsoft.com/office/drawing/2014/main" id="{43227F27-0B68-4D19-8885-8AA70710BC55}"/>
              </a:ext>
            </a:extLst>
          </p:cNvPr>
          <p:cNvSpPr/>
          <p:nvPr/>
        </p:nvSpPr>
        <p:spPr>
          <a:xfrm>
            <a:off x="7674024" y="3852863"/>
            <a:ext cx="1528480" cy="1528480"/>
          </a:xfrm>
          <a:prstGeom prst="ellipse">
            <a:avLst/>
          </a:prstGeom>
          <a:solidFill>
            <a:schemeClr val="bg2"/>
          </a:solidFill>
          <a:ln w="9525" cap="rnd">
            <a:solidFill>
              <a:schemeClr val="accent3"/>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endParaRPr lang="en-US" sz="1200" dirty="0"/>
          </a:p>
        </p:txBody>
      </p:sp>
      <p:grpSp>
        <p:nvGrpSpPr>
          <p:cNvPr id="666" name="Group 665">
            <a:extLst>
              <a:ext uri="{FF2B5EF4-FFF2-40B4-BE49-F238E27FC236}">
                <a16:creationId xmlns:a16="http://schemas.microsoft.com/office/drawing/2014/main" id="{DA6D1CB7-1621-48A3-AAE7-F299C8F227FC}"/>
              </a:ext>
            </a:extLst>
          </p:cNvPr>
          <p:cNvGrpSpPr/>
          <p:nvPr/>
        </p:nvGrpSpPr>
        <p:grpSpPr>
          <a:xfrm>
            <a:off x="7892548" y="4071387"/>
            <a:ext cx="1091432" cy="1091432"/>
            <a:chOff x="7613238" y="4001212"/>
            <a:chExt cx="1224145" cy="1224145"/>
          </a:xfrm>
        </p:grpSpPr>
        <p:sp>
          <p:nvSpPr>
            <p:cNvPr id="667" name="Oval 666">
              <a:extLst>
                <a:ext uri="{FF2B5EF4-FFF2-40B4-BE49-F238E27FC236}">
                  <a16:creationId xmlns:a16="http://schemas.microsoft.com/office/drawing/2014/main" id="{09839DA1-701B-4670-A794-D71C10C0EB2E}"/>
                </a:ext>
              </a:extLst>
            </p:cNvPr>
            <p:cNvSpPr/>
            <p:nvPr/>
          </p:nvSpPr>
          <p:spPr>
            <a:xfrm>
              <a:off x="7613238" y="4001212"/>
              <a:ext cx="1224145" cy="1224145"/>
            </a:xfrm>
            <a:prstGeom prst="ellipse">
              <a:avLst/>
            </a:prstGeom>
            <a:solidFill>
              <a:schemeClr val="accent2">
                <a:alpha val="7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68" name="Group 667">
              <a:extLst>
                <a:ext uri="{FF2B5EF4-FFF2-40B4-BE49-F238E27FC236}">
                  <a16:creationId xmlns:a16="http://schemas.microsoft.com/office/drawing/2014/main" id="{47C30AE1-78A8-4F52-BD96-44C12FE24263}"/>
                </a:ext>
              </a:extLst>
            </p:cNvPr>
            <p:cNvGrpSpPr/>
            <p:nvPr/>
          </p:nvGrpSpPr>
          <p:grpSpPr>
            <a:xfrm>
              <a:off x="7955911" y="4304546"/>
              <a:ext cx="538799" cy="617477"/>
              <a:chOff x="4736130" y="-2038349"/>
              <a:chExt cx="1070499" cy="1226818"/>
            </a:xfrm>
            <a:solidFill>
              <a:schemeClr val="bg2"/>
            </a:solidFill>
          </p:grpSpPr>
          <p:sp>
            <p:nvSpPr>
              <p:cNvPr id="669" name="Freeform: Shape 668">
                <a:extLst>
                  <a:ext uri="{FF2B5EF4-FFF2-40B4-BE49-F238E27FC236}">
                    <a16:creationId xmlns:a16="http://schemas.microsoft.com/office/drawing/2014/main" id="{825668AF-F8C2-4A7E-B753-E5F72518C38C}"/>
                  </a:ext>
                </a:extLst>
              </p:cNvPr>
              <p:cNvSpPr/>
              <p:nvPr/>
            </p:nvSpPr>
            <p:spPr>
              <a:xfrm>
                <a:off x="4964427" y="-2000249"/>
                <a:ext cx="609601" cy="1188718"/>
              </a:xfrm>
              <a:custGeom>
                <a:avLst/>
                <a:gdLst>
                  <a:gd name="connsiteX0" fmla="*/ 304801 w 609601"/>
                  <a:gd name="connsiteY0" fmla="*/ 1188718 h 1188718"/>
                  <a:gd name="connsiteX1" fmla="*/ 0 w 609601"/>
                  <a:gd name="connsiteY1" fmla="*/ 594359 h 1188718"/>
                  <a:gd name="connsiteX2" fmla="*/ 304801 w 609601"/>
                  <a:gd name="connsiteY2" fmla="*/ 0 h 1188718"/>
                  <a:gd name="connsiteX3" fmla="*/ 609601 w 609601"/>
                  <a:gd name="connsiteY3" fmla="*/ 594359 h 1188718"/>
                  <a:gd name="connsiteX4" fmla="*/ 304801 w 609601"/>
                  <a:gd name="connsiteY4" fmla="*/ 1188718 h 1188718"/>
                  <a:gd name="connsiteX5" fmla="*/ 304801 w 609601"/>
                  <a:gd name="connsiteY5" fmla="*/ 41910 h 1188718"/>
                  <a:gd name="connsiteX6" fmla="*/ 38100 w 609601"/>
                  <a:gd name="connsiteY6" fmla="*/ 598169 h 1188718"/>
                  <a:gd name="connsiteX7" fmla="*/ 304801 w 609601"/>
                  <a:gd name="connsiteY7" fmla="*/ 1154428 h 1188718"/>
                  <a:gd name="connsiteX8" fmla="*/ 571501 w 609601"/>
                  <a:gd name="connsiteY8" fmla="*/ 598169 h 1188718"/>
                  <a:gd name="connsiteX9" fmla="*/ 304801 w 609601"/>
                  <a:gd name="connsiteY9" fmla="*/ 41910 h 118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1" h="1188718">
                    <a:moveTo>
                      <a:pt x="304801" y="1188718"/>
                    </a:moveTo>
                    <a:cubicBezTo>
                      <a:pt x="133350" y="1188718"/>
                      <a:pt x="0" y="929639"/>
                      <a:pt x="0" y="594359"/>
                    </a:cubicBezTo>
                    <a:cubicBezTo>
                      <a:pt x="0" y="259080"/>
                      <a:pt x="133350" y="0"/>
                      <a:pt x="304801" y="0"/>
                    </a:cubicBezTo>
                    <a:cubicBezTo>
                      <a:pt x="476251" y="0"/>
                      <a:pt x="609601" y="259080"/>
                      <a:pt x="609601" y="594359"/>
                    </a:cubicBezTo>
                    <a:cubicBezTo>
                      <a:pt x="609601" y="929639"/>
                      <a:pt x="476251" y="1188718"/>
                      <a:pt x="304801" y="1188718"/>
                    </a:cubicBezTo>
                    <a:close/>
                    <a:moveTo>
                      <a:pt x="304801" y="41910"/>
                    </a:moveTo>
                    <a:cubicBezTo>
                      <a:pt x="160020" y="41910"/>
                      <a:pt x="38100" y="297180"/>
                      <a:pt x="38100" y="598169"/>
                    </a:cubicBezTo>
                    <a:cubicBezTo>
                      <a:pt x="38100" y="899159"/>
                      <a:pt x="160020" y="1154428"/>
                      <a:pt x="304801" y="1154428"/>
                    </a:cubicBezTo>
                    <a:cubicBezTo>
                      <a:pt x="449581" y="1154428"/>
                      <a:pt x="571501" y="899159"/>
                      <a:pt x="571501" y="598169"/>
                    </a:cubicBezTo>
                    <a:cubicBezTo>
                      <a:pt x="571501" y="297180"/>
                      <a:pt x="449581" y="41910"/>
                      <a:pt x="304801" y="41910"/>
                    </a:cubicBezTo>
                    <a:close/>
                  </a:path>
                </a:pathLst>
              </a:custGeom>
              <a:grpFill/>
              <a:ln w="38100" cap="flat">
                <a:noFill/>
                <a:prstDash val="solid"/>
                <a:miter/>
              </a:ln>
            </p:spPr>
            <p:txBody>
              <a:bodyPr rtlCol="0" anchor="ctr"/>
              <a:lstStyle/>
              <a:p>
                <a:endParaRPr lang="en-IN" dirty="0"/>
              </a:p>
            </p:txBody>
          </p:sp>
          <p:sp>
            <p:nvSpPr>
              <p:cNvPr id="670" name="Freeform: Shape 669">
                <a:extLst>
                  <a:ext uri="{FF2B5EF4-FFF2-40B4-BE49-F238E27FC236}">
                    <a16:creationId xmlns:a16="http://schemas.microsoft.com/office/drawing/2014/main" id="{8C9ED67F-58BD-4525-9EFF-E310789196CC}"/>
                  </a:ext>
                </a:extLst>
              </p:cNvPr>
              <p:cNvSpPr/>
              <p:nvPr/>
            </p:nvSpPr>
            <p:spPr>
              <a:xfrm>
                <a:off x="4736130" y="-1803088"/>
                <a:ext cx="1070499" cy="797247"/>
              </a:xfrm>
              <a:custGeom>
                <a:avLst/>
                <a:gdLst>
                  <a:gd name="connsiteX0" fmla="*/ 251157 w 1070499"/>
                  <a:gd name="connsiteY0" fmla="*/ 797248 h 797247"/>
                  <a:gd name="connsiteX1" fmla="*/ 22557 w 1070499"/>
                  <a:gd name="connsiteY1" fmla="*/ 694378 h 797247"/>
                  <a:gd name="connsiteX2" fmla="*/ 384507 w 1070499"/>
                  <a:gd name="connsiteY2" fmla="*/ 134309 h 797247"/>
                  <a:gd name="connsiteX3" fmla="*/ 384507 w 1070499"/>
                  <a:gd name="connsiteY3" fmla="*/ 134309 h 797247"/>
                  <a:gd name="connsiteX4" fmla="*/ 784558 w 1070499"/>
                  <a:gd name="connsiteY4" fmla="*/ 959 h 797247"/>
                  <a:gd name="connsiteX5" fmla="*/ 1047449 w 1070499"/>
                  <a:gd name="connsiteY5" fmla="*/ 103829 h 797247"/>
                  <a:gd name="connsiteX6" fmla="*/ 1001729 w 1070499"/>
                  <a:gd name="connsiteY6" fmla="*/ 381959 h 797247"/>
                  <a:gd name="connsiteX7" fmla="*/ 685498 w 1070499"/>
                  <a:gd name="connsiteY7" fmla="*/ 663898 h 797247"/>
                  <a:gd name="connsiteX8" fmla="*/ 285447 w 1070499"/>
                  <a:gd name="connsiteY8" fmla="*/ 797248 h 797247"/>
                  <a:gd name="connsiteX9" fmla="*/ 251157 w 1070499"/>
                  <a:gd name="connsiteY9" fmla="*/ 797248 h 797247"/>
                  <a:gd name="connsiteX10" fmla="*/ 399747 w 1070499"/>
                  <a:gd name="connsiteY10" fmla="*/ 168599 h 797247"/>
                  <a:gd name="connsiteX11" fmla="*/ 53037 w 1070499"/>
                  <a:gd name="connsiteY11" fmla="*/ 675328 h 797247"/>
                  <a:gd name="connsiteX12" fmla="*/ 281637 w 1070499"/>
                  <a:gd name="connsiteY12" fmla="*/ 755338 h 797247"/>
                  <a:gd name="connsiteX13" fmla="*/ 666448 w 1070499"/>
                  <a:gd name="connsiteY13" fmla="*/ 625798 h 797247"/>
                  <a:gd name="connsiteX14" fmla="*/ 971249 w 1070499"/>
                  <a:gd name="connsiteY14" fmla="*/ 355289 h 797247"/>
                  <a:gd name="connsiteX15" fmla="*/ 1016969 w 1070499"/>
                  <a:gd name="connsiteY15" fmla="*/ 115259 h 797247"/>
                  <a:gd name="connsiteX16" fmla="*/ 788368 w 1070499"/>
                  <a:gd name="connsiteY16" fmla="*/ 35249 h 797247"/>
                  <a:gd name="connsiteX17" fmla="*/ 399747 w 1070499"/>
                  <a:gd name="connsiteY17" fmla="*/ 168599 h 797247"/>
                  <a:gd name="connsiteX18" fmla="*/ 399747 w 1070499"/>
                  <a:gd name="connsiteY18" fmla="*/ 168599 h 79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0499" h="797247">
                    <a:moveTo>
                      <a:pt x="251157" y="797248"/>
                    </a:moveTo>
                    <a:cubicBezTo>
                      <a:pt x="140667" y="797248"/>
                      <a:pt x="60657" y="762958"/>
                      <a:pt x="22557" y="694378"/>
                    </a:cubicBezTo>
                    <a:cubicBezTo>
                      <a:pt x="-61264" y="545788"/>
                      <a:pt x="94947" y="301949"/>
                      <a:pt x="384507" y="134309"/>
                    </a:cubicBezTo>
                    <a:lnTo>
                      <a:pt x="384507" y="134309"/>
                    </a:lnTo>
                    <a:cubicBezTo>
                      <a:pt x="521668" y="54299"/>
                      <a:pt x="662638" y="8579"/>
                      <a:pt x="784558" y="959"/>
                    </a:cubicBezTo>
                    <a:cubicBezTo>
                      <a:pt x="910288" y="-6661"/>
                      <a:pt x="1005539" y="31439"/>
                      <a:pt x="1047449" y="103829"/>
                    </a:cubicBezTo>
                    <a:cubicBezTo>
                      <a:pt x="1089359" y="176219"/>
                      <a:pt x="1074119" y="275279"/>
                      <a:pt x="1001729" y="381959"/>
                    </a:cubicBezTo>
                    <a:cubicBezTo>
                      <a:pt x="933149" y="484828"/>
                      <a:pt x="822658" y="583888"/>
                      <a:pt x="685498" y="663898"/>
                    </a:cubicBezTo>
                    <a:cubicBezTo>
                      <a:pt x="548338" y="743908"/>
                      <a:pt x="407367" y="789628"/>
                      <a:pt x="285447" y="797248"/>
                    </a:cubicBezTo>
                    <a:cubicBezTo>
                      <a:pt x="274017" y="797248"/>
                      <a:pt x="262587" y="797248"/>
                      <a:pt x="251157" y="797248"/>
                    </a:cubicBezTo>
                    <a:close/>
                    <a:moveTo>
                      <a:pt x="399747" y="168599"/>
                    </a:moveTo>
                    <a:cubicBezTo>
                      <a:pt x="140667" y="320999"/>
                      <a:pt x="-19354" y="553408"/>
                      <a:pt x="53037" y="675328"/>
                    </a:cubicBezTo>
                    <a:cubicBezTo>
                      <a:pt x="87327" y="736288"/>
                      <a:pt x="167337" y="762958"/>
                      <a:pt x="281637" y="755338"/>
                    </a:cubicBezTo>
                    <a:cubicBezTo>
                      <a:pt x="399747" y="747718"/>
                      <a:pt x="536908" y="701998"/>
                      <a:pt x="666448" y="625798"/>
                    </a:cubicBezTo>
                    <a:cubicBezTo>
                      <a:pt x="795988" y="549598"/>
                      <a:pt x="906478" y="454349"/>
                      <a:pt x="971249" y="355289"/>
                    </a:cubicBezTo>
                    <a:cubicBezTo>
                      <a:pt x="1032209" y="260039"/>
                      <a:pt x="1051259" y="176219"/>
                      <a:pt x="1016969" y="115259"/>
                    </a:cubicBezTo>
                    <a:cubicBezTo>
                      <a:pt x="982679" y="54299"/>
                      <a:pt x="902668" y="27629"/>
                      <a:pt x="788368" y="35249"/>
                    </a:cubicBezTo>
                    <a:cubicBezTo>
                      <a:pt x="666448" y="46679"/>
                      <a:pt x="529288" y="92399"/>
                      <a:pt x="399747" y="168599"/>
                    </a:cubicBezTo>
                    <a:lnTo>
                      <a:pt x="399747" y="168599"/>
                    </a:lnTo>
                    <a:close/>
                  </a:path>
                </a:pathLst>
              </a:custGeom>
              <a:grpFill/>
              <a:ln w="38100" cap="flat">
                <a:noFill/>
                <a:prstDash val="solid"/>
                <a:miter/>
              </a:ln>
            </p:spPr>
            <p:txBody>
              <a:bodyPr rtlCol="0" anchor="ctr"/>
              <a:lstStyle/>
              <a:p>
                <a:endParaRPr lang="en-IN" dirty="0"/>
              </a:p>
            </p:txBody>
          </p:sp>
          <p:sp>
            <p:nvSpPr>
              <p:cNvPr id="671" name="Freeform: Shape 670">
                <a:extLst>
                  <a:ext uri="{FF2B5EF4-FFF2-40B4-BE49-F238E27FC236}">
                    <a16:creationId xmlns:a16="http://schemas.microsoft.com/office/drawing/2014/main" id="{71C9A3FD-BB6D-47F1-8EEE-CA80E02F72FF}"/>
                  </a:ext>
                </a:extLst>
              </p:cNvPr>
              <p:cNvSpPr/>
              <p:nvPr/>
            </p:nvSpPr>
            <p:spPr>
              <a:xfrm>
                <a:off x="4736130" y="-1803088"/>
                <a:ext cx="1070499" cy="797247"/>
              </a:xfrm>
              <a:custGeom>
                <a:avLst/>
                <a:gdLst>
                  <a:gd name="connsiteX0" fmla="*/ 818848 w 1070499"/>
                  <a:gd name="connsiteY0" fmla="*/ 797248 h 797247"/>
                  <a:gd name="connsiteX1" fmla="*/ 784558 w 1070499"/>
                  <a:gd name="connsiteY1" fmla="*/ 797248 h 797247"/>
                  <a:gd name="connsiteX2" fmla="*/ 384507 w 1070499"/>
                  <a:gd name="connsiteY2" fmla="*/ 663898 h 797247"/>
                  <a:gd name="connsiteX3" fmla="*/ 22557 w 1070499"/>
                  <a:gd name="connsiteY3" fmla="*/ 103829 h 797247"/>
                  <a:gd name="connsiteX4" fmla="*/ 285447 w 1070499"/>
                  <a:gd name="connsiteY4" fmla="*/ 959 h 797247"/>
                  <a:gd name="connsiteX5" fmla="*/ 685498 w 1070499"/>
                  <a:gd name="connsiteY5" fmla="*/ 134309 h 797247"/>
                  <a:gd name="connsiteX6" fmla="*/ 1001729 w 1070499"/>
                  <a:gd name="connsiteY6" fmla="*/ 416249 h 797247"/>
                  <a:gd name="connsiteX7" fmla="*/ 1047449 w 1070499"/>
                  <a:gd name="connsiteY7" fmla="*/ 694378 h 797247"/>
                  <a:gd name="connsiteX8" fmla="*/ 818848 w 1070499"/>
                  <a:gd name="connsiteY8" fmla="*/ 797248 h 797247"/>
                  <a:gd name="connsiteX9" fmla="*/ 251157 w 1070499"/>
                  <a:gd name="connsiteY9" fmla="*/ 39059 h 797247"/>
                  <a:gd name="connsiteX10" fmla="*/ 53037 w 1070499"/>
                  <a:gd name="connsiteY10" fmla="*/ 122879 h 797247"/>
                  <a:gd name="connsiteX11" fmla="*/ 399747 w 1070499"/>
                  <a:gd name="connsiteY11" fmla="*/ 629608 h 797247"/>
                  <a:gd name="connsiteX12" fmla="*/ 784558 w 1070499"/>
                  <a:gd name="connsiteY12" fmla="*/ 759148 h 797247"/>
                  <a:gd name="connsiteX13" fmla="*/ 1013159 w 1070499"/>
                  <a:gd name="connsiteY13" fmla="*/ 679138 h 797247"/>
                  <a:gd name="connsiteX14" fmla="*/ 967438 w 1070499"/>
                  <a:gd name="connsiteY14" fmla="*/ 439109 h 797247"/>
                  <a:gd name="connsiteX15" fmla="*/ 662638 w 1070499"/>
                  <a:gd name="connsiteY15" fmla="*/ 168599 h 797247"/>
                  <a:gd name="connsiteX16" fmla="*/ 277827 w 1070499"/>
                  <a:gd name="connsiteY16" fmla="*/ 39059 h 797247"/>
                  <a:gd name="connsiteX17" fmla="*/ 251157 w 1070499"/>
                  <a:gd name="connsiteY17" fmla="*/ 39059 h 79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0499" h="797247">
                    <a:moveTo>
                      <a:pt x="818848" y="797248"/>
                    </a:moveTo>
                    <a:cubicBezTo>
                      <a:pt x="807418" y="797248"/>
                      <a:pt x="795988" y="797248"/>
                      <a:pt x="784558" y="797248"/>
                    </a:cubicBezTo>
                    <a:cubicBezTo>
                      <a:pt x="662638" y="789628"/>
                      <a:pt x="517858" y="743908"/>
                      <a:pt x="384507" y="663898"/>
                    </a:cubicBezTo>
                    <a:cubicBezTo>
                      <a:pt x="94947" y="496258"/>
                      <a:pt x="-61264" y="252419"/>
                      <a:pt x="22557" y="103829"/>
                    </a:cubicBezTo>
                    <a:cubicBezTo>
                      <a:pt x="60657" y="31439"/>
                      <a:pt x="155907" y="-6661"/>
                      <a:pt x="285447" y="959"/>
                    </a:cubicBezTo>
                    <a:cubicBezTo>
                      <a:pt x="407367" y="8579"/>
                      <a:pt x="552148" y="54299"/>
                      <a:pt x="685498" y="134309"/>
                    </a:cubicBezTo>
                    <a:cubicBezTo>
                      <a:pt x="822658" y="214319"/>
                      <a:pt x="933149" y="313379"/>
                      <a:pt x="1001729" y="416249"/>
                    </a:cubicBezTo>
                    <a:cubicBezTo>
                      <a:pt x="1074119" y="522928"/>
                      <a:pt x="1089359" y="621988"/>
                      <a:pt x="1047449" y="694378"/>
                    </a:cubicBezTo>
                    <a:cubicBezTo>
                      <a:pt x="1009349" y="762958"/>
                      <a:pt x="929338" y="797248"/>
                      <a:pt x="818848" y="797248"/>
                    </a:cubicBezTo>
                    <a:close/>
                    <a:moveTo>
                      <a:pt x="251157" y="39059"/>
                    </a:moveTo>
                    <a:cubicBezTo>
                      <a:pt x="155907" y="39059"/>
                      <a:pt x="87327" y="69539"/>
                      <a:pt x="53037" y="122879"/>
                    </a:cubicBezTo>
                    <a:cubicBezTo>
                      <a:pt x="-19354" y="248609"/>
                      <a:pt x="140667" y="481018"/>
                      <a:pt x="399747" y="629608"/>
                    </a:cubicBezTo>
                    <a:cubicBezTo>
                      <a:pt x="529288" y="705808"/>
                      <a:pt x="666448" y="751528"/>
                      <a:pt x="784558" y="759148"/>
                    </a:cubicBezTo>
                    <a:cubicBezTo>
                      <a:pt x="898858" y="766768"/>
                      <a:pt x="978869" y="736288"/>
                      <a:pt x="1013159" y="679138"/>
                    </a:cubicBezTo>
                    <a:cubicBezTo>
                      <a:pt x="1047449" y="618178"/>
                      <a:pt x="1032209" y="534358"/>
                      <a:pt x="967438" y="439109"/>
                    </a:cubicBezTo>
                    <a:cubicBezTo>
                      <a:pt x="902668" y="340049"/>
                      <a:pt x="795988" y="244799"/>
                      <a:pt x="662638" y="168599"/>
                    </a:cubicBezTo>
                    <a:cubicBezTo>
                      <a:pt x="529288" y="92399"/>
                      <a:pt x="395937" y="46679"/>
                      <a:pt x="277827" y="39059"/>
                    </a:cubicBezTo>
                    <a:cubicBezTo>
                      <a:pt x="270207" y="39059"/>
                      <a:pt x="258777" y="39059"/>
                      <a:pt x="251157" y="39059"/>
                    </a:cubicBezTo>
                    <a:close/>
                  </a:path>
                </a:pathLst>
              </a:custGeom>
              <a:grpFill/>
              <a:ln w="38100" cap="flat">
                <a:noFill/>
                <a:prstDash val="solid"/>
                <a:miter/>
              </a:ln>
            </p:spPr>
            <p:txBody>
              <a:bodyPr rtlCol="0" anchor="ctr"/>
              <a:lstStyle/>
              <a:p>
                <a:endParaRPr lang="en-IN" dirty="0"/>
              </a:p>
            </p:txBody>
          </p:sp>
          <p:sp>
            <p:nvSpPr>
              <p:cNvPr id="672" name="Freeform: Shape 671">
                <a:extLst>
                  <a:ext uri="{FF2B5EF4-FFF2-40B4-BE49-F238E27FC236}">
                    <a16:creationId xmlns:a16="http://schemas.microsoft.com/office/drawing/2014/main" id="{3A5D5BC9-913B-42F3-B564-48B62285EE54}"/>
                  </a:ext>
                </a:extLst>
              </p:cNvPr>
              <p:cNvSpPr/>
              <p:nvPr/>
            </p:nvSpPr>
            <p:spPr>
              <a:xfrm>
                <a:off x="4777737" y="-1463039"/>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7" y="0"/>
                      <a:pt x="121920" y="27293"/>
                      <a:pt x="121920" y="60960"/>
                    </a:cubicBezTo>
                    <a:close/>
                  </a:path>
                </a:pathLst>
              </a:custGeom>
              <a:grpFill/>
              <a:ln w="38100" cap="flat">
                <a:noFill/>
                <a:prstDash val="solid"/>
                <a:miter/>
              </a:ln>
            </p:spPr>
            <p:txBody>
              <a:bodyPr rtlCol="0" anchor="ctr"/>
              <a:lstStyle/>
              <a:p>
                <a:endParaRPr lang="en-IN" dirty="0"/>
              </a:p>
            </p:txBody>
          </p:sp>
          <p:sp>
            <p:nvSpPr>
              <p:cNvPr id="673" name="Freeform: Shape 672">
                <a:extLst>
                  <a:ext uri="{FF2B5EF4-FFF2-40B4-BE49-F238E27FC236}">
                    <a16:creationId xmlns:a16="http://schemas.microsoft.com/office/drawing/2014/main" id="{FD2D3B05-19AE-4506-9093-266DED907CF6}"/>
                  </a:ext>
                </a:extLst>
              </p:cNvPr>
              <p:cNvSpPr/>
              <p:nvPr/>
            </p:nvSpPr>
            <p:spPr>
              <a:xfrm>
                <a:off x="5208268" y="-1146810"/>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8" y="0"/>
                      <a:pt x="121920" y="27293"/>
                      <a:pt x="121920" y="60960"/>
                    </a:cubicBezTo>
                    <a:close/>
                  </a:path>
                </a:pathLst>
              </a:custGeom>
              <a:grpFill/>
              <a:ln w="38100" cap="flat">
                <a:noFill/>
                <a:prstDash val="solid"/>
                <a:miter/>
              </a:ln>
            </p:spPr>
            <p:txBody>
              <a:bodyPr rtlCol="0" anchor="ctr"/>
              <a:lstStyle/>
              <a:p>
                <a:endParaRPr lang="en-IN" dirty="0"/>
              </a:p>
            </p:txBody>
          </p:sp>
          <p:sp>
            <p:nvSpPr>
              <p:cNvPr id="674" name="Freeform: Shape 673">
                <a:extLst>
                  <a:ext uri="{FF2B5EF4-FFF2-40B4-BE49-F238E27FC236}">
                    <a16:creationId xmlns:a16="http://schemas.microsoft.com/office/drawing/2014/main" id="{BDBA8BB5-8D66-4100-B9A5-DDB2193D7FD2}"/>
                  </a:ext>
                </a:extLst>
              </p:cNvPr>
              <p:cNvSpPr/>
              <p:nvPr/>
            </p:nvSpPr>
            <p:spPr>
              <a:xfrm>
                <a:off x="5208268" y="-2038349"/>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8" y="0"/>
                      <a:pt x="121920" y="27293"/>
                      <a:pt x="121920" y="60960"/>
                    </a:cubicBezTo>
                    <a:close/>
                  </a:path>
                </a:pathLst>
              </a:custGeom>
              <a:grpFill/>
              <a:ln w="38100" cap="flat">
                <a:noFill/>
                <a:prstDash val="solid"/>
                <a:miter/>
              </a:ln>
            </p:spPr>
            <p:txBody>
              <a:bodyPr rtlCol="0" anchor="ctr"/>
              <a:lstStyle/>
              <a:p>
                <a:endParaRPr lang="en-IN" dirty="0"/>
              </a:p>
            </p:txBody>
          </p:sp>
        </p:grpSp>
      </p:grpSp>
      <p:sp>
        <p:nvSpPr>
          <p:cNvPr id="675" name="Rectangle 674">
            <a:extLst>
              <a:ext uri="{FF2B5EF4-FFF2-40B4-BE49-F238E27FC236}">
                <a16:creationId xmlns:a16="http://schemas.microsoft.com/office/drawing/2014/main" id="{BF2CCBA3-ACA9-439E-98FE-A2BB6095EA10}"/>
              </a:ext>
            </a:extLst>
          </p:cNvPr>
          <p:cNvSpPr/>
          <p:nvPr/>
        </p:nvSpPr>
        <p:spPr>
          <a:xfrm>
            <a:off x="7778102" y="1491247"/>
            <a:ext cx="1323360" cy="215444"/>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Umbrella</a:t>
            </a:r>
          </a:p>
        </p:txBody>
      </p:sp>
      <p:grpSp>
        <p:nvGrpSpPr>
          <p:cNvPr id="393" name="Group 392">
            <a:extLst>
              <a:ext uri="{FF2B5EF4-FFF2-40B4-BE49-F238E27FC236}">
                <a16:creationId xmlns:a16="http://schemas.microsoft.com/office/drawing/2014/main" id="{6038DFD4-FE3B-4370-A035-D7B332A278D5}"/>
              </a:ext>
            </a:extLst>
          </p:cNvPr>
          <p:cNvGrpSpPr/>
          <p:nvPr/>
        </p:nvGrpSpPr>
        <p:grpSpPr>
          <a:xfrm>
            <a:off x="3148224" y="4469302"/>
            <a:ext cx="1717754" cy="560762"/>
            <a:chOff x="3148224" y="4469302"/>
            <a:chExt cx="1717754" cy="560762"/>
          </a:xfrm>
        </p:grpSpPr>
        <p:grpSp>
          <p:nvGrpSpPr>
            <p:cNvPr id="394" name="Group 393">
              <a:extLst>
                <a:ext uri="{FF2B5EF4-FFF2-40B4-BE49-F238E27FC236}">
                  <a16:creationId xmlns:a16="http://schemas.microsoft.com/office/drawing/2014/main" id="{E4B26D37-1B88-443B-89C4-0EB16A13FF1B}"/>
                </a:ext>
              </a:extLst>
            </p:cNvPr>
            <p:cNvGrpSpPr/>
            <p:nvPr/>
          </p:nvGrpSpPr>
          <p:grpSpPr>
            <a:xfrm>
              <a:off x="3148224" y="4469302"/>
              <a:ext cx="1361534" cy="560762"/>
              <a:chOff x="3168702" y="4547644"/>
              <a:chExt cx="1647481" cy="407782"/>
            </a:xfrm>
          </p:grpSpPr>
          <p:sp>
            <p:nvSpPr>
              <p:cNvPr id="396" name="Freeform: Shape 395">
                <a:extLst>
                  <a:ext uri="{FF2B5EF4-FFF2-40B4-BE49-F238E27FC236}">
                    <a16:creationId xmlns:a16="http://schemas.microsoft.com/office/drawing/2014/main" id="{C03C48AF-72EF-445E-8B51-6F8AF4A4A249}"/>
                  </a:ext>
                </a:extLst>
              </p:cNvPr>
              <p:cNvSpPr/>
              <p:nvPr/>
            </p:nvSpPr>
            <p:spPr>
              <a:xfrm>
                <a:off x="3168702" y="4547644"/>
                <a:ext cx="309812"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69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1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69" y="210150"/>
                    </a:lnTo>
                    <a:lnTo>
                      <a:pt x="3020" y="12135"/>
                    </a:lnTo>
                    <a:cubicBezTo>
                      <a:pt x="-37" y="10186"/>
                      <a:pt x="-932" y="6076"/>
                      <a:pt x="1070" y="3020"/>
                    </a:cubicBezTo>
                    <a:cubicBezTo>
                      <a:pt x="3073" y="-36"/>
                      <a:pt x="7130" y="-932"/>
                      <a:pt x="10186" y="1070"/>
                    </a:cubicBezTo>
                    <a:lnTo>
                      <a:pt x="325913" y="204459"/>
                    </a:lnTo>
                    <a:cubicBezTo>
                      <a:pt x="327758" y="205671"/>
                      <a:pt x="328917" y="207673"/>
                      <a:pt x="328917" y="209886"/>
                    </a:cubicBezTo>
                    <a:cubicBezTo>
                      <a:pt x="328969" y="212100"/>
                      <a:pt x="327863" y="214155"/>
                      <a:pt x="326071" y="215419"/>
                    </a:cubicBezTo>
                    <a:lnTo>
                      <a:pt x="10344" y="431770"/>
                    </a:lnTo>
                    <a:cubicBezTo>
                      <a:pt x="9184" y="432561"/>
                      <a:pt x="7920"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397" name="Freeform: Shape 396">
                <a:extLst>
                  <a:ext uri="{FF2B5EF4-FFF2-40B4-BE49-F238E27FC236}">
                    <a16:creationId xmlns:a16="http://schemas.microsoft.com/office/drawing/2014/main" id="{4C40FFEA-F623-42BE-9659-227F39AC4193}"/>
                  </a:ext>
                </a:extLst>
              </p:cNvPr>
              <p:cNvSpPr/>
              <p:nvPr/>
            </p:nvSpPr>
            <p:spPr>
              <a:xfrm>
                <a:off x="3436807" y="4547644"/>
                <a:ext cx="309812" cy="407782"/>
              </a:xfrm>
              <a:custGeom>
                <a:avLst/>
                <a:gdLst>
                  <a:gd name="connsiteX0" fmla="*/ 6603 w 328918"/>
                  <a:gd name="connsiteY0" fmla="*/ 432930 h 432929"/>
                  <a:gd name="connsiteX1" fmla="*/ 1175 w 328918"/>
                  <a:gd name="connsiteY1" fmla="*/ 430084 h 432929"/>
                  <a:gd name="connsiteX2" fmla="*/ 2862 w 328918"/>
                  <a:gd name="connsiteY2" fmla="*/ 420916 h 432929"/>
                  <a:gd name="connsiteX3" fmla="*/ 310369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1 w 328918"/>
                  <a:gd name="connsiteY9" fmla="*/ 215419 h 432929"/>
                  <a:gd name="connsiteX10" fmla="*/ 10343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5" y="430084"/>
                    </a:cubicBezTo>
                    <a:cubicBezTo>
                      <a:pt x="-879" y="427081"/>
                      <a:pt x="-142" y="422971"/>
                      <a:pt x="2862" y="420916"/>
                    </a:cubicBezTo>
                    <a:lnTo>
                      <a:pt x="310369" y="210150"/>
                    </a:lnTo>
                    <a:lnTo>
                      <a:pt x="3020" y="12135"/>
                    </a:lnTo>
                    <a:cubicBezTo>
                      <a:pt x="-37" y="10186"/>
                      <a:pt x="-932" y="6076"/>
                      <a:pt x="1070" y="3020"/>
                    </a:cubicBezTo>
                    <a:cubicBezTo>
                      <a:pt x="3073" y="-36"/>
                      <a:pt x="7129" y="-932"/>
                      <a:pt x="10186" y="1070"/>
                    </a:cubicBezTo>
                    <a:lnTo>
                      <a:pt x="325913" y="204459"/>
                    </a:lnTo>
                    <a:cubicBezTo>
                      <a:pt x="327758" y="205671"/>
                      <a:pt x="328917" y="207673"/>
                      <a:pt x="328917" y="209886"/>
                    </a:cubicBezTo>
                    <a:cubicBezTo>
                      <a:pt x="328969" y="212100"/>
                      <a:pt x="327862" y="214155"/>
                      <a:pt x="326071" y="215419"/>
                    </a:cubicBezTo>
                    <a:lnTo>
                      <a:pt x="10343" y="431770"/>
                    </a:lnTo>
                    <a:cubicBezTo>
                      <a:pt x="9184" y="432561"/>
                      <a:pt x="7867"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398" name="Freeform: Shape 397">
                <a:extLst>
                  <a:ext uri="{FF2B5EF4-FFF2-40B4-BE49-F238E27FC236}">
                    <a16:creationId xmlns:a16="http://schemas.microsoft.com/office/drawing/2014/main" id="{46896C02-B097-4161-9FFB-CDE4D16C2037}"/>
                  </a:ext>
                </a:extLst>
              </p:cNvPr>
              <p:cNvSpPr/>
              <p:nvPr/>
            </p:nvSpPr>
            <p:spPr>
              <a:xfrm>
                <a:off x="3704913" y="4547644"/>
                <a:ext cx="309812"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70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2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70" y="210150"/>
                    </a:lnTo>
                    <a:lnTo>
                      <a:pt x="3020" y="12135"/>
                    </a:lnTo>
                    <a:cubicBezTo>
                      <a:pt x="-36" y="10186"/>
                      <a:pt x="-932" y="6076"/>
                      <a:pt x="1070" y="3020"/>
                    </a:cubicBezTo>
                    <a:cubicBezTo>
                      <a:pt x="3072" y="-36"/>
                      <a:pt x="7130" y="-932"/>
                      <a:pt x="10186" y="1070"/>
                    </a:cubicBezTo>
                    <a:lnTo>
                      <a:pt x="325913" y="204459"/>
                    </a:lnTo>
                    <a:cubicBezTo>
                      <a:pt x="327757" y="205671"/>
                      <a:pt x="328917" y="207673"/>
                      <a:pt x="328917" y="209886"/>
                    </a:cubicBezTo>
                    <a:cubicBezTo>
                      <a:pt x="328970" y="212100"/>
                      <a:pt x="327863" y="214155"/>
                      <a:pt x="326072" y="215419"/>
                    </a:cubicBezTo>
                    <a:lnTo>
                      <a:pt x="10344" y="431770"/>
                    </a:lnTo>
                    <a:cubicBezTo>
                      <a:pt x="9185" y="432561"/>
                      <a:pt x="7868"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399" name="Freeform: Shape 398">
                <a:extLst>
                  <a:ext uri="{FF2B5EF4-FFF2-40B4-BE49-F238E27FC236}">
                    <a16:creationId xmlns:a16="http://schemas.microsoft.com/office/drawing/2014/main" id="{5AE35577-D9F3-4D7C-AE19-D054B5DD1D3D}"/>
                  </a:ext>
                </a:extLst>
              </p:cNvPr>
              <p:cNvSpPr/>
              <p:nvPr/>
            </p:nvSpPr>
            <p:spPr>
              <a:xfrm>
                <a:off x="3972969" y="4547644"/>
                <a:ext cx="309812"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70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2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70" y="210150"/>
                    </a:lnTo>
                    <a:lnTo>
                      <a:pt x="3020" y="12135"/>
                    </a:lnTo>
                    <a:cubicBezTo>
                      <a:pt x="-36" y="10186"/>
                      <a:pt x="-932" y="6076"/>
                      <a:pt x="1070" y="3020"/>
                    </a:cubicBezTo>
                    <a:cubicBezTo>
                      <a:pt x="3072" y="-36"/>
                      <a:pt x="7130" y="-932"/>
                      <a:pt x="10186" y="1070"/>
                    </a:cubicBezTo>
                    <a:lnTo>
                      <a:pt x="325913" y="204459"/>
                    </a:lnTo>
                    <a:cubicBezTo>
                      <a:pt x="327757" y="205671"/>
                      <a:pt x="328917" y="207673"/>
                      <a:pt x="328917" y="209886"/>
                    </a:cubicBezTo>
                    <a:cubicBezTo>
                      <a:pt x="328969" y="212100"/>
                      <a:pt x="327863" y="214155"/>
                      <a:pt x="326072" y="215419"/>
                    </a:cubicBezTo>
                    <a:lnTo>
                      <a:pt x="10344" y="431770"/>
                    </a:lnTo>
                    <a:cubicBezTo>
                      <a:pt x="9185" y="432561"/>
                      <a:pt x="7920"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400" name="Freeform: Shape 399">
                <a:extLst>
                  <a:ext uri="{FF2B5EF4-FFF2-40B4-BE49-F238E27FC236}">
                    <a16:creationId xmlns:a16="http://schemas.microsoft.com/office/drawing/2014/main" id="{4C443735-EC2D-46C6-9B39-83445A49ADCD}"/>
                  </a:ext>
                </a:extLst>
              </p:cNvPr>
              <p:cNvSpPr/>
              <p:nvPr/>
            </p:nvSpPr>
            <p:spPr>
              <a:xfrm>
                <a:off x="4238313" y="4547644"/>
                <a:ext cx="309812"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70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2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70" y="210150"/>
                    </a:lnTo>
                    <a:lnTo>
                      <a:pt x="3020" y="12135"/>
                    </a:lnTo>
                    <a:cubicBezTo>
                      <a:pt x="-36" y="10186"/>
                      <a:pt x="-932" y="6076"/>
                      <a:pt x="1070" y="3020"/>
                    </a:cubicBezTo>
                    <a:cubicBezTo>
                      <a:pt x="3072" y="-36"/>
                      <a:pt x="7130" y="-932"/>
                      <a:pt x="10186" y="1070"/>
                    </a:cubicBezTo>
                    <a:lnTo>
                      <a:pt x="325913" y="204459"/>
                    </a:lnTo>
                    <a:cubicBezTo>
                      <a:pt x="327757" y="205671"/>
                      <a:pt x="328917" y="207673"/>
                      <a:pt x="328917" y="209886"/>
                    </a:cubicBezTo>
                    <a:cubicBezTo>
                      <a:pt x="328970" y="212100"/>
                      <a:pt x="327863" y="214155"/>
                      <a:pt x="326072" y="215419"/>
                    </a:cubicBezTo>
                    <a:lnTo>
                      <a:pt x="10344" y="431770"/>
                    </a:lnTo>
                    <a:cubicBezTo>
                      <a:pt x="9185" y="432561"/>
                      <a:pt x="7868"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401" name="Freeform: Shape 400">
                <a:extLst>
                  <a:ext uri="{FF2B5EF4-FFF2-40B4-BE49-F238E27FC236}">
                    <a16:creationId xmlns:a16="http://schemas.microsoft.com/office/drawing/2014/main" id="{F08BACA2-C707-4010-9AFE-08B1B3EFFFB2}"/>
                  </a:ext>
                </a:extLst>
              </p:cNvPr>
              <p:cNvSpPr/>
              <p:nvPr/>
            </p:nvSpPr>
            <p:spPr>
              <a:xfrm>
                <a:off x="4506370" y="4547644"/>
                <a:ext cx="309813"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70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2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70" y="210150"/>
                    </a:lnTo>
                    <a:lnTo>
                      <a:pt x="3020" y="12135"/>
                    </a:lnTo>
                    <a:cubicBezTo>
                      <a:pt x="-36" y="10186"/>
                      <a:pt x="-932" y="6076"/>
                      <a:pt x="1070" y="3020"/>
                    </a:cubicBezTo>
                    <a:cubicBezTo>
                      <a:pt x="3072" y="-36"/>
                      <a:pt x="7130" y="-932"/>
                      <a:pt x="10186" y="1070"/>
                    </a:cubicBezTo>
                    <a:lnTo>
                      <a:pt x="325913" y="204459"/>
                    </a:lnTo>
                    <a:cubicBezTo>
                      <a:pt x="327757" y="205671"/>
                      <a:pt x="328917" y="207673"/>
                      <a:pt x="328917" y="209886"/>
                    </a:cubicBezTo>
                    <a:cubicBezTo>
                      <a:pt x="328969" y="212100"/>
                      <a:pt x="327863" y="214155"/>
                      <a:pt x="326072" y="215419"/>
                    </a:cubicBezTo>
                    <a:lnTo>
                      <a:pt x="10344" y="431770"/>
                    </a:lnTo>
                    <a:cubicBezTo>
                      <a:pt x="9185" y="432561"/>
                      <a:pt x="7920" y="432930"/>
                      <a:pt x="6603" y="432930"/>
                    </a:cubicBezTo>
                    <a:close/>
                  </a:path>
                </a:pathLst>
              </a:custGeom>
              <a:solidFill>
                <a:schemeClr val="accent1"/>
              </a:solidFill>
              <a:ln w="5266" cap="flat">
                <a:noFill/>
                <a:prstDash val="solid"/>
                <a:miter/>
              </a:ln>
            </p:spPr>
            <p:txBody>
              <a:bodyPr rtlCol="0" anchor="ctr"/>
              <a:lstStyle/>
              <a:p>
                <a:endParaRPr lang="en-IN" dirty="0"/>
              </a:p>
            </p:txBody>
          </p:sp>
        </p:grpSp>
        <p:sp>
          <p:nvSpPr>
            <p:cNvPr id="395" name="Freeform 205">
              <a:extLst>
                <a:ext uri="{FF2B5EF4-FFF2-40B4-BE49-F238E27FC236}">
                  <a16:creationId xmlns:a16="http://schemas.microsoft.com/office/drawing/2014/main" id="{0D4599A0-6D4D-4C31-9DF2-1AB05D5D1064}"/>
                </a:ext>
              </a:extLst>
            </p:cNvPr>
            <p:cNvSpPr>
              <a:spLocks noEditPoints="1"/>
            </p:cNvSpPr>
            <p:nvPr/>
          </p:nvSpPr>
          <p:spPr bwMode="auto">
            <a:xfrm>
              <a:off x="4623743" y="4606024"/>
              <a:ext cx="242235" cy="287318"/>
            </a:xfrm>
            <a:custGeom>
              <a:avLst/>
              <a:gdLst>
                <a:gd name="T0" fmla="*/ 21 w 266"/>
                <a:gd name="T1" fmla="*/ 311 h 311"/>
                <a:gd name="T2" fmla="*/ 11 w 266"/>
                <a:gd name="T3" fmla="*/ 308 h 311"/>
                <a:gd name="T4" fmla="*/ 0 w 266"/>
                <a:gd name="T5" fmla="*/ 289 h 311"/>
                <a:gd name="T6" fmla="*/ 0 w 266"/>
                <a:gd name="T7" fmla="*/ 23 h 311"/>
                <a:gd name="T8" fmla="*/ 11 w 266"/>
                <a:gd name="T9" fmla="*/ 4 h 311"/>
                <a:gd name="T10" fmla="*/ 32 w 266"/>
                <a:gd name="T11" fmla="*/ 4 h 311"/>
                <a:gd name="T12" fmla="*/ 256 w 266"/>
                <a:gd name="T13" fmla="*/ 138 h 311"/>
                <a:gd name="T14" fmla="*/ 266 w 266"/>
                <a:gd name="T15" fmla="*/ 156 h 311"/>
                <a:gd name="T16" fmla="*/ 256 w 266"/>
                <a:gd name="T17" fmla="*/ 174 h 311"/>
                <a:gd name="T18" fmla="*/ 32 w 266"/>
                <a:gd name="T19" fmla="*/ 308 h 311"/>
                <a:gd name="T20" fmla="*/ 21 w 266"/>
                <a:gd name="T21" fmla="*/ 311 h 311"/>
                <a:gd name="T22" fmla="*/ 21 w 266"/>
                <a:gd name="T23" fmla="*/ 13 h 311"/>
                <a:gd name="T24" fmla="*/ 17 w 266"/>
                <a:gd name="T25" fmla="*/ 14 h 311"/>
                <a:gd name="T26" fmla="*/ 12 w 266"/>
                <a:gd name="T27" fmla="*/ 23 h 311"/>
                <a:gd name="T28" fmla="*/ 12 w 266"/>
                <a:gd name="T29" fmla="*/ 289 h 311"/>
                <a:gd name="T30" fmla="*/ 17 w 266"/>
                <a:gd name="T31" fmla="*/ 298 h 311"/>
                <a:gd name="T32" fmla="*/ 26 w 266"/>
                <a:gd name="T33" fmla="*/ 297 h 311"/>
                <a:gd name="T34" fmla="*/ 250 w 266"/>
                <a:gd name="T35" fmla="*/ 164 h 311"/>
                <a:gd name="T36" fmla="*/ 254 w 266"/>
                <a:gd name="T37" fmla="*/ 156 h 311"/>
                <a:gd name="T38" fmla="*/ 250 w 266"/>
                <a:gd name="T39" fmla="*/ 148 h 311"/>
                <a:gd name="T40" fmla="*/ 250 w 266"/>
                <a:gd name="T41" fmla="*/ 148 h 311"/>
                <a:gd name="T42" fmla="*/ 26 w 266"/>
                <a:gd name="T43" fmla="*/ 15 h 311"/>
                <a:gd name="T44" fmla="*/ 21 w 266"/>
                <a:gd name="T45" fmla="*/ 13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311">
                  <a:moveTo>
                    <a:pt x="21" y="311"/>
                  </a:moveTo>
                  <a:cubicBezTo>
                    <a:pt x="18" y="311"/>
                    <a:pt x="14" y="310"/>
                    <a:pt x="11" y="308"/>
                  </a:cubicBezTo>
                  <a:cubicBezTo>
                    <a:pt x="4" y="304"/>
                    <a:pt x="0" y="297"/>
                    <a:pt x="0" y="289"/>
                  </a:cubicBezTo>
                  <a:cubicBezTo>
                    <a:pt x="0" y="23"/>
                    <a:pt x="0" y="23"/>
                    <a:pt x="0" y="23"/>
                  </a:cubicBezTo>
                  <a:cubicBezTo>
                    <a:pt x="0" y="15"/>
                    <a:pt x="4" y="8"/>
                    <a:pt x="11" y="4"/>
                  </a:cubicBezTo>
                  <a:cubicBezTo>
                    <a:pt x="17" y="0"/>
                    <a:pt x="25" y="0"/>
                    <a:pt x="32" y="4"/>
                  </a:cubicBezTo>
                  <a:cubicBezTo>
                    <a:pt x="256" y="138"/>
                    <a:pt x="256" y="138"/>
                    <a:pt x="256" y="138"/>
                  </a:cubicBezTo>
                  <a:cubicBezTo>
                    <a:pt x="262" y="142"/>
                    <a:pt x="266" y="148"/>
                    <a:pt x="266" y="156"/>
                  </a:cubicBezTo>
                  <a:cubicBezTo>
                    <a:pt x="266" y="164"/>
                    <a:pt x="262" y="170"/>
                    <a:pt x="256" y="174"/>
                  </a:cubicBezTo>
                  <a:cubicBezTo>
                    <a:pt x="32" y="308"/>
                    <a:pt x="32" y="308"/>
                    <a:pt x="32" y="308"/>
                  </a:cubicBezTo>
                  <a:cubicBezTo>
                    <a:pt x="29" y="310"/>
                    <a:pt x="25" y="311"/>
                    <a:pt x="21" y="311"/>
                  </a:cubicBezTo>
                  <a:close/>
                  <a:moveTo>
                    <a:pt x="21" y="13"/>
                  </a:moveTo>
                  <a:cubicBezTo>
                    <a:pt x="20" y="13"/>
                    <a:pt x="18" y="14"/>
                    <a:pt x="17" y="14"/>
                  </a:cubicBezTo>
                  <a:cubicBezTo>
                    <a:pt x="14" y="16"/>
                    <a:pt x="12" y="19"/>
                    <a:pt x="12" y="23"/>
                  </a:cubicBezTo>
                  <a:cubicBezTo>
                    <a:pt x="12" y="289"/>
                    <a:pt x="12" y="289"/>
                    <a:pt x="12" y="289"/>
                  </a:cubicBezTo>
                  <a:cubicBezTo>
                    <a:pt x="12" y="293"/>
                    <a:pt x="14" y="296"/>
                    <a:pt x="17" y="298"/>
                  </a:cubicBezTo>
                  <a:cubicBezTo>
                    <a:pt x="20" y="299"/>
                    <a:pt x="23" y="299"/>
                    <a:pt x="26" y="297"/>
                  </a:cubicBezTo>
                  <a:cubicBezTo>
                    <a:pt x="250" y="164"/>
                    <a:pt x="250" y="164"/>
                    <a:pt x="250" y="164"/>
                  </a:cubicBezTo>
                  <a:cubicBezTo>
                    <a:pt x="252" y="162"/>
                    <a:pt x="254" y="159"/>
                    <a:pt x="254" y="156"/>
                  </a:cubicBezTo>
                  <a:cubicBezTo>
                    <a:pt x="254" y="153"/>
                    <a:pt x="252" y="150"/>
                    <a:pt x="250" y="148"/>
                  </a:cubicBezTo>
                  <a:cubicBezTo>
                    <a:pt x="250" y="148"/>
                    <a:pt x="250" y="148"/>
                    <a:pt x="250" y="148"/>
                  </a:cubicBezTo>
                  <a:cubicBezTo>
                    <a:pt x="26" y="15"/>
                    <a:pt x="26" y="15"/>
                    <a:pt x="26" y="15"/>
                  </a:cubicBezTo>
                  <a:cubicBezTo>
                    <a:pt x="25" y="14"/>
                    <a:pt x="23" y="13"/>
                    <a:pt x="21" y="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074" name="Freeform: Shape 1073">
            <a:extLst>
              <a:ext uri="{FF2B5EF4-FFF2-40B4-BE49-F238E27FC236}">
                <a16:creationId xmlns:a16="http://schemas.microsoft.com/office/drawing/2014/main" id="{3D14EE43-D0D8-472B-8BDF-85E2DB508D8F}"/>
              </a:ext>
            </a:extLst>
          </p:cNvPr>
          <p:cNvSpPr/>
          <p:nvPr/>
        </p:nvSpPr>
        <p:spPr>
          <a:xfrm>
            <a:off x="2601585" y="4167032"/>
            <a:ext cx="618344" cy="1156762"/>
          </a:xfrm>
          <a:custGeom>
            <a:avLst/>
            <a:gdLst>
              <a:gd name="connsiteX0" fmla="*/ 0 w 656476"/>
              <a:gd name="connsiteY0" fmla="*/ 44270 h 1228097"/>
              <a:gd name="connsiteX1" fmla="*/ 0 w 656476"/>
              <a:gd name="connsiteY1" fmla="*/ 1183829 h 1228097"/>
              <a:gd name="connsiteX2" fmla="*/ 75455 w 656476"/>
              <a:gd name="connsiteY2" fmla="*/ 1215075 h 1228097"/>
              <a:gd name="connsiteX3" fmla="*/ 643521 w 656476"/>
              <a:gd name="connsiteY3" fmla="*/ 647009 h 1228097"/>
              <a:gd name="connsiteX4" fmla="*/ 643627 w 656476"/>
              <a:gd name="connsiteY4" fmla="*/ 584622 h 1228097"/>
              <a:gd name="connsiteX5" fmla="*/ 75560 w 656476"/>
              <a:gd name="connsiteY5" fmla="*/ 13130 h 1228097"/>
              <a:gd name="connsiteX6" fmla="*/ 0 w 656476"/>
              <a:gd name="connsiteY6" fmla="*/ 44270 h 122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476" h="1228097">
                <a:moveTo>
                  <a:pt x="0" y="44270"/>
                </a:moveTo>
                <a:lnTo>
                  <a:pt x="0" y="1183829"/>
                </a:lnTo>
                <a:cubicBezTo>
                  <a:pt x="0" y="1223190"/>
                  <a:pt x="47581" y="1242896"/>
                  <a:pt x="75455" y="1215075"/>
                </a:cubicBezTo>
                <a:lnTo>
                  <a:pt x="643521" y="647009"/>
                </a:lnTo>
                <a:cubicBezTo>
                  <a:pt x="660751" y="629778"/>
                  <a:pt x="660804" y="601852"/>
                  <a:pt x="643627" y="584622"/>
                </a:cubicBezTo>
                <a:lnTo>
                  <a:pt x="75560" y="13130"/>
                </a:lnTo>
                <a:cubicBezTo>
                  <a:pt x="47739" y="-14849"/>
                  <a:pt x="0" y="4857"/>
                  <a:pt x="0" y="44270"/>
                </a:cubicBezTo>
                <a:close/>
              </a:path>
            </a:pathLst>
          </a:custGeom>
          <a:solidFill>
            <a:srgbClr val="21BDEA"/>
          </a:solidFill>
          <a:ln w="5266" cap="flat">
            <a:noFill/>
            <a:prstDash val="solid"/>
            <a:miter/>
          </a:ln>
        </p:spPr>
        <p:txBody>
          <a:bodyPr rtlCol="0" anchor="ctr"/>
          <a:lstStyle/>
          <a:p>
            <a:endParaRPr lang="en-IN" dirty="0"/>
          </a:p>
        </p:txBody>
      </p:sp>
      <p:grpSp>
        <p:nvGrpSpPr>
          <p:cNvPr id="804" name="Group 803">
            <a:extLst>
              <a:ext uri="{FF2B5EF4-FFF2-40B4-BE49-F238E27FC236}">
                <a16:creationId xmlns:a16="http://schemas.microsoft.com/office/drawing/2014/main" id="{3880624B-B48F-4AA1-AC82-7AEF42867CDB}"/>
              </a:ext>
            </a:extLst>
          </p:cNvPr>
          <p:cNvGrpSpPr/>
          <p:nvPr/>
        </p:nvGrpSpPr>
        <p:grpSpPr>
          <a:xfrm>
            <a:off x="4449365" y="2890068"/>
            <a:ext cx="2908253" cy="2888993"/>
            <a:chOff x="4449365" y="3061518"/>
            <a:chExt cx="2908253" cy="2888993"/>
          </a:xfrm>
        </p:grpSpPr>
        <p:pic>
          <p:nvPicPr>
            <p:cNvPr id="805" name="Picture 804">
              <a:extLst>
                <a:ext uri="{FF2B5EF4-FFF2-40B4-BE49-F238E27FC236}">
                  <a16:creationId xmlns:a16="http://schemas.microsoft.com/office/drawing/2014/main" id="{F24FEB9C-60B3-4C26-99FA-4C6A6D169517}"/>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4566659" y="3291462"/>
              <a:ext cx="2790959" cy="2659049"/>
            </a:xfrm>
            <a:custGeom>
              <a:avLst/>
              <a:gdLst>
                <a:gd name="connsiteX0" fmla="*/ 566410 w 2790959"/>
                <a:gd name="connsiteY0" fmla="*/ 0 h 2659049"/>
                <a:gd name="connsiteX1" fmla="*/ 2126516 w 2790959"/>
                <a:gd name="connsiteY1" fmla="*/ 0 h 2659049"/>
                <a:gd name="connsiteX2" fmla="*/ 2154095 w 2790959"/>
                <a:gd name="connsiteY2" fmla="*/ 16754 h 2659049"/>
                <a:gd name="connsiteX3" fmla="*/ 2790959 w 2790959"/>
                <a:gd name="connsiteY3" fmla="*/ 1214553 h 2659049"/>
                <a:gd name="connsiteX4" fmla="*/ 1346463 w 2790959"/>
                <a:gd name="connsiteY4" fmla="*/ 2659049 h 2659049"/>
                <a:gd name="connsiteX5" fmla="*/ 15483 w 2790959"/>
                <a:gd name="connsiteY5" fmla="*/ 1776816 h 2659049"/>
                <a:gd name="connsiteX6" fmla="*/ 0 w 2790959"/>
                <a:gd name="connsiteY6" fmla="*/ 1734514 h 2659049"/>
                <a:gd name="connsiteX7" fmla="*/ 0 w 2790959"/>
                <a:gd name="connsiteY7" fmla="*/ 694592 h 2659049"/>
                <a:gd name="connsiteX8" fmla="*/ 15483 w 2790959"/>
                <a:gd name="connsiteY8" fmla="*/ 652290 h 2659049"/>
                <a:gd name="connsiteX9" fmla="*/ 538832 w 2790959"/>
                <a:gd name="connsiteY9" fmla="*/ 16754 h 265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0959" h="2659049">
                  <a:moveTo>
                    <a:pt x="566410" y="0"/>
                  </a:moveTo>
                  <a:lnTo>
                    <a:pt x="2126516" y="0"/>
                  </a:lnTo>
                  <a:lnTo>
                    <a:pt x="2154095" y="16754"/>
                  </a:lnTo>
                  <a:cubicBezTo>
                    <a:pt x="2538333" y="276341"/>
                    <a:pt x="2790959" y="715945"/>
                    <a:pt x="2790959" y="1214553"/>
                  </a:cubicBezTo>
                  <a:cubicBezTo>
                    <a:pt x="2790959" y="2012326"/>
                    <a:pt x="2144236" y="2659049"/>
                    <a:pt x="1346463" y="2659049"/>
                  </a:cubicBezTo>
                  <a:cubicBezTo>
                    <a:pt x="748134" y="2659049"/>
                    <a:pt x="234769" y="2295268"/>
                    <a:pt x="15483" y="1776816"/>
                  </a:cubicBezTo>
                  <a:lnTo>
                    <a:pt x="0" y="1734514"/>
                  </a:lnTo>
                  <a:lnTo>
                    <a:pt x="0" y="694592"/>
                  </a:lnTo>
                  <a:lnTo>
                    <a:pt x="15483" y="652290"/>
                  </a:lnTo>
                  <a:cubicBezTo>
                    <a:pt x="125126" y="393065"/>
                    <a:pt x="308289" y="172506"/>
                    <a:pt x="538832" y="16754"/>
                  </a:cubicBezTo>
                  <a:close/>
                </a:path>
              </a:pathLst>
            </a:custGeom>
          </p:spPr>
        </p:pic>
        <p:sp>
          <p:nvSpPr>
            <p:cNvPr id="806" name="Oval 805">
              <a:extLst>
                <a:ext uri="{FF2B5EF4-FFF2-40B4-BE49-F238E27FC236}">
                  <a16:creationId xmlns:a16="http://schemas.microsoft.com/office/drawing/2014/main" id="{BC941869-B70C-49A7-A9A6-6772498D1EDF}"/>
                </a:ext>
              </a:extLst>
            </p:cNvPr>
            <p:cNvSpPr/>
            <p:nvPr/>
          </p:nvSpPr>
          <p:spPr>
            <a:xfrm>
              <a:off x="4468625" y="3061518"/>
              <a:ext cx="2888991" cy="2888991"/>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07" name="Group 806">
              <a:extLst>
                <a:ext uri="{FF2B5EF4-FFF2-40B4-BE49-F238E27FC236}">
                  <a16:creationId xmlns:a16="http://schemas.microsoft.com/office/drawing/2014/main" id="{857EBBD5-7D86-4B3A-9CD9-979F6C601195}"/>
                </a:ext>
              </a:extLst>
            </p:cNvPr>
            <p:cNvGrpSpPr/>
            <p:nvPr/>
          </p:nvGrpSpPr>
          <p:grpSpPr>
            <a:xfrm rot="20432285" flipH="1">
              <a:off x="4449365" y="3755498"/>
              <a:ext cx="1426045" cy="1500991"/>
              <a:chOff x="7770951" y="3977103"/>
              <a:chExt cx="1426045" cy="1500991"/>
            </a:xfrm>
          </p:grpSpPr>
          <p:sp>
            <p:nvSpPr>
              <p:cNvPr id="817" name="Freeform: Shape 816">
                <a:extLst>
                  <a:ext uri="{FF2B5EF4-FFF2-40B4-BE49-F238E27FC236}">
                    <a16:creationId xmlns:a16="http://schemas.microsoft.com/office/drawing/2014/main" id="{32B683F1-C4C2-40A1-8BE5-B1F6FFB0BBE1}"/>
                  </a:ext>
                </a:extLst>
              </p:cNvPr>
              <p:cNvSpPr/>
              <p:nvPr/>
            </p:nvSpPr>
            <p:spPr>
              <a:xfrm rot="7966944">
                <a:off x="7979694" y="4047526"/>
                <a:ext cx="1287725" cy="1146879"/>
              </a:xfrm>
              <a:custGeom>
                <a:avLst/>
                <a:gdLst>
                  <a:gd name="connsiteX0" fmla="*/ 427744 w 915678"/>
                  <a:gd name="connsiteY0" fmla="*/ 436995 h 815526"/>
                  <a:gd name="connsiteX1" fmla="*/ 428460 w 915678"/>
                  <a:gd name="connsiteY1" fmla="*/ 424405 h 815526"/>
                  <a:gd name="connsiteX2" fmla="*/ 441050 w 915678"/>
                  <a:gd name="connsiteY2" fmla="*/ 425120 h 815526"/>
                  <a:gd name="connsiteX3" fmla="*/ 440335 w 915678"/>
                  <a:gd name="connsiteY3" fmla="*/ 437711 h 815526"/>
                  <a:gd name="connsiteX4" fmla="*/ 427744 w 915678"/>
                  <a:gd name="connsiteY4" fmla="*/ 436995 h 815526"/>
                  <a:gd name="connsiteX5" fmla="*/ 390688 w 915678"/>
                  <a:gd name="connsiteY5" fmla="*/ 469759 h 815526"/>
                  <a:gd name="connsiteX6" fmla="*/ 402423 w 915678"/>
                  <a:gd name="connsiteY6" fmla="*/ 469762 h 815526"/>
                  <a:gd name="connsiteX7" fmla="*/ 402427 w 915678"/>
                  <a:gd name="connsiteY7" fmla="*/ 458027 h 815526"/>
                  <a:gd name="connsiteX8" fmla="*/ 390691 w 915678"/>
                  <a:gd name="connsiteY8" fmla="*/ 458024 h 815526"/>
                  <a:gd name="connsiteX9" fmla="*/ 390688 w 915678"/>
                  <a:gd name="connsiteY9" fmla="*/ 458027 h 815526"/>
                  <a:gd name="connsiteX10" fmla="*/ 390688 w 915678"/>
                  <a:gd name="connsiteY10" fmla="*/ 469759 h 815526"/>
                  <a:gd name="connsiteX11" fmla="*/ 353774 w 915678"/>
                  <a:gd name="connsiteY11" fmla="*/ 502523 h 815526"/>
                  <a:gd name="connsiteX12" fmla="*/ 364648 w 915678"/>
                  <a:gd name="connsiteY12" fmla="*/ 502523 h 815526"/>
                  <a:gd name="connsiteX13" fmla="*/ 364648 w 915678"/>
                  <a:gd name="connsiteY13" fmla="*/ 491650 h 815526"/>
                  <a:gd name="connsiteX14" fmla="*/ 353774 w 915678"/>
                  <a:gd name="connsiteY14" fmla="*/ 491650 h 815526"/>
                  <a:gd name="connsiteX15" fmla="*/ 352896 w 915678"/>
                  <a:gd name="connsiteY15" fmla="*/ 502337 h 815526"/>
                  <a:gd name="connsiteX16" fmla="*/ 353059 w 915678"/>
                  <a:gd name="connsiteY16" fmla="*/ 502523 h 815526"/>
                  <a:gd name="connsiteX17" fmla="*/ 316146 w 915678"/>
                  <a:gd name="connsiteY17" fmla="*/ 535145 h 815526"/>
                  <a:gd name="connsiteX18" fmla="*/ 326059 w 915678"/>
                  <a:gd name="connsiteY18" fmla="*/ 535246 h 815526"/>
                  <a:gd name="connsiteX19" fmla="*/ 326161 w 915678"/>
                  <a:gd name="connsiteY19" fmla="*/ 535145 h 815526"/>
                  <a:gd name="connsiteX20" fmla="*/ 326161 w 915678"/>
                  <a:gd name="connsiteY20" fmla="*/ 525129 h 815526"/>
                  <a:gd name="connsiteX21" fmla="*/ 316217 w 915678"/>
                  <a:gd name="connsiteY21" fmla="*/ 524485 h 815526"/>
                  <a:gd name="connsiteX22" fmla="*/ 315573 w 915678"/>
                  <a:gd name="connsiteY22" fmla="*/ 534429 h 815526"/>
                  <a:gd name="connsiteX23" fmla="*/ 280377 w 915678"/>
                  <a:gd name="connsiteY23" fmla="*/ 567479 h 815526"/>
                  <a:gd name="connsiteX24" fmla="*/ 289534 w 915678"/>
                  <a:gd name="connsiteY24" fmla="*/ 568052 h 815526"/>
                  <a:gd name="connsiteX25" fmla="*/ 290106 w 915678"/>
                  <a:gd name="connsiteY25" fmla="*/ 558895 h 815526"/>
                  <a:gd name="connsiteX26" fmla="*/ 280949 w 915678"/>
                  <a:gd name="connsiteY26" fmla="*/ 558323 h 815526"/>
                  <a:gd name="connsiteX27" fmla="*/ 280377 w 915678"/>
                  <a:gd name="connsiteY27" fmla="*/ 567479 h 815526"/>
                  <a:gd name="connsiteX28" fmla="*/ 243464 w 915678"/>
                  <a:gd name="connsiteY28" fmla="*/ 600244 h 815526"/>
                  <a:gd name="connsiteX29" fmla="*/ 251759 w 915678"/>
                  <a:gd name="connsiteY29" fmla="*/ 600241 h 815526"/>
                  <a:gd name="connsiteX30" fmla="*/ 251758 w 915678"/>
                  <a:gd name="connsiteY30" fmla="*/ 591945 h 815526"/>
                  <a:gd name="connsiteX31" fmla="*/ 243464 w 915678"/>
                  <a:gd name="connsiteY31" fmla="*/ 591945 h 815526"/>
                  <a:gd name="connsiteX32" fmla="*/ 243461 w 915678"/>
                  <a:gd name="connsiteY32" fmla="*/ 600241 h 815526"/>
                  <a:gd name="connsiteX33" fmla="*/ 243464 w 915678"/>
                  <a:gd name="connsiteY33" fmla="*/ 600244 h 815526"/>
                  <a:gd name="connsiteX34" fmla="*/ 206551 w 915678"/>
                  <a:gd name="connsiteY34" fmla="*/ 633008 h 815526"/>
                  <a:gd name="connsiteX35" fmla="*/ 213833 w 915678"/>
                  <a:gd name="connsiteY35" fmla="*/ 633165 h 815526"/>
                  <a:gd name="connsiteX36" fmla="*/ 213990 w 915678"/>
                  <a:gd name="connsiteY36" fmla="*/ 633008 h 815526"/>
                  <a:gd name="connsiteX37" fmla="*/ 215134 w 915678"/>
                  <a:gd name="connsiteY37" fmla="*/ 625609 h 815526"/>
                  <a:gd name="connsiteX38" fmla="*/ 207735 w 915678"/>
                  <a:gd name="connsiteY38" fmla="*/ 624466 h 815526"/>
                  <a:gd name="connsiteX39" fmla="*/ 206980 w 915678"/>
                  <a:gd name="connsiteY39" fmla="*/ 625139 h 815526"/>
                  <a:gd name="connsiteX40" fmla="*/ 206980 w 915678"/>
                  <a:gd name="connsiteY40" fmla="*/ 632578 h 815526"/>
                  <a:gd name="connsiteX41" fmla="*/ 170209 w 915678"/>
                  <a:gd name="connsiteY41" fmla="*/ 666201 h 815526"/>
                  <a:gd name="connsiteX42" fmla="*/ 176885 w 915678"/>
                  <a:gd name="connsiteY42" fmla="*/ 666295 h 815526"/>
                  <a:gd name="connsiteX43" fmla="*/ 176981 w 915678"/>
                  <a:gd name="connsiteY43" fmla="*/ 659620 h 815526"/>
                  <a:gd name="connsiteX44" fmla="*/ 170304 w 915678"/>
                  <a:gd name="connsiteY44" fmla="*/ 659525 h 815526"/>
                  <a:gd name="connsiteX45" fmla="*/ 170209 w 915678"/>
                  <a:gd name="connsiteY45" fmla="*/ 659620 h 815526"/>
                  <a:gd name="connsiteX46" fmla="*/ 170209 w 915678"/>
                  <a:gd name="connsiteY46" fmla="*/ 666201 h 815526"/>
                  <a:gd name="connsiteX47" fmla="*/ 133296 w 915678"/>
                  <a:gd name="connsiteY47" fmla="*/ 698965 h 815526"/>
                  <a:gd name="connsiteX48" fmla="*/ 138962 w 915678"/>
                  <a:gd name="connsiteY48" fmla="*/ 699022 h 815526"/>
                  <a:gd name="connsiteX49" fmla="*/ 139019 w 915678"/>
                  <a:gd name="connsiteY49" fmla="*/ 698965 h 815526"/>
                  <a:gd name="connsiteX50" fmla="*/ 140228 w 915678"/>
                  <a:gd name="connsiteY50" fmla="*/ 693224 h 815526"/>
                  <a:gd name="connsiteX51" fmla="*/ 134485 w 915678"/>
                  <a:gd name="connsiteY51" fmla="*/ 692015 h 815526"/>
                  <a:gd name="connsiteX52" fmla="*/ 133582 w 915678"/>
                  <a:gd name="connsiteY52" fmla="*/ 692813 h 815526"/>
                  <a:gd name="connsiteX53" fmla="*/ 133582 w 915678"/>
                  <a:gd name="connsiteY53" fmla="*/ 698536 h 815526"/>
                  <a:gd name="connsiteX54" fmla="*/ 96669 w 915678"/>
                  <a:gd name="connsiteY54" fmla="*/ 731300 h 815526"/>
                  <a:gd name="connsiteX55" fmla="*/ 101525 w 915678"/>
                  <a:gd name="connsiteY55" fmla="*/ 731291 h 815526"/>
                  <a:gd name="connsiteX56" fmla="*/ 101516 w 915678"/>
                  <a:gd name="connsiteY56" fmla="*/ 726436 h 815526"/>
                  <a:gd name="connsiteX57" fmla="*/ 96669 w 915678"/>
                  <a:gd name="connsiteY57" fmla="*/ 726436 h 815526"/>
                  <a:gd name="connsiteX58" fmla="*/ 96660 w 915678"/>
                  <a:gd name="connsiteY58" fmla="*/ 731291 h 815526"/>
                  <a:gd name="connsiteX59" fmla="*/ 96669 w 915678"/>
                  <a:gd name="connsiteY59" fmla="*/ 731300 h 815526"/>
                  <a:gd name="connsiteX60" fmla="*/ 58611 w 915678"/>
                  <a:gd name="connsiteY60" fmla="*/ 764493 h 815526"/>
                  <a:gd name="connsiteX61" fmla="*/ 62760 w 915678"/>
                  <a:gd name="connsiteY61" fmla="*/ 764493 h 815526"/>
                  <a:gd name="connsiteX62" fmla="*/ 62760 w 915678"/>
                  <a:gd name="connsiteY62" fmla="*/ 760344 h 815526"/>
                  <a:gd name="connsiteX63" fmla="*/ 58919 w 915678"/>
                  <a:gd name="connsiteY63" fmla="*/ 760178 h 815526"/>
                  <a:gd name="connsiteX64" fmla="*/ 58754 w 915678"/>
                  <a:gd name="connsiteY64" fmla="*/ 760344 h 815526"/>
                  <a:gd name="connsiteX65" fmla="*/ 58754 w 915678"/>
                  <a:gd name="connsiteY65" fmla="*/ 764350 h 815526"/>
                  <a:gd name="connsiteX66" fmla="*/ 407428 w 915678"/>
                  <a:gd name="connsiteY66" fmla="*/ 413388 h 815526"/>
                  <a:gd name="connsiteX67" fmla="*/ 420018 w 915678"/>
                  <a:gd name="connsiteY67" fmla="*/ 414246 h 815526"/>
                  <a:gd name="connsiteX68" fmla="*/ 420064 w 915678"/>
                  <a:gd name="connsiteY68" fmla="*/ 401701 h 815526"/>
                  <a:gd name="connsiteX69" fmla="*/ 420018 w 915678"/>
                  <a:gd name="connsiteY69" fmla="*/ 401656 h 815526"/>
                  <a:gd name="connsiteX70" fmla="*/ 407511 w 915678"/>
                  <a:gd name="connsiteY70" fmla="*/ 400694 h 815526"/>
                  <a:gd name="connsiteX71" fmla="*/ 406548 w 915678"/>
                  <a:gd name="connsiteY71" fmla="*/ 413202 h 815526"/>
                  <a:gd name="connsiteX72" fmla="*/ 406712 w 915678"/>
                  <a:gd name="connsiteY72" fmla="*/ 413388 h 815526"/>
                  <a:gd name="connsiteX73" fmla="*/ 370514 w 915678"/>
                  <a:gd name="connsiteY73" fmla="*/ 446152 h 815526"/>
                  <a:gd name="connsiteX74" fmla="*/ 382249 w 915678"/>
                  <a:gd name="connsiteY74" fmla="*/ 446155 h 815526"/>
                  <a:gd name="connsiteX75" fmla="*/ 382254 w 915678"/>
                  <a:gd name="connsiteY75" fmla="*/ 434420 h 815526"/>
                  <a:gd name="connsiteX76" fmla="*/ 370517 w 915678"/>
                  <a:gd name="connsiteY76" fmla="*/ 434417 h 815526"/>
                  <a:gd name="connsiteX77" fmla="*/ 370514 w 915678"/>
                  <a:gd name="connsiteY77" fmla="*/ 434420 h 815526"/>
                  <a:gd name="connsiteX78" fmla="*/ 370514 w 915678"/>
                  <a:gd name="connsiteY78" fmla="*/ 446152 h 815526"/>
                  <a:gd name="connsiteX79" fmla="*/ 333458 w 915678"/>
                  <a:gd name="connsiteY79" fmla="*/ 478916 h 815526"/>
                  <a:gd name="connsiteX80" fmla="*/ 344332 w 915678"/>
                  <a:gd name="connsiteY80" fmla="*/ 478916 h 815526"/>
                  <a:gd name="connsiteX81" fmla="*/ 344332 w 915678"/>
                  <a:gd name="connsiteY81" fmla="*/ 468042 h 815526"/>
                  <a:gd name="connsiteX82" fmla="*/ 333511 w 915678"/>
                  <a:gd name="connsiteY82" fmla="*/ 466532 h 815526"/>
                  <a:gd name="connsiteX83" fmla="*/ 332000 w 915678"/>
                  <a:gd name="connsiteY83" fmla="*/ 477354 h 815526"/>
                  <a:gd name="connsiteX84" fmla="*/ 332742 w 915678"/>
                  <a:gd name="connsiteY84" fmla="*/ 478201 h 815526"/>
                  <a:gd name="connsiteX85" fmla="*/ 296545 w 915678"/>
                  <a:gd name="connsiteY85" fmla="*/ 511680 h 815526"/>
                  <a:gd name="connsiteX86" fmla="*/ 306458 w 915678"/>
                  <a:gd name="connsiteY86" fmla="*/ 511782 h 815526"/>
                  <a:gd name="connsiteX87" fmla="*/ 306560 w 915678"/>
                  <a:gd name="connsiteY87" fmla="*/ 511680 h 815526"/>
                  <a:gd name="connsiteX88" fmla="*/ 306661 w 915678"/>
                  <a:gd name="connsiteY88" fmla="*/ 501563 h 815526"/>
                  <a:gd name="connsiteX89" fmla="*/ 296545 w 915678"/>
                  <a:gd name="connsiteY89" fmla="*/ 501463 h 815526"/>
                  <a:gd name="connsiteX90" fmla="*/ 296443 w 915678"/>
                  <a:gd name="connsiteY90" fmla="*/ 511579 h 815526"/>
                  <a:gd name="connsiteX91" fmla="*/ 296545 w 915678"/>
                  <a:gd name="connsiteY91" fmla="*/ 511680 h 815526"/>
                  <a:gd name="connsiteX92" fmla="*/ 259631 w 915678"/>
                  <a:gd name="connsiteY92" fmla="*/ 544444 h 815526"/>
                  <a:gd name="connsiteX93" fmla="*/ 268788 w 915678"/>
                  <a:gd name="connsiteY93" fmla="*/ 544444 h 815526"/>
                  <a:gd name="connsiteX94" fmla="*/ 268788 w 915678"/>
                  <a:gd name="connsiteY94" fmla="*/ 535288 h 815526"/>
                  <a:gd name="connsiteX95" fmla="*/ 259631 w 915678"/>
                  <a:gd name="connsiteY95" fmla="*/ 534715 h 815526"/>
                  <a:gd name="connsiteX96" fmla="*/ 259059 w 915678"/>
                  <a:gd name="connsiteY96" fmla="*/ 543872 h 815526"/>
                  <a:gd name="connsiteX97" fmla="*/ 222003 w 915678"/>
                  <a:gd name="connsiteY97" fmla="*/ 576636 h 815526"/>
                  <a:gd name="connsiteX98" fmla="*/ 230298 w 915678"/>
                  <a:gd name="connsiteY98" fmla="*/ 576633 h 815526"/>
                  <a:gd name="connsiteX99" fmla="*/ 230297 w 915678"/>
                  <a:gd name="connsiteY99" fmla="*/ 568338 h 815526"/>
                  <a:gd name="connsiteX100" fmla="*/ 222003 w 915678"/>
                  <a:gd name="connsiteY100" fmla="*/ 568338 h 815526"/>
                  <a:gd name="connsiteX101" fmla="*/ 222000 w 915678"/>
                  <a:gd name="connsiteY101" fmla="*/ 576633 h 815526"/>
                  <a:gd name="connsiteX102" fmla="*/ 222003 w 915678"/>
                  <a:gd name="connsiteY102" fmla="*/ 576636 h 815526"/>
                  <a:gd name="connsiteX103" fmla="*/ 185662 w 915678"/>
                  <a:gd name="connsiteY103" fmla="*/ 610402 h 815526"/>
                  <a:gd name="connsiteX104" fmla="*/ 193147 w 915678"/>
                  <a:gd name="connsiteY104" fmla="*/ 610449 h 815526"/>
                  <a:gd name="connsiteX105" fmla="*/ 193194 w 915678"/>
                  <a:gd name="connsiteY105" fmla="*/ 602962 h 815526"/>
                  <a:gd name="connsiteX106" fmla="*/ 185707 w 915678"/>
                  <a:gd name="connsiteY106" fmla="*/ 602915 h 815526"/>
                  <a:gd name="connsiteX107" fmla="*/ 185662 w 915678"/>
                  <a:gd name="connsiteY107" fmla="*/ 602962 h 815526"/>
                  <a:gd name="connsiteX108" fmla="*/ 185662 w 915678"/>
                  <a:gd name="connsiteY108" fmla="*/ 610402 h 815526"/>
                  <a:gd name="connsiteX109" fmla="*/ 148748 w 915678"/>
                  <a:gd name="connsiteY109" fmla="*/ 642737 h 815526"/>
                  <a:gd name="connsiteX110" fmla="*/ 155330 w 915678"/>
                  <a:gd name="connsiteY110" fmla="*/ 642737 h 815526"/>
                  <a:gd name="connsiteX111" fmla="*/ 156128 w 915678"/>
                  <a:gd name="connsiteY111" fmla="*/ 636108 h 815526"/>
                  <a:gd name="connsiteX112" fmla="*/ 149498 w 915678"/>
                  <a:gd name="connsiteY112" fmla="*/ 635310 h 815526"/>
                  <a:gd name="connsiteX113" fmla="*/ 149034 w 915678"/>
                  <a:gd name="connsiteY113" fmla="*/ 635726 h 815526"/>
                  <a:gd name="connsiteX114" fmla="*/ 149034 w 915678"/>
                  <a:gd name="connsiteY114" fmla="*/ 642308 h 815526"/>
                  <a:gd name="connsiteX115" fmla="*/ 111978 w 915678"/>
                  <a:gd name="connsiteY115" fmla="*/ 675072 h 815526"/>
                  <a:gd name="connsiteX116" fmla="*/ 117844 w 915678"/>
                  <a:gd name="connsiteY116" fmla="*/ 675072 h 815526"/>
                  <a:gd name="connsiteX117" fmla="*/ 117844 w 915678"/>
                  <a:gd name="connsiteY117" fmla="*/ 669349 h 815526"/>
                  <a:gd name="connsiteX118" fmla="*/ 112178 w 915678"/>
                  <a:gd name="connsiteY118" fmla="*/ 669291 h 815526"/>
                  <a:gd name="connsiteX119" fmla="*/ 112121 w 915678"/>
                  <a:gd name="connsiteY119" fmla="*/ 669349 h 815526"/>
                  <a:gd name="connsiteX120" fmla="*/ 112064 w 915678"/>
                  <a:gd name="connsiteY120" fmla="*/ 675014 h 815526"/>
                  <a:gd name="connsiteX121" fmla="*/ 112121 w 915678"/>
                  <a:gd name="connsiteY121" fmla="*/ 675072 h 815526"/>
                  <a:gd name="connsiteX122" fmla="*/ 75208 w 915678"/>
                  <a:gd name="connsiteY122" fmla="*/ 707836 h 815526"/>
                  <a:gd name="connsiteX123" fmla="*/ 80064 w 915678"/>
                  <a:gd name="connsiteY123" fmla="*/ 707844 h 815526"/>
                  <a:gd name="connsiteX124" fmla="*/ 80072 w 915678"/>
                  <a:gd name="connsiteY124" fmla="*/ 707836 h 815526"/>
                  <a:gd name="connsiteX125" fmla="*/ 80064 w 915678"/>
                  <a:gd name="connsiteY125" fmla="*/ 702980 h 815526"/>
                  <a:gd name="connsiteX126" fmla="*/ 75208 w 915678"/>
                  <a:gd name="connsiteY126" fmla="*/ 702988 h 815526"/>
                  <a:gd name="connsiteX127" fmla="*/ 75208 w 915678"/>
                  <a:gd name="connsiteY127" fmla="*/ 707836 h 815526"/>
                  <a:gd name="connsiteX128" fmla="*/ 38295 w 915678"/>
                  <a:gd name="connsiteY128" fmla="*/ 740600 h 815526"/>
                  <a:gd name="connsiteX129" fmla="*/ 42136 w 915678"/>
                  <a:gd name="connsiteY129" fmla="*/ 740765 h 815526"/>
                  <a:gd name="connsiteX130" fmla="*/ 42301 w 915678"/>
                  <a:gd name="connsiteY130" fmla="*/ 740600 h 815526"/>
                  <a:gd name="connsiteX131" fmla="*/ 42301 w 915678"/>
                  <a:gd name="connsiteY131" fmla="*/ 736594 h 815526"/>
                  <a:gd name="connsiteX132" fmla="*/ 38151 w 915678"/>
                  <a:gd name="connsiteY132" fmla="*/ 736594 h 815526"/>
                  <a:gd name="connsiteX133" fmla="*/ 38151 w 915678"/>
                  <a:gd name="connsiteY133" fmla="*/ 740743 h 815526"/>
                  <a:gd name="connsiteX134" fmla="*/ 386539 w 915678"/>
                  <a:gd name="connsiteY134" fmla="*/ 389924 h 815526"/>
                  <a:gd name="connsiteX135" fmla="*/ 399059 w 915678"/>
                  <a:gd name="connsiteY135" fmla="*/ 390702 h 815526"/>
                  <a:gd name="connsiteX136" fmla="*/ 399837 w 915678"/>
                  <a:gd name="connsiteY136" fmla="*/ 378181 h 815526"/>
                  <a:gd name="connsiteX137" fmla="*/ 387397 w 915678"/>
                  <a:gd name="connsiteY137" fmla="*/ 377333 h 815526"/>
                  <a:gd name="connsiteX138" fmla="*/ 386539 w 915678"/>
                  <a:gd name="connsiteY138" fmla="*/ 389924 h 815526"/>
                  <a:gd name="connsiteX139" fmla="*/ 349625 w 915678"/>
                  <a:gd name="connsiteY139" fmla="*/ 422688 h 815526"/>
                  <a:gd name="connsiteX140" fmla="*/ 361340 w 915678"/>
                  <a:gd name="connsiteY140" fmla="*/ 423383 h 815526"/>
                  <a:gd name="connsiteX141" fmla="*/ 362036 w 915678"/>
                  <a:gd name="connsiteY141" fmla="*/ 411668 h 815526"/>
                  <a:gd name="connsiteX142" fmla="*/ 350341 w 915678"/>
                  <a:gd name="connsiteY142" fmla="*/ 410956 h 815526"/>
                  <a:gd name="connsiteX143" fmla="*/ 349608 w 915678"/>
                  <a:gd name="connsiteY143" fmla="*/ 422668 h 815526"/>
                  <a:gd name="connsiteX144" fmla="*/ 349625 w 915678"/>
                  <a:gd name="connsiteY144" fmla="*/ 422688 h 815526"/>
                  <a:gd name="connsiteX145" fmla="*/ 313284 w 915678"/>
                  <a:gd name="connsiteY145" fmla="*/ 455452 h 815526"/>
                  <a:gd name="connsiteX146" fmla="*/ 324211 w 915678"/>
                  <a:gd name="connsiteY146" fmla="*/ 455505 h 815526"/>
                  <a:gd name="connsiteX147" fmla="*/ 324262 w 915678"/>
                  <a:gd name="connsiteY147" fmla="*/ 444578 h 815526"/>
                  <a:gd name="connsiteX148" fmla="*/ 313337 w 915678"/>
                  <a:gd name="connsiteY148" fmla="*/ 444525 h 815526"/>
                  <a:gd name="connsiteX149" fmla="*/ 313284 w 915678"/>
                  <a:gd name="connsiteY149" fmla="*/ 444578 h 815526"/>
                  <a:gd name="connsiteX150" fmla="*/ 313284 w 915678"/>
                  <a:gd name="connsiteY150" fmla="*/ 455452 h 815526"/>
                  <a:gd name="connsiteX151" fmla="*/ 276228 w 915678"/>
                  <a:gd name="connsiteY151" fmla="*/ 488216 h 815526"/>
                  <a:gd name="connsiteX152" fmla="*/ 286243 w 915678"/>
                  <a:gd name="connsiteY152" fmla="*/ 488216 h 815526"/>
                  <a:gd name="connsiteX153" fmla="*/ 286142 w 915678"/>
                  <a:gd name="connsiteY153" fmla="*/ 478302 h 815526"/>
                  <a:gd name="connsiteX154" fmla="*/ 276228 w 915678"/>
                  <a:gd name="connsiteY154" fmla="*/ 478402 h 815526"/>
                  <a:gd name="connsiteX155" fmla="*/ 276228 w 915678"/>
                  <a:gd name="connsiteY155" fmla="*/ 488216 h 815526"/>
                  <a:gd name="connsiteX156" fmla="*/ 239315 w 915678"/>
                  <a:gd name="connsiteY156" fmla="*/ 520980 h 815526"/>
                  <a:gd name="connsiteX157" fmla="*/ 248622 w 915678"/>
                  <a:gd name="connsiteY157" fmla="*/ 521130 h 815526"/>
                  <a:gd name="connsiteX158" fmla="*/ 248770 w 915678"/>
                  <a:gd name="connsiteY158" fmla="*/ 511823 h 815526"/>
                  <a:gd name="connsiteX159" fmla="*/ 239465 w 915678"/>
                  <a:gd name="connsiteY159" fmla="*/ 511673 h 815526"/>
                  <a:gd name="connsiteX160" fmla="*/ 239315 w 915678"/>
                  <a:gd name="connsiteY160" fmla="*/ 511823 h 815526"/>
                  <a:gd name="connsiteX161" fmla="*/ 239263 w 915678"/>
                  <a:gd name="connsiteY161" fmla="*/ 520929 h 815526"/>
                  <a:gd name="connsiteX162" fmla="*/ 239315 w 915678"/>
                  <a:gd name="connsiteY162" fmla="*/ 520980 h 815526"/>
                  <a:gd name="connsiteX163" fmla="*/ 201829 w 915678"/>
                  <a:gd name="connsiteY163" fmla="*/ 553172 h 815526"/>
                  <a:gd name="connsiteX164" fmla="*/ 210123 w 915678"/>
                  <a:gd name="connsiteY164" fmla="*/ 553025 h 815526"/>
                  <a:gd name="connsiteX165" fmla="*/ 209977 w 915678"/>
                  <a:gd name="connsiteY165" fmla="*/ 544731 h 815526"/>
                  <a:gd name="connsiteX166" fmla="*/ 201829 w 915678"/>
                  <a:gd name="connsiteY166" fmla="*/ 544731 h 815526"/>
                  <a:gd name="connsiteX167" fmla="*/ 201829 w 915678"/>
                  <a:gd name="connsiteY167" fmla="*/ 553172 h 815526"/>
                  <a:gd name="connsiteX168" fmla="*/ 164773 w 915678"/>
                  <a:gd name="connsiteY168" fmla="*/ 585793 h 815526"/>
                  <a:gd name="connsiteX169" fmla="*/ 172260 w 915678"/>
                  <a:gd name="connsiteY169" fmla="*/ 585760 h 815526"/>
                  <a:gd name="connsiteX170" fmla="*/ 172785 w 915678"/>
                  <a:gd name="connsiteY170" fmla="*/ 578925 h 815526"/>
                  <a:gd name="connsiteX171" fmla="*/ 165392 w 915678"/>
                  <a:gd name="connsiteY171" fmla="*/ 577748 h 815526"/>
                  <a:gd name="connsiteX172" fmla="*/ 164215 w 915678"/>
                  <a:gd name="connsiteY172" fmla="*/ 585141 h 815526"/>
                  <a:gd name="connsiteX173" fmla="*/ 164773 w 915678"/>
                  <a:gd name="connsiteY173" fmla="*/ 585793 h 815526"/>
                  <a:gd name="connsiteX174" fmla="*/ 127287 w 915678"/>
                  <a:gd name="connsiteY174" fmla="*/ 619129 h 815526"/>
                  <a:gd name="connsiteX175" fmla="*/ 133936 w 915678"/>
                  <a:gd name="connsiteY175" fmla="*/ 618520 h 815526"/>
                  <a:gd name="connsiteX176" fmla="*/ 134298 w 915678"/>
                  <a:gd name="connsiteY176" fmla="*/ 612977 h 815526"/>
                  <a:gd name="connsiteX177" fmla="*/ 127716 w 915678"/>
                  <a:gd name="connsiteY177" fmla="*/ 612977 h 815526"/>
                  <a:gd name="connsiteX178" fmla="*/ 127609 w 915678"/>
                  <a:gd name="connsiteY178" fmla="*/ 619451 h 815526"/>
                  <a:gd name="connsiteX179" fmla="*/ 127716 w 915678"/>
                  <a:gd name="connsiteY179" fmla="*/ 619559 h 815526"/>
                  <a:gd name="connsiteX180" fmla="*/ 90946 w 915678"/>
                  <a:gd name="connsiteY180" fmla="*/ 651894 h 815526"/>
                  <a:gd name="connsiteX181" fmla="*/ 96612 w 915678"/>
                  <a:gd name="connsiteY181" fmla="*/ 651951 h 815526"/>
                  <a:gd name="connsiteX182" fmla="*/ 96669 w 915678"/>
                  <a:gd name="connsiteY182" fmla="*/ 651894 h 815526"/>
                  <a:gd name="connsiteX183" fmla="*/ 96726 w 915678"/>
                  <a:gd name="connsiteY183" fmla="*/ 646228 h 815526"/>
                  <a:gd name="connsiteX184" fmla="*/ 96669 w 915678"/>
                  <a:gd name="connsiteY184" fmla="*/ 646171 h 815526"/>
                  <a:gd name="connsiteX185" fmla="*/ 91003 w 915678"/>
                  <a:gd name="connsiteY185" fmla="*/ 646113 h 815526"/>
                  <a:gd name="connsiteX186" fmla="*/ 90946 w 915678"/>
                  <a:gd name="connsiteY186" fmla="*/ 646171 h 815526"/>
                  <a:gd name="connsiteX187" fmla="*/ 90889 w 915678"/>
                  <a:gd name="connsiteY187" fmla="*/ 651836 h 815526"/>
                  <a:gd name="connsiteX188" fmla="*/ 90946 w 915678"/>
                  <a:gd name="connsiteY188" fmla="*/ 651894 h 815526"/>
                  <a:gd name="connsiteX189" fmla="*/ 53890 w 915678"/>
                  <a:gd name="connsiteY189" fmla="*/ 684658 h 815526"/>
                  <a:gd name="connsiteX190" fmla="*/ 58746 w 915678"/>
                  <a:gd name="connsiteY190" fmla="*/ 684649 h 815526"/>
                  <a:gd name="connsiteX191" fmla="*/ 58737 w 915678"/>
                  <a:gd name="connsiteY191" fmla="*/ 679793 h 815526"/>
                  <a:gd name="connsiteX192" fmla="*/ 53890 w 915678"/>
                  <a:gd name="connsiteY192" fmla="*/ 679793 h 815526"/>
                  <a:gd name="connsiteX193" fmla="*/ 53881 w 915678"/>
                  <a:gd name="connsiteY193" fmla="*/ 684649 h 815526"/>
                  <a:gd name="connsiteX194" fmla="*/ 53890 w 915678"/>
                  <a:gd name="connsiteY194" fmla="*/ 684658 h 815526"/>
                  <a:gd name="connsiteX195" fmla="*/ 16976 w 915678"/>
                  <a:gd name="connsiteY195" fmla="*/ 717422 h 815526"/>
                  <a:gd name="connsiteX196" fmla="*/ 21023 w 915678"/>
                  <a:gd name="connsiteY196" fmla="*/ 717462 h 815526"/>
                  <a:gd name="connsiteX197" fmla="*/ 21064 w 915678"/>
                  <a:gd name="connsiteY197" fmla="*/ 713416 h 815526"/>
                  <a:gd name="connsiteX198" fmla="*/ 17016 w 915678"/>
                  <a:gd name="connsiteY198" fmla="*/ 713376 h 815526"/>
                  <a:gd name="connsiteX199" fmla="*/ 16976 w 915678"/>
                  <a:gd name="connsiteY199" fmla="*/ 713416 h 815526"/>
                  <a:gd name="connsiteX200" fmla="*/ 16812 w 915678"/>
                  <a:gd name="connsiteY200" fmla="*/ 717257 h 815526"/>
                  <a:gd name="connsiteX201" fmla="*/ 16976 w 915678"/>
                  <a:gd name="connsiteY201" fmla="*/ 717422 h 815526"/>
                  <a:gd name="connsiteX202" fmla="*/ 490840 w 915678"/>
                  <a:gd name="connsiteY202" fmla="*/ 507531 h 815526"/>
                  <a:gd name="connsiteX203" fmla="*/ 503385 w 915678"/>
                  <a:gd name="connsiteY203" fmla="*/ 507577 h 815526"/>
                  <a:gd name="connsiteX204" fmla="*/ 503431 w 915678"/>
                  <a:gd name="connsiteY204" fmla="*/ 507531 h 815526"/>
                  <a:gd name="connsiteX205" fmla="*/ 503385 w 915678"/>
                  <a:gd name="connsiteY205" fmla="*/ 494986 h 815526"/>
                  <a:gd name="connsiteX206" fmla="*/ 490840 w 915678"/>
                  <a:gd name="connsiteY206" fmla="*/ 495032 h 815526"/>
                  <a:gd name="connsiteX207" fmla="*/ 490840 w 915678"/>
                  <a:gd name="connsiteY207" fmla="*/ 507531 h 815526"/>
                  <a:gd name="connsiteX208" fmla="*/ 453927 w 915678"/>
                  <a:gd name="connsiteY208" fmla="*/ 540295 h 815526"/>
                  <a:gd name="connsiteX209" fmla="*/ 465523 w 915678"/>
                  <a:gd name="connsiteY209" fmla="*/ 542095 h 815526"/>
                  <a:gd name="connsiteX210" fmla="*/ 467323 w 915678"/>
                  <a:gd name="connsiteY210" fmla="*/ 530499 h 815526"/>
                  <a:gd name="connsiteX211" fmla="*/ 466231 w 915678"/>
                  <a:gd name="connsiteY211" fmla="*/ 529278 h 815526"/>
                  <a:gd name="connsiteX212" fmla="*/ 454635 w 915678"/>
                  <a:gd name="connsiteY212" fmla="*/ 527479 h 815526"/>
                  <a:gd name="connsiteX213" fmla="*/ 452835 w 915678"/>
                  <a:gd name="connsiteY213" fmla="*/ 539075 h 815526"/>
                  <a:gd name="connsiteX214" fmla="*/ 453927 w 915678"/>
                  <a:gd name="connsiteY214" fmla="*/ 540295 h 815526"/>
                  <a:gd name="connsiteX215" fmla="*/ 416870 w 915678"/>
                  <a:gd name="connsiteY215" fmla="*/ 573059 h 815526"/>
                  <a:gd name="connsiteX216" fmla="*/ 427744 w 915678"/>
                  <a:gd name="connsiteY216" fmla="*/ 573059 h 815526"/>
                  <a:gd name="connsiteX217" fmla="*/ 427744 w 915678"/>
                  <a:gd name="connsiteY217" fmla="*/ 562186 h 815526"/>
                  <a:gd name="connsiteX218" fmla="*/ 416870 w 915678"/>
                  <a:gd name="connsiteY218" fmla="*/ 562186 h 815526"/>
                  <a:gd name="connsiteX219" fmla="*/ 416870 w 915678"/>
                  <a:gd name="connsiteY219" fmla="*/ 573059 h 815526"/>
                  <a:gd name="connsiteX220" fmla="*/ 379957 w 915678"/>
                  <a:gd name="connsiteY220" fmla="*/ 605823 h 815526"/>
                  <a:gd name="connsiteX221" fmla="*/ 390074 w 915678"/>
                  <a:gd name="connsiteY221" fmla="*/ 605925 h 815526"/>
                  <a:gd name="connsiteX222" fmla="*/ 390174 w 915678"/>
                  <a:gd name="connsiteY222" fmla="*/ 595808 h 815526"/>
                  <a:gd name="connsiteX223" fmla="*/ 380059 w 915678"/>
                  <a:gd name="connsiteY223" fmla="*/ 595707 h 815526"/>
                  <a:gd name="connsiteX224" fmla="*/ 379957 w 915678"/>
                  <a:gd name="connsiteY224" fmla="*/ 595808 h 815526"/>
                  <a:gd name="connsiteX225" fmla="*/ 379957 w 915678"/>
                  <a:gd name="connsiteY225" fmla="*/ 605823 h 815526"/>
                  <a:gd name="connsiteX226" fmla="*/ 342901 w 915678"/>
                  <a:gd name="connsiteY226" fmla="*/ 639017 h 815526"/>
                  <a:gd name="connsiteX227" fmla="*/ 352058 w 915678"/>
                  <a:gd name="connsiteY227" fmla="*/ 639017 h 815526"/>
                  <a:gd name="connsiteX228" fmla="*/ 352630 w 915678"/>
                  <a:gd name="connsiteY228" fmla="*/ 629860 h 815526"/>
                  <a:gd name="connsiteX229" fmla="*/ 343473 w 915678"/>
                  <a:gd name="connsiteY229" fmla="*/ 629288 h 815526"/>
                  <a:gd name="connsiteX230" fmla="*/ 343473 w 915678"/>
                  <a:gd name="connsiteY230" fmla="*/ 638444 h 815526"/>
                  <a:gd name="connsiteX231" fmla="*/ 306560 w 915678"/>
                  <a:gd name="connsiteY231" fmla="*/ 671209 h 815526"/>
                  <a:gd name="connsiteX232" fmla="*/ 314930 w 915678"/>
                  <a:gd name="connsiteY232" fmla="*/ 671709 h 815526"/>
                  <a:gd name="connsiteX233" fmla="*/ 315430 w 915678"/>
                  <a:gd name="connsiteY233" fmla="*/ 663339 h 815526"/>
                  <a:gd name="connsiteX234" fmla="*/ 307340 w 915678"/>
                  <a:gd name="connsiteY234" fmla="*/ 663132 h 815526"/>
                  <a:gd name="connsiteX235" fmla="*/ 307132 w 915678"/>
                  <a:gd name="connsiteY235" fmla="*/ 663339 h 815526"/>
                  <a:gd name="connsiteX236" fmla="*/ 307129 w 915678"/>
                  <a:gd name="connsiteY236" fmla="*/ 671635 h 815526"/>
                  <a:gd name="connsiteX237" fmla="*/ 307132 w 915678"/>
                  <a:gd name="connsiteY237" fmla="*/ 671638 h 815526"/>
                  <a:gd name="connsiteX238" fmla="*/ 270219 w 915678"/>
                  <a:gd name="connsiteY238" fmla="*/ 704402 h 815526"/>
                  <a:gd name="connsiteX239" fmla="*/ 277659 w 915678"/>
                  <a:gd name="connsiteY239" fmla="*/ 704402 h 815526"/>
                  <a:gd name="connsiteX240" fmla="*/ 278159 w 915678"/>
                  <a:gd name="connsiteY240" fmla="*/ 696891 h 815526"/>
                  <a:gd name="connsiteX241" fmla="*/ 270648 w 915678"/>
                  <a:gd name="connsiteY241" fmla="*/ 696390 h 815526"/>
                  <a:gd name="connsiteX242" fmla="*/ 270648 w 915678"/>
                  <a:gd name="connsiteY242" fmla="*/ 703973 h 815526"/>
                  <a:gd name="connsiteX243" fmla="*/ 233592 w 915678"/>
                  <a:gd name="connsiteY243" fmla="*/ 736594 h 815526"/>
                  <a:gd name="connsiteX244" fmla="*/ 240269 w 915678"/>
                  <a:gd name="connsiteY244" fmla="*/ 736641 h 815526"/>
                  <a:gd name="connsiteX245" fmla="*/ 240316 w 915678"/>
                  <a:gd name="connsiteY245" fmla="*/ 736594 h 815526"/>
                  <a:gd name="connsiteX246" fmla="*/ 240269 w 915678"/>
                  <a:gd name="connsiteY246" fmla="*/ 729917 h 815526"/>
                  <a:gd name="connsiteX247" fmla="*/ 233592 w 915678"/>
                  <a:gd name="connsiteY247" fmla="*/ 729964 h 815526"/>
                  <a:gd name="connsiteX248" fmla="*/ 233592 w 915678"/>
                  <a:gd name="connsiteY248" fmla="*/ 736594 h 815526"/>
                  <a:gd name="connsiteX249" fmla="*/ 196678 w 915678"/>
                  <a:gd name="connsiteY249" fmla="*/ 769358 h 815526"/>
                  <a:gd name="connsiteX250" fmla="*/ 202344 w 915678"/>
                  <a:gd name="connsiteY250" fmla="*/ 769301 h 815526"/>
                  <a:gd name="connsiteX251" fmla="*/ 202285 w 915678"/>
                  <a:gd name="connsiteY251" fmla="*/ 763635 h 815526"/>
                  <a:gd name="connsiteX252" fmla="*/ 196678 w 915678"/>
                  <a:gd name="connsiteY252" fmla="*/ 763635 h 815526"/>
                  <a:gd name="connsiteX253" fmla="*/ 196678 w 915678"/>
                  <a:gd name="connsiteY253" fmla="*/ 769358 h 815526"/>
                  <a:gd name="connsiteX254" fmla="*/ 159765 w 915678"/>
                  <a:gd name="connsiteY254" fmla="*/ 802122 h 815526"/>
                  <a:gd name="connsiteX255" fmla="*/ 164621 w 915678"/>
                  <a:gd name="connsiteY255" fmla="*/ 802113 h 815526"/>
                  <a:gd name="connsiteX256" fmla="*/ 164612 w 915678"/>
                  <a:gd name="connsiteY256" fmla="*/ 797258 h 815526"/>
                  <a:gd name="connsiteX257" fmla="*/ 159765 w 915678"/>
                  <a:gd name="connsiteY257" fmla="*/ 797258 h 815526"/>
                  <a:gd name="connsiteX258" fmla="*/ 159756 w 915678"/>
                  <a:gd name="connsiteY258" fmla="*/ 802113 h 815526"/>
                  <a:gd name="connsiteX259" fmla="*/ 159765 w 915678"/>
                  <a:gd name="connsiteY259" fmla="*/ 802122 h 815526"/>
                  <a:gd name="connsiteX260" fmla="*/ 470667 w 915678"/>
                  <a:gd name="connsiteY260" fmla="*/ 483924 h 815526"/>
                  <a:gd name="connsiteX261" fmla="*/ 483174 w 915678"/>
                  <a:gd name="connsiteY261" fmla="*/ 484885 h 815526"/>
                  <a:gd name="connsiteX262" fmla="*/ 484137 w 915678"/>
                  <a:gd name="connsiteY262" fmla="*/ 472378 h 815526"/>
                  <a:gd name="connsiteX263" fmla="*/ 483973 w 915678"/>
                  <a:gd name="connsiteY263" fmla="*/ 472192 h 815526"/>
                  <a:gd name="connsiteX264" fmla="*/ 471442 w 915678"/>
                  <a:gd name="connsiteY264" fmla="*/ 471579 h 815526"/>
                  <a:gd name="connsiteX265" fmla="*/ 470667 w 915678"/>
                  <a:gd name="connsiteY265" fmla="*/ 483924 h 815526"/>
                  <a:gd name="connsiteX266" fmla="*/ 433753 w 915678"/>
                  <a:gd name="connsiteY266" fmla="*/ 516688 h 815526"/>
                  <a:gd name="connsiteX267" fmla="*/ 445458 w 915678"/>
                  <a:gd name="connsiteY267" fmla="*/ 517535 h 815526"/>
                  <a:gd name="connsiteX268" fmla="*/ 446305 w 915678"/>
                  <a:gd name="connsiteY268" fmla="*/ 505830 h 815526"/>
                  <a:gd name="connsiteX269" fmla="*/ 434600 w 915678"/>
                  <a:gd name="connsiteY269" fmla="*/ 504983 h 815526"/>
                  <a:gd name="connsiteX270" fmla="*/ 434469 w 915678"/>
                  <a:gd name="connsiteY270" fmla="*/ 505099 h 815526"/>
                  <a:gd name="connsiteX271" fmla="*/ 433680 w 915678"/>
                  <a:gd name="connsiteY271" fmla="*/ 516605 h 815526"/>
                  <a:gd name="connsiteX272" fmla="*/ 433753 w 915678"/>
                  <a:gd name="connsiteY272" fmla="*/ 516688 h 815526"/>
                  <a:gd name="connsiteX273" fmla="*/ 396840 w 915678"/>
                  <a:gd name="connsiteY273" fmla="*/ 549452 h 815526"/>
                  <a:gd name="connsiteX274" fmla="*/ 407359 w 915678"/>
                  <a:gd name="connsiteY274" fmla="*/ 549664 h 815526"/>
                  <a:gd name="connsiteX275" fmla="*/ 407571 w 915678"/>
                  <a:gd name="connsiteY275" fmla="*/ 549452 h 815526"/>
                  <a:gd name="connsiteX276" fmla="*/ 408449 w 915678"/>
                  <a:gd name="connsiteY276" fmla="*/ 538764 h 815526"/>
                  <a:gd name="connsiteX277" fmla="*/ 408286 w 915678"/>
                  <a:gd name="connsiteY277" fmla="*/ 538578 h 815526"/>
                  <a:gd name="connsiteX278" fmla="*/ 397412 w 915678"/>
                  <a:gd name="connsiteY278" fmla="*/ 537863 h 815526"/>
                  <a:gd name="connsiteX279" fmla="*/ 397412 w 915678"/>
                  <a:gd name="connsiteY279" fmla="*/ 548737 h 815526"/>
                  <a:gd name="connsiteX280" fmla="*/ 359068 w 915678"/>
                  <a:gd name="connsiteY280" fmla="*/ 581787 h 815526"/>
                  <a:gd name="connsiteX281" fmla="*/ 368982 w 915678"/>
                  <a:gd name="connsiteY281" fmla="*/ 581685 h 815526"/>
                  <a:gd name="connsiteX282" fmla="*/ 368882 w 915678"/>
                  <a:gd name="connsiteY282" fmla="*/ 571772 h 815526"/>
                  <a:gd name="connsiteX283" fmla="*/ 359068 w 915678"/>
                  <a:gd name="connsiteY283" fmla="*/ 571772 h 815526"/>
                  <a:gd name="connsiteX284" fmla="*/ 359068 w 915678"/>
                  <a:gd name="connsiteY284" fmla="*/ 581787 h 815526"/>
                  <a:gd name="connsiteX285" fmla="*/ 322155 w 915678"/>
                  <a:gd name="connsiteY285" fmla="*/ 614551 h 815526"/>
                  <a:gd name="connsiteX286" fmla="*/ 331260 w 915678"/>
                  <a:gd name="connsiteY286" fmla="*/ 614602 h 815526"/>
                  <a:gd name="connsiteX287" fmla="*/ 331312 w 915678"/>
                  <a:gd name="connsiteY287" fmla="*/ 614551 h 815526"/>
                  <a:gd name="connsiteX288" fmla="*/ 331884 w 915678"/>
                  <a:gd name="connsiteY288" fmla="*/ 605394 h 815526"/>
                  <a:gd name="connsiteX289" fmla="*/ 322727 w 915678"/>
                  <a:gd name="connsiteY289" fmla="*/ 604822 h 815526"/>
                  <a:gd name="connsiteX290" fmla="*/ 322676 w 915678"/>
                  <a:gd name="connsiteY290" fmla="*/ 613927 h 815526"/>
                  <a:gd name="connsiteX291" fmla="*/ 322727 w 915678"/>
                  <a:gd name="connsiteY291" fmla="*/ 613979 h 815526"/>
                  <a:gd name="connsiteX292" fmla="*/ 284669 w 915678"/>
                  <a:gd name="connsiteY292" fmla="*/ 647744 h 815526"/>
                  <a:gd name="connsiteX293" fmla="*/ 292965 w 915678"/>
                  <a:gd name="connsiteY293" fmla="*/ 647741 h 815526"/>
                  <a:gd name="connsiteX294" fmla="*/ 292963 w 915678"/>
                  <a:gd name="connsiteY294" fmla="*/ 639446 h 815526"/>
                  <a:gd name="connsiteX295" fmla="*/ 284669 w 915678"/>
                  <a:gd name="connsiteY295" fmla="*/ 639446 h 815526"/>
                  <a:gd name="connsiteX296" fmla="*/ 284666 w 915678"/>
                  <a:gd name="connsiteY296" fmla="*/ 647741 h 815526"/>
                  <a:gd name="connsiteX297" fmla="*/ 284669 w 915678"/>
                  <a:gd name="connsiteY297" fmla="*/ 647744 h 815526"/>
                  <a:gd name="connsiteX298" fmla="*/ 248185 w 915678"/>
                  <a:gd name="connsiteY298" fmla="*/ 680509 h 815526"/>
                  <a:gd name="connsiteX299" fmla="*/ 255667 w 915678"/>
                  <a:gd name="connsiteY299" fmla="*/ 680224 h 815526"/>
                  <a:gd name="connsiteX300" fmla="*/ 256054 w 915678"/>
                  <a:gd name="connsiteY300" fmla="*/ 673498 h 815526"/>
                  <a:gd name="connsiteX301" fmla="*/ 248656 w 915678"/>
                  <a:gd name="connsiteY301" fmla="*/ 672355 h 815526"/>
                  <a:gd name="connsiteX302" fmla="*/ 247513 w 915678"/>
                  <a:gd name="connsiteY302" fmla="*/ 679753 h 815526"/>
                  <a:gd name="connsiteX303" fmla="*/ 248185 w 915678"/>
                  <a:gd name="connsiteY303" fmla="*/ 680509 h 815526"/>
                  <a:gd name="connsiteX304" fmla="*/ 211272 w 915678"/>
                  <a:gd name="connsiteY304" fmla="*/ 713273 h 815526"/>
                  <a:gd name="connsiteX305" fmla="*/ 217746 w 915678"/>
                  <a:gd name="connsiteY305" fmla="*/ 713380 h 815526"/>
                  <a:gd name="connsiteX306" fmla="*/ 217853 w 915678"/>
                  <a:gd name="connsiteY306" fmla="*/ 713273 h 815526"/>
                  <a:gd name="connsiteX307" fmla="*/ 217853 w 915678"/>
                  <a:gd name="connsiteY307" fmla="*/ 706691 h 815526"/>
                  <a:gd name="connsiteX308" fmla="*/ 211339 w 915678"/>
                  <a:gd name="connsiteY308" fmla="*/ 705223 h 815526"/>
                  <a:gd name="connsiteX309" fmla="*/ 209871 w 915678"/>
                  <a:gd name="connsiteY309" fmla="*/ 711736 h 815526"/>
                  <a:gd name="connsiteX310" fmla="*/ 210843 w 915678"/>
                  <a:gd name="connsiteY310" fmla="*/ 712843 h 815526"/>
                  <a:gd name="connsiteX311" fmla="*/ 173786 w 915678"/>
                  <a:gd name="connsiteY311" fmla="*/ 745607 h 815526"/>
                  <a:gd name="connsiteX312" fmla="*/ 179652 w 915678"/>
                  <a:gd name="connsiteY312" fmla="*/ 745607 h 815526"/>
                  <a:gd name="connsiteX313" fmla="*/ 179652 w 915678"/>
                  <a:gd name="connsiteY313" fmla="*/ 739885 h 815526"/>
                  <a:gd name="connsiteX314" fmla="*/ 174196 w 915678"/>
                  <a:gd name="connsiteY314" fmla="*/ 739618 h 815526"/>
                  <a:gd name="connsiteX315" fmla="*/ 173929 w 915678"/>
                  <a:gd name="connsiteY315" fmla="*/ 739885 h 815526"/>
                  <a:gd name="connsiteX316" fmla="*/ 173872 w 915678"/>
                  <a:gd name="connsiteY316" fmla="*/ 745550 h 815526"/>
                  <a:gd name="connsiteX317" fmla="*/ 173929 w 915678"/>
                  <a:gd name="connsiteY317" fmla="*/ 745607 h 815526"/>
                  <a:gd name="connsiteX318" fmla="*/ 137302 w 915678"/>
                  <a:gd name="connsiteY318" fmla="*/ 778801 h 815526"/>
                  <a:gd name="connsiteX319" fmla="*/ 142158 w 915678"/>
                  <a:gd name="connsiteY319" fmla="*/ 778792 h 815526"/>
                  <a:gd name="connsiteX320" fmla="*/ 142150 w 915678"/>
                  <a:gd name="connsiteY320" fmla="*/ 773936 h 815526"/>
                  <a:gd name="connsiteX321" fmla="*/ 137302 w 915678"/>
                  <a:gd name="connsiteY321" fmla="*/ 773936 h 815526"/>
                  <a:gd name="connsiteX322" fmla="*/ 137294 w 915678"/>
                  <a:gd name="connsiteY322" fmla="*/ 778792 h 815526"/>
                  <a:gd name="connsiteX323" fmla="*/ 137302 w 915678"/>
                  <a:gd name="connsiteY323" fmla="*/ 778801 h 815526"/>
                  <a:gd name="connsiteX324" fmla="*/ 449205 w 915678"/>
                  <a:gd name="connsiteY324" fmla="*/ 460459 h 815526"/>
                  <a:gd name="connsiteX325" fmla="*/ 461547 w 915678"/>
                  <a:gd name="connsiteY325" fmla="*/ 460565 h 815526"/>
                  <a:gd name="connsiteX326" fmla="*/ 461653 w 915678"/>
                  <a:gd name="connsiteY326" fmla="*/ 460459 h 815526"/>
                  <a:gd name="connsiteX327" fmla="*/ 462511 w 915678"/>
                  <a:gd name="connsiteY327" fmla="*/ 448012 h 815526"/>
                  <a:gd name="connsiteX328" fmla="*/ 449921 w 915678"/>
                  <a:gd name="connsiteY328" fmla="*/ 447153 h 815526"/>
                  <a:gd name="connsiteX329" fmla="*/ 449875 w 915678"/>
                  <a:gd name="connsiteY329" fmla="*/ 459698 h 815526"/>
                  <a:gd name="connsiteX330" fmla="*/ 449921 w 915678"/>
                  <a:gd name="connsiteY330" fmla="*/ 459744 h 815526"/>
                  <a:gd name="connsiteX331" fmla="*/ 412864 w 915678"/>
                  <a:gd name="connsiteY331" fmla="*/ 492508 h 815526"/>
                  <a:gd name="connsiteX332" fmla="*/ 424512 w 915678"/>
                  <a:gd name="connsiteY332" fmla="*/ 493940 h 815526"/>
                  <a:gd name="connsiteX333" fmla="*/ 425944 w 915678"/>
                  <a:gd name="connsiteY333" fmla="*/ 482293 h 815526"/>
                  <a:gd name="connsiteX334" fmla="*/ 414297 w 915678"/>
                  <a:gd name="connsiteY334" fmla="*/ 480860 h 815526"/>
                  <a:gd name="connsiteX335" fmla="*/ 413437 w 915678"/>
                  <a:gd name="connsiteY335" fmla="*/ 481635 h 815526"/>
                  <a:gd name="connsiteX336" fmla="*/ 412704 w 915678"/>
                  <a:gd name="connsiteY336" fmla="*/ 493347 h 815526"/>
                  <a:gd name="connsiteX337" fmla="*/ 412721 w 915678"/>
                  <a:gd name="connsiteY337" fmla="*/ 493367 h 815526"/>
                  <a:gd name="connsiteX338" fmla="*/ 375236 w 915678"/>
                  <a:gd name="connsiteY338" fmla="*/ 525988 h 815526"/>
                  <a:gd name="connsiteX339" fmla="*/ 386109 w 915678"/>
                  <a:gd name="connsiteY339" fmla="*/ 525988 h 815526"/>
                  <a:gd name="connsiteX340" fmla="*/ 386109 w 915678"/>
                  <a:gd name="connsiteY340" fmla="*/ 515114 h 815526"/>
                  <a:gd name="connsiteX341" fmla="*/ 375386 w 915678"/>
                  <a:gd name="connsiteY341" fmla="*/ 514964 h 815526"/>
                  <a:gd name="connsiteX342" fmla="*/ 375236 w 915678"/>
                  <a:gd name="connsiteY342" fmla="*/ 515114 h 815526"/>
                  <a:gd name="connsiteX343" fmla="*/ 375236 w 915678"/>
                  <a:gd name="connsiteY343" fmla="*/ 525988 h 815526"/>
                  <a:gd name="connsiteX344" fmla="*/ 338179 w 915678"/>
                  <a:gd name="connsiteY344" fmla="*/ 558752 h 815526"/>
                  <a:gd name="connsiteX345" fmla="*/ 348195 w 915678"/>
                  <a:gd name="connsiteY345" fmla="*/ 558752 h 815526"/>
                  <a:gd name="connsiteX346" fmla="*/ 349027 w 915678"/>
                  <a:gd name="connsiteY346" fmla="*/ 548873 h 815526"/>
                  <a:gd name="connsiteX347" fmla="*/ 348910 w 915678"/>
                  <a:gd name="connsiteY347" fmla="*/ 548737 h 815526"/>
                  <a:gd name="connsiteX348" fmla="*/ 338895 w 915678"/>
                  <a:gd name="connsiteY348" fmla="*/ 548737 h 815526"/>
                  <a:gd name="connsiteX349" fmla="*/ 338793 w 915678"/>
                  <a:gd name="connsiteY349" fmla="*/ 558650 h 815526"/>
                  <a:gd name="connsiteX350" fmla="*/ 338895 w 915678"/>
                  <a:gd name="connsiteY350" fmla="*/ 558752 h 815526"/>
                  <a:gd name="connsiteX351" fmla="*/ 301981 w 915678"/>
                  <a:gd name="connsiteY351" fmla="*/ 591516 h 815526"/>
                  <a:gd name="connsiteX352" fmla="*/ 311138 w 915678"/>
                  <a:gd name="connsiteY352" fmla="*/ 591516 h 815526"/>
                  <a:gd name="connsiteX353" fmla="*/ 311710 w 915678"/>
                  <a:gd name="connsiteY353" fmla="*/ 582359 h 815526"/>
                  <a:gd name="connsiteX354" fmla="*/ 302554 w 915678"/>
                  <a:gd name="connsiteY354" fmla="*/ 581787 h 815526"/>
                  <a:gd name="connsiteX355" fmla="*/ 302554 w 915678"/>
                  <a:gd name="connsiteY355" fmla="*/ 590944 h 815526"/>
                  <a:gd name="connsiteX356" fmla="*/ 264353 w 915678"/>
                  <a:gd name="connsiteY356" fmla="*/ 624709 h 815526"/>
                  <a:gd name="connsiteX357" fmla="*/ 272648 w 915678"/>
                  <a:gd name="connsiteY357" fmla="*/ 624706 h 815526"/>
                  <a:gd name="connsiteX358" fmla="*/ 272647 w 915678"/>
                  <a:gd name="connsiteY358" fmla="*/ 616411 h 815526"/>
                  <a:gd name="connsiteX359" fmla="*/ 264353 w 915678"/>
                  <a:gd name="connsiteY359" fmla="*/ 616411 h 815526"/>
                  <a:gd name="connsiteX360" fmla="*/ 264350 w 915678"/>
                  <a:gd name="connsiteY360" fmla="*/ 624706 h 815526"/>
                  <a:gd name="connsiteX361" fmla="*/ 264353 w 915678"/>
                  <a:gd name="connsiteY361" fmla="*/ 624709 h 815526"/>
                  <a:gd name="connsiteX362" fmla="*/ 227439 w 915678"/>
                  <a:gd name="connsiteY362" fmla="*/ 657044 h 815526"/>
                  <a:gd name="connsiteX363" fmla="*/ 235022 w 915678"/>
                  <a:gd name="connsiteY363" fmla="*/ 657044 h 815526"/>
                  <a:gd name="connsiteX364" fmla="*/ 235022 w 915678"/>
                  <a:gd name="connsiteY364" fmla="*/ 649604 h 815526"/>
                  <a:gd name="connsiteX365" fmla="*/ 227511 w 915678"/>
                  <a:gd name="connsiteY365" fmla="*/ 649104 h 815526"/>
                  <a:gd name="connsiteX366" fmla="*/ 227010 w 915678"/>
                  <a:gd name="connsiteY366" fmla="*/ 656615 h 815526"/>
                  <a:gd name="connsiteX367" fmla="*/ 190097 w 915678"/>
                  <a:gd name="connsiteY367" fmla="*/ 689379 h 815526"/>
                  <a:gd name="connsiteX368" fmla="*/ 196678 w 915678"/>
                  <a:gd name="connsiteY368" fmla="*/ 689379 h 815526"/>
                  <a:gd name="connsiteX369" fmla="*/ 196786 w 915678"/>
                  <a:gd name="connsiteY369" fmla="*/ 682905 h 815526"/>
                  <a:gd name="connsiteX370" fmla="*/ 196678 w 915678"/>
                  <a:gd name="connsiteY370" fmla="*/ 682798 h 815526"/>
                  <a:gd name="connsiteX371" fmla="*/ 190097 w 915678"/>
                  <a:gd name="connsiteY371" fmla="*/ 682798 h 815526"/>
                  <a:gd name="connsiteX372" fmla="*/ 189990 w 915678"/>
                  <a:gd name="connsiteY372" fmla="*/ 689272 h 815526"/>
                  <a:gd name="connsiteX373" fmla="*/ 190097 w 915678"/>
                  <a:gd name="connsiteY373" fmla="*/ 689379 h 815526"/>
                  <a:gd name="connsiteX374" fmla="*/ 153184 w 915678"/>
                  <a:gd name="connsiteY374" fmla="*/ 722143 h 815526"/>
                  <a:gd name="connsiteX375" fmla="*/ 158907 w 915678"/>
                  <a:gd name="connsiteY375" fmla="*/ 722143 h 815526"/>
                  <a:gd name="connsiteX376" fmla="*/ 159173 w 915678"/>
                  <a:gd name="connsiteY376" fmla="*/ 716686 h 815526"/>
                  <a:gd name="connsiteX377" fmla="*/ 158907 w 915678"/>
                  <a:gd name="connsiteY377" fmla="*/ 716420 h 815526"/>
                  <a:gd name="connsiteX378" fmla="*/ 153241 w 915678"/>
                  <a:gd name="connsiteY378" fmla="*/ 716363 h 815526"/>
                  <a:gd name="connsiteX379" fmla="*/ 153184 w 915678"/>
                  <a:gd name="connsiteY379" fmla="*/ 716420 h 815526"/>
                  <a:gd name="connsiteX380" fmla="*/ 153184 w 915678"/>
                  <a:gd name="connsiteY380" fmla="*/ 722286 h 815526"/>
                  <a:gd name="connsiteX381" fmla="*/ 116127 w 915678"/>
                  <a:gd name="connsiteY381" fmla="*/ 755050 h 815526"/>
                  <a:gd name="connsiteX382" fmla="*/ 121185 w 915678"/>
                  <a:gd name="connsiteY382" fmla="*/ 755101 h 815526"/>
                  <a:gd name="connsiteX383" fmla="*/ 121236 w 915678"/>
                  <a:gd name="connsiteY383" fmla="*/ 750043 h 815526"/>
                  <a:gd name="connsiteX384" fmla="*/ 116177 w 915678"/>
                  <a:gd name="connsiteY384" fmla="*/ 749993 h 815526"/>
                  <a:gd name="connsiteX385" fmla="*/ 116127 w 915678"/>
                  <a:gd name="connsiteY385" fmla="*/ 750043 h 815526"/>
                  <a:gd name="connsiteX386" fmla="*/ 116127 w 915678"/>
                  <a:gd name="connsiteY386" fmla="*/ 755050 h 815526"/>
                  <a:gd name="connsiteX387" fmla="*/ 79214 w 915678"/>
                  <a:gd name="connsiteY387" fmla="*/ 787672 h 815526"/>
                  <a:gd name="connsiteX388" fmla="*/ 83055 w 915678"/>
                  <a:gd name="connsiteY388" fmla="*/ 787838 h 815526"/>
                  <a:gd name="connsiteX389" fmla="*/ 83220 w 915678"/>
                  <a:gd name="connsiteY389" fmla="*/ 787672 h 815526"/>
                  <a:gd name="connsiteX390" fmla="*/ 83385 w 915678"/>
                  <a:gd name="connsiteY390" fmla="*/ 783830 h 815526"/>
                  <a:gd name="connsiteX391" fmla="*/ 83220 w 915678"/>
                  <a:gd name="connsiteY391" fmla="*/ 783665 h 815526"/>
                  <a:gd name="connsiteX392" fmla="*/ 79214 w 915678"/>
                  <a:gd name="connsiteY392" fmla="*/ 783665 h 815526"/>
                  <a:gd name="connsiteX393" fmla="*/ 79049 w 915678"/>
                  <a:gd name="connsiteY393" fmla="*/ 787506 h 815526"/>
                  <a:gd name="connsiteX394" fmla="*/ 79214 w 915678"/>
                  <a:gd name="connsiteY394" fmla="*/ 787672 h 815526"/>
                  <a:gd name="connsiteX395" fmla="*/ 479823 w 915678"/>
                  <a:gd name="connsiteY395" fmla="*/ 391354 h 815526"/>
                  <a:gd name="connsiteX396" fmla="*/ 467233 w 915678"/>
                  <a:gd name="connsiteY396" fmla="*/ 390496 h 815526"/>
                  <a:gd name="connsiteX397" fmla="*/ 466374 w 915678"/>
                  <a:gd name="connsiteY397" fmla="*/ 403086 h 815526"/>
                  <a:gd name="connsiteX398" fmla="*/ 478965 w 915678"/>
                  <a:gd name="connsiteY398" fmla="*/ 403945 h 815526"/>
                  <a:gd name="connsiteX399" fmla="*/ 479823 w 915678"/>
                  <a:gd name="connsiteY399" fmla="*/ 391354 h 815526"/>
                  <a:gd name="connsiteX400" fmla="*/ 516737 w 915678"/>
                  <a:gd name="connsiteY400" fmla="*/ 358590 h 815526"/>
                  <a:gd name="connsiteX401" fmla="*/ 505032 w 915678"/>
                  <a:gd name="connsiteY401" fmla="*/ 357743 h 815526"/>
                  <a:gd name="connsiteX402" fmla="*/ 504185 w 915678"/>
                  <a:gd name="connsiteY402" fmla="*/ 369448 h 815526"/>
                  <a:gd name="connsiteX403" fmla="*/ 515890 w 915678"/>
                  <a:gd name="connsiteY403" fmla="*/ 370295 h 815526"/>
                  <a:gd name="connsiteX404" fmla="*/ 516021 w 915678"/>
                  <a:gd name="connsiteY404" fmla="*/ 370179 h 815526"/>
                  <a:gd name="connsiteX405" fmla="*/ 516810 w 915678"/>
                  <a:gd name="connsiteY405" fmla="*/ 358673 h 815526"/>
                  <a:gd name="connsiteX406" fmla="*/ 516737 w 915678"/>
                  <a:gd name="connsiteY406" fmla="*/ 358590 h 815526"/>
                  <a:gd name="connsiteX407" fmla="*/ 553650 w 915678"/>
                  <a:gd name="connsiteY407" fmla="*/ 325826 h 815526"/>
                  <a:gd name="connsiteX408" fmla="*/ 542848 w 915678"/>
                  <a:gd name="connsiteY408" fmla="*/ 325182 h 815526"/>
                  <a:gd name="connsiteX409" fmla="*/ 542204 w 915678"/>
                  <a:gd name="connsiteY409" fmla="*/ 335984 h 815526"/>
                  <a:gd name="connsiteX410" fmla="*/ 553078 w 915678"/>
                  <a:gd name="connsiteY410" fmla="*/ 335984 h 815526"/>
                  <a:gd name="connsiteX411" fmla="*/ 553078 w 915678"/>
                  <a:gd name="connsiteY411" fmla="*/ 325111 h 815526"/>
                  <a:gd name="connsiteX412" fmla="*/ 590134 w 915678"/>
                  <a:gd name="connsiteY412" fmla="*/ 292347 h 815526"/>
                  <a:gd name="connsiteX413" fmla="*/ 580426 w 915678"/>
                  <a:gd name="connsiteY413" fmla="*/ 292039 h 815526"/>
                  <a:gd name="connsiteX414" fmla="*/ 580119 w 915678"/>
                  <a:gd name="connsiteY414" fmla="*/ 292347 h 815526"/>
                  <a:gd name="connsiteX415" fmla="*/ 579286 w 915678"/>
                  <a:gd name="connsiteY415" fmla="*/ 302226 h 815526"/>
                  <a:gd name="connsiteX416" fmla="*/ 579403 w 915678"/>
                  <a:gd name="connsiteY416" fmla="*/ 302362 h 815526"/>
                  <a:gd name="connsiteX417" fmla="*/ 589419 w 915678"/>
                  <a:gd name="connsiteY417" fmla="*/ 302362 h 815526"/>
                  <a:gd name="connsiteX418" fmla="*/ 589520 w 915678"/>
                  <a:gd name="connsiteY418" fmla="*/ 292448 h 815526"/>
                  <a:gd name="connsiteX419" fmla="*/ 589419 w 915678"/>
                  <a:gd name="connsiteY419" fmla="*/ 292347 h 815526"/>
                  <a:gd name="connsiteX420" fmla="*/ 628049 w 915678"/>
                  <a:gd name="connsiteY420" fmla="*/ 260584 h 815526"/>
                  <a:gd name="connsiteX421" fmla="*/ 618944 w 915678"/>
                  <a:gd name="connsiteY421" fmla="*/ 260532 h 815526"/>
                  <a:gd name="connsiteX422" fmla="*/ 618892 w 915678"/>
                  <a:gd name="connsiteY422" fmla="*/ 260584 h 815526"/>
                  <a:gd name="connsiteX423" fmla="*/ 618320 w 915678"/>
                  <a:gd name="connsiteY423" fmla="*/ 269741 h 815526"/>
                  <a:gd name="connsiteX424" fmla="*/ 627477 w 915678"/>
                  <a:gd name="connsiteY424" fmla="*/ 270313 h 815526"/>
                  <a:gd name="connsiteX425" fmla="*/ 627528 w 915678"/>
                  <a:gd name="connsiteY425" fmla="*/ 261208 h 815526"/>
                  <a:gd name="connsiteX426" fmla="*/ 627477 w 915678"/>
                  <a:gd name="connsiteY426" fmla="*/ 261156 h 815526"/>
                  <a:gd name="connsiteX427" fmla="*/ 664390 w 915678"/>
                  <a:gd name="connsiteY427" fmla="*/ 228392 h 815526"/>
                  <a:gd name="connsiteX428" fmla="*/ 656094 w 915678"/>
                  <a:gd name="connsiteY428" fmla="*/ 228395 h 815526"/>
                  <a:gd name="connsiteX429" fmla="*/ 656096 w 915678"/>
                  <a:gd name="connsiteY429" fmla="*/ 236690 h 815526"/>
                  <a:gd name="connsiteX430" fmla="*/ 664390 w 915678"/>
                  <a:gd name="connsiteY430" fmla="*/ 236690 h 815526"/>
                  <a:gd name="connsiteX431" fmla="*/ 664393 w 915678"/>
                  <a:gd name="connsiteY431" fmla="*/ 228395 h 815526"/>
                  <a:gd name="connsiteX432" fmla="*/ 664390 w 915678"/>
                  <a:gd name="connsiteY432" fmla="*/ 228392 h 815526"/>
                  <a:gd name="connsiteX433" fmla="*/ 701303 w 915678"/>
                  <a:gd name="connsiteY433" fmla="*/ 195485 h 815526"/>
                  <a:gd name="connsiteX434" fmla="*/ 693792 w 915678"/>
                  <a:gd name="connsiteY434" fmla="*/ 194984 h 815526"/>
                  <a:gd name="connsiteX435" fmla="*/ 693291 w 915678"/>
                  <a:gd name="connsiteY435" fmla="*/ 202496 h 815526"/>
                  <a:gd name="connsiteX436" fmla="*/ 700802 w 915678"/>
                  <a:gd name="connsiteY436" fmla="*/ 202996 h 815526"/>
                  <a:gd name="connsiteX437" fmla="*/ 701303 w 915678"/>
                  <a:gd name="connsiteY437" fmla="*/ 195485 h 815526"/>
                  <a:gd name="connsiteX438" fmla="*/ 738216 w 915678"/>
                  <a:gd name="connsiteY438" fmla="*/ 162721 h 815526"/>
                  <a:gd name="connsiteX439" fmla="*/ 731635 w 915678"/>
                  <a:gd name="connsiteY439" fmla="*/ 162721 h 815526"/>
                  <a:gd name="connsiteX440" fmla="*/ 731541 w 915678"/>
                  <a:gd name="connsiteY440" fmla="*/ 169397 h 815526"/>
                  <a:gd name="connsiteX441" fmla="*/ 738216 w 915678"/>
                  <a:gd name="connsiteY441" fmla="*/ 169493 h 815526"/>
                  <a:gd name="connsiteX442" fmla="*/ 738311 w 915678"/>
                  <a:gd name="connsiteY442" fmla="*/ 162815 h 815526"/>
                  <a:gd name="connsiteX443" fmla="*/ 738216 w 915678"/>
                  <a:gd name="connsiteY443" fmla="*/ 162721 h 815526"/>
                  <a:gd name="connsiteX444" fmla="*/ 775130 w 915678"/>
                  <a:gd name="connsiteY444" fmla="*/ 129957 h 815526"/>
                  <a:gd name="connsiteX445" fmla="*/ 769464 w 915678"/>
                  <a:gd name="connsiteY445" fmla="*/ 130014 h 815526"/>
                  <a:gd name="connsiteX446" fmla="*/ 769523 w 915678"/>
                  <a:gd name="connsiteY446" fmla="*/ 135680 h 815526"/>
                  <a:gd name="connsiteX447" fmla="*/ 775130 w 915678"/>
                  <a:gd name="connsiteY447" fmla="*/ 135680 h 815526"/>
                  <a:gd name="connsiteX448" fmla="*/ 775396 w 915678"/>
                  <a:gd name="connsiteY448" fmla="*/ 130223 h 815526"/>
                  <a:gd name="connsiteX449" fmla="*/ 775130 w 915678"/>
                  <a:gd name="connsiteY449" fmla="*/ 129957 h 815526"/>
                  <a:gd name="connsiteX450" fmla="*/ 812186 w 915678"/>
                  <a:gd name="connsiteY450" fmla="*/ 97192 h 815526"/>
                  <a:gd name="connsiteX451" fmla="*/ 807330 w 915678"/>
                  <a:gd name="connsiteY451" fmla="*/ 97201 h 815526"/>
                  <a:gd name="connsiteX452" fmla="*/ 807339 w 915678"/>
                  <a:gd name="connsiteY452" fmla="*/ 102057 h 815526"/>
                  <a:gd name="connsiteX453" fmla="*/ 812186 w 915678"/>
                  <a:gd name="connsiteY453" fmla="*/ 102057 h 815526"/>
                  <a:gd name="connsiteX454" fmla="*/ 812195 w 915678"/>
                  <a:gd name="connsiteY454" fmla="*/ 97201 h 815526"/>
                  <a:gd name="connsiteX455" fmla="*/ 812186 w 915678"/>
                  <a:gd name="connsiteY455" fmla="*/ 97192 h 815526"/>
                  <a:gd name="connsiteX456" fmla="*/ 849099 w 915678"/>
                  <a:gd name="connsiteY456" fmla="*/ 64428 h 815526"/>
                  <a:gd name="connsiteX457" fmla="*/ 845022 w 915678"/>
                  <a:gd name="connsiteY457" fmla="*/ 64214 h 815526"/>
                  <a:gd name="connsiteX458" fmla="*/ 844807 w 915678"/>
                  <a:gd name="connsiteY458" fmla="*/ 68291 h 815526"/>
                  <a:gd name="connsiteX459" fmla="*/ 848813 w 915678"/>
                  <a:gd name="connsiteY459" fmla="*/ 68291 h 815526"/>
                  <a:gd name="connsiteX460" fmla="*/ 848813 w 915678"/>
                  <a:gd name="connsiteY460" fmla="*/ 64142 h 815526"/>
                  <a:gd name="connsiteX461" fmla="*/ 458648 w 915678"/>
                  <a:gd name="connsiteY461" fmla="*/ 368033 h 815526"/>
                  <a:gd name="connsiteX462" fmla="*/ 446058 w 915678"/>
                  <a:gd name="connsiteY462" fmla="*/ 367318 h 815526"/>
                  <a:gd name="connsiteX463" fmla="*/ 445281 w 915678"/>
                  <a:gd name="connsiteY463" fmla="*/ 379838 h 815526"/>
                  <a:gd name="connsiteX464" fmla="*/ 445342 w 915678"/>
                  <a:gd name="connsiteY464" fmla="*/ 379908 h 815526"/>
                  <a:gd name="connsiteX465" fmla="*/ 457933 w 915678"/>
                  <a:gd name="connsiteY465" fmla="*/ 380624 h 815526"/>
                  <a:gd name="connsiteX466" fmla="*/ 458648 w 915678"/>
                  <a:gd name="connsiteY466" fmla="*/ 368033 h 815526"/>
                  <a:gd name="connsiteX467" fmla="*/ 495562 w 915678"/>
                  <a:gd name="connsiteY467" fmla="*/ 335269 h 815526"/>
                  <a:gd name="connsiteX468" fmla="*/ 483847 w 915678"/>
                  <a:gd name="connsiteY468" fmla="*/ 334574 h 815526"/>
                  <a:gd name="connsiteX469" fmla="*/ 483151 w 915678"/>
                  <a:gd name="connsiteY469" fmla="*/ 346289 h 815526"/>
                  <a:gd name="connsiteX470" fmla="*/ 494846 w 915678"/>
                  <a:gd name="connsiteY470" fmla="*/ 347001 h 815526"/>
                  <a:gd name="connsiteX471" fmla="*/ 495579 w 915678"/>
                  <a:gd name="connsiteY471" fmla="*/ 335289 h 815526"/>
                  <a:gd name="connsiteX472" fmla="*/ 495562 w 915678"/>
                  <a:gd name="connsiteY472" fmla="*/ 335269 h 815526"/>
                  <a:gd name="connsiteX473" fmla="*/ 532618 w 915678"/>
                  <a:gd name="connsiteY473" fmla="*/ 302505 h 815526"/>
                  <a:gd name="connsiteX474" fmla="*/ 521744 w 915678"/>
                  <a:gd name="connsiteY474" fmla="*/ 302505 h 815526"/>
                  <a:gd name="connsiteX475" fmla="*/ 521594 w 915678"/>
                  <a:gd name="connsiteY475" fmla="*/ 313228 h 815526"/>
                  <a:gd name="connsiteX476" fmla="*/ 521744 w 915678"/>
                  <a:gd name="connsiteY476" fmla="*/ 313379 h 815526"/>
                  <a:gd name="connsiteX477" fmla="*/ 532618 w 915678"/>
                  <a:gd name="connsiteY477" fmla="*/ 313379 h 815526"/>
                  <a:gd name="connsiteX478" fmla="*/ 532618 w 915678"/>
                  <a:gd name="connsiteY478" fmla="*/ 302505 h 815526"/>
                  <a:gd name="connsiteX479" fmla="*/ 569531 w 915678"/>
                  <a:gd name="connsiteY479" fmla="*/ 269741 h 815526"/>
                  <a:gd name="connsiteX480" fmla="*/ 559516 w 915678"/>
                  <a:gd name="connsiteY480" fmla="*/ 269741 h 815526"/>
                  <a:gd name="connsiteX481" fmla="*/ 560253 w 915678"/>
                  <a:gd name="connsiteY481" fmla="*/ 279830 h 815526"/>
                  <a:gd name="connsiteX482" fmla="*/ 568959 w 915678"/>
                  <a:gd name="connsiteY482" fmla="*/ 280328 h 815526"/>
                  <a:gd name="connsiteX483" fmla="*/ 568959 w 915678"/>
                  <a:gd name="connsiteY483" fmla="*/ 270313 h 815526"/>
                  <a:gd name="connsiteX484" fmla="*/ 605872 w 915678"/>
                  <a:gd name="connsiteY484" fmla="*/ 237549 h 815526"/>
                  <a:gd name="connsiteX485" fmla="*/ 596716 w 915678"/>
                  <a:gd name="connsiteY485" fmla="*/ 237549 h 815526"/>
                  <a:gd name="connsiteX486" fmla="*/ 596716 w 915678"/>
                  <a:gd name="connsiteY486" fmla="*/ 246706 h 815526"/>
                  <a:gd name="connsiteX487" fmla="*/ 605872 w 915678"/>
                  <a:gd name="connsiteY487" fmla="*/ 246706 h 815526"/>
                  <a:gd name="connsiteX488" fmla="*/ 605924 w 915678"/>
                  <a:gd name="connsiteY488" fmla="*/ 237600 h 815526"/>
                  <a:gd name="connsiteX489" fmla="*/ 605872 w 915678"/>
                  <a:gd name="connsiteY489" fmla="*/ 237549 h 815526"/>
                  <a:gd name="connsiteX490" fmla="*/ 642929 w 915678"/>
                  <a:gd name="connsiteY490" fmla="*/ 204928 h 815526"/>
                  <a:gd name="connsiteX491" fmla="*/ 634633 w 915678"/>
                  <a:gd name="connsiteY491" fmla="*/ 204931 h 815526"/>
                  <a:gd name="connsiteX492" fmla="*/ 634635 w 915678"/>
                  <a:gd name="connsiteY492" fmla="*/ 213226 h 815526"/>
                  <a:gd name="connsiteX493" fmla="*/ 642929 w 915678"/>
                  <a:gd name="connsiteY493" fmla="*/ 213226 h 815526"/>
                  <a:gd name="connsiteX494" fmla="*/ 642932 w 915678"/>
                  <a:gd name="connsiteY494" fmla="*/ 204931 h 815526"/>
                  <a:gd name="connsiteX495" fmla="*/ 642929 w 915678"/>
                  <a:gd name="connsiteY495" fmla="*/ 204928 h 815526"/>
                  <a:gd name="connsiteX496" fmla="*/ 679842 w 915678"/>
                  <a:gd name="connsiteY496" fmla="*/ 172164 h 815526"/>
                  <a:gd name="connsiteX497" fmla="*/ 672402 w 915678"/>
                  <a:gd name="connsiteY497" fmla="*/ 172164 h 815526"/>
                  <a:gd name="connsiteX498" fmla="*/ 671901 w 915678"/>
                  <a:gd name="connsiteY498" fmla="*/ 179675 h 815526"/>
                  <a:gd name="connsiteX499" fmla="*/ 679413 w 915678"/>
                  <a:gd name="connsiteY499" fmla="*/ 180176 h 815526"/>
                  <a:gd name="connsiteX500" fmla="*/ 679413 w 915678"/>
                  <a:gd name="connsiteY500" fmla="*/ 172736 h 815526"/>
                  <a:gd name="connsiteX501" fmla="*/ 717328 w 915678"/>
                  <a:gd name="connsiteY501" fmla="*/ 138255 h 815526"/>
                  <a:gd name="connsiteX502" fmla="*/ 710853 w 915678"/>
                  <a:gd name="connsiteY502" fmla="*/ 138148 h 815526"/>
                  <a:gd name="connsiteX503" fmla="*/ 710746 w 915678"/>
                  <a:gd name="connsiteY503" fmla="*/ 138255 h 815526"/>
                  <a:gd name="connsiteX504" fmla="*/ 710746 w 915678"/>
                  <a:gd name="connsiteY504" fmla="*/ 144836 h 815526"/>
                  <a:gd name="connsiteX505" fmla="*/ 717471 w 915678"/>
                  <a:gd name="connsiteY505" fmla="*/ 144836 h 815526"/>
                  <a:gd name="connsiteX506" fmla="*/ 717471 w 915678"/>
                  <a:gd name="connsiteY506" fmla="*/ 138255 h 815526"/>
                  <a:gd name="connsiteX507" fmla="*/ 754527 w 915678"/>
                  <a:gd name="connsiteY507" fmla="*/ 105491 h 815526"/>
                  <a:gd name="connsiteX508" fmla="*/ 748661 w 915678"/>
                  <a:gd name="connsiteY508" fmla="*/ 105491 h 815526"/>
                  <a:gd name="connsiteX509" fmla="*/ 748661 w 915678"/>
                  <a:gd name="connsiteY509" fmla="*/ 111214 h 815526"/>
                  <a:gd name="connsiteX510" fmla="*/ 754384 w 915678"/>
                  <a:gd name="connsiteY510" fmla="*/ 111643 h 815526"/>
                  <a:gd name="connsiteX511" fmla="*/ 754813 w 915678"/>
                  <a:gd name="connsiteY511" fmla="*/ 105920 h 815526"/>
                  <a:gd name="connsiteX512" fmla="*/ 791726 w 915678"/>
                  <a:gd name="connsiteY512" fmla="*/ 73156 h 815526"/>
                  <a:gd name="connsiteX513" fmla="*/ 786871 w 915678"/>
                  <a:gd name="connsiteY513" fmla="*/ 73165 h 815526"/>
                  <a:gd name="connsiteX514" fmla="*/ 786879 w 915678"/>
                  <a:gd name="connsiteY514" fmla="*/ 78021 h 815526"/>
                  <a:gd name="connsiteX515" fmla="*/ 791726 w 915678"/>
                  <a:gd name="connsiteY515" fmla="*/ 78021 h 815526"/>
                  <a:gd name="connsiteX516" fmla="*/ 791735 w 915678"/>
                  <a:gd name="connsiteY516" fmla="*/ 73165 h 815526"/>
                  <a:gd name="connsiteX517" fmla="*/ 791726 w 915678"/>
                  <a:gd name="connsiteY517" fmla="*/ 73156 h 815526"/>
                  <a:gd name="connsiteX518" fmla="*/ 828354 w 915678"/>
                  <a:gd name="connsiteY518" fmla="*/ 40535 h 815526"/>
                  <a:gd name="connsiteX519" fmla="*/ 824312 w 915678"/>
                  <a:gd name="connsiteY519" fmla="*/ 40744 h 815526"/>
                  <a:gd name="connsiteX520" fmla="*/ 824061 w 915678"/>
                  <a:gd name="connsiteY520" fmla="*/ 44255 h 815526"/>
                  <a:gd name="connsiteX521" fmla="*/ 828210 w 915678"/>
                  <a:gd name="connsiteY521" fmla="*/ 44255 h 815526"/>
                  <a:gd name="connsiteX522" fmla="*/ 828375 w 915678"/>
                  <a:gd name="connsiteY522" fmla="*/ 40413 h 815526"/>
                  <a:gd name="connsiteX523" fmla="*/ 828210 w 915678"/>
                  <a:gd name="connsiteY523" fmla="*/ 40249 h 815526"/>
                  <a:gd name="connsiteX524" fmla="*/ 437759 w 915678"/>
                  <a:gd name="connsiteY524" fmla="*/ 344569 h 815526"/>
                  <a:gd name="connsiteX525" fmla="*/ 425229 w 915678"/>
                  <a:gd name="connsiteY525" fmla="*/ 343957 h 815526"/>
                  <a:gd name="connsiteX526" fmla="*/ 424453 w 915678"/>
                  <a:gd name="connsiteY526" fmla="*/ 356301 h 815526"/>
                  <a:gd name="connsiteX527" fmla="*/ 437044 w 915678"/>
                  <a:gd name="connsiteY527" fmla="*/ 357159 h 815526"/>
                  <a:gd name="connsiteX528" fmla="*/ 437821 w 915678"/>
                  <a:gd name="connsiteY528" fmla="*/ 344639 h 815526"/>
                  <a:gd name="connsiteX529" fmla="*/ 437759 w 915678"/>
                  <a:gd name="connsiteY529" fmla="*/ 344569 h 815526"/>
                  <a:gd name="connsiteX530" fmla="*/ 474816 w 915678"/>
                  <a:gd name="connsiteY530" fmla="*/ 311805 h 815526"/>
                  <a:gd name="connsiteX531" fmla="*/ 463081 w 915678"/>
                  <a:gd name="connsiteY531" fmla="*/ 311802 h 815526"/>
                  <a:gd name="connsiteX532" fmla="*/ 463076 w 915678"/>
                  <a:gd name="connsiteY532" fmla="*/ 323537 h 815526"/>
                  <a:gd name="connsiteX533" fmla="*/ 474813 w 915678"/>
                  <a:gd name="connsiteY533" fmla="*/ 323540 h 815526"/>
                  <a:gd name="connsiteX534" fmla="*/ 474816 w 915678"/>
                  <a:gd name="connsiteY534" fmla="*/ 323537 h 815526"/>
                  <a:gd name="connsiteX535" fmla="*/ 474816 w 915678"/>
                  <a:gd name="connsiteY535" fmla="*/ 311805 h 815526"/>
                  <a:gd name="connsiteX536" fmla="*/ 511729 w 915678"/>
                  <a:gd name="connsiteY536" fmla="*/ 279041 h 815526"/>
                  <a:gd name="connsiteX537" fmla="*/ 500802 w 915678"/>
                  <a:gd name="connsiteY537" fmla="*/ 278988 h 815526"/>
                  <a:gd name="connsiteX538" fmla="*/ 500751 w 915678"/>
                  <a:gd name="connsiteY538" fmla="*/ 289914 h 815526"/>
                  <a:gd name="connsiteX539" fmla="*/ 511676 w 915678"/>
                  <a:gd name="connsiteY539" fmla="*/ 289967 h 815526"/>
                  <a:gd name="connsiteX540" fmla="*/ 511729 w 915678"/>
                  <a:gd name="connsiteY540" fmla="*/ 289914 h 815526"/>
                  <a:gd name="connsiteX541" fmla="*/ 511879 w 915678"/>
                  <a:gd name="connsiteY541" fmla="*/ 279191 h 815526"/>
                  <a:gd name="connsiteX542" fmla="*/ 511729 w 915678"/>
                  <a:gd name="connsiteY542" fmla="*/ 279041 h 815526"/>
                  <a:gd name="connsiteX543" fmla="*/ 548642 w 915678"/>
                  <a:gd name="connsiteY543" fmla="*/ 246276 h 815526"/>
                  <a:gd name="connsiteX544" fmla="*/ 538526 w 915678"/>
                  <a:gd name="connsiteY544" fmla="*/ 246175 h 815526"/>
                  <a:gd name="connsiteX545" fmla="*/ 538425 w 915678"/>
                  <a:gd name="connsiteY545" fmla="*/ 256292 h 815526"/>
                  <a:gd name="connsiteX546" fmla="*/ 548541 w 915678"/>
                  <a:gd name="connsiteY546" fmla="*/ 256393 h 815526"/>
                  <a:gd name="connsiteX547" fmla="*/ 548642 w 915678"/>
                  <a:gd name="connsiteY547" fmla="*/ 256292 h 815526"/>
                  <a:gd name="connsiteX548" fmla="*/ 548642 w 915678"/>
                  <a:gd name="connsiteY548" fmla="*/ 246276 h 815526"/>
                  <a:gd name="connsiteX549" fmla="*/ 585126 w 915678"/>
                  <a:gd name="connsiteY549" fmla="*/ 213512 h 815526"/>
                  <a:gd name="connsiteX550" fmla="*/ 575970 w 915678"/>
                  <a:gd name="connsiteY550" fmla="*/ 213512 h 815526"/>
                  <a:gd name="connsiteX551" fmla="*/ 575397 w 915678"/>
                  <a:gd name="connsiteY551" fmla="*/ 222669 h 815526"/>
                  <a:gd name="connsiteX552" fmla="*/ 584554 w 915678"/>
                  <a:gd name="connsiteY552" fmla="*/ 223241 h 815526"/>
                  <a:gd name="connsiteX553" fmla="*/ 584554 w 915678"/>
                  <a:gd name="connsiteY553" fmla="*/ 214085 h 815526"/>
                  <a:gd name="connsiteX554" fmla="*/ 622612 w 915678"/>
                  <a:gd name="connsiteY554" fmla="*/ 181177 h 815526"/>
                  <a:gd name="connsiteX555" fmla="*/ 614317 w 915678"/>
                  <a:gd name="connsiteY555" fmla="*/ 181180 h 815526"/>
                  <a:gd name="connsiteX556" fmla="*/ 614318 w 915678"/>
                  <a:gd name="connsiteY556" fmla="*/ 189476 h 815526"/>
                  <a:gd name="connsiteX557" fmla="*/ 622612 w 915678"/>
                  <a:gd name="connsiteY557" fmla="*/ 189476 h 815526"/>
                  <a:gd name="connsiteX558" fmla="*/ 622615 w 915678"/>
                  <a:gd name="connsiteY558" fmla="*/ 181180 h 815526"/>
                  <a:gd name="connsiteX559" fmla="*/ 622612 w 915678"/>
                  <a:gd name="connsiteY559" fmla="*/ 181177 h 815526"/>
                  <a:gd name="connsiteX560" fmla="*/ 659525 w 915678"/>
                  <a:gd name="connsiteY560" fmla="*/ 148413 h 815526"/>
                  <a:gd name="connsiteX561" fmla="*/ 652085 w 915678"/>
                  <a:gd name="connsiteY561" fmla="*/ 148413 h 815526"/>
                  <a:gd name="connsiteX562" fmla="*/ 652085 w 915678"/>
                  <a:gd name="connsiteY562" fmla="*/ 155853 h 815526"/>
                  <a:gd name="connsiteX563" fmla="*/ 659567 w 915678"/>
                  <a:gd name="connsiteY563" fmla="*/ 155568 h 815526"/>
                  <a:gd name="connsiteX564" fmla="*/ 659955 w 915678"/>
                  <a:gd name="connsiteY564" fmla="*/ 148843 h 815526"/>
                  <a:gd name="connsiteX565" fmla="*/ 697011 w 915678"/>
                  <a:gd name="connsiteY565" fmla="*/ 116078 h 815526"/>
                  <a:gd name="connsiteX566" fmla="*/ 690382 w 915678"/>
                  <a:gd name="connsiteY566" fmla="*/ 115280 h 815526"/>
                  <a:gd name="connsiteX567" fmla="*/ 689584 w 915678"/>
                  <a:gd name="connsiteY567" fmla="*/ 121910 h 815526"/>
                  <a:gd name="connsiteX568" fmla="*/ 690000 w 915678"/>
                  <a:gd name="connsiteY568" fmla="*/ 122374 h 815526"/>
                  <a:gd name="connsiteX569" fmla="*/ 696678 w 915678"/>
                  <a:gd name="connsiteY569" fmla="*/ 122291 h 815526"/>
                  <a:gd name="connsiteX570" fmla="*/ 697011 w 915678"/>
                  <a:gd name="connsiteY570" fmla="*/ 116078 h 815526"/>
                  <a:gd name="connsiteX571" fmla="*/ 733924 w 915678"/>
                  <a:gd name="connsiteY571" fmla="*/ 83314 h 815526"/>
                  <a:gd name="connsiteX572" fmla="*/ 728077 w 915678"/>
                  <a:gd name="connsiteY572" fmla="*/ 83808 h 815526"/>
                  <a:gd name="connsiteX573" fmla="*/ 727772 w 915678"/>
                  <a:gd name="connsiteY573" fmla="*/ 88751 h 815526"/>
                  <a:gd name="connsiteX574" fmla="*/ 733638 w 915678"/>
                  <a:gd name="connsiteY574" fmla="*/ 88751 h 815526"/>
                  <a:gd name="connsiteX575" fmla="*/ 733638 w 915678"/>
                  <a:gd name="connsiteY575" fmla="*/ 83028 h 815526"/>
                  <a:gd name="connsiteX576" fmla="*/ 771124 w 915678"/>
                  <a:gd name="connsiteY576" fmla="*/ 49692 h 815526"/>
                  <a:gd name="connsiteX577" fmla="*/ 766268 w 915678"/>
                  <a:gd name="connsiteY577" fmla="*/ 49683 h 815526"/>
                  <a:gd name="connsiteX578" fmla="*/ 766259 w 915678"/>
                  <a:gd name="connsiteY578" fmla="*/ 49692 h 815526"/>
                  <a:gd name="connsiteX579" fmla="*/ 766268 w 915678"/>
                  <a:gd name="connsiteY579" fmla="*/ 54548 h 815526"/>
                  <a:gd name="connsiteX580" fmla="*/ 771124 w 915678"/>
                  <a:gd name="connsiteY580" fmla="*/ 54539 h 815526"/>
                  <a:gd name="connsiteX581" fmla="*/ 771124 w 915678"/>
                  <a:gd name="connsiteY581" fmla="*/ 49692 h 815526"/>
                  <a:gd name="connsiteX582" fmla="*/ 808180 w 915678"/>
                  <a:gd name="connsiteY582" fmla="*/ 16928 h 815526"/>
                  <a:gd name="connsiteX583" fmla="*/ 804031 w 915678"/>
                  <a:gd name="connsiteY583" fmla="*/ 16928 h 815526"/>
                  <a:gd name="connsiteX584" fmla="*/ 803865 w 915678"/>
                  <a:gd name="connsiteY584" fmla="*/ 20769 h 815526"/>
                  <a:gd name="connsiteX585" fmla="*/ 804031 w 915678"/>
                  <a:gd name="connsiteY585" fmla="*/ 20934 h 815526"/>
                  <a:gd name="connsiteX586" fmla="*/ 808037 w 915678"/>
                  <a:gd name="connsiteY586" fmla="*/ 20934 h 815526"/>
                  <a:gd name="connsiteX587" fmla="*/ 808037 w 915678"/>
                  <a:gd name="connsiteY587" fmla="*/ 16784 h 815526"/>
                  <a:gd name="connsiteX588" fmla="*/ 542204 w 915678"/>
                  <a:gd name="connsiteY588" fmla="*/ 462176 h 815526"/>
                  <a:gd name="connsiteX589" fmla="*/ 529659 w 915678"/>
                  <a:gd name="connsiteY589" fmla="*/ 462131 h 815526"/>
                  <a:gd name="connsiteX590" fmla="*/ 529613 w 915678"/>
                  <a:gd name="connsiteY590" fmla="*/ 462176 h 815526"/>
                  <a:gd name="connsiteX591" fmla="*/ 529508 w 915678"/>
                  <a:gd name="connsiteY591" fmla="*/ 474518 h 815526"/>
                  <a:gd name="connsiteX592" fmla="*/ 529613 w 915678"/>
                  <a:gd name="connsiteY592" fmla="*/ 474624 h 815526"/>
                  <a:gd name="connsiteX593" fmla="*/ 542061 w 915678"/>
                  <a:gd name="connsiteY593" fmla="*/ 475482 h 815526"/>
                  <a:gd name="connsiteX594" fmla="*/ 542919 w 915678"/>
                  <a:gd name="connsiteY594" fmla="*/ 462892 h 815526"/>
                  <a:gd name="connsiteX595" fmla="*/ 579833 w 915678"/>
                  <a:gd name="connsiteY595" fmla="*/ 430128 h 815526"/>
                  <a:gd name="connsiteX596" fmla="*/ 568098 w 915678"/>
                  <a:gd name="connsiteY596" fmla="*/ 430125 h 815526"/>
                  <a:gd name="connsiteX597" fmla="*/ 568093 w 915678"/>
                  <a:gd name="connsiteY597" fmla="*/ 441860 h 815526"/>
                  <a:gd name="connsiteX598" fmla="*/ 579830 w 915678"/>
                  <a:gd name="connsiteY598" fmla="*/ 441863 h 815526"/>
                  <a:gd name="connsiteX599" fmla="*/ 579833 w 915678"/>
                  <a:gd name="connsiteY599" fmla="*/ 441860 h 815526"/>
                  <a:gd name="connsiteX600" fmla="*/ 579833 w 915678"/>
                  <a:gd name="connsiteY600" fmla="*/ 430128 h 815526"/>
                  <a:gd name="connsiteX601" fmla="*/ 616746 w 915678"/>
                  <a:gd name="connsiteY601" fmla="*/ 397363 h 815526"/>
                  <a:gd name="connsiteX602" fmla="*/ 606022 w 915678"/>
                  <a:gd name="connsiteY602" fmla="*/ 397514 h 815526"/>
                  <a:gd name="connsiteX603" fmla="*/ 606174 w 915678"/>
                  <a:gd name="connsiteY603" fmla="*/ 408237 h 815526"/>
                  <a:gd name="connsiteX604" fmla="*/ 616746 w 915678"/>
                  <a:gd name="connsiteY604" fmla="*/ 408237 h 815526"/>
                  <a:gd name="connsiteX605" fmla="*/ 616746 w 915678"/>
                  <a:gd name="connsiteY605" fmla="*/ 397363 h 815526"/>
                  <a:gd name="connsiteX606" fmla="*/ 653802 w 915678"/>
                  <a:gd name="connsiteY606" fmla="*/ 364599 h 815526"/>
                  <a:gd name="connsiteX607" fmla="*/ 643787 w 915678"/>
                  <a:gd name="connsiteY607" fmla="*/ 364599 h 815526"/>
                  <a:gd name="connsiteX608" fmla="*/ 643479 w 915678"/>
                  <a:gd name="connsiteY608" fmla="*/ 374307 h 815526"/>
                  <a:gd name="connsiteX609" fmla="*/ 643787 w 915678"/>
                  <a:gd name="connsiteY609" fmla="*/ 374615 h 815526"/>
                  <a:gd name="connsiteX610" fmla="*/ 653728 w 915678"/>
                  <a:gd name="connsiteY610" fmla="*/ 376496 h 815526"/>
                  <a:gd name="connsiteX611" fmla="*/ 655609 w 915678"/>
                  <a:gd name="connsiteY611" fmla="*/ 366555 h 815526"/>
                  <a:gd name="connsiteX612" fmla="*/ 654375 w 915678"/>
                  <a:gd name="connsiteY612" fmla="*/ 365172 h 815526"/>
                  <a:gd name="connsiteX613" fmla="*/ 691288 w 915678"/>
                  <a:gd name="connsiteY613" fmla="*/ 332407 h 815526"/>
                  <a:gd name="connsiteX614" fmla="*/ 682131 w 915678"/>
                  <a:gd name="connsiteY614" fmla="*/ 331835 h 815526"/>
                  <a:gd name="connsiteX615" fmla="*/ 681559 w 915678"/>
                  <a:gd name="connsiteY615" fmla="*/ 340992 h 815526"/>
                  <a:gd name="connsiteX616" fmla="*/ 690716 w 915678"/>
                  <a:gd name="connsiteY616" fmla="*/ 341564 h 815526"/>
                  <a:gd name="connsiteX617" fmla="*/ 691288 w 915678"/>
                  <a:gd name="connsiteY617" fmla="*/ 332407 h 815526"/>
                  <a:gd name="connsiteX618" fmla="*/ 728201 w 915678"/>
                  <a:gd name="connsiteY618" fmla="*/ 299643 h 815526"/>
                  <a:gd name="connsiteX619" fmla="*/ 719906 w 915678"/>
                  <a:gd name="connsiteY619" fmla="*/ 299646 h 815526"/>
                  <a:gd name="connsiteX620" fmla="*/ 719907 w 915678"/>
                  <a:gd name="connsiteY620" fmla="*/ 307942 h 815526"/>
                  <a:gd name="connsiteX621" fmla="*/ 728201 w 915678"/>
                  <a:gd name="connsiteY621" fmla="*/ 307942 h 815526"/>
                  <a:gd name="connsiteX622" fmla="*/ 728204 w 915678"/>
                  <a:gd name="connsiteY622" fmla="*/ 299646 h 815526"/>
                  <a:gd name="connsiteX623" fmla="*/ 728201 w 915678"/>
                  <a:gd name="connsiteY623" fmla="*/ 299643 h 815526"/>
                  <a:gd name="connsiteX624" fmla="*/ 765258 w 915678"/>
                  <a:gd name="connsiteY624" fmla="*/ 266879 h 815526"/>
                  <a:gd name="connsiteX625" fmla="*/ 757818 w 915678"/>
                  <a:gd name="connsiteY625" fmla="*/ 266879 h 815526"/>
                  <a:gd name="connsiteX626" fmla="*/ 757660 w 915678"/>
                  <a:gd name="connsiteY626" fmla="*/ 274162 h 815526"/>
                  <a:gd name="connsiteX627" fmla="*/ 757818 w 915678"/>
                  <a:gd name="connsiteY627" fmla="*/ 274319 h 815526"/>
                  <a:gd name="connsiteX628" fmla="*/ 765258 w 915678"/>
                  <a:gd name="connsiteY628" fmla="*/ 274319 h 815526"/>
                  <a:gd name="connsiteX629" fmla="*/ 765258 w 915678"/>
                  <a:gd name="connsiteY629" fmla="*/ 266879 h 815526"/>
                  <a:gd name="connsiteX630" fmla="*/ 802171 w 915678"/>
                  <a:gd name="connsiteY630" fmla="*/ 234115 h 815526"/>
                  <a:gd name="connsiteX631" fmla="*/ 795589 w 915678"/>
                  <a:gd name="connsiteY631" fmla="*/ 234115 h 815526"/>
                  <a:gd name="connsiteX632" fmla="*/ 795482 w 915678"/>
                  <a:gd name="connsiteY632" fmla="*/ 240589 h 815526"/>
                  <a:gd name="connsiteX633" fmla="*/ 795589 w 915678"/>
                  <a:gd name="connsiteY633" fmla="*/ 240697 h 815526"/>
                  <a:gd name="connsiteX634" fmla="*/ 802171 w 915678"/>
                  <a:gd name="connsiteY634" fmla="*/ 240697 h 815526"/>
                  <a:gd name="connsiteX635" fmla="*/ 802278 w 915678"/>
                  <a:gd name="connsiteY635" fmla="*/ 234222 h 815526"/>
                  <a:gd name="connsiteX636" fmla="*/ 802171 w 915678"/>
                  <a:gd name="connsiteY636" fmla="*/ 234115 h 815526"/>
                  <a:gd name="connsiteX637" fmla="*/ 839084 w 915678"/>
                  <a:gd name="connsiteY637" fmla="*/ 201351 h 815526"/>
                  <a:gd name="connsiteX638" fmla="*/ 833418 w 915678"/>
                  <a:gd name="connsiteY638" fmla="*/ 201294 h 815526"/>
                  <a:gd name="connsiteX639" fmla="*/ 833361 w 915678"/>
                  <a:gd name="connsiteY639" fmla="*/ 201351 h 815526"/>
                  <a:gd name="connsiteX640" fmla="*/ 833095 w 915678"/>
                  <a:gd name="connsiteY640" fmla="*/ 206808 h 815526"/>
                  <a:gd name="connsiteX641" fmla="*/ 833361 w 915678"/>
                  <a:gd name="connsiteY641" fmla="*/ 207074 h 815526"/>
                  <a:gd name="connsiteX642" fmla="*/ 839027 w 915678"/>
                  <a:gd name="connsiteY642" fmla="*/ 207131 h 815526"/>
                  <a:gd name="connsiteX643" fmla="*/ 839084 w 915678"/>
                  <a:gd name="connsiteY643" fmla="*/ 207074 h 815526"/>
                  <a:gd name="connsiteX644" fmla="*/ 839084 w 915678"/>
                  <a:gd name="connsiteY644" fmla="*/ 201208 h 815526"/>
                  <a:gd name="connsiteX645" fmla="*/ 874710 w 915678"/>
                  <a:gd name="connsiteY645" fmla="*/ 166870 h 815526"/>
                  <a:gd name="connsiteX646" fmla="*/ 869854 w 915678"/>
                  <a:gd name="connsiteY646" fmla="*/ 166861 h 815526"/>
                  <a:gd name="connsiteX647" fmla="*/ 869845 w 915678"/>
                  <a:gd name="connsiteY647" fmla="*/ 166870 h 815526"/>
                  <a:gd name="connsiteX648" fmla="*/ 869845 w 915678"/>
                  <a:gd name="connsiteY648" fmla="*/ 171878 h 815526"/>
                  <a:gd name="connsiteX649" fmla="*/ 874701 w 915678"/>
                  <a:gd name="connsiteY649" fmla="*/ 171886 h 815526"/>
                  <a:gd name="connsiteX650" fmla="*/ 874710 w 915678"/>
                  <a:gd name="connsiteY650" fmla="*/ 171878 h 815526"/>
                  <a:gd name="connsiteX651" fmla="*/ 874710 w 915678"/>
                  <a:gd name="connsiteY651" fmla="*/ 166870 h 815526"/>
                  <a:gd name="connsiteX652" fmla="*/ 911623 w 915678"/>
                  <a:gd name="connsiteY652" fmla="*/ 134106 h 815526"/>
                  <a:gd name="connsiteX653" fmla="*/ 907782 w 915678"/>
                  <a:gd name="connsiteY653" fmla="*/ 133941 h 815526"/>
                  <a:gd name="connsiteX654" fmla="*/ 907617 w 915678"/>
                  <a:gd name="connsiteY654" fmla="*/ 134106 h 815526"/>
                  <a:gd name="connsiteX655" fmla="*/ 906836 w 915678"/>
                  <a:gd name="connsiteY655" fmla="*/ 138076 h 815526"/>
                  <a:gd name="connsiteX656" fmla="*/ 910808 w 915678"/>
                  <a:gd name="connsiteY656" fmla="*/ 138857 h 815526"/>
                  <a:gd name="connsiteX657" fmla="*/ 911337 w 915678"/>
                  <a:gd name="connsiteY657" fmla="*/ 138398 h 815526"/>
                  <a:gd name="connsiteX658" fmla="*/ 911440 w 915678"/>
                  <a:gd name="connsiteY658" fmla="*/ 134352 h 815526"/>
                  <a:gd name="connsiteX659" fmla="*/ 911337 w 915678"/>
                  <a:gd name="connsiteY659" fmla="*/ 134249 h 815526"/>
                  <a:gd name="connsiteX660" fmla="*/ 521172 w 915678"/>
                  <a:gd name="connsiteY660" fmla="*/ 438712 h 815526"/>
                  <a:gd name="connsiteX661" fmla="*/ 508581 w 915678"/>
                  <a:gd name="connsiteY661" fmla="*/ 437997 h 815526"/>
                  <a:gd name="connsiteX662" fmla="*/ 507866 w 915678"/>
                  <a:gd name="connsiteY662" fmla="*/ 450587 h 815526"/>
                  <a:gd name="connsiteX663" fmla="*/ 520411 w 915678"/>
                  <a:gd name="connsiteY663" fmla="*/ 450633 h 815526"/>
                  <a:gd name="connsiteX664" fmla="*/ 520457 w 915678"/>
                  <a:gd name="connsiteY664" fmla="*/ 450587 h 815526"/>
                  <a:gd name="connsiteX665" fmla="*/ 521172 w 915678"/>
                  <a:gd name="connsiteY665" fmla="*/ 437997 h 815526"/>
                  <a:gd name="connsiteX666" fmla="*/ 558085 w 915678"/>
                  <a:gd name="connsiteY666" fmla="*/ 405376 h 815526"/>
                  <a:gd name="connsiteX667" fmla="*/ 546552 w 915678"/>
                  <a:gd name="connsiteY667" fmla="*/ 405431 h 815526"/>
                  <a:gd name="connsiteX668" fmla="*/ 546608 w 915678"/>
                  <a:gd name="connsiteY668" fmla="*/ 416965 h 815526"/>
                  <a:gd name="connsiteX669" fmla="*/ 558085 w 915678"/>
                  <a:gd name="connsiteY669" fmla="*/ 416965 h 815526"/>
                  <a:gd name="connsiteX670" fmla="*/ 558347 w 915678"/>
                  <a:gd name="connsiteY670" fmla="*/ 405636 h 815526"/>
                  <a:gd name="connsiteX671" fmla="*/ 558085 w 915678"/>
                  <a:gd name="connsiteY671" fmla="*/ 405376 h 815526"/>
                  <a:gd name="connsiteX672" fmla="*/ 595142 w 915678"/>
                  <a:gd name="connsiteY672" fmla="*/ 372612 h 815526"/>
                  <a:gd name="connsiteX673" fmla="*/ 584454 w 915678"/>
                  <a:gd name="connsiteY673" fmla="*/ 371733 h 815526"/>
                  <a:gd name="connsiteX674" fmla="*/ 584268 w 915678"/>
                  <a:gd name="connsiteY674" fmla="*/ 371896 h 815526"/>
                  <a:gd name="connsiteX675" fmla="*/ 584268 w 915678"/>
                  <a:gd name="connsiteY675" fmla="*/ 382770 h 815526"/>
                  <a:gd name="connsiteX676" fmla="*/ 595195 w 915678"/>
                  <a:gd name="connsiteY676" fmla="*/ 382690 h 815526"/>
                  <a:gd name="connsiteX677" fmla="*/ 595857 w 915678"/>
                  <a:gd name="connsiteY677" fmla="*/ 372612 h 815526"/>
                  <a:gd name="connsiteX678" fmla="*/ 632770 w 915678"/>
                  <a:gd name="connsiteY678" fmla="*/ 339847 h 815526"/>
                  <a:gd name="connsiteX679" fmla="*/ 622891 w 915678"/>
                  <a:gd name="connsiteY679" fmla="*/ 339015 h 815526"/>
                  <a:gd name="connsiteX680" fmla="*/ 622755 w 915678"/>
                  <a:gd name="connsiteY680" fmla="*/ 339132 h 815526"/>
                  <a:gd name="connsiteX681" fmla="*/ 622755 w 915678"/>
                  <a:gd name="connsiteY681" fmla="*/ 349147 h 815526"/>
                  <a:gd name="connsiteX682" fmla="*/ 632669 w 915678"/>
                  <a:gd name="connsiteY682" fmla="*/ 349249 h 815526"/>
                  <a:gd name="connsiteX683" fmla="*/ 632770 w 915678"/>
                  <a:gd name="connsiteY683" fmla="*/ 349147 h 815526"/>
                  <a:gd name="connsiteX684" fmla="*/ 632770 w 915678"/>
                  <a:gd name="connsiteY684" fmla="*/ 339132 h 815526"/>
                  <a:gd name="connsiteX685" fmla="*/ 669684 w 915678"/>
                  <a:gd name="connsiteY685" fmla="*/ 306368 h 815526"/>
                  <a:gd name="connsiteX686" fmla="*/ 660578 w 915678"/>
                  <a:gd name="connsiteY686" fmla="*/ 306316 h 815526"/>
                  <a:gd name="connsiteX687" fmla="*/ 660527 w 915678"/>
                  <a:gd name="connsiteY687" fmla="*/ 306368 h 815526"/>
                  <a:gd name="connsiteX688" fmla="*/ 660377 w 915678"/>
                  <a:gd name="connsiteY688" fmla="*/ 315675 h 815526"/>
                  <a:gd name="connsiteX689" fmla="*/ 669684 w 915678"/>
                  <a:gd name="connsiteY689" fmla="*/ 315824 h 815526"/>
                  <a:gd name="connsiteX690" fmla="*/ 669834 w 915678"/>
                  <a:gd name="connsiteY690" fmla="*/ 306518 h 815526"/>
                  <a:gd name="connsiteX691" fmla="*/ 669684 w 915678"/>
                  <a:gd name="connsiteY691" fmla="*/ 306368 h 815526"/>
                  <a:gd name="connsiteX692" fmla="*/ 706740 w 915678"/>
                  <a:gd name="connsiteY692" fmla="*/ 273604 h 815526"/>
                  <a:gd name="connsiteX693" fmla="*/ 698445 w 915678"/>
                  <a:gd name="connsiteY693" fmla="*/ 273607 h 815526"/>
                  <a:gd name="connsiteX694" fmla="*/ 698446 w 915678"/>
                  <a:gd name="connsiteY694" fmla="*/ 281902 h 815526"/>
                  <a:gd name="connsiteX695" fmla="*/ 706740 w 915678"/>
                  <a:gd name="connsiteY695" fmla="*/ 281902 h 815526"/>
                  <a:gd name="connsiteX696" fmla="*/ 706743 w 915678"/>
                  <a:gd name="connsiteY696" fmla="*/ 273607 h 815526"/>
                  <a:gd name="connsiteX697" fmla="*/ 706740 w 915678"/>
                  <a:gd name="connsiteY697" fmla="*/ 273604 h 815526"/>
                  <a:gd name="connsiteX698" fmla="*/ 742509 w 915678"/>
                  <a:gd name="connsiteY698" fmla="*/ 242127 h 815526"/>
                  <a:gd name="connsiteX699" fmla="*/ 735110 w 915678"/>
                  <a:gd name="connsiteY699" fmla="*/ 240984 h 815526"/>
                  <a:gd name="connsiteX700" fmla="*/ 733967 w 915678"/>
                  <a:gd name="connsiteY700" fmla="*/ 248383 h 815526"/>
                  <a:gd name="connsiteX701" fmla="*/ 734640 w 915678"/>
                  <a:gd name="connsiteY701" fmla="*/ 249138 h 815526"/>
                  <a:gd name="connsiteX702" fmla="*/ 742080 w 915678"/>
                  <a:gd name="connsiteY702" fmla="*/ 249138 h 815526"/>
                  <a:gd name="connsiteX703" fmla="*/ 742080 w 915678"/>
                  <a:gd name="connsiteY703" fmla="*/ 241698 h 815526"/>
                  <a:gd name="connsiteX704" fmla="*/ 779851 w 915678"/>
                  <a:gd name="connsiteY704" fmla="*/ 209792 h 815526"/>
                  <a:gd name="connsiteX705" fmla="*/ 773377 w 915678"/>
                  <a:gd name="connsiteY705" fmla="*/ 209685 h 815526"/>
                  <a:gd name="connsiteX706" fmla="*/ 773270 w 915678"/>
                  <a:gd name="connsiteY706" fmla="*/ 209792 h 815526"/>
                  <a:gd name="connsiteX707" fmla="*/ 773270 w 915678"/>
                  <a:gd name="connsiteY707" fmla="*/ 216374 h 815526"/>
                  <a:gd name="connsiteX708" fmla="*/ 779744 w 915678"/>
                  <a:gd name="connsiteY708" fmla="*/ 216481 h 815526"/>
                  <a:gd name="connsiteX709" fmla="*/ 779851 w 915678"/>
                  <a:gd name="connsiteY709" fmla="*/ 216374 h 815526"/>
                  <a:gd name="connsiteX710" fmla="*/ 779851 w 915678"/>
                  <a:gd name="connsiteY710" fmla="*/ 209792 h 815526"/>
                  <a:gd name="connsiteX711" fmla="*/ 816908 w 915678"/>
                  <a:gd name="connsiteY711" fmla="*/ 177028 h 815526"/>
                  <a:gd name="connsiteX712" fmla="*/ 811242 w 915678"/>
                  <a:gd name="connsiteY712" fmla="*/ 176971 h 815526"/>
                  <a:gd name="connsiteX713" fmla="*/ 811185 w 915678"/>
                  <a:gd name="connsiteY713" fmla="*/ 177028 h 815526"/>
                  <a:gd name="connsiteX714" fmla="*/ 811127 w 915678"/>
                  <a:gd name="connsiteY714" fmla="*/ 182694 h 815526"/>
                  <a:gd name="connsiteX715" fmla="*/ 811185 w 915678"/>
                  <a:gd name="connsiteY715" fmla="*/ 182751 h 815526"/>
                  <a:gd name="connsiteX716" fmla="*/ 816850 w 915678"/>
                  <a:gd name="connsiteY716" fmla="*/ 182808 h 815526"/>
                  <a:gd name="connsiteX717" fmla="*/ 816908 w 915678"/>
                  <a:gd name="connsiteY717" fmla="*/ 182751 h 815526"/>
                  <a:gd name="connsiteX718" fmla="*/ 816965 w 915678"/>
                  <a:gd name="connsiteY718" fmla="*/ 177085 h 815526"/>
                  <a:gd name="connsiteX719" fmla="*/ 816908 w 915678"/>
                  <a:gd name="connsiteY719" fmla="*/ 177028 h 815526"/>
                  <a:gd name="connsiteX720" fmla="*/ 853821 w 915678"/>
                  <a:gd name="connsiteY720" fmla="*/ 144264 h 815526"/>
                  <a:gd name="connsiteX721" fmla="*/ 848965 w 915678"/>
                  <a:gd name="connsiteY721" fmla="*/ 144273 h 815526"/>
                  <a:gd name="connsiteX722" fmla="*/ 848974 w 915678"/>
                  <a:gd name="connsiteY722" fmla="*/ 149129 h 815526"/>
                  <a:gd name="connsiteX723" fmla="*/ 853821 w 915678"/>
                  <a:gd name="connsiteY723" fmla="*/ 149129 h 815526"/>
                  <a:gd name="connsiteX724" fmla="*/ 853830 w 915678"/>
                  <a:gd name="connsiteY724" fmla="*/ 144273 h 815526"/>
                  <a:gd name="connsiteX725" fmla="*/ 853821 w 915678"/>
                  <a:gd name="connsiteY725" fmla="*/ 144264 h 815526"/>
                  <a:gd name="connsiteX726" fmla="*/ 890734 w 915678"/>
                  <a:gd name="connsiteY726" fmla="*/ 111500 h 815526"/>
                  <a:gd name="connsiteX727" fmla="*/ 886728 w 915678"/>
                  <a:gd name="connsiteY727" fmla="*/ 111500 h 815526"/>
                  <a:gd name="connsiteX728" fmla="*/ 886728 w 915678"/>
                  <a:gd name="connsiteY728" fmla="*/ 115649 h 815526"/>
                  <a:gd name="connsiteX729" fmla="*/ 890877 w 915678"/>
                  <a:gd name="connsiteY729" fmla="*/ 115649 h 815526"/>
                  <a:gd name="connsiteX730" fmla="*/ 891043 w 915678"/>
                  <a:gd name="connsiteY730" fmla="*/ 111808 h 815526"/>
                  <a:gd name="connsiteX731" fmla="*/ 890877 w 915678"/>
                  <a:gd name="connsiteY731" fmla="*/ 111643 h 815526"/>
                  <a:gd name="connsiteX732" fmla="*/ 500283 w 915678"/>
                  <a:gd name="connsiteY732" fmla="*/ 415105 h 815526"/>
                  <a:gd name="connsiteX733" fmla="*/ 487969 w 915678"/>
                  <a:gd name="connsiteY733" fmla="*/ 414271 h 815526"/>
                  <a:gd name="connsiteX734" fmla="*/ 487836 w 915678"/>
                  <a:gd name="connsiteY734" fmla="*/ 414389 h 815526"/>
                  <a:gd name="connsiteX735" fmla="*/ 486907 w 915678"/>
                  <a:gd name="connsiteY735" fmla="*/ 426900 h 815526"/>
                  <a:gd name="connsiteX736" fmla="*/ 486977 w 915678"/>
                  <a:gd name="connsiteY736" fmla="*/ 426980 h 815526"/>
                  <a:gd name="connsiteX737" fmla="*/ 499568 w 915678"/>
                  <a:gd name="connsiteY737" fmla="*/ 426980 h 815526"/>
                  <a:gd name="connsiteX738" fmla="*/ 499613 w 915678"/>
                  <a:gd name="connsiteY738" fmla="*/ 414435 h 815526"/>
                  <a:gd name="connsiteX739" fmla="*/ 499568 w 915678"/>
                  <a:gd name="connsiteY739" fmla="*/ 414389 h 815526"/>
                  <a:gd name="connsiteX740" fmla="*/ 536624 w 915678"/>
                  <a:gd name="connsiteY740" fmla="*/ 381625 h 815526"/>
                  <a:gd name="connsiteX741" fmla="*/ 524889 w 915678"/>
                  <a:gd name="connsiteY741" fmla="*/ 381622 h 815526"/>
                  <a:gd name="connsiteX742" fmla="*/ 524885 w 915678"/>
                  <a:gd name="connsiteY742" fmla="*/ 393357 h 815526"/>
                  <a:gd name="connsiteX743" fmla="*/ 536621 w 915678"/>
                  <a:gd name="connsiteY743" fmla="*/ 393360 h 815526"/>
                  <a:gd name="connsiteX744" fmla="*/ 536624 w 915678"/>
                  <a:gd name="connsiteY744" fmla="*/ 393357 h 815526"/>
                  <a:gd name="connsiteX745" fmla="*/ 536624 w 915678"/>
                  <a:gd name="connsiteY745" fmla="*/ 381625 h 815526"/>
                  <a:gd name="connsiteX746" fmla="*/ 573537 w 915678"/>
                  <a:gd name="connsiteY746" fmla="*/ 348861 h 815526"/>
                  <a:gd name="connsiteX747" fmla="*/ 562664 w 915678"/>
                  <a:gd name="connsiteY747" fmla="*/ 348861 h 815526"/>
                  <a:gd name="connsiteX748" fmla="*/ 562657 w 915678"/>
                  <a:gd name="connsiteY748" fmla="*/ 359585 h 815526"/>
                  <a:gd name="connsiteX749" fmla="*/ 562664 w 915678"/>
                  <a:gd name="connsiteY749" fmla="*/ 359592 h 815526"/>
                  <a:gd name="connsiteX750" fmla="*/ 573144 w 915678"/>
                  <a:gd name="connsiteY750" fmla="*/ 360526 h 815526"/>
                  <a:gd name="connsiteX751" fmla="*/ 573394 w 915678"/>
                  <a:gd name="connsiteY751" fmla="*/ 360307 h 815526"/>
                  <a:gd name="connsiteX752" fmla="*/ 574273 w 915678"/>
                  <a:gd name="connsiteY752" fmla="*/ 349619 h 815526"/>
                  <a:gd name="connsiteX753" fmla="*/ 574110 w 915678"/>
                  <a:gd name="connsiteY753" fmla="*/ 349433 h 815526"/>
                  <a:gd name="connsiteX754" fmla="*/ 611023 w 915678"/>
                  <a:gd name="connsiteY754" fmla="*/ 316669 h 815526"/>
                  <a:gd name="connsiteX755" fmla="*/ 600906 w 915678"/>
                  <a:gd name="connsiteY755" fmla="*/ 316568 h 815526"/>
                  <a:gd name="connsiteX756" fmla="*/ 600806 w 915678"/>
                  <a:gd name="connsiteY756" fmla="*/ 326684 h 815526"/>
                  <a:gd name="connsiteX757" fmla="*/ 610921 w 915678"/>
                  <a:gd name="connsiteY757" fmla="*/ 326786 h 815526"/>
                  <a:gd name="connsiteX758" fmla="*/ 611023 w 915678"/>
                  <a:gd name="connsiteY758" fmla="*/ 326684 h 815526"/>
                  <a:gd name="connsiteX759" fmla="*/ 611125 w 915678"/>
                  <a:gd name="connsiteY759" fmla="*/ 316771 h 815526"/>
                  <a:gd name="connsiteX760" fmla="*/ 611023 w 915678"/>
                  <a:gd name="connsiteY760" fmla="*/ 316669 h 815526"/>
                  <a:gd name="connsiteX761" fmla="*/ 648079 w 915678"/>
                  <a:gd name="connsiteY761" fmla="*/ 283905 h 815526"/>
                  <a:gd name="connsiteX762" fmla="*/ 638923 w 915678"/>
                  <a:gd name="connsiteY762" fmla="*/ 283905 h 815526"/>
                  <a:gd name="connsiteX763" fmla="*/ 638350 w 915678"/>
                  <a:gd name="connsiteY763" fmla="*/ 293062 h 815526"/>
                  <a:gd name="connsiteX764" fmla="*/ 647507 w 915678"/>
                  <a:gd name="connsiteY764" fmla="*/ 293634 h 815526"/>
                  <a:gd name="connsiteX765" fmla="*/ 647507 w 915678"/>
                  <a:gd name="connsiteY765" fmla="*/ 284477 h 815526"/>
                  <a:gd name="connsiteX766" fmla="*/ 685279 w 915678"/>
                  <a:gd name="connsiteY766" fmla="*/ 251284 h 815526"/>
                  <a:gd name="connsiteX767" fmla="*/ 676909 w 915678"/>
                  <a:gd name="connsiteY767" fmla="*/ 250783 h 815526"/>
                  <a:gd name="connsiteX768" fmla="*/ 676408 w 915678"/>
                  <a:gd name="connsiteY768" fmla="*/ 259153 h 815526"/>
                  <a:gd name="connsiteX769" fmla="*/ 684850 w 915678"/>
                  <a:gd name="connsiteY769" fmla="*/ 259153 h 815526"/>
                  <a:gd name="connsiteX770" fmla="*/ 684852 w 915678"/>
                  <a:gd name="connsiteY770" fmla="*/ 250858 h 815526"/>
                  <a:gd name="connsiteX771" fmla="*/ 684850 w 915678"/>
                  <a:gd name="connsiteY771" fmla="*/ 250855 h 815526"/>
                  <a:gd name="connsiteX772" fmla="*/ 721763 w 915678"/>
                  <a:gd name="connsiteY772" fmla="*/ 218091 h 815526"/>
                  <a:gd name="connsiteX773" fmla="*/ 714365 w 915678"/>
                  <a:gd name="connsiteY773" fmla="*/ 216948 h 815526"/>
                  <a:gd name="connsiteX774" fmla="*/ 713221 w 915678"/>
                  <a:gd name="connsiteY774" fmla="*/ 224346 h 815526"/>
                  <a:gd name="connsiteX775" fmla="*/ 713894 w 915678"/>
                  <a:gd name="connsiteY775" fmla="*/ 225101 h 815526"/>
                  <a:gd name="connsiteX776" fmla="*/ 721292 w 915678"/>
                  <a:gd name="connsiteY776" fmla="*/ 226245 h 815526"/>
                  <a:gd name="connsiteX777" fmla="*/ 722435 w 915678"/>
                  <a:gd name="connsiteY777" fmla="*/ 218846 h 815526"/>
                  <a:gd name="connsiteX778" fmla="*/ 721763 w 915678"/>
                  <a:gd name="connsiteY778" fmla="*/ 218091 h 815526"/>
                  <a:gd name="connsiteX779" fmla="*/ 758819 w 915678"/>
                  <a:gd name="connsiteY779" fmla="*/ 185327 h 815526"/>
                  <a:gd name="connsiteX780" fmla="*/ 752238 w 915678"/>
                  <a:gd name="connsiteY780" fmla="*/ 185327 h 815526"/>
                  <a:gd name="connsiteX781" fmla="*/ 752131 w 915678"/>
                  <a:gd name="connsiteY781" fmla="*/ 191801 h 815526"/>
                  <a:gd name="connsiteX782" fmla="*/ 752238 w 915678"/>
                  <a:gd name="connsiteY782" fmla="*/ 191908 h 815526"/>
                  <a:gd name="connsiteX783" fmla="*/ 758819 w 915678"/>
                  <a:gd name="connsiteY783" fmla="*/ 191908 h 815526"/>
                  <a:gd name="connsiteX784" fmla="*/ 758819 w 915678"/>
                  <a:gd name="connsiteY784" fmla="*/ 185184 h 815526"/>
                  <a:gd name="connsiteX785" fmla="*/ 796019 w 915678"/>
                  <a:gd name="connsiteY785" fmla="*/ 152562 h 815526"/>
                  <a:gd name="connsiteX786" fmla="*/ 790296 w 915678"/>
                  <a:gd name="connsiteY786" fmla="*/ 152133 h 815526"/>
                  <a:gd name="connsiteX787" fmla="*/ 789866 w 915678"/>
                  <a:gd name="connsiteY787" fmla="*/ 157856 h 815526"/>
                  <a:gd name="connsiteX788" fmla="*/ 795733 w 915678"/>
                  <a:gd name="connsiteY788" fmla="*/ 157856 h 815526"/>
                  <a:gd name="connsiteX789" fmla="*/ 795790 w 915678"/>
                  <a:gd name="connsiteY789" fmla="*/ 152190 h 815526"/>
                  <a:gd name="connsiteX790" fmla="*/ 795733 w 915678"/>
                  <a:gd name="connsiteY790" fmla="*/ 152133 h 815526"/>
                  <a:gd name="connsiteX791" fmla="*/ 832646 w 915678"/>
                  <a:gd name="connsiteY791" fmla="*/ 119369 h 815526"/>
                  <a:gd name="connsiteX792" fmla="*/ 827790 w 915678"/>
                  <a:gd name="connsiteY792" fmla="*/ 119378 h 815526"/>
                  <a:gd name="connsiteX793" fmla="*/ 827798 w 915678"/>
                  <a:gd name="connsiteY793" fmla="*/ 124234 h 815526"/>
                  <a:gd name="connsiteX794" fmla="*/ 832646 w 915678"/>
                  <a:gd name="connsiteY794" fmla="*/ 124234 h 815526"/>
                  <a:gd name="connsiteX795" fmla="*/ 832654 w 915678"/>
                  <a:gd name="connsiteY795" fmla="*/ 119378 h 815526"/>
                  <a:gd name="connsiteX796" fmla="*/ 832646 w 915678"/>
                  <a:gd name="connsiteY796" fmla="*/ 119369 h 815526"/>
                  <a:gd name="connsiteX797" fmla="*/ 869702 w 915678"/>
                  <a:gd name="connsiteY797" fmla="*/ 86605 h 815526"/>
                  <a:gd name="connsiteX798" fmla="*/ 865553 w 915678"/>
                  <a:gd name="connsiteY798" fmla="*/ 86605 h 815526"/>
                  <a:gd name="connsiteX799" fmla="*/ 865338 w 915678"/>
                  <a:gd name="connsiteY799" fmla="*/ 90683 h 815526"/>
                  <a:gd name="connsiteX800" fmla="*/ 869416 w 915678"/>
                  <a:gd name="connsiteY800" fmla="*/ 90897 h 815526"/>
                  <a:gd name="connsiteX801" fmla="*/ 869416 w 915678"/>
                  <a:gd name="connsiteY801" fmla="*/ 86891 h 8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Lst>
                <a:rect l="l" t="t" r="r" b="b"/>
                <a:pathLst>
                  <a:path w="915678" h="815526">
                    <a:moveTo>
                      <a:pt x="427744" y="436995"/>
                    </a:moveTo>
                    <a:cubicBezTo>
                      <a:pt x="424465" y="433321"/>
                      <a:pt x="424785" y="427684"/>
                      <a:pt x="428460" y="424405"/>
                    </a:cubicBezTo>
                    <a:cubicBezTo>
                      <a:pt x="432134" y="421125"/>
                      <a:pt x="437771" y="421446"/>
                      <a:pt x="441050" y="425120"/>
                    </a:cubicBezTo>
                    <a:cubicBezTo>
                      <a:pt x="444329" y="428794"/>
                      <a:pt x="444009" y="434431"/>
                      <a:pt x="440335" y="437711"/>
                    </a:cubicBezTo>
                    <a:cubicBezTo>
                      <a:pt x="436661" y="440990"/>
                      <a:pt x="431023" y="440669"/>
                      <a:pt x="427744" y="436995"/>
                    </a:cubicBezTo>
                    <a:moveTo>
                      <a:pt x="390688" y="469759"/>
                    </a:moveTo>
                    <a:cubicBezTo>
                      <a:pt x="393927" y="473001"/>
                      <a:pt x="399182" y="473003"/>
                      <a:pt x="402423" y="469762"/>
                    </a:cubicBezTo>
                    <a:cubicBezTo>
                      <a:pt x="405665" y="466523"/>
                      <a:pt x="405666" y="461269"/>
                      <a:pt x="402427" y="458027"/>
                    </a:cubicBezTo>
                    <a:cubicBezTo>
                      <a:pt x="399188" y="454785"/>
                      <a:pt x="393933" y="454784"/>
                      <a:pt x="390691" y="458024"/>
                    </a:cubicBezTo>
                    <a:cubicBezTo>
                      <a:pt x="390691" y="458024"/>
                      <a:pt x="390689" y="458026"/>
                      <a:pt x="390688" y="458027"/>
                    </a:cubicBezTo>
                    <a:cubicBezTo>
                      <a:pt x="387450" y="461268"/>
                      <a:pt x="387450" y="466519"/>
                      <a:pt x="390688" y="469759"/>
                    </a:cubicBezTo>
                    <a:moveTo>
                      <a:pt x="353774" y="502523"/>
                    </a:moveTo>
                    <a:cubicBezTo>
                      <a:pt x="356786" y="505505"/>
                      <a:pt x="361636" y="505505"/>
                      <a:pt x="364648" y="502523"/>
                    </a:cubicBezTo>
                    <a:cubicBezTo>
                      <a:pt x="367555" y="499482"/>
                      <a:pt x="367555" y="494692"/>
                      <a:pt x="364648" y="491650"/>
                    </a:cubicBezTo>
                    <a:cubicBezTo>
                      <a:pt x="361636" y="488668"/>
                      <a:pt x="356786" y="488668"/>
                      <a:pt x="353774" y="491650"/>
                    </a:cubicBezTo>
                    <a:cubicBezTo>
                      <a:pt x="350581" y="494358"/>
                      <a:pt x="350188" y="499144"/>
                      <a:pt x="352896" y="502337"/>
                    </a:cubicBezTo>
                    <a:cubicBezTo>
                      <a:pt x="352949" y="502400"/>
                      <a:pt x="353003" y="502462"/>
                      <a:pt x="353059" y="502523"/>
                    </a:cubicBezTo>
                    <a:moveTo>
                      <a:pt x="316146" y="535145"/>
                    </a:moveTo>
                    <a:cubicBezTo>
                      <a:pt x="318856" y="537910"/>
                      <a:pt x="323294" y="537956"/>
                      <a:pt x="326059" y="535246"/>
                    </a:cubicBezTo>
                    <a:cubicBezTo>
                      <a:pt x="326094" y="535212"/>
                      <a:pt x="326128" y="535179"/>
                      <a:pt x="326161" y="535145"/>
                    </a:cubicBezTo>
                    <a:cubicBezTo>
                      <a:pt x="328888" y="532363"/>
                      <a:pt x="328888" y="527911"/>
                      <a:pt x="326161" y="525129"/>
                    </a:cubicBezTo>
                    <a:cubicBezTo>
                      <a:pt x="323593" y="522206"/>
                      <a:pt x="319140" y="521917"/>
                      <a:pt x="316217" y="524485"/>
                    </a:cubicBezTo>
                    <a:cubicBezTo>
                      <a:pt x="313294" y="527054"/>
                      <a:pt x="313005" y="531506"/>
                      <a:pt x="315573" y="534429"/>
                    </a:cubicBezTo>
                    <a:moveTo>
                      <a:pt x="280377" y="567479"/>
                    </a:moveTo>
                    <a:cubicBezTo>
                      <a:pt x="282748" y="570166"/>
                      <a:pt x="286847" y="570422"/>
                      <a:pt x="289534" y="568052"/>
                    </a:cubicBezTo>
                    <a:cubicBezTo>
                      <a:pt x="292221" y="565681"/>
                      <a:pt x="292477" y="561582"/>
                      <a:pt x="290106" y="558895"/>
                    </a:cubicBezTo>
                    <a:cubicBezTo>
                      <a:pt x="287735" y="556208"/>
                      <a:pt x="283636" y="555952"/>
                      <a:pt x="280949" y="558323"/>
                    </a:cubicBezTo>
                    <a:cubicBezTo>
                      <a:pt x="278262" y="560693"/>
                      <a:pt x="278006" y="564792"/>
                      <a:pt x="280377" y="567479"/>
                    </a:cubicBezTo>
                    <a:moveTo>
                      <a:pt x="243464" y="600244"/>
                    </a:moveTo>
                    <a:cubicBezTo>
                      <a:pt x="245756" y="602534"/>
                      <a:pt x="249470" y="602533"/>
                      <a:pt x="251759" y="600241"/>
                    </a:cubicBezTo>
                    <a:cubicBezTo>
                      <a:pt x="254050" y="597950"/>
                      <a:pt x="254048" y="594236"/>
                      <a:pt x="251758" y="591945"/>
                    </a:cubicBezTo>
                    <a:cubicBezTo>
                      <a:pt x="249467" y="589656"/>
                      <a:pt x="245754" y="589656"/>
                      <a:pt x="243464" y="591945"/>
                    </a:cubicBezTo>
                    <a:cubicBezTo>
                      <a:pt x="241172" y="594236"/>
                      <a:pt x="241172" y="597950"/>
                      <a:pt x="243461" y="600241"/>
                    </a:cubicBezTo>
                    <a:cubicBezTo>
                      <a:pt x="243462" y="600242"/>
                      <a:pt x="243462" y="600242"/>
                      <a:pt x="243464" y="600244"/>
                    </a:cubicBezTo>
                    <a:moveTo>
                      <a:pt x="206551" y="633008"/>
                    </a:moveTo>
                    <a:cubicBezTo>
                      <a:pt x="208518" y="635062"/>
                      <a:pt x="211778" y="635132"/>
                      <a:pt x="213833" y="633165"/>
                    </a:cubicBezTo>
                    <a:cubicBezTo>
                      <a:pt x="213886" y="633114"/>
                      <a:pt x="213939" y="633061"/>
                      <a:pt x="213990" y="633008"/>
                    </a:cubicBezTo>
                    <a:cubicBezTo>
                      <a:pt x="216350" y="631281"/>
                      <a:pt x="216860" y="627967"/>
                      <a:pt x="215134" y="625609"/>
                    </a:cubicBezTo>
                    <a:cubicBezTo>
                      <a:pt x="213407" y="623250"/>
                      <a:pt x="210094" y="622738"/>
                      <a:pt x="207735" y="624466"/>
                    </a:cubicBezTo>
                    <a:cubicBezTo>
                      <a:pt x="207462" y="624665"/>
                      <a:pt x="207210" y="624891"/>
                      <a:pt x="206980" y="625139"/>
                    </a:cubicBezTo>
                    <a:cubicBezTo>
                      <a:pt x="204944" y="627200"/>
                      <a:pt x="204944" y="630517"/>
                      <a:pt x="206980" y="632578"/>
                    </a:cubicBezTo>
                    <a:moveTo>
                      <a:pt x="170209" y="666201"/>
                    </a:moveTo>
                    <a:cubicBezTo>
                      <a:pt x="172027" y="668071"/>
                      <a:pt x="175015" y="668114"/>
                      <a:pt x="176885" y="666295"/>
                    </a:cubicBezTo>
                    <a:cubicBezTo>
                      <a:pt x="178755" y="664478"/>
                      <a:pt x="178798" y="661490"/>
                      <a:pt x="176981" y="659620"/>
                    </a:cubicBezTo>
                    <a:cubicBezTo>
                      <a:pt x="175164" y="657750"/>
                      <a:pt x="172174" y="657707"/>
                      <a:pt x="170304" y="659525"/>
                    </a:cubicBezTo>
                    <a:cubicBezTo>
                      <a:pt x="170272" y="659555"/>
                      <a:pt x="170241" y="659588"/>
                      <a:pt x="170209" y="659620"/>
                    </a:cubicBezTo>
                    <a:cubicBezTo>
                      <a:pt x="168428" y="661452"/>
                      <a:pt x="168428" y="664368"/>
                      <a:pt x="170209" y="666201"/>
                    </a:cubicBezTo>
                    <a:moveTo>
                      <a:pt x="133296" y="698965"/>
                    </a:moveTo>
                    <a:cubicBezTo>
                      <a:pt x="134844" y="700546"/>
                      <a:pt x="137381" y="700572"/>
                      <a:pt x="138962" y="699022"/>
                    </a:cubicBezTo>
                    <a:cubicBezTo>
                      <a:pt x="138981" y="699004"/>
                      <a:pt x="139001" y="698985"/>
                      <a:pt x="139019" y="698965"/>
                    </a:cubicBezTo>
                    <a:cubicBezTo>
                      <a:pt x="140939" y="697713"/>
                      <a:pt x="141480" y="695142"/>
                      <a:pt x="140228" y="693224"/>
                    </a:cubicBezTo>
                    <a:cubicBezTo>
                      <a:pt x="138976" y="691304"/>
                      <a:pt x="136405" y="690763"/>
                      <a:pt x="134485" y="692015"/>
                    </a:cubicBezTo>
                    <a:cubicBezTo>
                      <a:pt x="134147" y="692235"/>
                      <a:pt x="133843" y="692504"/>
                      <a:pt x="133582" y="692813"/>
                    </a:cubicBezTo>
                    <a:cubicBezTo>
                      <a:pt x="132056" y="694415"/>
                      <a:pt x="132056" y="696933"/>
                      <a:pt x="133582" y="698536"/>
                    </a:cubicBezTo>
                    <a:moveTo>
                      <a:pt x="96669" y="731300"/>
                    </a:moveTo>
                    <a:cubicBezTo>
                      <a:pt x="98013" y="732639"/>
                      <a:pt x="100186" y="732635"/>
                      <a:pt x="101525" y="731291"/>
                    </a:cubicBezTo>
                    <a:cubicBezTo>
                      <a:pt x="102864" y="729948"/>
                      <a:pt x="102860" y="727775"/>
                      <a:pt x="101516" y="726436"/>
                    </a:cubicBezTo>
                    <a:cubicBezTo>
                      <a:pt x="100177" y="725101"/>
                      <a:pt x="98010" y="725101"/>
                      <a:pt x="96669" y="726436"/>
                    </a:cubicBezTo>
                    <a:cubicBezTo>
                      <a:pt x="95326" y="727775"/>
                      <a:pt x="95321" y="729948"/>
                      <a:pt x="96660" y="731291"/>
                    </a:cubicBezTo>
                    <a:cubicBezTo>
                      <a:pt x="96663" y="731294"/>
                      <a:pt x="96666" y="731297"/>
                      <a:pt x="96669" y="731300"/>
                    </a:cubicBezTo>
                    <a:moveTo>
                      <a:pt x="58611" y="764493"/>
                    </a:moveTo>
                    <a:cubicBezTo>
                      <a:pt x="59799" y="765534"/>
                      <a:pt x="61573" y="765534"/>
                      <a:pt x="62760" y="764493"/>
                    </a:cubicBezTo>
                    <a:cubicBezTo>
                      <a:pt x="63869" y="763333"/>
                      <a:pt x="63869" y="761505"/>
                      <a:pt x="62760" y="760344"/>
                    </a:cubicBezTo>
                    <a:cubicBezTo>
                      <a:pt x="61746" y="759238"/>
                      <a:pt x="60026" y="759164"/>
                      <a:pt x="58919" y="760178"/>
                    </a:cubicBezTo>
                    <a:cubicBezTo>
                      <a:pt x="58862" y="760231"/>
                      <a:pt x="58807" y="760287"/>
                      <a:pt x="58754" y="760344"/>
                    </a:cubicBezTo>
                    <a:cubicBezTo>
                      <a:pt x="57664" y="761457"/>
                      <a:pt x="57664" y="763237"/>
                      <a:pt x="58754" y="764350"/>
                    </a:cubicBezTo>
                    <a:moveTo>
                      <a:pt x="407428" y="413388"/>
                    </a:moveTo>
                    <a:cubicBezTo>
                      <a:pt x="410691" y="417055"/>
                      <a:pt x="416288" y="417435"/>
                      <a:pt x="420018" y="414246"/>
                    </a:cubicBezTo>
                    <a:cubicBezTo>
                      <a:pt x="423495" y="410795"/>
                      <a:pt x="423515" y="405178"/>
                      <a:pt x="420064" y="401701"/>
                    </a:cubicBezTo>
                    <a:cubicBezTo>
                      <a:pt x="420048" y="401686"/>
                      <a:pt x="420034" y="401671"/>
                      <a:pt x="420018" y="401656"/>
                    </a:cubicBezTo>
                    <a:cubicBezTo>
                      <a:pt x="416830" y="397936"/>
                      <a:pt x="411229" y="397505"/>
                      <a:pt x="407511" y="400694"/>
                    </a:cubicBezTo>
                    <a:cubicBezTo>
                      <a:pt x="403791" y="403882"/>
                      <a:pt x="403360" y="409482"/>
                      <a:pt x="406548" y="413202"/>
                    </a:cubicBezTo>
                    <a:cubicBezTo>
                      <a:pt x="406602" y="413265"/>
                      <a:pt x="406656" y="413326"/>
                      <a:pt x="406712" y="413388"/>
                    </a:cubicBezTo>
                    <a:moveTo>
                      <a:pt x="370514" y="446152"/>
                    </a:moveTo>
                    <a:cubicBezTo>
                      <a:pt x="373753" y="449394"/>
                      <a:pt x="379009" y="449395"/>
                      <a:pt x="382249" y="446155"/>
                    </a:cubicBezTo>
                    <a:cubicBezTo>
                      <a:pt x="385491" y="442916"/>
                      <a:pt x="385493" y="437662"/>
                      <a:pt x="382254" y="434420"/>
                    </a:cubicBezTo>
                    <a:cubicBezTo>
                      <a:pt x="379014" y="431178"/>
                      <a:pt x="373759" y="431176"/>
                      <a:pt x="370517" y="434417"/>
                    </a:cubicBezTo>
                    <a:cubicBezTo>
                      <a:pt x="370517" y="434417"/>
                      <a:pt x="370516" y="434418"/>
                      <a:pt x="370514" y="434420"/>
                    </a:cubicBezTo>
                    <a:cubicBezTo>
                      <a:pt x="367276" y="437660"/>
                      <a:pt x="367276" y="442911"/>
                      <a:pt x="370514" y="446152"/>
                    </a:cubicBezTo>
                    <a:moveTo>
                      <a:pt x="333458" y="478916"/>
                    </a:moveTo>
                    <a:cubicBezTo>
                      <a:pt x="336500" y="481823"/>
                      <a:pt x="341290" y="481823"/>
                      <a:pt x="344332" y="478916"/>
                    </a:cubicBezTo>
                    <a:cubicBezTo>
                      <a:pt x="347313" y="475904"/>
                      <a:pt x="347313" y="471054"/>
                      <a:pt x="344332" y="468042"/>
                    </a:cubicBezTo>
                    <a:cubicBezTo>
                      <a:pt x="341760" y="464637"/>
                      <a:pt x="336916" y="463961"/>
                      <a:pt x="333511" y="466532"/>
                    </a:cubicBezTo>
                    <a:cubicBezTo>
                      <a:pt x="330104" y="469104"/>
                      <a:pt x="329429" y="473949"/>
                      <a:pt x="332000" y="477354"/>
                    </a:cubicBezTo>
                    <a:cubicBezTo>
                      <a:pt x="332226" y="477654"/>
                      <a:pt x="332475" y="477937"/>
                      <a:pt x="332742" y="478201"/>
                    </a:cubicBezTo>
                    <a:moveTo>
                      <a:pt x="296545" y="511680"/>
                    </a:moveTo>
                    <a:cubicBezTo>
                      <a:pt x="299254" y="514446"/>
                      <a:pt x="303693" y="514492"/>
                      <a:pt x="306458" y="511782"/>
                    </a:cubicBezTo>
                    <a:cubicBezTo>
                      <a:pt x="306493" y="511747"/>
                      <a:pt x="306527" y="511715"/>
                      <a:pt x="306560" y="511680"/>
                    </a:cubicBezTo>
                    <a:cubicBezTo>
                      <a:pt x="309381" y="508915"/>
                      <a:pt x="309427" y="504385"/>
                      <a:pt x="306661" y="501563"/>
                    </a:cubicBezTo>
                    <a:cubicBezTo>
                      <a:pt x="303896" y="498742"/>
                      <a:pt x="299366" y="498698"/>
                      <a:pt x="296545" y="501463"/>
                    </a:cubicBezTo>
                    <a:cubicBezTo>
                      <a:pt x="293723" y="504229"/>
                      <a:pt x="293677" y="508757"/>
                      <a:pt x="296443" y="511579"/>
                    </a:cubicBezTo>
                    <a:cubicBezTo>
                      <a:pt x="296477" y="511613"/>
                      <a:pt x="296510" y="511647"/>
                      <a:pt x="296545" y="511680"/>
                    </a:cubicBezTo>
                    <a:moveTo>
                      <a:pt x="259631" y="544444"/>
                    </a:moveTo>
                    <a:cubicBezTo>
                      <a:pt x="262184" y="546915"/>
                      <a:pt x="266236" y="546915"/>
                      <a:pt x="268788" y="544444"/>
                    </a:cubicBezTo>
                    <a:cubicBezTo>
                      <a:pt x="271187" y="541863"/>
                      <a:pt x="271187" y="537869"/>
                      <a:pt x="268788" y="535288"/>
                    </a:cubicBezTo>
                    <a:cubicBezTo>
                      <a:pt x="266417" y="532601"/>
                      <a:pt x="262318" y="532345"/>
                      <a:pt x="259631" y="534715"/>
                    </a:cubicBezTo>
                    <a:cubicBezTo>
                      <a:pt x="256944" y="537086"/>
                      <a:pt x="256688" y="541185"/>
                      <a:pt x="259059" y="543872"/>
                    </a:cubicBezTo>
                    <a:moveTo>
                      <a:pt x="222003" y="576636"/>
                    </a:moveTo>
                    <a:cubicBezTo>
                      <a:pt x="224295" y="578927"/>
                      <a:pt x="228009" y="578925"/>
                      <a:pt x="230298" y="576633"/>
                    </a:cubicBezTo>
                    <a:cubicBezTo>
                      <a:pt x="232589" y="574343"/>
                      <a:pt x="232587" y="570628"/>
                      <a:pt x="230297" y="568338"/>
                    </a:cubicBezTo>
                    <a:cubicBezTo>
                      <a:pt x="228006" y="566049"/>
                      <a:pt x="224293" y="566049"/>
                      <a:pt x="222003" y="568338"/>
                    </a:cubicBezTo>
                    <a:cubicBezTo>
                      <a:pt x="219711" y="570628"/>
                      <a:pt x="219711" y="574343"/>
                      <a:pt x="222000" y="576633"/>
                    </a:cubicBezTo>
                    <a:cubicBezTo>
                      <a:pt x="222001" y="576635"/>
                      <a:pt x="222001" y="576635"/>
                      <a:pt x="222003" y="576636"/>
                    </a:cubicBezTo>
                    <a:moveTo>
                      <a:pt x="185662" y="610402"/>
                    </a:moveTo>
                    <a:cubicBezTo>
                      <a:pt x="187716" y="612482"/>
                      <a:pt x="191068" y="612502"/>
                      <a:pt x="193147" y="610449"/>
                    </a:cubicBezTo>
                    <a:cubicBezTo>
                      <a:pt x="195228" y="608394"/>
                      <a:pt x="195249" y="605042"/>
                      <a:pt x="193194" y="602962"/>
                    </a:cubicBezTo>
                    <a:cubicBezTo>
                      <a:pt x="191140" y="600882"/>
                      <a:pt x="187788" y="600862"/>
                      <a:pt x="185707" y="602915"/>
                    </a:cubicBezTo>
                    <a:cubicBezTo>
                      <a:pt x="185693" y="602930"/>
                      <a:pt x="185677" y="602946"/>
                      <a:pt x="185662" y="602962"/>
                    </a:cubicBezTo>
                    <a:cubicBezTo>
                      <a:pt x="183626" y="605024"/>
                      <a:pt x="183626" y="608340"/>
                      <a:pt x="185662" y="610402"/>
                    </a:cubicBezTo>
                    <a:moveTo>
                      <a:pt x="148748" y="642737"/>
                    </a:moveTo>
                    <a:cubicBezTo>
                      <a:pt x="150581" y="644518"/>
                      <a:pt x="153497" y="644518"/>
                      <a:pt x="155330" y="642737"/>
                    </a:cubicBezTo>
                    <a:cubicBezTo>
                      <a:pt x="157381" y="641127"/>
                      <a:pt x="157738" y="638158"/>
                      <a:pt x="156128" y="636108"/>
                    </a:cubicBezTo>
                    <a:cubicBezTo>
                      <a:pt x="154517" y="634056"/>
                      <a:pt x="151550" y="633699"/>
                      <a:pt x="149498" y="635310"/>
                    </a:cubicBezTo>
                    <a:cubicBezTo>
                      <a:pt x="149335" y="635439"/>
                      <a:pt x="149180" y="635577"/>
                      <a:pt x="149034" y="635726"/>
                    </a:cubicBezTo>
                    <a:cubicBezTo>
                      <a:pt x="147253" y="637559"/>
                      <a:pt x="147253" y="640475"/>
                      <a:pt x="149034" y="642308"/>
                    </a:cubicBezTo>
                    <a:moveTo>
                      <a:pt x="111978" y="675072"/>
                    </a:moveTo>
                    <a:cubicBezTo>
                      <a:pt x="113598" y="676691"/>
                      <a:pt x="116225" y="676691"/>
                      <a:pt x="117844" y="675072"/>
                    </a:cubicBezTo>
                    <a:cubicBezTo>
                      <a:pt x="119371" y="673469"/>
                      <a:pt x="119371" y="670951"/>
                      <a:pt x="117844" y="669349"/>
                    </a:cubicBezTo>
                    <a:cubicBezTo>
                      <a:pt x="116296" y="667768"/>
                      <a:pt x="113759" y="667742"/>
                      <a:pt x="112178" y="669291"/>
                    </a:cubicBezTo>
                    <a:cubicBezTo>
                      <a:pt x="112160" y="669310"/>
                      <a:pt x="112140" y="669329"/>
                      <a:pt x="112121" y="669349"/>
                    </a:cubicBezTo>
                    <a:cubicBezTo>
                      <a:pt x="110540" y="670897"/>
                      <a:pt x="110514" y="673433"/>
                      <a:pt x="112064" y="675014"/>
                    </a:cubicBezTo>
                    <a:cubicBezTo>
                      <a:pt x="112082" y="675033"/>
                      <a:pt x="112101" y="675053"/>
                      <a:pt x="112121" y="675072"/>
                    </a:cubicBezTo>
                    <a:moveTo>
                      <a:pt x="75208" y="707836"/>
                    </a:moveTo>
                    <a:cubicBezTo>
                      <a:pt x="76547" y="709179"/>
                      <a:pt x="78720" y="709184"/>
                      <a:pt x="80064" y="707844"/>
                    </a:cubicBezTo>
                    <a:cubicBezTo>
                      <a:pt x="80067" y="707842"/>
                      <a:pt x="80070" y="707839"/>
                      <a:pt x="80072" y="707836"/>
                    </a:cubicBezTo>
                    <a:cubicBezTo>
                      <a:pt x="81412" y="706492"/>
                      <a:pt x="81407" y="704318"/>
                      <a:pt x="80064" y="702980"/>
                    </a:cubicBezTo>
                    <a:cubicBezTo>
                      <a:pt x="78720" y="701641"/>
                      <a:pt x="76547" y="701645"/>
                      <a:pt x="75208" y="702988"/>
                    </a:cubicBezTo>
                    <a:cubicBezTo>
                      <a:pt x="73873" y="704328"/>
                      <a:pt x="73873" y="706495"/>
                      <a:pt x="75208" y="707836"/>
                    </a:cubicBezTo>
                    <a:moveTo>
                      <a:pt x="38295" y="740600"/>
                    </a:moveTo>
                    <a:cubicBezTo>
                      <a:pt x="39309" y="741706"/>
                      <a:pt x="41029" y="741780"/>
                      <a:pt x="42136" y="740765"/>
                    </a:cubicBezTo>
                    <a:cubicBezTo>
                      <a:pt x="42193" y="740713"/>
                      <a:pt x="42248" y="740657"/>
                      <a:pt x="42301" y="740600"/>
                    </a:cubicBezTo>
                    <a:cubicBezTo>
                      <a:pt x="43391" y="739487"/>
                      <a:pt x="43391" y="737707"/>
                      <a:pt x="42301" y="736594"/>
                    </a:cubicBezTo>
                    <a:cubicBezTo>
                      <a:pt x="41113" y="735554"/>
                      <a:pt x="39339" y="735554"/>
                      <a:pt x="38151" y="736594"/>
                    </a:cubicBezTo>
                    <a:cubicBezTo>
                      <a:pt x="37043" y="737754"/>
                      <a:pt x="37043" y="739583"/>
                      <a:pt x="38151" y="740743"/>
                    </a:cubicBezTo>
                    <a:moveTo>
                      <a:pt x="386539" y="389924"/>
                    </a:moveTo>
                    <a:cubicBezTo>
                      <a:pt x="389781" y="393596"/>
                      <a:pt x="395386" y="393944"/>
                      <a:pt x="399059" y="390702"/>
                    </a:cubicBezTo>
                    <a:cubicBezTo>
                      <a:pt x="402732" y="387460"/>
                      <a:pt x="403081" y="381854"/>
                      <a:pt x="399837" y="378181"/>
                    </a:cubicBezTo>
                    <a:cubicBezTo>
                      <a:pt x="396622" y="374540"/>
                      <a:pt x="391077" y="374161"/>
                      <a:pt x="387397" y="377333"/>
                    </a:cubicBezTo>
                    <a:cubicBezTo>
                      <a:pt x="383730" y="380597"/>
                      <a:pt x="383349" y="386194"/>
                      <a:pt x="386539" y="389924"/>
                    </a:cubicBezTo>
                    <a:moveTo>
                      <a:pt x="349625" y="422688"/>
                    </a:moveTo>
                    <a:cubicBezTo>
                      <a:pt x="352669" y="426114"/>
                      <a:pt x="357914" y="426426"/>
                      <a:pt x="361340" y="423383"/>
                    </a:cubicBezTo>
                    <a:cubicBezTo>
                      <a:pt x="364767" y="420341"/>
                      <a:pt x="365079" y="415096"/>
                      <a:pt x="362036" y="411668"/>
                    </a:cubicBezTo>
                    <a:cubicBezTo>
                      <a:pt x="359000" y="408249"/>
                      <a:pt x="353770" y="407930"/>
                      <a:pt x="350341" y="410956"/>
                    </a:cubicBezTo>
                    <a:cubicBezTo>
                      <a:pt x="346904" y="413987"/>
                      <a:pt x="346576" y="419231"/>
                      <a:pt x="349608" y="422668"/>
                    </a:cubicBezTo>
                    <a:cubicBezTo>
                      <a:pt x="349614" y="422675"/>
                      <a:pt x="349620" y="422682"/>
                      <a:pt x="349625" y="422688"/>
                    </a:cubicBezTo>
                    <a:moveTo>
                      <a:pt x="313284" y="455452"/>
                    </a:moveTo>
                    <a:cubicBezTo>
                      <a:pt x="316287" y="458484"/>
                      <a:pt x="321179" y="458506"/>
                      <a:pt x="324211" y="455505"/>
                    </a:cubicBezTo>
                    <a:cubicBezTo>
                      <a:pt x="327243" y="452502"/>
                      <a:pt x="327266" y="447610"/>
                      <a:pt x="324262" y="444578"/>
                    </a:cubicBezTo>
                    <a:cubicBezTo>
                      <a:pt x="321261" y="441546"/>
                      <a:pt x="316369" y="441523"/>
                      <a:pt x="313337" y="444525"/>
                    </a:cubicBezTo>
                    <a:cubicBezTo>
                      <a:pt x="313319" y="444542"/>
                      <a:pt x="313301" y="444561"/>
                      <a:pt x="313284" y="444578"/>
                    </a:cubicBezTo>
                    <a:cubicBezTo>
                      <a:pt x="310303" y="447590"/>
                      <a:pt x="310303" y="452440"/>
                      <a:pt x="313284" y="455452"/>
                    </a:cubicBezTo>
                    <a:moveTo>
                      <a:pt x="276228" y="488216"/>
                    </a:moveTo>
                    <a:cubicBezTo>
                      <a:pt x="279009" y="490943"/>
                      <a:pt x="283462" y="490943"/>
                      <a:pt x="286243" y="488216"/>
                    </a:cubicBezTo>
                    <a:cubicBezTo>
                      <a:pt x="288953" y="485450"/>
                      <a:pt x="288907" y="481012"/>
                      <a:pt x="286142" y="478302"/>
                    </a:cubicBezTo>
                    <a:cubicBezTo>
                      <a:pt x="283376" y="475592"/>
                      <a:pt x="278938" y="475637"/>
                      <a:pt x="276228" y="478402"/>
                    </a:cubicBezTo>
                    <a:cubicBezTo>
                      <a:pt x="273557" y="481129"/>
                      <a:pt x="273557" y="485490"/>
                      <a:pt x="276228" y="488216"/>
                    </a:cubicBezTo>
                    <a:moveTo>
                      <a:pt x="239315" y="520980"/>
                    </a:moveTo>
                    <a:cubicBezTo>
                      <a:pt x="241843" y="523591"/>
                      <a:pt x="246009" y="523658"/>
                      <a:pt x="248622" y="521130"/>
                    </a:cubicBezTo>
                    <a:cubicBezTo>
                      <a:pt x="251233" y="518601"/>
                      <a:pt x="251299" y="514434"/>
                      <a:pt x="248770" y="511823"/>
                    </a:cubicBezTo>
                    <a:cubicBezTo>
                      <a:pt x="246242" y="509212"/>
                      <a:pt x="242076" y="509145"/>
                      <a:pt x="239465" y="511673"/>
                    </a:cubicBezTo>
                    <a:cubicBezTo>
                      <a:pt x="239413" y="511723"/>
                      <a:pt x="239363" y="511773"/>
                      <a:pt x="239315" y="511823"/>
                    </a:cubicBezTo>
                    <a:cubicBezTo>
                      <a:pt x="236786" y="514323"/>
                      <a:pt x="236764" y="518400"/>
                      <a:pt x="239263" y="520929"/>
                    </a:cubicBezTo>
                    <a:cubicBezTo>
                      <a:pt x="239280" y="520946"/>
                      <a:pt x="239297" y="520963"/>
                      <a:pt x="239315" y="520980"/>
                    </a:cubicBezTo>
                    <a:moveTo>
                      <a:pt x="201829" y="553172"/>
                    </a:moveTo>
                    <a:cubicBezTo>
                      <a:pt x="204160" y="555422"/>
                      <a:pt x="207874" y="555357"/>
                      <a:pt x="210123" y="553025"/>
                    </a:cubicBezTo>
                    <a:cubicBezTo>
                      <a:pt x="212374" y="550694"/>
                      <a:pt x="212308" y="546981"/>
                      <a:pt x="209977" y="544731"/>
                    </a:cubicBezTo>
                    <a:cubicBezTo>
                      <a:pt x="207704" y="542537"/>
                      <a:pt x="204102" y="542537"/>
                      <a:pt x="201829" y="544731"/>
                    </a:cubicBezTo>
                    <a:cubicBezTo>
                      <a:pt x="199520" y="547071"/>
                      <a:pt x="199520" y="550831"/>
                      <a:pt x="201829" y="553172"/>
                    </a:cubicBezTo>
                    <a:moveTo>
                      <a:pt x="164773" y="585793"/>
                    </a:moveTo>
                    <a:cubicBezTo>
                      <a:pt x="166849" y="587852"/>
                      <a:pt x="170201" y="587836"/>
                      <a:pt x="172260" y="585760"/>
                    </a:cubicBezTo>
                    <a:cubicBezTo>
                      <a:pt x="174085" y="583919"/>
                      <a:pt x="174307" y="581024"/>
                      <a:pt x="172785" y="578925"/>
                    </a:cubicBezTo>
                    <a:cubicBezTo>
                      <a:pt x="171068" y="576559"/>
                      <a:pt x="167759" y="576031"/>
                      <a:pt x="165392" y="577748"/>
                    </a:cubicBezTo>
                    <a:cubicBezTo>
                      <a:pt x="163024" y="579465"/>
                      <a:pt x="162498" y="582774"/>
                      <a:pt x="164215" y="585141"/>
                    </a:cubicBezTo>
                    <a:cubicBezTo>
                      <a:pt x="164382" y="585374"/>
                      <a:pt x="164569" y="585591"/>
                      <a:pt x="164773" y="585793"/>
                    </a:cubicBezTo>
                    <a:moveTo>
                      <a:pt x="127287" y="619129"/>
                    </a:moveTo>
                    <a:cubicBezTo>
                      <a:pt x="129292" y="620798"/>
                      <a:pt x="132269" y="620524"/>
                      <a:pt x="133936" y="618520"/>
                    </a:cubicBezTo>
                    <a:cubicBezTo>
                      <a:pt x="135245" y="616946"/>
                      <a:pt x="135391" y="614707"/>
                      <a:pt x="134298" y="612977"/>
                    </a:cubicBezTo>
                    <a:cubicBezTo>
                      <a:pt x="132465" y="611196"/>
                      <a:pt x="129549" y="611196"/>
                      <a:pt x="127716" y="612977"/>
                    </a:cubicBezTo>
                    <a:cubicBezTo>
                      <a:pt x="125899" y="614736"/>
                      <a:pt x="125851" y="617634"/>
                      <a:pt x="127609" y="619451"/>
                    </a:cubicBezTo>
                    <a:cubicBezTo>
                      <a:pt x="127643" y="619487"/>
                      <a:pt x="127681" y="619523"/>
                      <a:pt x="127716" y="619559"/>
                    </a:cubicBezTo>
                    <a:moveTo>
                      <a:pt x="90946" y="651894"/>
                    </a:moveTo>
                    <a:cubicBezTo>
                      <a:pt x="92494" y="653474"/>
                      <a:pt x="95031" y="653500"/>
                      <a:pt x="96612" y="651951"/>
                    </a:cubicBezTo>
                    <a:cubicBezTo>
                      <a:pt x="96630" y="651932"/>
                      <a:pt x="96650" y="651914"/>
                      <a:pt x="96669" y="651894"/>
                    </a:cubicBezTo>
                    <a:cubicBezTo>
                      <a:pt x="98250" y="650345"/>
                      <a:pt x="98276" y="647809"/>
                      <a:pt x="96726" y="646228"/>
                    </a:cubicBezTo>
                    <a:cubicBezTo>
                      <a:pt x="96708" y="646209"/>
                      <a:pt x="96689" y="646189"/>
                      <a:pt x="96669" y="646171"/>
                    </a:cubicBezTo>
                    <a:cubicBezTo>
                      <a:pt x="95121" y="644590"/>
                      <a:pt x="92584" y="644564"/>
                      <a:pt x="91003" y="646113"/>
                    </a:cubicBezTo>
                    <a:cubicBezTo>
                      <a:pt x="90985" y="646132"/>
                      <a:pt x="90965" y="646151"/>
                      <a:pt x="90946" y="646171"/>
                    </a:cubicBezTo>
                    <a:cubicBezTo>
                      <a:pt x="89365" y="647719"/>
                      <a:pt x="89339" y="650255"/>
                      <a:pt x="90889" y="651836"/>
                    </a:cubicBezTo>
                    <a:cubicBezTo>
                      <a:pt x="90907" y="651855"/>
                      <a:pt x="90926" y="651875"/>
                      <a:pt x="90946" y="651894"/>
                    </a:cubicBezTo>
                    <a:moveTo>
                      <a:pt x="53890" y="684658"/>
                    </a:moveTo>
                    <a:cubicBezTo>
                      <a:pt x="55233" y="685997"/>
                      <a:pt x="57406" y="685993"/>
                      <a:pt x="58746" y="684649"/>
                    </a:cubicBezTo>
                    <a:cubicBezTo>
                      <a:pt x="60085" y="683306"/>
                      <a:pt x="60081" y="681132"/>
                      <a:pt x="58737" y="679793"/>
                    </a:cubicBezTo>
                    <a:cubicBezTo>
                      <a:pt x="57398" y="678458"/>
                      <a:pt x="55230" y="678458"/>
                      <a:pt x="53890" y="679793"/>
                    </a:cubicBezTo>
                    <a:cubicBezTo>
                      <a:pt x="52546" y="681132"/>
                      <a:pt x="52542" y="683306"/>
                      <a:pt x="53881" y="684649"/>
                    </a:cubicBezTo>
                    <a:cubicBezTo>
                      <a:pt x="53884" y="684652"/>
                      <a:pt x="53887" y="684655"/>
                      <a:pt x="53890" y="684658"/>
                    </a:cubicBezTo>
                    <a:moveTo>
                      <a:pt x="16976" y="717422"/>
                    </a:moveTo>
                    <a:cubicBezTo>
                      <a:pt x="18082" y="718551"/>
                      <a:pt x="19894" y="718569"/>
                      <a:pt x="21023" y="717462"/>
                    </a:cubicBezTo>
                    <a:cubicBezTo>
                      <a:pt x="22151" y="716356"/>
                      <a:pt x="22170" y="714545"/>
                      <a:pt x="21064" y="713416"/>
                    </a:cubicBezTo>
                    <a:cubicBezTo>
                      <a:pt x="19957" y="712287"/>
                      <a:pt x="18145" y="712270"/>
                      <a:pt x="17016" y="713376"/>
                    </a:cubicBezTo>
                    <a:cubicBezTo>
                      <a:pt x="17004" y="713388"/>
                      <a:pt x="16989" y="713403"/>
                      <a:pt x="16976" y="713416"/>
                    </a:cubicBezTo>
                    <a:cubicBezTo>
                      <a:pt x="15870" y="714432"/>
                      <a:pt x="15796" y="716150"/>
                      <a:pt x="16812" y="717257"/>
                    </a:cubicBezTo>
                    <a:cubicBezTo>
                      <a:pt x="16863" y="717315"/>
                      <a:pt x="16919" y="717369"/>
                      <a:pt x="16976" y="717422"/>
                    </a:cubicBezTo>
                    <a:moveTo>
                      <a:pt x="490840" y="507531"/>
                    </a:moveTo>
                    <a:cubicBezTo>
                      <a:pt x="494291" y="511008"/>
                      <a:pt x="499908" y="511028"/>
                      <a:pt x="503385" y="507577"/>
                    </a:cubicBezTo>
                    <a:cubicBezTo>
                      <a:pt x="503401" y="507561"/>
                      <a:pt x="503415" y="507547"/>
                      <a:pt x="503431" y="507531"/>
                    </a:cubicBezTo>
                    <a:cubicBezTo>
                      <a:pt x="506882" y="504054"/>
                      <a:pt x="506862" y="498437"/>
                      <a:pt x="503385" y="494986"/>
                    </a:cubicBezTo>
                    <a:cubicBezTo>
                      <a:pt x="499908" y="491535"/>
                      <a:pt x="494291" y="491555"/>
                      <a:pt x="490840" y="495032"/>
                    </a:cubicBezTo>
                    <a:cubicBezTo>
                      <a:pt x="487406" y="498490"/>
                      <a:pt x="487406" y="504071"/>
                      <a:pt x="490840" y="507531"/>
                    </a:cubicBezTo>
                    <a:moveTo>
                      <a:pt x="453927" y="540295"/>
                    </a:moveTo>
                    <a:cubicBezTo>
                      <a:pt x="456632" y="543995"/>
                      <a:pt x="461825" y="544801"/>
                      <a:pt x="465523" y="542095"/>
                    </a:cubicBezTo>
                    <a:cubicBezTo>
                      <a:pt x="469223" y="539390"/>
                      <a:pt x="470028" y="534197"/>
                      <a:pt x="467323" y="530499"/>
                    </a:cubicBezTo>
                    <a:cubicBezTo>
                      <a:pt x="467001" y="530057"/>
                      <a:pt x="466635" y="529648"/>
                      <a:pt x="466231" y="529278"/>
                    </a:cubicBezTo>
                    <a:cubicBezTo>
                      <a:pt x="463526" y="525579"/>
                      <a:pt x="458334" y="524773"/>
                      <a:pt x="454635" y="527479"/>
                    </a:cubicBezTo>
                    <a:cubicBezTo>
                      <a:pt x="450935" y="530184"/>
                      <a:pt x="450130" y="535376"/>
                      <a:pt x="452835" y="539075"/>
                    </a:cubicBezTo>
                    <a:cubicBezTo>
                      <a:pt x="453157" y="539517"/>
                      <a:pt x="453523" y="539926"/>
                      <a:pt x="453927" y="540295"/>
                    </a:cubicBezTo>
                    <a:moveTo>
                      <a:pt x="416870" y="573059"/>
                    </a:moveTo>
                    <a:cubicBezTo>
                      <a:pt x="419882" y="576041"/>
                      <a:pt x="424732" y="576041"/>
                      <a:pt x="427744" y="573059"/>
                    </a:cubicBezTo>
                    <a:cubicBezTo>
                      <a:pt x="430651" y="570018"/>
                      <a:pt x="430651" y="565227"/>
                      <a:pt x="427744" y="562186"/>
                    </a:cubicBezTo>
                    <a:cubicBezTo>
                      <a:pt x="424732" y="559204"/>
                      <a:pt x="419882" y="559204"/>
                      <a:pt x="416870" y="562186"/>
                    </a:cubicBezTo>
                    <a:cubicBezTo>
                      <a:pt x="413963" y="565227"/>
                      <a:pt x="413963" y="570018"/>
                      <a:pt x="416870" y="573059"/>
                    </a:cubicBezTo>
                    <a:moveTo>
                      <a:pt x="379957" y="605823"/>
                    </a:moveTo>
                    <a:cubicBezTo>
                      <a:pt x="382723" y="608645"/>
                      <a:pt x="387253" y="608691"/>
                      <a:pt x="390074" y="605925"/>
                    </a:cubicBezTo>
                    <a:cubicBezTo>
                      <a:pt x="392895" y="603159"/>
                      <a:pt x="392940" y="598630"/>
                      <a:pt x="390174" y="595808"/>
                    </a:cubicBezTo>
                    <a:cubicBezTo>
                      <a:pt x="387409" y="592987"/>
                      <a:pt x="382880" y="592941"/>
                      <a:pt x="380059" y="595707"/>
                    </a:cubicBezTo>
                    <a:cubicBezTo>
                      <a:pt x="380024" y="595741"/>
                      <a:pt x="379990" y="595774"/>
                      <a:pt x="379957" y="595808"/>
                    </a:cubicBezTo>
                    <a:cubicBezTo>
                      <a:pt x="377230" y="598590"/>
                      <a:pt x="377230" y="603042"/>
                      <a:pt x="379957" y="605823"/>
                    </a:cubicBezTo>
                    <a:moveTo>
                      <a:pt x="342901" y="639017"/>
                    </a:moveTo>
                    <a:cubicBezTo>
                      <a:pt x="345482" y="641416"/>
                      <a:pt x="349476" y="641416"/>
                      <a:pt x="352058" y="639017"/>
                    </a:cubicBezTo>
                    <a:cubicBezTo>
                      <a:pt x="354745" y="636646"/>
                      <a:pt x="355001" y="632547"/>
                      <a:pt x="352630" y="629860"/>
                    </a:cubicBezTo>
                    <a:cubicBezTo>
                      <a:pt x="350259" y="627173"/>
                      <a:pt x="346160" y="626917"/>
                      <a:pt x="343473" y="629288"/>
                    </a:cubicBezTo>
                    <a:cubicBezTo>
                      <a:pt x="341074" y="631869"/>
                      <a:pt x="341074" y="635863"/>
                      <a:pt x="343473" y="638444"/>
                    </a:cubicBezTo>
                    <a:moveTo>
                      <a:pt x="306560" y="671209"/>
                    </a:moveTo>
                    <a:cubicBezTo>
                      <a:pt x="308733" y="673658"/>
                      <a:pt x="312480" y="673883"/>
                      <a:pt x="314930" y="671709"/>
                    </a:cubicBezTo>
                    <a:cubicBezTo>
                      <a:pt x="317379" y="669536"/>
                      <a:pt x="317604" y="665789"/>
                      <a:pt x="315430" y="663339"/>
                    </a:cubicBezTo>
                    <a:cubicBezTo>
                      <a:pt x="313253" y="661048"/>
                      <a:pt x="309632" y="660954"/>
                      <a:pt x="307340" y="663132"/>
                    </a:cubicBezTo>
                    <a:cubicBezTo>
                      <a:pt x="307268" y="663199"/>
                      <a:pt x="307199" y="663268"/>
                      <a:pt x="307132" y="663339"/>
                    </a:cubicBezTo>
                    <a:cubicBezTo>
                      <a:pt x="304840" y="665630"/>
                      <a:pt x="304840" y="669344"/>
                      <a:pt x="307129" y="671635"/>
                    </a:cubicBezTo>
                    <a:cubicBezTo>
                      <a:pt x="307131" y="671636"/>
                      <a:pt x="307131" y="671636"/>
                      <a:pt x="307132" y="671638"/>
                    </a:cubicBezTo>
                    <a:moveTo>
                      <a:pt x="270219" y="704402"/>
                    </a:moveTo>
                    <a:cubicBezTo>
                      <a:pt x="272280" y="706438"/>
                      <a:pt x="275597" y="706438"/>
                      <a:pt x="277659" y="704402"/>
                    </a:cubicBezTo>
                    <a:cubicBezTo>
                      <a:pt x="279871" y="702466"/>
                      <a:pt x="280095" y="699103"/>
                      <a:pt x="278159" y="696891"/>
                    </a:cubicBezTo>
                    <a:cubicBezTo>
                      <a:pt x="276224" y="694679"/>
                      <a:pt x="272860" y="694454"/>
                      <a:pt x="270648" y="696390"/>
                    </a:cubicBezTo>
                    <a:cubicBezTo>
                      <a:pt x="268595" y="698500"/>
                      <a:pt x="268595" y="701862"/>
                      <a:pt x="270648" y="703973"/>
                    </a:cubicBezTo>
                    <a:moveTo>
                      <a:pt x="233592" y="736594"/>
                    </a:moveTo>
                    <a:cubicBezTo>
                      <a:pt x="235423" y="738451"/>
                      <a:pt x="238412" y="738472"/>
                      <a:pt x="240269" y="736641"/>
                    </a:cubicBezTo>
                    <a:cubicBezTo>
                      <a:pt x="240285" y="736625"/>
                      <a:pt x="240300" y="736610"/>
                      <a:pt x="240316" y="736594"/>
                    </a:cubicBezTo>
                    <a:cubicBezTo>
                      <a:pt x="242148" y="734737"/>
                      <a:pt x="242126" y="731748"/>
                      <a:pt x="240269" y="729917"/>
                    </a:cubicBezTo>
                    <a:cubicBezTo>
                      <a:pt x="238412" y="728087"/>
                      <a:pt x="235423" y="728108"/>
                      <a:pt x="233592" y="729964"/>
                    </a:cubicBezTo>
                    <a:cubicBezTo>
                      <a:pt x="231779" y="731802"/>
                      <a:pt x="231779" y="734755"/>
                      <a:pt x="233592" y="736594"/>
                    </a:cubicBezTo>
                    <a:moveTo>
                      <a:pt x="196678" y="769358"/>
                    </a:moveTo>
                    <a:cubicBezTo>
                      <a:pt x="198259" y="770906"/>
                      <a:pt x="200795" y="770880"/>
                      <a:pt x="202344" y="769301"/>
                    </a:cubicBezTo>
                    <a:cubicBezTo>
                      <a:pt x="203892" y="767720"/>
                      <a:pt x="203866" y="765183"/>
                      <a:pt x="202285" y="763635"/>
                    </a:cubicBezTo>
                    <a:cubicBezTo>
                      <a:pt x="200729" y="762108"/>
                      <a:pt x="198236" y="762108"/>
                      <a:pt x="196678" y="763635"/>
                    </a:cubicBezTo>
                    <a:cubicBezTo>
                      <a:pt x="195152" y="765237"/>
                      <a:pt x="195152" y="767756"/>
                      <a:pt x="196678" y="769358"/>
                    </a:cubicBezTo>
                    <a:moveTo>
                      <a:pt x="159765" y="802122"/>
                    </a:moveTo>
                    <a:cubicBezTo>
                      <a:pt x="161108" y="803461"/>
                      <a:pt x="163282" y="803457"/>
                      <a:pt x="164621" y="802113"/>
                    </a:cubicBezTo>
                    <a:cubicBezTo>
                      <a:pt x="165960" y="800770"/>
                      <a:pt x="165956" y="798597"/>
                      <a:pt x="164612" y="797258"/>
                    </a:cubicBezTo>
                    <a:cubicBezTo>
                      <a:pt x="163273" y="795923"/>
                      <a:pt x="161106" y="795923"/>
                      <a:pt x="159765" y="797258"/>
                    </a:cubicBezTo>
                    <a:cubicBezTo>
                      <a:pt x="158422" y="798597"/>
                      <a:pt x="158417" y="800770"/>
                      <a:pt x="159756" y="802113"/>
                    </a:cubicBezTo>
                    <a:cubicBezTo>
                      <a:pt x="159759" y="802116"/>
                      <a:pt x="159762" y="802119"/>
                      <a:pt x="159765" y="802122"/>
                    </a:cubicBezTo>
                    <a:moveTo>
                      <a:pt x="470667" y="483924"/>
                    </a:moveTo>
                    <a:cubicBezTo>
                      <a:pt x="473856" y="487644"/>
                      <a:pt x="479456" y="488074"/>
                      <a:pt x="483174" y="484885"/>
                    </a:cubicBezTo>
                    <a:cubicBezTo>
                      <a:pt x="486894" y="481697"/>
                      <a:pt x="487325" y="476098"/>
                      <a:pt x="484137" y="472378"/>
                    </a:cubicBezTo>
                    <a:cubicBezTo>
                      <a:pt x="484083" y="472315"/>
                      <a:pt x="484028" y="472253"/>
                      <a:pt x="483973" y="472192"/>
                    </a:cubicBezTo>
                    <a:cubicBezTo>
                      <a:pt x="480682" y="468562"/>
                      <a:pt x="475072" y="468288"/>
                      <a:pt x="471442" y="471579"/>
                    </a:cubicBezTo>
                    <a:cubicBezTo>
                      <a:pt x="467885" y="474806"/>
                      <a:pt x="467540" y="480277"/>
                      <a:pt x="470667" y="483924"/>
                    </a:cubicBezTo>
                    <a:moveTo>
                      <a:pt x="433753" y="516688"/>
                    </a:moveTo>
                    <a:cubicBezTo>
                      <a:pt x="436752" y="520155"/>
                      <a:pt x="441992" y="520532"/>
                      <a:pt x="445458" y="517535"/>
                    </a:cubicBezTo>
                    <a:cubicBezTo>
                      <a:pt x="448925" y="514536"/>
                      <a:pt x="449304" y="509295"/>
                      <a:pt x="446305" y="505830"/>
                    </a:cubicBezTo>
                    <a:cubicBezTo>
                      <a:pt x="443306" y="502363"/>
                      <a:pt x="438066" y="501984"/>
                      <a:pt x="434600" y="504983"/>
                    </a:cubicBezTo>
                    <a:cubicBezTo>
                      <a:pt x="434556" y="505022"/>
                      <a:pt x="434512" y="505060"/>
                      <a:pt x="434469" y="505099"/>
                    </a:cubicBezTo>
                    <a:cubicBezTo>
                      <a:pt x="431073" y="508059"/>
                      <a:pt x="430720" y="513210"/>
                      <a:pt x="433680" y="516605"/>
                    </a:cubicBezTo>
                    <a:cubicBezTo>
                      <a:pt x="433705" y="516633"/>
                      <a:pt x="433729" y="516661"/>
                      <a:pt x="433753" y="516688"/>
                    </a:cubicBezTo>
                    <a:moveTo>
                      <a:pt x="396840" y="549452"/>
                    </a:moveTo>
                    <a:cubicBezTo>
                      <a:pt x="399687" y="552415"/>
                      <a:pt x="404396" y="552510"/>
                      <a:pt x="407359" y="549664"/>
                    </a:cubicBezTo>
                    <a:cubicBezTo>
                      <a:pt x="407432" y="549594"/>
                      <a:pt x="407502" y="549524"/>
                      <a:pt x="407571" y="549452"/>
                    </a:cubicBezTo>
                    <a:cubicBezTo>
                      <a:pt x="410764" y="546744"/>
                      <a:pt x="411157" y="541958"/>
                      <a:pt x="408449" y="538764"/>
                    </a:cubicBezTo>
                    <a:cubicBezTo>
                      <a:pt x="408396" y="538701"/>
                      <a:pt x="408342" y="538640"/>
                      <a:pt x="408286" y="538578"/>
                    </a:cubicBezTo>
                    <a:cubicBezTo>
                      <a:pt x="405440" y="535462"/>
                      <a:pt x="400643" y="535147"/>
                      <a:pt x="397412" y="537863"/>
                    </a:cubicBezTo>
                    <a:cubicBezTo>
                      <a:pt x="394431" y="540875"/>
                      <a:pt x="394431" y="545725"/>
                      <a:pt x="397412" y="548737"/>
                    </a:cubicBezTo>
                    <a:moveTo>
                      <a:pt x="359068" y="581787"/>
                    </a:moveTo>
                    <a:cubicBezTo>
                      <a:pt x="361834" y="584497"/>
                      <a:pt x="366272" y="584451"/>
                      <a:pt x="368982" y="581685"/>
                    </a:cubicBezTo>
                    <a:cubicBezTo>
                      <a:pt x="371692" y="578920"/>
                      <a:pt x="371647" y="574481"/>
                      <a:pt x="368882" y="571772"/>
                    </a:cubicBezTo>
                    <a:cubicBezTo>
                      <a:pt x="366155" y="569100"/>
                      <a:pt x="361794" y="569100"/>
                      <a:pt x="359068" y="571772"/>
                    </a:cubicBezTo>
                    <a:cubicBezTo>
                      <a:pt x="356341" y="574553"/>
                      <a:pt x="356341" y="579006"/>
                      <a:pt x="359068" y="581787"/>
                    </a:cubicBezTo>
                    <a:moveTo>
                      <a:pt x="322155" y="614551"/>
                    </a:moveTo>
                    <a:cubicBezTo>
                      <a:pt x="324654" y="617079"/>
                      <a:pt x="328732" y="617102"/>
                      <a:pt x="331260" y="614602"/>
                    </a:cubicBezTo>
                    <a:cubicBezTo>
                      <a:pt x="331277" y="614585"/>
                      <a:pt x="331295" y="614568"/>
                      <a:pt x="331312" y="614551"/>
                    </a:cubicBezTo>
                    <a:cubicBezTo>
                      <a:pt x="333999" y="612180"/>
                      <a:pt x="334255" y="608081"/>
                      <a:pt x="331884" y="605394"/>
                    </a:cubicBezTo>
                    <a:cubicBezTo>
                      <a:pt x="329513" y="602707"/>
                      <a:pt x="325414" y="602451"/>
                      <a:pt x="322727" y="604822"/>
                    </a:cubicBezTo>
                    <a:cubicBezTo>
                      <a:pt x="320199" y="607321"/>
                      <a:pt x="320176" y="611399"/>
                      <a:pt x="322676" y="613927"/>
                    </a:cubicBezTo>
                    <a:cubicBezTo>
                      <a:pt x="322693" y="613944"/>
                      <a:pt x="322710" y="613962"/>
                      <a:pt x="322727" y="613979"/>
                    </a:cubicBezTo>
                    <a:moveTo>
                      <a:pt x="284669" y="647744"/>
                    </a:moveTo>
                    <a:cubicBezTo>
                      <a:pt x="286961" y="650035"/>
                      <a:pt x="290676" y="650034"/>
                      <a:pt x="292965" y="647741"/>
                    </a:cubicBezTo>
                    <a:cubicBezTo>
                      <a:pt x="295255" y="645451"/>
                      <a:pt x="295254" y="641737"/>
                      <a:pt x="292963" y="639446"/>
                    </a:cubicBezTo>
                    <a:cubicBezTo>
                      <a:pt x="290673" y="637157"/>
                      <a:pt x="286960" y="637157"/>
                      <a:pt x="284669" y="639446"/>
                    </a:cubicBezTo>
                    <a:cubicBezTo>
                      <a:pt x="282377" y="641737"/>
                      <a:pt x="282377" y="645451"/>
                      <a:pt x="284666" y="647741"/>
                    </a:cubicBezTo>
                    <a:cubicBezTo>
                      <a:pt x="284668" y="647743"/>
                      <a:pt x="284668" y="647743"/>
                      <a:pt x="284669" y="647744"/>
                    </a:cubicBezTo>
                    <a:moveTo>
                      <a:pt x="248185" y="680509"/>
                    </a:moveTo>
                    <a:cubicBezTo>
                      <a:pt x="250330" y="682496"/>
                      <a:pt x="253679" y="682368"/>
                      <a:pt x="255667" y="680224"/>
                    </a:cubicBezTo>
                    <a:cubicBezTo>
                      <a:pt x="257389" y="678364"/>
                      <a:pt x="257552" y="675544"/>
                      <a:pt x="256054" y="673498"/>
                    </a:cubicBezTo>
                    <a:cubicBezTo>
                      <a:pt x="254327" y="671139"/>
                      <a:pt x="251014" y="670628"/>
                      <a:pt x="248656" y="672355"/>
                    </a:cubicBezTo>
                    <a:cubicBezTo>
                      <a:pt x="246297" y="674082"/>
                      <a:pt x="245784" y="677394"/>
                      <a:pt x="247513" y="679753"/>
                    </a:cubicBezTo>
                    <a:cubicBezTo>
                      <a:pt x="247712" y="680026"/>
                      <a:pt x="247938" y="680278"/>
                      <a:pt x="248185" y="680509"/>
                    </a:cubicBezTo>
                    <a:moveTo>
                      <a:pt x="211272" y="713273"/>
                    </a:moveTo>
                    <a:cubicBezTo>
                      <a:pt x="213030" y="715090"/>
                      <a:pt x="215929" y="715138"/>
                      <a:pt x="217746" y="713380"/>
                    </a:cubicBezTo>
                    <a:cubicBezTo>
                      <a:pt x="217782" y="713346"/>
                      <a:pt x="217818" y="713310"/>
                      <a:pt x="217853" y="713273"/>
                    </a:cubicBezTo>
                    <a:cubicBezTo>
                      <a:pt x="219635" y="711440"/>
                      <a:pt x="219635" y="708524"/>
                      <a:pt x="217853" y="706691"/>
                    </a:cubicBezTo>
                    <a:cubicBezTo>
                      <a:pt x="216460" y="704486"/>
                      <a:pt x="213544" y="703830"/>
                      <a:pt x="211339" y="705223"/>
                    </a:cubicBezTo>
                    <a:cubicBezTo>
                      <a:pt x="209136" y="706615"/>
                      <a:pt x="208478" y="709533"/>
                      <a:pt x="209871" y="711736"/>
                    </a:cubicBezTo>
                    <a:cubicBezTo>
                      <a:pt x="210135" y="712154"/>
                      <a:pt x="210464" y="712527"/>
                      <a:pt x="210843" y="712843"/>
                    </a:cubicBezTo>
                    <a:moveTo>
                      <a:pt x="173786" y="745607"/>
                    </a:moveTo>
                    <a:cubicBezTo>
                      <a:pt x="175406" y="747227"/>
                      <a:pt x="178033" y="747227"/>
                      <a:pt x="179652" y="745607"/>
                    </a:cubicBezTo>
                    <a:cubicBezTo>
                      <a:pt x="181179" y="744005"/>
                      <a:pt x="181179" y="741487"/>
                      <a:pt x="179652" y="739885"/>
                    </a:cubicBezTo>
                    <a:cubicBezTo>
                      <a:pt x="178219" y="738304"/>
                      <a:pt x="175777" y="738185"/>
                      <a:pt x="174196" y="739618"/>
                    </a:cubicBezTo>
                    <a:cubicBezTo>
                      <a:pt x="174103" y="739703"/>
                      <a:pt x="174014" y="739792"/>
                      <a:pt x="173929" y="739885"/>
                    </a:cubicBezTo>
                    <a:cubicBezTo>
                      <a:pt x="172348" y="741433"/>
                      <a:pt x="172323" y="743969"/>
                      <a:pt x="173872" y="745550"/>
                    </a:cubicBezTo>
                    <a:cubicBezTo>
                      <a:pt x="173891" y="745569"/>
                      <a:pt x="173909" y="745589"/>
                      <a:pt x="173929" y="745607"/>
                    </a:cubicBezTo>
                    <a:moveTo>
                      <a:pt x="137302" y="778801"/>
                    </a:moveTo>
                    <a:cubicBezTo>
                      <a:pt x="138646" y="780140"/>
                      <a:pt x="140819" y="780136"/>
                      <a:pt x="142158" y="778792"/>
                    </a:cubicBezTo>
                    <a:cubicBezTo>
                      <a:pt x="143497" y="777449"/>
                      <a:pt x="143493" y="775275"/>
                      <a:pt x="142150" y="773936"/>
                    </a:cubicBezTo>
                    <a:cubicBezTo>
                      <a:pt x="140810" y="772601"/>
                      <a:pt x="138643" y="772601"/>
                      <a:pt x="137302" y="773936"/>
                    </a:cubicBezTo>
                    <a:cubicBezTo>
                      <a:pt x="135959" y="775275"/>
                      <a:pt x="135955" y="777449"/>
                      <a:pt x="137294" y="778792"/>
                    </a:cubicBezTo>
                    <a:cubicBezTo>
                      <a:pt x="137297" y="778795"/>
                      <a:pt x="137299" y="778798"/>
                      <a:pt x="137302" y="778801"/>
                    </a:cubicBezTo>
                    <a:moveTo>
                      <a:pt x="449205" y="460459"/>
                    </a:moveTo>
                    <a:cubicBezTo>
                      <a:pt x="452585" y="463896"/>
                      <a:pt x="458110" y="463943"/>
                      <a:pt x="461547" y="460565"/>
                    </a:cubicBezTo>
                    <a:cubicBezTo>
                      <a:pt x="461583" y="460530"/>
                      <a:pt x="461619" y="460495"/>
                      <a:pt x="461653" y="460459"/>
                    </a:cubicBezTo>
                    <a:cubicBezTo>
                      <a:pt x="465301" y="457246"/>
                      <a:pt x="465685" y="451695"/>
                      <a:pt x="462511" y="448012"/>
                    </a:cubicBezTo>
                    <a:cubicBezTo>
                      <a:pt x="459248" y="444345"/>
                      <a:pt x="453651" y="443964"/>
                      <a:pt x="449921" y="447153"/>
                    </a:cubicBezTo>
                    <a:cubicBezTo>
                      <a:pt x="446444" y="450604"/>
                      <a:pt x="446424" y="456222"/>
                      <a:pt x="449875" y="459698"/>
                    </a:cubicBezTo>
                    <a:cubicBezTo>
                      <a:pt x="449891" y="459714"/>
                      <a:pt x="449905" y="459728"/>
                      <a:pt x="449921" y="459744"/>
                    </a:cubicBezTo>
                    <a:moveTo>
                      <a:pt x="412864" y="492508"/>
                    </a:moveTo>
                    <a:cubicBezTo>
                      <a:pt x="415686" y="496121"/>
                      <a:pt x="420901" y="496762"/>
                      <a:pt x="424512" y="493940"/>
                    </a:cubicBezTo>
                    <a:cubicBezTo>
                      <a:pt x="428125" y="491120"/>
                      <a:pt x="428766" y="485905"/>
                      <a:pt x="425944" y="482293"/>
                    </a:cubicBezTo>
                    <a:cubicBezTo>
                      <a:pt x="423124" y="478681"/>
                      <a:pt x="417909" y="478039"/>
                      <a:pt x="414297" y="480860"/>
                    </a:cubicBezTo>
                    <a:cubicBezTo>
                      <a:pt x="413992" y="481098"/>
                      <a:pt x="413706" y="481357"/>
                      <a:pt x="413437" y="481635"/>
                    </a:cubicBezTo>
                    <a:cubicBezTo>
                      <a:pt x="410000" y="484666"/>
                      <a:pt x="409672" y="489910"/>
                      <a:pt x="412704" y="493347"/>
                    </a:cubicBezTo>
                    <a:cubicBezTo>
                      <a:pt x="412710" y="493354"/>
                      <a:pt x="412716" y="493359"/>
                      <a:pt x="412721" y="493367"/>
                    </a:cubicBezTo>
                    <a:moveTo>
                      <a:pt x="375236" y="525988"/>
                    </a:moveTo>
                    <a:cubicBezTo>
                      <a:pt x="378277" y="528895"/>
                      <a:pt x="383068" y="528895"/>
                      <a:pt x="386109" y="525988"/>
                    </a:cubicBezTo>
                    <a:cubicBezTo>
                      <a:pt x="389091" y="522976"/>
                      <a:pt x="389091" y="518126"/>
                      <a:pt x="386109" y="515114"/>
                    </a:cubicBezTo>
                    <a:cubicBezTo>
                      <a:pt x="383191" y="512111"/>
                      <a:pt x="378389" y="512044"/>
                      <a:pt x="375386" y="514964"/>
                    </a:cubicBezTo>
                    <a:cubicBezTo>
                      <a:pt x="375336" y="515012"/>
                      <a:pt x="375286" y="515062"/>
                      <a:pt x="375236" y="515114"/>
                    </a:cubicBezTo>
                    <a:cubicBezTo>
                      <a:pt x="372254" y="518126"/>
                      <a:pt x="372254" y="522976"/>
                      <a:pt x="375236" y="525988"/>
                    </a:cubicBezTo>
                    <a:moveTo>
                      <a:pt x="338179" y="558752"/>
                    </a:moveTo>
                    <a:cubicBezTo>
                      <a:pt x="340961" y="561479"/>
                      <a:pt x="345413" y="561479"/>
                      <a:pt x="348195" y="558752"/>
                    </a:cubicBezTo>
                    <a:cubicBezTo>
                      <a:pt x="351153" y="556254"/>
                      <a:pt x="351525" y="551830"/>
                      <a:pt x="349027" y="548873"/>
                    </a:cubicBezTo>
                    <a:cubicBezTo>
                      <a:pt x="348989" y="548827"/>
                      <a:pt x="348950" y="548781"/>
                      <a:pt x="348910" y="548737"/>
                    </a:cubicBezTo>
                    <a:cubicBezTo>
                      <a:pt x="346129" y="546010"/>
                      <a:pt x="341676" y="546010"/>
                      <a:pt x="338895" y="548737"/>
                    </a:cubicBezTo>
                    <a:cubicBezTo>
                      <a:pt x="336129" y="551446"/>
                      <a:pt x="336083" y="555885"/>
                      <a:pt x="338793" y="558650"/>
                    </a:cubicBezTo>
                    <a:cubicBezTo>
                      <a:pt x="338827" y="558685"/>
                      <a:pt x="338860" y="558719"/>
                      <a:pt x="338895" y="558752"/>
                    </a:cubicBezTo>
                    <a:moveTo>
                      <a:pt x="301981" y="591516"/>
                    </a:moveTo>
                    <a:cubicBezTo>
                      <a:pt x="304534" y="593987"/>
                      <a:pt x="308586" y="593987"/>
                      <a:pt x="311138" y="591516"/>
                    </a:cubicBezTo>
                    <a:cubicBezTo>
                      <a:pt x="313825" y="589145"/>
                      <a:pt x="314081" y="585046"/>
                      <a:pt x="311710" y="582359"/>
                    </a:cubicBezTo>
                    <a:cubicBezTo>
                      <a:pt x="309340" y="579672"/>
                      <a:pt x="305241" y="579416"/>
                      <a:pt x="302554" y="581787"/>
                    </a:cubicBezTo>
                    <a:cubicBezTo>
                      <a:pt x="300083" y="584339"/>
                      <a:pt x="300083" y="588391"/>
                      <a:pt x="302554" y="590944"/>
                    </a:cubicBezTo>
                    <a:moveTo>
                      <a:pt x="264353" y="624709"/>
                    </a:moveTo>
                    <a:cubicBezTo>
                      <a:pt x="266645" y="627000"/>
                      <a:pt x="270359" y="626999"/>
                      <a:pt x="272648" y="624706"/>
                    </a:cubicBezTo>
                    <a:cubicBezTo>
                      <a:pt x="274939" y="622416"/>
                      <a:pt x="274937" y="618702"/>
                      <a:pt x="272647" y="616411"/>
                    </a:cubicBezTo>
                    <a:cubicBezTo>
                      <a:pt x="270356" y="614122"/>
                      <a:pt x="266643" y="614122"/>
                      <a:pt x="264353" y="616411"/>
                    </a:cubicBezTo>
                    <a:cubicBezTo>
                      <a:pt x="262061" y="618702"/>
                      <a:pt x="262061" y="622416"/>
                      <a:pt x="264350" y="624706"/>
                    </a:cubicBezTo>
                    <a:cubicBezTo>
                      <a:pt x="264351" y="624708"/>
                      <a:pt x="264351" y="624708"/>
                      <a:pt x="264353" y="624709"/>
                    </a:cubicBezTo>
                    <a:moveTo>
                      <a:pt x="227439" y="657044"/>
                    </a:moveTo>
                    <a:cubicBezTo>
                      <a:pt x="229578" y="659026"/>
                      <a:pt x="232883" y="659026"/>
                      <a:pt x="235022" y="657044"/>
                    </a:cubicBezTo>
                    <a:cubicBezTo>
                      <a:pt x="236985" y="654952"/>
                      <a:pt x="236985" y="651696"/>
                      <a:pt x="235022" y="649604"/>
                    </a:cubicBezTo>
                    <a:cubicBezTo>
                      <a:pt x="233087" y="647392"/>
                      <a:pt x="229723" y="647168"/>
                      <a:pt x="227511" y="649104"/>
                    </a:cubicBezTo>
                    <a:cubicBezTo>
                      <a:pt x="225299" y="651039"/>
                      <a:pt x="225074" y="654403"/>
                      <a:pt x="227010" y="656615"/>
                    </a:cubicBezTo>
                    <a:moveTo>
                      <a:pt x="190097" y="689379"/>
                    </a:moveTo>
                    <a:cubicBezTo>
                      <a:pt x="191930" y="691160"/>
                      <a:pt x="194846" y="691160"/>
                      <a:pt x="196678" y="689379"/>
                    </a:cubicBezTo>
                    <a:cubicBezTo>
                      <a:pt x="198495" y="687621"/>
                      <a:pt x="198544" y="684722"/>
                      <a:pt x="196786" y="682905"/>
                    </a:cubicBezTo>
                    <a:cubicBezTo>
                      <a:pt x="196751" y="682869"/>
                      <a:pt x="196714" y="682833"/>
                      <a:pt x="196678" y="682798"/>
                    </a:cubicBezTo>
                    <a:cubicBezTo>
                      <a:pt x="194846" y="681016"/>
                      <a:pt x="191930" y="681016"/>
                      <a:pt x="190097" y="682798"/>
                    </a:cubicBezTo>
                    <a:cubicBezTo>
                      <a:pt x="188280" y="684556"/>
                      <a:pt x="188231" y="687455"/>
                      <a:pt x="189990" y="689272"/>
                    </a:cubicBezTo>
                    <a:cubicBezTo>
                      <a:pt x="190024" y="689308"/>
                      <a:pt x="190061" y="689343"/>
                      <a:pt x="190097" y="689379"/>
                    </a:cubicBezTo>
                    <a:moveTo>
                      <a:pt x="153184" y="722143"/>
                    </a:moveTo>
                    <a:cubicBezTo>
                      <a:pt x="154786" y="723670"/>
                      <a:pt x="157304" y="723670"/>
                      <a:pt x="158907" y="722143"/>
                    </a:cubicBezTo>
                    <a:cubicBezTo>
                      <a:pt x="160488" y="720710"/>
                      <a:pt x="160606" y="718267"/>
                      <a:pt x="159173" y="716686"/>
                    </a:cubicBezTo>
                    <a:cubicBezTo>
                      <a:pt x="159088" y="716593"/>
                      <a:pt x="159000" y="716505"/>
                      <a:pt x="158907" y="716420"/>
                    </a:cubicBezTo>
                    <a:cubicBezTo>
                      <a:pt x="157359" y="714839"/>
                      <a:pt x="154822" y="714814"/>
                      <a:pt x="153241" y="716363"/>
                    </a:cubicBezTo>
                    <a:cubicBezTo>
                      <a:pt x="153222" y="716382"/>
                      <a:pt x="153202" y="716400"/>
                      <a:pt x="153184" y="716420"/>
                    </a:cubicBezTo>
                    <a:cubicBezTo>
                      <a:pt x="151564" y="718040"/>
                      <a:pt x="151564" y="720667"/>
                      <a:pt x="153184" y="722286"/>
                    </a:cubicBezTo>
                    <a:moveTo>
                      <a:pt x="116127" y="755050"/>
                    </a:moveTo>
                    <a:cubicBezTo>
                      <a:pt x="117509" y="756461"/>
                      <a:pt x="119774" y="756484"/>
                      <a:pt x="121185" y="755101"/>
                    </a:cubicBezTo>
                    <a:cubicBezTo>
                      <a:pt x="122596" y="753718"/>
                      <a:pt x="122619" y="751454"/>
                      <a:pt x="121236" y="750043"/>
                    </a:cubicBezTo>
                    <a:cubicBezTo>
                      <a:pt x="119853" y="748632"/>
                      <a:pt x="117588" y="748609"/>
                      <a:pt x="116177" y="749993"/>
                    </a:cubicBezTo>
                    <a:cubicBezTo>
                      <a:pt x="116160" y="750008"/>
                      <a:pt x="116144" y="750026"/>
                      <a:pt x="116127" y="750043"/>
                    </a:cubicBezTo>
                    <a:cubicBezTo>
                      <a:pt x="114764" y="751434"/>
                      <a:pt x="114764" y="753660"/>
                      <a:pt x="116127" y="755050"/>
                    </a:cubicBezTo>
                    <a:moveTo>
                      <a:pt x="79214" y="787672"/>
                    </a:moveTo>
                    <a:cubicBezTo>
                      <a:pt x="80228" y="788777"/>
                      <a:pt x="81948" y="788852"/>
                      <a:pt x="83055" y="787838"/>
                    </a:cubicBezTo>
                    <a:cubicBezTo>
                      <a:pt x="83113" y="787785"/>
                      <a:pt x="83167" y="787729"/>
                      <a:pt x="83220" y="787672"/>
                    </a:cubicBezTo>
                    <a:cubicBezTo>
                      <a:pt x="84326" y="786657"/>
                      <a:pt x="84400" y="784937"/>
                      <a:pt x="83385" y="783830"/>
                    </a:cubicBezTo>
                    <a:cubicBezTo>
                      <a:pt x="83333" y="783773"/>
                      <a:pt x="83277" y="783718"/>
                      <a:pt x="83220" y="783665"/>
                    </a:cubicBezTo>
                    <a:cubicBezTo>
                      <a:pt x="82107" y="782575"/>
                      <a:pt x="80327" y="782575"/>
                      <a:pt x="79214" y="783665"/>
                    </a:cubicBezTo>
                    <a:cubicBezTo>
                      <a:pt x="78108" y="784680"/>
                      <a:pt x="78034" y="786400"/>
                      <a:pt x="79049" y="787506"/>
                    </a:cubicBezTo>
                    <a:cubicBezTo>
                      <a:pt x="79101" y="787564"/>
                      <a:pt x="79157" y="787619"/>
                      <a:pt x="79214" y="787672"/>
                    </a:cubicBezTo>
                    <a:moveTo>
                      <a:pt x="479823" y="391354"/>
                    </a:moveTo>
                    <a:cubicBezTo>
                      <a:pt x="476584" y="387640"/>
                      <a:pt x="470947" y="387257"/>
                      <a:pt x="467233" y="390496"/>
                    </a:cubicBezTo>
                    <a:cubicBezTo>
                      <a:pt x="463519" y="393735"/>
                      <a:pt x="463135" y="399372"/>
                      <a:pt x="466374" y="403086"/>
                    </a:cubicBezTo>
                    <a:cubicBezTo>
                      <a:pt x="469614" y="406801"/>
                      <a:pt x="475251" y="407184"/>
                      <a:pt x="478965" y="403945"/>
                    </a:cubicBezTo>
                    <a:cubicBezTo>
                      <a:pt x="482679" y="400706"/>
                      <a:pt x="483063" y="395069"/>
                      <a:pt x="479823" y="391354"/>
                    </a:cubicBezTo>
                    <a:moveTo>
                      <a:pt x="516737" y="358590"/>
                    </a:moveTo>
                    <a:cubicBezTo>
                      <a:pt x="513738" y="355123"/>
                      <a:pt x="508497" y="354746"/>
                      <a:pt x="505032" y="357743"/>
                    </a:cubicBezTo>
                    <a:cubicBezTo>
                      <a:pt x="501565" y="360742"/>
                      <a:pt x="501186" y="365983"/>
                      <a:pt x="504185" y="369448"/>
                    </a:cubicBezTo>
                    <a:cubicBezTo>
                      <a:pt x="507184" y="372915"/>
                      <a:pt x="512424" y="373294"/>
                      <a:pt x="515890" y="370295"/>
                    </a:cubicBezTo>
                    <a:cubicBezTo>
                      <a:pt x="515934" y="370257"/>
                      <a:pt x="515978" y="370218"/>
                      <a:pt x="516021" y="370179"/>
                    </a:cubicBezTo>
                    <a:cubicBezTo>
                      <a:pt x="519416" y="367219"/>
                      <a:pt x="519770" y="362068"/>
                      <a:pt x="516810" y="358673"/>
                    </a:cubicBezTo>
                    <a:cubicBezTo>
                      <a:pt x="516785" y="358646"/>
                      <a:pt x="516761" y="358617"/>
                      <a:pt x="516737" y="358590"/>
                    </a:cubicBezTo>
                    <a:moveTo>
                      <a:pt x="553650" y="325826"/>
                    </a:moveTo>
                    <a:cubicBezTo>
                      <a:pt x="550844" y="322666"/>
                      <a:pt x="546008" y="322377"/>
                      <a:pt x="542848" y="325182"/>
                    </a:cubicBezTo>
                    <a:cubicBezTo>
                      <a:pt x="539687" y="327988"/>
                      <a:pt x="539398" y="332824"/>
                      <a:pt x="542204" y="335984"/>
                    </a:cubicBezTo>
                    <a:cubicBezTo>
                      <a:pt x="545246" y="338892"/>
                      <a:pt x="550036" y="338892"/>
                      <a:pt x="553078" y="335984"/>
                    </a:cubicBezTo>
                    <a:cubicBezTo>
                      <a:pt x="556059" y="332973"/>
                      <a:pt x="556059" y="328122"/>
                      <a:pt x="553078" y="325111"/>
                    </a:cubicBezTo>
                    <a:moveTo>
                      <a:pt x="590134" y="292347"/>
                    </a:moveTo>
                    <a:cubicBezTo>
                      <a:pt x="587539" y="289581"/>
                      <a:pt x="583192" y="289444"/>
                      <a:pt x="580426" y="292039"/>
                    </a:cubicBezTo>
                    <a:cubicBezTo>
                      <a:pt x="580321" y="292138"/>
                      <a:pt x="580218" y="292241"/>
                      <a:pt x="580119" y="292347"/>
                    </a:cubicBezTo>
                    <a:cubicBezTo>
                      <a:pt x="577160" y="294845"/>
                      <a:pt x="576788" y="299269"/>
                      <a:pt x="579286" y="302226"/>
                    </a:cubicBezTo>
                    <a:cubicBezTo>
                      <a:pt x="579325" y="302272"/>
                      <a:pt x="579363" y="302317"/>
                      <a:pt x="579403" y="302362"/>
                    </a:cubicBezTo>
                    <a:cubicBezTo>
                      <a:pt x="582185" y="305089"/>
                      <a:pt x="586637" y="305089"/>
                      <a:pt x="589419" y="302362"/>
                    </a:cubicBezTo>
                    <a:cubicBezTo>
                      <a:pt x="592184" y="299652"/>
                      <a:pt x="592230" y="295214"/>
                      <a:pt x="589520" y="292448"/>
                    </a:cubicBezTo>
                    <a:cubicBezTo>
                      <a:pt x="589486" y="292414"/>
                      <a:pt x="589453" y="292379"/>
                      <a:pt x="589419" y="292347"/>
                    </a:cubicBezTo>
                    <a:moveTo>
                      <a:pt x="628049" y="260584"/>
                    </a:moveTo>
                    <a:cubicBezTo>
                      <a:pt x="625549" y="258056"/>
                      <a:pt x="621472" y="258033"/>
                      <a:pt x="618944" y="260532"/>
                    </a:cubicBezTo>
                    <a:cubicBezTo>
                      <a:pt x="618926" y="260550"/>
                      <a:pt x="618909" y="260567"/>
                      <a:pt x="618892" y="260584"/>
                    </a:cubicBezTo>
                    <a:cubicBezTo>
                      <a:pt x="616205" y="262955"/>
                      <a:pt x="615949" y="267054"/>
                      <a:pt x="618320" y="269741"/>
                    </a:cubicBezTo>
                    <a:cubicBezTo>
                      <a:pt x="620691" y="272428"/>
                      <a:pt x="624790" y="272684"/>
                      <a:pt x="627477" y="270313"/>
                    </a:cubicBezTo>
                    <a:cubicBezTo>
                      <a:pt x="630005" y="267814"/>
                      <a:pt x="630028" y="263736"/>
                      <a:pt x="627528" y="261208"/>
                    </a:cubicBezTo>
                    <a:cubicBezTo>
                      <a:pt x="627511" y="261191"/>
                      <a:pt x="627494" y="261173"/>
                      <a:pt x="627477" y="261156"/>
                    </a:cubicBezTo>
                    <a:moveTo>
                      <a:pt x="664390" y="228392"/>
                    </a:moveTo>
                    <a:cubicBezTo>
                      <a:pt x="662098" y="226101"/>
                      <a:pt x="658384" y="226103"/>
                      <a:pt x="656094" y="228395"/>
                    </a:cubicBezTo>
                    <a:cubicBezTo>
                      <a:pt x="653804" y="230686"/>
                      <a:pt x="653805" y="234400"/>
                      <a:pt x="656096" y="236690"/>
                    </a:cubicBezTo>
                    <a:cubicBezTo>
                      <a:pt x="658386" y="238980"/>
                      <a:pt x="662099" y="238980"/>
                      <a:pt x="664390" y="236690"/>
                    </a:cubicBezTo>
                    <a:cubicBezTo>
                      <a:pt x="666682" y="234400"/>
                      <a:pt x="666682" y="230686"/>
                      <a:pt x="664393" y="228395"/>
                    </a:cubicBezTo>
                    <a:cubicBezTo>
                      <a:pt x="664391" y="228394"/>
                      <a:pt x="664391" y="228394"/>
                      <a:pt x="664390" y="228392"/>
                    </a:cubicBezTo>
                    <a:moveTo>
                      <a:pt x="701303" y="195485"/>
                    </a:moveTo>
                    <a:cubicBezTo>
                      <a:pt x="699367" y="193273"/>
                      <a:pt x="696004" y="193048"/>
                      <a:pt x="693792" y="194984"/>
                    </a:cubicBezTo>
                    <a:cubicBezTo>
                      <a:pt x="691580" y="196920"/>
                      <a:pt x="691355" y="200284"/>
                      <a:pt x="693291" y="202496"/>
                    </a:cubicBezTo>
                    <a:cubicBezTo>
                      <a:pt x="695227" y="204708"/>
                      <a:pt x="698590" y="204932"/>
                      <a:pt x="700802" y="202996"/>
                    </a:cubicBezTo>
                    <a:cubicBezTo>
                      <a:pt x="703014" y="201061"/>
                      <a:pt x="703239" y="197697"/>
                      <a:pt x="701303" y="195485"/>
                    </a:cubicBezTo>
                    <a:moveTo>
                      <a:pt x="738216" y="162721"/>
                    </a:moveTo>
                    <a:cubicBezTo>
                      <a:pt x="736384" y="160940"/>
                      <a:pt x="733468" y="160940"/>
                      <a:pt x="731635" y="162721"/>
                    </a:cubicBezTo>
                    <a:cubicBezTo>
                      <a:pt x="729765" y="164538"/>
                      <a:pt x="729722" y="167527"/>
                      <a:pt x="731541" y="169397"/>
                    </a:cubicBezTo>
                    <a:cubicBezTo>
                      <a:pt x="733358" y="171267"/>
                      <a:pt x="736347" y="171310"/>
                      <a:pt x="738216" y="169493"/>
                    </a:cubicBezTo>
                    <a:cubicBezTo>
                      <a:pt x="740086" y="167675"/>
                      <a:pt x="740129" y="164685"/>
                      <a:pt x="738311" y="162815"/>
                    </a:cubicBezTo>
                    <a:cubicBezTo>
                      <a:pt x="738281" y="162784"/>
                      <a:pt x="738248" y="162752"/>
                      <a:pt x="738216" y="162721"/>
                    </a:cubicBezTo>
                    <a:moveTo>
                      <a:pt x="775130" y="129957"/>
                    </a:moveTo>
                    <a:cubicBezTo>
                      <a:pt x="773549" y="128409"/>
                      <a:pt x="771013" y="128434"/>
                      <a:pt x="769464" y="130014"/>
                    </a:cubicBezTo>
                    <a:cubicBezTo>
                      <a:pt x="767916" y="131595"/>
                      <a:pt x="767942" y="134132"/>
                      <a:pt x="769523" y="135680"/>
                    </a:cubicBezTo>
                    <a:cubicBezTo>
                      <a:pt x="771079" y="137206"/>
                      <a:pt x="773572" y="137206"/>
                      <a:pt x="775130" y="135680"/>
                    </a:cubicBezTo>
                    <a:cubicBezTo>
                      <a:pt x="776711" y="134246"/>
                      <a:pt x="776830" y="131804"/>
                      <a:pt x="775396" y="130223"/>
                    </a:cubicBezTo>
                    <a:cubicBezTo>
                      <a:pt x="775312" y="130130"/>
                      <a:pt x="775223" y="130041"/>
                      <a:pt x="775130" y="129957"/>
                    </a:cubicBezTo>
                    <a:moveTo>
                      <a:pt x="812186" y="97192"/>
                    </a:moveTo>
                    <a:cubicBezTo>
                      <a:pt x="810843" y="95853"/>
                      <a:pt x="808669" y="95858"/>
                      <a:pt x="807330" y="97201"/>
                    </a:cubicBezTo>
                    <a:cubicBezTo>
                      <a:pt x="805991" y="98545"/>
                      <a:pt x="805995" y="100718"/>
                      <a:pt x="807339" y="102057"/>
                    </a:cubicBezTo>
                    <a:cubicBezTo>
                      <a:pt x="808678" y="103392"/>
                      <a:pt x="810846" y="103392"/>
                      <a:pt x="812186" y="102057"/>
                    </a:cubicBezTo>
                    <a:cubicBezTo>
                      <a:pt x="813530" y="100718"/>
                      <a:pt x="813534" y="98545"/>
                      <a:pt x="812195" y="97201"/>
                    </a:cubicBezTo>
                    <a:cubicBezTo>
                      <a:pt x="812192" y="97198"/>
                      <a:pt x="812189" y="97195"/>
                      <a:pt x="812186" y="97192"/>
                    </a:cubicBezTo>
                    <a:moveTo>
                      <a:pt x="849099" y="64428"/>
                    </a:moveTo>
                    <a:cubicBezTo>
                      <a:pt x="848032" y="63244"/>
                      <a:pt x="846207" y="63146"/>
                      <a:pt x="845022" y="64214"/>
                    </a:cubicBezTo>
                    <a:cubicBezTo>
                      <a:pt x="843837" y="65281"/>
                      <a:pt x="843740" y="67107"/>
                      <a:pt x="844807" y="68291"/>
                    </a:cubicBezTo>
                    <a:cubicBezTo>
                      <a:pt x="845920" y="69382"/>
                      <a:pt x="847700" y="69382"/>
                      <a:pt x="848813" y="68291"/>
                    </a:cubicBezTo>
                    <a:cubicBezTo>
                      <a:pt x="849922" y="67131"/>
                      <a:pt x="849922" y="65303"/>
                      <a:pt x="848813" y="64142"/>
                    </a:cubicBezTo>
                    <a:moveTo>
                      <a:pt x="458648" y="368033"/>
                    </a:moveTo>
                    <a:cubicBezTo>
                      <a:pt x="455345" y="364410"/>
                      <a:pt x="449750" y="364091"/>
                      <a:pt x="446058" y="367318"/>
                    </a:cubicBezTo>
                    <a:cubicBezTo>
                      <a:pt x="442385" y="370561"/>
                      <a:pt x="442037" y="376167"/>
                      <a:pt x="445281" y="379838"/>
                    </a:cubicBezTo>
                    <a:cubicBezTo>
                      <a:pt x="445301" y="379863"/>
                      <a:pt x="445321" y="379885"/>
                      <a:pt x="445342" y="379908"/>
                    </a:cubicBezTo>
                    <a:cubicBezTo>
                      <a:pt x="448622" y="383583"/>
                      <a:pt x="454259" y="383903"/>
                      <a:pt x="457933" y="380624"/>
                    </a:cubicBezTo>
                    <a:cubicBezTo>
                      <a:pt x="461607" y="377344"/>
                      <a:pt x="461928" y="371707"/>
                      <a:pt x="458648" y="368033"/>
                    </a:cubicBezTo>
                    <a:moveTo>
                      <a:pt x="495562" y="335269"/>
                    </a:moveTo>
                    <a:cubicBezTo>
                      <a:pt x="492518" y="331842"/>
                      <a:pt x="487273" y="331530"/>
                      <a:pt x="483847" y="334574"/>
                    </a:cubicBezTo>
                    <a:cubicBezTo>
                      <a:pt x="480420" y="337615"/>
                      <a:pt x="480108" y="342861"/>
                      <a:pt x="483151" y="346289"/>
                    </a:cubicBezTo>
                    <a:cubicBezTo>
                      <a:pt x="486187" y="349708"/>
                      <a:pt x="491417" y="350027"/>
                      <a:pt x="494846" y="347001"/>
                    </a:cubicBezTo>
                    <a:cubicBezTo>
                      <a:pt x="498283" y="343969"/>
                      <a:pt x="498610" y="338726"/>
                      <a:pt x="495579" y="335289"/>
                    </a:cubicBezTo>
                    <a:cubicBezTo>
                      <a:pt x="495573" y="335282"/>
                      <a:pt x="495567" y="335276"/>
                      <a:pt x="495562" y="335269"/>
                    </a:cubicBezTo>
                    <a:moveTo>
                      <a:pt x="532618" y="302505"/>
                    </a:moveTo>
                    <a:cubicBezTo>
                      <a:pt x="529606" y="299523"/>
                      <a:pt x="524756" y="299523"/>
                      <a:pt x="521744" y="302505"/>
                    </a:cubicBezTo>
                    <a:cubicBezTo>
                      <a:pt x="518741" y="305424"/>
                      <a:pt x="518674" y="310225"/>
                      <a:pt x="521594" y="313228"/>
                    </a:cubicBezTo>
                    <a:cubicBezTo>
                      <a:pt x="521643" y="313278"/>
                      <a:pt x="521693" y="313328"/>
                      <a:pt x="521744" y="313379"/>
                    </a:cubicBezTo>
                    <a:cubicBezTo>
                      <a:pt x="524756" y="316360"/>
                      <a:pt x="529606" y="316360"/>
                      <a:pt x="532618" y="313379"/>
                    </a:cubicBezTo>
                    <a:cubicBezTo>
                      <a:pt x="535525" y="310337"/>
                      <a:pt x="535525" y="305547"/>
                      <a:pt x="532618" y="302505"/>
                    </a:cubicBezTo>
                    <a:moveTo>
                      <a:pt x="569531" y="269741"/>
                    </a:moveTo>
                    <a:cubicBezTo>
                      <a:pt x="566750" y="267014"/>
                      <a:pt x="562297" y="267014"/>
                      <a:pt x="559516" y="269741"/>
                    </a:cubicBezTo>
                    <a:cubicBezTo>
                      <a:pt x="556934" y="272731"/>
                      <a:pt x="557263" y="277248"/>
                      <a:pt x="560253" y="279830"/>
                    </a:cubicBezTo>
                    <a:cubicBezTo>
                      <a:pt x="562707" y="281951"/>
                      <a:pt x="566279" y="282155"/>
                      <a:pt x="568959" y="280328"/>
                    </a:cubicBezTo>
                    <a:cubicBezTo>
                      <a:pt x="571686" y="277547"/>
                      <a:pt x="571686" y="273094"/>
                      <a:pt x="568959" y="270313"/>
                    </a:cubicBezTo>
                    <a:moveTo>
                      <a:pt x="605872" y="237549"/>
                    </a:moveTo>
                    <a:cubicBezTo>
                      <a:pt x="603320" y="235078"/>
                      <a:pt x="599268" y="235078"/>
                      <a:pt x="596716" y="237549"/>
                    </a:cubicBezTo>
                    <a:cubicBezTo>
                      <a:pt x="594316" y="240130"/>
                      <a:pt x="594316" y="244125"/>
                      <a:pt x="596716" y="246706"/>
                    </a:cubicBezTo>
                    <a:cubicBezTo>
                      <a:pt x="599268" y="249177"/>
                      <a:pt x="603320" y="249177"/>
                      <a:pt x="605872" y="246706"/>
                    </a:cubicBezTo>
                    <a:cubicBezTo>
                      <a:pt x="608400" y="244206"/>
                      <a:pt x="608423" y="240129"/>
                      <a:pt x="605924" y="237600"/>
                    </a:cubicBezTo>
                    <a:cubicBezTo>
                      <a:pt x="605907" y="237583"/>
                      <a:pt x="605889" y="237566"/>
                      <a:pt x="605872" y="237549"/>
                    </a:cubicBezTo>
                    <a:moveTo>
                      <a:pt x="642929" y="204928"/>
                    </a:moveTo>
                    <a:cubicBezTo>
                      <a:pt x="640637" y="202637"/>
                      <a:pt x="636922" y="202639"/>
                      <a:pt x="634633" y="204931"/>
                    </a:cubicBezTo>
                    <a:cubicBezTo>
                      <a:pt x="632343" y="207221"/>
                      <a:pt x="632344" y="210936"/>
                      <a:pt x="634635" y="213226"/>
                    </a:cubicBezTo>
                    <a:cubicBezTo>
                      <a:pt x="636925" y="215515"/>
                      <a:pt x="640638" y="215515"/>
                      <a:pt x="642929" y="213226"/>
                    </a:cubicBezTo>
                    <a:cubicBezTo>
                      <a:pt x="645221" y="210936"/>
                      <a:pt x="645221" y="207221"/>
                      <a:pt x="642932" y="204931"/>
                    </a:cubicBezTo>
                    <a:cubicBezTo>
                      <a:pt x="642930" y="204929"/>
                      <a:pt x="642930" y="204929"/>
                      <a:pt x="642929" y="204928"/>
                    </a:cubicBezTo>
                    <a:moveTo>
                      <a:pt x="679842" y="172164"/>
                    </a:moveTo>
                    <a:cubicBezTo>
                      <a:pt x="677780" y="170128"/>
                      <a:pt x="674464" y="170128"/>
                      <a:pt x="672402" y="172164"/>
                    </a:cubicBezTo>
                    <a:cubicBezTo>
                      <a:pt x="670190" y="174100"/>
                      <a:pt x="669965" y="177463"/>
                      <a:pt x="671901" y="179675"/>
                    </a:cubicBezTo>
                    <a:cubicBezTo>
                      <a:pt x="673837" y="181887"/>
                      <a:pt x="677201" y="182112"/>
                      <a:pt x="679413" y="180176"/>
                    </a:cubicBezTo>
                    <a:cubicBezTo>
                      <a:pt x="681449" y="178114"/>
                      <a:pt x="681449" y="174798"/>
                      <a:pt x="679413" y="172736"/>
                    </a:cubicBezTo>
                    <a:moveTo>
                      <a:pt x="717328" y="138255"/>
                    </a:moveTo>
                    <a:cubicBezTo>
                      <a:pt x="715569" y="136438"/>
                      <a:pt x="712670" y="136389"/>
                      <a:pt x="710853" y="138148"/>
                    </a:cubicBezTo>
                    <a:cubicBezTo>
                      <a:pt x="710818" y="138182"/>
                      <a:pt x="710782" y="138219"/>
                      <a:pt x="710746" y="138255"/>
                    </a:cubicBezTo>
                    <a:cubicBezTo>
                      <a:pt x="708965" y="140088"/>
                      <a:pt x="708965" y="143004"/>
                      <a:pt x="710746" y="144836"/>
                    </a:cubicBezTo>
                    <a:cubicBezTo>
                      <a:pt x="712626" y="146635"/>
                      <a:pt x="715591" y="146635"/>
                      <a:pt x="717471" y="144836"/>
                    </a:cubicBezTo>
                    <a:cubicBezTo>
                      <a:pt x="719252" y="143004"/>
                      <a:pt x="719252" y="140088"/>
                      <a:pt x="717471" y="138255"/>
                    </a:cubicBezTo>
                    <a:moveTo>
                      <a:pt x="754527" y="105491"/>
                    </a:moveTo>
                    <a:cubicBezTo>
                      <a:pt x="752877" y="103946"/>
                      <a:pt x="750311" y="103946"/>
                      <a:pt x="748661" y="105491"/>
                    </a:cubicBezTo>
                    <a:cubicBezTo>
                      <a:pt x="747134" y="107093"/>
                      <a:pt x="747134" y="109611"/>
                      <a:pt x="748661" y="111214"/>
                    </a:cubicBezTo>
                    <a:cubicBezTo>
                      <a:pt x="750123" y="112912"/>
                      <a:pt x="752686" y="113105"/>
                      <a:pt x="754384" y="111643"/>
                    </a:cubicBezTo>
                    <a:cubicBezTo>
                      <a:pt x="756082" y="110181"/>
                      <a:pt x="756275" y="107618"/>
                      <a:pt x="754813" y="105920"/>
                    </a:cubicBezTo>
                    <a:moveTo>
                      <a:pt x="791726" y="73156"/>
                    </a:moveTo>
                    <a:cubicBezTo>
                      <a:pt x="790383" y="71817"/>
                      <a:pt x="788210" y="71821"/>
                      <a:pt x="786871" y="73165"/>
                    </a:cubicBezTo>
                    <a:cubicBezTo>
                      <a:pt x="785531" y="74508"/>
                      <a:pt x="785536" y="76681"/>
                      <a:pt x="786879" y="78021"/>
                    </a:cubicBezTo>
                    <a:cubicBezTo>
                      <a:pt x="788218" y="79355"/>
                      <a:pt x="790386" y="79355"/>
                      <a:pt x="791726" y="78021"/>
                    </a:cubicBezTo>
                    <a:cubicBezTo>
                      <a:pt x="793070" y="76681"/>
                      <a:pt x="793074" y="74508"/>
                      <a:pt x="791735" y="73165"/>
                    </a:cubicBezTo>
                    <a:cubicBezTo>
                      <a:pt x="791732" y="73162"/>
                      <a:pt x="791729" y="73159"/>
                      <a:pt x="791726" y="73156"/>
                    </a:cubicBezTo>
                    <a:moveTo>
                      <a:pt x="828354" y="40535"/>
                    </a:moveTo>
                    <a:cubicBezTo>
                      <a:pt x="827180" y="39476"/>
                      <a:pt x="825370" y="39569"/>
                      <a:pt x="824312" y="40744"/>
                    </a:cubicBezTo>
                    <a:cubicBezTo>
                      <a:pt x="823433" y="41718"/>
                      <a:pt x="823330" y="43165"/>
                      <a:pt x="824061" y="44255"/>
                    </a:cubicBezTo>
                    <a:cubicBezTo>
                      <a:pt x="825222" y="45364"/>
                      <a:pt x="827050" y="45364"/>
                      <a:pt x="828210" y="44255"/>
                    </a:cubicBezTo>
                    <a:cubicBezTo>
                      <a:pt x="829316" y="43240"/>
                      <a:pt x="829391" y="41521"/>
                      <a:pt x="828375" y="40413"/>
                    </a:cubicBezTo>
                    <a:cubicBezTo>
                      <a:pt x="828324" y="40356"/>
                      <a:pt x="828268" y="40302"/>
                      <a:pt x="828210" y="40249"/>
                    </a:cubicBezTo>
                    <a:moveTo>
                      <a:pt x="437759" y="344569"/>
                    </a:moveTo>
                    <a:cubicBezTo>
                      <a:pt x="434469" y="340939"/>
                      <a:pt x="428859" y="340666"/>
                      <a:pt x="425229" y="343957"/>
                    </a:cubicBezTo>
                    <a:cubicBezTo>
                      <a:pt x="421672" y="347183"/>
                      <a:pt x="421327" y="352654"/>
                      <a:pt x="424453" y="356301"/>
                    </a:cubicBezTo>
                    <a:cubicBezTo>
                      <a:pt x="427717" y="359968"/>
                      <a:pt x="433314" y="360349"/>
                      <a:pt x="437044" y="357159"/>
                    </a:cubicBezTo>
                    <a:cubicBezTo>
                      <a:pt x="440717" y="353916"/>
                      <a:pt x="441064" y="348310"/>
                      <a:pt x="437821" y="344639"/>
                    </a:cubicBezTo>
                    <a:cubicBezTo>
                      <a:pt x="437801" y="344615"/>
                      <a:pt x="437781" y="344592"/>
                      <a:pt x="437759" y="344569"/>
                    </a:cubicBezTo>
                    <a:moveTo>
                      <a:pt x="474816" y="311805"/>
                    </a:moveTo>
                    <a:cubicBezTo>
                      <a:pt x="471577" y="308563"/>
                      <a:pt x="466321" y="308561"/>
                      <a:pt x="463081" y="311802"/>
                    </a:cubicBezTo>
                    <a:cubicBezTo>
                      <a:pt x="459839" y="315041"/>
                      <a:pt x="459837" y="320295"/>
                      <a:pt x="463076" y="323537"/>
                    </a:cubicBezTo>
                    <a:cubicBezTo>
                      <a:pt x="466316" y="326779"/>
                      <a:pt x="471571" y="326780"/>
                      <a:pt x="474813" y="323540"/>
                    </a:cubicBezTo>
                    <a:cubicBezTo>
                      <a:pt x="474813" y="323540"/>
                      <a:pt x="474814" y="323538"/>
                      <a:pt x="474816" y="323537"/>
                    </a:cubicBezTo>
                    <a:cubicBezTo>
                      <a:pt x="478054" y="320296"/>
                      <a:pt x="478054" y="315045"/>
                      <a:pt x="474816" y="311805"/>
                    </a:cubicBezTo>
                    <a:moveTo>
                      <a:pt x="511729" y="279041"/>
                    </a:moveTo>
                    <a:cubicBezTo>
                      <a:pt x="508726" y="276009"/>
                      <a:pt x="503834" y="275986"/>
                      <a:pt x="500802" y="278988"/>
                    </a:cubicBezTo>
                    <a:cubicBezTo>
                      <a:pt x="497771" y="281991"/>
                      <a:pt x="497748" y="286883"/>
                      <a:pt x="500751" y="289914"/>
                    </a:cubicBezTo>
                    <a:cubicBezTo>
                      <a:pt x="503753" y="292946"/>
                      <a:pt x="508644" y="292969"/>
                      <a:pt x="511676" y="289967"/>
                    </a:cubicBezTo>
                    <a:cubicBezTo>
                      <a:pt x="511695" y="289950"/>
                      <a:pt x="511712" y="289931"/>
                      <a:pt x="511729" y="289914"/>
                    </a:cubicBezTo>
                    <a:cubicBezTo>
                      <a:pt x="514732" y="286996"/>
                      <a:pt x="514799" y="282194"/>
                      <a:pt x="511879" y="279191"/>
                    </a:cubicBezTo>
                    <a:cubicBezTo>
                      <a:pt x="511831" y="279141"/>
                      <a:pt x="511781" y="279091"/>
                      <a:pt x="511729" y="279041"/>
                    </a:cubicBezTo>
                    <a:moveTo>
                      <a:pt x="548642" y="246276"/>
                    </a:moveTo>
                    <a:cubicBezTo>
                      <a:pt x="545877" y="243455"/>
                      <a:pt x="541347" y="243409"/>
                      <a:pt x="538526" y="246175"/>
                    </a:cubicBezTo>
                    <a:cubicBezTo>
                      <a:pt x="535704" y="248940"/>
                      <a:pt x="535660" y="253470"/>
                      <a:pt x="538425" y="256292"/>
                    </a:cubicBezTo>
                    <a:cubicBezTo>
                      <a:pt x="541191" y="259113"/>
                      <a:pt x="545719" y="259159"/>
                      <a:pt x="548541" y="256393"/>
                    </a:cubicBezTo>
                    <a:cubicBezTo>
                      <a:pt x="548575" y="256359"/>
                      <a:pt x="548609" y="256326"/>
                      <a:pt x="548642" y="256292"/>
                    </a:cubicBezTo>
                    <a:cubicBezTo>
                      <a:pt x="551369" y="253510"/>
                      <a:pt x="551369" y="249058"/>
                      <a:pt x="548642" y="246276"/>
                    </a:cubicBezTo>
                    <a:moveTo>
                      <a:pt x="585126" y="213512"/>
                    </a:moveTo>
                    <a:cubicBezTo>
                      <a:pt x="582574" y="211041"/>
                      <a:pt x="578522" y="211041"/>
                      <a:pt x="575970" y="213512"/>
                    </a:cubicBezTo>
                    <a:cubicBezTo>
                      <a:pt x="573283" y="215883"/>
                      <a:pt x="573027" y="219982"/>
                      <a:pt x="575397" y="222669"/>
                    </a:cubicBezTo>
                    <a:cubicBezTo>
                      <a:pt x="577768" y="225356"/>
                      <a:pt x="581867" y="225612"/>
                      <a:pt x="584554" y="223241"/>
                    </a:cubicBezTo>
                    <a:cubicBezTo>
                      <a:pt x="586954" y="220660"/>
                      <a:pt x="586954" y="216666"/>
                      <a:pt x="584554" y="214085"/>
                    </a:cubicBezTo>
                    <a:moveTo>
                      <a:pt x="622612" y="181177"/>
                    </a:moveTo>
                    <a:cubicBezTo>
                      <a:pt x="620320" y="178887"/>
                      <a:pt x="616606" y="178888"/>
                      <a:pt x="614317" y="181180"/>
                    </a:cubicBezTo>
                    <a:cubicBezTo>
                      <a:pt x="612026" y="183471"/>
                      <a:pt x="612027" y="187185"/>
                      <a:pt x="614318" y="189476"/>
                    </a:cubicBezTo>
                    <a:cubicBezTo>
                      <a:pt x="616609" y="191765"/>
                      <a:pt x="620321" y="191765"/>
                      <a:pt x="622612" y="189476"/>
                    </a:cubicBezTo>
                    <a:cubicBezTo>
                      <a:pt x="624904" y="187185"/>
                      <a:pt x="624904" y="183471"/>
                      <a:pt x="622615" y="181180"/>
                    </a:cubicBezTo>
                    <a:cubicBezTo>
                      <a:pt x="622613" y="181179"/>
                      <a:pt x="622613" y="181179"/>
                      <a:pt x="622612" y="181177"/>
                    </a:cubicBezTo>
                    <a:moveTo>
                      <a:pt x="659525" y="148413"/>
                    </a:moveTo>
                    <a:cubicBezTo>
                      <a:pt x="657464" y="146377"/>
                      <a:pt x="654147" y="146377"/>
                      <a:pt x="652085" y="148413"/>
                    </a:cubicBezTo>
                    <a:cubicBezTo>
                      <a:pt x="650122" y="150505"/>
                      <a:pt x="650122" y="153761"/>
                      <a:pt x="652085" y="155853"/>
                    </a:cubicBezTo>
                    <a:cubicBezTo>
                      <a:pt x="654230" y="157840"/>
                      <a:pt x="657580" y="157713"/>
                      <a:pt x="659567" y="155568"/>
                    </a:cubicBezTo>
                    <a:cubicBezTo>
                      <a:pt x="661289" y="153708"/>
                      <a:pt x="661453" y="150888"/>
                      <a:pt x="659955" y="148843"/>
                    </a:cubicBezTo>
                    <a:moveTo>
                      <a:pt x="697011" y="116078"/>
                    </a:moveTo>
                    <a:cubicBezTo>
                      <a:pt x="695401" y="114027"/>
                      <a:pt x="692433" y="113670"/>
                      <a:pt x="690382" y="115280"/>
                    </a:cubicBezTo>
                    <a:cubicBezTo>
                      <a:pt x="688331" y="116891"/>
                      <a:pt x="687973" y="119858"/>
                      <a:pt x="689584" y="121910"/>
                    </a:cubicBezTo>
                    <a:cubicBezTo>
                      <a:pt x="689713" y="122073"/>
                      <a:pt x="689851" y="122228"/>
                      <a:pt x="690000" y="122374"/>
                    </a:cubicBezTo>
                    <a:cubicBezTo>
                      <a:pt x="691867" y="124195"/>
                      <a:pt x="694856" y="124158"/>
                      <a:pt x="696678" y="122291"/>
                    </a:cubicBezTo>
                    <a:cubicBezTo>
                      <a:pt x="698330" y="120597"/>
                      <a:pt x="698473" y="117940"/>
                      <a:pt x="697011" y="116078"/>
                    </a:cubicBezTo>
                    <a:moveTo>
                      <a:pt x="733924" y="83314"/>
                    </a:moveTo>
                    <a:cubicBezTo>
                      <a:pt x="732173" y="81836"/>
                      <a:pt x="729556" y="82057"/>
                      <a:pt x="728077" y="83808"/>
                    </a:cubicBezTo>
                    <a:cubicBezTo>
                      <a:pt x="726895" y="85207"/>
                      <a:pt x="726771" y="87216"/>
                      <a:pt x="727772" y="88751"/>
                    </a:cubicBezTo>
                    <a:cubicBezTo>
                      <a:pt x="729392" y="90371"/>
                      <a:pt x="732018" y="90371"/>
                      <a:pt x="733638" y="88751"/>
                    </a:cubicBezTo>
                    <a:cubicBezTo>
                      <a:pt x="735165" y="87149"/>
                      <a:pt x="735165" y="84631"/>
                      <a:pt x="733638" y="83028"/>
                    </a:cubicBezTo>
                    <a:moveTo>
                      <a:pt x="771124" y="49692"/>
                    </a:moveTo>
                    <a:cubicBezTo>
                      <a:pt x="769784" y="48348"/>
                      <a:pt x="767611" y="48344"/>
                      <a:pt x="766268" y="49683"/>
                    </a:cubicBezTo>
                    <a:cubicBezTo>
                      <a:pt x="766265" y="49686"/>
                      <a:pt x="766262" y="49689"/>
                      <a:pt x="766259" y="49692"/>
                    </a:cubicBezTo>
                    <a:cubicBezTo>
                      <a:pt x="764920" y="51035"/>
                      <a:pt x="764924" y="53208"/>
                      <a:pt x="766268" y="54548"/>
                    </a:cubicBezTo>
                    <a:cubicBezTo>
                      <a:pt x="767611" y="55887"/>
                      <a:pt x="769784" y="55883"/>
                      <a:pt x="771124" y="54539"/>
                    </a:cubicBezTo>
                    <a:cubicBezTo>
                      <a:pt x="772459" y="53200"/>
                      <a:pt x="772459" y="51032"/>
                      <a:pt x="771124" y="49692"/>
                    </a:cubicBezTo>
                    <a:moveTo>
                      <a:pt x="808180" y="16928"/>
                    </a:moveTo>
                    <a:cubicBezTo>
                      <a:pt x="807020" y="15819"/>
                      <a:pt x="805191" y="15819"/>
                      <a:pt x="804031" y="16928"/>
                    </a:cubicBezTo>
                    <a:cubicBezTo>
                      <a:pt x="802925" y="17942"/>
                      <a:pt x="802850" y="19662"/>
                      <a:pt x="803865" y="20769"/>
                    </a:cubicBezTo>
                    <a:cubicBezTo>
                      <a:pt x="803918" y="20826"/>
                      <a:pt x="803974" y="20881"/>
                      <a:pt x="804031" y="20934"/>
                    </a:cubicBezTo>
                    <a:cubicBezTo>
                      <a:pt x="805144" y="22024"/>
                      <a:pt x="806924" y="22024"/>
                      <a:pt x="808037" y="20934"/>
                    </a:cubicBezTo>
                    <a:cubicBezTo>
                      <a:pt x="809077" y="19746"/>
                      <a:pt x="809077" y="17972"/>
                      <a:pt x="808037" y="16784"/>
                    </a:cubicBezTo>
                    <a:moveTo>
                      <a:pt x="542204" y="462176"/>
                    </a:moveTo>
                    <a:cubicBezTo>
                      <a:pt x="538753" y="458700"/>
                      <a:pt x="533136" y="458680"/>
                      <a:pt x="529659" y="462131"/>
                    </a:cubicBezTo>
                    <a:cubicBezTo>
                      <a:pt x="529643" y="462146"/>
                      <a:pt x="529629" y="462161"/>
                      <a:pt x="529613" y="462176"/>
                    </a:cubicBezTo>
                    <a:cubicBezTo>
                      <a:pt x="526177" y="465556"/>
                      <a:pt x="526130" y="471081"/>
                      <a:pt x="529508" y="474518"/>
                    </a:cubicBezTo>
                    <a:cubicBezTo>
                      <a:pt x="529543" y="474554"/>
                      <a:pt x="529578" y="474589"/>
                      <a:pt x="529613" y="474624"/>
                    </a:cubicBezTo>
                    <a:cubicBezTo>
                      <a:pt x="532827" y="478272"/>
                      <a:pt x="538378" y="478656"/>
                      <a:pt x="542061" y="475482"/>
                    </a:cubicBezTo>
                    <a:cubicBezTo>
                      <a:pt x="545728" y="472219"/>
                      <a:pt x="546109" y="466622"/>
                      <a:pt x="542919" y="462892"/>
                    </a:cubicBezTo>
                    <a:moveTo>
                      <a:pt x="579833" y="430128"/>
                    </a:moveTo>
                    <a:cubicBezTo>
                      <a:pt x="576593" y="426886"/>
                      <a:pt x="571338" y="426884"/>
                      <a:pt x="568098" y="430125"/>
                    </a:cubicBezTo>
                    <a:cubicBezTo>
                      <a:pt x="564856" y="433364"/>
                      <a:pt x="564854" y="438618"/>
                      <a:pt x="568093" y="441860"/>
                    </a:cubicBezTo>
                    <a:cubicBezTo>
                      <a:pt x="571333" y="445102"/>
                      <a:pt x="576588" y="445103"/>
                      <a:pt x="579830" y="441863"/>
                    </a:cubicBezTo>
                    <a:cubicBezTo>
                      <a:pt x="579830" y="441863"/>
                      <a:pt x="579831" y="441861"/>
                      <a:pt x="579833" y="441860"/>
                    </a:cubicBezTo>
                    <a:cubicBezTo>
                      <a:pt x="583070" y="438619"/>
                      <a:pt x="583070" y="433368"/>
                      <a:pt x="579833" y="430128"/>
                    </a:cubicBezTo>
                    <a:moveTo>
                      <a:pt x="616746" y="397363"/>
                    </a:moveTo>
                    <a:cubicBezTo>
                      <a:pt x="613743" y="394445"/>
                      <a:pt x="608943" y="394512"/>
                      <a:pt x="606022" y="397514"/>
                    </a:cubicBezTo>
                    <a:cubicBezTo>
                      <a:pt x="603104" y="400517"/>
                      <a:pt x="603171" y="405318"/>
                      <a:pt x="606174" y="408237"/>
                    </a:cubicBezTo>
                    <a:cubicBezTo>
                      <a:pt x="609117" y="411099"/>
                      <a:pt x="613803" y="411099"/>
                      <a:pt x="616746" y="408237"/>
                    </a:cubicBezTo>
                    <a:cubicBezTo>
                      <a:pt x="619728" y="405225"/>
                      <a:pt x="619728" y="400375"/>
                      <a:pt x="616746" y="397363"/>
                    </a:cubicBezTo>
                    <a:moveTo>
                      <a:pt x="653802" y="364599"/>
                    </a:moveTo>
                    <a:cubicBezTo>
                      <a:pt x="651021" y="361872"/>
                      <a:pt x="646568" y="361872"/>
                      <a:pt x="643787" y="364599"/>
                    </a:cubicBezTo>
                    <a:cubicBezTo>
                      <a:pt x="641021" y="367195"/>
                      <a:pt x="640884" y="371541"/>
                      <a:pt x="643479" y="374307"/>
                    </a:cubicBezTo>
                    <a:cubicBezTo>
                      <a:pt x="643578" y="374413"/>
                      <a:pt x="643681" y="374516"/>
                      <a:pt x="643787" y="374615"/>
                    </a:cubicBezTo>
                    <a:cubicBezTo>
                      <a:pt x="646012" y="377880"/>
                      <a:pt x="650463" y="378721"/>
                      <a:pt x="653728" y="376496"/>
                    </a:cubicBezTo>
                    <a:cubicBezTo>
                      <a:pt x="656991" y="374271"/>
                      <a:pt x="657834" y="369820"/>
                      <a:pt x="655609" y="366555"/>
                    </a:cubicBezTo>
                    <a:cubicBezTo>
                      <a:pt x="655259" y="366043"/>
                      <a:pt x="654844" y="365578"/>
                      <a:pt x="654375" y="365172"/>
                    </a:cubicBezTo>
                    <a:moveTo>
                      <a:pt x="691288" y="332407"/>
                    </a:moveTo>
                    <a:cubicBezTo>
                      <a:pt x="688917" y="329721"/>
                      <a:pt x="684818" y="329464"/>
                      <a:pt x="682131" y="331835"/>
                    </a:cubicBezTo>
                    <a:cubicBezTo>
                      <a:pt x="679444" y="334206"/>
                      <a:pt x="679188" y="338305"/>
                      <a:pt x="681559" y="340992"/>
                    </a:cubicBezTo>
                    <a:cubicBezTo>
                      <a:pt x="683930" y="343679"/>
                      <a:pt x="688029" y="343935"/>
                      <a:pt x="690716" y="341564"/>
                    </a:cubicBezTo>
                    <a:cubicBezTo>
                      <a:pt x="693403" y="339194"/>
                      <a:pt x="693659" y="335094"/>
                      <a:pt x="691288" y="332407"/>
                    </a:cubicBezTo>
                    <a:moveTo>
                      <a:pt x="728201" y="299643"/>
                    </a:moveTo>
                    <a:cubicBezTo>
                      <a:pt x="725909" y="297353"/>
                      <a:pt x="722195" y="297354"/>
                      <a:pt x="719906" y="299646"/>
                    </a:cubicBezTo>
                    <a:cubicBezTo>
                      <a:pt x="717615" y="301937"/>
                      <a:pt x="717617" y="305651"/>
                      <a:pt x="719907" y="307942"/>
                    </a:cubicBezTo>
                    <a:cubicBezTo>
                      <a:pt x="722198" y="310231"/>
                      <a:pt x="725911" y="310231"/>
                      <a:pt x="728201" y="307942"/>
                    </a:cubicBezTo>
                    <a:cubicBezTo>
                      <a:pt x="730493" y="305651"/>
                      <a:pt x="730493" y="301937"/>
                      <a:pt x="728204" y="299646"/>
                    </a:cubicBezTo>
                    <a:cubicBezTo>
                      <a:pt x="728203" y="299645"/>
                      <a:pt x="728203" y="299645"/>
                      <a:pt x="728201" y="299643"/>
                    </a:cubicBezTo>
                    <a:moveTo>
                      <a:pt x="765258" y="266879"/>
                    </a:moveTo>
                    <a:cubicBezTo>
                      <a:pt x="763166" y="264916"/>
                      <a:pt x="759910" y="264916"/>
                      <a:pt x="757818" y="266879"/>
                    </a:cubicBezTo>
                    <a:cubicBezTo>
                      <a:pt x="755763" y="268846"/>
                      <a:pt x="755693" y="272107"/>
                      <a:pt x="757660" y="274162"/>
                    </a:cubicBezTo>
                    <a:cubicBezTo>
                      <a:pt x="757712" y="274215"/>
                      <a:pt x="757765" y="274268"/>
                      <a:pt x="757818" y="274319"/>
                    </a:cubicBezTo>
                    <a:cubicBezTo>
                      <a:pt x="759879" y="276355"/>
                      <a:pt x="763196" y="276355"/>
                      <a:pt x="765258" y="274319"/>
                    </a:cubicBezTo>
                    <a:cubicBezTo>
                      <a:pt x="767294" y="272257"/>
                      <a:pt x="767294" y="268941"/>
                      <a:pt x="765258" y="266879"/>
                    </a:cubicBezTo>
                    <a:moveTo>
                      <a:pt x="802171" y="234115"/>
                    </a:moveTo>
                    <a:cubicBezTo>
                      <a:pt x="800338" y="232334"/>
                      <a:pt x="797422" y="232334"/>
                      <a:pt x="795589" y="234115"/>
                    </a:cubicBezTo>
                    <a:cubicBezTo>
                      <a:pt x="793772" y="235873"/>
                      <a:pt x="793724" y="238772"/>
                      <a:pt x="795482" y="240589"/>
                    </a:cubicBezTo>
                    <a:cubicBezTo>
                      <a:pt x="795517" y="240625"/>
                      <a:pt x="795554" y="240661"/>
                      <a:pt x="795589" y="240697"/>
                    </a:cubicBezTo>
                    <a:cubicBezTo>
                      <a:pt x="797422" y="242478"/>
                      <a:pt x="800338" y="242478"/>
                      <a:pt x="802171" y="240697"/>
                    </a:cubicBezTo>
                    <a:cubicBezTo>
                      <a:pt x="803988" y="238938"/>
                      <a:pt x="804037" y="236039"/>
                      <a:pt x="802278" y="234222"/>
                    </a:cubicBezTo>
                    <a:cubicBezTo>
                      <a:pt x="802242" y="234187"/>
                      <a:pt x="802207" y="234151"/>
                      <a:pt x="802171" y="234115"/>
                    </a:cubicBezTo>
                    <a:moveTo>
                      <a:pt x="839084" y="201351"/>
                    </a:moveTo>
                    <a:cubicBezTo>
                      <a:pt x="837536" y="199770"/>
                      <a:pt x="834999" y="199744"/>
                      <a:pt x="833418" y="201294"/>
                    </a:cubicBezTo>
                    <a:cubicBezTo>
                      <a:pt x="833400" y="201312"/>
                      <a:pt x="833380" y="201331"/>
                      <a:pt x="833361" y="201351"/>
                    </a:cubicBezTo>
                    <a:cubicBezTo>
                      <a:pt x="831780" y="202785"/>
                      <a:pt x="831662" y="205227"/>
                      <a:pt x="833095" y="206808"/>
                    </a:cubicBezTo>
                    <a:cubicBezTo>
                      <a:pt x="833180" y="206901"/>
                      <a:pt x="833268" y="206990"/>
                      <a:pt x="833361" y="207074"/>
                    </a:cubicBezTo>
                    <a:cubicBezTo>
                      <a:pt x="834909" y="208655"/>
                      <a:pt x="837446" y="208681"/>
                      <a:pt x="839027" y="207131"/>
                    </a:cubicBezTo>
                    <a:cubicBezTo>
                      <a:pt x="839046" y="207113"/>
                      <a:pt x="839066" y="207094"/>
                      <a:pt x="839084" y="207074"/>
                    </a:cubicBezTo>
                    <a:cubicBezTo>
                      <a:pt x="840704" y="205454"/>
                      <a:pt x="840704" y="202827"/>
                      <a:pt x="839084" y="201208"/>
                    </a:cubicBezTo>
                    <a:moveTo>
                      <a:pt x="874710" y="166870"/>
                    </a:moveTo>
                    <a:cubicBezTo>
                      <a:pt x="873371" y="165526"/>
                      <a:pt x="871197" y="165522"/>
                      <a:pt x="869854" y="166861"/>
                    </a:cubicBezTo>
                    <a:cubicBezTo>
                      <a:pt x="869851" y="166864"/>
                      <a:pt x="869848" y="166867"/>
                      <a:pt x="869845" y="166870"/>
                    </a:cubicBezTo>
                    <a:cubicBezTo>
                      <a:pt x="868482" y="168261"/>
                      <a:pt x="868482" y="170487"/>
                      <a:pt x="869845" y="171878"/>
                    </a:cubicBezTo>
                    <a:cubicBezTo>
                      <a:pt x="871184" y="173221"/>
                      <a:pt x="873358" y="173225"/>
                      <a:pt x="874701" y="171886"/>
                    </a:cubicBezTo>
                    <a:cubicBezTo>
                      <a:pt x="874704" y="171883"/>
                      <a:pt x="874707" y="171880"/>
                      <a:pt x="874710" y="171878"/>
                    </a:cubicBezTo>
                    <a:cubicBezTo>
                      <a:pt x="876073" y="170487"/>
                      <a:pt x="876073" y="168261"/>
                      <a:pt x="874710" y="166870"/>
                    </a:cubicBezTo>
                    <a:moveTo>
                      <a:pt x="911623" y="134106"/>
                    </a:moveTo>
                    <a:cubicBezTo>
                      <a:pt x="910609" y="133000"/>
                      <a:pt x="908889" y="132925"/>
                      <a:pt x="907782" y="133941"/>
                    </a:cubicBezTo>
                    <a:cubicBezTo>
                      <a:pt x="907724" y="133993"/>
                      <a:pt x="907670" y="134049"/>
                      <a:pt x="907617" y="134106"/>
                    </a:cubicBezTo>
                    <a:cubicBezTo>
                      <a:pt x="906305" y="134987"/>
                      <a:pt x="905956" y="136764"/>
                      <a:pt x="906836" y="138076"/>
                    </a:cubicBezTo>
                    <a:cubicBezTo>
                      <a:pt x="907717" y="139388"/>
                      <a:pt x="909496" y="139739"/>
                      <a:pt x="910808" y="138857"/>
                    </a:cubicBezTo>
                    <a:cubicBezTo>
                      <a:pt x="911002" y="138726"/>
                      <a:pt x="911180" y="138573"/>
                      <a:pt x="911337" y="138398"/>
                    </a:cubicBezTo>
                    <a:cubicBezTo>
                      <a:pt x="912483" y="137309"/>
                      <a:pt x="912529" y="135498"/>
                      <a:pt x="911440" y="134352"/>
                    </a:cubicBezTo>
                    <a:cubicBezTo>
                      <a:pt x="911407" y="134318"/>
                      <a:pt x="911373" y="134283"/>
                      <a:pt x="911337" y="134249"/>
                    </a:cubicBezTo>
                    <a:moveTo>
                      <a:pt x="521172" y="438712"/>
                    </a:moveTo>
                    <a:cubicBezTo>
                      <a:pt x="517893" y="435038"/>
                      <a:pt x="512256" y="434717"/>
                      <a:pt x="508581" y="437997"/>
                    </a:cubicBezTo>
                    <a:cubicBezTo>
                      <a:pt x="504907" y="441276"/>
                      <a:pt x="504587" y="446913"/>
                      <a:pt x="507866" y="450587"/>
                    </a:cubicBezTo>
                    <a:cubicBezTo>
                      <a:pt x="511317" y="454064"/>
                      <a:pt x="516934" y="454084"/>
                      <a:pt x="520411" y="450633"/>
                    </a:cubicBezTo>
                    <a:cubicBezTo>
                      <a:pt x="520427" y="450617"/>
                      <a:pt x="520441" y="450603"/>
                      <a:pt x="520457" y="450587"/>
                    </a:cubicBezTo>
                    <a:cubicBezTo>
                      <a:pt x="524079" y="447284"/>
                      <a:pt x="524398" y="441689"/>
                      <a:pt x="521172" y="437997"/>
                    </a:cubicBezTo>
                    <a:moveTo>
                      <a:pt x="558085" y="405376"/>
                    </a:moveTo>
                    <a:cubicBezTo>
                      <a:pt x="554885" y="402207"/>
                      <a:pt x="549721" y="402231"/>
                      <a:pt x="546552" y="405431"/>
                    </a:cubicBezTo>
                    <a:cubicBezTo>
                      <a:pt x="543383" y="408632"/>
                      <a:pt x="543407" y="413796"/>
                      <a:pt x="546608" y="416965"/>
                    </a:cubicBezTo>
                    <a:cubicBezTo>
                      <a:pt x="549787" y="420112"/>
                      <a:pt x="554908" y="420112"/>
                      <a:pt x="558085" y="416965"/>
                    </a:cubicBezTo>
                    <a:cubicBezTo>
                      <a:pt x="561286" y="413909"/>
                      <a:pt x="561402" y="408837"/>
                      <a:pt x="558347" y="405636"/>
                    </a:cubicBezTo>
                    <a:cubicBezTo>
                      <a:pt x="558261" y="405547"/>
                      <a:pt x="558174" y="405460"/>
                      <a:pt x="558085" y="405376"/>
                    </a:cubicBezTo>
                    <a:moveTo>
                      <a:pt x="595142" y="372612"/>
                    </a:moveTo>
                    <a:cubicBezTo>
                      <a:pt x="592433" y="369418"/>
                      <a:pt x="587647" y="369025"/>
                      <a:pt x="584454" y="371733"/>
                    </a:cubicBezTo>
                    <a:cubicBezTo>
                      <a:pt x="584391" y="371786"/>
                      <a:pt x="584330" y="371840"/>
                      <a:pt x="584268" y="371896"/>
                    </a:cubicBezTo>
                    <a:cubicBezTo>
                      <a:pt x="581361" y="374938"/>
                      <a:pt x="581361" y="379728"/>
                      <a:pt x="584268" y="382770"/>
                    </a:cubicBezTo>
                    <a:cubicBezTo>
                      <a:pt x="587307" y="385764"/>
                      <a:pt x="592199" y="385730"/>
                      <a:pt x="595195" y="382690"/>
                    </a:cubicBezTo>
                    <a:cubicBezTo>
                      <a:pt x="597884" y="379960"/>
                      <a:pt x="598166" y="375670"/>
                      <a:pt x="595857" y="372612"/>
                    </a:cubicBezTo>
                    <a:moveTo>
                      <a:pt x="632770" y="339847"/>
                    </a:moveTo>
                    <a:cubicBezTo>
                      <a:pt x="630272" y="336889"/>
                      <a:pt x="625848" y="336517"/>
                      <a:pt x="622891" y="339015"/>
                    </a:cubicBezTo>
                    <a:cubicBezTo>
                      <a:pt x="622845" y="339053"/>
                      <a:pt x="622799" y="339092"/>
                      <a:pt x="622755" y="339132"/>
                    </a:cubicBezTo>
                    <a:cubicBezTo>
                      <a:pt x="620028" y="341913"/>
                      <a:pt x="620028" y="346366"/>
                      <a:pt x="622755" y="349147"/>
                    </a:cubicBezTo>
                    <a:cubicBezTo>
                      <a:pt x="625465" y="351913"/>
                      <a:pt x="629903" y="351959"/>
                      <a:pt x="632669" y="349249"/>
                    </a:cubicBezTo>
                    <a:cubicBezTo>
                      <a:pt x="632703" y="349215"/>
                      <a:pt x="632737" y="349182"/>
                      <a:pt x="632770" y="349147"/>
                    </a:cubicBezTo>
                    <a:cubicBezTo>
                      <a:pt x="635497" y="346366"/>
                      <a:pt x="635497" y="341913"/>
                      <a:pt x="632770" y="339132"/>
                    </a:cubicBezTo>
                    <a:moveTo>
                      <a:pt x="669684" y="306368"/>
                    </a:moveTo>
                    <a:cubicBezTo>
                      <a:pt x="667184" y="303840"/>
                      <a:pt x="663106" y="303817"/>
                      <a:pt x="660578" y="306316"/>
                    </a:cubicBezTo>
                    <a:cubicBezTo>
                      <a:pt x="660561" y="306334"/>
                      <a:pt x="660544" y="306351"/>
                      <a:pt x="660527" y="306368"/>
                    </a:cubicBezTo>
                    <a:cubicBezTo>
                      <a:pt x="657916" y="308896"/>
                      <a:pt x="657849" y="313062"/>
                      <a:pt x="660377" y="315675"/>
                    </a:cubicBezTo>
                    <a:cubicBezTo>
                      <a:pt x="662906" y="318286"/>
                      <a:pt x="667073" y="318352"/>
                      <a:pt x="669684" y="315824"/>
                    </a:cubicBezTo>
                    <a:cubicBezTo>
                      <a:pt x="672295" y="313296"/>
                      <a:pt x="672362" y="309129"/>
                      <a:pt x="669834" y="306518"/>
                    </a:cubicBezTo>
                    <a:cubicBezTo>
                      <a:pt x="669784" y="306467"/>
                      <a:pt x="669734" y="306417"/>
                      <a:pt x="669684" y="306368"/>
                    </a:cubicBezTo>
                    <a:moveTo>
                      <a:pt x="706740" y="273604"/>
                    </a:moveTo>
                    <a:cubicBezTo>
                      <a:pt x="704448" y="271313"/>
                      <a:pt x="700734" y="271315"/>
                      <a:pt x="698445" y="273607"/>
                    </a:cubicBezTo>
                    <a:cubicBezTo>
                      <a:pt x="696154" y="275897"/>
                      <a:pt x="696155" y="279611"/>
                      <a:pt x="698446" y="281902"/>
                    </a:cubicBezTo>
                    <a:cubicBezTo>
                      <a:pt x="700737" y="284191"/>
                      <a:pt x="704449" y="284191"/>
                      <a:pt x="706740" y="281902"/>
                    </a:cubicBezTo>
                    <a:cubicBezTo>
                      <a:pt x="709032" y="279611"/>
                      <a:pt x="709032" y="275897"/>
                      <a:pt x="706743" y="273607"/>
                    </a:cubicBezTo>
                    <a:cubicBezTo>
                      <a:pt x="706741" y="273605"/>
                      <a:pt x="706741" y="273605"/>
                      <a:pt x="706740" y="273604"/>
                    </a:cubicBezTo>
                    <a:moveTo>
                      <a:pt x="742509" y="242127"/>
                    </a:moveTo>
                    <a:cubicBezTo>
                      <a:pt x="740782" y="239768"/>
                      <a:pt x="737468" y="239257"/>
                      <a:pt x="735110" y="240984"/>
                    </a:cubicBezTo>
                    <a:cubicBezTo>
                      <a:pt x="732751" y="242711"/>
                      <a:pt x="732239" y="246023"/>
                      <a:pt x="733967" y="248383"/>
                    </a:cubicBezTo>
                    <a:cubicBezTo>
                      <a:pt x="734166" y="248656"/>
                      <a:pt x="734392" y="248908"/>
                      <a:pt x="734640" y="249138"/>
                    </a:cubicBezTo>
                    <a:cubicBezTo>
                      <a:pt x="736701" y="251174"/>
                      <a:pt x="740018" y="251174"/>
                      <a:pt x="742080" y="249138"/>
                    </a:cubicBezTo>
                    <a:cubicBezTo>
                      <a:pt x="744115" y="247076"/>
                      <a:pt x="744115" y="243760"/>
                      <a:pt x="742080" y="241698"/>
                    </a:cubicBezTo>
                    <a:moveTo>
                      <a:pt x="779851" y="209792"/>
                    </a:moveTo>
                    <a:cubicBezTo>
                      <a:pt x="778093" y="207975"/>
                      <a:pt x="775194" y="207927"/>
                      <a:pt x="773377" y="209685"/>
                    </a:cubicBezTo>
                    <a:cubicBezTo>
                      <a:pt x="773341" y="209719"/>
                      <a:pt x="773306" y="209757"/>
                      <a:pt x="773270" y="209792"/>
                    </a:cubicBezTo>
                    <a:cubicBezTo>
                      <a:pt x="771489" y="211625"/>
                      <a:pt x="771489" y="214541"/>
                      <a:pt x="773270" y="216374"/>
                    </a:cubicBezTo>
                    <a:cubicBezTo>
                      <a:pt x="775028" y="218191"/>
                      <a:pt x="777927" y="218240"/>
                      <a:pt x="779744" y="216481"/>
                    </a:cubicBezTo>
                    <a:cubicBezTo>
                      <a:pt x="779780" y="216445"/>
                      <a:pt x="779815" y="216410"/>
                      <a:pt x="779851" y="216374"/>
                    </a:cubicBezTo>
                    <a:cubicBezTo>
                      <a:pt x="781633" y="214541"/>
                      <a:pt x="781633" y="211625"/>
                      <a:pt x="779851" y="209792"/>
                    </a:cubicBezTo>
                    <a:moveTo>
                      <a:pt x="816908" y="177028"/>
                    </a:moveTo>
                    <a:cubicBezTo>
                      <a:pt x="815360" y="175447"/>
                      <a:pt x="812823" y="175422"/>
                      <a:pt x="811242" y="176971"/>
                    </a:cubicBezTo>
                    <a:cubicBezTo>
                      <a:pt x="811223" y="176990"/>
                      <a:pt x="811203" y="177008"/>
                      <a:pt x="811185" y="177028"/>
                    </a:cubicBezTo>
                    <a:cubicBezTo>
                      <a:pt x="809604" y="178576"/>
                      <a:pt x="809578" y="181113"/>
                      <a:pt x="811127" y="182694"/>
                    </a:cubicBezTo>
                    <a:cubicBezTo>
                      <a:pt x="811146" y="182713"/>
                      <a:pt x="811165" y="182733"/>
                      <a:pt x="811185" y="182751"/>
                    </a:cubicBezTo>
                    <a:cubicBezTo>
                      <a:pt x="812733" y="184332"/>
                      <a:pt x="815269" y="184358"/>
                      <a:pt x="816850" y="182808"/>
                    </a:cubicBezTo>
                    <a:cubicBezTo>
                      <a:pt x="816869" y="182790"/>
                      <a:pt x="816889" y="182771"/>
                      <a:pt x="816908" y="182751"/>
                    </a:cubicBezTo>
                    <a:cubicBezTo>
                      <a:pt x="818489" y="181203"/>
                      <a:pt x="818514" y="178666"/>
                      <a:pt x="816965" y="177085"/>
                    </a:cubicBezTo>
                    <a:cubicBezTo>
                      <a:pt x="816946" y="177067"/>
                      <a:pt x="816928" y="177047"/>
                      <a:pt x="816908" y="177028"/>
                    </a:cubicBezTo>
                    <a:moveTo>
                      <a:pt x="853821" y="144264"/>
                    </a:moveTo>
                    <a:cubicBezTo>
                      <a:pt x="852477" y="142925"/>
                      <a:pt x="850303" y="142929"/>
                      <a:pt x="848965" y="144273"/>
                    </a:cubicBezTo>
                    <a:cubicBezTo>
                      <a:pt x="847626" y="145616"/>
                      <a:pt x="847630" y="147790"/>
                      <a:pt x="848974" y="149129"/>
                    </a:cubicBezTo>
                    <a:cubicBezTo>
                      <a:pt x="850313" y="150464"/>
                      <a:pt x="852480" y="150464"/>
                      <a:pt x="853821" y="149129"/>
                    </a:cubicBezTo>
                    <a:cubicBezTo>
                      <a:pt x="855164" y="147790"/>
                      <a:pt x="855169" y="145616"/>
                      <a:pt x="853830" y="144273"/>
                    </a:cubicBezTo>
                    <a:cubicBezTo>
                      <a:pt x="853827" y="144270"/>
                      <a:pt x="853824" y="144267"/>
                      <a:pt x="853821" y="144264"/>
                    </a:cubicBezTo>
                    <a:moveTo>
                      <a:pt x="890734" y="111500"/>
                    </a:moveTo>
                    <a:cubicBezTo>
                      <a:pt x="889621" y="110410"/>
                      <a:pt x="887841" y="110410"/>
                      <a:pt x="886728" y="111500"/>
                    </a:cubicBezTo>
                    <a:cubicBezTo>
                      <a:pt x="885688" y="112688"/>
                      <a:pt x="885688" y="114462"/>
                      <a:pt x="886728" y="115649"/>
                    </a:cubicBezTo>
                    <a:cubicBezTo>
                      <a:pt x="887888" y="116758"/>
                      <a:pt x="889717" y="116758"/>
                      <a:pt x="890877" y="115649"/>
                    </a:cubicBezTo>
                    <a:cubicBezTo>
                      <a:pt x="891983" y="114635"/>
                      <a:pt x="892058" y="112915"/>
                      <a:pt x="891043" y="111808"/>
                    </a:cubicBezTo>
                    <a:cubicBezTo>
                      <a:pt x="890990" y="111750"/>
                      <a:pt x="890935" y="111696"/>
                      <a:pt x="890877" y="111643"/>
                    </a:cubicBezTo>
                    <a:moveTo>
                      <a:pt x="500283" y="415105"/>
                    </a:moveTo>
                    <a:cubicBezTo>
                      <a:pt x="497113" y="411473"/>
                      <a:pt x="491600" y="411100"/>
                      <a:pt x="487969" y="414271"/>
                    </a:cubicBezTo>
                    <a:cubicBezTo>
                      <a:pt x="487924" y="414309"/>
                      <a:pt x="487880" y="414349"/>
                      <a:pt x="487836" y="414389"/>
                    </a:cubicBezTo>
                    <a:cubicBezTo>
                      <a:pt x="484124" y="417587"/>
                      <a:pt x="483709" y="423188"/>
                      <a:pt x="486907" y="426900"/>
                    </a:cubicBezTo>
                    <a:cubicBezTo>
                      <a:pt x="486930" y="426927"/>
                      <a:pt x="486954" y="426953"/>
                      <a:pt x="486977" y="426980"/>
                    </a:cubicBezTo>
                    <a:cubicBezTo>
                      <a:pt x="490478" y="430397"/>
                      <a:pt x="496067" y="430397"/>
                      <a:pt x="499568" y="426980"/>
                    </a:cubicBezTo>
                    <a:cubicBezTo>
                      <a:pt x="503044" y="423529"/>
                      <a:pt x="503064" y="417912"/>
                      <a:pt x="499613" y="414435"/>
                    </a:cubicBezTo>
                    <a:cubicBezTo>
                      <a:pt x="499598" y="414419"/>
                      <a:pt x="499583" y="414405"/>
                      <a:pt x="499568" y="414389"/>
                    </a:cubicBezTo>
                    <a:moveTo>
                      <a:pt x="536624" y="381625"/>
                    </a:moveTo>
                    <a:cubicBezTo>
                      <a:pt x="533385" y="378383"/>
                      <a:pt x="528130" y="378382"/>
                      <a:pt x="524889" y="381622"/>
                    </a:cubicBezTo>
                    <a:cubicBezTo>
                      <a:pt x="521647" y="384862"/>
                      <a:pt x="521646" y="390115"/>
                      <a:pt x="524885" y="393357"/>
                    </a:cubicBezTo>
                    <a:cubicBezTo>
                      <a:pt x="528124" y="396599"/>
                      <a:pt x="533379" y="396601"/>
                      <a:pt x="536621" y="393360"/>
                    </a:cubicBezTo>
                    <a:cubicBezTo>
                      <a:pt x="536621" y="393360"/>
                      <a:pt x="536623" y="393359"/>
                      <a:pt x="536624" y="393357"/>
                    </a:cubicBezTo>
                    <a:cubicBezTo>
                      <a:pt x="539862" y="390117"/>
                      <a:pt x="539862" y="384866"/>
                      <a:pt x="536624" y="381625"/>
                    </a:cubicBezTo>
                    <a:moveTo>
                      <a:pt x="573537" y="348861"/>
                    </a:moveTo>
                    <a:cubicBezTo>
                      <a:pt x="570526" y="345879"/>
                      <a:pt x="565675" y="345879"/>
                      <a:pt x="562664" y="348861"/>
                    </a:cubicBezTo>
                    <a:cubicBezTo>
                      <a:pt x="559701" y="351820"/>
                      <a:pt x="559698" y="356621"/>
                      <a:pt x="562657" y="359585"/>
                    </a:cubicBezTo>
                    <a:cubicBezTo>
                      <a:pt x="562659" y="359587"/>
                      <a:pt x="562661" y="359589"/>
                      <a:pt x="562664" y="359592"/>
                    </a:cubicBezTo>
                    <a:cubicBezTo>
                      <a:pt x="565299" y="362744"/>
                      <a:pt x="569992" y="363163"/>
                      <a:pt x="573144" y="360526"/>
                    </a:cubicBezTo>
                    <a:cubicBezTo>
                      <a:pt x="573228" y="360454"/>
                      <a:pt x="573313" y="360381"/>
                      <a:pt x="573394" y="360307"/>
                    </a:cubicBezTo>
                    <a:cubicBezTo>
                      <a:pt x="576588" y="357599"/>
                      <a:pt x="576981" y="352813"/>
                      <a:pt x="574273" y="349619"/>
                    </a:cubicBezTo>
                    <a:cubicBezTo>
                      <a:pt x="574220" y="349556"/>
                      <a:pt x="574165" y="349495"/>
                      <a:pt x="574110" y="349433"/>
                    </a:cubicBezTo>
                    <a:moveTo>
                      <a:pt x="611023" y="316669"/>
                    </a:moveTo>
                    <a:cubicBezTo>
                      <a:pt x="608257" y="313848"/>
                      <a:pt x="603728" y="313802"/>
                      <a:pt x="600906" y="316568"/>
                    </a:cubicBezTo>
                    <a:cubicBezTo>
                      <a:pt x="598085" y="319333"/>
                      <a:pt x="598040" y="323863"/>
                      <a:pt x="600806" y="326684"/>
                    </a:cubicBezTo>
                    <a:cubicBezTo>
                      <a:pt x="603572" y="329506"/>
                      <a:pt x="608100" y="329552"/>
                      <a:pt x="610921" y="326786"/>
                    </a:cubicBezTo>
                    <a:cubicBezTo>
                      <a:pt x="610956" y="326752"/>
                      <a:pt x="610990" y="326719"/>
                      <a:pt x="611023" y="326684"/>
                    </a:cubicBezTo>
                    <a:cubicBezTo>
                      <a:pt x="613789" y="323975"/>
                      <a:pt x="613834" y="319536"/>
                      <a:pt x="611125" y="316771"/>
                    </a:cubicBezTo>
                    <a:cubicBezTo>
                      <a:pt x="611090" y="316737"/>
                      <a:pt x="611057" y="316702"/>
                      <a:pt x="611023" y="316669"/>
                    </a:cubicBezTo>
                    <a:moveTo>
                      <a:pt x="648079" y="283905"/>
                    </a:moveTo>
                    <a:cubicBezTo>
                      <a:pt x="645498" y="281506"/>
                      <a:pt x="641504" y="281506"/>
                      <a:pt x="638923" y="283905"/>
                    </a:cubicBezTo>
                    <a:cubicBezTo>
                      <a:pt x="636236" y="286276"/>
                      <a:pt x="635979" y="290375"/>
                      <a:pt x="638350" y="293062"/>
                    </a:cubicBezTo>
                    <a:cubicBezTo>
                      <a:pt x="640721" y="295749"/>
                      <a:pt x="644820" y="296005"/>
                      <a:pt x="647507" y="293634"/>
                    </a:cubicBezTo>
                    <a:cubicBezTo>
                      <a:pt x="649978" y="291082"/>
                      <a:pt x="649978" y="287030"/>
                      <a:pt x="647507" y="284477"/>
                    </a:cubicBezTo>
                    <a:moveTo>
                      <a:pt x="685279" y="251284"/>
                    </a:moveTo>
                    <a:cubicBezTo>
                      <a:pt x="683105" y="248835"/>
                      <a:pt x="679358" y="248610"/>
                      <a:pt x="676909" y="250783"/>
                    </a:cubicBezTo>
                    <a:cubicBezTo>
                      <a:pt x="674459" y="252957"/>
                      <a:pt x="674235" y="256704"/>
                      <a:pt x="676408" y="259153"/>
                    </a:cubicBezTo>
                    <a:cubicBezTo>
                      <a:pt x="678749" y="261462"/>
                      <a:pt x="682509" y="261462"/>
                      <a:pt x="684850" y="259153"/>
                    </a:cubicBezTo>
                    <a:cubicBezTo>
                      <a:pt x="687142" y="256863"/>
                      <a:pt x="687142" y="253148"/>
                      <a:pt x="684852" y="250858"/>
                    </a:cubicBezTo>
                    <a:cubicBezTo>
                      <a:pt x="684851" y="250856"/>
                      <a:pt x="684851" y="250856"/>
                      <a:pt x="684850" y="250855"/>
                    </a:cubicBezTo>
                    <a:moveTo>
                      <a:pt x="721763" y="218091"/>
                    </a:moveTo>
                    <a:cubicBezTo>
                      <a:pt x="720036" y="215731"/>
                      <a:pt x="716722" y="215221"/>
                      <a:pt x="714365" y="216948"/>
                    </a:cubicBezTo>
                    <a:cubicBezTo>
                      <a:pt x="712005" y="218674"/>
                      <a:pt x="711493" y="221987"/>
                      <a:pt x="713221" y="224346"/>
                    </a:cubicBezTo>
                    <a:cubicBezTo>
                      <a:pt x="713420" y="224619"/>
                      <a:pt x="713646" y="224871"/>
                      <a:pt x="713894" y="225101"/>
                    </a:cubicBezTo>
                    <a:cubicBezTo>
                      <a:pt x="715621" y="227461"/>
                      <a:pt x="718934" y="227971"/>
                      <a:pt x="721292" y="226245"/>
                    </a:cubicBezTo>
                    <a:cubicBezTo>
                      <a:pt x="723651" y="224518"/>
                      <a:pt x="724164" y="221205"/>
                      <a:pt x="722435" y="218846"/>
                    </a:cubicBezTo>
                    <a:cubicBezTo>
                      <a:pt x="722236" y="218573"/>
                      <a:pt x="722010" y="218321"/>
                      <a:pt x="721763" y="218091"/>
                    </a:cubicBezTo>
                    <a:moveTo>
                      <a:pt x="758819" y="185327"/>
                    </a:moveTo>
                    <a:cubicBezTo>
                      <a:pt x="756986" y="183545"/>
                      <a:pt x="754071" y="183545"/>
                      <a:pt x="752238" y="185327"/>
                    </a:cubicBezTo>
                    <a:cubicBezTo>
                      <a:pt x="750421" y="187085"/>
                      <a:pt x="750372" y="189984"/>
                      <a:pt x="752131" y="191801"/>
                    </a:cubicBezTo>
                    <a:cubicBezTo>
                      <a:pt x="752165" y="191837"/>
                      <a:pt x="752202" y="191872"/>
                      <a:pt x="752238" y="191908"/>
                    </a:cubicBezTo>
                    <a:cubicBezTo>
                      <a:pt x="754071" y="193689"/>
                      <a:pt x="756986" y="193689"/>
                      <a:pt x="758819" y="191908"/>
                    </a:cubicBezTo>
                    <a:cubicBezTo>
                      <a:pt x="760618" y="190028"/>
                      <a:pt x="760618" y="187064"/>
                      <a:pt x="758819" y="185184"/>
                    </a:cubicBezTo>
                    <a:moveTo>
                      <a:pt x="796019" y="152562"/>
                    </a:moveTo>
                    <a:cubicBezTo>
                      <a:pt x="794557" y="150864"/>
                      <a:pt x="791994" y="150671"/>
                      <a:pt x="790296" y="152133"/>
                    </a:cubicBezTo>
                    <a:cubicBezTo>
                      <a:pt x="788597" y="153595"/>
                      <a:pt x="788404" y="156158"/>
                      <a:pt x="789866" y="157856"/>
                    </a:cubicBezTo>
                    <a:cubicBezTo>
                      <a:pt x="791516" y="159401"/>
                      <a:pt x="794083" y="159401"/>
                      <a:pt x="795733" y="157856"/>
                    </a:cubicBezTo>
                    <a:cubicBezTo>
                      <a:pt x="797313" y="156308"/>
                      <a:pt x="797339" y="153771"/>
                      <a:pt x="795790" y="152190"/>
                    </a:cubicBezTo>
                    <a:cubicBezTo>
                      <a:pt x="795771" y="152172"/>
                      <a:pt x="795753" y="152152"/>
                      <a:pt x="795733" y="152133"/>
                    </a:cubicBezTo>
                    <a:moveTo>
                      <a:pt x="832646" y="119369"/>
                    </a:moveTo>
                    <a:cubicBezTo>
                      <a:pt x="831302" y="118030"/>
                      <a:pt x="829129" y="118034"/>
                      <a:pt x="827790" y="119378"/>
                    </a:cubicBezTo>
                    <a:cubicBezTo>
                      <a:pt x="826451" y="120721"/>
                      <a:pt x="826455" y="122894"/>
                      <a:pt x="827798" y="124234"/>
                    </a:cubicBezTo>
                    <a:cubicBezTo>
                      <a:pt x="829138" y="125569"/>
                      <a:pt x="831305" y="125569"/>
                      <a:pt x="832646" y="124234"/>
                    </a:cubicBezTo>
                    <a:cubicBezTo>
                      <a:pt x="833989" y="122894"/>
                      <a:pt x="833994" y="120721"/>
                      <a:pt x="832654" y="119378"/>
                    </a:cubicBezTo>
                    <a:cubicBezTo>
                      <a:pt x="832652" y="119375"/>
                      <a:pt x="832649" y="119372"/>
                      <a:pt x="832646" y="119369"/>
                    </a:cubicBezTo>
                    <a:moveTo>
                      <a:pt x="869702" y="86605"/>
                    </a:moveTo>
                    <a:cubicBezTo>
                      <a:pt x="868542" y="85496"/>
                      <a:pt x="866713" y="85496"/>
                      <a:pt x="865553" y="86605"/>
                    </a:cubicBezTo>
                    <a:cubicBezTo>
                      <a:pt x="864368" y="87672"/>
                      <a:pt x="864271" y="89498"/>
                      <a:pt x="865338" y="90683"/>
                    </a:cubicBezTo>
                    <a:cubicBezTo>
                      <a:pt x="866406" y="91867"/>
                      <a:pt x="868231" y="91965"/>
                      <a:pt x="869416" y="90897"/>
                    </a:cubicBezTo>
                    <a:cubicBezTo>
                      <a:pt x="870506" y="89784"/>
                      <a:pt x="870506" y="88004"/>
                      <a:pt x="869416" y="86891"/>
                    </a:cubicBezTo>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18" name="Freeform: Shape 817">
                <a:extLst>
                  <a:ext uri="{FF2B5EF4-FFF2-40B4-BE49-F238E27FC236}">
                    <a16:creationId xmlns:a16="http://schemas.microsoft.com/office/drawing/2014/main" id="{F57AEFBC-D762-4E66-A19C-3047773B3EA8}"/>
                  </a:ext>
                </a:extLst>
              </p:cNvPr>
              <p:cNvSpPr/>
              <p:nvPr/>
            </p:nvSpPr>
            <p:spPr>
              <a:xfrm rot="8043926">
                <a:off x="7720650" y="4421757"/>
                <a:ext cx="1106638" cy="1006035"/>
              </a:xfrm>
              <a:custGeom>
                <a:avLst/>
                <a:gdLst>
                  <a:gd name="connsiteX0" fmla="*/ 412818 w 786911"/>
                  <a:gd name="connsiteY0" fmla="*/ 383011 h 715374"/>
                  <a:gd name="connsiteX1" fmla="*/ 412818 w 786911"/>
                  <a:gd name="connsiteY1" fmla="*/ 394457 h 715374"/>
                  <a:gd name="connsiteX2" fmla="*/ 401515 w 786911"/>
                  <a:gd name="connsiteY2" fmla="*/ 394457 h 715374"/>
                  <a:gd name="connsiteX3" fmla="*/ 401515 w 786911"/>
                  <a:gd name="connsiteY3" fmla="*/ 383154 h 715374"/>
                  <a:gd name="connsiteX4" fmla="*/ 412961 w 786911"/>
                  <a:gd name="connsiteY4" fmla="*/ 383154 h 715374"/>
                  <a:gd name="connsiteX5" fmla="*/ 445439 w 786911"/>
                  <a:gd name="connsiteY5" fmla="*/ 352679 h 715374"/>
                  <a:gd name="connsiteX6" fmla="*/ 434918 w 786911"/>
                  <a:gd name="connsiteY6" fmla="*/ 352745 h 715374"/>
                  <a:gd name="connsiteX7" fmla="*/ 434984 w 786911"/>
                  <a:gd name="connsiteY7" fmla="*/ 363267 h 715374"/>
                  <a:gd name="connsiteX8" fmla="*/ 445439 w 786911"/>
                  <a:gd name="connsiteY8" fmla="*/ 363267 h 715374"/>
                  <a:gd name="connsiteX9" fmla="*/ 445505 w 786911"/>
                  <a:gd name="connsiteY9" fmla="*/ 352745 h 715374"/>
                  <a:gd name="connsiteX10" fmla="*/ 445439 w 786911"/>
                  <a:gd name="connsiteY10" fmla="*/ 352679 h 715374"/>
                  <a:gd name="connsiteX11" fmla="*/ 477917 w 786911"/>
                  <a:gd name="connsiteY11" fmla="*/ 322205 h 715374"/>
                  <a:gd name="connsiteX12" fmla="*/ 468019 w 786911"/>
                  <a:gd name="connsiteY12" fmla="*/ 322788 h 715374"/>
                  <a:gd name="connsiteX13" fmla="*/ 467759 w 786911"/>
                  <a:gd name="connsiteY13" fmla="*/ 331791 h 715374"/>
                  <a:gd name="connsiteX14" fmla="*/ 477631 w 786911"/>
                  <a:gd name="connsiteY14" fmla="*/ 331791 h 715374"/>
                  <a:gd name="connsiteX15" fmla="*/ 477793 w 786911"/>
                  <a:gd name="connsiteY15" fmla="*/ 322080 h 715374"/>
                  <a:gd name="connsiteX16" fmla="*/ 477631 w 786911"/>
                  <a:gd name="connsiteY16" fmla="*/ 321918 h 715374"/>
                  <a:gd name="connsiteX17" fmla="*/ 510252 w 786911"/>
                  <a:gd name="connsiteY17" fmla="*/ 291587 h 715374"/>
                  <a:gd name="connsiteX18" fmla="*/ 501147 w 786911"/>
                  <a:gd name="connsiteY18" fmla="*/ 291495 h 715374"/>
                  <a:gd name="connsiteX19" fmla="*/ 501057 w 786911"/>
                  <a:gd name="connsiteY19" fmla="*/ 300600 h 715374"/>
                  <a:gd name="connsiteX20" fmla="*/ 510161 w 786911"/>
                  <a:gd name="connsiteY20" fmla="*/ 300692 h 715374"/>
                  <a:gd name="connsiteX21" fmla="*/ 510252 w 786911"/>
                  <a:gd name="connsiteY21" fmla="*/ 300600 h 715374"/>
                  <a:gd name="connsiteX22" fmla="*/ 510364 w 786911"/>
                  <a:gd name="connsiteY22" fmla="*/ 291698 h 715374"/>
                  <a:gd name="connsiteX23" fmla="*/ 510252 w 786911"/>
                  <a:gd name="connsiteY23" fmla="*/ 291587 h 715374"/>
                  <a:gd name="connsiteX24" fmla="*/ 542873 w 786911"/>
                  <a:gd name="connsiteY24" fmla="*/ 261112 h 715374"/>
                  <a:gd name="connsiteX25" fmla="*/ 534575 w 786911"/>
                  <a:gd name="connsiteY25" fmla="*/ 261112 h 715374"/>
                  <a:gd name="connsiteX26" fmla="*/ 534289 w 786911"/>
                  <a:gd name="connsiteY26" fmla="*/ 269410 h 715374"/>
                  <a:gd name="connsiteX27" fmla="*/ 542587 w 786911"/>
                  <a:gd name="connsiteY27" fmla="*/ 269696 h 715374"/>
                  <a:gd name="connsiteX28" fmla="*/ 542587 w 786911"/>
                  <a:gd name="connsiteY28" fmla="*/ 261398 h 715374"/>
                  <a:gd name="connsiteX29" fmla="*/ 575065 w 786911"/>
                  <a:gd name="connsiteY29" fmla="*/ 230923 h 715374"/>
                  <a:gd name="connsiteX30" fmla="*/ 567625 w 786911"/>
                  <a:gd name="connsiteY30" fmla="*/ 230923 h 715374"/>
                  <a:gd name="connsiteX31" fmla="*/ 567625 w 786911"/>
                  <a:gd name="connsiteY31" fmla="*/ 238506 h 715374"/>
                  <a:gd name="connsiteX32" fmla="*/ 575065 w 786911"/>
                  <a:gd name="connsiteY32" fmla="*/ 238506 h 715374"/>
                  <a:gd name="connsiteX33" fmla="*/ 575065 w 786911"/>
                  <a:gd name="connsiteY33" fmla="*/ 230923 h 715374"/>
                  <a:gd name="connsiteX34" fmla="*/ 607543 w 786911"/>
                  <a:gd name="connsiteY34" fmla="*/ 200162 h 715374"/>
                  <a:gd name="connsiteX35" fmla="*/ 600819 w 786911"/>
                  <a:gd name="connsiteY35" fmla="*/ 200019 h 715374"/>
                  <a:gd name="connsiteX36" fmla="*/ 600676 w 786911"/>
                  <a:gd name="connsiteY36" fmla="*/ 206743 h 715374"/>
                  <a:gd name="connsiteX37" fmla="*/ 607400 w 786911"/>
                  <a:gd name="connsiteY37" fmla="*/ 206886 h 715374"/>
                  <a:gd name="connsiteX38" fmla="*/ 607543 w 786911"/>
                  <a:gd name="connsiteY38" fmla="*/ 200162 h 715374"/>
                  <a:gd name="connsiteX39" fmla="*/ 640164 w 786911"/>
                  <a:gd name="connsiteY39" fmla="*/ 169687 h 715374"/>
                  <a:gd name="connsiteX40" fmla="*/ 634298 w 786911"/>
                  <a:gd name="connsiteY40" fmla="*/ 169544 h 715374"/>
                  <a:gd name="connsiteX41" fmla="*/ 634155 w 786911"/>
                  <a:gd name="connsiteY41" fmla="*/ 169687 h 715374"/>
                  <a:gd name="connsiteX42" fmla="*/ 633951 w 786911"/>
                  <a:gd name="connsiteY42" fmla="*/ 175348 h 715374"/>
                  <a:gd name="connsiteX43" fmla="*/ 634155 w 786911"/>
                  <a:gd name="connsiteY43" fmla="*/ 175553 h 715374"/>
                  <a:gd name="connsiteX44" fmla="*/ 640021 w 786911"/>
                  <a:gd name="connsiteY44" fmla="*/ 175553 h 715374"/>
                  <a:gd name="connsiteX45" fmla="*/ 640021 w 786911"/>
                  <a:gd name="connsiteY45" fmla="*/ 169544 h 715374"/>
                  <a:gd name="connsiteX46" fmla="*/ 672499 w 786911"/>
                  <a:gd name="connsiteY46" fmla="*/ 139069 h 715374"/>
                  <a:gd name="connsiteX47" fmla="*/ 667253 w 786911"/>
                  <a:gd name="connsiteY47" fmla="*/ 139452 h 715374"/>
                  <a:gd name="connsiteX48" fmla="*/ 667062 w 786911"/>
                  <a:gd name="connsiteY48" fmla="*/ 144076 h 715374"/>
                  <a:gd name="connsiteX49" fmla="*/ 672356 w 786911"/>
                  <a:gd name="connsiteY49" fmla="*/ 144076 h 715374"/>
                  <a:gd name="connsiteX50" fmla="*/ 672449 w 786911"/>
                  <a:gd name="connsiteY50" fmla="*/ 139019 h 715374"/>
                  <a:gd name="connsiteX51" fmla="*/ 672356 w 786911"/>
                  <a:gd name="connsiteY51" fmla="*/ 138926 h 715374"/>
                  <a:gd name="connsiteX52" fmla="*/ 704834 w 786911"/>
                  <a:gd name="connsiteY52" fmla="*/ 108451 h 715374"/>
                  <a:gd name="connsiteX53" fmla="*/ 700383 w 786911"/>
                  <a:gd name="connsiteY53" fmla="*/ 108435 h 715374"/>
                  <a:gd name="connsiteX54" fmla="*/ 700367 w 786911"/>
                  <a:gd name="connsiteY54" fmla="*/ 112886 h 715374"/>
                  <a:gd name="connsiteX55" fmla="*/ 704818 w 786911"/>
                  <a:gd name="connsiteY55" fmla="*/ 112902 h 715374"/>
                  <a:gd name="connsiteX56" fmla="*/ 704834 w 786911"/>
                  <a:gd name="connsiteY56" fmla="*/ 112886 h 715374"/>
                  <a:gd name="connsiteX57" fmla="*/ 704834 w 786911"/>
                  <a:gd name="connsiteY57" fmla="*/ 108451 h 715374"/>
                  <a:gd name="connsiteX58" fmla="*/ 737312 w 786911"/>
                  <a:gd name="connsiteY58" fmla="*/ 77976 h 715374"/>
                  <a:gd name="connsiteX59" fmla="*/ 733735 w 786911"/>
                  <a:gd name="connsiteY59" fmla="*/ 77976 h 715374"/>
                  <a:gd name="connsiteX60" fmla="*/ 733664 w 786911"/>
                  <a:gd name="connsiteY60" fmla="*/ 81624 h 715374"/>
                  <a:gd name="connsiteX61" fmla="*/ 737312 w 786911"/>
                  <a:gd name="connsiteY61" fmla="*/ 81696 h 715374"/>
                  <a:gd name="connsiteX62" fmla="*/ 737452 w 786911"/>
                  <a:gd name="connsiteY62" fmla="*/ 78259 h 715374"/>
                  <a:gd name="connsiteX63" fmla="*/ 737312 w 786911"/>
                  <a:gd name="connsiteY63" fmla="*/ 78119 h 715374"/>
                  <a:gd name="connsiteX64" fmla="*/ 432133 w 786911"/>
                  <a:gd name="connsiteY64" fmla="*/ 403185 h 715374"/>
                  <a:gd name="connsiteX65" fmla="*/ 421546 w 786911"/>
                  <a:gd name="connsiteY65" fmla="*/ 403185 h 715374"/>
                  <a:gd name="connsiteX66" fmla="*/ 421546 w 786911"/>
                  <a:gd name="connsiteY66" fmla="*/ 414631 h 715374"/>
                  <a:gd name="connsiteX67" fmla="*/ 432992 w 786911"/>
                  <a:gd name="connsiteY67" fmla="*/ 414631 h 715374"/>
                  <a:gd name="connsiteX68" fmla="*/ 432992 w 786911"/>
                  <a:gd name="connsiteY68" fmla="*/ 403328 h 715374"/>
                  <a:gd name="connsiteX69" fmla="*/ 464468 w 786911"/>
                  <a:gd name="connsiteY69" fmla="*/ 373282 h 715374"/>
                  <a:gd name="connsiteX70" fmla="*/ 453947 w 786911"/>
                  <a:gd name="connsiteY70" fmla="*/ 373216 h 715374"/>
                  <a:gd name="connsiteX71" fmla="*/ 453881 w 786911"/>
                  <a:gd name="connsiteY71" fmla="*/ 373282 h 715374"/>
                  <a:gd name="connsiteX72" fmla="*/ 453755 w 786911"/>
                  <a:gd name="connsiteY72" fmla="*/ 383601 h 715374"/>
                  <a:gd name="connsiteX73" fmla="*/ 453881 w 786911"/>
                  <a:gd name="connsiteY73" fmla="*/ 383727 h 715374"/>
                  <a:gd name="connsiteX74" fmla="*/ 464403 w 786911"/>
                  <a:gd name="connsiteY74" fmla="*/ 383793 h 715374"/>
                  <a:gd name="connsiteX75" fmla="*/ 464468 w 786911"/>
                  <a:gd name="connsiteY75" fmla="*/ 383727 h 715374"/>
                  <a:gd name="connsiteX76" fmla="*/ 464468 w 786911"/>
                  <a:gd name="connsiteY76" fmla="*/ 373139 h 715374"/>
                  <a:gd name="connsiteX77" fmla="*/ 496946 w 786911"/>
                  <a:gd name="connsiteY77" fmla="*/ 342664 h 715374"/>
                  <a:gd name="connsiteX78" fmla="*/ 487236 w 786911"/>
                  <a:gd name="connsiteY78" fmla="*/ 342503 h 715374"/>
                  <a:gd name="connsiteX79" fmla="*/ 487074 w 786911"/>
                  <a:gd name="connsiteY79" fmla="*/ 342664 h 715374"/>
                  <a:gd name="connsiteX80" fmla="*/ 487074 w 786911"/>
                  <a:gd name="connsiteY80" fmla="*/ 352393 h 715374"/>
                  <a:gd name="connsiteX81" fmla="*/ 496785 w 786911"/>
                  <a:gd name="connsiteY81" fmla="*/ 352555 h 715374"/>
                  <a:gd name="connsiteX82" fmla="*/ 496946 w 786911"/>
                  <a:gd name="connsiteY82" fmla="*/ 352393 h 715374"/>
                  <a:gd name="connsiteX83" fmla="*/ 496946 w 786911"/>
                  <a:gd name="connsiteY83" fmla="*/ 342664 h 715374"/>
                  <a:gd name="connsiteX84" fmla="*/ 529424 w 786911"/>
                  <a:gd name="connsiteY84" fmla="*/ 312189 h 715374"/>
                  <a:gd name="connsiteX85" fmla="*/ 520319 w 786911"/>
                  <a:gd name="connsiteY85" fmla="*/ 312098 h 715374"/>
                  <a:gd name="connsiteX86" fmla="*/ 520229 w 786911"/>
                  <a:gd name="connsiteY86" fmla="*/ 321203 h 715374"/>
                  <a:gd name="connsiteX87" fmla="*/ 529333 w 786911"/>
                  <a:gd name="connsiteY87" fmla="*/ 321295 h 715374"/>
                  <a:gd name="connsiteX88" fmla="*/ 529424 w 786911"/>
                  <a:gd name="connsiteY88" fmla="*/ 321203 h 715374"/>
                  <a:gd name="connsiteX89" fmla="*/ 529536 w 786911"/>
                  <a:gd name="connsiteY89" fmla="*/ 312301 h 715374"/>
                  <a:gd name="connsiteX90" fmla="*/ 529424 w 786911"/>
                  <a:gd name="connsiteY90" fmla="*/ 312189 h 715374"/>
                  <a:gd name="connsiteX91" fmla="*/ 561902 w 786911"/>
                  <a:gd name="connsiteY91" fmla="*/ 281714 h 715374"/>
                  <a:gd name="connsiteX92" fmla="*/ 554016 w 786911"/>
                  <a:gd name="connsiteY92" fmla="*/ 281445 h 715374"/>
                  <a:gd name="connsiteX93" fmla="*/ 553747 w 786911"/>
                  <a:gd name="connsiteY93" fmla="*/ 281714 h 715374"/>
                  <a:gd name="connsiteX94" fmla="*/ 553540 w 786911"/>
                  <a:gd name="connsiteY94" fmla="*/ 289805 h 715374"/>
                  <a:gd name="connsiteX95" fmla="*/ 553747 w 786911"/>
                  <a:gd name="connsiteY95" fmla="*/ 290013 h 715374"/>
                  <a:gd name="connsiteX96" fmla="*/ 561902 w 786911"/>
                  <a:gd name="connsiteY96" fmla="*/ 290013 h 715374"/>
                  <a:gd name="connsiteX97" fmla="*/ 562110 w 786911"/>
                  <a:gd name="connsiteY97" fmla="*/ 281922 h 715374"/>
                  <a:gd name="connsiteX98" fmla="*/ 561902 w 786911"/>
                  <a:gd name="connsiteY98" fmla="*/ 281714 h 715374"/>
                  <a:gd name="connsiteX99" fmla="*/ 594523 w 786911"/>
                  <a:gd name="connsiteY99" fmla="*/ 251239 h 715374"/>
                  <a:gd name="connsiteX100" fmla="*/ 586940 w 786911"/>
                  <a:gd name="connsiteY100" fmla="*/ 251239 h 715374"/>
                  <a:gd name="connsiteX101" fmla="*/ 586940 w 786911"/>
                  <a:gd name="connsiteY101" fmla="*/ 258679 h 715374"/>
                  <a:gd name="connsiteX102" fmla="*/ 594523 w 786911"/>
                  <a:gd name="connsiteY102" fmla="*/ 258679 h 715374"/>
                  <a:gd name="connsiteX103" fmla="*/ 594523 w 786911"/>
                  <a:gd name="connsiteY103" fmla="*/ 251239 h 715374"/>
                  <a:gd name="connsiteX104" fmla="*/ 627001 w 786911"/>
                  <a:gd name="connsiteY104" fmla="*/ 220764 h 715374"/>
                  <a:gd name="connsiteX105" fmla="*/ 620324 w 786911"/>
                  <a:gd name="connsiteY105" fmla="*/ 220812 h 715374"/>
                  <a:gd name="connsiteX106" fmla="*/ 620371 w 786911"/>
                  <a:gd name="connsiteY106" fmla="*/ 227489 h 715374"/>
                  <a:gd name="connsiteX107" fmla="*/ 627001 w 786911"/>
                  <a:gd name="connsiteY107" fmla="*/ 227489 h 715374"/>
                  <a:gd name="connsiteX108" fmla="*/ 627049 w 786911"/>
                  <a:gd name="connsiteY108" fmla="*/ 220812 h 715374"/>
                  <a:gd name="connsiteX109" fmla="*/ 627001 w 786911"/>
                  <a:gd name="connsiteY109" fmla="*/ 220764 h 715374"/>
                  <a:gd name="connsiteX110" fmla="*/ 659479 w 786911"/>
                  <a:gd name="connsiteY110" fmla="*/ 190290 h 715374"/>
                  <a:gd name="connsiteX111" fmla="*/ 653470 w 786911"/>
                  <a:gd name="connsiteY111" fmla="*/ 190290 h 715374"/>
                  <a:gd name="connsiteX112" fmla="*/ 653470 w 786911"/>
                  <a:gd name="connsiteY112" fmla="*/ 196299 h 715374"/>
                  <a:gd name="connsiteX113" fmla="*/ 659479 w 786911"/>
                  <a:gd name="connsiteY113" fmla="*/ 196299 h 715374"/>
                  <a:gd name="connsiteX114" fmla="*/ 659479 w 786911"/>
                  <a:gd name="connsiteY114" fmla="*/ 190433 h 715374"/>
                  <a:gd name="connsiteX115" fmla="*/ 692243 w 786911"/>
                  <a:gd name="connsiteY115" fmla="*/ 159958 h 715374"/>
                  <a:gd name="connsiteX116" fmla="*/ 687186 w 786911"/>
                  <a:gd name="connsiteY116" fmla="*/ 159865 h 715374"/>
                  <a:gd name="connsiteX117" fmla="*/ 687093 w 786911"/>
                  <a:gd name="connsiteY117" fmla="*/ 159958 h 715374"/>
                  <a:gd name="connsiteX118" fmla="*/ 687093 w 786911"/>
                  <a:gd name="connsiteY118" fmla="*/ 165251 h 715374"/>
                  <a:gd name="connsiteX119" fmla="*/ 692150 w 786911"/>
                  <a:gd name="connsiteY119" fmla="*/ 165344 h 715374"/>
                  <a:gd name="connsiteX120" fmla="*/ 692243 w 786911"/>
                  <a:gd name="connsiteY120" fmla="*/ 165251 h 715374"/>
                  <a:gd name="connsiteX121" fmla="*/ 692336 w 786911"/>
                  <a:gd name="connsiteY121" fmla="*/ 160194 h 715374"/>
                  <a:gd name="connsiteX122" fmla="*/ 692243 w 786911"/>
                  <a:gd name="connsiteY122" fmla="*/ 160101 h 715374"/>
                  <a:gd name="connsiteX123" fmla="*/ 724864 w 786911"/>
                  <a:gd name="connsiteY123" fmla="*/ 129483 h 715374"/>
                  <a:gd name="connsiteX124" fmla="*/ 720429 w 786911"/>
                  <a:gd name="connsiteY124" fmla="*/ 129483 h 715374"/>
                  <a:gd name="connsiteX125" fmla="*/ 720176 w 786911"/>
                  <a:gd name="connsiteY125" fmla="*/ 133522 h 715374"/>
                  <a:gd name="connsiteX126" fmla="*/ 720429 w 786911"/>
                  <a:gd name="connsiteY126" fmla="*/ 133775 h 715374"/>
                  <a:gd name="connsiteX127" fmla="*/ 724674 w 786911"/>
                  <a:gd name="connsiteY127" fmla="*/ 133965 h 715374"/>
                  <a:gd name="connsiteX128" fmla="*/ 724864 w 786911"/>
                  <a:gd name="connsiteY128" fmla="*/ 133775 h 715374"/>
                  <a:gd name="connsiteX129" fmla="*/ 724864 w 786911"/>
                  <a:gd name="connsiteY129" fmla="*/ 129340 h 715374"/>
                  <a:gd name="connsiteX130" fmla="*/ 757343 w 786911"/>
                  <a:gd name="connsiteY130" fmla="*/ 98865 h 715374"/>
                  <a:gd name="connsiteX131" fmla="*/ 753623 w 786911"/>
                  <a:gd name="connsiteY131" fmla="*/ 98865 h 715374"/>
                  <a:gd name="connsiteX132" fmla="*/ 753551 w 786911"/>
                  <a:gd name="connsiteY132" fmla="*/ 102513 h 715374"/>
                  <a:gd name="connsiteX133" fmla="*/ 757199 w 786911"/>
                  <a:gd name="connsiteY133" fmla="*/ 102585 h 715374"/>
                  <a:gd name="connsiteX134" fmla="*/ 757199 w 786911"/>
                  <a:gd name="connsiteY134" fmla="*/ 98865 h 715374"/>
                  <a:gd name="connsiteX135" fmla="*/ 451592 w 786911"/>
                  <a:gd name="connsiteY135" fmla="*/ 424503 h 715374"/>
                  <a:gd name="connsiteX136" fmla="*/ 440260 w 786911"/>
                  <a:gd name="connsiteY136" fmla="*/ 424474 h 715374"/>
                  <a:gd name="connsiteX137" fmla="*/ 440233 w 786911"/>
                  <a:gd name="connsiteY137" fmla="*/ 435806 h 715374"/>
                  <a:gd name="connsiteX138" fmla="*/ 451563 w 786911"/>
                  <a:gd name="connsiteY138" fmla="*/ 435835 h 715374"/>
                  <a:gd name="connsiteX139" fmla="*/ 451592 w 786911"/>
                  <a:gd name="connsiteY139" fmla="*/ 435806 h 715374"/>
                  <a:gd name="connsiteX140" fmla="*/ 451592 w 786911"/>
                  <a:gd name="connsiteY140" fmla="*/ 424503 h 715374"/>
                  <a:gd name="connsiteX141" fmla="*/ 484070 w 786911"/>
                  <a:gd name="connsiteY141" fmla="*/ 394028 h 715374"/>
                  <a:gd name="connsiteX142" fmla="*/ 473754 w 786911"/>
                  <a:gd name="connsiteY142" fmla="*/ 393756 h 715374"/>
                  <a:gd name="connsiteX143" fmla="*/ 473482 w 786911"/>
                  <a:gd name="connsiteY143" fmla="*/ 394028 h 715374"/>
                  <a:gd name="connsiteX144" fmla="*/ 473196 w 786911"/>
                  <a:gd name="connsiteY144" fmla="*/ 404616 h 715374"/>
                  <a:gd name="connsiteX145" fmla="*/ 483783 w 786911"/>
                  <a:gd name="connsiteY145" fmla="*/ 404902 h 715374"/>
                  <a:gd name="connsiteX146" fmla="*/ 483909 w 786911"/>
                  <a:gd name="connsiteY146" fmla="*/ 394583 h 715374"/>
                  <a:gd name="connsiteX147" fmla="*/ 483783 w 786911"/>
                  <a:gd name="connsiteY147" fmla="*/ 394457 h 715374"/>
                  <a:gd name="connsiteX148" fmla="*/ 516261 w 786911"/>
                  <a:gd name="connsiteY148" fmla="*/ 363839 h 715374"/>
                  <a:gd name="connsiteX149" fmla="*/ 506532 w 786911"/>
                  <a:gd name="connsiteY149" fmla="*/ 363839 h 715374"/>
                  <a:gd name="connsiteX150" fmla="*/ 506371 w 786911"/>
                  <a:gd name="connsiteY150" fmla="*/ 373550 h 715374"/>
                  <a:gd name="connsiteX151" fmla="*/ 506532 w 786911"/>
                  <a:gd name="connsiteY151" fmla="*/ 373711 h 715374"/>
                  <a:gd name="connsiteX152" fmla="*/ 516261 w 786911"/>
                  <a:gd name="connsiteY152" fmla="*/ 373711 h 715374"/>
                  <a:gd name="connsiteX153" fmla="*/ 516423 w 786911"/>
                  <a:gd name="connsiteY153" fmla="*/ 364001 h 715374"/>
                  <a:gd name="connsiteX154" fmla="*/ 516261 w 786911"/>
                  <a:gd name="connsiteY154" fmla="*/ 363839 h 715374"/>
                  <a:gd name="connsiteX155" fmla="*/ 548883 w 786911"/>
                  <a:gd name="connsiteY155" fmla="*/ 333364 h 715374"/>
                  <a:gd name="connsiteX156" fmla="*/ 539726 w 786911"/>
                  <a:gd name="connsiteY156" fmla="*/ 333364 h 715374"/>
                  <a:gd name="connsiteX157" fmla="*/ 539726 w 786911"/>
                  <a:gd name="connsiteY157" fmla="*/ 342521 h 715374"/>
                  <a:gd name="connsiteX158" fmla="*/ 548883 w 786911"/>
                  <a:gd name="connsiteY158" fmla="*/ 342521 h 715374"/>
                  <a:gd name="connsiteX159" fmla="*/ 548883 w 786911"/>
                  <a:gd name="connsiteY159" fmla="*/ 333364 h 715374"/>
                  <a:gd name="connsiteX160" fmla="*/ 581647 w 786911"/>
                  <a:gd name="connsiteY160" fmla="*/ 303033 h 715374"/>
                  <a:gd name="connsiteX161" fmla="*/ 573348 w 786911"/>
                  <a:gd name="connsiteY161" fmla="*/ 302746 h 715374"/>
                  <a:gd name="connsiteX162" fmla="*/ 573062 w 786911"/>
                  <a:gd name="connsiteY162" fmla="*/ 311045 h 715374"/>
                  <a:gd name="connsiteX163" fmla="*/ 581153 w 786911"/>
                  <a:gd name="connsiteY163" fmla="*/ 311252 h 715374"/>
                  <a:gd name="connsiteX164" fmla="*/ 581360 w 786911"/>
                  <a:gd name="connsiteY164" fmla="*/ 311045 h 715374"/>
                  <a:gd name="connsiteX165" fmla="*/ 581363 w 786911"/>
                  <a:gd name="connsiteY165" fmla="*/ 302749 h 715374"/>
                  <a:gd name="connsiteX166" fmla="*/ 581360 w 786911"/>
                  <a:gd name="connsiteY166" fmla="*/ 302746 h 715374"/>
                  <a:gd name="connsiteX167" fmla="*/ 613839 w 786911"/>
                  <a:gd name="connsiteY167" fmla="*/ 272271 h 715374"/>
                  <a:gd name="connsiteX168" fmla="*/ 606353 w 786911"/>
                  <a:gd name="connsiteY168" fmla="*/ 272369 h 715374"/>
                  <a:gd name="connsiteX169" fmla="*/ 606450 w 786911"/>
                  <a:gd name="connsiteY169" fmla="*/ 279854 h 715374"/>
                  <a:gd name="connsiteX170" fmla="*/ 613839 w 786911"/>
                  <a:gd name="connsiteY170" fmla="*/ 279854 h 715374"/>
                  <a:gd name="connsiteX171" fmla="*/ 613839 w 786911"/>
                  <a:gd name="connsiteY171" fmla="*/ 272271 h 715374"/>
                  <a:gd name="connsiteX172" fmla="*/ 646316 w 786911"/>
                  <a:gd name="connsiteY172" fmla="*/ 241797 h 715374"/>
                  <a:gd name="connsiteX173" fmla="*/ 639639 w 786911"/>
                  <a:gd name="connsiteY173" fmla="*/ 241844 h 715374"/>
                  <a:gd name="connsiteX174" fmla="*/ 639686 w 786911"/>
                  <a:gd name="connsiteY174" fmla="*/ 248521 h 715374"/>
                  <a:gd name="connsiteX175" fmla="*/ 646316 w 786911"/>
                  <a:gd name="connsiteY175" fmla="*/ 248521 h 715374"/>
                  <a:gd name="connsiteX176" fmla="*/ 646364 w 786911"/>
                  <a:gd name="connsiteY176" fmla="*/ 241844 h 715374"/>
                  <a:gd name="connsiteX177" fmla="*/ 646316 w 786911"/>
                  <a:gd name="connsiteY177" fmla="*/ 241797 h 715374"/>
                  <a:gd name="connsiteX178" fmla="*/ 679081 w 786911"/>
                  <a:gd name="connsiteY178" fmla="*/ 211035 h 715374"/>
                  <a:gd name="connsiteX179" fmla="*/ 673011 w 786911"/>
                  <a:gd name="connsiteY179" fmla="*/ 211118 h 715374"/>
                  <a:gd name="connsiteX180" fmla="*/ 673094 w 786911"/>
                  <a:gd name="connsiteY180" fmla="*/ 217188 h 715374"/>
                  <a:gd name="connsiteX181" fmla="*/ 679081 w 786911"/>
                  <a:gd name="connsiteY181" fmla="*/ 217188 h 715374"/>
                  <a:gd name="connsiteX182" fmla="*/ 679081 w 786911"/>
                  <a:gd name="connsiteY182" fmla="*/ 211179 h 715374"/>
                  <a:gd name="connsiteX183" fmla="*/ 711559 w 786911"/>
                  <a:gd name="connsiteY183" fmla="*/ 180704 h 715374"/>
                  <a:gd name="connsiteX184" fmla="*/ 706501 w 786911"/>
                  <a:gd name="connsiteY184" fmla="*/ 180611 h 715374"/>
                  <a:gd name="connsiteX185" fmla="*/ 706408 w 786911"/>
                  <a:gd name="connsiteY185" fmla="*/ 180704 h 715374"/>
                  <a:gd name="connsiteX186" fmla="*/ 706315 w 786911"/>
                  <a:gd name="connsiteY186" fmla="*/ 185761 h 715374"/>
                  <a:gd name="connsiteX187" fmla="*/ 706408 w 786911"/>
                  <a:gd name="connsiteY187" fmla="*/ 185854 h 715374"/>
                  <a:gd name="connsiteX188" fmla="*/ 711466 w 786911"/>
                  <a:gd name="connsiteY188" fmla="*/ 185947 h 715374"/>
                  <a:gd name="connsiteX189" fmla="*/ 711559 w 786911"/>
                  <a:gd name="connsiteY189" fmla="*/ 185854 h 715374"/>
                  <a:gd name="connsiteX190" fmla="*/ 711559 w 786911"/>
                  <a:gd name="connsiteY190" fmla="*/ 180560 h 715374"/>
                  <a:gd name="connsiteX191" fmla="*/ 744037 w 786911"/>
                  <a:gd name="connsiteY191" fmla="*/ 150086 h 715374"/>
                  <a:gd name="connsiteX192" fmla="*/ 739601 w 786911"/>
                  <a:gd name="connsiteY192" fmla="*/ 150086 h 715374"/>
                  <a:gd name="connsiteX193" fmla="*/ 739601 w 786911"/>
                  <a:gd name="connsiteY193" fmla="*/ 154521 h 715374"/>
                  <a:gd name="connsiteX194" fmla="*/ 744037 w 786911"/>
                  <a:gd name="connsiteY194" fmla="*/ 154521 h 715374"/>
                  <a:gd name="connsiteX195" fmla="*/ 744227 w 786911"/>
                  <a:gd name="connsiteY195" fmla="*/ 150276 h 715374"/>
                  <a:gd name="connsiteX196" fmla="*/ 744037 w 786911"/>
                  <a:gd name="connsiteY196" fmla="*/ 150086 h 715374"/>
                  <a:gd name="connsiteX197" fmla="*/ 776658 w 786911"/>
                  <a:gd name="connsiteY197" fmla="*/ 119611 h 715374"/>
                  <a:gd name="connsiteX198" fmla="*/ 773016 w 786911"/>
                  <a:gd name="connsiteY198" fmla="*/ 119689 h 715374"/>
                  <a:gd name="connsiteX199" fmla="*/ 773095 w 786911"/>
                  <a:gd name="connsiteY199" fmla="*/ 123331 h 715374"/>
                  <a:gd name="connsiteX200" fmla="*/ 776658 w 786911"/>
                  <a:gd name="connsiteY200" fmla="*/ 123331 h 715374"/>
                  <a:gd name="connsiteX201" fmla="*/ 776658 w 786911"/>
                  <a:gd name="connsiteY201" fmla="*/ 119611 h 715374"/>
                  <a:gd name="connsiteX202" fmla="*/ 354587 w 786911"/>
                  <a:gd name="connsiteY202" fmla="*/ 320917 h 715374"/>
                  <a:gd name="connsiteX203" fmla="*/ 343284 w 786911"/>
                  <a:gd name="connsiteY203" fmla="*/ 320917 h 715374"/>
                  <a:gd name="connsiteX204" fmla="*/ 343526 w 786911"/>
                  <a:gd name="connsiteY204" fmla="*/ 332246 h 715374"/>
                  <a:gd name="connsiteX205" fmla="*/ 354158 w 786911"/>
                  <a:gd name="connsiteY205" fmla="*/ 332649 h 715374"/>
                  <a:gd name="connsiteX206" fmla="*/ 354158 w 786911"/>
                  <a:gd name="connsiteY206" fmla="*/ 321203 h 715374"/>
                  <a:gd name="connsiteX207" fmla="*/ 386636 w 786911"/>
                  <a:gd name="connsiteY207" fmla="*/ 290728 h 715374"/>
                  <a:gd name="connsiteX208" fmla="*/ 376114 w 786911"/>
                  <a:gd name="connsiteY208" fmla="*/ 290794 h 715374"/>
                  <a:gd name="connsiteX209" fmla="*/ 376180 w 786911"/>
                  <a:gd name="connsiteY209" fmla="*/ 301316 h 715374"/>
                  <a:gd name="connsiteX210" fmla="*/ 386636 w 786911"/>
                  <a:gd name="connsiteY210" fmla="*/ 301316 h 715374"/>
                  <a:gd name="connsiteX211" fmla="*/ 386702 w 786911"/>
                  <a:gd name="connsiteY211" fmla="*/ 290794 h 715374"/>
                  <a:gd name="connsiteX212" fmla="*/ 386636 w 786911"/>
                  <a:gd name="connsiteY212" fmla="*/ 290728 h 715374"/>
                  <a:gd name="connsiteX213" fmla="*/ 419543 w 786911"/>
                  <a:gd name="connsiteY213" fmla="*/ 260110 h 715374"/>
                  <a:gd name="connsiteX214" fmla="*/ 409814 w 786911"/>
                  <a:gd name="connsiteY214" fmla="*/ 260110 h 715374"/>
                  <a:gd name="connsiteX215" fmla="*/ 409652 w 786911"/>
                  <a:gd name="connsiteY215" fmla="*/ 269821 h 715374"/>
                  <a:gd name="connsiteX216" fmla="*/ 409814 w 786911"/>
                  <a:gd name="connsiteY216" fmla="*/ 269982 h 715374"/>
                  <a:gd name="connsiteX217" fmla="*/ 419543 w 786911"/>
                  <a:gd name="connsiteY217" fmla="*/ 269982 h 715374"/>
                  <a:gd name="connsiteX218" fmla="*/ 419705 w 786911"/>
                  <a:gd name="connsiteY218" fmla="*/ 260272 h 715374"/>
                  <a:gd name="connsiteX219" fmla="*/ 419543 w 786911"/>
                  <a:gd name="connsiteY219" fmla="*/ 260110 h 715374"/>
                  <a:gd name="connsiteX220" fmla="*/ 452164 w 786911"/>
                  <a:gd name="connsiteY220" fmla="*/ 229635 h 715374"/>
                  <a:gd name="connsiteX221" fmla="*/ 443060 w 786911"/>
                  <a:gd name="connsiteY221" fmla="*/ 229762 h 715374"/>
                  <a:gd name="connsiteX222" fmla="*/ 442721 w 786911"/>
                  <a:gd name="connsiteY222" fmla="*/ 238363 h 715374"/>
                  <a:gd name="connsiteX223" fmla="*/ 451878 w 786911"/>
                  <a:gd name="connsiteY223" fmla="*/ 238363 h 715374"/>
                  <a:gd name="connsiteX224" fmla="*/ 451989 w 786911"/>
                  <a:gd name="connsiteY224" fmla="*/ 229461 h 715374"/>
                  <a:gd name="connsiteX225" fmla="*/ 451878 w 786911"/>
                  <a:gd name="connsiteY225" fmla="*/ 229349 h 715374"/>
                  <a:gd name="connsiteX226" fmla="*/ 484356 w 786911"/>
                  <a:gd name="connsiteY226" fmla="*/ 198874 h 715374"/>
                  <a:gd name="connsiteX227" fmla="*/ 476057 w 786911"/>
                  <a:gd name="connsiteY227" fmla="*/ 198588 h 715374"/>
                  <a:gd name="connsiteX228" fmla="*/ 475771 w 786911"/>
                  <a:gd name="connsiteY228" fmla="*/ 206886 h 715374"/>
                  <a:gd name="connsiteX229" fmla="*/ 484070 w 786911"/>
                  <a:gd name="connsiteY229" fmla="*/ 207172 h 715374"/>
                  <a:gd name="connsiteX230" fmla="*/ 484356 w 786911"/>
                  <a:gd name="connsiteY230" fmla="*/ 198874 h 715374"/>
                  <a:gd name="connsiteX231" fmla="*/ 516834 w 786911"/>
                  <a:gd name="connsiteY231" fmla="*/ 168399 h 715374"/>
                  <a:gd name="connsiteX232" fmla="*/ 509394 w 786911"/>
                  <a:gd name="connsiteY232" fmla="*/ 168399 h 715374"/>
                  <a:gd name="connsiteX233" fmla="*/ 509149 w 786911"/>
                  <a:gd name="connsiteY233" fmla="*/ 176084 h 715374"/>
                  <a:gd name="connsiteX234" fmla="*/ 516834 w 786911"/>
                  <a:gd name="connsiteY234" fmla="*/ 176330 h 715374"/>
                  <a:gd name="connsiteX235" fmla="*/ 517078 w 786911"/>
                  <a:gd name="connsiteY235" fmla="*/ 168644 h 715374"/>
                  <a:gd name="connsiteX236" fmla="*/ 516834 w 786911"/>
                  <a:gd name="connsiteY236" fmla="*/ 168399 h 715374"/>
                  <a:gd name="connsiteX237" fmla="*/ 550313 w 786911"/>
                  <a:gd name="connsiteY237" fmla="*/ 138067 h 715374"/>
                  <a:gd name="connsiteX238" fmla="*/ 543446 w 786911"/>
                  <a:gd name="connsiteY238" fmla="*/ 138067 h 715374"/>
                  <a:gd name="connsiteX239" fmla="*/ 543303 w 786911"/>
                  <a:gd name="connsiteY239" fmla="*/ 144792 h 715374"/>
                  <a:gd name="connsiteX240" fmla="*/ 550027 w 786911"/>
                  <a:gd name="connsiteY240" fmla="*/ 144935 h 715374"/>
                  <a:gd name="connsiteX241" fmla="*/ 550027 w 786911"/>
                  <a:gd name="connsiteY241" fmla="*/ 138210 h 715374"/>
                  <a:gd name="connsiteX242" fmla="*/ 582505 w 786911"/>
                  <a:gd name="connsiteY242" fmla="*/ 107735 h 715374"/>
                  <a:gd name="connsiteX243" fmla="*/ 576496 w 786911"/>
                  <a:gd name="connsiteY243" fmla="*/ 107735 h 715374"/>
                  <a:gd name="connsiteX244" fmla="*/ 576281 w 786911"/>
                  <a:gd name="connsiteY244" fmla="*/ 113673 h 715374"/>
                  <a:gd name="connsiteX245" fmla="*/ 582219 w 786911"/>
                  <a:gd name="connsiteY245" fmla="*/ 113888 h 715374"/>
                  <a:gd name="connsiteX246" fmla="*/ 582219 w 786911"/>
                  <a:gd name="connsiteY246" fmla="*/ 107878 h 715374"/>
                  <a:gd name="connsiteX247" fmla="*/ 614697 w 786911"/>
                  <a:gd name="connsiteY247" fmla="*/ 77404 h 715374"/>
                  <a:gd name="connsiteX248" fmla="*/ 609639 w 786911"/>
                  <a:gd name="connsiteY248" fmla="*/ 77311 h 715374"/>
                  <a:gd name="connsiteX249" fmla="*/ 609546 w 786911"/>
                  <a:gd name="connsiteY249" fmla="*/ 77404 h 715374"/>
                  <a:gd name="connsiteX250" fmla="*/ 609403 w 786911"/>
                  <a:gd name="connsiteY250" fmla="*/ 82554 h 715374"/>
                  <a:gd name="connsiteX251" fmla="*/ 614554 w 786911"/>
                  <a:gd name="connsiteY251" fmla="*/ 82697 h 715374"/>
                  <a:gd name="connsiteX252" fmla="*/ 614647 w 786911"/>
                  <a:gd name="connsiteY252" fmla="*/ 77640 h 715374"/>
                  <a:gd name="connsiteX253" fmla="*/ 614554 w 786911"/>
                  <a:gd name="connsiteY253" fmla="*/ 77547 h 715374"/>
                  <a:gd name="connsiteX254" fmla="*/ 647032 w 786911"/>
                  <a:gd name="connsiteY254" fmla="*/ 47072 h 715374"/>
                  <a:gd name="connsiteX255" fmla="*/ 642596 w 786911"/>
                  <a:gd name="connsiteY255" fmla="*/ 47072 h 715374"/>
                  <a:gd name="connsiteX256" fmla="*/ 642596 w 786911"/>
                  <a:gd name="connsiteY256" fmla="*/ 51507 h 715374"/>
                  <a:gd name="connsiteX257" fmla="*/ 647032 w 786911"/>
                  <a:gd name="connsiteY257" fmla="*/ 51507 h 715374"/>
                  <a:gd name="connsiteX258" fmla="*/ 647222 w 786911"/>
                  <a:gd name="connsiteY258" fmla="*/ 47262 h 715374"/>
                  <a:gd name="connsiteX259" fmla="*/ 647032 w 786911"/>
                  <a:gd name="connsiteY259" fmla="*/ 47072 h 715374"/>
                  <a:gd name="connsiteX260" fmla="*/ 679796 w 786911"/>
                  <a:gd name="connsiteY260" fmla="*/ 16883 h 715374"/>
                  <a:gd name="connsiteX261" fmla="*/ 676155 w 786911"/>
                  <a:gd name="connsiteY261" fmla="*/ 16819 h 715374"/>
                  <a:gd name="connsiteX262" fmla="*/ 676090 w 786911"/>
                  <a:gd name="connsiteY262" fmla="*/ 20460 h 715374"/>
                  <a:gd name="connsiteX263" fmla="*/ 679732 w 786911"/>
                  <a:gd name="connsiteY263" fmla="*/ 20524 h 715374"/>
                  <a:gd name="connsiteX264" fmla="*/ 679796 w 786911"/>
                  <a:gd name="connsiteY264" fmla="*/ 20460 h 715374"/>
                  <a:gd name="connsiteX265" fmla="*/ 679796 w 786911"/>
                  <a:gd name="connsiteY265" fmla="*/ 16883 h 715374"/>
                  <a:gd name="connsiteX266" fmla="*/ 373902 w 786911"/>
                  <a:gd name="connsiteY266" fmla="*/ 341663 h 715374"/>
                  <a:gd name="connsiteX267" fmla="*/ 362599 w 786911"/>
                  <a:gd name="connsiteY267" fmla="*/ 341663 h 715374"/>
                  <a:gd name="connsiteX268" fmla="*/ 362241 w 786911"/>
                  <a:gd name="connsiteY268" fmla="*/ 353037 h 715374"/>
                  <a:gd name="connsiteX269" fmla="*/ 373616 w 786911"/>
                  <a:gd name="connsiteY269" fmla="*/ 353395 h 715374"/>
                  <a:gd name="connsiteX270" fmla="*/ 373616 w 786911"/>
                  <a:gd name="connsiteY270" fmla="*/ 342092 h 715374"/>
                  <a:gd name="connsiteX271" fmla="*/ 407238 w 786911"/>
                  <a:gd name="connsiteY271" fmla="*/ 311188 h 715374"/>
                  <a:gd name="connsiteX272" fmla="*/ 396651 w 786911"/>
                  <a:gd name="connsiteY272" fmla="*/ 310759 h 715374"/>
                  <a:gd name="connsiteX273" fmla="*/ 396222 w 786911"/>
                  <a:gd name="connsiteY273" fmla="*/ 321346 h 715374"/>
                  <a:gd name="connsiteX274" fmla="*/ 406537 w 786911"/>
                  <a:gd name="connsiteY274" fmla="*/ 321618 h 715374"/>
                  <a:gd name="connsiteX275" fmla="*/ 406809 w 786911"/>
                  <a:gd name="connsiteY275" fmla="*/ 321346 h 715374"/>
                  <a:gd name="connsiteX276" fmla="*/ 406809 w 786911"/>
                  <a:gd name="connsiteY276" fmla="*/ 310759 h 715374"/>
                  <a:gd name="connsiteX277" fmla="*/ 439287 w 786911"/>
                  <a:gd name="connsiteY277" fmla="*/ 280284 h 715374"/>
                  <a:gd name="connsiteX278" fmla="*/ 429577 w 786911"/>
                  <a:gd name="connsiteY278" fmla="*/ 280122 h 715374"/>
                  <a:gd name="connsiteX279" fmla="*/ 429415 w 786911"/>
                  <a:gd name="connsiteY279" fmla="*/ 280284 h 715374"/>
                  <a:gd name="connsiteX280" fmla="*/ 429415 w 786911"/>
                  <a:gd name="connsiteY280" fmla="*/ 290013 h 715374"/>
                  <a:gd name="connsiteX281" fmla="*/ 439126 w 786911"/>
                  <a:gd name="connsiteY281" fmla="*/ 290174 h 715374"/>
                  <a:gd name="connsiteX282" fmla="*/ 439287 w 786911"/>
                  <a:gd name="connsiteY282" fmla="*/ 290013 h 715374"/>
                  <a:gd name="connsiteX283" fmla="*/ 439287 w 786911"/>
                  <a:gd name="connsiteY283" fmla="*/ 280284 h 715374"/>
                  <a:gd name="connsiteX284" fmla="*/ 471765 w 786911"/>
                  <a:gd name="connsiteY284" fmla="*/ 249809 h 715374"/>
                  <a:gd name="connsiteX285" fmla="*/ 462660 w 786911"/>
                  <a:gd name="connsiteY285" fmla="*/ 249717 h 715374"/>
                  <a:gd name="connsiteX286" fmla="*/ 462570 w 786911"/>
                  <a:gd name="connsiteY286" fmla="*/ 258822 h 715374"/>
                  <a:gd name="connsiteX287" fmla="*/ 471674 w 786911"/>
                  <a:gd name="connsiteY287" fmla="*/ 258914 h 715374"/>
                  <a:gd name="connsiteX288" fmla="*/ 471765 w 786911"/>
                  <a:gd name="connsiteY288" fmla="*/ 258822 h 715374"/>
                  <a:gd name="connsiteX289" fmla="*/ 471877 w 786911"/>
                  <a:gd name="connsiteY289" fmla="*/ 249920 h 715374"/>
                  <a:gd name="connsiteX290" fmla="*/ 471765 w 786911"/>
                  <a:gd name="connsiteY290" fmla="*/ 249809 h 715374"/>
                  <a:gd name="connsiteX291" fmla="*/ 504386 w 786911"/>
                  <a:gd name="connsiteY291" fmla="*/ 219334 h 715374"/>
                  <a:gd name="connsiteX292" fmla="*/ 496088 w 786911"/>
                  <a:gd name="connsiteY292" fmla="*/ 219048 h 715374"/>
                  <a:gd name="connsiteX293" fmla="*/ 495802 w 786911"/>
                  <a:gd name="connsiteY293" fmla="*/ 227346 h 715374"/>
                  <a:gd name="connsiteX294" fmla="*/ 504100 w 786911"/>
                  <a:gd name="connsiteY294" fmla="*/ 227632 h 715374"/>
                  <a:gd name="connsiteX295" fmla="*/ 504386 w 786911"/>
                  <a:gd name="connsiteY295" fmla="*/ 219334 h 715374"/>
                  <a:gd name="connsiteX296" fmla="*/ 536006 w 786911"/>
                  <a:gd name="connsiteY296" fmla="*/ 189288 h 715374"/>
                  <a:gd name="connsiteX297" fmla="*/ 528520 w 786911"/>
                  <a:gd name="connsiteY297" fmla="*/ 189241 h 715374"/>
                  <a:gd name="connsiteX298" fmla="*/ 528473 w 786911"/>
                  <a:gd name="connsiteY298" fmla="*/ 196728 h 715374"/>
                  <a:gd name="connsiteX299" fmla="*/ 535959 w 786911"/>
                  <a:gd name="connsiteY299" fmla="*/ 196774 h 715374"/>
                  <a:gd name="connsiteX300" fmla="*/ 536006 w 786911"/>
                  <a:gd name="connsiteY300" fmla="*/ 196728 h 715374"/>
                  <a:gd name="connsiteX301" fmla="*/ 536006 w 786911"/>
                  <a:gd name="connsiteY301" fmla="*/ 189288 h 715374"/>
                  <a:gd name="connsiteX302" fmla="*/ 568484 w 786911"/>
                  <a:gd name="connsiteY302" fmla="*/ 158813 h 715374"/>
                  <a:gd name="connsiteX303" fmla="*/ 561806 w 786911"/>
                  <a:gd name="connsiteY303" fmla="*/ 158860 h 715374"/>
                  <a:gd name="connsiteX304" fmla="*/ 561854 w 786911"/>
                  <a:gd name="connsiteY304" fmla="*/ 165538 h 715374"/>
                  <a:gd name="connsiteX305" fmla="*/ 568484 w 786911"/>
                  <a:gd name="connsiteY305" fmla="*/ 165538 h 715374"/>
                  <a:gd name="connsiteX306" fmla="*/ 568531 w 786911"/>
                  <a:gd name="connsiteY306" fmla="*/ 158860 h 715374"/>
                  <a:gd name="connsiteX307" fmla="*/ 568484 w 786911"/>
                  <a:gd name="connsiteY307" fmla="*/ 158813 h 715374"/>
                  <a:gd name="connsiteX308" fmla="*/ 600962 w 786911"/>
                  <a:gd name="connsiteY308" fmla="*/ 128338 h 715374"/>
                  <a:gd name="connsiteX309" fmla="*/ 595096 w 786911"/>
                  <a:gd name="connsiteY309" fmla="*/ 128338 h 715374"/>
                  <a:gd name="connsiteX310" fmla="*/ 595096 w 786911"/>
                  <a:gd name="connsiteY310" fmla="*/ 134347 h 715374"/>
                  <a:gd name="connsiteX311" fmla="*/ 600962 w 786911"/>
                  <a:gd name="connsiteY311" fmla="*/ 134490 h 715374"/>
                  <a:gd name="connsiteX312" fmla="*/ 601105 w 786911"/>
                  <a:gd name="connsiteY312" fmla="*/ 134347 h 715374"/>
                  <a:gd name="connsiteX313" fmla="*/ 601309 w 786911"/>
                  <a:gd name="connsiteY313" fmla="*/ 128686 h 715374"/>
                  <a:gd name="connsiteX314" fmla="*/ 601105 w 786911"/>
                  <a:gd name="connsiteY314" fmla="*/ 128481 h 715374"/>
                  <a:gd name="connsiteX315" fmla="*/ 633726 w 786911"/>
                  <a:gd name="connsiteY315" fmla="*/ 98006 h 715374"/>
                  <a:gd name="connsiteX316" fmla="*/ 628466 w 786911"/>
                  <a:gd name="connsiteY316" fmla="*/ 97898 h 715374"/>
                  <a:gd name="connsiteX317" fmla="*/ 628358 w 786911"/>
                  <a:gd name="connsiteY317" fmla="*/ 103157 h 715374"/>
                  <a:gd name="connsiteX318" fmla="*/ 633617 w 786911"/>
                  <a:gd name="connsiteY318" fmla="*/ 103266 h 715374"/>
                  <a:gd name="connsiteX319" fmla="*/ 633726 w 786911"/>
                  <a:gd name="connsiteY319" fmla="*/ 103157 h 715374"/>
                  <a:gd name="connsiteX320" fmla="*/ 633726 w 786911"/>
                  <a:gd name="connsiteY320" fmla="*/ 98006 h 715374"/>
                  <a:gd name="connsiteX321" fmla="*/ 666204 w 786911"/>
                  <a:gd name="connsiteY321" fmla="*/ 67531 h 715374"/>
                  <a:gd name="connsiteX322" fmla="*/ 661959 w 786911"/>
                  <a:gd name="connsiteY322" fmla="*/ 67341 h 715374"/>
                  <a:gd name="connsiteX323" fmla="*/ 661769 w 786911"/>
                  <a:gd name="connsiteY323" fmla="*/ 67531 h 715374"/>
                  <a:gd name="connsiteX324" fmla="*/ 661769 w 786911"/>
                  <a:gd name="connsiteY324" fmla="*/ 71967 h 715374"/>
                  <a:gd name="connsiteX325" fmla="*/ 666204 w 786911"/>
                  <a:gd name="connsiteY325" fmla="*/ 71967 h 715374"/>
                  <a:gd name="connsiteX326" fmla="*/ 666204 w 786911"/>
                  <a:gd name="connsiteY326" fmla="*/ 67531 h 715374"/>
                  <a:gd name="connsiteX327" fmla="*/ 699111 w 786911"/>
                  <a:gd name="connsiteY327" fmla="*/ 36913 h 715374"/>
                  <a:gd name="connsiteX328" fmla="*/ 695470 w 786911"/>
                  <a:gd name="connsiteY328" fmla="*/ 36849 h 715374"/>
                  <a:gd name="connsiteX329" fmla="*/ 695405 w 786911"/>
                  <a:gd name="connsiteY329" fmla="*/ 40490 h 715374"/>
                  <a:gd name="connsiteX330" fmla="*/ 699047 w 786911"/>
                  <a:gd name="connsiteY330" fmla="*/ 40555 h 715374"/>
                  <a:gd name="connsiteX331" fmla="*/ 699111 w 786911"/>
                  <a:gd name="connsiteY331" fmla="*/ 40490 h 715374"/>
                  <a:gd name="connsiteX332" fmla="*/ 699251 w 786911"/>
                  <a:gd name="connsiteY332" fmla="*/ 37054 h 715374"/>
                  <a:gd name="connsiteX333" fmla="*/ 699111 w 786911"/>
                  <a:gd name="connsiteY333" fmla="*/ 36913 h 715374"/>
                  <a:gd name="connsiteX334" fmla="*/ 392931 w 786911"/>
                  <a:gd name="connsiteY334" fmla="*/ 362409 h 715374"/>
                  <a:gd name="connsiteX335" fmla="*/ 381599 w 786911"/>
                  <a:gd name="connsiteY335" fmla="*/ 362380 h 715374"/>
                  <a:gd name="connsiteX336" fmla="*/ 381572 w 786911"/>
                  <a:gd name="connsiteY336" fmla="*/ 373711 h 715374"/>
                  <a:gd name="connsiteX337" fmla="*/ 392902 w 786911"/>
                  <a:gd name="connsiteY337" fmla="*/ 373740 h 715374"/>
                  <a:gd name="connsiteX338" fmla="*/ 392931 w 786911"/>
                  <a:gd name="connsiteY338" fmla="*/ 373711 h 715374"/>
                  <a:gd name="connsiteX339" fmla="*/ 392931 w 786911"/>
                  <a:gd name="connsiteY339" fmla="*/ 362409 h 715374"/>
                  <a:gd name="connsiteX340" fmla="*/ 425838 w 786911"/>
                  <a:gd name="connsiteY340" fmla="*/ 331647 h 715374"/>
                  <a:gd name="connsiteX341" fmla="*/ 415322 w 786911"/>
                  <a:gd name="connsiteY341" fmla="*/ 331290 h 715374"/>
                  <a:gd name="connsiteX342" fmla="*/ 414965 w 786911"/>
                  <a:gd name="connsiteY342" fmla="*/ 341806 h 715374"/>
                  <a:gd name="connsiteX343" fmla="*/ 425552 w 786911"/>
                  <a:gd name="connsiteY343" fmla="*/ 341806 h 715374"/>
                  <a:gd name="connsiteX344" fmla="*/ 425618 w 786911"/>
                  <a:gd name="connsiteY344" fmla="*/ 331284 h 715374"/>
                  <a:gd name="connsiteX345" fmla="*/ 425552 w 786911"/>
                  <a:gd name="connsiteY345" fmla="*/ 331218 h 715374"/>
                  <a:gd name="connsiteX346" fmla="*/ 458173 w 786911"/>
                  <a:gd name="connsiteY346" fmla="*/ 300743 h 715374"/>
                  <a:gd name="connsiteX347" fmla="*/ 448461 w 786911"/>
                  <a:gd name="connsiteY347" fmla="*/ 300761 h 715374"/>
                  <a:gd name="connsiteX348" fmla="*/ 448478 w 786911"/>
                  <a:gd name="connsiteY348" fmla="*/ 310472 h 715374"/>
                  <a:gd name="connsiteX349" fmla="*/ 458173 w 786911"/>
                  <a:gd name="connsiteY349" fmla="*/ 310472 h 715374"/>
                  <a:gd name="connsiteX350" fmla="*/ 458190 w 786911"/>
                  <a:gd name="connsiteY350" fmla="*/ 300761 h 715374"/>
                  <a:gd name="connsiteX351" fmla="*/ 458173 w 786911"/>
                  <a:gd name="connsiteY351" fmla="*/ 300743 h 715374"/>
                  <a:gd name="connsiteX352" fmla="*/ 490651 w 786911"/>
                  <a:gd name="connsiteY352" fmla="*/ 270268 h 715374"/>
                  <a:gd name="connsiteX353" fmla="*/ 481677 w 786911"/>
                  <a:gd name="connsiteY353" fmla="*/ 268727 h 715374"/>
                  <a:gd name="connsiteX354" fmla="*/ 480137 w 786911"/>
                  <a:gd name="connsiteY354" fmla="*/ 277701 h 715374"/>
                  <a:gd name="connsiteX355" fmla="*/ 481351 w 786911"/>
                  <a:gd name="connsiteY355" fmla="*/ 278996 h 715374"/>
                  <a:gd name="connsiteX356" fmla="*/ 490405 w 786911"/>
                  <a:gd name="connsiteY356" fmla="*/ 278027 h 715374"/>
                  <a:gd name="connsiteX357" fmla="*/ 490651 w 786911"/>
                  <a:gd name="connsiteY357" fmla="*/ 270268 h 715374"/>
                  <a:gd name="connsiteX358" fmla="*/ 523129 w 786911"/>
                  <a:gd name="connsiteY358" fmla="*/ 239650 h 715374"/>
                  <a:gd name="connsiteX359" fmla="*/ 514831 w 786911"/>
                  <a:gd name="connsiteY359" fmla="*/ 239364 h 715374"/>
                  <a:gd name="connsiteX360" fmla="*/ 514545 w 786911"/>
                  <a:gd name="connsiteY360" fmla="*/ 247663 h 715374"/>
                  <a:gd name="connsiteX361" fmla="*/ 522843 w 786911"/>
                  <a:gd name="connsiteY361" fmla="*/ 247949 h 715374"/>
                  <a:gd name="connsiteX362" fmla="*/ 523129 w 786911"/>
                  <a:gd name="connsiteY362" fmla="*/ 239650 h 715374"/>
                  <a:gd name="connsiteX363" fmla="*/ 555607 w 786911"/>
                  <a:gd name="connsiteY363" fmla="*/ 209175 h 715374"/>
                  <a:gd name="connsiteX364" fmla="*/ 548096 w 786911"/>
                  <a:gd name="connsiteY364" fmla="*/ 208961 h 715374"/>
                  <a:gd name="connsiteX365" fmla="*/ 547881 w 786911"/>
                  <a:gd name="connsiteY365" fmla="*/ 216472 h 715374"/>
                  <a:gd name="connsiteX366" fmla="*/ 555392 w 786911"/>
                  <a:gd name="connsiteY366" fmla="*/ 216687 h 715374"/>
                  <a:gd name="connsiteX367" fmla="*/ 555607 w 786911"/>
                  <a:gd name="connsiteY367" fmla="*/ 209175 h 715374"/>
                  <a:gd name="connsiteX368" fmla="*/ 588228 w 786911"/>
                  <a:gd name="connsiteY368" fmla="*/ 178701 h 715374"/>
                  <a:gd name="connsiteX369" fmla="*/ 581350 w 786911"/>
                  <a:gd name="connsiteY369" fmla="*/ 178547 h 715374"/>
                  <a:gd name="connsiteX370" fmla="*/ 581197 w 786911"/>
                  <a:gd name="connsiteY370" fmla="*/ 185425 h 715374"/>
                  <a:gd name="connsiteX371" fmla="*/ 588075 w 786911"/>
                  <a:gd name="connsiteY371" fmla="*/ 185578 h 715374"/>
                  <a:gd name="connsiteX372" fmla="*/ 588228 w 786911"/>
                  <a:gd name="connsiteY372" fmla="*/ 185425 h 715374"/>
                  <a:gd name="connsiteX373" fmla="*/ 588275 w 786911"/>
                  <a:gd name="connsiteY373" fmla="*/ 178748 h 715374"/>
                  <a:gd name="connsiteX374" fmla="*/ 588228 w 786911"/>
                  <a:gd name="connsiteY374" fmla="*/ 178701 h 715374"/>
                  <a:gd name="connsiteX375" fmla="*/ 620706 w 786911"/>
                  <a:gd name="connsiteY375" fmla="*/ 148226 h 715374"/>
                  <a:gd name="connsiteX376" fmla="*/ 614637 w 786911"/>
                  <a:gd name="connsiteY376" fmla="*/ 148165 h 715374"/>
                  <a:gd name="connsiteX377" fmla="*/ 614575 w 786911"/>
                  <a:gd name="connsiteY377" fmla="*/ 154235 h 715374"/>
                  <a:gd name="connsiteX378" fmla="*/ 620646 w 786911"/>
                  <a:gd name="connsiteY378" fmla="*/ 154295 h 715374"/>
                  <a:gd name="connsiteX379" fmla="*/ 620706 w 786911"/>
                  <a:gd name="connsiteY379" fmla="*/ 154235 h 715374"/>
                  <a:gd name="connsiteX380" fmla="*/ 620706 w 786911"/>
                  <a:gd name="connsiteY380" fmla="*/ 148226 h 715374"/>
                  <a:gd name="connsiteX381" fmla="*/ 653184 w 786911"/>
                  <a:gd name="connsiteY381" fmla="*/ 117751 h 715374"/>
                  <a:gd name="connsiteX382" fmla="*/ 648132 w 786911"/>
                  <a:gd name="connsiteY382" fmla="*/ 117991 h 715374"/>
                  <a:gd name="connsiteX383" fmla="*/ 648372 w 786911"/>
                  <a:gd name="connsiteY383" fmla="*/ 123044 h 715374"/>
                  <a:gd name="connsiteX384" fmla="*/ 653184 w 786911"/>
                  <a:gd name="connsiteY384" fmla="*/ 123044 h 715374"/>
                  <a:gd name="connsiteX385" fmla="*/ 653184 w 786911"/>
                  <a:gd name="connsiteY385" fmla="*/ 117751 h 715374"/>
                  <a:gd name="connsiteX386" fmla="*/ 686091 w 786911"/>
                  <a:gd name="connsiteY386" fmla="*/ 88420 h 715374"/>
                  <a:gd name="connsiteX387" fmla="*/ 681656 w 786911"/>
                  <a:gd name="connsiteY387" fmla="*/ 88420 h 715374"/>
                  <a:gd name="connsiteX388" fmla="*/ 681466 w 786911"/>
                  <a:gd name="connsiteY388" fmla="*/ 92665 h 715374"/>
                  <a:gd name="connsiteX389" fmla="*/ 681656 w 786911"/>
                  <a:gd name="connsiteY389" fmla="*/ 92856 h 715374"/>
                  <a:gd name="connsiteX390" fmla="*/ 686091 w 786911"/>
                  <a:gd name="connsiteY390" fmla="*/ 92856 h 715374"/>
                  <a:gd name="connsiteX391" fmla="*/ 686091 w 786911"/>
                  <a:gd name="connsiteY391" fmla="*/ 88420 h 715374"/>
                  <a:gd name="connsiteX392" fmla="*/ 718569 w 786911"/>
                  <a:gd name="connsiteY392" fmla="*/ 57945 h 715374"/>
                  <a:gd name="connsiteX393" fmla="*/ 714849 w 786911"/>
                  <a:gd name="connsiteY393" fmla="*/ 57945 h 715374"/>
                  <a:gd name="connsiteX394" fmla="*/ 714849 w 786911"/>
                  <a:gd name="connsiteY394" fmla="*/ 61665 h 715374"/>
                  <a:gd name="connsiteX395" fmla="*/ 718569 w 786911"/>
                  <a:gd name="connsiteY395" fmla="*/ 61808 h 715374"/>
                  <a:gd name="connsiteX396" fmla="*/ 718712 w 786911"/>
                  <a:gd name="connsiteY396" fmla="*/ 58088 h 715374"/>
                  <a:gd name="connsiteX397" fmla="*/ 367750 w 786911"/>
                  <a:gd name="connsiteY397" fmla="*/ 425218 h 715374"/>
                  <a:gd name="connsiteX398" fmla="*/ 379081 w 786911"/>
                  <a:gd name="connsiteY398" fmla="*/ 425247 h 715374"/>
                  <a:gd name="connsiteX399" fmla="*/ 379109 w 786911"/>
                  <a:gd name="connsiteY399" fmla="*/ 413915 h 715374"/>
                  <a:gd name="connsiteX400" fmla="*/ 367778 w 786911"/>
                  <a:gd name="connsiteY400" fmla="*/ 413887 h 715374"/>
                  <a:gd name="connsiteX401" fmla="*/ 367750 w 786911"/>
                  <a:gd name="connsiteY401" fmla="*/ 413915 h 715374"/>
                  <a:gd name="connsiteX402" fmla="*/ 367750 w 786911"/>
                  <a:gd name="connsiteY402" fmla="*/ 425218 h 715374"/>
                  <a:gd name="connsiteX403" fmla="*/ 335701 w 786911"/>
                  <a:gd name="connsiteY403" fmla="*/ 455693 h 715374"/>
                  <a:gd name="connsiteX404" fmla="*/ 346217 w 786911"/>
                  <a:gd name="connsiteY404" fmla="*/ 456051 h 715374"/>
                  <a:gd name="connsiteX405" fmla="*/ 346575 w 786911"/>
                  <a:gd name="connsiteY405" fmla="*/ 445535 h 715374"/>
                  <a:gd name="connsiteX406" fmla="*/ 335987 w 786911"/>
                  <a:gd name="connsiteY406" fmla="*/ 445535 h 715374"/>
                  <a:gd name="connsiteX407" fmla="*/ 335921 w 786911"/>
                  <a:gd name="connsiteY407" fmla="*/ 456057 h 715374"/>
                  <a:gd name="connsiteX408" fmla="*/ 335987 w 786911"/>
                  <a:gd name="connsiteY408" fmla="*/ 456123 h 715374"/>
                  <a:gd name="connsiteX409" fmla="*/ 302651 w 786911"/>
                  <a:gd name="connsiteY409" fmla="*/ 486168 h 715374"/>
                  <a:gd name="connsiteX410" fmla="*/ 312523 w 786911"/>
                  <a:gd name="connsiteY410" fmla="*/ 486168 h 715374"/>
                  <a:gd name="connsiteX411" fmla="*/ 312523 w 786911"/>
                  <a:gd name="connsiteY411" fmla="*/ 476296 h 715374"/>
                  <a:gd name="connsiteX412" fmla="*/ 302794 w 786911"/>
                  <a:gd name="connsiteY412" fmla="*/ 476296 h 715374"/>
                  <a:gd name="connsiteX413" fmla="*/ 302777 w 786911"/>
                  <a:gd name="connsiteY413" fmla="*/ 486008 h 715374"/>
                  <a:gd name="connsiteX414" fmla="*/ 302794 w 786911"/>
                  <a:gd name="connsiteY414" fmla="*/ 486025 h 715374"/>
                  <a:gd name="connsiteX415" fmla="*/ 270316 w 786911"/>
                  <a:gd name="connsiteY415" fmla="*/ 516500 h 715374"/>
                  <a:gd name="connsiteX416" fmla="*/ 279290 w 786911"/>
                  <a:gd name="connsiteY416" fmla="*/ 518041 h 715374"/>
                  <a:gd name="connsiteX417" fmla="*/ 280830 w 786911"/>
                  <a:gd name="connsiteY417" fmla="*/ 509067 h 715374"/>
                  <a:gd name="connsiteX418" fmla="*/ 279616 w 786911"/>
                  <a:gd name="connsiteY418" fmla="*/ 507773 h 715374"/>
                  <a:gd name="connsiteX419" fmla="*/ 270642 w 786911"/>
                  <a:gd name="connsiteY419" fmla="*/ 506232 h 715374"/>
                  <a:gd name="connsiteX420" fmla="*/ 269101 w 786911"/>
                  <a:gd name="connsiteY420" fmla="*/ 515205 h 715374"/>
                  <a:gd name="connsiteX421" fmla="*/ 270316 w 786911"/>
                  <a:gd name="connsiteY421" fmla="*/ 516500 h 715374"/>
                  <a:gd name="connsiteX422" fmla="*/ 237838 w 786911"/>
                  <a:gd name="connsiteY422" fmla="*/ 547118 h 715374"/>
                  <a:gd name="connsiteX423" fmla="*/ 246136 w 786911"/>
                  <a:gd name="connsiteY423" fmla="*/ 547404 h 715374"/>
                  <a:gd name="connsiteX424" fmla="*/ 246422 w 786911"/>
                  <a:gd name="connsiteY424" fmla="*/ 539106 h 715374"/>
                  <a:gd name="connsiteX425" fmla="*/ 238124 w 786911"/>
                  <a:gd name="connsiteY425" fmla="*/ 538820 h 715374"/>
                  <a:gd name="connsiteX426" fmla="*/ 237838 w 786911"/>
                  <a:gd name="connsiteY426" fmla="*/ 547118 h 715374"/>
                  <a:gd name="connsiteX427" fmla="*/ 205217 w 786911"/>
                  <a:gd name="connsiteY427" fmla="*/ 577736 h 715374"/>
                  <a:gd name="connsiteX428" fmla="*/ 212728 w 786911"/>
                  <a:gd name="connsiteY428" fmla="*/ 577951 h 715374"/>
                  <a:gd name="connsiteX429" fmla="*/ 212943 w 786911"/>
                  <a:gd name="connsiteY429" fmla="*/ 570439 h 715374"/>
                  <a:gd name="connsiteX430" fmla="*/ 205431 w 786911"/>
                  <a:gd name="connsiteY430" fmla="*/ 570225 h 715374"/>
                  <a:gd name="connsiteX431" fmla="*/ 205217 w 786911"/>
                  <a:gd name="connsiteY431" fmla="*/ 577736 h 715374"/>
                  <a:gd name="connsiteX432" fmla="*/ 172596 w 786911"/>
                  <a:gd name="connsiteY432" fmla="*/ 608211 h 715374"/>
                  <a:gd name="connsiteX433" fmla="*/ 179473 w 786911"/>
                  <a:gd name="connsiteY433" fmla="*/ 608364 h 715374"/>
                  <a:gd name="connsiteX434" fmla="*/ 179626 w 786911"/>
                  <a:gd name="connsiteY434" fmla="*/ 601487 h 715374"/>
                  <a:gd name="connsiteX435" fmla="*/ 172749 w 786911"/>
                  <a:gd name="connsiteY435" fmla="*/ 601333 h 715374"/>
                  <a:gd name="connsiteX436" fmla="*/ 172596 w 786911"/>
                  <a:gd name="connsiteY436" fmla="*/ 601487 h 715374"/>
                  <a:gd name="connsiteX437" fmla="*/ 172549 w 786911"/>
                  <a:gd name="connsiteY437" fmla="*/ 608164 h 715374"/>
                  <a:gd name="connsiteX438" fmla="*/ 172596 w 786911"/>
                  <a:gd name="connsiteY438" fmla="*/ 608211 h 715374"/>
                  <a:gd name="connsiteX439" fmla="*/ 140118 w 786911"/>
                  <a:gd name="connsiteY439" fmla="*/ 638686 h 715374"/>
                  <a:gd name="connsiteX440" fmla="*/ 146187 w 786911"/>
                  <a:gd name="connsiteY440" fmla="*/ 638746 h 715374"/>
                  <a:gd name="connsiteX441" fmla="*/ 146249 w 786911"/>
                  <a:gd name="connsiteY441" fmla="*/ 632677 h 715374"/>
                  <a:gd name="connsiteX442" fmla="*/ 140178 w 786911"/>
                  <a:gd name="connsiteY442" fmla="*/ 632617 h 715374"/>
                  <a:gd name="connsiteX443" fmla="*/ 140118 w 786911"/>
                  <a:gd name="connsiteY443" fmla="*/ 632677 h 715374"/>
                  <a:gd name="connsiteX444" fmla="*/ 140118 w 786911"/>
                  <a:gd name="connsiteY444" fmla="*/ 638686 h 715374"/>
                  <a:gd name="connsiteX445" fmla="*/ 107640 w 786911"/>
                  <a:gd name="connsiteY445" fmla="*/ 669161 h 715374"/>
                  <a:gd name="connsiteX446" fmla="*/ 112693 w 786911"/>
                  <a:gd name="connsiteY446" fmla="*/ 668921 h 715374"/>
                  <a:gd name="connsiteX447" fmla="*/ 112451 w 786911"/>
                  <a:gd name="connsiteY447" fmla="*/ 663867 h 715374"/>
                  <a:gd name="connsiteX448" fmla="*/ 107640 w 786911"/>
                  <a:gd name="connsiteY448" fmla="*/ 663867 h 715374"/>
                  <a:gd name="connsiteX449" fmla="*/ 107640 w 786911"/>
                  <a:gd name="connsiteY449" fmla="*/ 669161 h 715374"/>
                  <a:gd name="connsiteX450" fmla="*/ 387208 w 786911"/>
                  <a:gd name="connsiteY450" fmla="*/ 446107 h 715374"/>
                  <a:gd name="connsiteX451" fmla="*/ 398511 w 786911"/>
                  <a:gd name="connsiteY451" fmla="*/ 446107 h 715374"/>
                  <a:gd name="connsiteX452" fmla="*/ 398511 w 786911"/>
                  <a:gd name="connsiteY452" fmla="*/ 434661 h 715374"/>
                  <a:gd name="connsiteX453" fmla="*/ 387208 w 786911"/>
                  <a:gd name="connsiteY453" fmla="*/ 434661 h 715374"/>
                  <a:gd name="connsiteX454" fmla="*/ 387032 w 786911"/>
                  <a:gd name="connsiteY454" fmla="*/ 445788 h 715374"/>
                  <a:gd name="connsiteX455" fmla="*/ 387208 w 786911"/>
                  <a:gd name="connsiteY455" fmla="*/ 445964 h 715374"/>
                  <a:gd name="connsiteX456" fmla="*/ 354587 w 786911"/>
                  <a:gd name="connsiteY456" fmla="*/ 476439 h 715374"/>
                  <a:gd name="connsiteX457" fmla="*/ 365109 w 786911"/>
                  <a:gd name="connsiteY457" fmla="*/ 476505 h 715374"/>
                  <a:gd name="connsiteX458" fmla="*/ 365174 w 786911"/>
                  <a:gd name="connsiteY458" fmla="*/ 476439 h 715374"/>
                  <a:gd name="connsiteX459" fmla="*/ 365174 w 786911"/>
                  <a:gd name="connsiteY459" fmla="*/ 465852 h 715374"/>
                  <a:gd name="connsiteX460" fmla="*/ 354478 w 786911"/>
                  <a:gd name="connsiteY460" fmla="*/ 466616 h 715374"/>
                  <a:gd name="connsiteX461" fmla="*/ 354158 w 786911"/>
                  <a:gd name="connsiteY461" fmla="*/ 476153 h 715374"/>
                  <a:gd name="connsiteX462" fmla="*/ 321680 w 786911"/>
                  <a:gd name="connsiteY462" fmla="*/ 506628 h 715374"/>
                  <a:gd name="connsiteX463" fmla="*/ 331390 w 786911"/>
                  <a:gd name="connsiteY463" fmla="*/ 506790 h 715374"/>
                  <a:gd name="connsiteX464" fmla="*/ 331552 w 786911"/>
                  <a:gd name="connsiteY464" fmla="*/ 506628 h 715374"/>
                  <a:gd name="connsiteX465" fmla="*/ 330968 w 786911"/>
                  <a:gd name="connsiteY465" fmla="*/ 496730 h 715374"/>
                  <a:gd name="connsiteX466" fmla="*/ 321966 w 786911"/>
                  <a:gd name="connsiteY466" fmla="*/ 496470 h 715374"/>
                  <a:gd name="connsiteX467" fmla="*/ 321966 w 786911"/>
                  <a:gd name="connsiteY467" fmla="*/ 506342 h 715374"/>
                  <a:gd name="connsiteX468" fmla="*/ 289488 w 786911"/>
                  <a:gd name="connsiteY468" fmla="*/ 536817 h 715374"/>
                  <a:gd name="connsiteX469" fmla="*/ 298593 w 786911"/>
                  <a:gd name="connsiteY469" fmla="*/ 536908 h 715374"/>
                  <a:gd name="connsiteX470" fmla="*/ 298683 w 786911"/>
                  <a:gd name="connsiteY470" fmla="*/ 527803 h 715374"/>
                  <a:gd name="connsiteX471" fmla="*/ 289579 w 786911"/>
                  <a:gd name="connsiteY471" fmla="*/ 527711 h 715374"/>
                  <a:gd name="connsiteX472" fmla="*/ 289488 w 786911"/>
                  <a:gd name="connsiteY472" fmla="*/ 527803 h 715374"/>
                  <a:gd name="connsiteX473" fmla="*/ 289376 w 786911"/>
                  <a:gd name="connsiteY473" fmla="*/ 536705 h 715374"/>
                  <a:gd name="connsiteX474" fmla="*/ 289488 w 786911"/>
                  <a:gd name="connsiteY474" fmla="*/ 536817 h 715374"/>
                  <a:gd name="connsiteX475" fmla="*/ 257010 w 786911"/>
                  <a:gd name="connsiteY475" fmla="*/ 567864 h 715374"/>
                  <a:gd name="connsiteX476" fmla="*/ 265305 w 786911"/>
                  <a:gd name="connsiteY476" fmla="*/ 567867 h 715374"/>
                  <a:gd name="connsiteX477" fmla="*/ 265308 w 786911"/>
                  <a:gd name="connsiteY477" fmla="*/ 567864 h 715374"/>
                  <a:gd name="connsiteX478" fmla="*/ 265516 w 786911"/>
                  <a:gd name="connsiteY478" fmla="*/ 559773 h 715374"/>
                  <a:gd name="connsiteX479" fmla="*/ 265308 w 786911"/>
                  <a:gd name="connsiteY479" fmla="*/ 559566 h 715374"/>
                  <a:gd name="connsiteX480" fmla="*/ 257010 w 786911"/>
                  <a:gd name="connsiteY480" fmla="*/ 559279 h 715374"/>
                  <a:gd name="connsiteX481" fmla="*/ 256724 w 786911"/>
                  <a:gd name="connsiteY481" fmla="*/ 567578 h 715374"/>
                  <a:gd name="connsiteX482" fmla="*/ 224246 w 786911"/>
                  <a:gd name="connsiteY482" fmla="*/ 598053 h 715374"/>
                  <a:gd name="connsiteX483" fmla="*/ 231731 w 786911"/>
                  <a:gd name="connsiteY483" fmla="*/ 598100 h 715374"/>
                  <a:gd name="connsiteX484" fmla="*/ 231779 w 786911"/>
                  <a:gd name="connsiteY484" fmla="*/ 590613 h 715374"/>
                  <a:gd name="connsiteX485" fmla="*/ 224292 w 786911"/>
                  <a:gd name="connsiteY485" fmla="*/ 590567 h 715374"/>
                  <a:gd name="connsiteX486" fmla="*/ 224246 w 786911"/>
                  <a:gd name="connsiteY486" fmla="*/ 590613 h 715374"/>
                  <a:gd name="connsiteX487" fmla="*/ 224246 w 786911"/>
                  <a:gd name="connsiteY487" fmla="*/ 598053 h 715374"/>
                  <a:gd name="connsiteX488" fmla="*/ 192626 w 786911"/>
                  <a:gd name="connsiteY488" fmla="*/ 628814 h 715374"/>
                  <a:gd name="connsiteX489" fmla="*/ 199304 w 786911"/>
                  <a:gd name="connsiteY489" fmla="*/ 628767 h 715374"/>
                  <a:gd name="connsiteX490" fmla="*/ 199256 w 786911"/>
                  <a:gd name="connsiteY490" fmla="*/ 622089 h 715374"/>
                  <a:gd name="connsiteX491" fmla="*/ 192626 w 786911"/>
                  <a:gd name="connsiteY491" fmla="*/ 622089 h 715374"/>
                  <a:gd name="connsiteX492" fmla="*/ 192579 w 786911"/>
                  <a:gd name="connsiteY492" fmla="*/ 628767 h 715374"/>
                  <a:gd name="connsiteX493" fmla="*/ 192626 w 786911"/>
                  <a:gd name="connsiteY493" fmla="*/ 628814 h 715374"/>
                  <a:gd name="connsiteX494" fmla="*/ 159576 w 786911"/>
                  <a:gd name="connsiteY494" fmla="*/ 659289 h 715374"/>
                  <a:gd name="connsiteX495" fmla="*/ 165442 w 786911"/>
                  <a:gd name="connsiteY495" fmla="*/ 659289 h 715374"/>
                  <a:gd name="connsiteX496" fmla="*/ 165442 w 786911"/>
                  <a:gd name="connsiteY496" fmla="*/ 653280 h 715374"/>
                  <a:gd name="connsiteX497" fmla="*/ 159576 w 786911"/>
                  <a:gd name="connsiteY497" fmla="*/ 653137 h 715374"/>
                  <a:gd name="connsiteX498" fmla="*/ 159433 w 786911"/>
                  <a:gd name="connsiteY498" fmla="*/ 653280 h 715374"/>
                  <a:gd name="connsiteX499" fmla="*/ 159228 w 786911"/>
                  <a:gd name="connsiteY499" fmla="*/ 658941 h 715374"/>
                  <a:gd name="connsiteX500" fmla="*/ 159433 w 786911"/>
                  <a:gd name="connsiteY500" fmla="*/ 659146 h 715374"/>
                  <a:gd name="connsiteX501" fmla="*/ 126955 w 786911"/>
                  <a:gd name="connsiteY501" fmla="*/ 689334 h 715374"/>
                  <a:gd name="connsiteX502" fmla="*/ 132214 w 786911"/>
                  <a:gd name="connsiteY502" fmla="*/ 689443 h 715374"/>
                  <a:gd name="connsiteX503" fmla="*/ 132323 w 786911"/>
                  <a:gd name="connsiteY503" fmla="*/ 684184 h 715374"/>
                  <a:gd name="connsiteX504" fmla="*/ 127064 w 786911"/>
                  <a:gd name="connsiteY504" fmla="*/ 684075 h 715374"/>
                  <a:gd name="connsiteX505" fmla="*/ 126955 w 786911"/>
                  <a:gd name="connsiteY505" fmla="*/ 684184 h 715374"/>
                  <a:gd name="connsiteX506" fmla="*/ 126955 w 786911"/>
                  <a:gd name="connsiteY506" fmla="*/ 689334 h 715374"/>
                  <a:gd name="connsiteX507" fmla="*/ 407238 w 786911"/>
                  <a:gd name="connsiteY507" fmla="*/ 466710 h 715374"/>
                  <a:gd name="connsiteX508" fmla="*/ 418541 w 786911"/>
                  <a:gd name="connsiteY508" fmla="*/ 466710 h 715374"/>
                  <a:gd name="connsiteX509" fmla="*/ 418300 w 786911"/>
                  <a:gd name="connsiteY509" fmla="*/ 455381 h 715374"/>
                  <a:gd name="connsiteX510" fmla="*/ 407668 w 786911"/>
                  <a:gd name="connsiteY510" fmla="*/ 454978 h 715374"/>
                  <a:gd name="connsiteX511" fmla="*/ 407668 w 786911"/>
                  <a:gd name="connsiteY511" fmla="*/ 466424 h 715374"/>
                  <a:gd name="connsiteX512" fmla="*/ 375190 w 786911"/>
                  <a:gd name="connsiteY512" fmla="*/ 496899 h 715374"/>
                  <a:gd name="connsiteX513" fmla="*/ 385711 w 786911"/>
                  <a:gd name="connsiteY513" fmla="*/ 496833 h 715374"/>
                  <a:gd name="connsiteX514" fmla="*/ 385646 w 786911"/>
                  <a:gd name="connsiteY514" fmla="*/ 486311 h 715374"/>
                  <a:gd name="connsiteX515" fmla="*/ 375190 w 786911"/>
                  <a:gd name="connsiteY515" fmla="*/ 486311 h 715374"/>
                  <a:gd name="connsiteX516" fmla="*/ 375124 w 786911"/>
                  <a:gd name="connsiteY516" fmla="*/ 496833 h 715374"/>
                  <a:gd name="connsiteX517" fmla="*/ 375190 w 786911"/>
                  <a:gd name="connsiteY517" fmla="*/ 496899 h 715374"/>
                  <a:gd name="connsiteX518" fmla="*/ 341567 w 786911"/>
                  <a:gd name="connsiteY518" fmla="*/ 527660 h 715374"/>
                  <a:gd name="connsiteX519" fmla="*/ 351296 w 786911"/>
                  <a:gd name="connsiteY519" fmla="*/ 527660 h 715374"/>
                  <a:gd name="connsiteX520" fmla="*/ 351458 w 786911"/>
                  <a:gd name="connsiteY520" fmla="*/ 517949 h 715374"/>
                  <a:gd name="connsiteX521" fmla="*/ 351296 w 786911"/>
                  <a:gd name="connsiteY521" fmla="*/ 517788 h 715374"/>
                  <a:gd name="connsiteX522" fmla="*/ 341567 w 786911"/>
                  <a:gd name="connsiteY522" fmla="*/ 517788 h 715374"/>
                  <a:gd name="connsiteX523" fmla="*/ 341405 w 786911"/>
                  <a:gd name="connsiteY523" fmla="*/ 527498 h 715374"/>
                  <a:gd name="connsiteX524" fmla="*/ 341567 w 786911"/>
                  <a:gd name="connsiteY524" fmla="*/ 527660 h 715374"/>
                  <a:gd name="connsiteX525" fmla="*/ 308946 w 786911"/>
                  <a:gd name="connsiteY525" fmla="*/ 558135 h 715374"/>
                  <a:gd name="connsiteX526" fmla="*/ 317848 w 786911"/>
                  <a:gd name="connsiteY526" fmla="*/ 558246 h 715374"/>
                  <a:gd name="connsiteX527" fmla="*/ 317960 w 786911"/>
                  <a:gd name="connsiteY527" fmla="*/ 558135 h 715374"/>
                  <a:gd name="connsiteX528" fmla="*/ 319501 w 786911"/>
                  <a:gd name="connsiteY528" fmla="*/ 549161 h 715374"/>
                  <a:gd name="connsiteX529" fmla="*/ 310527 w 786911"/>
                  <a:gd name="connsiteY529" fmla="*/ 547620 h 715374"/>
                  <a:gd name="connsiteX530" fmla="*/ 309232 w 786911"/>
                  <a:gd name="connsiteY530" fmla="*/ 548835 h 715374"/>
                  <a:gd name="connsiteX531" fmla="*/ 309121 w 786911"/>
                  <a:gd name="connsiteY531" fmla="*/ 557737 h 715374"/>
                  <a:gd name="connsiteX532" fmla="*/ 309232 w 786911"/>
                  <a:gd name="connsiteY532" fmla="*/ 557849 h 715374"/>
                  <a:gd name="connsiteX533" fmla="*/ 276468 w 786911"/>
                  <a:gd name="connsiteY533" fmla="*/ 589182 h 715374"/>
                  <a:gd name="connsiteX534" fmla="*/ 284766 w 786911"/>
                  <a:gd name="connsiteY534" fmla="*/ 589468 h 715374"/>
                  <a:gd name="connsiteX535" fmla="*/ 285053 w 786911"/>
                  <a:gd name="connsiteY535" fmla="*/ 581170 h 715374"/>
                  <a:gd name="connsiteX536" fmla="*/ 276754 w 786911"/>
                  <a:gd name="connsiteY536" fmla="*/ 580884 h 715374"/>
                  <a:gd name="connsiteX537" fmla="*/ 276468 w 786911"/>
                  <a:gd name="connsiteY537" fmla="*/ 589182 h 715374"/>
                  <a:gd name="connsiteX538" fmla="*/ 243990 w 786911"/>
                  <a:gd name="connsiteY538" fmla="*/ 619657 h 715374"/>
                  <a:gd name="connsiteX539" fmla="*/ 251430 w 786911"/>
                  <a:gd name="connsiteY539" fmla="*/ 619657 h 715374"/>
                  <a:gd name="connsiteX540" fmla="*/ 251675 w 786911"/>
                  <a:gd name="connsiteY540" fmla="*/ 611973 h 715374"/>
                  <a:gd name="connsiteX541" fmla="*/ 243990 w 786911"/>
                  <a:gd name="connsiteY541" fmla="*/ 611726 h 715374"/>
                  <a:gd name="connsiteX542" fmla="*/ 243745 w 786911"/>
                  <a:gd name="connsiteY542" fmla="*/ 619412 h 715374"/>
                  <a:gd name="connsiteX543" fmla="*/ 243990 w 786911"/>
                  <a:gd name="connsiteY543" fmla="*/ 619657 h 715374"/>
                  <a:gd name="connsiteX544" fmla="*/ 211369 w 786911"/>
                  <a:gd name="connsiteY544" fmla="*/ 650132 h 715374"/>
                  <a:gd name="connsiteX545" fmla="*/ 218237 w 786911"/>
                  <a:gd name="connsiteY545" fmla="*/ 650132 h 715374"/>
                  <a:gd name="connsiteX546" fmla="*/ 218380 w 786911"/>
                  <a:gd name="connsiteY546" fmla="*/ 643407 h 715374"/>
                  <a:gd name="connsiteX547" fmla="*/ 211655 w 786911"/>
                  <a:gd name="connsiteY547" fmla="*/ 643264 h 715374"/>
                  <a:gd name="connsiteX548" fmla="*/ 211655 w 786911"/>
                  <a:gd name="connsiteY548" fmla="*/ 649989 h 715374"/>
                  <a:gd name="connsiteX549" fmla="*/ 178319 w 786911"/>
                  <a:gd name="connsiteY549" fmla="*/ 680035 h 715374"/>
                  <a:gd name="connsiteX550" fmla="*/ 184328 w 786911"/>
                  <a:gd name="connsiteY550" fmla="*/ 680035 h 715374"/>
                  <a:gd name="connsiteX551" fmla="*/ 184328 w 786911"/>
                  <a:gd name="connsiteY551" fmla="*/ 674169 h 715374"/>
                  <a:gd name="connsiteX552" fmla="*/ 178319 w 786911"/>
                  <a:gd name="connsiteY552" fmla="*/ 674169 h 715374"/>
                  <a:gd name="connsiteX553" fmla="*/ 178319 w 786911"/>
                  <a:gd name="connsiteY553" fmla="*/ 680178 h 715374"/>
                  <a:gd name="connsiteX554" fmla="*/ 145841 w 786911"/>
                  <a:gd name="connsiteY554" fmla="*/ 710653 h 715374"/>
                  <a:gd name="connsiteX555" fmla="*/ 150898 w 786911"/>
                  <a:gd name="connsiteY555" fmla="*/ 710746 h 715374"/>
                  <a:gd name="connsiteX556" fmla="*/ 150991 w 786911"/>
                  <a:gd name="connsiteY556" fmla="*/ 710653 h 715374"/>
                  <a:gd name="connsiteX557" fmla="*/ 151135 w 786911"/>
                  <a:gd name="connsiteY557" fmla="*/ 705502 h 715374"/>
                  <a:gd name="connsiteX558" fmla="*/ 145984 w 786911"/>
                  <a:gd name="connsiteY558" fmla="*/ 705359 h 715374"/>
                  <a:gd name="connsiteX559" fmla="*/ 145891 w 786911"/>
                  <a:gd name="connsiteY559" fmla="*/ 710417 h 715374"/>
                  <a:gd name="connsiteX560" fmla="*/ 145984 w 786911"/>
                  <a:gd name="connsiteY560" fmla="*/ 710510 h 715374"/>
                  <a:gd name="connsiteX561" fmla="*/ 309518 w 786911"/>
                  <a:gd name="connsiteY561" fmla="*/ 363124 h 715374"/>
                  <a:gd name="connsiteX562" fmla="*/ 320850 w 786911"/>
                  <a:gd name="connsiteY562" fmla="*/ 363153 h 715374"/>
                  <a:gd name="connsiteX563" fmla="*/ 320877 w 786911"/>
                  <a:gd name="connsiteY563" fmla="*/ 351821 h 715374"/>
                  <a:gd name="connsiteX564" fmla="*/ 309547 w 786911"/>
                  <a:gd name="connsiteY564" fmla="*/ 351792 h 715374"/>
                  <a:gd name="connsiteX565" fmla="*/ 309518 w 786911"/>
                  <a:gd name="connsiteY565" fmla="*/ 351821 h 715374"/>
                  <a:gd name="connsiteX566" fmla="*/ 309518 w 786911"/>
                  <a:gd name="connsiteY566" fmla="*/ 363124 h 715374"/>
                  <a:gd name="connsiteX567" fmla="*/ 277040 w 786911"/>
                  <a:gd name="connsiteY567" fmla="*/ 393599 h 715374"/>
                  <a:gd name="connsiteX568" fmla="*/ 287356 w 786911"/>
                  <a:gd name="connsiteY568" fmla="*/ 393871 h 715374"/>
                  <a:gd name="connsiteX569" fmla="*/ 287628 w 786911"/>
                  <a:gd name="connsiteY569" fmla="*/ 393599 h 715374"/>
                  <a:gd name="connsiteX570" fmla="*/ 287914 w 786911"/>
                  <a:gd name="connsiteY570" fmla="*/ 383011 h 715374"/>
                  <a:gd name="connsiteX571" fmla="*/ 277327 w 786911"/>
                  <a:gd name="connsiteY571" fmla="*/ 382725 h 715374"/>
                  <a:gd name="connsiteX572" fmla="*/ 277201 w 786911"/>
                  <a:gd name="connsiteY572" fmla="*/ 393044 h 715374"/>
                  <a:gd name="connsiteX573" fmla="*/ 277327 w 786911"/>
                  <a:gd name="connsiteY573" fmla="*/ 393170 h 715374"/>
                  <a:gd name="connsiteX574" fmla="*/ 244849 w 786911"/>
                  <a:gd name="connsiteY574" fmla="*/ 423788 h 715374"/>
                  <a:gd name="connsiteX575" fmla="*/ 254578 w 786911"/>
                  <a:gd name="connsiteY575" fmla="*/ 423788 h 715374"/>
                  <a:gd name="connsiteX576" fmla="*/ 254739 w 786911"/>
                  <a:gd name="connsiteY576" fmla="*/ 414077 h 715374"/>
                  <a:gd name="connsiteX577" fmla="*/ 254578 w 786911"/>
                  <a:gd name="connsiteY577" fmla="*/ 413915 h 715374"/>
                  <a:gd name="connsiteX578" fmla="*/ 244849 w 786911"/>
                  <a:gd name="connsiteY578" fmla="*/ 413915 h 715374"/>
                  <a:gd name="connsiteX579" fmla="*/ 244687 w 786911"/>
                  <a:gd name="connsiteY579" fmla="*/ 423626 h 715374"/>
                  <a:gd name="connsiteX580" fmla="*/ 244849 w 786911"/>
                  <a:gd name="connsiteY580" fmla="*/ 423788 h 715374"/>
                  <a:gd name="connsiteX581" fmla="*/ 211941 w 786911"/>
                  <a:gd name="connsiteY581" fmla="*/ 454692 h 715374"/>
                  <a:gd name="connsiteX582" fmla="*/ 220816 w 786911"/>
                  <a:gd name="connsiteY582" fmla="*/ 456726 h 715374"/>
                  <a:gd name="connsiteX583" fmla="*/ 222851 w 786911"/>
                  <a:gd name="connsiteY583" fmla="*/ 447851 h 715374"/>
                  <a:gd name="connsiteX584" fmla="*/ 221241 w 786911"/>
                  <a:gd name="connsiteY584" fmla="*/ 446107 h 715374"/>
                  <a:gd name="connsiteX585" fmla="*/ 212084 w 786911"/>
                  <a:gd name="connsiteY585" fmla="*/ 445821 h 715374"/>
                  <a:gd name="connsiteX586" fmla="*/ 211798 w 786911"/>
                  <a:gd name="connsiteY586" fmla="*/ 454978 h 715374"/>
                  <a:gd name="connsiteX587" fmla="*/ 179320 w 786911"/>
                  <a:gd name="connsiteY587" fmla="*/ 485453 h 715374"/>
                  <a:gd name="connsiteX588" fmla="*/ 187619 w 786911"/>
                  <a:gd name="connsiteY588" fmla="*/ 485739 h 715374"/>
                  <a:gd name="connsiteX589" fmla="*/ 187905 w 786911"/>
                  <a:gd name="connsiteY589" fmla="*/ 477441 h 715374"/>
                  <a:gd name="connsiteX590" fmla="*/ 179814 w 786911"/>
                  <a:gd name="connsiteY590" fmla="*/ 477233 h 715374"/>
                  <a:gd name="connsiteX591" fmla="*/ 179606 w 786911"/>
                  <a:gd name="connsiteY591" fmla="*/ 477441 h 715374"/>
                  <a:gd name="connsiteX592" fmla="*/ 179604 w 786911"/>
                  <a:gd name="connsiteY592" fmla="*/ 485736 h 715374"/>
                  <a:gd name="connsiteX593" fmla="*/ 179606 w 786911"/>
                  <a:gd name="connsiteY593" fmla="*/ 485739 h 715374"/>
                  <a:gd name="connsiteX594" fmla="*/ 147128 w 786911"/>
                  <a:gd name="connsiteY594" fmla="*/ 516214 h 715374"/>
                  <a:gd name="connsiteX595" fmla="*/ 154640 w 786911"/>
                  <a:gd name="connsiteY595" fmla="*/ 516429 h 715374"/>
                  <a:gd name="connsiteX596" fmla="*/ 154855 w 786911"/>
                  <a:gd name="connsiteY596" fmla="*/ 508917 h 715374"/>
                  <a:gd name="connsiteX597" fmla="*/ 147272 w 786911"/>
                  <a:gd name="connsiteY597" fmla="*/ 508917 h 715374"/>
                  <a:gd name="connsiteX598" fmla="*/ 147272 w 786911"/>
                  <a:gd name="connsiteY598" fmla="*/ 516500 h 715374"/>
                  <a:gd name="connsiteX599" fmla="*/ 114507 w 786911"/>
                  <a:gd name="connsiteY599" fmla="*/ 546260 h 715374"/>
                  <a:gd name="connsiteX600" fmla="*/ 121185 w 786911"/>
                  <a:gd name="connsiteY600" fmla="*/ 546212 h 715374"/>
                  <a:gd name="connsiteX601" fmla="*/ 121137 w 786911"/>
                  <a:gd name="connsiteY601" fmla="*/ 539535 h 715374"/>
                  <a:gd name="connsiteX602" fmla="*/ 114507 w 786911"/>
                  <a:gd name="connsiteY602" fmla="*/ 539535 h 715374"/>
                  <a:gd name="connsiteX603" fmla="*/ 114460 w 786911"/>
                  <a:gd name="connsiteY603" fmla="*/ 546212 h 715374"/>
                  <a:gd name="connsiteX604" fmla="*/ 114507 w 786911"/>
                  <a:gd name="connsiteY604" fmla="*/ 546260 h 715374"/>
                  <a:gd name="connsiteX605" fmla="*/ 81886 w 786911"/>
                  <a:gd name="connsiteY605" fmla="*/ 576735 h 715374"/>
                  <a:gd name="connsiteX606" fmla="*/ 87956 w 786911"/>
                  <a:gd name="connsiteY606" fmla="*/ 576795 h 715374"/>
                  <a:gd name="connsiteX607" fmla="*/ 88017 w 786911"/>
                  <a:gd name="connsiteY607" fmla="*/ 570725 h 715374"/>
                  <a:gd name="connsiteX608" fmla="*/ 81946 w 786911"/>
                  <a:gd name="connsiteY608" fmla="*/ 570665 h 715374"/>
                  <a:gd name="connsiteX609" fmla="*/ 81886 w 786911"/>
                  <a:gd name="connsiteY609" fmla="*/ 570725 h 715374"/>
                  <a:gd name="connsiteX610" fmla="*/ 81886 w 786911"/>
                  <a:gd name="connsiteY610" fmla="*/ 576735 h 715374"/>
                  <a:gd name="connsiteX611" fmla="*/ 49551 w 786911"/>
                  <a:gd name="connsiteY611" fmla="*/ 607066 h 715374"/>
                  <a:gd name="connsiteX612" fmla="*/ 54609 w 786911"/>
                  <a:gd name="connsiteY612" fmla="*/ 607159 h 715374"/>
                  <a:gd name="connsiteX613" fmla="*/ 54702 w 786911"/>
                  <a:gd name="connsiteY613" fmla="*/ 607066 h 715374"/>
                  <a:gd name="connsiteX614" fmla="*/ 54795 w 786911"/>
                  <a:gd name="connsiteY614" fmla="*/ 602009 h 715374"/>
                  <a:gd name="connsiteX615" fmla="*/ 54702 w 786911"/>
                  <a:gd name="connsiteY615" fmla="*/ 601916 h 715374"/>
                  <a:gd name="connsiteX616" fmla="*/ 49644 w 786911"/>
                  <a:gd name="connsiteY616" fmla="*/ 601823 h 715374"/>
                  <a:gd name="connsiteX617" fmla="*/ 49551 w 786911"/>
                  <a:gd name="connsiteY617" fmla="*/ 601916 h 715374"/>
                  <a:gd name="connsiteX618" fmla="*/ 49551 w 786911"/>
                  <a:gd name="connsiteY618" fmla="*/ 607210 h 715374"/>
                  <a:gd name="connsiteX619" fmla="*/ 17073 w 786911"/>
                  <a:gd name="connsiteY619" fmla="*/ 637684 h 715374"/>
                  <a:gd name="connsiteX620" fmla="*/ 21509 w 786911"/>
                  <a:gd name="connsiteY620" fmla="*/ 637684 h 715374"/>
                  <a:gd name="connsiteX621" fmla="*/ 21509 w 786911"/>
                  <a:gd name="connsiteY621" fmla="*/ 633249 h 715374"/>
                  <a:gd name="connsiteX622" fmla="*/ 17073 w 786911"/>
                  <a:gd name="connsiteY622" fmla="*/ 633249 h 715374"/>
                  <a:gd name="connsiteX623" fmla="*/ 16883 w 786911"/>
                  <a:gd name="connsiteY623" fmla="*/ 637494 h 715374"/>
                  <a:gd name="connsiteX624" fmla="*/ 17073 w 786911"/>
                  <a:gd name="connsiteY624" fmla="*/ 637684 h 715374"/>
                  <a:gd name="connsiteX625" fmla="*/ 328977 w 786911"/>
                  <a:gd name="connsiteY625" fmla="*/ 383870 h 715374"/>
                  <a:gd name="connsiteX626" fmla="*/ 340279 w 786911"/>
                  <a:gd name="connsiteY626" fmla="*/ 383870 h 715374"/>
                  <a:gd name="connsiteX627" fmla="*/ 340279 w 786911"/>
                  <a:gd name="connsiteY627" fmla="*/ 372424 h 715374"/>
                  <a:gd name="connsiteX628" fmla="*/ 328833 w 786911"/>
                  <a:gd name="connsiteY628" fmla="*/ 372424 h 715374"/>
                  <a:gd name="connsiteX629" fmla="*/ 328833 w 786911"/>
                  <a:gd name="connsiteY629" fmla="*/ 383727 h 715374"/>
                  <a:gd name="connsiteX630" fmla="*/ 296212 w 786911"/>
                  <a:gd name="connsiteY630" fmla="*/ 414202 h 715374"/>
                  <a:gd name="connsiteX631" fmla="*/ 306734 w 786911"/>
                  <a:gd name="connsiteY631" fmla="*/ 414267 h 715374"/>
                  <a:gd name="connsiteX632" fmla="*/ 306800 w 786911"/>
                  <a:gd name="connsiteY632" fmla="*/ 414202 h 715374"/>
                  <a:gd name="connsiteX633" fmla="*/ 307158 w 786911"/>
                  <a:gd name="connsiteY633" fmla="*/ 403686 h 715374"/>
                  <a:gd name="connsiteX634" fmla="*/ 296642 w 786911"/>
                  <a:gd name="connsiteY634" fmla="*/ 403328 h 715374"/>
                  <a:gd name="connsiteX635" fmla="*/ 296642 w 786911"/>
                  <a:gd name="connsiteY635" fmla="*/ 413915 h 715374"/>
                  <a:gd name="connsiteX636" fmla="*/ 264164 w 786911"/>
                  <a:gd name="connsiteY636" fmla="*/ 444820 h 715374"/>
                  <a:gd name="connsiteX637" fmla="*/ 273874 w 786911"/>
                  <a:gd name="connsiteY637" fmla="*/ 444981 h 715374"/>
                  <a:gd name="connsiteX638" fmla="*/ 274036 w 786911"/>
                  <a:gd name="connsiteY638" fmla="*/ 444820 h 715374"/>
                  <a:gd name="connsiteX639" fmla="*/ 274036 w 786911"/>
                  <a:gd name="connsiteY639" fmla="*/ 435091 h 715374"/>
                  <a:gd name="connsiteX640" fmla="*/ 264325 w 786911"/>
                  <a:gd name="connsiteY640" fmla="*/ 434929 h 715374"/>
                  <a:gd name="connsiteX641" fmla="*/ 264164 w 786911"/>
                  <a:gd name="connsiteY641" fmla="*/ 435091 h 715374"/>
                  <a:gd name="connsiteX642" fmla="*/ 264164 w 786911"/>
                  <a:gd name="connsiteY642" fmla="*/ 444820 h 715374"/>
                  <a:gd name="connsiteX643" fmla="*/ 231400 w 786911"/>
                  <a:gd name="connsiteY643" fmla="*/ 474722 h 715374"/>
                  <a:gd name="connsiteX644" fmla="*/ 240505 w 786911"/>
                  <a:gd name="connsiteY644" fmla="*/ 474814 h 715374"/>
                  <a:gd name="connsiteX645" fmla="*/ 240595 w 786911"/>
                  <a:gd name="connsiteY645" fmla="*/ 465709 h 715374"/>
                  <a:gd name="connsiteX646" fmla="*/ 231491 w 786911"/>
                  <a:gd name="connsiteY646" fmla="*/ 465617 h 715374"/>
                  <a:gd name="connsiteX647" fmla="*/ 231400 w 786911"/>
                  <a:gd name="connsiteY647" fmla="*/ 465709 h 715374"/>
                  <a:gd name="connsiteX648" fmla="*/ 231288 w 786911"/>
                  <a:gd name="connsiteY648" fmla="*/ 474611 h 715374"/>
                  <a:gd name="connsiteX649" fmla="*/ 231400 w 786911"/>
                  <a:gd name="connsiteY649" fmla="*/ 474722 h 715374"/>
                  <a:gd name="connsiteX650" fmla="*/ 198922 w 786911"/>
                  <a:gd name="connsiteY650" fmla="*/ 505197 h 715374"/>
                  <a:gd name="connsiteX651" fmla="*/ 206808 w 786911"/>
                  <a:gd name="connsiteY651" fmla="*/ 505466 h 715374"/>
                  <a:gd name="connsiteX652" fmla="*/ 207077 w 786911"/>
                  <a:gd name="connsiteY652" fmla="*/ 505197 h 715374"/>
                  <a:gd name="connsiteX653" fmla="*/ 207284 w 786911"/>
                  <a:gd name="connsiteY653" fmla="*/ 497106 h 715374"/>
                  <a:gd name="connsiteX654" fmla="*/ 207077 w 786911"/>
                  <a:gd name="connsiteY654" fmla="*/ 496899 h 715374"/>
                  <a:gd name="connsiteX655" fmla="*/ 198922 w 786911"/>
                  <a:gd name="connsiteY655" fmla="*/ 496899 h 715374"/>
                  <a:gd name="connsiteX656" fmla="*/ 198714 w 786911"/>
                  <a:gd name="connsiteY656" fmla="*/ 504990 h 715374"/>
                  <a:gd name="connsiteX657" fmla="*/ 198922 w 786911"/>
                  <a:gd name="connsiteY657" fmla="*/ 505197 h 715374"/>
                  <a:gd name="connsiteX658" fmla="*/ 166300 w 786911"/>
                  <a:gd name="connsiteY658" fmla="*/ 536244 h 715374"/>
                  <a:gd name="connsiteX659" fmla="*/ 173883 w 786911"/>
                  <a:gd name="connsiteY659" fmla="*/ 536244 h 715374"/>
                  <a:gd name="connsiteX660" fmla="*/ 173883 w 786911"/>
                  <a:gd name="connsiteY660" fmla="*/ 528805 h 715374"/>
                  <a:gd name="connsiteX661" fmla="*/ 166300 w 786911"/>
                  <a:gd name="connsiteY661" fmla="*/ 528805 h 715374"/>
                  <a:gd name="connsiteX662" fmla="*/ 166300 w 786911"/>
                  <a:gd name="connsiteY662" fmla="*/ 536244 h 715374"/>
                  <a:gd name="connsiteX663" fmla="*/ 133822 w 786911"/>
                  <a:gd name="connsiteY663" fmla="*/ 566719 h 715374"/>
                  <a:gd name="connsiteX664" fmla="*/ 140500 w 786911"/>
                  <a:gd name="connsiteY664" fmla="*/ 566672 h 715374"/>
                  <a:gd name="connsiteX665" fmla="*/ 140453 w 786911"/>
                  <a:gd name="connsiteY665" fmla="*/ 559995 h 715374"/>
                  <a:gd name="connsiteX666" fmla="*/ 133822 w 786911"/>
                  <a:gd name="connsiteY666" fmla="*/ 559995 h 715374"/>
                  <a:gd name="connsiteX667" fmla="*/ 133775 w 786911"/>
                  <a:gd name="connsiteY667" fmla="*/ 566672 h 715374"/>
                  <a:gd name="connsiteX668" fmla="*/ 133822 w 786911"/>
                  <a:gd name="connsiteY668" fmla="*/ 566719 h 715374"/>
                  <a:gd name="connsiteX669" fmla="*/ 101345 w 786911"/>
                  <a:gd name="connsiteY669" fmla="*/ 597194 h 715374"/>
                  <a:gd name="connsiteX670" fmla="*/ 107354 w 786911"/>
                  <a:gd name="connsiteY670" fmla="*/ 597194 h 715374"/>
                  <a:gd name="connsiteX671" fmla="*/ 107354 w 786911"/>
                  <a:gd name="connsiteY671" fmla="*/ 591185 h 715374"/>
                  <a:gd name="connsiteX672" fmla="*/ 101345 w 786911"/>
                  <a:gd name="connsiteY672" fmla="*/ 591185 h 715374"/>
                  <a:gd name="connsiteX673" fmla="*/ 101345 w 786911"/>
                  <a:gd name="connsiteY673" fmla="*/ 597051 h 715374"/>
                  <a:gd name="connsiteX674" fmla="*/ 68867 w 786911"/>
                  <a:gd name="connsiteY674" fmla="*/ 627526 h 715374"/>
                  <a:gd name="connsiteX675" fmla="*/ 73924 w 786911"/>
                  <a:gd name="connsiteY675" fmla="*/ 627619 h 715374"/>
                  <a:gd name="connsiteX676" fmla="*/ 74017 w 786911"/>
                  <a:gd name="connsiteY676" fmla="*/ 627526 h 715374"/>
                  <a:gd name="connsiteX677" fmla="*/ 74017 w 786911"/>
                  <a:gd name="connsiteY677" fmla="*/ 622232 h 715374"/>
                  <a:gd name="connsiteX678" fmla="*/ 68960 w 786911"/>
                  <a:gd name="connsiteY678" fmla="*/ 622139 h 715374"/>
                  <a:gd name="connsiteX679" fmla="*/ 68867 w 786911"/>
                  <a:gd name="connsiteY679" fmla="*/ 622232 h 715374"/>
                  <a:gd name="connsiteX680" fmla="*/ 68774 w 786911"/>
                  <a:gd name="connsiteY680" fmla="*/ 627290 h 715374"/>
                  <a:gd name="connsiteX681" fmla="*/ 68867 w 786911"/>
                  <a:gd name="connsiteY681" fmla="*/ 627383 h 715374"/>
                  <a:gd name="connsiteX682" fmla="*/ 36245 w 786911"/>
                  <a:gd name="connsiteY682" fmla="*/ 658001 h 715374"/>
                  <a:gd name="connsiteX683" fmla="*/ 40681 w 786911"/>
                  <a:gd name="connsiteY683" fmla="*/ 658001 h 715374"/>
                  <a:gd name="connsiteX684" fmla="*/ 40724 w 786911"/>
                  <a:gd name="connsiteY684" fmla="*/ 653752 h 715374"/>
                  <a:gd name="connsiteX685" fmla="*/ 40681 w 786911"/>
                  <a:gd name="connsiteY685" fmla="*/ 653709 h 715374"/>
                  <a:gd name="connsiteX686" fmla="*/ 36436 w 786911"/>
                  <a:gd name="connsiteY686" fmla="*/ 653519 h 715374"/>
                  <a:gd name="connsiteX687" fmla="*/ 36245 w 786911"/>
                  <a:gd name="connsiteY687" fmla="*/ 653709 h 715374"/>
                  <a:gd name="connsiteX688" fmla="*/ 36245 w 786911"/>
                  <a:gd name="connsiteY688" fmla="*/ 658144 h 715374"/>
                  <a:gd name="connsiteX689" fmla="*/ 348292 w 786911"/>
                  <a:gd name="connsiteY689" fmla="*/ 404616 h 715374"/>
                  <a:gd name="connsiteX690" fmla="*/ 359738 w 786911"/>
                  <a:gd name="connsiteY690" fmla="*/ 404616 h 715374"/>
                  <a:gd name="connsiteX691" fmla="*/ 359738 w 786911"/>
                  <a:gd name="connsiteY691" fmla="*/ 393313 h 715374"/>
                  <a:gd name="connsiteX692" fmla="*/ 348435 w 786911"/>
                  <a:gd name="connsiteY692" fmla="*/ 393313 h 715374"/>
                  <a:gd name="connsiteX693" fmla="*/ 348435 w 786911"/>
                  <a:gd name="connsiteY693" fmla="*/ 404759 h 715374"/>
                  <a:gd name="connsiteX694" fmla="*/ 315957 w 786911"/>
                  <a:gd name="connsiteY694" fmla="*/ 435234 h 715374"/>
                  <a:gd name="connsiteX695" fmla="*/ 326478 w 786911"/>
                  <a:gd name="connsiteY695" fmla="*/ 435168 h 715374"/>
                  <a:gd name="connsiteX696" fmla="*/ 326413 w 786911"/>
                  <a:gd name="connsiteY696" fmla="*/ 424646 h 715374"/>
                  <a:gd name="connsiteX697" fmla="*/ 315957 w 786911"/>
                  <a:gd name="connsiteY697" fmla="*/ 424646 h 715374"/>
                  <a:gd name="connsiteX698" fmla="*/ 315891 w 786911"/>
                  <a:gd name="connsiteY698" fmla="*/ 435168 h 715374"/>
                  <a:gd name="connsiteX699" fmla="*/ 315957 w 786911"/>
                  <a:gd name="connsiteY699" fmla="*/ 435234 h 715374"/>
                  <a:gd name="connsiteX700" fmla="*/ 283479 w 786911"/>
                  <a:gd name="connsiteY700" fmla="*/ 465709 h 715374"/>
                  <a:gd name="connsiteX701" fmla="*/ 293377 w 786911"/>
                  <a:gd name="connsiteY701" fmla="*/ 465125 h 715374"/>
                  <a:gd name="connsiteX702" fmla="*/ 293637 w 786911"/>
                  <a:gd name="connsiteY702" fmla="*/ 456123 h 715374"/>
                  <a:gd name="connsiteX703" fmla="*/ 283765 w 786911"/>
                  <a:gd name="connsiteY703" fmla="*/ 456123 h 715374"/>
                  <a:gd name="connsiteX704" fmla="*/ 283603 w 786911"/>
                  <a:gd name="connsiteY704" fmla="*/ 465833 h 715374"/>
                  <a:gd name="connsiteX705" fmla="*/ 283765 w 786911"/>
                  <a:gd name="connsiteY705" fmla="*/ 465995 h 715374"/>
                  <a:gd name="connsiteX706" fmla="*/ 251287 w 786911"/>
                  <a:gd name="connsiteY706" fmla="*/ 496470 h 715374"/>
                  <a:gd name="connsiteX707" fmla="*/ 260392 w 786911"/>
                  <a:gd name="connsiteY707" fmla="*/ 496561 h 715374"/>
                  <a:gd name="connsiteX708" fmla="*/ 260482 w 786911"/>
                  <a:gd name="connsiteY708" fmla="*/ 487456 h 715374"/>
                  <a:gd name="connsiteX709" fmla="*/ 251378 w 786911"/>
                  <a:gd name="connsiteY709" fmla="*/ 487364 h 715374"/>
                  <a:gd name="connsiteX710" fmla="*/ 251287 w 786911"/>
                  <a:gd name="connsiteY710" fmla="*/ 487456 h 715374"/>
                  <a:gd name="connsiteX711" fmla="*/ 251175 w 786911"/>
                  <a:gd name="connsiteY711" fmla="*/ 496358 h 715374"/>
                  <a:gd name="connsiteX712" fmla="*/ 251287 w 786911"/>
                  <a:gd name="connsiteY712" fmla="*/ 496470 h 715374"/>
                  <a:gd name="connsiteX713" fmla="*/ 218666 w 786911"/>
                  <a:gd name="connsiteY713" fmla="*/ 526945 h 715374"/>
                  <a:gd name="connsiteX714" fmla="*/ 226964 w 786911"/>
                  <a:gd name="connsiteY714" fmla="*/ 526945 h 715374"/>
                  <a:gd name="connsiteX715" fmla="*/ 227250 w 786911"/>
                  <a:gd name="connsiteY715" fmla="*/ 518646 h 715374"/>
                  <a:gd name="connsiteX716" fmla="*/ 218952 w 786911"/>
                  <a:gd name="connsiteY716" fmla="*/ 518360 h 715374"/>
                  <a:gd name="connsiteX717" fmla="*/ 218952 w 786911"/>
                  <a:gd name="connsiteY717" fmla="*/ 526658 h 715374"/>
                  <a:gd name="connsiteX718" fmla="*/ 186474 w 786911"/>
                  <a:gd name="connsiteY718" fmla="*/ 557133 h 715374"/>
                  <a:gd name="connsiteX719" fmla="*/ 193914 w 786911"/>
                  <a:gd name="connsiteY719" fmla="*/ 557133 h 715374"/>
                  <a:gd name="connsiteX720" fmla="*/ 193914 w 786911"/>
                  <a:gd name="connsiteY720" fmla="*/ 549550 h 715374"/>
                  <a:gd name="connsiteX721" fmla="*/ 186474 w 786911"/>
                  <a:gd name="connsiteY721" fmla="*/ 549550 h 715374"/>
                  <a:gd name="connsiteX722" fmla="*/ 186474 w 786911"/>
                  <a:gd name="connsiteY722" fmla="*/ 557133 h 715374"/>
                  <a:gd name="connsiteX723" fmla="*/ 153996 w 786911"/>
                  <a:gd name="connsiteY723" fmla="*/ 587608 h 715374"/>
                  <a:gd name="connsiteX724" fmla="*/ 160673 w 786911"/>
                  <a:gd name="connsiteY724" fmla="*/ 587561 h 715374"/>
                  <a:gd name="connsiteX725" fmla="*/ 160626 w 786911"/>
                  <a:gd name="connsiteY725" fmla="*/ 580884 h 715374"/>
                  <a:gd name="connsiteX726" fmla="*/ 153996 w 786911"/>
                  <a:gd name="connsiteY726" fmla="*/ 580884 h 715374"/>
                  <a:gd name="connsiteX727" fmla="*/ 153949 w 786911"/>
                  <a:gd name="connsiteY727" fmla="*/ 587561 h 715374"/>
                  <a:gd name="connsiteX728" fmla="*/ 153996 w 786911"/>
                  <a:gd name="connsiteY728" fmla="*/ 587608 h 715374"/>
                  <a:gd name="connsiteX729" fmla="*/ 121089 w 786911"/>
                  <a:gd name="connsiteY729" fmla="*/ 617797 h 715374"/>
                  <a:gd name="connsiteX730" fmla="*/ 126955 w 786911"/>
                  <a:gd name="connsiteY730" fmla="*/ 617940 h 715374"/>
                  <a:gd name="connsiteX731" fmla="*/ 127098 w 786911"/>
                  <a:gd name="connsiteY731" fmla="*/ 617797 h 715374"/>
                  <a:gd name="connsiteX732" fmla="*/ 127303 w 786911"/>
                  <a:gd name="connsiteY732" fmla="*/ 612136 h 715374"/>
                  <a:gd name="connsiteX733" fmla="*/ 127098 w 786911"/>
                  <a:gd name="connsiteY733" fmla="*/ 611931 h 715374"/>
                  <a:gd name="connsiteX734" fmla="*/ 121232 w 786911"/>
                  <a:gd name="connsiteY734" fmla="*/ 611931 h 715374"/>
                  <a:gd name="connsiteX735" fmla="*/ 121089 w 786911"/>
                  <a:gd name="connsiteY735" fmla="*/ 617797 h 715374"/>
                  <a:gd name="connsiteX736" fmla="*/ 88182 w 786911"/>
                  <a:gd name="connsiteY736" fmla="*/ 648415 h 715374"/>
                  <a:gd name="connsiteX737" fmla="*/ 93428 w 786911"/>
                  <a:gd name="connsiteY737" fmla="*/ 648032 h 715374"/>
                  <a:gd name="connsiteX738" fmla="*/ 93619 w 786911"/>
                  <a:gd name="connsiteY738" fmla="*/ 643407 h 715374"/>
                  <a:gd name="connsiteX739" fmla="*/ 88325 w 786911"/>
                  <a:gd name="connsiteY739" fmla="*/ 643407 h 715374"/>
                  <a:gd name="connsiteX740" fmla="*/ 88232 w 786911"/>
                  <a:gd name="connsiteY740" fmla="*/ 648465 h 715374"/>
                  <a:gd name="connsiteX741" fmla="*/ 88325 w 786911"/>
                  <a:gd name="connsiteY741" fmla="*/ 648558 h 7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Lst>
                <a:rect l="l" t="t" r="r" b="b"/>
                <a:pathLst>
                  <a:path w="786911" h="715374">
                    <a:moveTo>
                      <a:pt x="412818" y="383011"/>
                    </a:moveTo>
                    <a:cubicBezTo>
                      <a:pt x="415946" y="386186"/>
                      <a:pt x="415946" y="391282"/>
                      <a:pt x="412818" y="394457"/>
                    </a:cubicBezTo>
                    <a:cubicBezTo>
                      <a:pt x="409692" y="397568"/>
                      <a:pt x="404642" y="397568"/>
                      <a:pt x="401515" y="394457"/>
                    </a:cubicBezTo>
                    <a:cubicBezTo>
                      <a:pt x="398405" y="391331"/>
                      <a:pt x="398405" y="386281"/>
                      <a:pt x="401515" y="383154"/>
                    </a:cubicBezTo>
                    <a:cubicBezTo>
                      <a:pt x="404720" y="380103"/>
                      <a:pt x="409757" y="380103"/>
                      <a:pt x="412961" y="383154"/>
                    </a:cubicBezTo>
                    <a:moveTo>
                      <a:pt x="445439" y="352679"/>
                    </a:moveTo>
                    <a:cubicBezTo>
                      <a:pt x="442516" y="349792"/>
                      <a:pt x="437805" y="349822"/>
                      <a:pt x="434918" y="352745"/>
                    </a:cubicBezTo>
                    <a:cubicBezTo>
                      <a:pt x="432031" y="355670"/>
                      <a:pt x="432061" y="360380"/>
                      <a:pt x="434984" y="363267"/>
                    </a:cubicBezTo>
                    <a:cubicBezTo>
                      <a:pt x="437882" y="366128"/>
                      <a:pt x="442542" y="366128"/>
                      <a:pt x="445439" y="363267"/>
                    </a:cubicBezTo>
                    <a:cubicBezTo>
                      <a:pt x="448362" y="360380"/>
                      <a:pt x="448393" y="355670"/>
                      <a:pt x="445505" y="352745"/>
                    </a:cubicBezTo>
                    <a:cubicBezTo>
                      <a:pt x="445484" y="352724"/>
                      <a:pt x="445461" y="352701"/>
                      <a:pt x="445439" y="352679"/>
                    </a:cubicBezTo>
                    <a:moveTo>
                      <a:pt x="477917" y="322205"/>
                    </a:moveTo>
                    <a:cubicBezTo>
                      <a:pt x="475023" y="319632"/>
                      <a:pt x="470592" y="319894"/>
                      <a:pt x="468019" y="322788"/>
                    </a:cubicBezTo>
                    <a:cubicBezTo>
                      <a:pt x="465762" y="325329"/>
                      <a:pt x="465652" y="329124"/>
                      <a:pt x="467759" y="331791"/>
                    </a:cubicBezTo>
                    <a:cubicBezTo>
                      <a:pt x="470522" y="334425"/>
                      <a:pt x="474868" y="334425"/>
                      <a:pt x="477631" y="331791"/>
                    </a:cubicBezTo>
                    <a:cubicBezTo>
                      <a:pt x="480357" y="329154"/>
                      <a:pt x="480430" y="324806"/>
                      <a:pt x="477793" y="322080"/>
                    </a:cubicBezTo>
                    <a:cubicBezTo>
                      <a:pt x="477740" y="322024"/>
                      <a:pt x="477686" y="321971"/>
                      <a:pt x="477631" y="321918"/>
                    </a:cubicBezTo>
                    <a:moveTo>
                      <a:pt x="510252" y="291587"/>
                    </a:moveTo>
                    <a:cubicBezTo>
                      <a:pt x="507763" y="289047"/>
                      <a:pt x="503687" y="289007"/>
                      <a:pt x="501147" y="291495"/>
                    </a:cubicBezTo>
                    <a:cubicBezTo>
                      <a:pt x="498607" y="293984"/>
                      <a:pt x="498567" y="298061"/>
                      <a:pt x="501057" y="300600"/>
                    </a:cubicBezTo>
                    <a:cubicBezTo>
                      <a:pt x="503545" y="303140"/>
                      <a:pt x="507621" y="303180"/>
                      <a:pt x="510161" y="300692"/>
                    </a:cubicBezTo>
                    <a:cubicBezTo>
                      <a:pt x="510192" y="300662"/>
                      <a:pt x="510222" y="300630"/>
                      <a:pt x="510252" y="300600"/>
                    </a:cubicBezTo>
                    <a:cubicBezTo>
                      <a:pt x="512742" y="298172"/>
                      <a:pt x="512792" y="294188"/>
                      <a:pt x="510364" y="291698"/>
                    </a:cubicBezTo>
                    <a:cubicBezTo>
                      <a:pt x="510327" y="291661"/>
                      <a:pt x="510289" y="291624"/>
                      <a:pt x="510252" y="291587"/>
                    </a:cubicBezTo>
                    <a:moveTo>
                      <a:pt x="542873" y="261112"/>
                    </a:moveTo>
                    <a:cubicBezTo>
                      <a:pt x="540551" y="258895"/>
                      <a:pt x="536897" y="258895"/>
                      <a:pt x="534575" y="261112"/>
                    </a:cubicBezTo>
                    <a:cubicBezTo>
                      <a:pt x="532204" y="263324"/>
                      <a:pt x="532077" y="267039"/>
                      <a:pt x="534289" y="269410"/>
                    </a:cubicBezTo>
                    <a:cubicBezTo>
                      <a:pt x="536501" y="271781"/>
                      <a:pt x="540216" y="271908"/>
                      <a:pt x="542587" y="269696"/>
                    </a:cubicBezTo>
                    <a:cubicBezTo>
                      <a:pt x="544803" y="267374"/>
                      <a:pt x="544803" y="263720"/>
                      <a:pt x="542587" y="261398"/>
                    </a:cubicBezTo>
                    <a:moveTo>
                      <a:pt x="575065" y="230923"/>
                    </a:moveTo>
                    <a:cubicBezTo>
                      <a:pt x="573003" y="228887"/>
                      <a:pt x="569687" y="228887"/>
                      <a:pt x="567625" y="230923"/>
                    </a:cubicBezTo>
                    <a:cubicBezTo>
                      <a:pt x="565572" y="233033"/>
                      <a:pt x="565572" y="236395"/>
                      <a:pt x="567625" y="238506"/>
                    </a:cubicBezTo>
                    <a:cubicBezTo>
                      <a:pt x="569687" y="240542"/>
                      <a:pt x="573003" y="240542"/>
                      <a:pt x="575065" y="238506"/>
                    </a:cubicBezTo>
                    <a:cubicBezTo>
                      <a:pt x="577118" y="236395"/>
                      <a:pt x="577118" y="233033"/>
                      <a:pt x="575065" y="230923"/>
                    </a:cubicBezTo>
                    <a:moveTo>
                      <a:pt x="607543" y="200162"/>
                    </a:moveTo>
                    <a:cubicBezTo>
                      <a:pt x="605726" y="198266"/>
                      <a:pt x="602716" y="198202"/>
                      <a:pt x="600819" y="200019"/>
                    </a:cubicBezTo>
                    <a:cubicBezTo>
                      <a:pt x="598923" y="201836"/>
                      <a:pt x="598859" y="204847"/>
                      <a:pt x="600676" y="206743"/>
                    </a:cubicBezTo>
                    <a:cubicBezTo>
                      <a:pt x="602493" y="208640"/>
                      <a:pt x="605503" y="208703"/>
                      <a:pt x="607400" y="206886"/>
                    </a:cubicBezTo>
                    <a:cubicBezTo>
                      <a:pt x="609296" y="205069"/>
                      <a:pt x="609360" y="202059"/>
                      <a:pt x="607543" y="200162"/>
                    </a:cubicBezTo>
                    <a:moveTo>
                      <a:pt x="640164" y="169687"/>
                    </a:moveTo>
                    <a:cubicBezTo>
                      <a:pt x="638583" y="168027"/>
                      <a:pt x="635958" y="167963"/>
                      <a:pt x="634298" y="169544"/>
                    </a:cubicBezTo>
                    <a:cubicBezTo>
                      <a:pt x="634250" y="169591"/>
                      <a:pt x="634201" y="169638"/>
                      <a:pt x="634155" y="169687"/>
                    </a:cubicBezTo>
                    <a:cubicBezTo>
                      <a:pt x="632536" y="171193"/>
                      <a:pt x="632444" y="173729"/>
                      <a:pt x="633951" y="175348"/>
                    </a:cubicBezTo>
                    <a:cubicBezTo>
                      <a:pt x="634016" y="175420"/>
                      <a:pt x="634085" y="175487"/>
                      <a:pt x="634155" y="175553"/>
                    </a:cubicBezTo>
                    <a:cubicBezTo>
                      <a:pt x="635775" y="177172"/>
                      <a:pt x="638402" y="177172"/>
                      <a:pt x="640021" y="175553"/>
                    </a:cubicBezTo>
                    <a:cubicBezTo>
                      <a:pt x="641657" y="173883"/>
                      <a:pt x="641657" y="171213"/>
                      <a:pt x="640021" y="169544"/>
                    </a:cubicBezTo>
                    <a:moveTo>
                      <a:pt x="672499" y="139069"/>
                    </a:moveTo>
                    <a:cubicBezTo>
                      <a:pt x="670944" y="137725"/>
                      <a:pt x="668596" y="137897"/>
                      <a:pt x="667253" y="139452"/>
                    </a:cubicBezTo>
                    <a:cubicBezTo>
                      <a:pt x="666121" y="140761"/>
                      <a:pt x="666042" y="142679"/>
                      <a:pt x="667062" y="144076"/>
                    </a:cubicBezTo>
                    <a:cubicBezTo>
                      <a:pt x="668550" y="145476"/>
                      <a:pt x="670870" y="145476"/>
                      <a:pt x="672356" y="144076"/>
                    </a:cubicBezTo>
                    <a:cubicBezTo>
                      <a:pt x="673778" y="142706"/>
                      <a:pt x="673820" y="140441"/>
                      <a:pt x="672449" y="139019"/>
                    </a:cubicBezTo>
                    <a:cubicBezTo>
                      <a:pt x="672419" y="138987"/>
                      <a:pt x="672388" y="138956"/>
                      <a:pt x="672356" y="138926"/>
                    </a:cubicBezTo>
                    <a:moveTo>
                      <a:pt x="704834" y="108451"/>
                    </a:moveTo>
                    <a:cubicBezTo>
                      <a:pt x="703609" y="107217"/>
                      <a:pt x="701616" y="107210"/>
                      <a:pt x="700383" y="108435"/>
                    </a:cubicBezTo>
                    <a:cubicBezTo>
                      <a:pt x="699148" y="109660"/>
                      <a:pt x="699141" y="111653"/>
                      <a:pt x="700367" y="112886"/>
                    </a:cubicBezTo>
                    <a:cubicBezTo>
                      <a:pt x="701592" y="114119"/>
                      <a:pt x="703585" y="114127"/>
                      <a:pt x="704818" y="112902"/>
                    </a:cubicBezTo>
                    <a:cubicBezTo>
                      <a:pt x="704824" y="112898"/>
                      <a:pt x="704828" y="112892"/>
                      <a:pt x="704834" y="112886"/>
                    </a:cubicBezTo>
                    <a:cubicBezTo>
                      <a:pt x="706053" y="111659"/>
                      <a:pt x="706053" y="109678"/>
                      <a:pt x="704834" y="108451"/>
                    </a:cubicBezTo>
                    <a:moveTo>
                      <a:pt x="737312" y="77976"/>
                    </a:moveTo>
                    <a:cubicBezTo>
                      <a:pt x="736315" y="77013"/>
                      <a:pt x="734732" y="77013"/>
                      <a:pt x="733735" y="77976"/>
                    </a:cubicBezTo>
                    <a:cubicBezTo>
                      <a:pt x="732708" y="78963"/>
                      <a:pt x="732676" y="80597"/>
                      <a:pt x="733664" y="81624"/>
                    </a:cubicBezTo>
                    <a:cubicBezTo>
                      <a:pt x="734651" y="82652"/>
                      <a:pt x="736285" y="82683"/>
                      <a:pt x="737312" y="81696"/>
                    </a:cubicBezTo>
                    <a:cubicBezTo>
                      <a:pt x="738299" y="80786"/>
                      <a:pt x="738362" y="79246"/>
                      <a:pt x="737452" y="78259"/>
                    </a:cubicBezTo>
                    <a:cubicBezTo>
                      <a:pt x="737408" y="78210"/>
                      <a:pt x="737361" y="78163"/>
                      <a:pt x="737312" y="78119"/>
                    </a:cubicBezTo>
                    <a:moveTo>
                      <a:pt x="432133" y="403185"/>
                    </a:moveTo>
                    <a:cubicBezTo>
                      <a:pt x="429107" y="400521"/>
                      <a:pt x="424572" y="400521"/>
                      <a:pt x="421546" y="403185"/>
                    </a:cubicBezTo>
                    <a:cubicBezTo>
                      <a:pt x="418418" y="406360"/>
                      <a:pt x="418418" y="411456"/>
                      <a:pt x="421546" y="414631"/>
                    </a:cubicBezTo>
                    <a:cubicBezTo>
                      <a:pt x="424751" y="417683"/>
                      <a:pt x="429787" y="417683"/>
                      <a:pt x="432992" y="414631"/>
                    </a:cubicBezTo>
                    <a:cubicBezTo>
                      <a:pt x="436102" y="411505"/>
                      <a:pt x="436102" y="406454"/>
                      <a:pt x="432992" y="403328"/>
                    </a:cubicBezTo>
                    <a:moveTo>
                      <a:pt x="464468" y="373282"/>
                    </a:moveTo>
                    <a:cubicBezTo>
                      <a:pt x="461581" y="370359"/>
                      <a:pt x="456871" y="370329"/>
                      <a:pt x="453947" y="373216"/>
                    </a:cubicBezTo>
                    <a:cubicBezTo>
                      <a:pt x="453925" y="373238"/>
                      <a:pt x="453902" y="373259"/>
                      <a:pt x="453881" y="373282"/>
                    </a:cubicBezTo>
                    <a:cubicBezTo>
                      <a:pt x="450996" y="376097"/>
                      <a:pt x="450941" y="380716"/>
                      <a:pt x="453755" y="383601"/>
                    </a:cubicBezTo>
                    <a:cubicBezTo>
                      <a:pt x="453796" y="383644"/>
                      <a:pt x="453838" y="383685"/>
                      <a:pt x="453881" y="383727"/>
                    </a:cubicBezTo>
                    <a:cubicBezTo>
                      <a:pt x="456768" y="386650"/>
                      <a:pt x="461478" y="386680"/>
                      <a:pt x="464403" y="383793"/>
                    </a:cubicBezTo>
                    <a:cubicBezTo>
                      <a:pt x="464424" y="383771"/>
                      <a:pt x="464447" y="383750"/>
                      <a:pt x="464468" y="383727"/>
                    </a:cubicBezTo>
                    <a:cubicBezTo>
                      <a:pt x="467340" y="380782"/>
                      <a:pt x="467340" y="376084"/>
                      <a:pt x="464468" y="373139"/>
                    </a:cubicBezTo>
                    <a:moveTo>
                      <a:pt x="496946" y="342664"/>
                    </a:moveTo>
                    <a:cubicBezTo>
                      <a:pt x="494310" y="339939"/>
                      <a:pt x="489961" y="339866"/>
                      <a:pt x="487236" y="342503"/>
                    </a:cubicBezTo>
                    <a:cubicBezTo>
                      <a:pt x="487180" y="342556"/>
                      <a:pt x="487127" y="342610"/>
                      <a:pt x="487074" y="342664"/>
                    </a:cubicBezTo>
                    <a:cubicBezTo>
                      <a:pt x="484457" y="345380"/>
                      <a:pt x="484457" y="349678"/>
                      <a:pt x="487074" y="352393"/>
                    </a:cubicBezTo>
                    <a:cubicBezTo>
                      <a:pt x="489711" y="355119"/>
                      <a:pt x="494059" y="355192"/>
                      <a:pt x="496785" y="352555"/>
                    </a:cubicBezTo>
                    <a:cubicBezTo>
                      <a:pt x="496841" y="352502"/>
                      <a:pt x="496893" y="352448"/>
                      <a:pt x="496946" y="352393"/>
                    </a:cubicBezTo>
                    <a:cubicBezTo>
                      <a:pt x="499563" y="349678"/>
                      <a:pt x="499563" y="345380"/>
                      <a:pt x="496946" y="342664"/>
                    </a:cubicBezTo>
                    <a:moveTo>
                      <a:pt x="529424" y="312189"/>
                    </a:moveTo>
                    <a:cubicBezTo>
                      <a:pt x="526935" y="309650"/>
                      <a:pt x="522859" y="309610"/>
                      <a:pt x="520319" y="312098"/>
                    </a:cubicBezTo>
                    <a:cubicBezTo>
                      <a:pt x="517781" y="314587"/>
                      <a:pt x="517739" y="318663"/>
                      <a:pt x="520229" y="321203"/>
                    </a:cubicBezTo>
                    <a:cubicBezTo>
                      <a:pt x="522717" y="323743"/>
                      <a:pt x="526793" y="323783"/>
                      <a:pt x="529333" y="321295"/>
                    </a:cubicBezTo>
                    <a:cubicBezTo>
                      <a:pt x="529364" y="321265"/>
                      <a:pt x="529394" y="321233"/>
                      <a:pt x="529424" y="321203"/>
                    </a:cubicBezTo>
                    <a:cubicBezTo>
                      <a:pt x="531914" y="318775"/>
                      <a:pt x="531964" y="314790"/>
                      <a:pt x="529536" y="312301"/>
                    </a:cubicBezTo>
                    <a:cubicBezTo>
                      <a:pt x="529499" y="312264"/>
                      <a:pt x="529462" y="312227"/>
                      <a:pt x="529424" y="312189"/>
                    </a:cubicBezTo>
                    <a:moveTo>
                      <a:pt x="561902" y="281714"/>
                    </a:moveTo>
                    <a:cubicBezTo>
                      <a:pt x="559799" y="279462"/>
                      <a:pt x="556268" y="279342"/>
                      <a:pt x="554016" y="281445"/>
                    </a:cubicBezTo>
                    <a:cubicBezTo>
                      <a:pt x="553923" y="281533"/>
                      <a:pt x="553833" y="281621"/>
                      <a:pt x="553747" y="281714"/>
                    </a:cubicBezTo>
                    <a:cubicBezTo>
                      <a:pt x="551455" y="283892"/>
                      <a:pt x="551362" y="287513"/>
                      <a:pt x="553540" y="289805"/>
                    </a:cubicBezTo>
                    <a:cubicBezTo>
                      <a:pt x="553607" y="289877"/>
                      <a:pt x="553676" y="289945"/>
                      <a:pt x="553747" y="290013"/>
                    </a:cubicBezTo>
                    <a:cubicBezTo>
                      <a:pt x="556021" y="292212"/>
                      <a:pt x="559629" y="292212"/>
                      <a:pt x="561902" y="290013"/>
                    </a:cubicBezTo>
                    <a:cubicBezTo>
                      <a:pt x="564194" y="287835"/>
                      <a:pt x="564287" y="284214"/>
                      <a:pt x="562110" y="281922"/>
                    </a:cubicBezTo>
                    <a:cubicBezTo>
                      <a:pt x="562043" y="281850"/>
                      <a:pt x="561974" y="281782"/>
                      <a:pt x="561902" y="281714"/>
                    </a:cubicBezTo>
                    <a:moveTo>
                      <a:pt x="594523" y="251239"/>
                    </a:moveTo>
                    <a:cubicBezTo>
                      <a:pt x="592413" y="249186"/>
                      <a:pt x="589051" y="249186"/>
                      <a:pt x="586940" y="251239"/>
                    </a:cubicBezTo>
                    <a:cubicBezTo>
                      <a:pt x="584904" y="253301"/>
                      <a:pt x="584904" y="256618"/>
                      <a:pt x="586940" y="258679"/>
                    </a:cubicBezTo>
                    <a:cubicBezTo>
                      <a:pt x="589051" y="260732"/>
                      <a:pt x="592413" y="260732"/>
                      <a:pt x="594523" y="258679"/>
                    </a:cubicBezTo>
                    <a:cubicBezTo>
                      <a:pt x="596559" y="256618"/>
                      <a:pt x="596559" y="253301"/>
                      <a:pt x="594523" y="251239"/>
                    </a:cubicBezTo>
                    <a:moveTo>
                      <a:pt x="627001" y="220764"/>
                    </a:moveTo>
                    <a:cubicBezTo>
                      <a:pt x="625144" y="218933"/>
                      <a:pt x="622155" y="218955"/>
                      <a:pt x="620324" y="220812"/>
                    </a:cubicBezTo>
                    <a:cubicBezTo>
                      <a:pt x="618494" y="222669"/>
                      <a:pt x="618516" y="225658"/>
                      <a:pt x="620371" y="227489"/>
                    </a:cubicBezTo>
                    <a:cubicBezTo>
                      <a:pt x="622210" y="229302"/>
                      <a:pt x="625163" y="229302"/>
                      <a:pt x="627001" y="227489"/>
                    </a:cubicBezTo>
                    <a:cubicBezTo>
                      <a:pt x="628858" y="225658"/>
                      <a:pt x="628880" y="222669"/>
                      <a:pt x="627049" y="220812"/>
                    </a:cubicBezTo>
                    <a:cubicBezTo>
                      <a:pt x="627033" y="220796"/>
                      <a:pt x="627017" y="220780"/>
                      <a:pt x="627001" y="220764"/>
                    </a:cubicBezTo>
                    <a:moveTo>
                      <a:pt x="659479" y="190290"/>
                    </a:moveTo>
                    <a:cubicBezTo>
                      <a:pt x="657810" y="188654"/>
                      <a:pt x="655140" y="188654"/>
                      <a:pt x="653470" y="190290"/>
                    </a:cubicBezTo>
                    <a:cubicBezTo>
                      <a:pt x="651906" y="191988"/>
                      <a:pt x="651906" y="194600"/>
                      <a:pt x="653470" y="196299"/>
                    </a:cubicBezTo>
                    <a:cubicBezTo>
                      <a:pt x="655140" y="197934"/>
                      <a:pt x="657810" y="197934"/>
                      <a:pt x="659479" y="196299"/>
                    </a:cubicBezTo>
                    <a:cubicBezTo>
                      <a:pt x="661099" y="194679"/>
                      <a:pt x="661099" y="192052"/>
                      <a:pt x="659479" y="190433"/>
                    </a:cubicBezTo>
                    <a:moveTo>
                      <a:pt x="692243" y="159958"/>
                    </a:moveTo>
                    <a:cubicBezTo>
                      <a:pt x="690873" y="158536"/>
                      <a:pt x="688608" y="158494"/>
                      <a:pt x="687186" y="159865"/>
                    </a:cubicBezTo>
                    <a:cubicBezTo>
                      <a:pt x="687154" y="159895"/>
                      <a:pt x="687123" y="159926"/>
                      <a:pt x="687093" y="159958"/>
                    </a:cubicBezTo>
                    <a:cubicBezTo>
                      <a:pt x="685693" y="161446"/>
                      <a:pt x="685693" y="163763"/>
                      <a:pt x="687093" y="165251"/>
                    </a:cubicBezTo>
                    <a:cubicBezTo>
                      <a:pt x="688463" y="166674"/>
                      <a:pt x="690728" y="166715"/>
                      <a:pt x="692150" y="165344"/>
                    </a:cubicBezTo>
                    <a:cubicBezTo>
                      <a:pt x="692182" y="165314"/>
                      <a:pt x="692213" y="165283"/>
                      <a:pt x="692243" y="165251"/>
                    </a:cubicBezTo>
                    <a:cubicBezTo>
                      <a:pt x="693666" y="163881"/>
                      <a:pt x="693707" y="161616"/>
                      <a:pt x="692336" y="160194"/>
                    </a:cubicBezTo>
                    <a:cubicBezTo>
                      <a:pt x="692306" y="160162"/>
                      <a:pt x="692275" y="160131"/>
                      <a:pt x="692243" y="160101"/>
                    </a:cubicBezTo>
                    <a:moveTo>
                      <a:pt x="724864" y="129483"/>
                    </a:moveTo>
                    <a:cubicBezTo>
                      <a:pt x="723637" y="128264"/>
                      <a:pt x="721657" y="128264"/>
                      <a:pt x="720429" y="129483"/>
                    </a:cubicBezTo>
                    <a:cubicBezTo>
                      <a:pt x="719245" y="130529"/>
                      <a:pt x="719130" y="132336"/>
                      <a:pt x="720176" y="133522"/>
                    </a:cubicBezTo>
                    <a:cubicBezTo>
                      <a:pt x="720255" y="133612"/>
                      <a:pt x="720339" y="133696"/>
                      <a:pt x="720429" y="133775"/>
                    </a:cubicBezTo>
                    <a:cubicBezTo>
                      <a:pt x="721549" y="135000"/>
                      <a:pt x="723449" y="135086"/>
                      <a:pt x="724674" y="133965"/>
                    </a:cubicBezTo>
                    <a:cubicBezTo>
                      <a:pt x="724740" y="133905"/>
                      <a:pt x="724804" y="133841"/>
                      <a:pt x="724864" y="133775"/>
                    </a:cubicBezTo>
                    <a:cubicBezTo>
                      <a:pt x="726084" y="132547"/>
                      <a:pt x="726084" y="130567"/>
                      <a:pt x="724864" y="129340"/>
                    </a:cubicBezTo>
                    <a:moveTo>
                      <a:pt x="757343" y="98865"/>
                    </a:moveTo>
                    <a:cubicBezTo>
                      <a:pt x="756297" y="97883"/>
                      <a:pt x="754668" y="97883"/>
                      <a:pt x="753623" y="98865"/>
                    </a:cubicBezTo>
                    <a:cubicBezTo>
                      <a:pt x="752595" y="99852"/>
                      <a:pt x="752564" y="101486"/>
                      <a:pt x="753551" y="102513"/>
                    </a:cubicBezTo>
                    <a:cubicBezTo>
                      <a:pt x="754538" y="103540"/>
                      <a:pt x="756172" y="103572"/>
                      <a:pt x="757199" y="102585"/>
                    </a:cubicBezTo>
                    <a:cubicBezTo>
                      <a:pt x="758181" y="101539"/>
                      <a:pt x="758181" y="99911"/>
                      <a:pt x="757199" y="98865"/>
                    </a:cubicBezTo>
                    <a:moveTo>
                      <a:pt x="451592" y="424503"/>
                    </a:moveTo>
                    <a:cubicBezTo>
                      <a:pt x="448470" y="421367"/>
                      <a:pt x="443398" y="421354"/>
                      <a:pt x="440260" y="424474"/>
                    </a:cubicBezTo>
                    <a:cubicBezTo>
                      <a:pt x="437124" y="427596"/>
                      <a:pt x="437111" y="432670"/>
                      <a:pt x="440233" y="435806"/>
                    </a:cubicBezTo>
                    <a:cubicBezTo>
                      <a:pt x="443353" y="438942"/>
                      <a:pt x="448427" y="438955"/>
                      <a:pt x="451563" y="435835"/>
                    </a:cubicBezTo>
                    <a:cubicBezTo>
                      <a:pt x="451573" y="435825"/>
                      <a:pt x="451582" y="435816"/>
                      <a:pt x="451592" y="435806"/>
                    </a:cubicBezTo>
                    <a:cubicBezTo>
                      <a:pt x="454702" y="432680"/>
                      <a:pt x="454702" y="427629"/>
                      <a:pt x="451592" y="424503"/>
                    </a:cubicBezTo>
                    <a:moveTo>
                      <a:pt x="484070" y="394028"/>
                    </a:moveTo>
                    <a:cubicBezTo>
                      <a:pt x="481297" y="391105"/>
                      <a:pt x="476677" y="390982"/>
                      <a:pt x="473754" y="393756"/>
                    </a:cubicBezTo>
                    <a:cubicBezTo>
                      <a:pt x="473661" y="393845"/>
                      <a:pt x="473571" y="393935"/>
                      <a:pt x="473482" y="394028"/>
                    </a:cubicBezTo>
                    <a:cubicBezTo>
                      <a:pt x="470479" y="396872"/>
                      <a:pt x="470352" y="401612"/>
                      <a:pt x="473196" y="404616"/>
                    </a:cubicBezTo>
                    <a:cubicBezTo>
                      <a:pt x="476040" y="407619"/>
                      <a:pt x="480780" y="407746"/>
                      <a:pt x="483783" y="404902"/>
                    </a:cubicBezTo>
                    <a:cubicBezTo>
                      <a:pt x="486668" y="402088"/>
                      <a:pt x="486724" y="397468"/>
                      <a:pt x="483909" y="394583"/>
                    </a:cubicBezTo>
                    <a:cubicBezTo>
                      <a:pt x="483868" y="394540"/>
                      <a:pt x="483826" y="394499"/>
                      <a:pt x="483783" y="394457"/>
                    </a:cubicBezTo>
                    <a:moveTo>
                      <a:pt x="516261" y="363839"/>
                    </a:moveTo>
                    <a:cubicBezTo>
                      <a:pt x="513546" y="361222"/>
                      <a:pt x="509248" y="361222"/>
                      <a:pt x="506532" y="363839"/>
                    </a:cubicBezTo>
                    <a:cubicBezTo>
                      <a:pt x="503807" y="366476"/>
                      <a:pt x="503734" y="370824"/>
                      <a:pt x="506371" y="373550"/>
                    </a:cubicBezTo>
                    <a:cubicBezTo>
                      <a:pt x="506424" y="373604"/>
                      <a:pt x="506478" y="373658"/>
                      <a:pt x="506532" y="373711"/>
                    </a:cubicBezTo>
                    <a:cubicBezTo>
                      <a:pt x="509248" y="376328"/>
                      <a:pt x="513546" y="376328"/>
                      <a:pt x="516261" y="373711"/>
                    </a:cubicBezTo>
                    <a:cubicBezTo>
                      <a:pt x="518987" y="371075"/>
                      <a:pt x="519060" y="366727"/>
                      <a:pt x="516423" y="364001"/>
                    </a:cubicBezTo>
                    <a:cubicBezTo>
                      <a:pt x="516370" y="363947"/>
                      <a:pt x="516316" y="363892"/>
                      <a:pt x="516261" y="363839"/>
                    </a:cubicBezTo>
                    <a:moveTo>
                      <a:pt x="548883" y="333364"/>
                    </a:moveTo>
                    <a:cubicBezTo>
                      <a:pt x="546330" y="330893"/>
                      <a:pt x="542278" y="330893"/>
                      <a:pt x="539726" y="333364"/>
                    </a:cubicBezTo>
                    <a:cubicBezTo>
                      <a:pt x="537326" y="335945"/>
                      <a:pt x="537326" y="339940"/>
                      <a:pt x="539726" y="342521"/>
                    </a:cubicBezTo>
                    <a:cubicBezTo>
                      <a:pt x="542278" y="344992"/>
                      <a:pt x="546330" y="344992"/>
                      <a:pt x="548883" y="342521"/>
                    </a:cubicBezTo>
                    <a:cubicBezTo>
                      <a:pt x="551282" y="339940"/>
                      <a:pt x="551282" y="335945"/>
                      <a:pt x="548883" y="333364"/>
                    </a:cubicBezTo>
                    <a:moveTo>
                      <a:pt x="581647" y="303033"/>
                    </a:moveTo>
                    <a:cubicBezTo>
                      <a:pt x="579435" y="300662"/>
                      <a:pt x="575719" y="300534"/>
                      <a:pt x="573348" y="302746"/>
                    </a:cubicBezTo>
                    <a:cubicBezTo>
                      <a:pt x="570978" y="304958"/>
                      <a:pt x="570850" y="308674"/>
                      <a:pt x="573062" y="311045"/>
                    </a:cubicBezTo>
                    <a:cubicBezTo>
                      <a:pt x="575240" y="313337"/>
                      <a:pt x="578861" y="313430"/>
                      <a:pt x="581153" y="311252"/>
                    </a:cubicBezTo>
                    <a:cubicBezTo>
                      <a:pt x="581225" y="311185"/>
                      <a:pt x="581293" y="311116"/>
                      <a:pt x="581360" y="311045"/>
                    </a:cubicBezTo>
                    <a:cubicBezTo>
                      <a:pt x="583653" y="308754"/>
                      <a:pt x="583653" y="305040"/>
                      <a:pt x="581363" y="302749"/>
                    </a:cubicBezTo>
                    <a:cubicBezTo>
                      <a:pt x="581362" y="302748"/>
                      <a:pt x="581362" y="302748"/>
                      <a:pt x="581360" y="302746"/>
                    </a:cubicBezTo>
                    <a:moveTo>
                      <a:pt x="613839" y="272271"/>
                    </a:moveTo>
                    <a:cubicBezTo>
                      <a:pt x="611744" y="270231"/>
                      <a:pt x="608393" y="270274"/>
                      <a:pt x="606353" y="272369"/>
                    </a:cubicBezTo>
                    <a:cubicBezTo>
                      <a:pt x="604313" y="274462"/>
                      <a:pt x="604355" y="277814"/>
                      <a:pt x="606450" y="279854"/>
                    </a:cubicBezTo>
                    <a:cubicBezTo>
                      <a:pt x="608505" y="281857"/>
                      <a:pt x="611783" y="281857"/>
                      <a:pt x="613839" y="279854"/>
                    </a:cubicBezTo>
                    <a:cubicBezTo>
                      <a:pt x="615892" y="277744"/>
                      <a:pt x="615892" y="274382"/>
                      <a:pt x="613839" y="272271"/>
                    </a:cubicBezTo>
                    <a:moveTo>
                      <a:pt x="646316" y="241797"/>
                    </a:moveTo>
                    <a:cubicBezTo>
                      <a:pt x="644459" y="239965"/>
                      <a:pt x="641471" y="239987"/>
                      <a:pt x="639639" y="241844"/>
                    </a:cubicBezTo>
                    <a:cubicBezTo>
                      <a:pt x="637809" y="243701"/>
                      <a:pt x="637831" y="246690"/>
                      <a:pt x="639686" y="248521"/>
                    </a:cubicBezTo>
                    <a:cubicBezTo>
                      <a:pt x="641525" y="250334"/>
                      <a:pt x="644478" y="250334"/>
                      <a:pt x="646316" y="248521"/>
                    </a:cubicBezTo>
                    <a:cubicBezTo>
                      <a:pt x="648174" y="246690"/>
                      <a:pt x="648195" y="243701"/>
                      <a:pt x="646364" y="241844"/>
                    </a:cubicBezTo>
                    <a:cubicBezTo>
                      <a:pt x="646348" y="241828"/>
                      <a:pt x="646332" y="241812"/>
                      <a:pt x="646316" y="241797"/>
                    </a:cubicBezTo>
                    <a:moveTo>
                      <a:pt x="679081" y="211035"/>
                    </a:moveTo>
                    <a:cubicBezTo>
                      <a:pt x="677382" y="209381"/>
                      <a:pt x="674664" y="209419"/>
                      <a:pt x="673011" y="211118"/>
                    </a:cubicBezTo>
                    <a:cubicBezTo>
                      <a:pt x="671357" y="212817"/>
                      <a:pt x="671395" y="215534"/>
                      <a:pt x="673094" y="217188"/>
                    </a:cubicBezTo>
                    <a:cubicBezTo>
                      <a:pt x="674760" y="218809"/>
                      <a:pt x="677414" y="218809"/>
                      <a:pt x="679081" y="217188"/>
                    </a:cubicBezTo>
                    <a:cubicBezTo>
                      <a:pt x="680716" y="215518"/>
                      <a:pt x="680716" y="212848"/>
                      <a:pt x="679081" y="211179"/>
                    </a:cubicBezTo>
                    <a:moveTo>
                      <a:pt x="711559" y="180704"/>
                    </a:moveTo>
                    <a:cubicBezTo>
                      <a:pt x="710188" y="179281"/>
                      <a:pt x="707923" y="179240"/>
                      <a:pt x="706501" y="180611"/>
                    </a:cubicBezTo>
                    <a:cubicBezTo>
                      <a:pt x="706469" y="180641"/>
                      <a:pt x="706438" y="180672"/>
                      <a:pt x="706408" y="180704"/>
                    </a:cubicBezTo>
                    <a:cubicBezTo>
                      <a:pt x="704986" y="182074"/>
                      <a:pt x="704944" y="184339"/>
                      <a:pt x="706315" y="185761"/>
                    </a:cubicBezTo>
                    <a:cubicBezTo>
                      <a:pt x="706345" y="185793"/>
                      <a:pt x="706376" y="185824"/>
                      <a:pt x="706408" y="185854"/>
                    </a:cubicBezTo>
                    <a:cubicBezTo>
                      <a:pt x="707779" y="187276"/>
                      <a:pt x="710043" y="187318"/>
                      <a:pt x="711466" y="185947"/>
                    </a:cubicBezTo>
                    <a:cubicBezTo>
                      <a:pt x="711497" y="185917"/>
                      <a:pt x="711529" y="185886"/>
                      <a:pt x="711559" y="185854"/>
                    </a:cubicBezTo>
                    <a:cubicBezTo>
                      <a:pt x="712958" y="184368"/>
                      <a:pt x="712958" y="182048"/>
                      <a:pt x="711559" y="180560"/>
                    </a:cubicBezTo>
                    <a:moveTo>
                      <a:pt x="744037" y="150086"/>
                    </a:moveTo>
                    <a:cubicBezTo>
                      <a:pt x="742809" y="148867"/>
                      <a:pt x="740829" y="148867"/>
                      <a:pt x="739601" y="150086"/>
                    </a:cubicBezTo>
                    <a:cubicBezTo>
                      <a:pt x="738455" y="151342"/>
                      <a:pt x="738455" y="153265"/>
                      <a:pt x="739601" y="154521"/>
                    </a:cubicBezTo>
                    <a:cubicBezTo>
                      <a:pt x="740829" y="155740"/>
                      <a:pt x="742809" y="155740"/>
                      <a:pt x="744037" y="154521"/>
                    </a:cubicBezTo>
                    <a:cubicBezTo>
                      <a:pt x="745261" y="153402"/>
                      <a:pt x="745347" y="151501"/>
                      <a:pt x="744227" y="150276"/>
                    </a:cubicBezTo>
                    <a:cubicBezTo>
                      <a:pt x="744167" y="150210"/>
                      <a:pt x="744102" y="150146"/>
                      <a:pt x="744037" y="150086"/>
                    </a:cubicBezTo>
                    <a:moveTo>
                      <a:pt x="776658" y="119611"/>
                    </a:moveTo>
                    <a:cubicBezTo>
                      <a:pt x="775630" y="118626"/>
                      <a:pt x="774001" y="118662"/>
                      <a:pt x="773016" y="119689"/>
                    </a:cubicBezTo>
                    <a:cubicBezTo>
                      <a:pt x="772032" y="120717"/>
                      <a:pt x="772068" y="122346"/>
                      <a:pt x="773095" y="123331"/>
                    </a:cubicBezTo>
                    <a:cubicBezTo>
                      <a:pt x="774091" y="124285"/>
                      <a:pt x="775662" y="124285"/>
                      <a:pt x="776658" y="123331"/>
                    </a:cubicBezTo>
                    <a:cubicBezTo>
                      <a:pt x="777573" y="122260"/>
                      <a:pt x="777573" y="120681"/>
                      <a:pt x="776658" y="119611"/>
                    </a:cubicBezTo>
                    <a:moveTo>
                      <a:pt x="354587" y="320917"/>
                    </a:moveTo>
                    <a:cubicBezTo>
                      <a:pt x="351461" y="317806"/>
                      <a:pt x="346410" y="317806"/>
                      <a:pt x="343284" y="320917"/>
                    </a:cubicBezTo>
                    <a:cubicBezTo>
                      <a:pt x="340222" y="324112"/>
                      <a:pt x="340331" y="329184"/>
                      <a:pt x="343526" y="332246"/>
                    </a:cubicBezTo>
                    <a:cubicBezTo>
                      <a:pt x="346456" y="335053"/>
                      <a:pt x="351023" y="335227"/>
                      <a:pt x="354158" y="332649"/>
                    </a:cubicBezTo>
                    <a:cubicBezTo>
                      <a:pt x="357285" y="329474"/>
                      <a:pt x="357285" y="324378"/>
                      <a:pt x="354158" y="321203"/>
                    </a:cubicBezTo>
                    <a:moveTo>
                      <a:pt x="386636" y="290728"/>
                    </a:moveTo>
                    <a:cubicBezTo>
                      <a:pt x="383713" y="287841"/>
                      <a:pt x="379001" y="287871"/>
                      <a:pt x="376114" y="290794"/>
                    </a:cubicBezTo>
                    <a:cubicBezTo>
                      <a:pt x="373227" y="293718"/>
                      <a:pt x="373257" y="298428"/>
                      <a:pt x="376180" y="301316"/>
                    </a:cubicBezTo>
                    <a:cubicBezTo>
                      <a:pt x="379078" y="304177"/>
                      <a:pt x="383738" y="304177"/>
                      <a:pt x="386636" y="301316"/>
                    </a:cubicBezTo>
                    <a:cubicBezTo>
                      <a:pt x="389559" y="298428"/>
                      <a:pt x="389589" y="293718"/>
                      <a:pt x="386702" y="290794"/>
                    </a:cubicBezTo>
                    <a:cubicBezTo>
                      <a:pt x="386680" y="290772"/>
                      <a:pt x="386659" y="290750"/>
                      <a:pt x="386636" y="290728"/>
                    </a:cubicBezTo>
                    <a:moveTo>
                      <a:pt x="419543" y="260110"/>
                    </a:moveTo>
                    <a:cubicBezTo>
                      <a:pt x="416827" y="257493"/>
                      <a:pt x="412529" y="257493"/>
                      <a:pt x="409814" y="260110"/>
                    </a:cubicBezTo>
                    <a:cubicBezTo>
                      <a:pt x="407088" y="262747"/>
                      <a:pt x="407015" y="267095"/>
                      <a:pt x="409652" y="269821"/>
                    </a:cubicBezTo>
                    <a:cubicBezTo>
                      <a:pt x="409705" y="269875"/>
                      <a:pt x="409759" y="269929"/>
                      <a:pt x="409814" y="269982"/>
                    </a:cubicBezTo>
                    <a:cubicBezTo>
                      <a:pt x="412529" y="272599"/>
                      <a:pt x="416827" y="272599"/>
                      <a:pt x="419543" y="269982"/>
                    </a:cubicBezTo>
                    <a:cubicBezTo>
                      <a:pt x="422268" y="267345"/>
                      <a:pt x="422341" y="262997"/>
                      <a:pt x="419705" y="260272"/>
                    </a:cubicBezTo>
                    <a:cubicBezTo>
                      <a:pt x="419652" y="260217"/>
                      <a:pt x="419597" y="260163"/>
                      <a:pt x="419543" y="260110"/>
                    </a:cubicBezTo>
                    <a:moveTo>
                      <a:pt x="452164" y="229635"/>
                    </a:moveTo>
                    <a:cubicBezTo>
                      <a:pt x="449614" y="227156"/>
                      <a:pt x="445538" y="227213"/>
                      <a:pt x="443060" y="229762"/>
                    </a:cubicBezTo>
                    <a:cubicBezTo>
                      <a:pt x="440765" y="232122"/>
                      <a:pt x="440619" y="235830"/>
                      <a:pt x="442721" y="238363"/>
                    </a:cubicBezTo>
                    <a:cubicBezTo>
                      <a:pt x="445273" y="240834"/>
                      <a:pt x="449325" y="240834"/>
                      <a:pt x="451878" y="238363"/>
                    </a:cubicBezTo>
                    <a:cubicBezTo>
                      <a:pt x="454367" y="235935"/>
                      <a:pt x="454417" y="231950"/>
                      <a:pt x="451989" y="229461"/>
                    </a:cubicBezTo>
                    <a:cubicBezTo>
                      <a:pt x="451952" y="229423"/>
                      <a:pt x="451915" y="229386"/>
                      <a:pt x="451878" y="229349"/>
                    </a:cubicBezTo>
                    <a:moveTo>
                      <a:pt x="484356" y="198874"/>
                    </a:moveTo>
                    <a:cubicBezTo>
                      <a:pt x="482144" y="196503"/>
                      <a:pt x="478428" y="196376"/>
                      <a:pt x="476057" y="198588"/>
                    </a:cubicBezTo>
                    <a:cubicBezTo>
                      <a:pt x="473687" y="200800"/>
                      <a:pt x="473559" y="204515"/>
                      <a:pt x="475771" y="206886"/>
                    </a:cubicBezTo>
                    <a:cubicBezTo>
                      <a:pt x="477983" y="209257"/>
                      <a:pt x="481699" y="209384"/>
                      <a:pt x="484070" y="207172"/>
                    </a:cubicBezTo>
                    <a:cubicBezTo>
                      <a:pt x="486440" y="204960"/>
                      <a:pt x="486568" y="201245"/>
                      <a:pt x="484356" y="198874"/>
                    </a:cubicBezTo>
                    <a:moveTo>
                      <a:pt x="516834" y="168399"/>
                    </a:moveTo>
                    <a:cubicBezTo>
                      <a:pt x="514772" y="166363"/>
                      <a:pt x="511456" y="166363"/>
                      <a:pt x="509394" y="168399"/>
                    </a:cubicBezTo>
                    <a:cubicBezTo>
                      <a:pt x="507205" y="170454"/>
                      <a:pt x="507095" y="173895"/>
                      <a:pt x="509149" y="176084"/>
                    </a:cubicBezTo>
                    <a:cubicBezTo>
                      <a:pt x="511204" y="178274"/>
                      <a:pt x="514645" y="178383"/>
                      <a:pt x="516834" y="176330"/>
                    </a:cubicBezTo>
                    <a:cubicBezTo>
                      <a:pt x="519024" y="174275"/>
                      <a:pt x="519133" y="170834"/>
                      <a:pt x="517078" y="168644"/>
                    </a:cubicBezTo>
                    <a:cubicBezTo>
                      <a:pt x="517000" y="168559"/>
                      <a:pt x="516918" y="168478"/>
                      <a:pt x="516834" y="168399"/>
                    </a:cubicBezTo>
                    <a:moveTo>
                      <a:pt x="550313" y="138067"/>
                    </a:moveTo>
                    <a:cubicBezTo>
                      <a:pt x="548415" y="136176"/>
                      <a:pt x="545344" y="136176"/>
                      <a:pt x="543446" y="138067"/>
                    </a:cubicBezTo>
                    <a:cubicBezTo>
                      <a:pt x="541550" y="139884"/>
                      <a:pt x="541486" y="142896"/>
                      <a:pt x="543303" y="144792"/>
                    </a:cubicBezTo>
                    <a:cubicBezTo>
                      <a:pt x="545120" y="146689"/>
                      <a:pt x="548130" y="146752"/>
                      <a:pt x="550027" y="144935"/>
                    </a:cubicBezTo>
                    <a:cubicBezTo>
                      <a:pt x="551826" y="143055"/>
                      <a:pt x="551826" y="140090"/>
                      <a:pt x="550027" y="138210"/>
                    </a:cubicBezTo>
                    <a:moveTo>
                      <a:pt x="582505" y="107735"/>
                    </a:moveTo>
                    <a:cubicBezTo>
                      <a:pt x="580835" y="106100"/>
                      <a:pt x="578166" y="106100"/>
                      <a:pt x="576496" y="107735"/>
                    </a:cubicBezTo>
                    <a:cubicBezTo>
                      <a:pt x="574798" y="109316"/>
                      <a:pt x="574700" y="111975"/>
                      <a:pt x="576281" y="113673"/>
                    </a:cubicBezTo>
                    <a:cubicBezTo>
                      <a:pt x="577862" y="115371"/>
                      <a:pt x="580521" y="115469"/>
                      <a:pt x="582219" y="113888"/>
                    </a:cubicBezTo>
                    <a:cubicBezTo>
                      <a:pt x="583854" y="112218"/>
                      <a:pt x="583854" y="109548"/>
                      <a:pt x="582219" y="107878"/>
                    </a:cubicBezTo>
                    <a:moveTo>
                      <a:pt x="614697" y="77404"/>
                    </a:moveTo>
                    <a:cubicBezTo>
                      <a:pt x="613326" y="75981"/>
                      <a:pt x="611061" y="75940"/>
                      <a:pt x="609639" y="77311"/>
                    </a:cubicBezTo>
                    <a:cubicBezTo>
                      <a:pt x="609608" y="77341"/>
                      <a:pt x="609576" y="77372"/>
                      <a:pt x="609546" y="77404"/>
                    </a:cubicBezTo>
                    <a:cubicBezTo>
                      <a:pt x="608084" y="78786"/>
                      <a:pt x="608020" y="81092"/>
                      <a:pt x="609403" y="82554"/>
                    </a:cubicBezTo>
                    <a:cubicBezTo>
                      <a:pt x="610785" y="84016"/>
                      <a:pt x="613092" y="84079"/>
                      <a:pt x="614554" y="82697"/>
                    </a:cubicBezTo>
                    <a:cubicBezTo>
                      <a:pt x="615976" y="81327"/>
                      <a:pt x="616018" y="79062"/>
                      <a:pt x="614647" y="77640"/>
                    </a:cubicBezTo>
                    <a:cubicBezTo>
                      <a:pt x="614617" y="77608"/>
                      <a:pt x="614585" y="77577"/>
                      <a:pt x="614554" y="77547"/>
                    </a:cubicBezTo>
                    <a:moveTo>
                      <a:pt x="647032" y="47072"/>
                    </a:moveTo>
                    <a:cubicBezTo>
                      <a:pt x="645804" y="45853"/>
                      <a:pt x="643824" y="45853"/>
                      <a:pt x="642596" y="47072"/>
                    </a:cubicBezTo>
                    <a:cubicBezTo>
                      <a:pt x="641451" y="48328"/>
                      <a:pt x="641451" y="50251"/>
                      <a:pt x="642596" y="51507"/>
                    </a:cubicBezTo>
                    <a:cubicBezTo>
                      <a:pt x="643824" y="52726"/>
                      <a:pt x="645804" y="52726"/>
                      <a:pt x="647032" y="51507"/>
                    </a:cubicBezTo>
                    <a:cubicBezTo>
                      <a:pt x="648257" y="50387"/>
                      <a:pt x="648342" y="48487"/>
                      <a:pt x="647222" y="47262"/>
                    </a:cubicBezTo>
                    <a:cubicBezTo>
                      <a:pt x="647162" y="47196"/>
                      <a:pt x="647098" y="47132"/>
                      <a:pt x="647032" y="47072"/>
                    </a:cubicBezTo>
                    <a:moveTo>
                      <a:pt x="679796" y="16883"/>
                    </a:moveTo>
                    <a:cubicBezTo>
                      <a:pt x="678809" y="15860"/>
                      <a:pt x="677178" y="15830"/>
                      <a:pt x="676155" y="16819"/>
                    </a:cubicBezTo>
                    <a:cubicBezTo>
                      <a:pt x="675132" y="17806"/>
                      <a:pt x="675102" y="19437"/>
                      <a:pt x="676090" y="20460"/>
                    </a:cubicBezTo>
                    <a:cubicBezTo>
                      <a:pt x="677078" y="21483"/>
                      <a:pt x="678709" y="21513"/>
                      <a:pt x="679732" y="20524"/>
                    </a:cubicBezTo>
                    <a:cubicBezTo>
                      <a:pt x="679753" y="20503"/>
                      <a:pt x="679775" y="20481"/>
                      <a:pt x="679796" y="20460"/>
                    </a:cubicBezTo>
                    <a:cubicBezTo>
                      <a:pt x="680759" y="19463"/>
                      <a:pt x="680759" y="17880"/>
                      <a:pt x="679796" y="16883"/>
                    </a:cubicBezTo>
                    <a:moveTo>
                      <a:pt x="373902" y="341663"/>
                    </a:moveTo>
                    <a:cubicBezTo>
                      <a:pt x="370776" y="338552"/>
                      <a:pt x="365725" y="338552"/>
                      <a:pt x="362599" y="341663"/>
                    </a:cubicBezTo>
                    <a:cubicBezTo>
                      <a:pt x="359360" y="344704"/>
                      <a:pt x="359200" y="349798"/>
                      <a:pt x="362241" y="353037"/>
                    </a:cubicBezTo>
                    <a:cubicBezTo>
                      <a:pt x="365283" y="356276"/>
                      <a:pt x="370377" y="356437"/>
                      <a:pt x="373616" y="353395"/>
                    </a:cubicBezTo>
                    <a:cubicBezTo>
                      <a:pt x="376726" y="350269"/>
                      <a:pt x="376726" y="345218"/>
                      <a:pt x="373616" y="342092"/>
                    </a:cubicBezTo>
                    <a:moveTo>
                      <a:pt x="407238" y="311188"/>
                    </a:moveTo>
                    <a:cubicBezTo>
                      <a:pt x="404433" y="308146"/>
                      <a:pt x="399693" y="307953"/>
                      <a:pt x="396651" y="310759"/>
                    </a:cubicBezTo>
                    <a:cubicBezTo>
                      <a:pt x="393609" y="313564"/>
                      <a:pt x="393416" y="318304"/>
                      <a:pt x="396222" y="321346"/>
                    </a:cubicBezTo>
                    <a:cubicBezTo>
                      <a:pt x="398996" y="324269"/>
                      <a:pt x="403614" y="324392"/>
                      <a:pt x="406537" y="321618"/>
                    </a:cubicBezTo>
                    <a:cubicBezTo>
                      <a:pt x="406630" y="321529"/>
                      <a:pt x="406721" y="321439"/>
                      <a:pt x="406809" y="321346"/>
                    </a:cubicBezTo>
                    <a:cubicBezTo>
                      <a:pt x="409681" y="318402"/>
                      <a:pt x="409681" y="313703"/>
                      <a:pt x="406809" y="310759"/>
                    </a:cubicBezTo>
                    <a:moveTo>
                      <a:pt x="439287" y="280284"/>
                    </a:moveTo>
                    <a:cubicBezTo>
                      <a:pt x="436650" y="277558"/>
                      <a:pt x="432302" y="277485"/>
                      <a:pt x="429577" y="280122"/>
                    </a:cubicBezTo>
                    <a:cubicBezTo>
                      <a:pt x="429521" y="280175"/>
                      <a:pt x="429468" y="280229"/>
                      <a:pt x="429415" y="280284"/>
                    </a:cubicBezTo>
                    <a:cubicBezTo>
                      <a:pt x="426798" y="282999"/>
                      <a:pt x="426798" y="287297"/>
                      <a:pt x="429415" y="290013"/>
                    </a:cubicBezTo>
                    <a:cubicBezTo>
                      <a:pt x="432052" y="292738"/>
                      <a:pt x="436400" y="292811"/>
                      <a:pt x="439126" y="290174"/>
                    </a:cubicBezTo>
                    <a:cubicBezTo>
                      <a:pt x="439181" y="290121"/>
                      <a:pt x="439234" y="290067"/>
                      <a:pt x="439287" y="290013"/>
                    </a:cubicBezTo>
                    <a:cubicBezTo>
                      <a:pt x="441904" y="287297"/>
                      <a:pt x="441904" y="282999"/>
                      <a:pt x="439287" y="280284"/>
                    </a:cubicBezTo>
                    <a:moveTo>
                      <a:pt x="471765" y="249809"/>
                    </a:moveTo>
                    <a:cubicBezTo>
                      <a:pt x="469276" y="247269"/>
                      <a:pt x="465200" y="247229"/>
                      <a:pt x="462660" y="249717"/>
                    </a:cubicBezTo>
                    <a:cubicBezTo>
                      <a:pt x="460122" y="252207"/>
                      <a:pt x="460080" y="256283"/>
                      <a:pt x="462570" y="258822"/>
                    </a:cubicBezTo>
                    <a:cubicBezTo>
                      <a:pt x="465058" y="261362"/>
                      <a:pt x="469134" y="261402"/>
                      <a:pt x="471674" y="258914"/>
                    </a:cubicBezTo>
                    <a:cubicBezTo>
                      <a:pt x="471705" y="258884"/>
                      <a:pt x="471735" y="258852"/>
                      <a:pt x="471765" y="258822"/>
                    </a:cubicBezTo>
                    <a:cubicBezTo>
                      <a:pt x="474255" y="256394"/>
                      <a:pt x="474305" y="252410"/>
                      <a:pt x="471877" y="249920"/>
                    </a:cubicBezTo>
                    <a:cubicBezTo>
                      <a:pt x="471840" y="249883"/>
                      <a:pt x="471802" y="249846"/>
                      <a:pt x="471765" y="249809"/>
                    </a:cubicBezTo>
                    <a:moveTo>
                      <a:pt x="504386" y="219334"/>
                    </a:moveTo>
                    <a:cubicBezTo>
                      <a:pt x="502174" y="216963"/>
                      <a:pt x="498459" y="216836"/>
                      <a:pt x="496088" y="219048"/>
                    </a:cubicBezTo>
                    <a:cubicBezTo>
                      <a:pt x="493717" y="221260"/>
                      <a:pt x="493590" y="224975"/>
                      <a:pt x="495802" y="227346"/>
                    </a:cubicBezTo>
                    <a:cubicBezTo>
                      <a:pt x="498014" y="229717"/>
                      <a:pt x="501729" y="229844"/>
                      <a:pt x="504100" y="227632"/>
                    </a:cubicBezTo>
                    <a:cubicBezTo>
                      <a:pt x="506471" y="225420"/>
                      <a:pt x="506598" y="221704"/>
                      <a:pt x="504386" y="219334"/>
                    </a:cubicBezTo>
                    <a:moveTo>
                      <a:pt x="536006" y="189288"/>
                    </a:moveTo>
                    <a:cubicBezTo>
                      <a:pt x="533951" y="187208"/>
                      <a:pt x="530599" y="187188"/>
                      <a:pt x="528520" y="189241"/>
                    </a:cubicBezTo>
                    <a:cubicBezTo>
                      <a:pt x="526440" y="191295"/>
                      <a:pt x="526418" y="194648"/>
                      <a:pt x="528473" y="196728"/>
                    </a:cubicBezTo>
                    <a:cubicBezTo>
                      <a:pt x="530528" y="198808"/>
                      <a:pt x="533880" y="198828"/>
                      <a:pt x="535959" y="196774"/>
                    </a:cubicBezTo>
                    <a:cubicBezTo>
                      <a:pt x="535974" y="196759"/>
                      <a:pt x="535990" y="196744"/>
                      <a:pt x="536006" y="196728"/>
                    </a:cubicBezTo>
                    <a:cubicBezTo>
                      <a:pt x="538042" y="194666"/>
                      <a:pt x="538042" y="191350"/>
                      <a:pt x="536006" y="189288"/>
                    </a:cubicBezTo>
                    <a:moveTo>
                      <a:pt x="568484" y="158813"/>
                    </a:moveTo>
                    <a:cubicBezTo>
                      <a:pt x="566627" y="156982"/>
                      <a:pt x="563638" y="157003"/>
                      <a:pt x="561806" y="158860"/>
                    </a:cubicBezTo>
                    <a:cubicBezTo>
                      <a:pt x="559977" y="160717"/>
                      <a:pt x="559997" y="163706"/>
                      <a:pt x="561854" y="165538"/>
                    </a:cubicBezTo>
                    <a:cubicBezTo>
                      <a:pt x="563692" y="167350"/>
                      <a:pt x="566645" y="167350"/>
                      <a:pt x="568484" y="165538"/>
                    </a:cubicBezTo>
                    <a:cubicBezTo>
                      <a:pt x="570341" y="163706"/>
                      <a:pt x="570362" y="160717"/>
                      <a:pt x="568531" y="158860"/>
                    </a:cubicBezTo>
                    <a:cubicBezTo>
                      <a:pt x="568515" y="158845"/>
                      <a:pt x="568500" y="158829"/>
                      <a:pt x="568484" y="158813"/>
                    </a:cubicBezTo>
                    <a:moveTo>
                      <a:pt x="600962" y="128338"/>
                    </a:moveTo>
                    <a:cubicBezTo>
                      <a:pt x="599342" y="126719"/>
                      <a:pt x="596715" y="126719"/>
                      <a:pt x="595096" y="128338"/>
                    </a:cubicBezTo>
                    <a:cubicBezTo>
                      <a:pt x="593460" y="130008"/>
                      <a:pt x="593460" y="132678"/>
                      <a:pt x="595096" y="134347"/>
                    </a:cubicBezTo>
                    <a:cubicBezTo>
                      <a:pt x="596677" y="136007"/>
                      <a:pt x="599302" y="136071"/>
                      <a:pt x="600962" y="134490"/>
                    </a:cubicBezTo>
                    <a:cubicBezTo>
                      <a:pt x="601010" y="134443"/>
                      <a:pt x="601059" y="134396"/>
                      <a:pt x="601105" y="134347"/>
                    </a:cubicBezTo>
                    <a:cubicBezTo>
                      <a:pt x="602724" y="132841"/>
                      <a:pt x="602816" y="130305"/>
                      <a:pt x="601309" y="128686"/>
                    </a:cubicBezTo>
                    <a:cubicBezTo>
                      <a:pt x="601244" y="128614"/>
                      <a:pt x="601175" y="128547"/>
                      <a:pt x="601105" y="128481"/>
                    </a:cubicBezTo>
                    <a:moveTo>
                      <a:pt x="633726" y="98006"/>
                    </a:moveTo>
                    <a:cubicBezTo>
                      <a:pt x="632304" y="96524"/>
                      <a:pt x="629949" y="96475"/>
                      <a:pt x="628466" y="97898"/>
                    </a:cubicBezTo>
                    <a:cubicBezTo>
                      <a:pt x="626984" y="99320"/>
                      <a:pt x="626936" y="101675"/>
                      <a:pt x="628358" y="103157"/>
                    </a:cubicBezTo>
                    <a:cubicBezTo>
                      <a:pt x="629780" y="104639"/>
                      <a:pt x="632135" y="104688"/>
                      <a:pt x="633617" y="103266"/>
                    </a:cubicBezTo>
                    <a:cubicBezTo>
                      <a:pt x="633654" y="103230"/>
                      <a:pt x="633690" y="103194"/>
                      <a:pt x="633726" y="103157"/>
                    </a:cubicBezTo>
                    <a:cubicBezTo>
                      <a:pt x="635107" y="101718"/>
                      <a:pt x="635107" y="99446"/>
                      <a:pt x="633726" y="98006"/>
                    </a:cubicBezTo>
                    <a:moveTo>
                      <a:pt x="666204" y="67531"/>
                    </a:moveTo>
                    <a:cubicBezTo>
                      <a:pt x="665084" y="66307"/>
                      <a:pt x="663184" y="66221"/>
                      <a:pt x="661959" y="67341"/>
                    </a:cubicBezTo>
                    <a:cubicBezTo>
                      <a:pt x="661893" y="67401"/>
                      <a:pt x="661829" y="67466"/>
                      <a:pt x="661769" y="67531"/>
                    </a:cubicBezTo>
                    <a:cubicBezTo>
                      <a:pt x="660550" y="68759"/>
                      <a:pt x="660550" y="70739"/>
                      <a:pt x="661769" y="71967"/>
                    </a:cubicBezTo>
                    <a:cubicBezTo>
                      <a:pt x="663025" y="73113"/>
                      <a:pt x="664948" y="73113"/>
                      <a:pt x="666204" y="71967"/>
                    </a:cubicBezTo>
                    <a:cubicBezTo>
                      <a:pt x="667423" y="70739"/>
                      <a:pt x="667423" y="68759"/>
                      <a:pt x="666204" y="67531"/>
                    </a:cubicBezTo>
                    <a:moveTo>
                      <a:pt x="699111" y="36913"/>
                    </a:moveTo>
                    <a:cubicBezTo>
                      <a:pt x="698124" y="35890"/>
                      <a:pt x="696493" y="35860"/>
                      <a:pt x="695470" y="36849"/>
                    </a:cubicBezTo>
                    <a:cubicBezTo>
                      <a:pt x="694447" y="37836"/>
                      <a:pt x="694417" y="39467"/>
                      <a:pt x="695405" y="40490"/>
                    </a:cubicBezTo>
                    <a:cubicBezTo>
                      <a:pt x="696393" y="41513"/>
                      <a:pt x="698024" y="41543"/>
                      <a:pt x="699047" y="40555"/>
                    </a:cubicBezTo>
                    <a:cubicBezTo>
                      <a:pt x="699068" y="40533"/>
                      <a:pt x="699090" y="40512"/>
                      <a:pt x="699111" y="40490"/>
                    </a:cubicBezTo>
                    <a:cubicBezTo>
                      <a:pt x="700098" y="39580"/>
                      <a:pt x="700161" y="38041"/>
                      <a:pt x="699251" y="37054"/>
                    </a:cubicBezTo>
                    <a:cubicBezTo>
                      <a:pt x="699207" y="37005"/>
                      <a:pt x="699160" y="36958"/>
                      <a:pt x="699111" y="36913"/>
                    </a:cubicBezTo>
                    <a:moveTo>
                      <a:pt x="392931" y="362409"/>
                    </a:moveTo>
                    <a:cubicBezTo>
                      <a:pt x="389809" y="359272"/>
                      <a:pt x="384737" y="359259"/>
                      <a:pt x="381599" y="362380"/>
                    </a:cubicBezTo>
                    <a:cubicBezTo>
                      <a:pt x="378463" y="365502"/>
                      <a:pt x="378450" y="370575"/>
                      <a:pt x="381572" y="373711"/>
                    </a:cubicBezTo>
                    <a:cubicBezTo>
                      <a:pt x="384693" y="376848"/>
                      <a:pt x="389766" y="376861"/>
                      <a:pt x="392902" y="373740"/>
                    </a:cubicBezTo>
                    <a:cubicBezTo>
                      <a:pt x="392912" y="373730"/>
                      <a:pt x="392921" y="373721"/>
                      <a:pt x="392931" y="373711"/>
                    </a:cubicBezTo>
                    <a:cubicBezTo>
                      <a:pt x="396041" y="370585"/>
                      <a:pt x="396041" y="365535"/>
                      <a:pt x="392931" y="362409"/>
                    </a:cubicBezTo>
                    <a:moveTo>
                      <a:pt x="425838" y="331647"/>
                    </a:moveTo>
                    <a:cubicBezTo>
                      <a:pt x="423032" y="328644"/>
                      <a:pt x="418325" y="328484"/>
                      <a:pt x="415322" y="331290"/>
                    </a:cubicBezTo>
                    <a:cubicBezTo>
                      <a:pt x="412319" y="334095"/>
                      <a:pt x="412159" y="338803"/>
                      <a:pt x="414965" y="341806"/>
                    </a:cubicBezTo>
                    <a:cubicBezTo>
                      <a:pt x="417909" y="344677"/>
                      <a:pt x="422608" y="344677"/>
                      <a:pt x="425552" y="341806"/>
                    </a:cubicBezTo>
                    <a:cubicBezTo>
                      <a:pt x="428475" y="338919"/>
                      <a:pt x="428505" y="334209"/>
                      <a:pt x="425618" y="331284"/>
                    </a:cubicBezTo>
                    <a:cubicBezTo>
                      <a:pt x="425596" y="331263"/>
                      <a:pt x="425574" y="331240"/>
                      <a:pt x="425552" y="331218"/>
                    </a:cubicBezTo>
                    <a:moveTo>
                      <a:pt x="458173" y="300743"/>
                    </a:moveTo>
                    <a:cubicBezTo>
                      <a:pt x="455486" y="298066"/>
                      <a:pt x="451138" y="298074"/>
                      <a:pt x="448461" y="300761"/>
                    </a:cubicBezTo>
                    <a:cubicBezTo>
                      <a:pt x="445784" y="303447"/>
                      <a:pt x="445791" y="307795"/>
                      <a:pt x="448478" y="310472"/>
                    </a:cubicBezTo>
                    <a:cubicBezTo>
                      <a:pt x="451158" y="313144"/>
                      <a:pt x="455493" y="313144"/>
                      <a:pt x="458173" y="310472"/>
                    </a:cubicBezTo>
                    <a:cubicBezTo>
                      <a:pt x="460860" y="307795"/>
                      <a:pt x="460867" y="303447"/>
                      <a:pt x="458190" y="300761"/>
                    </a:cubicBezTo>
                    <a:cubicBezTo>
                      <a:pt x="458185" y="300755"/>
                      <a:pt x="458179" y="300749"/>
                      <a:pt x="458173" y="300743"/>
                    </a:cubicBezTo>
                    <a:moveTo>
                      <a:pt x="490651" y="270268"/>
                    </a:moveTo>
                    <a:cubicBezTo>
                      <a:pt x="488598" y="267365"/>
                      <a:pt x="484580" y="266674"/>
                      <a:pt x="481677" y="268727"/>
                    </a:cubicBezTo>
                    <a:cubicBezTo>
                      <a:pt x="478773" y="270781"/>
                      <a:pt x="478083" y="274798"/>
                      <a:pt x="480137" y="277701"/>
                    </a:cubicBezTo>
                    <a:cubicBezTo>
                      <a:pt x="480480" y="278188"/>
                      <a:pt x="480889" y="278623"/>
                      <a:pt x="481351" y="278996"/>
                    </a:cubicBezTo>
                    <a:cubicBezTo>
                      <a:pt x="484118" y="281228"/>
                      <a:pt x="488173" y="280794"/>
                      <a:pt x="490405" y="278027"/>
                    </a:cubicBezTo>
                    <a:cubicBezTo>
                      <a:pt x="492212" y="275787"/>
                      <a:pt x="492312" y="272619"/>
                      <a:pt x="490651" y="270268"/>
                    </a:cubicBezTo>
                    <a:moveTo>
                      <a:pt x="523129" y="239650"/>
                    </a:moveTo>
                    <a:cubicBezTo>
                      <a:pt x="520917" y="237280"/>
                      <a:pt x="517201" y="237152"/>
                      <a:pt x="514831" y="239364"/>
                    </a:cubicBezTo>
                    <a:cubicBezTo>
                      <a:pt x="512460" y="241576"/>
                      <a:pt x="512333" y="245292"/>
                      <a:pt x="514545" y="247663"/>
                    </a:cubicBezTo>
                    <a:cubicBezTo>
                      <a:pt x="516757" y="250033"/>
                      <a:pt x="520472" y="250161"/>
                      <a:pt x="522843" y="247949"/>
                    </a:cubicBezTo>
                    <a:cubicBezTo>
                      <a:pt x="525214" y="245737"/>
                      <a:pt x="525341" y="242021"/>
                      <a:pt x="523129" y="239650"/>
                    </a:cubicBezTo>
                    <a:moveTo>
                      <a:pt x="555607" y="209175"/>
                    </a:moveTo>
                    <a:cubicBezTo>
                      <a:pt x="553593" y="207042"/>
                      <a:pt x="550229" y="206946"/>
                      <a:pt x="548096" y="208961"/>
                    </a:cubicBezTo>
                    <a:cubicBezTo>
                      <a:pt x="545962" y="210975"/>
                      <a:pt x="545867" y="214339"/>
                      <a:pt x="547881" y="216472"/>
                    </a:cubicBezTo>
                    <a:cubicBezTo>
                      <a:pt x="549896" y="218605"/>
                      <a:pt x="553259" y="218701"/>
                      <a:pt x="555392" y="216687"/>
                    </a:cubicBezTo>
                    <a:cubicBezTo>
                      <a:pt x="557526" y="214672"/>
                      <a:pt x="557622" y="211309"/>
                      <a:pt x="555607" y="209175"/>
                    </a:cubicBezTo>
                    <a:moveTo>
                      <a:pt x="588228" y="178701"/>
                    </a:moveTo>
                    <a:cubicBezTo>
                      <a:pt x="586371" y="176759"/>
                      <a:pt x="583292" y="176690"/>
                      <a:pt x="581350" y="178547"/>
                    </a:cubicBezTo>
                    <a:cubicBezTo>
                      <a:pt x="579409" y="180405"/>
                      <a:pt x="579340" y="183483"/>
                      <a:pt x="581197" y="185425"/>
                    </a:cubicBezTo>
                    <a:cubicBezTo>
                      <a:pt x="583054" y="187367"/>
                      <a:pt x="586133" y="187435"/>
                      <a:pt x="588075" y="185578"/>
                    </a:cubicBezTo>
                    <a:cubicBezTo>
                      <a:pt x="588126" y="185528"/>
                      <a:pt x="588178" y="185477"/>
                      <a:pt x="588228" y="185425"/>
                    </a:cubicBezTo>
                    <a:cubicBezTo>
                      <a:pt x="590085" y="183595"/>
                      <a:pt x="590107" y="180605"/>
                      <a:pt x="588275" y="178748"/>
                    </a:cubicBezTo>
                    <a:cubicBezTo>
                      <a:pt x="588260" y="178732"/>
                      <a:pt x="588244" y="178716"/>
                      <a:pt x="588228" y="178701"/>
                    </a:cubicBezTo>
                    <a:moveTo>
                      <a:pt x="620706" y="148226"/>
                    </a:moveTo>
                    <a:cubicBezTo>
                      <a:pt x="619046" y="146533"/>
                      <a:pt x="616329" y="146506"/>
                      <a:pt x="614637" y="148165"/>
                    </a:cubicBezTo>
                    <a:cubicBezTo>
                      <a:pt x="612943" y="149824"/>
                      <a:pt x="612916" y="152542"/>
                      <a:pt x="614575" y="154235"/>
                    </a:cubicBezTo>
                    <a:cubicBezTo>
                      <a:pt x="616235" y="155927"/>
                      <a:pt x="618952" y="155954"/>
                      <a:pt x="620646" y="154295"/>
                    </a:cubicBezTo>
                    <a:cubicBezTo>
                      <a:pt x="620666" y="154275"/>
                      <a:pt x="620686" y="154255"/>
                      <a:pt x="620706" y="154235"/>
                    </a:cubicBezTo>
                    <a:cubicBezTo>
                      <a:pt x="622341" y="152565"/>
                      <a:pt x="622341" y="149895"/>
                      <a:pt x="620706" y="148226"/>
                    </a:cubicBezTo>
                    <a:moveTo>
                      <a:pt x="653184" y="117751"/>
                    </a:moveTo>
                    <a:cubicBezTo>
                      <a:pt x="651722" y="116421"/>
                      <a:pt x="649460" y="116530"/>
                      <a:pt x="648132" y="117991"/>
                    </a:cubicBezTo>
                    <a:cubicBezTo>
                      <a:pt x="646803" y="119453"/>
                      <a:pt x="646910" y="121715"/>
                      <a:pt x="648372" y="123044"/>
                    </a:cubicBezTo>
                    <a:cubicBezTo>
                      <a:pt x="649737" y="124285"/>
                      <a:pt x="651821" y="124285"/>
                      <a:pt x="653184" y="123044"/>
                    </a:cubicBezTo>
                    <a:cubicBezTo>
                      <a:pt x="654583" y="121558"/>
                      <a:pt x="654583" y="119239"/>
                      <a:pt x="653184" y="117751"/>
                    </a:cubicBezTo>
                    <a:moveTo>
                      <a:pt x="686091" y="88420"/>
                    </a:moveTo>
                    <a:cubicBezTo>
                      <a:pt x="684864" y="87201"/>
                      <a:pt x="682884" y="87201"/>
                      <a:pt x="681656" y="88420"/>
                    </a:cubicBezTo>
                    <a:cubicBezTo>
                      <a:pt x="680431" y="89541"/>
                      <a:pt x="680345" y="91441"/>
                      <a:pt x="681466" y="92665"/>
                    </a:cubicBezTo>
                    <a:cubicBezTo>
                      <a:pt x="681526" y="92731"/>
                      <a:pt x="681590" y="92796"/>
                      <a:pt x="681656" y="92856"/>
                    </a:cubicBezTo>
                    <a:cubicBezTo>
                      <a:pt x="682884" y="94075"/>
                      <a:pt x="684864" y="94075"/>
                      <a:pt x="686091" y="92856"/>
                    </a:cubicBezTo>
                    <a:cubicBezTo>
                      <a:pt x="687237" y="91599"/>
                      <a:pt x="687237" y="89676"/>
                      <a:pt x="686091" y="88420"/>
                    </a:cubicBezTo>
                    <a:moveTo>
                      <a:pt x="718569" y="57945"/>
                    </a:moveTo>
                    <a:cubicBezTo>
                      <a:pt x="717523" y="56964"/>
                      <a:pt x="715895" y="56964"/>
                      <a:pt x="714849" y="57945"/>
                    </a:cubicBezTo>
                    <a:cubicBezTo>
                      <a:pt x="713934" y="59016"/>
                      <a:pt x="713934" y="60595"/>
                      <a:pt x="714849" y="61665"/>
                    </a:cubicBezTo>
                    <a:cubicBezTo>
                      <a:pt x="715837" y="62733"/>
                      <a:pt x="717502" y="62796"/>
                      <a:pt x="718569" y="61808"/>
                    </a:cubicBezTo>
                    <a:cubicBezTo>
                      <a:pt x="719637" y="60821"/>
                      <a:pt x="719699" y="59156"/>
                      <a:pt x="718712" y="58088"/>
                    </a:cubicBezTo>
                    <a:moveTo>
                      <a:pt x="367750" y="425218"/>
                    </a:moveTo>
                    <a:cubicBezTo>
                      <a:pt x="370872" y="428355"/>
                      <a:pt x="375944" y="428367"/>
                      <a:pt x="379081" y="425247"/>
                    </a:cubicBezTo>
                    <a:cubicBezTo>
                      <a:pt x="382218" y="422125"/>
                      <a:pt x="382230" y="417052"/>
                      <a:pt x="379109" y="413915"/>
                    </a:cubicBezTo>
                    <a:cubicBezTo>
                      <a:pt x="375988" y="410779"/>
                      <a:pt x="370915" y="410766"/>
                      <a:pt x="367778" y="413887"/>
                    </a:cubicBezTo>
                    <a:cubicBezTo>
                      <a:pt x="367768" y="413897"/>
                      <a:pt x="367760" y="413905"/>
                      <a:pt x="367750" y="413915"/>
                    </a:cubicBezTo>
                    <a:cubicBezTo>
                      <a:pt x="364639" y="417042"/>
                      <a:pt x="364639" y="422092"/>
                      <a:pt x="367750" y="425218"/>
                    </a:cubicBezTo>
                    <a:moveTo>
                      <a:pt x="335701" y="455693"/>
                    </a:moveTo>
                    <a:cubicBezTo>
                      <a:pt x="338507" y="458696"/>
                      <a:pt x="343214" y="458857"/>
                      <a:pt x="346217" y="456051"/>
                    </a:cubicBezTo>
                    <a:cubicBezTo>
                      <a:pt x="349220" y="453245"/>
                      <a:pt x="349380" y="448538"/>
                      <a:pt x="346575" y="445535"/>
                    </a:cubicBezTo>
                    <a:cubicBezTo>
                      <a:pt x="343630" y="442663"/>
                      <a:pt x="338932" y="442663"/>
                      <a:pt x="335987" y="445535"/>
                    </a:cubicBezTo>
                    <a:cubicBezTo>
                      <a:pt x="333064" y="448422"/>
                      <a:pt x="333034" y="453132"/>
                      <a:pt x="335921" y="456057"/>
                    </a:cubicBezTo>
                    <a:cubicBezTo>
                      <a:pt x="335943" y="456078"/>
                      <a:pt x="335964" y="456101"/>
                      <a:pt x="335987" y="456123"/>
                    </a:cubicBezTo>
                    <a:moveTo>
                      <a:pt x="302651" y="486168"/>
                    </a:moveTo>
                    <a:cubicBezTo>
                      <a:pt x="305384" y="488878"/>
                      <a:pt x="309790" y="488878"/>
                      <a:pt x="312523" y="486168"/>
                    </a:cubicBezTo>
                    <a:cubicBezTo>
                      <a:pt x="315157" y="483404"/>
                      <a:pt x="315157" y="479060"/>
                      <a:pt x="312523" y="476296"/>
                    </a:cubicBezTo>
                    <a:cubicBezTo>
                      <a:pt x="309807" y="473679"/>
                      <a:pt x="305509" y="473679"/>
                      <a:pt x="302794" y="476296"/>
                    </a:cubicBezTo>
                    <a:cubicBezTo>
                      <a:pt x="300107" y="478973"/>
                      <a:pt x="300100" y="483321"/>
                      <a:pt x="302777" y="486008"/>
                    </a:cubicBezTo>
                    <a:cubicBezTo>
                      <a:pt x="302782" y="486014"/>
                      <a:pt x="302788" y="486019"/>
                      <a:pt x="302794" y="486025"/>
                    </a:cubicBezTo>
                    <a:moveTo>
                      <a:pt x="270316" y="516500"/>
                    </a:moveTo>
                    <a:cubicBezTo>
                      <a:pt x="272369" y="519403"/>
                      <a:pt x="276387" y="520094"/>
                      <a:pt x="279290" y="518041"/>
                    </a:cubicBezTo>
                    <a:cubicBezTo>
                      <a:pt x="282194" y="515988"/>
                      <a:pt x="282884" y="511970"/>
                      <a:pt x="280830" y="509067"/>
                    </a:cubicBezTo>
                    <a:cubicBezTo>
                      <a:pt x="280487" y="508581"/>
                      <a:pt x="280079" y="508146"/>
                      <a:pt x="279616" y="507773"/>
                    </a:cubicBezTo>
                    <a:cubicBezTo>
                      <a:pt x="277563" y="504870"/>
                      <a:pt x="273545" y="504179"/>
                      <a:pt x="270642" y="506232"/>
                    </a:cubicBezTo>
                    <a:cubicBezTo>
                      <a:pt x="267738" y="508285"/>
                      <a:pt x="267048" y="512302"/>
                      <a:pt x="269101" y="515205"/>
                    </a:cubicBezTo>
                    <a:cubicBezTo>
                      <a:pt x="269445" y="515690"/>
                      <a:pt x="269852" y="516127"/>
                      <a:pt x="270316" y="516500"/>
                    </a:cubicBezTo>
                    <a:moveTo>
                      <a:pt x="237838" y="547118"/>
                    </a:moveTo>
                    <a:cubicBezTo>
                      <a:pt x="240050" y="549489"/>
                      <a:pt x="243765" y="549616"/>
                      <a:pt x="246136" y="547404"/>
                    </a:cubicBezTo>
                    <a:cubicBezTo>
                      <a:pt x="248507" y="545192"/>
                      <a:pt x="248634" y="541477"/>
                      <a:pt x="246422" y="539106"/>
                    </a:cubicBezTo>
                    <a:cubicBezTo>
                      <a:pt x="244210" y="536735"/>
                      <a:pt x="240495" y="536608"/>
                      <a:pt x="238124" y="538820"/>
                    </a:cubicBezTo>
                    <a:cubicBezTo>
                      <a:pt x="235753" y="541032"/>
                      <a:pt x="235626" y="544747"/>
                      <a:pt x="237838" y="547118"/>
                    </a:cubicBezTo>
                    <a:moveTo>
                      <a:pt x="205217" y="577736"/>
                    </a:moveTo>
                    <a:cubicBezTo>
                      <a:pt x="207231" y="579869"/>
                      <a:pt x="210595" y="579965"/>
                      <a:pt x="212728" y="577951"/>
                    </a:cubicBezTo>
                    <a:cubicBezTo>
                      <a:pt x="214862" y="575936"/>
                      <a:pt x="214957" y="572573"/>
                      <a:pt x="212943" y="570439"/>
                    </a:cubicBezTo>
                    <a:cubicBezTo>
                      <a:pt x="210928" y="568306"/>
                      <a:pt x="207565" y="568210"/>
                      <a:pt x="205431" y="570225"/>
                    </a:cubicBezTo>
                    <a:cubicBezTo>
                      <a:pt x="203298" y="572239"/>
                      <a:pt x="203202" y="575603"/>
                      <a:pt x="205217" y="577736"/>
                    </a:cubicBezTo>
                    <a:moveTo>
                      <a:pt x="172596" y="608211"/>
                    </a:moveTo>
                    <a:cubicBezTo>
                      <a:pt x="174453" y="610153"/>
                      <a:pt x="177532" y="610221"/>
                      <a:pt x="179473" y="608364"/>
                    </a:cubicBezTo>
                    <a:cubicBezTo>
                      <a:pt x="181415" y="606507"/>
                      <a:pt x="181484" y="603428"/>
                      <a:pt x="179626" y="601487"/>
                    </a:cubicBezTo>
                    <a:cubicBezTo>
                      <a:pt x="177769" y="599545"/>
                      <a:pt x="174690" y="599476"/>
                      <a:pt x="172749" y="601333"/>
                    </a:cubicBezTo>
                    <a:cubicBezTo>
                      <a:pt x="172697" y="601384"/>
                      <a:pt x="172646" y="601435"/>
                      <a:pt x="172596" y="601487"/>
                    </a:cubicBezTo>
                    <a:cubicBezTo>
                      <a:pt x="170739" y="603318"/>
                      <a:pt x="170717" y="606307"/>
                      <a:pt x="172549" y="608164"/>
                    </a:cubicBezTo>
                    <a:cubicBezTo>
                      <a:pt x="172564" y="608180"/>
                      <a:pt x="172580" y="608195"/>
                      <a:pt x="172596" y="608211"/>
                    </a:cubicBezTo>
                    <a:moveTo>
                      <a:pt x="140118" y="638686"/>
                    </a:moveTo>
                    <a:cubicBezTo>
                      <a:pt x="141777" y="640379"/>
                      <a:pt x="144494" y="640406"/>
                      <a:pt x="146187" y="638746"/>
                    </a:cubicBezTo>
                    <a:cubicBezTo>
                      <a:pt x="147881" y="637088"/>
                      <a:pt x="147908" y="634369"/>
                      <a:pt x="146249" y="632677"/>
                    </a:cubicBezTo>
                    <a:cubicBezTo>
                      <a:pt x="144589" y="630984"/>
                      <a:pt x="141872" y="630957"/>
                      <a:pt x="140178" y="632617"/>
                    </a:cubicBezTo>
                    <a:cubicBezTo>
                      <a:pt x="140158" y="632637"/>
                      <a:pt x="140138" y="632657"/>
                      <a:pt x="140118" y="632677"/>
                    </a:cubicBezTo>
                    <a:cubicBezTo>
                      <a:pt x="138482" y="634347"/>
                      <a:pt x="138482" y="637016"/>
                      <a:pt x="140118" y="638686"/>
                    </a:cubicBezTo>
                    <a:moveTo>
                      <a:pt x="107640" y="669161"/>
                    </a:moveTo>
                    <a:cubicBezTo>
                      <a:pt x="109102" y="670490"/>
                      <a:pt x="111364" y="670381"/>
                      <a:pt x="112693" y="668921"/>
                    </a:cubicBezTo>
                    <a:cubicBezTo>
                      <a:pt x="114021" y="667458"/>
                      <a:pt x="113914" y="665196"/>
                      <a:pt x="112451" y="663867"/>
                    </a:cubicBezTo>
                    <a:cubicBezTo>
                      <a:pt x="111088" y="662627"/>
                      <a:pt x="109005" y="662627"/>
                      <a:pt x="107640" y="663867"/>
                    </a:cubicBezTo>
                    <a:cubicBezTo>
                      <a:pt x="106241" y="665355"/>
                      <a:pt x="106241" y="667674"/>
                      <a:pt x="107640" y="669161"/>
                    </a:cubicBezTo>
                    <a:moveTo>
                      <a:pt x="387208" y="446107"/>
                    </a:moveTo>
                    <a:cubicBezTo>
                      <a:pt x="390334" y="449218"/>
                      <a:pt x="395385" y="449218"/>
                      <a:pt x="398511" y="446107"/>
                    </a:cubicBezTo>
                    <a:cubicBezTo>
                      <a:pt x="401638" y="442932"/>
                      <a:pt x="401638" y="437836"/>
                      <a:pt x="398511" y="434661"/>
                    </a:cubicBezTo>
                    <a:cubicBezTo>
                      <a:pt x="395385" y="431551"/>
                      <a:pt x="390334" y="431551"/>
                      <a:pt x="387208" y="434661"/>
                    </a:cubicBezTo>
                    <a:cubicBezTo>
                      <a:pt x="384086" y="437686"/>
                      <a:pt x="384007" y="442668"/>
                      <a:pt x="387032" y="445788"/>
                    </a:cubicBezTo>
                    <a:cubicBezTo>
                      <a:pt x="387089" y="445848"/>
                      <a:pt x="387148" y="445907"/>
                      <a:pt x="387208" y="445964"/>
                    </a:cubicBezTo>
                    <a:moveTo>
                      <a:pt x="354587" y="476439"/>
                    </a:moveTo>
                    <a:cubicBezTo>
                      <a:pt x="357474" y="479362"/>
                      <a:pt x="362184" y="479392"/>
                      <a:pt x="365109" y="476505"/>
                    </a:cubicBezTo>
                    <a:cubicBezTo>
                      <a:pt x="365130" y="476484"/>
                      <a:pt x="365153" y="476462"/>
                      <a:pt x="365174" y="476439"/>
                    </a:cubicBezTo>
                    <a:cubicBezTo>
                      <a:pt x="368046" y="473495"/>
                      <a:pt x="368046" y="468796"/>
                      <a:pt x="365174" y="465852"/>
                    </a:cubicBezTo>
                    <a:cubicBezTo>
                      <a:pt x="362010" y="463109"/>
                      <a:pt x="357221" y="463451"/>
                      <a:pt x="354478" y="466616"/>
                    </a:cubicBezTo>
                    <a:cubicBezTo>
                      <a:pt x="352133" y="469320"/>
                      <a:pt x="352000" y="473297"/>
                      <a:pt x="354158" y="476153"/>
                    </a:cubicBezTo>
                    <a:moveTo>
                      <a:pt x="321680" y="506628"/>
                    </a:moveTo>
                    <a:cubicBezTo>
                      <a:pt x="324317" y="509354"/>
                      <a:pt x="328665" y="509426"/>
                      <a:pt x="331390" y="506790"/>
                    </a:cubicBezTo>
                    <a:cubicBezTo>
                      <a:pt x="331445" y="506737"/>
                      <a:pt x="331499" y="506682"/>
                      <a:pt x="331552" y="506628"/>
                    </a:cubicBezTo>
                    <a:cubicBezTo>
                      <a:pt x="334124" y="503734"/>
                      <a:pt x="333863" y="499302"/>
                      <a:pt x="330968" y="496730"/>
                    </a:cubicBezTo>
                    <a:cubicBezTo>
                      <a:pt x="328427" y="494472"/>
                      <a:pt x="324633" y="494364"/>
                      <a:pt x="321966" y="496470"/>
                    </a:cubicBezTo>
                    <a:cubicBezTo>
                      <a:pt x="319332" y="499234"/>
                      <a:pt x="319332" y="503578"/>
                      <a:pt x="321966" y="506342"/>
                    </a:cubicBezTo>
                    <a:moveTo>
                      <a:pt x="289488" y="536817"/>
                    </a:moveTo>
                    <a:cubicBezTo>
                      <a:pt x="291977" y="539356"/>
                      <a:pt x="296054" y="539396"/>
                      <a:pt x="298593" y="536908"/>
                    </a:cubicBezTo>
                    <a:cubicBezTo>
                      <a:pt x="301133" y="534419"/>
                      <a:pt x="301173" y="530343"/>
                      <a:pt x="298683" y="527803"/>
                    </a:cubicBezTo>
                    <a:cubicBezTo>
                      <a:pt x="296195" y="525263"/>
                      <a:pt x="292118" y="525223"/>
                      <a:pt x="289579" y="527711"/>
                    </a:cubicBezTo>
                    <a:cubicBezTo>
                      <a:pt x="289548" y="527742"/>
                      <a:pt x="289518" y="527773"/>
                      <a:pt x="289488" y="527803"/>
                    </a:cubicBezTo>
                    <a:cubicBezTo>
                      <a:pt x="286998" y="530231"/>
                      <a:pt x="286948" y="534216"/>
                      <a:pt x="289376" y="536705"/>
                    </a:cubicBezTo>
                    <a:cubicBezTo>
                      <a:pt x="289414" y="536742"/>
                      <a:pt x="289451" y="536780"/>
                      <a:pt x="289488" y="536817"/>
                    </a:cubicBezTo>
                    <a:moveTo>
                      <a:pt x="257010" y="567864"/>
                    </a:moveTo>
                    <a:cubicBezTo>
                      <a:pt x="259301" y="570156"/>
                      <a:pt x="263015" y="570156"/>
                      <a:pt x="265305" y="567867"/>
                    </a:cubicBezTo>
                    <a:cubicBezTo>
                      <a:pt x="265307" y="567865"/>
                      <a:pt x="265307" y="567865"/>
                      <a:pt x="265308" y="567864"/>
                    </a:cubicBezTo>
                    <a:cubicBezTo>
                      <a:pt x="267600" y="565686"/>
                      <a:pt x="267693" y="562065"/>
                      <a:pt x="265516" y="559773"/>
                    </a:cubicBezTo>
                    <a:cubicBezTo>
                      <a:pt x="265448" y="559702"/>
                      <a:pt x="265380" y="559633"/>
                      <a:pt x="265308" y="559566"/>
                    </a:cubicBezTo>
                    <a:cubicBezTo>
                      <a:pt x="263096" y="557195"/>
                      <a:pt x="259381" y="557068"/>
                      <a:pt x="257010" y="559279"/>
                    </a:cubicBezTo>
                    <a:cubicBezTo>
                      <a:pt x="254639" y="561491"/>
                      <a:pt x="254512" y="565207"/>
                      <a:pt x="256724" y="567578"/>
                    </a:cubicBezTo>
                    <a:moveTo>
                      <a:pt x="224246" y="598053"/>
                    </a:moveTo>
                    <a:cubicBezTo>
                      <a:pt x="226300" y="600133"/>
                      <a:pt x="229653" y="600153"/>
                      <a:pt x="231731" y="598100"/>
                    </a:cubicBezTo>
                    <a:cubicBezTo>
                      <a:pt x="233812" y="596045"/>
                      <a:pt x="233833" y="592693"/>
                      <a:pt x="231779" y="590613"/>
                    </a:cubicBezTo>
                    <a:cubicBezTo>
                      <a:pt x="229724" y="588533"/>
                      <a:pt x="226372" y="588513"/>
                      <a:pt x="224292" y="590567"/>
                    </a:cubicBezTo>
                    <a:cubicBezTo>
                      <a:pt x="224277" y="590581"/>
                      <a:pt x="224262" y="590597"/>
                      <a:pt x="224246" y="590613"/>
                    </a:cubicBezTo>
                    <a:cubicBezTo>
                      <a:pt x="222210" y="592675"/>
                      <a:pt x="222210" y="595991"/>
                      <a:pt x="224246" y="598053"/>
                    </a:cubicBezTo>
                    <a:moveTo>
                      <a:pt x="192626" y="628814"/>
                    </a:moveTo>
                    <a:cubicBezTo>
                      <a:pt x="194483" y="630644"/>
                      <a:pt x="197472" y="630624"/>
                      <a:pt x="199304" y="628767"/>
                    </a:cubicBezTo>
                    <a:cubicBezTo>
                      <a:pt x="201133" y="626910"/>
                      <a:pt x="201112" y="623919"/>
                      <a:pt x="199256" y="622089"/>
                    </a:cubicBezTo>
                    <a:cubicBezTo>
                      <a:pt x="197418" y="620277"/>
                      <a:pt x="194465" y="620277"/>
                      <a:pt x="192626" y="622089"/>
                    </a:cubicBezTo>
                    <a:cubicBezTo>
                      <a:pt x="190769" y="623919"/>
                      <a:pt x="190748" y="626910"/>
                      <a:pt x="192579" y="628767"/>
                    </a:cubicBezTo>
                    <a:cubicBezTo>
                      <a:pt x="192595" y="628782"/>
                      <a:pt x="192611" y="628798"/>
                      <a:pt x="192626" y="628814"/>
                    </a:cubicBezTo>
                    <a:moveTo>
                      <a:pt x="159576" y="659289"/>
                    </a:moveTo>
                    <a:cubicBezTo>
                      <a:pt x="161196" y="660908"/>
                      <a:pt x="163822" y="660908"/>
                      <a:pt x="165442" y="659289"/>
                    </a:cubicBezTo>
                    <a:cubicBezTo>
                      <a:pt x="167077" y="657619"/>
                      <a:pt x="167077" y="654949"/>
                      <a:pt x="165442" y="653280"/>
                    </a:cubicBezTo>
                    <a:cubicBezTo>
                      <a:pt x="163861" y="651620"/>
                      <a:pt x="161236" y="651556"/>
                      <a:pt x="159576" y="653137"/>
                    </a:cubicBezTo>
                    <a:cubicBezTo>
                      <a:pt x="159527" y="653184"/>
                      <a:pt x="159480" y="653231"/>
                      <a:pt x="159433" y="653280"/>
                    </a:cubicBezTo>
                    <a:cubicBezTo>
                      <a:pt x="157813" y="654786"/>
                      <a:pt x="157722" y="657321"/>
                      <a:pt x="159228" y="658941"/>
                    </a:cubicBezTo>
                    <a:cubicBezTo>
                      <a:pt x="159294" y="659013"/>
                      <a:pt x="159363" y="659080"/>
                      <a:pt x="159433" y="659146"/>
                    </a:cubicBezTo>
                    <a:moveTo>
                      <a:pt x="126955" y="689334"/>
                    </a:moveTo>
                    <a:cubicBezTo>
                      <a:pt x="128377" y="690817"/>
                      <a:pt x="130732" y="690865"/>
                      <a:pt x="132214" y="689443"/>
                    </a:cubicBezTo>
                    <a:cubicBezTo>
                      <a:pt x="133697" y="688021"/>
                      <a:pt x="133745" y="685666"/>
                      <a:pt x="132323" y="684184"/>
                    </a:cubicBezTo>
                    <a:cubicBezTo>
                      <a:pt x="130901" y="682702"/>
                      <a:pt x="128546" y="682653"/>
                      <a:pt x="127064" y="684075"/>
                    </a:cubicBezTo>
                    <a:cubicBezTo>
                      <a:pt x="127026" y="684111"/>
                      <a:pt x="126991" y="684147"/>
                      <a:pt x="126955" y="684184"/>
                    </a:cubicBezTo>
                    <a:cubicBezTo>
                      <a:pt x="125574" y="685623"/>
                      <a:pt x="125574" y="687895"/>
                      <a:pt x="126955" y="689334"/>
                    </a:cubicBezTo>
                    <a:moveTo>
                      <a:pt x="407238" y="466710"/>
                    </a:moveTo>
                    <a:cubicBezTo>
                      <a:pt x="410365" y="469820"/>
                      <a:pt x="415415" y="469820"/>
                      <a:pt x="418541" y="466710"/>
                    </a:cubicBezTo>
                    <a:cubicBezTo>
                      <a:pt x="421603" y="463515"/>
                      <a:pt x="421494" y="458443"/>
                      <a:pt x="418300" y="455381"/>
                    </a:cubicBezTo>
                    <a:cubicBezTo>
                      <a:pt x="415369" y="452574"/>
                      <a:pt x="410802" y="452400"/>
                      <a:pt x="407668" y="454978"/>
                    </a:cubicBezTo>
                    <a:cubicBezTo>
                      <a:pt x="404540" y="458153"/>
                      <a:pt x="404540" y="463249"/>
                      <a:pt x="407668" y="466424"/>
                    </a:cubicBezTo>
                    <a:moveTo>
                      <a:pt x="375190" y="496899"/>
                    </a:moveTo>
                    <a:cubicBezTo>
                      <a:pt x="378113" y="499786"/>
                      <a:pt x="382824" y="499756"/>
                      <a:pt x="385711" y="496833"/>
                    </a:cubicBezTo>
                    <a:cubicBezTo>
                      <a:pt x="388599" y="493909"/>
                      <a:pt x="388569" y="489199"/>
                      <a:pt x="385646" y="486311"/>
                    </a:cubicBezTo>
                    <a:cubicBezTo>
                      <a:pt x="382747" y="483450"/>
                      <a:pt x="378087" y="483450"/>
                      <a:pt x="375190" y="486311"/>
                    </a:cubicBezTo>
                    <a:cubicBezTo>
                      <a:pt x="372267" y="489199"/>
                      <a:pt x="372237" y="493909"/>
                      <a:pt x="375124" y="496833"/>
                    </a:cubicBezTo>
                    <a:cubicBezTo>
                      <a:pt x="375145" y="496855"/>
                      <a:pt x="375167" y="496877"/>
                      <a:pt x="375190" y="496899"/>
                    </a:cubicBezTo>
                    <a:moveTo>
                      <a:pt x="341567" y="527660"/>
                    </a:moveTo>
                    <a:cubicBezTo>
                      <a:pt x="344283" y="530277"/>
                      <a:pt x="348581" y="530277"/>
                      <a:pt x="351296" y="527660"/>
                    </a:cubicBezTo>
                    <a:cubicBezTo>
                      <a:pt x="354022" y="525023"/>
                      <a:pt x="354095" y="520675"/>
                      <a:pt x="351458" y="517949"/>
                    </a:cubicBezTo>
                    <a:cubicBezTo>
                      <a:pt x="351405" y="517895"/>
                      <a:pt x="351351" y="517841"/>
                      <a:pt x="351296" y="517788"/>
                    </a:cubicBezTo>
                    <a:cubicBezTo>
                      <a:pt x="348581" y="515171"/>
                      <a:pt x="344283" y="515171"/>
                      <a:pt x="341567" y="517788"/>
                    </a:cubicBezTo>
                    <a:cubicBezTo>
                      <a:pt x="338842" y="520425"/>
                      <a:pt x="338769" y="524773"/>
                      <a:pt x="341405" y="527498"/>
                    </a:cubicBezTo>
                    <a:cubicBezTo>
                      <a:pt x="341458" y="527553"/>
                      <a:pt x="341513" y="527607"/>
                      <a:pt x="341567" y="527660"/>
                    </a:cubicBezTo>
                    <a:moveTo>
                      <a:pt x="308946" y="558135"/>
                    </a:moveTo>
                    <a:cubicBezTo>
                      <a:pt x="311374" y="560624"/>
                      <a:pt x="315359" y="560674"/>
                      <a:pt x="317848" y="558246"/>
                    </a:cubicBezTo>
                    <a:cubicBezTo>
                      <a:pt x="317885" y="558209"/>
                      <a:pt x="317923" y="558172"/>
                      <a:pt x="317960" y="558135"/>
                    </a:cubicBezTo>
                    <a:cubicBezTo>
                      <a:pt x="320863" y="556082"/>
                      <a:pt x="321554" y="552064"/>
                      <a:pt x="319501" y="549161"/>
                    </a:cubicBezTo>
                    <a:cubicBezTo>
                      <a:pt x="317448" y="546257"/>
                      <a:pt x="313430" y="545567"/>
                      <a:pt x="310527" y="547620"/>
                    </a:cubicBezTo>
                    <a:cubicBezTo>
                      <a:pt x="310041" y="547964"/>
                      <a:pt x="309606" y="548373"/>
                      <a:pt x="309232" y="548835"/>
                    </a:cubicBezTo>
                    <a:cubicBezTo>
                      <a:pt x="306743" y="551263"/>
                      <a:pt x="306693" y="555248"/>
                      <a:pt x="309121" y="557737"/>
                    </a:cubicBezTo>
                    <a:cubicBezTo>
                      <a:pt x="309158" y="557774"/>
                      <a:pt x="309195" y="557812"/>
                      <a:pt x="309232" y="557849"/>
                    </a:cubicBezTo>
                    <a:moveTo>
                      <a:pt x="276468" y="589182"/>
                    </a:moveTo>
                    <a:cubicBezTo>
                      <a:pt x="278680" y="591553"/>
                      <a:pt x="282396" y="591680"/>
                      <a:pt x="284766" y="589468"/>
                    </a:cubicBezTo>
                    <a:cubicBezTo>
                      <a:pt x="287137" y="587256"/>
                      <a:pt x="287265" y="583541"/>
                      <a:pt x="285053" y="581170"/>
                    </a:cubicBezTo>
                    <a:cubicBezTo>
                      <a:pt x="282841" y="578799"/>
                      <a:pt x="279125" y="578672"/>
                      <a:pt x="276754" y="580884"/>
                    </a:cubicBezTo>
                    <a:cubicBezTo>
                      <a:pt x="274383" y="583096"/>
                      <a:pt x="274256" y="586811"/>
                      <a:pt x="276468" y="589182"/>
                    </a:cubicBezTo>
                    <a:moveTo>
                      <a:pt x="243990" y="619657"/>
                    </a:moveTo>
                    <a:cubicBezTo>
                      <a:pt x="246052" y="621693"/>
                      <a:pt x="249368" y="621693"/>
                      <a:pt x="251430" y="619657"/>
                    </a:cubicBezTo>
                    <a:cubicBezTo>
                      <a:pt x="253620" y="617602"/>
                      <a:pt x="253729" y="614162"/>
                      <a:pt x="251675" y="611973"/>
                    </a:cubicBezTo>
                    <a:cubicBezTo>
                      <a:pt x="249620" y="609782"/>
                      <a:pt x="246181" y="609673"/>
                      <a:pt x="243990" y="611726"/>
                    </a:cubicBezTo>
                    <a:cubicBezTo>
                      <a:pt x="241800" y="613781"/>
                      <a:pt x="241691" y="617222"/>
                      <a:pt x="243745" y="619412"/>
                    </a:cubicBezTo>
                    <a:cubicBezTo>
                      <a:pt x="243824" y="619497"/>
                      <a:pt x="243906" y="619578"/>
                      <a:pt x="243990" y="619657"/>
                    </a:cubicBezTo>
                    <a:moveTo>
                      <a:pt x="211369" y="650132"/>
                    </a:moveTo>
                    <a:cubicBezTo>
                      <a:pt x="213268" y="652023"/>
                      <a:pt x="216338" y="652023"/>
                      <a:pt x="218237" y="650132"/>
                    </a:cubicBezTo>
                    <a:cubicBezTo>
                      <a:pt x="220134" y="648315"/>
                      <a:pt x="220197" y="645305"/>
                      <a:pt x="218380" y="643407"/>
                    </a:cubicBezTo>
                    <a:cubicBezTo>
                      <a:pt x="216563" y="641512"/>
                      <a:pt x="213551" y="641447"/>
                      <a:pt x="211655" y="643264"/>
                    </a:cubicBezTo>
                    <a:cubicBezTo>
                      <a:pt x="209857" y="645144"/>
                      <a:pt x="209857" y="648109"/>
                      <a:pt x="211655" y="649989"/>
                    </a:cubicBezTo>
                    <a:moveTo>
                      <a:pt x="178319" y="680035"/>
                    </a:moveTo>
                    <a:cubicBezTo>
                      <a:pt x="179988" y="681670"/>
                      <a:pt x="182658" y="681670"/>
                      <a:pt x="184328" y="680035"/>
                    </a:cubicBezTo>
                    <a:cubicBezTo>
                      <a:pt x="185948" y="678415"/>
                      <a:pt x="185948" y="675788"/>
                      <a:pt x="184328" y="674169"/>
                    </a:cubicBezTo>
                    <a:cubicBezTo>
                      <a:pt x="182658" y="672533"/>
                      <a:pt x="179987" y="672533"/>
                      <a:pt x="178319" y="674169"/>
                    </a:cubicBezTo>
                    <a:cubicBezTo>
                      <a:pt x="176755" y="675867"/>
                      <a:pt x="176755" y="678479"/>
                      <a:pt x="178319" y="680178"/>
                    </a:cubicBezTo>
                    <a:moveTo>
                      <a:pt x="145841" y="710653"/>
                    </a:moveTo>
                    <a:cubicBezTo>
                      <a:pt x="147211" y="712075"/>
                      <a:pt x="149476" y="712116"/>
                      <a:pt x="150898" y="710746"/>
                    </a:cubicBezTo>
                    <a:cubicBezTo>
                      <a:pt x="150930" y="710716"/>
                      <a:pt x="150961" y="710684"/>
                      <a:pt x="150991" y="710653"/>
                    </a:cubicBezTo>
                    <a:cubicBezTo>
                      <a:pt x="152454" y="709269"/>
                      <a:pt x="152518" y="706964"/>
                      <a:pt x="151135" y="705502"/>
                    </a:cubicBezTo>
                    <a:cubicBezTo>
                      <a:pt x="149751" y="704040"/>
                      <a:pt x="147446" y="703975"/>
                      <a:pt x="145984" y="705359"/>
                    </a:cubicBezTo>
                    <a:cubicBezTo>
                      <a:pt x="144562" y="706729"/>
                      <a:pt x="144520" y="708994"/>
                      <a:pt x="145891" y="710417"/>
                    </a:cubicBezTo>
                    <a:cubicBezTo>
                      <a:pt x="145921" y="710448"/>
                      <a:pt x="145952" y="710479"/>
                      <a:pt x="145984" y="710510"/>
                    </a:cubicBezTo>
                    <a:moveTo>
                      <a:pt x="309518" y="363124"/>
                    </a:moveTo>
                    <a:cubicBezTo>
                      <a:pt x="312639" y="366260"/>
                      <a:pt x="317712" y="366273"/>
                      <a:pt x="320850" y="363153"/>
                    </a:cubicBezTo>
                    <a:cubicBezTo>
                      <a:pt x="323986" y="360031"/>
                      <a:pt x="323999" y="354957"/>
                      <a:pt x="320877" y="351821"/>
                    </a:cubicBezTo>
                    <a:cubicBezTo>
                      <a:pt x="317757" y="348685"/>
                      <a:pt x="312683" y="348672"/>
                      <a:pt x="309547" y="351792"/>
                    </a:cubicBezTo>
                    <a:cubicBezTo>
                      <a:pt x="309537" y="351802"/>
                      <a:pt x="309528" y="351811"/>
                      <a:pt x="309518" y="351821"/>
                    </a:cubicBezTo>
                    <a:cubicBezTo>
                      <a:pt x="306408" y="354947"/>
                      <a:pt x="306408" y="359998"/>
                      <a:pt x="309518" y="363124"/>
                    </a:cubicBezTo>
                    <a:moveTo>
                      <a:pt x="277040" y="393599"/>
                    </a:moveTo>
                    <a:cubicBezTo>
                      <a:pt x="279815" y="396522"/>
                      <a:pt x="284433" y="396645"/>
                      <a:pt x="287356" y="393871"/>
                    </a:cubicBezTo>
                    <a:cubicBezTo>
                      <a:pt x="287449" y="393782"/>
                      <a:pt x="287539" y="393692"/>
                      <a:pt x="287628" y="393599"/>
                    </a:cubicBezTo>
                    <a:cubicBezTo>
                      <a:pt x="290631" y="390755"/>
                      <a:pt x="290758" y="386014"/>
                      <a:pt x="287914" y="383011"/>
                    </a:cubicBezTo>
                    <a:cubicBezTo>
                      <a:pt x="285070" y="380008"/>
                      <a:pt x="280330" y="379881"/>
                      <a:pt x="277327" y="382725"/>
                    </a:cubicBezTo>
                    <a:cubicBezTo>
                      <a:pt x="274442" y="385539"/>
                      <a:pt x="274386" y="390159"/>
                      <a:pt x="277201" y="393044"/>
                    </a:cubicBezTo>
                    <a:cubicBezTo>
                      <a:pt x="277242" y="393087"/>
                      <a:pt x="277284" y="393128"/>
                      <a:pt x="277327" y="393170"/>
                    </a:cubicBezTo>
                    <a:moveTo>
                      <a:pt x="244849" y="423788"/>
                    </a:moveTo>
                    <a:cubicBezTo>
                      <a:pt x="247564" y="426404"/>
                      <a:pt x="251862" y="426404"/>
                      <a:pt x="254578" y="423788"/>
                    </a:cubicBezTo>
                    <a:cubicBezTo>
                      <a:pt x="257303" y="421151"/>
                      <a:pt x="257376" y="416803"/>
                      <a:pt x="254739" y="414077"/>
                    </a:cubicBezTo>
                    <a:cubicBezTo>
                      <a:pt x="254686" y="414023"/>
                      <a:pt x="254632" y="413968"/>
                      <a:pt x="254578" y="413915"/>
                    </a:cubicBezTo>
                    <a:cubicBezTo>
                      <a:pt x="251862" y="411299"/>
                      <a:pt x="247564" y="411299"/>
                      <a:pt x="244849" y="413915"/>
                    </a:cubicBezTo>
                    <a:cubicBezTo>
                      <a:pt x="242123" y="416552"/>
                      <a:pt x="242050" y="420900"/>
                      <a:pt x="244687" y="423626"/>
                    </a:cubicBezTo>
                    <a:cubicBezTo>
                      <a:pt x="244740" y="423680"/>
                      <a:pt x="244794" y="423735"/>
                      <a:pt x="244849" y="423788"/>
                    </a:cubicBezTo>
                    <a:moveTo>
                      <a:pt x="211941" y="454692"/>
                    </a:moveTo>
                    <a:cubicBezTo>
                      <a:pt x="213830" y="457705"/>
                      <a:pt x="217805" y="458615"/>
                      <a:pt x="220816" y="456726"/>
                    </a:cubicBezTo>
                    <a:cubicBezTo>
                      <a:pt x="223829" y="454836"/>
                      <a:pt x="224739" y="450863"/>
                      <a:pt x="222851" y="447851"/>
                    </a:cubicBezTo>
                    <a:cubicBezTo>
                      <a:pt x="222427" y="447175"/>
                      <a:pt x="221881" y="446584"/>
                      <a:pt x="221241" y="446107"/>
                    </a:cubicBezTo>
                    <a:cubicBezTo>
                      <a:pt x="218792" y="443499"/>
                      <a:pt x="214693" y="443372"/>
                      <a:pt x="212084" y="445821"/>
                    </a:cubicBezTo>
                    <a:cubicBezTo>
                      <a:pt x="209476" y="448271"/>
                      <a:pt x="209349" y="452370"/>
                      <a:pt x="211798" y="454978"/>
                    </a:cubicBezTo>
                    <a:moveTo>
                      <a:pt x="179320" y="485453"/>
                    </a:moveTo>
                    <a:cubicBezTo>
                      <a:pt x="181532" y="487824"/>
                      <a:pt x="185248" y="487951"/>
                      <a:pt x="187619" y="485739"/>
                    </a:cubicBezTo>
                    <a:cubicBezTo>
                      <a:pt x="189989" y="483527"/>
                      <a:pt x="190117" y="479811"/>
                      <a:pt x="187905" y="477441"/>
                    </a:cubicBezTo>
                    <a:cubicBezTo>
                      <a:pt x="185727" y="475149"/>
                      <a:pt x="182106" y="475056"/>
                      <a:pt x="179814" y="477233"/>
                    </a:cubicBezTo>
                    <a:cubicBezTo>
                      <a:pt x="179742" y="477300"/>
                      <a:pt x="179674" y="477369"/>
                      <a:pt x="179606" y="477441"/>
                    </a:cubicBezTo>
                    <a:cubicBezTo>
                      <a:pt x="177314" y="479731"/>
                      <a:pt x="177314" y="483446"/>
                      <a:pt x="179604" y="485736"/>
                    </a:cubicBezTo>
                    <a:cubicBezTo>
                      <a:pt x="179605" y="485738"/>
                      <a:pt x="179605" y="485738"/>
                      <a:pt x="179606" y="485739"/>
                    </a:cubicBezTo>
                    <a:moveTo>
                      <a:pt x="147128" y="516214"/>
                    </a:moveTo>
                    <a:cubicBezTo>
                      <a:pt x="149143" y="518347"/>
                      <a:pt x="152507" y="518443"/>
                      <a:pt x="154640" y="516429"/>
                    </a:cubicBezTo>
                    <a:cubicBezTo>
                      <a:pt x="156773" y="514414"/>
                      <a:pt x="156869" y="511050"/>
                      <a:pt x="154855" y="508917"/>
                    </a:cubicBezTo>
                    <a:cubicBezTo>
                      <a:pt x="152744" y="506864"/>
                      <a:pt x="149382" y="506864"/>
                      <a:pt x="147272" y="508917"/>
                    </a:cubicBezTo>
                    <a:cubicBezTo>
                      <a:pt x="145290" y="511056"/>
                      <a:pt x="145290" y="514361"/>
                      <a:pt x="147272" y="516500"/>
                    </a:cubicBezTo>
                    <a:moveTo>
                      <a:pt x="114507" y="546260"/>
                    </a:moveTo>
                    <a:cubicBezTo>
                      <a:pt x="116365" y="548091"/>
                      <a:pt x="119353" y="548070"/>
                      <a:pt x="121185" y="546212"/>
                    </a:cubicBezTo>
                    <a:cubicBezTo>
                      <a:pt x="123015" y="544355"/>
                      <a:pt x="122993" y="541367"/>
                      <a:pt x="121137" y="539535"/>
                    </a:cubicBezTo>
                    <a:cubicBezTo>
                      <a:pt x="119299" y="537722"/>
                      <a:pt x="116346" y="537722"/>
                      <a:pt x="114507" y="539535"/>
                    </a:cubicBezTo>
                    <a:cubicBezTo>
                      <a:pt x="112650" y="541367"/>
                      <a:pt x="112629" y="544355"/>
                      <a:pt x="114460" y="546212"/>
                    </a:cubicBezTo>
                    <a:cubicBezTo>
                      <a:pt x="114476" y="546228"/>
                      <a:pt x="114492" y="546244"/>
                      <a:pt x="114507" y="546260"/>
                    </a:cubicBezTo>
                    <a:moveTo>
                      <a:pt x="81886" y="576735"/>
                    </a:moveTo>
                    <a:cubicBezTo>
                      <a:pt x="83546" y="578427"/>
                      <a:pt x="86263" y="578454"/>
                      <a:pt x="87956" y="576795"/>
                    </a:cubicBezTo>
                    <a:cubicBezTo>
                      <a:pt x="89650" y="575137"/>
                      <a:pt x="89677" y="572418"/>
                      <a:pt x="88017" y="570725"/>
                    </a:cubicBezTo>
                    <a:cubicBezTo>
                      <a:pt x="86357" y="569033"/>
                      <a:pt x="83640" y="569006"/>
                      <a:pt x="81946" y="570665"/>
                    </a:cubicBezTo>
                    <a:cubicBezTo>
                      <a:pt x="81926" y="570685"/>
                      <a:pt x="81906" y="570705"/>
                      <a:pt x="81886" y="570725"/>
                    </a:cubicBezTo>
                    <a:cubicBezTo>
                      <a:pt x="80251" y="572394"/>
                      <a:pt x="80251" y="575065"/>
                      <a:pt x="81886" y="576735"/>
                    </a:cubicBezTo>
                    <a:moveTo>
                      <a:pt x="49551" y="607066"/>
                    </a:moveTo>
                    <a:cubicBezTo>
                      <a:pt x="50922" y="608489"/>
                      <a:pt x="53187" y="608530"/>
                      <a:pt x="54609" y="607159"/>
                    </a:cubicBezTo>
                    <a:cubicBezTo>
                      <a:pt x="54641" y="607129"/>
                      <a:pt x="54672" y="607098"/>
                      <a:pt x="54702" y="607066"/>
                    </a:cubicBezTo>
                    <a:cubicBezTo>
                      <a:pt x="56124" y="605696"/>
                      <a:pt x="56166" y="603431"/>
                      <a:pt x="54795" y="602009"/>
                    </a:cubicBezTo>
                    <a:cubicBezTo>
                      <a:pt x="54765" y="601977"/>
                      <a:pt x="54734" y="601946"/>
                      <a:pt x="54702" y="601916"/>
                    </a:cubicBezTo>
                    <a:cubicBezTo>
                      <a:pt x="53331" y="600494"/>
                      <a:pt x="51067" y="600452"/>
                      <a:pt x="49644" y="601823"/>
                    </a:cubicBezTo>
                    <a:cubicBezTo>
                      <a:pt x="49613" y="601853"/>
                      <a:pt x="49582" y="601884"/>
                      <a:pt x="49551" y="601916"/>
                    </a:cubicBezTo>
                    <a:cubicBezTo>
                      <a:pt x="48152" y="603402"/>
                      <a:pt x="48152" y="605723"/>
                      <a:pt x="49551" y="607210"/>
                    </a:cubicBezTo>
                    <a:moveTo>
                      <a:pt x="17073" y="637684"/>
                    </a:moveTo>
                    <a:cubicBezTo>
                      <a:pt x="18301" y="638903"/>
                      <a:pt x="20281" y="638903"/>
                      <a:pt x="21509" y="637684"/>
                    </a:cubicBezTo>
                    <a:cubicBezTo>
                      <a:pt x="22655" y="636428"/>
                      <a:pt x="22655" y="634505"/>
                      <a:pt x="21509" y="633249"/>
                    </a:cubicBezTo>
                    <a:cubicBezTo>
                      <a:pt x="20281" y="632030"/>
                      <a:pt x="18301" y="632030"/>
                      <a:pt x="17073" y="633249"/>
                    </a:cubicBezTo>
                    <a:cubicBezTo>
                      <a:pt x="15849" y="634369"/>
                      <a:pt x="15763" y="636269"/>
                      <a:pt x="16883" y="637494"/>
                    </a:cubicBezTo>
                    <a:cubicBezTo>
                      <a:pt x="16943" y="637560"/>
                      <a:pt x="17008" y="637624"/>
                      <a:pt x="17073" y="637684"/>
                    </a:cubicBezTo>
                    <a:moveTo>
                      <a:pt x="328977" y="383870"/>
                    </a:moveTo>
                    <a:cubicBezTo>
                      <a:pt x="332103" y="386980"/>
                      <a:pt x="337153" y="386980"/>
                      <a:pt x="340279" y="383870"/>
                    </a:cubicBezTo>
                    <a:cubicBezTo>
                      <a:pt x="343407" y="380695"/>
                      <a:pt x="343407" y="375599"/>
                      <a:pt x="340279" y="372424"/>
                    </a:cubicBezTo>
                    <a:cubicBezTo>
                      <a:pt x="337075" y="369372"/>
                      <a:pt x="332038" y="369372"/>
                      <a:pt x="328833" y="372424"/>
                    </a:cubicBezTo>
                    <a:cubicBezTo>
                      <a:pt x="325723" y="375550"/>
                      <a:pt x="325723" y="380601"/>
                      <a:pt x="328833" y="383727"/>
                    </a:cubicBezTo>
                    <a:moveTo>
                      <a:pt x="296212" y="414202"/>
                    </a:moveTo>
                    <a:cubicBezTo>
                      <a:pt x="299100" y="417125"/>
                      <a:pt x="303810" y="417155"/>
                      <a:pt x="306734" y="414267"/>
                    </a:cubicBezTo>
                    <a:cubicBezTo>
                      <a:pt x="306756" y="414246"/>
                      <a:pt x="306778" y="414225"/>
                      <a:pt x="306800" y="414202"/>
                    </a:cubicBezTo>
                    <a:cubicBezTo>
                      <a:pt x="309803" y="411396"/>
                      <a:pt x="309963" y="406689"/>
                      <a:pt x="307158" y="403686"/>
                    </a:cubicBezTo>
                    <a:cubicBezTo>
                      <a:pt x="304352" y="400682"/>
                      <a:pt x="299645" y="400522"/>
                      <a:pt x="296642" y="403328"/>
                    </a:cubicBezTo>
                    <a:cubicBezTo>
                      <a:pt x="293770" y="406272"/>
                      <a:pt x="293770" y="410971"/>
                      <a:pt x="296642" y="413915"/>
                    </a:cubicBezTo>
                    <a:moveTo>
                      <a:pt x="264164" y="444820"/>
                    </a:moveTo>
                    <a:cubicBezTo>
                      <a:pt x="266801" y="447545"/>
                      <a:pt x="271149" y="447618"/>
                      <a:pt x="273874" y="444981"/>
                    </a:cubicBezTo>
                    <a:cubicBezTo>
                      <a:pt x="273928" y="444928"/>
                      <a:pt x="273983" y="444874"/>
                      <a:pt x="274036" y="444820"/>
                    </a:cubicBezTo>
                    <a:cubicBezTo>
                      <a:pt x="276653" y="442104"/>
                      <a:pt x="276653" y="437806"/>
                      <a:pt x="274036" y="435091"/>
                    </a:cubicBezTo>
                    <a:cubicBezTo>
                      <a:pt x="271399" y="432365"/>
                      <a:pt x="267051" y="432292"/>
                      <a:pt x="264325" y="434929"/>
                    </a:cubicBezTo>
                    <a:cubicBezTo>
                      <a:pt x="264271" y="434982"/>
                      <a:pt x="264217" y="435036"/>
                      <a:pt x="264164" y="435091"/>
                    </a:cubicBezTo>
                    <a:cubicBezTo>
                      <a:pt x="261547" y="437806"/>
                      <a:pt x="261547" y="442104"/>
                      <a:pt x="264164" y="444820"/>
                    </a:cubicBezTo>
                    <a:moveTo>
                      <a:pt x="231400" y="474722"/>
                    </a:moveTo>
                    <a:cubicBezTo>
                      <a:pt x="233889" y="477262"/>
                      <a:pt x="237965" y="477302"/>
                      <a:pt x="240505" y="474814"/>
                    </a:cubicBezTo>
                    <a:cubicBezTo>
                      <a:pt x="243043" y="472324"/>
                      <a:pt x="243084" y="468248"/>
                      <a:pt x="240595" y="465709"/>
                    </a:cubicBezTo>
                    <a:cubicBezTo>
                      <a:pt x="238107" y="463169"/>
                      <a:pt x="234029" y="463129"/>
                      <a:pt x="231491" y="465617"/>
                    </a:cubicBezTo>
                    <a:cubicBezTo>
                      <a:pt x="231460" y="465647"/>
                      <a:pt x="231430" y="465679"/>
                      <a:pt x="231400" y="465709"/>
                    </a:cubicBezTo>
                    <a:cubicBezTo>
                      <a:pt x="228910" y="468137"/>
                      <a:pt x="228860" y="472121"/>
                      <a:pt x="231288" y="474611"/>
                    </a:cubicBezTo>
                    <a:cubicBezTo>
                      <a:pt x="231325" y="474648"/>
                      <a:pt x="231362" y="474685"/>
                      <a:pt x="231400" y="474722"/>
                    </a:cubicBezTo>
                    <a:moveTo>
                      <a:pt x="198922" y="505197"/>
                    </a:moveTo>
                    <a:cubicBezTo>
                      <a:pt x="201025" y="507449"/>
                      <a:pt x="204556" y="507569"/>
                      <a:pt x="206808" y="505466"/>
                    </a:cubicBezTo>
                    <a:cubicBezTo>
                      <a:pt x="206901" y="505379"/>
                      <a:pt x="206991" y="505290"/>
                      <a:pt x="207077" y="505197"/>
                    </a:cubicBezTo>
                    <a:cubicBezTo>
                      <a:pt x="209369" y="503020"/>
                      <a:pt x="209462" y="499398"/>
                      <a:pt x="207284" y="497106"/>
                    </a:cubicBezTo>
                    <a:cubicBezTo>
                      <a:pt x="207217" y="497035"/>
                      <a:pt x="207148" y="496966"/>
                      <a:pt x="207077" y="496899"/>
                    </a:cubicBezTo>
                    <a:cubicBezTo>
                      <a:pt x="204803" y="494700"/>
                      <a:pt x="201195" y="494700"/>
                      <a:pt x="198922" y="496899"/>
                    </a:cubicBezTo>
                    <a:cubicBezTo>
                      <a:pt x="196629" y="499076"/>
                      <a:pt x="196536" y="502698"/>
                      <a:pt x="198714" y="504990"/>
                    </a:cubicBezTo>
                    <a:cubicBezTo>
                      <a:pt x="198781" y="505061"/>
                      <a:pt x="198850" y="505130"/>
                      <a:pt x="198922" y="505197"/>
                    </a:cubicBezTo>
                    <a:moveTo>
                      <a:pt x="166300" y="536244"/>
                    </a:moveTo>
                    <a:cubicBezTo>
                      <a:pt x="168411" y="538298"/>
                      <a:pt x="171773" y="538298"/>
                      <a:pt x="173883" y="536244"/>
                    </a:cubicBezTo>
                    <a:cubicBezTo>
                      <a:pt x="175919" y="534183"/>
                      <a:pt x="175919" y="530866"/>
                      <a:pt x="173883" y="528805"/>
                    </a:cubicBezTo>
                    <a:cubicBezTo>
                      <a:pt x="171773" y="526751"/>
                      <a:pt x="168411" y="526751"/>
                      <a:pt x="166300" y="528805"/>
                    </a:cubicBezTo>
                    <a:cubicBezTo>
                      <a:pt x="164265" y="530866"/>
                      <a:pt x="164265" y="534183"/>
                      <a:pt x="166300" y="536244"/>
                    </a:cubicBezTo>
                    <a:moveTo>
                      <a:pt x="133822" y="566719"/>
                    </a:moveTo>
                    <a:cubicBezTo>
                      <a:pt x="135680" y="568551"/>
                      <a:pt x="138668" y="568529"/>
                      <a:pt x="140500" y="566672"/>
                    </a:cubicBezTo>
                    <a:cubicBezTo>
                      <a:pt x="142330" y="564815"/>
                      <a:pt x="142308" y="561826"/>
                      <a:pt x="140453" y="559995"/>
                    </a:cubicBezTo>
                    <a:cubicBezTo>
                      <a:pt x="138614" y="558182"/>
                      <a:pt x="135661" y="558182"/>
                      <a:pt x="133822" y="559995"/>
                    </a:cubicBezTo>
                    <a:cubicBezTo>
                      <a:pt x="131965" y="561826"/>
                      <a:pt x="131944" y="564815"/>
                      <a:pt x="133775" y="566672"/>
                    </a:cubicBezTo>
                    <a:cubicBezTo>
                      <a:pt x="133791" y="566688"/>
                      <a:pt x="133807" y="566704"/>
                      <a:pt x="133822" y="566719"/>
                    </a:cubicBezTo>
                    <a:moveTo>
                      <a:pt x="101345" y="597194"/>
                    </a:moveTo>
                    <a:cubicBezTo>
                      <a:pt x="103014" y="598830"/>
                      <a:pt x="105684" y="598830"/>
                      <a:pt x="107354" y="597194"/>
                    </a:cubicBezTo>
                    <a:cubicBezTo>
                      <a:pt x="108917" y="595496"/>
                      <a:pt x="108917" y="592883"/>
                      <a:pt x="107354" y="591185"/>
                    </a:cubicBezTo>
                    <a:cubicBezTo>
                      <a:pt x="105684" y="589550"/>
                      <a:pt x="103013" y="589550"/>
                      <a:pt x="101345" y="591185"/>
                    </a:cubicBezTo>
                    <a:cubicBezTo>
                      <a:pt x="99725" y="592805"/>
                      <a:pt x="99725" y="595432"/>
                      <a:pt x="101345" y="597051"/>
                    </a:cubicBezTo>
                    <a:moveTo>
                      <a:pt x="68867" y="627526"/>
                    </a:moveTo>
                    <a:cubicBezTo>
                      <a:pt x="70237" y="628948"/>
                      <a:pt x="72502" y="628990"/>
                      <a:pt x="73924" y="627619"/>
                    </a:cubicBezTo>
                    <a:cubicBezTo>
                      <a:pt x="73956" y="627589"/>
                      <a:pt x="73987" y="627558"/>
                      <a:pt x="74017" y="627526"/>
                    </a:cubicBezTo>
                    <a:cubicBezTo>
                      <a:pt x="75417" y="626038"/>
                      <a:pt x="75417" y="623719"/>
                      <a:pt x="74017" y="622232"/>
                    </a:cubicBezTo>
                    <a:cubicBezTo>
                      <a:pt x="72647" y="620810"/>
                      <a:pt x="70382" y="620769"/>
                      <a:pt x="68960" y="622139"/>
                    </a:cubicBezTo>
                    <a:cubicBezTo>
                      <a:pt x="68928" y="622169"/>
                      <a:pt x="68897" y="622201"/>
                      <a:pt x="68867" y="622232"/>
                    </a:cubicBezTo>
                    <a:cubicBezTo>
                      <a:pt x="67444" y="623603"/>
                      <a:pt x="67403" y="625868"/>
                      <a:pt x="68774" y="627290"/>
                    </a:cubicBezTo>
                    <a:cubicBezTo>
                      <a:pt x="68804" y="627322"/>
                      <a:pt x="68835" y="627353"/>
                      <a:pt x="68867" y="627383"/>
                    </a:cubicBezTo>
                    <a:moveTo>
                      <a:pt x="36245" y="658001"/>
                    </a:moveTo>
                    <a:cubicBezTo>
                      <a:pt x="37473" y="659220"/>
                      <a:pt x="39453" y="659220"/>
                      <a:pt x="40681" y="658001"/>
                    </a:cubicBezTo>
                    <a:cubicBezTo>
                      <a:pt x="41865" y="656839"/>
                      <a:pt x="41885" y="654938"/>
                      <a:pt x="40724" y="653752"/>
                    </a:cubicBezTo>
                    <a:cubicBezTo>
                      <a:pt x="40709" y="653737"/>
                      <a:pt x="40695" y="653723"/>
                      <a:pt x="40681" y="653709"/>
                    </a:cubicBezTo>
                    <a:cubicBezTo>
                      <a:pt x="39562" y="652484"/>
                      <a:pt x="37660" y="652398"/>
                      <a:pt x="36436" y="653519"/>
                    </a:cubicBezTo>
                    <a:cubicBezTo>
                      <a:pt x="36370" y="653579"/>
                      <a:pt x="36306" y="653643"/>
                      <a:pt x="36245" y="653709"/>
                    </a:cubicBezTo>
                    <a:cubicBezTo>
                      <a:pt x="35026" y="654936"/>
                      <a:pt x="35026" y="656917"/>
                      <a:pt x="36245" y="658144"/>
                    </a:cubicBezTo>
                    <a:moveTo>
                      <a:pt x="348292" y="404616"/>
                    </a:moveTo>
                    <a:cubicBezTo>
                      <a:pt x="351497" y="407667"/>
                      <a:pt x="356533" y="407667"/>
                      <a:pt x="359738" y="404616"/>
                    </a:cubicBezTo>
                    <a:cubicBezTo>
                      <a:pt x="362848" y="401489"/>
                      <a:pt x="362848" y="396439"/>
                      <a:pt x="359738" y="393313"/>
                    </a:cubicBezTo>
                    <a:cubicBezTo>
                      <a:pt x="356611" y="390202"/>
                      <a:pt x="351561" y="390202"/>
                      <a:pt x="348435" y="393313"/>
                    </a:cubicBezTo>
                    <a:cubicBezTo>
                      <a:pt x="345307" y="396488"/>
                      <a:pt x="345307" y="401584"/>
                      <a:pt x="348435" y="404759"/>
                    </a:cubicBezTo>
                    <a:moveTo>
                      <a:pt x="315957" y="435234"/>
                    </a:moveTo>
                    <a:cubicBezTo>
                      <a:pt x="318880" y="438121"/>
                      <a:pt x="323591" y="438091"/>
                      <a:pt x="326478" y="435168"/>
                    </a:cubicBezTo>
                    <a:cubicBezTo>
                      <a:pt x="329366" y="432243"/>
                      <a:pt x="329336" y="427533"/>
                      <a:pt x="326413" y="424646"/>
                    </a:cubicBezTo>
                    <a:cubicBezTo>
                      <a:pt x="323514" y="421785"/>
                      <a:pt x="318854" y="421785"/>
                      <a:pt x="315957" y="424646"/>
                    </a:cubicBezTo>
                    <a:cubicBezTo>
                      <a:pt x="313034" y="427533"/>
                      <a:pt x="313004" y="432243"/>
                      <a:pt x="315891" y="435168"/>
                    </a:cubicBezTo>
                    <a:cubicBezTo>
                      <a:pt x="315912" y="435189"/>
                      <a:pt x="315934" y="435212"/>
                      <a:pt x="315957" y="435234"/>
                    </a:cubicBezTo>
                    <a:moveTo>
                      <a:pt x="283479" y="465709"/>
                    </a:moveTo>
                    <a:cubicBezTo>
                      <a:pt x="286373" y="468281"/>
                      <a:pt x="290804" y="468019"/>
                      <a:pt x="293377" y="465125"/>
                    </a:cubicBezTo>
                    <a:cubicBezTo>
                      <a:pt x="295634" y="462584"/>
                      <a:pt x="295743" y="458789"/>
                      <a:pt x="293637" y="456123"/>
                    </a:cubicBezTo>
                    <a:cubicBezTo>
                      <a:pt x="290873" y="453489"/>
                      <a:pt x="286528" y="453489"/>
                      <a:pt x="283765" y="456123"/>
                    </a:cubicBezTo>
                    <a:cubicBezTo>
                      <a:pt x="281039" y="458759"/>
                      <a:pt x="280966" y="463107"/>
                      <a:pt x="283603" y="465833"/>
                    </a:cubicBezTo>
                    <a:cubicBezTo>
                      <a:pt x="283656" y="465887"/>
                      <a:pt x="283711" y="465942"/>
                      <a:pt x="283765" y="465995"/>
                    </a:cubicBezTo>
                    <a:moveTo>
                      <a:pt x="251287" y="496470"/>
                    </a:moveTo>
                    <a:cubicBezTo>
                      <a:pt x="253776" y="499009"/>
                      <a:pt x="257853" y="499049"/>
                      <a:pt x="260392" y="496561"/>
                    </a:cubicBezTo>
                    <a:cubicBezTo>
                      <a:pt x="262930" y="494072"/>
                      <a:pt x="262972" y="489996"/>
                      <a:pt x="260482" y="487456"/>
                    </a:cubicBezTo>
                    <a:cubicBezTo>
                      <a:pt x="257994" y="484916"/>
                      <a:pt x="253917" y="484876"/>
                      <a:pt x="251378" y="487364"/>
                    </a:cubicBezTo>
                    <a:cubicBezTo>
                      <a:pt x="251347" y="487394"/>
                      <a:pt x="251317" y="487426"/>
                      <a:pt x="251287" y="487456"/>
                    </a:cubicBezTo>
                    <a:cubicBezTo>
                      <a:pt x="248797" y="489884"/>
                      <a:pt x="248747" y="493869"/>
                      <a:pt x="251175" y="496358"/>
                    </a:cubicBezTo>
                    <a:cubicBezTo>
                      <a:pt x="251213" y="496395"/>
                      <a:pt x="251250" y="496432"/>
                      <a:pt x="251287" y="496470"/>
                    </a:cubicBezTo>
                    <a:moveTo>
                      <a:pt x="218666" y="526945"/>
                    </a:moveTo>
                    <a:cubicBezTo>
                      <a:pt x="220988" y="529161"/>
                      <a:pt x="224642" y="529161"/>
                      <a:pt x="226964" y="526945"/>
                    </a:cubicBezTo>
                    <a:cubicBezTo>
                      <a:pt x="229335" y="524733"/>
                      <a:pt x="229462" y="521017"/>
                      <a:pt x="227250" y="518646"/>
                    </a:cubicBezTo>
                    <a:cubicBezTo>
                      <a:pt x="225038" y="516275"/>
                      <a:pt x="221323" y="516148"/>
                      <a:pt x="218952" y="518360"/>
                    </a:cubicBezTo>
                    <a:cubicBezTo>
                      <a:pt x="216736" y="520682"/>
                      <a:pt x="216736" y="524336"/>
                      <a:pt x="218952" y="526658"/>
                    </a:cubicBezTo>
                    <a:moveTo>
                      <a:pt x="186474" y="557133"/>
                    </a:moveTo>
                    <a:cubicBezTo>
                      <a:pt x="188536" y="559169"/>
                      <a:pt x="191852" y="559169"/>
                      <a:pt x="193914" y="557133"/>
                    </a:cubicBezTo>
                    <a:cubicBezTo>
                      <a:pt x="195967" y="555023"/>
                      <a:pt x="195967" y="551661"/>
                      <a:pt x="193914" y="549550"/>
                    </a:cubicBezTo>
                    <a:cubicBezTo>
                      <a:pt x="191852" y="547514"/>
                      <a:pt x="188536" y="547514"/>
                      <a:pt x="186474" y="549550"/>
                    </a:cubicBezTo>
                    <a:cubicBezTo>
                      <a:pt x="184421" y="551661"/>
                      <a:pt x="184421" y="555023"/>
                      <a:pt x="186474" y="557133"/>
                    </a:cubicBezTo>
                    <a:moveTo>
                      <a:pt x="153996" y="587608"/>
                    </a:moveTo>
                    <a:cubicBezTo>
                      <a:pt x="155853" y="589440"/>
                      <a:pt x="158842" y="589418"/>
                      <a:pt x="160673" y="587561"/>
                    </a:cubicBezTo>
                    <a:cubicBezTo>
                      <a:pt x="162503" y="585704"/>
                      <a:pt x="162482" y="582715"/>
                      <a:pt x="160626" y="580884"/>
                    </a:cubicBezTo>
                    <a:cubicBezTo>
                      <a:pt x="158788" y="579071"/>
                      <a:pt x="155835" y="579071"/>
                      <a:pt x="153996" y="580884"/>
                    </a:cubicBezTo>
                    <a:cubicBezTo>
                      <a:pt x="152139" y="582715"/>
                      <a:pt x="152117" y="585704"/>
                      <a:pt x="153949" y="587561"/>
                    </a:cubicBezTo>
                    <a:cubicBezTo>
                      <a:pt x="153965" y="587577"/>
                      <a:pt x="153980" y="587593"/>
                      <a:pt x="153996" y="587608"/>
                    </a:cubicBezTo>
                    <a:moveTo>
                      <a:pt x="121089" y="617797"/>
                    </a:moveTo>
                    <a:cubicBezTo>
                      <a:pt x="122670" y="619457"/>
                      <a:pt x="125295" y="619521"/>
                      <a:pt x="126955" y="617940"/>
                    </a:cubicBezTo>
                    <a:cubicBezTo>
                      <a:pt x="127004" y="617894"/>
                      <a:pt x="127051" y="617846"/>
                      <a:pt x="127098" y="617797"/>
                    </a:cubicBezTo>
                    <a:cubicBezTo>
                      <a:pt x="128718" y="616290"/>
                      <a:pt x="128809" y="613755"/>
                      <a:pt x="127303" y="612136"/>
                    </a:cubicBezTo>
                    <a:cubicBezTo>
                      <a:pt x="127237" y="612064"/>
                      <a:pt x="127168" y="611997"/>
                      <a:pt x="127098" y="611931"/>
                    </a:cubicBezTo>
                    <a:cubicBezTo>
                      <a:pt x="125478" y="610311"/>
                      <a:pt x="122852" y="610311"/>
                      <a:pt x="121232" y="611931"/>
                    </a:cubicBezTo>
                    <a:cubicBezTo>
                      <a:pt x="119647" y="613543"/>
                      <a:pt x="119584" y="616109"/>
                      <a:pt x="121089" y="617797"/>
                    </a:cubicBezTo>
                    <a:moveTo>
                      <a:pt x="88182" y="648415"/>
                    </a:moveTo>
                    <a:cubicBezTo>
                      <a:pt x="89737" y="649759"/>
                      <a:pt x="92086" y="649587"/>
                      <a:pt x="93428" y="648032"/>
                    </a:cubicBezTo>
                    <a:cubicBezTo>
                      <a:pt x="94560" y="646722"/>
                      <a:pt x="94639" y="644805"/>
                      <a:pt x="93619" y="643407"/>
                    </a:cubicBezTo>
                    <a:cubicBezTo>
                      <a:pt x="92132" y="642008"/>
                      <a:pt x="89813" y="642008"/>
                      <a:pt x="88325" y="643407"/>
                    </a:cubicBezTo>
                    <a:cubicBezTo>
                      <a:pt x="86903" y="644778"/>
                      <a:pt x="86861" y="647043"/>
                      <a:pt x="88232" y="648465"/>
                    </a:cubicBezTo>
                    <a:cubicBezTo>
                      <a:pt x="88262" y="648497"/>
                      <a:pt x="88293" y="648528"/>
                      <a:pt x="88325" y="648558"/>
                    </a:cubicBezTo>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808" name="Group 807">
              <a:extLst>
                <a:ext uri="{FF2B5EF4-FFF2-40B4-BE49-F238E27FC236}">
                  <a16:creationId xmlns:a16="http://schemas.microsoft.com/office/drawing/2014/main" id="{F967D3D0-5DE0-4300-A73C-E76D5A832A7C}"/>
                </a:ext>
              </a:extLst>
            </p:cNvPr>
            <p:cNvGrpSpPr/>
            <p:nvPr/>
          </p:nvGrpSpPr>
          <p:grpSpPr>
            <a:xfrm>
              <a:off x="4920252" y="4617286"/>
              <a:ext cx="2244758" cy="840924"/>
              <a:chOff x="4832317" y="4492648"/>
              <a:chExt cx="2424911" cy="908412"/>
            </a:xfrm>
          </p:grpSpPr>
          <p:grpSp>
            <p:nvGrpSpPr>
              <p:cNvPr id="809" name="Group 808">
                <a:extLst>
                  <a:ext uri="{FF2B5EF4-FFF2-40B4-BE49-F238E27FC236}">
                    <a16:creationId xmlns:a16="http://schemas.microsoft.com/office/drawing/2014/main" id="{DE7ECE63-B607-41D7-AD64-433DBCBD685A}"/>
                  </a:ext>
                </a:extLst>
              </p:cNvPr>
              <p:cNvGrpSpPr/>
              <p:nvPr/>
            </p:nvGrpSpPr>
            <p:grpSpPr>
              <a:xfrm flipH="1">
                <a:off x="4875721" y="4652916"/>
                <a:ext cx="1955997" cy="740542"/>
                <a:chOff x="3440113" y="5662613"/>
                <a:chExt cx="769938" cy="292100"/>
              </a:xfrm>
            </p:grpSpPr>
            <p:sp>
              <p:nvSpPr>
                <p:cNvPr id="814" name="Freeform 84">
                  <a:extLst>
                    <a:ext uri="{FF2B5EF4-FFF2-40B4-BE49-F238E27FC236}">
                      <a16:creationId xmlns:a16="http://schemas.microsoft.com/office/drawing/2014/main" id="{1407A9F4-0A23-442C-99B4-26408817A244}"/>
                    </a:ext>
                  </a:extLst>
                </p:cNvPr>
                <p:cNvSpPr>
                  <a:spLocks/>
                </p:cNvSpPr>
                <p:nvPr/>
              </p:nvSpPr>
              <p:spPr bwMode="auto">
                <a:xfrm>
                  <a:off x="3440113" y="566261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4 h 46"/>
                    <a:gd name="T46" fmla="*/ 355 w 358"/>
                    <a:gd name="T47" fmla="*/ 41 h 46"/>
                    <a:gd name="T48" fmla="*/ 342 w 358"/>
                    <a:gd name="T49" fmla="*/ 36 h 46"/>
                    <a:gd name="T50" fmla="*/ 327 w 358"/>
                    <a:gd name="T51" fmla="*/ 14 h 46"/>
                    <a:gd name="T52" fmla="*/ 305 w 358"/>
                    <a:gd name="T53" fmla="*/ 1 h 46"/>
                    <a:gd name="T54" fmla="*/ 288 w 358"/>
                    <a:gd name="T55" fmla="*/ 8 h 46"/>
                    <a:gd name="T56" fmla="*/ 273 w 358"/>
                    <a:gd name="T57" fmla="*/ 30 h 46"/>
                    <a:gd name="T58" fmla="*/ 254 w 358"/>
                    <a:gd name="T59" fmla="*/ 41 h 46"/>
                    <a:gd name="T60" fmla="*/ 241 w 358"/>
                    <a:gd name="T61" fmla="*/ 36 h 46"/>
                    <a:gd name="T62" fmla="*/ 226 w 358"/>
                    <a:gd name="T63" fmla="*/ 14 h 46"/>
                    <a:gd name="T64" fmla="*/ 204 w 358"/>
                    <a:gd name="T65" fmla="*/ 1 h 46"/>
                    <a:gd name="T66" fmla="*/ 187 w 358"/>
                    <a:gd name="T67" fmla="*/ 8 h 46"/>
                    <a:gd name="T68" fmla="*/ 172 w 358"/>
                    <a:gd name="T69" fmla="*/ 30 h 46"/>
                    <a:gd name="T70" fmla="*/ 154 w 358"/>
                    <a:gd name="T71" fmla="*/ 41 h 46"/>
                    <a:gd name="T72" fmla="*/ 140 w 358"/>
                    <a:gd name="T73" fmla="*/ 36 h 46"/>
                    <a:gd name="T74" fmla="*/ 126 w 358"/>
                    <a:gd name="T75" fmla="*/ 14 h 46"/>
                    <a:gd name="T76" fmla="*/ 103 w 358"/>
                    <a:gd name="T77" fmla="*/ 1 h 46"/>
                    <a:gd name="T78" fmla="*/ 87 w 358"/>
                    <a:gd name="T79" fmla="*/ 8 h 46"/>
                    <a:gd name="T80" fmla="*/ 72 w 358"/>
                    <a:gd name="T81" fmla="*/ 30 h 46"/>
                    <a:gd name="T82" fmla="*/ 53 w 358"/>
                    <a:gd name="T83" fmla="*/ 41 h 46"/>
                    <a:gd name="T84" fmla="*/ 40 w 358"/>
                    <a:gd name="T85" fmla="*/ 36 h 46"/>
                    <a:gd name="T86" fmla="*/ 25 w 358"/>
                    <a:gd name="T87" fmla="*/ 14 h 46"/>
                    <a:gd name="T88" fmla="*/ 3 w 358"/>
                    <a:gd name="T89" fmla="*/ 1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5"/>
                        <a:pt x="31" y="32"/>
                      </a:cubicBezTo>
                      <a:cubicBezTo>
                        <a:pt x="36" y="40"/>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5"/>
                        <a:pt x="131" y="32"/>
                      </a:cubicBezTo>
                      <a:cubicBezTo>
                        <a:pt x="137" y="40"/>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5"/>
                        <a:pt x="232" y="32"/>
                      </a:cubicBezTo>
                      <a:cubicBezTo>
                        <a:pt x="237" y="40"/>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5"/>
                        <a:pt x="333" y="32"/>
                      </a:cubicBezTo>
                      <a:cubicBezTo>
                        <a:pt x="338" y="40"/>
                        <a:pt x="345" y="46"/>
                        <a:pt x="355" y="46"/>
                      </a:cubicBezTo>
                      <a:cubicBezTo>
                        <a:pt x="356" y="46"/>
                        <a:pt x="358" y="45"/>
                        <a:pt x="358" y="44"/>
                      </a:cubicBezTo>
                      <a:cubicBezTo>
                        <a:pt x="358" y="43"/>
                        <a:pt x="356" y="41"/>
                        <a:pt x="355" y="41"/>
                      </a:cubicBezTo>
                      <a:cubicBezTo>
                        <a:pt x="350" y="41"/>
                        <a:pt x="346" y="39"/>
                        <a:pt x="342" y="36"/>
                      </a:cubicBezTo>
                      <a:cubicBezTo>
                        <a:pt x="336" y="30"/>
                        <a:pt x="332" y="22"/>
                        <a:pt x="327" y="14"/>
                      </a:cubicBezTo>
                      <a:cubicBezTo>
                        <a:pt x="322" y="7"/>
                        <a:pt x="315" y="0"/>
                        <a:pt x="305" y="1"/>
                      </a:cubicBezTo>
                      <a:cubicBezTo>
                        <a:pt x="298" y="0"/>
                        <a:pt x="292" y="3"/>
                        <a:pt x="288" y="8"/>
                      </a:cubicBezTo>
                      <a:cubicBezTo>
                        <a:pt x="282" y="14"/>
                        <a:pt x="278" y="23"/>
                        <a:pt x="273" y="30"/>
                      </a:cubicBezTo>
                      <a:cubicBezTo>
                        <a:pt x="268" y="37"/>
                        <a:pt x="263" y="41"/>
                        <a:pt x="254" y="41"/>
                      </a:cubicBezTo>
                      <a:cubicBezTo>
                        <a:pt x="249" y="41"/>
                        <a:pt x="245" y="39"/>
                        <a:pt x="241" y="36"/>
                      </a:cubicBezTo>
                      <a:cubicBezTo>
                        <a:pt x="236" y="30"/>
                        <a:pt x="232" y="22"/>
                        <a:pt x="226" y="14"/>
                      </a:cubicBezTo>
                      <a:cubicBezTo>
                        <a:pt x="221" y="7"/>
                        <a:pt x="215" y="0"/>
                        <a:pt x="204" y="1"/>
                      </a:cubicBezTo>
                      <a:cubicBezTo>
                        <a:pt x="197" y="0"/>
                        <a:pt x="192" y="3"/>
                        <a:pt x="187" y="8"/>
                      </a:cubicBezTo>
                      <a:cubicBezTo>
                        <a:pt x="181" y="14"/>
                        <a:pt x="177" y="23"/>
                        <a:pt x="172" y="30"/>
                      </a:cubicBezTo>
                      <a:cubicBezTo>
                        <a:pt x="167" y="37"/>
                        <a:pt x="162" y="41"/>
                        <a:pt x="154" y="41"/>
                      </a:cubicBezTo>
                      <a:cubicBezTo>
                        <a:pt x="148" y="41"/>
                        <a:pt x="144" y="39"/>
                        <a:pt x="140" y="36"/>
                      </a:cubicBezTo>
                      <a:cubicBezTo>
                        <a:pt x="135" y="30"/>
                        <a:pt x="131" y="22"/>
                        <a:pt x="126" y="14"/>
                      </a:cubicBezTo>
                      <a:cubicBezTo>
                        <a:pt x="121" y="7"/>
                        <a:pt x="114" y="0"/>
                        <a:pt x="103" y="1"/>
                      </a:cubicBezTo>
                      <a:cubicBezTo>
                        <a:pt x="96" y="0"/>
                        <a:pt x="91" y="3"/>
                        <a:pt x="87" y="8"/>
                      </a:cubicBezTo>
                      <a:cubicBezTo>
                        <a:pt x="81" y="14"/>
                        <a:pt x="76" y="23"/>
                        <a:pt x="72" y="30"/>
                      </a:cubicBezTo>
                      <a:cubicBezTo>
                        <a:pt x="67" y="37"/>
                        <a:pt x="61" y="41"/>
                        <a:pt x="53" y="41"/>
                      </a:cubicBezTo>
                      <a:cubicBezTo>
                        <a:pt x="48" y="41"/>
                        <a:pt x="44" y="39"/>
                        <a:pt x="40" y="36"/>
                      </a:cubicBezTo>
                      <a:cubicBezTo>
                        <a:pt x="34" y="30"/>
                        <a:pt x="30" y="22"/>
                        <a:pt x="25" y="14"/>
                      </a:cubicBezTo>
                      <a:cubicBezTo>
                        <a:pt x="20" y="7"/>
                        <a:pt x="13" y="0"/>
                        <a:pt x="3" y="1"/>
                      </a:cubicBezTo>
                      <a:cubicBezTo>
                        <a:pt x="2" y="1"/>
                        <a:pt x="0" y="2"/>
                        <a:pt x="0" y="3"/>
                      </a:cubicBezTo>
                      <a:cubicBezTo>
                        <a:pt x="0" y="4"/>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5" name="Freeform 85">
                  <a:extLst>
                    <a:ext uri="{FF2B5EF4-FFF2-40B4-BE49-F238E27FC236}">
                      <a16:creationId xmlns:a16="http://schemas.microsoft.com/office/drawing/2014/main" id="{4881C553-94A4-4EAF-94BD-FAF486E0938D}"/>
                    </a:ext>
                  </a:extLst>
                </p:cNvPr>
                <p:cNvSpPr>
                  <a:spLocks/>
                </p:cNvSpPr>
                <p:nvPr/>
              </p:nvSpPr>
              <p:spPr bwMode="auto">
                <a:xfrm>
                  <a:off x="3440113" y="575786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4"/>
                        <a:pt x="31" y="32"/>
                      </a:cubicBezTo>
                      <a:cubicBezTo>
                        <a:pt x="36" y="39"/>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4"/>
                        <a:pt x="131" y="32"/>
                      </a:cubicBezTo>
                      <a:cubicBezTo>
                        <a:pt x="137" y="39"/>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4"/>
                        <a:pt x="232" y="32"/>
                      </a:cubicBezTo>
                      <a:cubicBezTo>
                        <a:pt x="237" y="39"/>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4"/>
                        <a:pt x="333" y="32"/>
                      </a:cubicBezTo>
                      <a:cubicBezTo>
                        <a:pt x="338" y="39"/>
                        <a:pt x="345" y="46"/>
                        <a:pt x="355" y="46"/>
                      </a:cubicBezTo>
                      <a:cubicBezTo>
                        <a:pt x="356" y="46"/>
                        <a:pt x="358" y="45"/>
                        <a:pt x="358" y="43"/>
                      </a:cubicBezTo>
                      <a:cubicBezTo>
                        <a:pt x="358" y="42"/>
                        <a:pt x="356" y="41"/>
                        <a:pt x="355" y="41"/>
                      </a:cubicBezTo>
                      <a:cubicBezTo>
                        <a:pt x="350" y="41"/>
                        <a:pt x="346" y="39"/>
                        <a:pt x="342" y="35"/>
                      </a:cubicBezTo>
                      <a:cubicBezTo>
                        <a:pt x="336" y="30"/>
                        <a:pt x="332" y="22"/>
                        <a:pt x="327" y="14"/>
                      </a:cubicBezTo>
                      <a:cubicBezTo>
                        <a:pt x="322" y="7"/>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2"/>
                        <a:pt x="226" y="14"/>
                      </a:cubicBezTo>
                      <a:cubicBezTo>
                        <a:pt x="221" y="7"/>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2"/>
                        <a:pt x="126" y="14"/>
                      </a:cubicBezTo>
                      <a:cubicBezTo>
                        <a:pt x="121" y="7"/>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2"/>
                        <a:pt x="25" y="14"/>
                      </a:cubicBezTo>
                      <a:cubicBezTo>
                        <a:pt x="20" y="7"/>
                        <a:pt x="13" y="0"/>
                        <a:pt x="3" y="0"/>
                      </a:cubicBezTo>
                      <a:cubicBezTo>
                        <a:pt x="2" y="0"/>
                        <a:pt x="0" y="1"/>
                        <a:pt x="0" y="3"/>
                      </a:cubicBezTo>
                      <a:cubicBezTo>
                        <a:pt x="0" y="4"/>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6" name="Freeform 86">
                  <a:extLst>
                    <a:ext uri="{FF2B5EF4-FFF2-40B4-BE49-F238E27FC236}">
                      <a16:creationId xmlns:a16="http://schemas.microsoft.com/office/drawing/2014/main" id="{1437B47A-1D7C-4E58-B253-72E9CAA8BC4E}"/>
                    </a:ext>
                  </a:extLst>
                </p:cNvPr>
                <p:cNvSpPr>
                  <a:spLocks/>
                </p:cNvSpPr>
                <p:nvPr/>
              </p:nvSpPr>
              <p:spPr bwMode="auto">
                <a:xfrm>
                  <a:off x="3440113" y="5853113"/>
                  <a:ext cx="769938" cy="101600"/>
                </a:xfrm>
                <a:custGeom>
                  <a:avLst/>
                  <a:gdLst>
                    <a:gd name="T0" fmla="*/ 3 w 358"/>
                    <a:gd name="T1" fmla="*/ 5 h 46"/>
                    <a:gd name="T2" fmla="*/ 16 w 358"/>
                    <a:gd name="T3" fmla="*/ 10 h 46"/>
                    <a:gd name="T4" fmla="*/ 31 w 358"/>
                    <a:gd name="T5" fmla="*/ 32 h 46"/>
                    <a:gd name="T6" fmla="*/ 53 w 358"/>
                    <a:gd name="T7" fmla="*/ 45 h 46"/>
                    <a:gd name="T8" fmla="*/ 70 w 358"/>
                    <a:gd name="T9" fmla="*/ 38 h 46"/>
                    <a:gd name="T10" fmla="*/ 85 w 358"/>
                    <a:gd name="T11" fmla="*/ 16 h 46"/>
                    <a:gd name="T12" fmla="*/ 103 w 358"/>
                    <a:gd name="T13" fmla="*/ 5 h 46"/>
                    <a:gd name="T14" fmla="*/ 117 w 358"/>
                    <a:gd name="T15" fmla="*/ 10 h 46"/>
                    <a:gd name="T16" fmla="*/ 131 w 358"/>
                    <a:gd name="T17" fmla="*/ 32 h 46"/>
                    <a:gd name="T18" fmla="*/ 154 w 358"/>
                    <a:gd name="T19" fmla="*/ 45 h 46"/>
                    <a:gd name="T20" fmla="*/ 170 w 358"/>
                    <a:gd name="T21" fmla="*/ 38 h 46"/>
                    <a:gd name="T22" fmla="*/ 186 w 358"/>
                    <a:gd name="T23" fmla="*/ 16 h 46"/>
                    <a:gd name="T24" fmla="*/ 204 w 358"/>
                    <a:gd name="T25" fmla="*/ 5 h 46"/>
                    <a:gd name="T26" fmla="*/ 217 w 358"/>
                    <a:gd name="T27" fmla="*/ 10 h 46"/>
                    <a:gd name="T28" fmla="*/ 232 w 358"/>
                    <a:gd name="T29" fmla="*/ 32 h 46"/>
                    <a:gd name="T30" fmla="*/ 254 w 358"/>
                    <a:gd name="T31" fmla="*/ 45 h 46"/>
                    <a:gd name="T32" fmla="*/ 271 w 358"/>
                    <a:gd name="T33" fmla="*/ 38 h 46"/>
                    <a:gd name="T34" fmla="*/ 286 w 358"/>
                    <a:gd name="T35" fmla="*/ 16 h 46"/>
                    <a:gd name="T36" fmla="*/ 305 w 358"/>
                    <a:gd name="T37" fmla="*/ 5 h 46"/>
                    <a:gd name="T38" fmla="*/ 318 w 358"/>
                    <a:gd name="T39" fmla="*/ 10 h 46"/>
                    <a:gd name="T40" fmla="*/ 333 w 358"/>
                    <a:gd name="T41" fmla="*/ 32 h 46"/>
                    <a:gd name="T42" fmla="*/ 355 w 358"/>
                    <a:gd name="T43" fmla="*/ 45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2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0"/>
                      </a:cubicBezTo>
                      <a:cubicBezTo>
                        <a:pt x="22" y="16"/>
                        <a:pt x="26" y="24"/>
                        <a:pt x="31" y="32"/>
                      </a:cubicBezTo>
                      <a:cubicBezTo>
                        <a:pt x="36" y="39"/>
                        <a:pt x="43" y="46"/>
                        <a:pt x="53" y="45"/>
                      </a:cubicBezTo>
                      <a:cubicBezTo>
                        <a:pt x="60" y="46"/>
                        <a:pt x="66" y="43"/>
                        <a:pt x="70" y="38"/>
                      </a:cubicBezTo>
                      <a:cubicBezTo>
                        <a:pt x="76" y="32"/>
                        <a:pt x="80" y="23"/>
                        <a:pt x="85" y="16"/>
                      </a:cubicBezTo>
                      <a:cubicBezTo>
                        <a:pt x="90" y="9"/>
                        <a:pt x="95" y="5"/>
                        <a:pt x="103" y="5"/>
                      </a:cubicBezTo>
                      <a:cubicBezTo>
                        <a:pt x="109" y="5"/>
                        <a:pt x="113" y="7"/>
                        <a:pt x="117" y="10"/>
                      </a:cubicBezTo>
                      <a:cubicBezTo>
                        <a:pt x="122" y="16"/>
                        <a:pt x="126" y="24"/>
                        <a:pt x="131" y="32"/>
                      </a:cubicBezTo>
                      <a:cubicBezTo>
                        <a:pt x="137" y="39"/>
                        <a:pt x="143" y="46"/>
                        <a:pt x="154" y="45"/>
                      </a:cubicBezTo>
                      <a:cubicBezTo>
                        <a:pt x="161" y="46"/>
                        <a:pt x="166" y="43"/>
                        <a:pt x="170" y="38"/>
                      </a:cubicBezTo>
                      <a:cubicBezTo>
                        <a:pt x="177" y="32"/>
                        <a:pt x="181" y="23"/>
                        <a:pt x="186" y="16"/>
                      </a:cubicBezTo>
                      <a:cubicBezTo>
                        <a:pt x="191" y="9"/>
                        <a:pt x="196" y="5"/>
                        <a:pt x="204" y="5"/>
                      </a:cubicBezTo>
                      <a:cubicBezTo>
                        <a:pt x="210" y="5"/>
                        <a:pt x="214" y="7"/>
                        <a:pt x="217" y="10"/>
                      </a:cubicBezTo>
                      <a:cubicBezTo>
                        <a:pt x="223" y="16"/>
                        <a:pt x="227" y="24"/>
                        <a:pt x="232" y="32"/>
                      </a:cubicBezTo>
                      <a:cubicBezTo>
                        <a:pt x="237" y="39"/>
                        <a:pt x="244" y="46"/>
                        <a:pt x="254" y="45"/>
                      </a:cubicBezTo>
                      <a:cubicBezTo>
                        <a:pt x="261" y="46"/>
                        <a:pt x="267" y="43"/>
                        <a:pt x="271" y="38"/>
                      </a:cubicBezTo>
                      <a:cubicBezTo>
                        <a:pt x="277" y="32"/>
                        <a:pt x="281" y="23"/>
                        <a:pt x="286" y="16"/>
                      </a:cubicBezTo>
                      <a:cubicBezTo>
                        <a:pt x="291" y="9"/>
                        <a:pt x="296" y="5"/>
                        <a:pt x="305" y="5"/>
                      </a:cubicBezTo>
                      <a:cubicBezTo>
                        <a:pt x="310" y="5"/>
                        <a:pt x="314" y="7"/>
                        <a:pt x="318" y="10"/>
                      </a:cubicBezTo>
                      <a:cubicBezTo>
                        <a:pt x="324" y="16"/>
                        <a:pt x="328" y="24"/>
                        <a:pt x="333" y="32"/>
                      </a:cubicBezTo>
                      <a:cubicBezTo>
                        <a:pt x="338" y="39"/>
                        <a:pt x="345" y="46"/>
                        <a:pt x="355" y="45"/>
                      </a:cubicBezTo>
                      <a:cubicBezTo>
                        <a:pt x="356" y="45"/>
                        <a:pt x="358" y="44"/>
                        <a:pt x="358" y="43"/>
                      </a:cubicBezTo>
                      <a:cubicBezTo>
                        <a:pt x="358" y="42"/>
                        <a:pt x="356" y="41"/>
                        <a:pt x="355" y="41"/>
                      </a:cubicBezTo>
                      <a:cubicBezTo>
                        <a:pt x="350" y="41"/>
                        <a:pt x="346" y="39"/>
                        <a:pt x="342" y="35"/>
                      </a:cubicBezTo>
                      <a:cubicBezTo>
                        <a:pt x="336" y="30"/>
                        <a:pt x="332" y="21"/>
                        <a:pt x="327" y="14"/>
                      </a:cubicBezTo>
                      <a:cubicBezTo>
                        <a:pt x="322" y="6"/>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1"/>
                        <a:pt x="226" y="14"/>
                      </a:cubicBezTo>
                      <a:cubicBezTo>
                        <a:pt x="221" y="6"/>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1"/>
                        <a:pt x="126" y="14"/>
                      </a:cubicBezTo>
                      <a:cubicBezTo>
                        <a:pt x="121" y="6"/>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1"/>
                        <a:pt x="25" y="14"/>
                      </a:cubicBezTo>
                      <a:cubicBezTo>
                        <a:pt x="20" y="6"/>
                        <a:pt x="13" y="0"/>
                        <a:pt x="3" y="0"/>
                      </a:cubicBezTo>
                      <a:cubicBezTo>
                        <a:pt x="2" y="0"/>
                        <a:pt x="0" y="1"/>
                        <a:pt x="0" y="2"/>
                      </a:cubicBezTo>
                      <a:cubicBezTo>
                        <a:pt x="0" y="3"/>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10" name="Freeform: Shape 809">
                <a:extLst>
                  <a:ext uri="{FF2B5EF4-FFF2-40B4-BE49-F238E27FC236}">
                    <a16:creationId xmlns:a16="http://schemas.microsoft.com/office/drawing/2014/main" id="{91F76E92-501F-4AEB-900F-0FA2F1FC31A2}"/>
                  </a:ext>
                </a:extLst>
              </p:cNvPr>
              <p:cNvSpPr/>
              <p:nvPr/>
            </p:nvSpPr>
            <p:spPr>
              <a:xfrm flipH="1">
                <a:off x="4832317" y="4517997"/>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chemeClr val="accent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11" name="Freeform: Shape 810">
                <a:extLst>
                  <a:ext uri="{FF2B5EF4-FFF2-40B4-BE49-F238E27FC236}">
                    <a16:creationId xmlns:a16="http://schemas.microsoft.com/office/drawing/2014/main" id="{87805A34-BAA6-43B1-8C59-F1765EB0DAE5}"/>
                  </a:ext>
                </a:extLst>
              </p:cNvPr>
              <p:cNvSpPr/>
              <p:nvPr/>
            </p:nvSpPr>
            <p:spPr>
              <a:xfrm flipH="1">
                <a:off x="4886241" y="4492648"/>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12" name="Freeform: Shape 811">
                <a:extLst>
                  <a:ext uri="{FF2B5EF4-FFF2-40B4-BE49-F238E27FC236}">
                    <a16:creationId xmlns:a16="http://schemas.microsoft.com/office/drawing/2014/main" id="{719FB995-AB4E-4110-94E7-433261BAFDB2}"/>
                  </a:ext>
                </a:extLst>
              </p:cNvPr>
              <p:cNvSpPr/>
              <p:nvPr/>
            </p:nvSpPr>
            <p:spPr>
              <a:xfrm flipH="1">
                <a:off x="6680167" y="4877923"/>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13" name="Freeform: Shape 812">
                <a:extLst>
                  <a:ext uri="{FF2B5EF4-FFF2-40B4-BE49-F238E27FC236}">
                    <a16:creationId xmlns:a16="http://schemas.microsoft.com/office/drawing/2014/main" id="{ACAE0AC1-E441-4288-9C7C-08BBE40E09D4}"/>
                  </a:ext>
                </a:extLst>
              </p:cNvPr>
              <p:cNvSpPr/>
              <p:nvPr/>
            </p:nvSpPr>
            <p:spPr>
              <a:xfrm flipH="1">
                <a:off x="6734091" y="4852574"/>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chemeClr val="accent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sp>
        <p:nvSpPr>
          <p:cNvPr id="819" name="Rectangle 818">
            <a:extLst>
              <a:ext uri="{FF2B5EF4-FFF2-40B4-BE49-F238E27FC236}">
                <a16:creationId xmlns:a16="http://schemas.microsoft.com/office/drawing/2014/main" id="{1F817917-54BC-4DCF-B87D-165B73C56F50}"/>
              </a:ext>
            </a:extLst>
          </p:cNvPr>
          <p:cNvSpPr/>
          <p:nvPr/>
        </p:nvSpPr>
        <p:spPr>
          <a:xfrm>
            <a:off x="6780155" y="4524770"/>
            <a:ext cx="3100593" cy="18466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dirty="0">
                <a:solidFill>
                  <a:schemeClr val="accent1"/>
                </a:solidFill>
              </a:rPr>
              <a:t>001101 001101 10010101010100 1001</a:t>
            </a:r>
          </a:p>
        </p:txBody>
      </p:sp>
      <p:sp>
        <p:nvSpPr>
          <p:cNvPr id="821" name="Google Shape;2115;p430">
            <a:extLst>
              <a:ext uri="{FF2B5EF4-FFF2-40B4-BE49-F238E27FC236}">
                <a16:creationId xmlns:a16="http://schemas.microsoft.com/office/drawing/2014/main" id="{E83A1E6E-1900-4B5A-810C-ED7D2A49BE55}"/>
              </a:ext>
            </a:extLst>
          </p:cNvPr>
          <p:cNvSpPr txBox="1"/>
          <p:nvPr/>
        </p:nvSpPr>
        <p:spPr>
          <a:xfrm>
            <a:off x="4687997" y="5818583"/>
            <a:ext cx="2450246" cy="246221"/>
          </a:xfrm>
          <a:prstGeom prst="rect">
            <a:avLst/>
          </a:prstGeom>
          <a:noFill/>
          <a:ln>
            <a:noFill/>
          </a:ln>
        </p:spPr>
        <p:txBody>
          <a:bodyPr spcFirstLastPara="1" wrap="square" lIns="0" tIns="0" rIns="0" bIns="0" anchor="t" anchorCtr="0">
            <a:spAutoFit/>
          </a:bodyPr>
          <a:lstStyle/>
          <a:p>
            <a:pPr marR="0" indent="0" algn="ctr">
              <a:lnSpc>
                <a:spcPct val="100000"/>
              </a:lnSpc>
              <a:spcBef>
                <a:spcPts val="0"/>
              </a:spcBef>
              <a:spcAft>
                <a:spcPts val="0"/>
              </a:spcAft>
              <a:buClr>
                <a:srgbClr val="000000"/>
              </a:buClr>
              <a:buSzPts val="1400"/>
              <a:buFont typeface="Arial"/>
              <a:buNone/>
            </a:pPr>
            <a:r>
              <a:rPr lang="en" sz="1600" dirty="0">
                <a:solidFill>
                  <a:schemeClr val="tx2"/>
                </a:solidFill>
                <a:sym typeface="Helvetica Neue"/>
              </a:rPr>
              <a:t>Remote </a:t>
            </a:r>
            <a:r>
              <a:rPr lang="en-US" sz="1600" dirty="0">
                <a:solidFill>
                  <a:schemeClr val="tx2"/>
                </a:solidFill>
                <a:sym typeface="Helvetica Neue"/>
              </a:rPr>
              <a:t>workers</a:t>
            </a:r>
            <a:endParaRPr sz="1600" dirty="0">
              <a:solidFill>
                <a:schemeClr val="tx2"/>
              </a:solidFill>
              <a:sym typeface="Helvetica Neue"/>
            </a:endParaRPr>
          </a:p>
        </p:txBody>
      </p:sp>
      <p:grpSp>
        <p:nvGrpSpPr>
          <p:cNvPr id="822" name="Group 821">
            <a:extLst>
              <a:ext uri="{FF2B5EF4-FFF2-40B4-BE49-F238E27FC236}">
                <a16:creationId xmlns:a16="http://schemas.microsoft.com/office/drawing/2014/main" id="{51433C0A-9AB1-4DF1-80AB-D7C38D19BE69}"/>
              </a:ext>
            </a:extLst>
          </p:cNvPr>
          <p:cNvGrpSpPr/>
          <p:nvPr/>
        </p:nvGrpSpPr>
        <p:grpSpPr>
          <a:xfrm>
            <a:off x="5244929" y="1180151"/>
            <a:ext cx="1336383" cy="1086594"/>
            <a:chOff x="5427809" y="1327217"/>
            <a:chExt cx="1336383" cy="1086594"/>
          </a:xfrm>
        </p:grpSpPr>
        <p:grpSp>
          <p:nvGrpSpPr>
            <p:cNvPr id="823" name="Group 822">
              <a:extLst>
                <a:ext uri="{FF2B5EF4-FFF2-40B4-BE49-F238E27FC236}">
                  <a16:creationId xmlns:a16="http://schemas.microsoft.com/office/drawing/2014/main" id="{F14E3DB4-888F-4FCF-BCA7-7FE14F328972}"/>
                </a:ext>
              </a:extLst>
            </p:cNvPr>
            <p:cNvGrpSpPr/>
            <p:nvPr/>
          </p:nvGrpSpPr>
          <p:grpSpPr>
            <a:xfrm>
              <a:off x="5427809" y="1327217"/>
              <a:ext cx="1336383" cy="1086594"/>
              <a:chOff x="3759440" y="1151356"/>
              <a:chExt cx="1568209" cy="1275088"/>
            </a:xfrm>
          </p:grpSpPr>
          <p:grpSp>
            <p:nvGrpSpPr>
              <p:cNvPr id="825" name="Group 824">
                <a:extLst>
                  <a:ext uri="{FF2B5EF4-FFF2-40B4-BE49-F238E27FC236}">
                    <a16:creationId xmlns:a16="http://schemas.microsoft.com/office/drawing/2014/main" id="{E055B5BC-313A-482A-BC18-C8674FF2E52B}"/>
                  </a:ext>
                </a:extLst>
              </p:cNvPr>
              <p:cNvGrpSpPr/>
              <p:nvPr/>
            </p:nvGrpSpPr>
            <p:grpSpPr>
              <a:xfrm>
                <a:off x="3759440" y="1276552"/>
                <a:ext cx="1517617" cy="1065498"/>
                <a:chOff x="4152412" y="1648888"/>
                <a:chExt cx="1015503" cy="712971"/>
              </a:xfrm>
            </p:grpSpPr>
            <p:sp>
              <p:nvSpPr>
                <p:cNvPr id="829" name="Freeform: Shape 828">
                  <a:extLst>
                    <a:ext uri="{FF2B5EF4-FFF2-40B4-BE49-F238E27FC236}">
                      <a16:creationId xmlns:a16="http://schemas.microsoft.com/office/drawing/2014/main" id="{CEE799CB-0EB2-4751-B04D-30CEECA3C6DB}"/>
                    </a:ext>
                  </a:extLst>
                </p:cNvPr>
                <p:cNvSpPr/>
                <p:nvPr/>
              </p:nvSpPr>
              <p:spPr>
                <a:xfrm>
                  <a:off x="4215997" y="1684114"/>
                  <a:ext cx="951918" cy="677745"/>
                </a:xfrm>
                <a:custGeom>
                  <a:avLst/>
                  <a:gdLst>
                    <a:gd name="connsiteX0" fmla="*/ 520466 w 951918"/>
                    <a:gd name="connsiteY0" fmla="*/ 0 h 677745"/>
                    <a:gd name="connsiteX1" fmla="*/ 761261 w 951918"/>
                    <a:gd name="connsiteY1" fmla="*/ 160530 h 677745"/>
                    <a:gd name="connsiteX2" fmla="*/ 761261 w 951918"/>
                    <a:gd name="connsiteY2" fmla="*/ 162676 h 677745"/>
                    <a:gd name="connsiteX3" fmla="*/ 791020 w 951918"/>
                    <a:gd name="connsiteY3" fmla="*/ 171976 h 677745"/>
                    <a:gd name="connsiteX4" fmla="*/ 931106 w 951918"/>
                    <a:gd name="connsiteY4" fmla="*/ 516918 h 677745"/>
                    <a:gd name="connsiteX5" fmla="*/ 689723 w 951918"/>
                    <a:gd name="connsiteY5" fmla="*/ 677745 h 677745"/>
                    <a:gd name="connsiteX6" fmla="*/ 489419 w 951918"/>
                    <a:gd name="connsiteY6" fmla="*/ 582171 h 677745"/>
                    <a:gd name="connsiteX7" fmla="*/ 476828 w 951918"/>
                    <a:gd name="connsiteY7" fmla="*/ 561426 h 677745"/>
                    <a:gd name="connsiteX8" fmla="*/ 476828 w 951918"/>
                    <a:gd name="connsiteY8" fmla="*/ 561426 h 677745"/>
                    <a:gd name="connsiteX9" fmla="*/ 113338 w 951918"/>
                    <a:gd name="connsiteY9" fmla="*/ 628748 h 677745"/>
                    <a:gd name="connsiteX10" fmla="*/ 46016 w 951918"/>
                    <a:gd name="connsiteY10" fmla="*/ 265258 h 677745"/>
                    <a:gd name="connsiteX11" fmla="*/ 260499 w 951918"/>
                    <a:gd name="connsiteY11" fmla="*/ 151946 h 677745"/>
                    <a:gd name="connsiteX12" fmla="*/ 284249 w 951918"/>
                    <a:gd name="connsiteY12" fmla="*/ 154378 h 677745"/>
                    <a:gd name="connsiteX13" fmla="*/ 304995 w 951918"/>
                    <a:gd name="connsiteY13" fmla="*/ 115891 h 677745"/>
                    <a:gd name="connsiteX14" fmla="*/ 520466 w 951918"/>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918" h="677745">
                      <a:moveTo>
                        <a:pt x="520466" y="0"/>
                      </a:moveTo>
                      <a:cubicBezTo>
                        <a:pt x="625802" y="-87"/>
                        <a:pt x="720826" y="63263"/>
                        <a:pt x="761261" y="160530"/>
                      </a:cubicBezTo>
                      <a:lnTo>
                        <a:pt x="761261" y="162676"/>
                      </a:lnTo>
                      <a:lnTo>
                        <a:pt x="791020" y="171976"/>
                      </a:lnTo>
                      <a:cubicBezTo>
                        <a:pt x="924957" y="228545"/>
                        <a:pt x="987677" y="382981"/>
                        <a:pt x="931106" y="516918"/>
                      </a:cubicBezTo>
                      <a:cubicBezTo>
                        <a:pt x="890097" y="614016"/>
                        <a:pt x="795125" y="677293"/>
                        <a:pt x="689723" y="677745"/>
                      </a:cubicBezTo>
                      <a:cubicBezTo>
                        <a:pt x="612000" y="677542"/>
                        <a:pt x="538473" y="642459"/>
                        <a:pt x="489419" y="582171"/>
                      </a:cubicBezTo>
                      <a:lnTo>
                        <a:pt x="476828" y="561426"/>
                      </a:lnTo>
                      <a:lnTo>
                        <a:pt x="476828" y="561426"/>
                      </a:lnTo>
                      <a:cubicBezTo>
                        <a:pt x="395044" y="680391"/>
                        <a:pt x="232303" y="710532"/>
                        <a:pt x="113338" y="628748"/>
                      </a:cubicBezTo>
                      <a:cubicBezTo>
                        <a:pt x="-5627" y="546964"/>
                        <a:pt x="-35769" y="384223"/>
                        <a:pt x="46016" y="265258"/>
                      </a:cubicBezTo>
                      <a:cubicBezTo>
                        <a:pt x="94595" y="194592"/>
                        <a:pt x="174746" y="152249"/>
                        <a:pt x="260499" y="151946"/>
                      </a:cubicBezTo>
                      <a:lnTo>
                        <a:pt x="284249" y="154378"/>
                      </a:lnTo>
                      <a:lnTo>
                        <a:pt x="304995" y="115891"/>
                      </a:lnTo>
                      <a:cubicBezTo>
                        <a:pt x="353000" y="43745"/>
                        <a:pt x="433810" y="282"/>
                        <a:pt x="520466" y="0"/>
                      </a:cubicBezTo>
                      <a:close/>
                    </a:path>
                  </a:pathLst>
                </a:custGeom>
                <a:solidFill>
                  <a:srgbClr val="B8B8BB"/>
                </a:solidFill>
                <a:ln w="14288" cap="flat">
                  <a:noFill/>
                  <a:prstDash val="solid"/>
                  <a:miter/>
                </a:ln>
              </p:spPr>
              <p:txBody>
                <a:bodyPr rtlCol="0" anchor="ctr"/>
                <a:lstStyle/>
                <a:p>
                  <a:endParaRPr lang="en-IN" dirty="0"/>
                </a:p>
              </p:txBody>
            </p:sp>
            <p:sp>
              <p:nvSpPr>
                <p:cNvPr id="830" name="Freeform: Shape 829">
                  <a:extLst>
                    <a:ext uri="{FF2B5EF4-FFF2-40B4-BE49-F238E27FC236}">
                      <a16:creationId xmlns:a16="http://schemas.microsoft.com/office/drawing/2014/main" id="{346965A9-FDA2-4CC6-972F-AEB1FFEF810B}"/>
                    </a:ext>
                  </a:extLst>
                </p:cNvPr>
                <p:cNvSpPr/>
                <p:nvPr/>
              </p:nvSpPr>
              <p:spPr>
                <a:xfrm>
                  <a:off x="4152412" y="1648888"/>
                  <a:ext cx="951307" cy="677745"/>
                </a:xfrm>
                <a:custGeom>
                  <a:avLst/>
                  <a:gdLst>
                    <a:gd name="connsiteX0" fmla="*/ 520664 w 951307"/>
                    <a:gd name="connsiteY0" fmla="*/ 0 h 677745"/>
                    <a:gd name="connsiteX1" fmla="*/ 761459 w 951307"/>
                    <a:gd name="connsiteY1" fmla="*/ 160530 h 677745"/>
                    <a:gd name="connsiteX2" fmla="*/ 762317 w 951307"/>
                    <a:gd name="connsiteY2" fmla="*/ 163391 h 677745"/>
                    <a:gd name="connsiteX3" fmla="*/ 792077 w 951307"/>
                    <a:gd name="connsiteY3" fmla="*/ 172691 h 677745"/>
                    <a:gd name="connsiteX4" fmla="*/ 929786 w 951307"/>
                    <a:gd name="connsiteY4" fmla="*/ 518589 h 677745"/>
                    <a:gd name="connsiteX5" fmla="*/ 689921 w 951307"/>
                    <a:gd name="connsiteY5" fmla="*/ 677745 h 677745"/>
                    <a:gd name="connsiteX6" fmla="*/ 489616 w 951307"/>
                    <a:gd name="connsiteY6" fmla="*/ 582028 h 677745"/>
                    <a:gd name="connsiteX7" fmla="*/ 477026 w 951307"/>
                    <a:gd name="connsiteY7" fmla="*/ 561282 h 677745"/>
                    <a:gd name="connsiteX8" fmla="*/ 477026 w 951307"/>
                    <a:gd name="connsiteY8" fmla="*/ 561282 h 677745"/>
                    <a:gd name="connsiteX9" fmla="*/ 113626 w 951307"/>
                    <a:gd name="connsiteY9" fmla="*/ 629089 h 677745"/>
                    <a:gd name="connsiteX10" fmla="*/ 45820 w 951307"/>
                    <a:gd name="connsiteY10" fmla="*/ 265688 h 677745"/>
                    <a:gd name="connsiteX11" fmla="*/ 260697 w 951307"/>
                    <a:gd name="connsiteY11" fmla="*/ 152089 h 677745"/>
                    <a:gd name="connsiteX12" fmla="*/ 284447 w 951307"/>
                    <a:gd name="connsiteY12" fmla="*/ 154521 h 677745"/>
                    <a:gd name="connsiteX13" fmla="*/ 305193 w 951307"/>
                    <a:gd name="connsiteY13" fmla="*/ 115891 h 677745"/>
                    <a:gd name="connsiteX14" fmla="*/ 520664 w 951307"/>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307" h="677745">
                      <a:moveTo>
                        <a:pt x="520664" y="0"/>
                      </a:moveTo>
                      <a:cubicBezTo>
                        <a:pt x="625977" y="-10"/>
                        <a:pt x="720963" y="63314"/>
                        <a:pt x="761459" y="160530"/>
                      </a:cubicBezTo>
                      <a:lnTo>
                        <a:pt x="762317" y="163391"/>
                      </a:lnTo>
                      <a:lnTo>
                        <a:pt x="792077" y="172691"/>
                      </a:lnTo>
                      <a:cubicBezTo>
                        <a:pt x="925621" y="230182"/>
                        <a:pt x="987275" y="385044"/>
                        <a:pt x="929786" y="518589"/>
                      </a:cubicBezTo>
                      <a:cubicBezTo>
                        <a:pt x="888485" y="614528"/>
                        <a:pt x="794370" y="676976"/>
                        <a:pt x="689921" y="677745"/>
                      </a:cubicBezTo>
                      <a:cubicBezTo>
                        <a:pt x="612179" y="677486"/>
                        <a:pt x="538655" y="642353"/>
                        <a:pt x="489616" y="582028"/>
                      </a:cubicBezTo>
                      <a:lnTo>
                        <a:pt x="477026" y="561282"/>
                      </a:lnTo>
                      <a:lnTo>
                        <a:pt x="477026" y="561282"/>
                      </a:lnTo>
                      <a:cubicBezTo>
                        <a:pt x="395400" y="680356"/>
                        <a:pt x="232700" y="710714"/>
                        <a:pt x="113626" y="629089"/>
                      </a:cubicBezTo>
                      <a:cubicBezTo>
                        <a:pt x="-5450" y="547463"/>
                        <a:pt x="-35807" y="384762"/>
                        <a:pt x="45820" y="265688"/>
                      </a:cubicBezTo>
                      <a:cubicBezTo>
                        <a:pt x="94414" y="194799"/>
                        <a:pt x="174752" y="152327"/>
                        <a:pt x="260697" y="152089"/>
                      </a:cubicBezTo>
                      <a:lnTo>
                        <a:pt x="284447" y="154521"/>
                      </a:lnTo>
                      <a:lnTo>
                        <a:pt x="305193" y="115891"/>
                      </a:lnTo>
                      <a:cubicBezTo>
                        <a:pt x="353250" y="43804"/>
                        <a:pt x="434028" y="358"/>
                        <a:pt x="520664" y="0"/>
                      </a:cubicBezTo>
                      <a:close/>
                    </a:path>
                  </a:pathLst>
                </a:custGeom>
                <a:solidFill>
                  <a:srgbClr val="0D274D"/>
                </a:solidFill>
                <a:ln w="14288" cap="flat">
                  <a:noFill/>
                  <a:prstDash val="solid"/>
                  <a:miter/>
                </a:ln>
              </p:spPr>
              <p:txBody>
                <a:bodyPr rtlCol="0" anchor="ctr"/>
                <a:lstStyle/>
                <a:p>
                  <a:endParaRPr lang="en-IN" dirty="0"/>
                </a:p>
              </p:txBody>
            </p:sp>
          </p:grpSp>
          <p:sp>
            <p:nvSpPr>
              <p:cNvPr id="826" name="Freeform: Shape 825">
                <a:extLst>
                  <a:ext uri="{FF2B5EF4-FFF2-40B4-BE49-F238E27FC236}">
                    <a16:creationId xmlns:a16="http://schemas.microsoft.com/office/drawing/2014/main" id="{5006178D-8B90-41B2-9457-3FA2720EE39A}"/>
                  </a:ext>
                </a:extLst>
              </p:cNvPr>
              <p:cNvSpPr/>
              <p:nvPr/>
            </p:nvSpPr>
            <p:spPr>
              <a:xfrm>
                <a:off x="4351709" y="1151356"/>
                <a:ext cx="245802" cy="245802"/>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827" name="Freeform: Shape 826">
                <a:extLst>
                  <a:ext uri="{FF2B5EF4-FFF2-40B4-BE49-F238E27FC236}">
                    <a16:creationId xmlns:a16="http://schemas.microsoft.com/office/drawing/2014/main" id="{BEBA0FAE-9DA4-41BB-A38C-CEFCFD168B92}"/>
                  </a:ext>
                </a:extLst>
              </p:cNvPr>
              <p:cNvSpPr/>
              <p:nvPr/>
            </p:nvSpPr>
            <p:spPr>
              <a:xfrm>
                <a:off x="3771600" y="2018825"/>
                <a:ext cx="178275" cy="178275"/>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828" name="Freeform: Shape 827">
                <a:extLst>
                  <a:ext uri="{FF2B5EF4-FFF2-40B4-BE49-F238E27FC236}">
                    <a16:creationId xmlns:a16="http://schemas.microsoft.com/office/drawing/2014/main" id="{A1CAEC3E-6CBA-4AC0-B8E0-0951D9862EEC}"/>
                  </a:ext>
                </a:extLst>
              </p:cNvPr>
              <p:cNvSpPr/>
              <p:nvPr/>
            </p:nvSpPr>
            <p:spPr>
              <a:xfrm>
                <a:off x="5025218" y="2124013"/>
                <a:ext cx="302431" cy="302431"/>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grpSp>
        <p:sp>
          <p:nvSpPr>
            <p:cNvPr id="824" name="Freeform 752">
              <a:extLst>
                <a:ext uri="{FF2B5EF4-FFF2-40B4-BE49-F238E27FC236}">
                  <a16:creationId xmlns:a16="http://schemas.microsoft.com/office/drawing/2014/main" id="{97740A06-289A-4FC6-BD70-FA98F96234CF}"/>
                </a:ext>
              </a:extLst>
            </p:cNvPr>
            <p:cNvSpPr>
              <a:spLocks/>
            </p:cNvSpPr>
            <p:nvPr/>
          </p:nvSpPr>
          <p:spPr bwMode="auto">
            <a:xfrm>
              <a:off x="5559471" y="1746035"/>
              <a:ext cx="949094" cy="287453"/>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noFill/>
            <a:ln>
              <a:noFill/>
            </a:ln>
          </p:spPr>
          <p:txBody>
            <a:bodyPr vert="horz" wrap="square" lIns="91440" tIns="45720" rIns="91440" bIns="45720" numCol="1" anchor="t" anchorCtr="0" compatLnSpc="1">
              <a:prstTxWarp prst="textNoShape">
                <a:avLst/>
              </a:prstTxWarp>
            </a:bodyPr>
            <a:lstStyle/>
            <a:p>
              <a:pPr algn="ctr"/>
              <a:r>
                <a:rPr lang="en-US" sz="1400" dirty="0">
                  <a:solidFill>
                    <a:schemeClr val="bg2"/>
                  </a:solidFill>
                </a:rPr>
                <a:t>Internet</a:t>
              </a:r>
              <a:endParaRPr lang="en-US" sz="1600" dirty="0">
                <a:solidFill>
                  <a:schemeClr val="bg2"/>
                </a:solidFill>
              </a:endParaRPr>
            </a:p>
          </p:txBody>
        </p:sp>
      </p:grpSp>
      <p:grpSp>
        <p:nvGrpSpPr>
          <p:cNvPr id="831" name="Group 830">
            <a:extLst>
              <a:ext uri="{FF2B5EF4-FFF2-40B4-BE49-F238E27FC236}">
                <a16:creationId xmlns:a16="http://schemas.microsoft.com/office/drawing/2014/main" id="{E04D7B76-0E92-4B98-8B6D-5EE52BEAC84D}"/>
              </a:ext>
            </a:extLst>
          </p:cNvPr>
          <p:cNvGrpSpPr/>
          <p:nvPr/>
        </p:nvGrpSpPr>
        <p:grpSpPr>
          <a:xfrm>
            <a:off x="1023811" y="1389617"/>
            <a:ext cx="1336383" cy="1086594"/>
            <a:chOff x="1109937" y="1612791"/>
            <a:chExt cx="1336383" cy="1086594"/>
          </a:xfrm>
        </p:grpSpPr>
        <p:grpSp>
          <p:nvGrpSpPr>
            <p:cNvPr id="832" name="Group 831">
              <a:extLst>
                <a:ext uri="{FF2B5EF4-FFF2-40B4-BE49-F238E27FC236}">
                  <a16:creationId xmlns:a16="http://schemas.microsoft.com/office/drawing/2014/main" id="{B2FE33ED-248B-44F3-8815-F3068E24CB44}"/>
                </a:ext>
              </a:extLst>
            </p:cNvPr>
            <p:cNvGrpSpPr/>
            <p:nvPr/>
          </p:nvGrpSpPr>
          <p:grpSpPr>
            <a:xfrm>
              <a:off x="1109937" y="1612791"/>
              <a:ext cx="1336383" cy="1086594"/>
              <a:chOff x="3759440" y="1151356"/>
              <a:chExt cx="1568209" cy="1275088"/>
            </a:xfrm>
          </p:grpSpPr>
          <p:grpSp>
            <p:nvGrpSpPr>
              <p:cNvPr id="834" name="Group 833">
                <a:extLst>
                  <a:ext uri="{FF2B5EF4-FFF2-40B4-BE49-F238E27FC236}">
                    <a16:creationId xmlns:a16="http://schemas.microsoft.com/office/drawing/2014/main" id="{A8209941-2F6A-4E61-9F53-B9DC1F2A8523}"/>
                  </a:ext>
                </a:extLst>
              </p:cNvPr>
              <p:cNvGrpSpPr/>
              <p:nvPr/>
            </p:nvGrpSpPr>
            <p:grpSpPr>
              <a:xfrm>
                <a:off x="3759440" y="1276552"/>
                <a:ext cx="1517617" cy="1065498"/>
                <a:chOff x="4152412" y="1648888"/>
                <a:chExt cx="1015503" cy="712971"/>
              </a:xfrm>
            </p:grpSpPr>
            <p:sp>
              <p:nvSpPr>
                <p:cNvPr id="838" name="Freeform: Shape 837">
                  <a:extLst>
                    <a:ext uri="{FF2B5EF4-FFF2-40B4-BE49-F238E27FC236}">
                      <a16:creationId xmlns:a16="http://schemas.microsoft.com/office/drawing/2014/main" id="{EE36C9E9-D525-42FA-A175-C9953E880D65}"/>
                    </a:ext>
                  </a:extLst>
                </p:cNvPr>
                <p:cNvSpPr/>
                <p:nvPr/>
              </p:nvSpPr>
              <p:spPr>
                <a:xfrm>
                  <a:off x="4215997" y="1684114"/>
                  <a:ext cx="951918" cy="677745"/>
                </a:xfrm>
                <a:custGeom>
                  <a:avLst/>
                  <a:gdLst>
                    <a:gd name="connsiteX0" fmla="*/ 520466 w 951918"/>
                    <a:gd name="connsiteY0" fmla="*/ 0 h 677745"/>
                    <a:gd name="connsiteX1" fmla="*/ 761261 w 951918"/>
                    <a:gd name="connsiteY1" fmla="*/ 160530 h 677745"/>
                    <a:gd name="connsiteX2" fmla="*/ 761261 w 951918"/>
                    <a:gd name="connsiteY2" fmla="*/ 162676 h 677745"/>
                    <a:gd name="connsiteX3" fmla="*/ 791020 w 951918"/>
                    <a:gd name="connsiteY3" fmla="*/ 171976 h 677745"/>
                    <a:gd name="connsiteX4" fmla="*/ 931106 w 951918"/>
                    <a:gd name="connsiteY4" fmla="*/ 516918 h 677745"/>
                    <a:gd name="connsiteX5" fmla="*/ 689723 w 951918"/>
                    <a:gd name="connsiteY5" fmla="*/ 677745 h 677745"/>
                    <a:gd name="connsiteX6" fmla="*/ 489419 w 951918"/>
                    <a:gd name="connsiteY6" fmla="*/ 582171 h 677745"/>
                    <a:gd name="connsiteX7" fmla="*/ 476828 w 951918"/>
                    <a:gd name="connsiteY7" fmla="*/ 561426 h 677745"/>
                    <a:gd name="connsiteX8" fmla="*/ 476828 w 951918"/>
                    <a:gd name="connsiteY8" fmla="*/ 561426 h 677745"/>
                    <a:gd name="connsiteX9" fmla="*/ 113338 w 951918"/>
                    <a:gd name="connsiteY9" fmla="*/ 628748 h 677745"/>
                    <a:gd name="connsiteX10" fmla="*/ 46016 w 951918"/>
                    <a:gd name="connsiteY10" fmla="*/ 265258 h 677745"/>
                    <a:gd name="connsiteX11" fmla="*/ 260499 w 951918"/>
                    <a:gd name="connsiteY11" fmla="*/ 151946 h 677745"/>
                    <a:gd name="connsiteX12" fmla="*/ 284249 w 951918"/>
                    <a:gd name="connsiteY12" fmla="*/ 154378 h 677745"/>
                    <a:gd name="connsiteX13" fmla="*/ 304995 w 951918"/>
                    <a:gd name="connsiteY13" fmla="*/ 115891 h 677745"/>
                    <a:gd name="connsiteX14" fmla="*/ 520466 w 951918"/>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918" h="677745">
                      <a:moveTo>
                        <a:pt x="520466" y="0"/>
                      </a:moveTo>
                      <a:cubicBezTo>
                        <a:pt x="625802" y="-87"/>
                        <a:pt x="720826" y="63263"/>
                        <a:pt x="761261" y="160530"/>
                      </a:cubicBezTo>
                      <a:lnTo>
                        <a:pt x="761261" y="162676"/>
                      </a:lnTo>
                      <a:lnTo>
                        <a:pt x="791020" y="171976"/>
                      </a:lnTo>
                      <a:cubicBezTo>
                        <a:pt x="924957" y="228545"/>
                        <a:pt x="987677" y="382981"/>
                        <a:pt x="931106" y="516918"/>
                      </a:cubicBezTo>
                      <a:cubicBezTo>
                        <a:pt x="890097" y="614016"/>
                        <a:pt x="795125" y="677293"/>
                        <a:pt x="689723" y="677745"/>
                      </a:cubicBezTo>
                      <a:cubicBezTo>
                        <a:pt x="612000" y="677542"/>
                        <a:pt x="538473" y="642459"/>
                        <a:pt x="489419" y="582171"/>
                      </a:cubicBezTo>
                      <a:lnTo>
                        <a:pt x="476828" y="561426"/>
                      </a:lnTo>
                      <a:lnTo>
                        <a:pt x="476828" y="561426"/>
                      </a:lnTo>
                      <a:cubicBezTo>
                        <a:pt x="395044" y="680391"/>
                        <a:pt x="232303" y="710532"/>
                        <a:pt x="113338" y="628748"/>
                      </a:cubicBezTo>
                      <a:cubicBezTo>
                        <a:pt x="-5627" y="546964"/>
                        <a:pt x="-35769" y="384223"/>
                        <a:pt x="46016" y="265258"/>
                      </a:cubicBezTo>
                      <a:cubicBezTo>
                        <a:pt x="94595" y="194592"/>
                        <a:pt x="174746" y="152249"/>
                        <a:pt x="260499" y="151946"/>
                      </a:cubicBezTo>
                      <a:lnTo>
                        <a:pt x="284249" y="154378"/>
                      </a:lnTo>
                      <a:lnTo>
                        <a:pt x="304995" y="115891"/>
                      </a:lnTo>
                      <a:cubicBezTo>
                        <a:pt x="353000" y="43745"/>
                        <a:pt x="433810" y="282"/>
                        <a:pt x="520466" y="0"/>
                      </a:cubicBezTo>
                      <a:close/>
                    </a:path>
                  </a:pathLst>
                </a:custGeom>
                <a:solidFill>
                  <a:srgbClr val="B8B8BB"/>
                </a:solidFill>
                <a:ln w="14288" cap="flat">
                  <a:noFill/>
                  <a:prstDash val="solid"/>
                  <a:miter/>
                </a:ln>
              </p:spPr>
              <p:txBody>
                <a:bodyPr rtlCol="0" anchor="ctr"/>
                <a:lstStyle/>
                <a:p>
                  <a:endParaRPr lang="en-IN" dirty="0"/>
                </a:p>
              </p:txBody>
            </p:sp>
            <p:sp>
              <p:nvSpPr>
                <p:cNvPr id="839" name="Freeform: Shape 838">
                  <a:extLst>
                    <a:ext uri="{FF2B5EF4-FFF2-40B4-BE49-F238E27FC236}">
                      <a16:creationId xmlns:a16="http://schemas.microsoft.com/office/drawing/2014/main" id="{812E08DC-8B15-47BD-80D4-2F26281E813D}"/>
                    </a:ext>
                  </a:extLst>
                </p:cNvPr>
                <p:cNvSpPr/>
                <p:nvPr/>
              </p:nvSpPr>
              <p:spPr>
                <a:xfrm>
                  <a:off x="4152412" y="1648888"/>
                  <a:ext cx="951307" cy="677745"/>
                </a:xfrm>
                <a:custGeom>
                  <a:avLst/>
                  <a:gdLst>
                    <a:gd name="connsiteX0" fmla="*/ 520664 w 951307"/>
                    <a:gd name="connsiteY0" fmla="*/ 0 h 677745"/>
                    <a:gd name="connsiteX1" fmla="*/ 761459 w 951307"/>
                    <a:gd name="connsiteY1" fmla="*/ 160530 h 677745"/>
                    <a:gd name="connsiteX2" fmla="*/ 762317 w 951307"/>
                    <a:gd name="connsiteY2" fmla="*/ 163391 h 677745"/>
                    <a:gd name="connsiteX3" fmla="*/ 792077 w 951307"/>
                    <a:gd name="connsiteY3" fmla="*/ 172691 h 677745"/>
                    <a:gd name="connsiteX4" fmla="*/ 929786 w 951307"/>
                    <a:gd name="connsiteY4" fmla="*/ 518589 h 677745"/>
                    <a:gd name="connsiteX5" fmla="*/ 689921 w 951307"/>
                    <a:gd name="connsiteY5" fmla="*/ 677745 h 677745"/>
                    <a:gd name="connsiteX6" fmla="*/ 489616 w 951307"/>
                    <a:gd name="connsiteY6" fmla="*/ 582028 h 677745"/>
                    <a:gd name="connsiteX7" fmla="*/ 477026 w 951307"/>
                    <a:gd name="connsiteY7" fmla="*/ 561282 h 677745"/>
                    <a:gd name="connsiteX8" fmla="*/ 477026 w 951307"/>
                    <a:gd name="connsiteY8" fmla="*/ 561282 h 677745"/>
                    <a:gd name="connsiteX9" fmla="*/ 113626 w 951307"/>
                    <a:gd name="connsiteY9" fmla="*/ 629089 h 677745"/>
                    <a:gd name="connsiteX10" fmla="*/ 45820 w 951307"/>
                    <a:gd name="connsiteY10" fmla="*/ 265688 h 677745"/>
                    <a:gd name="connsiteX11" fmla="*/ 260697 w 951307"/>
                    <a:gd name="connsiteY11" fmla="*/ 152089 h 677745"/>
                    <a:gd name="connsiteX12" fmla="*/ 284447 w 951307"/>
                    <a:gd name="connsiteY12" fmla="*/ 154521 h 677745"/>
                    <a:gd name="connsiteX13" fmla="*/ 305193 w 951307"/>
                    <a:gd name="connsiteY13" fmla="*/ 115891 h 677745"/>
                    <a:gd name="connsiteX14" fmla="*/ 520664 w 951307"/>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307" h="677745">
                      <a:moveTo>
                        <a:pt x="520664" y="0"/>
                      </a:moveTo>
                      <a:cubicBezTo>
                        <a:pt x="625977" y="-10"/>
                        <a:pt x="720963" y="63314"/>
                        <a:pt x="761459" y="160530"/>
                      </a:cubicBezTo>
                      <a:lnTo>
                        <a:pt x="762317" y="163391"/>
                      </a:lnTo>
                      <a:lnTo>
                        <a:pt x="792077" y="172691"/>
                      </a:lnTo>
                      <a:cubicBezTo>
                        <a:pt x="925621" y="230182"/>
                        <a:pt x="987275" y="385044"/>
                        <a:pt x="929786" y="518589"/>
                      </a:cubicBezTo>
                      <a:cubicBezTo>
                        <a:pt x="888485" y="614528"/>
                        <a:pt x="794370" y="676976"/>
                        <a:pt x="689921" y="677745"/>
                      </a:cubicBezTo>
                      <a:cubicBezTo>
                        <a:pt x="612179" y="677486"/>
                        <a:pt x="538655" y="642353"/>
                        <a:pt x="489616" y="582028"/>
                      </a:cubicBezTo>
                      <a:lnTo>
                        <a:pt x="477026" y="561282"/>
                      </a:lnTo>
                      <a:lnTo>
                        <a:pt x="477026" y="561282"/>
                      </a:lnTo>
                      <a:cubicBezTo>
                        <a:pt x="395400" y="680356"/>
                        <a:pt x="232700" y="710714"/>
                        <a:pt x="113626" y="629089"/>
                      </a:cubicBezTo>
                      <a:cubicBezTo>
                        <a:pt x="-5450" y="547463"/>
                        <a:pt x="-35807" y="384762"/>
                        <a:pt x="45820" y="265688"/>
                      </a:cubicBezTo>
                      <a:cubicBezTo>
                        <a:pt x="94414" y="194799"/>
                        <a:pt x="174752" y="152327"/>
                        <a:pt x="260697" y="152089"/>
                      </a:cubicBezTo>
                      <a:lnTo>
                        <a:pt x="284447" y="154521"/>
                      </a:lnTo>
                      <a:lnTo>
                        <a:pt x="305193" y="115891"/>
                      </a:lnTo>
                      <a:cubicBezTo>
                        <a:pt x="353250" y="43804"/>
                        <a:pt x="434028" y="358"/>
                        <a:pt x="520664" y="0"/>
                      </a:cubicBezTo>
                      <a:close/>
                    </a:path>
                  </a:pathLst>
                </a:custGeom>
                <a:solidFill>
                  <a:srgbClr val="0D274D"/>
                </a:solidFill>
                <a:ln w="14288" cap="flat">
                  <a:noFill/>
                  <a:prstDash val="solid"/>
                  <a:miter/>
                </a:ln>
              </p:spPr>
              <p:txBody>
                <a:bodyPr rtlCol="0" anchor="ctr"/>
                <a:lstStyle/>
                <a:p>
                  <a:endParaRPr lang="en-IN" dirty="0"/>
                </a:p>
              </p:txBody>
            </p:sp>
          </p:grpSp>
          <p:sp>
            <p:nvSpPr>
              <p:cNvPr id="835" name="Freeform: Shape 834">
                <a:extLst>
                  <a:ext uri="{FF2B5EF4-FFF2-40B4-BE49-F238E27FC236}">
                    <a16:creationId xmlns:a16="http://schemas.microsoft.com/office/drawing/2014/main" id="{F938CEBB-8613-49F8-8370-75E3AAC056FA}"/>
                  </a:ext>
                </a:extLst>
              </p:cNvPr>
              <p:cNvSpPr/>
              <p:nvPr/>
            </p:nvSpPr>
            <p:spPr>
              <a:xfrm>
                <a:off x="4351709" y="1151356"/>
                <a:ext cx="245802" cy="245802"/>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836" name="Freeform: Shape 835">
                <a:extLst>
                  <a:ext uri="{FF2B5EF4-FFF2-40B4-BE49-F238E27FC236}">
                    <a16:creationId xmlns:a16="http://schemas.microsoft.com/office/drawing/2014/main" id="{D97F7230-CAF1-4276-9EBD-08E55978D6DC}"/>
                  </a:ext>
                </a:extLst>
              </p:cNvPr>
              <p:cNvSpPr/>
              <p:nvPr/>
            </p:nvSpPr>
            <p:spPr>
              <a:xfrm>
                <a:off x="3771600" y="2018825"/>
                <a:ext cx="178275" cy="178275"/>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837" name="Freeform: Shape 836">
                <a:extLst>
                  <a:ext uri="{FF2B5EF4-FFF2-40B4-BE49-F238E27FC236}">
                    <a16:creationId xmlns:a16="http://schemas.microsoft.com/office/drawing/2014/main" id="{6385074D-BD7C-49CE-A5BE-739389853136}"/>
                  </a:ext>
                </a:extLst>
              </p:cNvPr>
              <p:cNvSpPr/>
              <p:nvPr/>
            </p:nvSpPr>
            <p:spPr>
              <a:xfrm>
                <a:off x="5025218" y="2124013"/>
                <a:ext cx="302431" cy="302431"/>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grpSp>
        <p:sp>
          <p:nvSpPr>
            <p:cNvPr id="833" name="Freeform 752">
              <a:extLst>
                <a:ext uri="{FF2B5EF4-FFF2-40B4-BE49-F238E27FC236}">
                  <a16:creationId xmlns:a16="http://schemas.microsoft.com/office/drawing/2014/main" id="{98E9AB1A-E3C1-4AE5-9359-7919A1003653}"/>
                </a:ext>
              </a:extLst>
            </p:cNvPr>
            <p:cNvSpPr>
              <a:spLocks/>
            </p:cNvSpPr>
            <p:nvPr/>
          </p:nvSpPr>
          <p:spPr bwMode="auto">
            <a:xfrm>
              <a:off x="1132004" y="2031609"/>
              <a:ext cx="1168284" cy="287453"/>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noFill/>
            <a:ln>
              <a:noFill/>
            </a:ln>
          </p:spPr>
          <p:txBody>
            <a:bodyPr vert="horz" wrap="square" lIns="91440" tIns="45720" rIns="91440" bIns="45720" numCol="1" anchor="t" anchorCtr="0" compatLnSpc="1">
              <a:prstTxWarp prst="textNoShape">
                <a:avLst/>
              </a:prstTxWarp>
            </a:bodyPr>
            <a:lstStyle/>
            <a:p>
              <a:pPr algn="ctr"/>
              <a:r>
                <a:rPr lang="en-US" sz="1400" dirty="0">
                  <a:solidFill>
                    <a:schemeClr val="bg2"/>
                  </a:solidFill>
                </a:rPr>
                <a:t>Cloud Apps</a:t>
              </a:r>
            </a:p>
          </p:txBody>
        </p:sp>
      </p:grpSp>
      <p:sp>
        <p:nvSpPr>
          <p:cNvPr id="840" name="Rectangle 839">
            <a:extLst>
              <a:ext uri="{FF2B5EF4-FFF2-40B4-BE49-F238E27FC236}">
                <a16:creationId xmlns:a16="http://schemas.microsoft.com/office/drawing/2014/main" id="{A86FCEDE-B82D-4F32-BF23-8D65E96FE3C0}"/>
              </a:ext>
            </a:extLst>
          </p:cNvPr>
          <p:cNvSpPr/>
          <p:nvPr/>
        </p:nvSpPr>
        <p:spPr>
          <a:xfrm rot="5400000">
            <a:off x="5163213" y="2716472"/>
            <a:ext cx="1499815" cy="3693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dirty="0">
                <a:solidFill>
                  <a:schemeClr val="accent1"/>
                </a:solidFill>
              </a:rPr>
              <a:t>00101 001 1011 1010 </a:t>
            </a:r>
          </a:p>
        </p:txBody>
      </p:sp>
      <p:sp>
        <p:nvSpPr>
          <p:cNvPr id="841" name="Freeform: Shape 840">
            <a:extLst>
              <a:ext uri="{FF2B5EF4-FFF2-40B4-BE49-F238E27FC236}">
                <a16:creationId xmlns:a16="http://schemas.microsoft.com/office/drawing/2014/main" id="{21E4F6AA-FBF5-4B90-A6F6-8D792AC7190D}"/>
              </a:ext>
            </a:extLst>
          </p:cNvPr>
          <p:cNvSpPr/>
          <p:nvPr/>
        </p:nvSpPr>
        <p:spPr>
          <a:xfrm>
            <a:off x="7013805" y="2972431"/>
            <a:ext cx="353279" cy="921994"/>
          </a:xfrm>
          <a:custGeom>
            <a:avLst/>
            <a:gdLst>
              <a:gd name="connsiteX0" fmla="*/ 255 w 859512"/>
              <a:gd name="connsiteY0" fmla="*/ 0 h 2243174"/>
              <a:gd name="connsiteX1" fmla="*/ 78812 w 859512"/>
              <a:gd name="connsiteY1" fmla="*/ 22637 h 2243174"/>
              <a:gd name="connsiteX2" fmla="*/ 722687 w 859512"/>
              <a:gd name="connsiteY2" fmla="*/ 282200 h 2243174"/>
              <a:gd name="connsiteX3" fmla="*/ 859512 w 859512"/>
              <a:gd name="connsiteY3" fmla="*/ 443170 h 2243174"/>
              <a:gd name="connsiteX4" fmla="*/ 859512 w 859512"/>
              <a:gd name="connsiteY4" fmla="*/ 1180273 h 2243174"/>
              <a:gd name="connsiteX5" fmla="*/ 677080 w 859512"/>
              <a:gd name="connsiteY5" fmla="*/ 1665864 h 2243174"/>
              <a:gd name="connsiteX6" fmla="*/ 141856 w 859512"/>
              <a:gd name="connsiteY6" fmla="*/ 2190358 h 2243174"/>
              <a:gd name="connsiteX7" fmla="*/ 3 w 859512"/>
              <a:gd name="connsiteY7" fmla="*/ 2243174 h 2243174"/>
              <a:gd name="connsiteX8" fmla="*/ 0 w 859512"/>
              <a:gd name="connsiteY8" fmla="*/ 2243174 h 2243174"/>
              <a:gd name="connsiteX9" fmla="*/ 0 w 859512"/>
              <a:gd name="connsiteY9" fmla="*/ 36 h 2243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9512" h="2243174">
                <a:moveTo>
                  <a:pt x="255" y="0"/>
                </a:moveTo>
                <a:cubicBezTo>
                  <a:pt x="27670" y="0"/>
                  <a:pt x="55001" y="7546"/>
                  <a:pt x="78812" y="22637"/>
                </a:cubicBezTo>
                <a:cubicBezTo>
                  <a:pt x="278010" y="150742"/>
                  <a:pt x="491964" y="239944"/>
                  <a:pt x="722687" y="282200"/>
                </a:cubicBezTo>
                <a:cubicBezTo>
                  <a:pt x="801160" y="296956"/>
                  <a:pt x="859512" y="363354"/>
                  <a:pt x="859512" y="443170"/>
                </a:cubicBezTo>
                <a:lnTo>
                  <a:pt x="859512" y="1180273"/>
                </a:lnTo>
                <a:cubicBezTo>
                  <a:pt x="859512" y="1359351"/>
                  <a:pt x="795122" y="1531723"/>
                  <a:pt x="677080" y="1665864"/>
                </a:cubicBezTo>
                <a:cubicBezTo>
                  <a:pt x="521475" y="1842932"/>
                  <a:pt x="341057" y="2017314"/>
                  <a:pt x="141856" y="2190358"/>
                </a:cubicBezTo>
                <a:cubicBezTo>
                  <a:pt x="101280" y="2225569"/>
                  <a:pt x="50642" y="2243174"/>
                  <a:pt x="3" y="2243174"/>
                </a:cubicBezTo>
                <a:lnTo>
                  <a:pt x="0" y="2243174"/>
                </a:lnTo>
                <a:lnTo>
                  <a:pt x="0" y="36"/>
                </a:lnTo>
                <a:close/>
              </a:path>
            </a:pathLst>
          </a:custGeom>
          <a:noFill/>
          <a:ln w="7144" cap="flat">
            <a:solidFill>
              <a:srgbClr val="0D274D"/>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82828"/>
              </a:solidFill>
              <a:effectLst/>
              <a:uLnTx/>
              <a:uFillTx/>
            </a:endParaRPr>
          </a:p>
        </p:txBody>
      </p:sp>
      <p:sp>
        <p:nvSpPr>
          <p:cNvPr id="842" name="Freeform: Shape 841">
            <a:extLst>
              <a:ext uri="{FF2B5EF4-FFF2-40B4-BE49-F238E27FC236}">
                <a16:creationId xmlns:a16="http://schemas.microsoft.com/office/drawing/2014/main" id="{DE4B34F9-A1A3-4259-9BC2-7CED83D08AE0}"/>
              </a:ext>
            </a:extLst>
          </p:cNvPr>
          <p:cNvSpPr/>
          <p:nvPr/>
        </p:nvSpPr>
        <p:spPr>
          <a:xfrm>
            <a:off x="6732452" y="3064496"/>
            <a:ext cx="565446" cy="737863"/>
          </a:xfrm>
          <a:custGeom>
            <a:avLst/>
            <a:gdLst>
              <a:gd name="connsiteX0" fmla="*/ 565726 w 614648"/>
              <a:gd name="connsiteY0" fmla="*/ 100903 h 802065"/>
              <a:gd name="connsiteX1" fmla="*/ 335503 w 614648"/>
              <a:gd name="connsiteY1" fmla="*/ 8094 h 802065"/>
              <a:gd name="connsiteX2" fmla="*/ 279146 w 614648"/>
              <a:gd name="connsiteY2" fmla="*/ 8094 h 802065"/>
              <a:gd name="connsiteX3" fmla="*/ 48922 w 614648"/>
              <a:gd name="connsiteY3" fmla="*/ 100903 h 802065"/>
              <a:gd name="connsiteX4" fmla="*/ 0 w 614648"/>
              <a:gd name="connsiteY4" fmla="*/ 158459 h 802065"/>
              <a:gd name="connsiteX5" fmla="*/ 0 w 614648"/>
              <a:gd name="connsiteY5" fmla="*/ 422016 h 802065"/>
              <a:gd name="connsiteX6" fmla="*/ 65230 w 614648"/>
              <a:gd name="connsiteY6" fmla="*/ 595643 h 802065"/>
              <a:gd name="connsiteX7" fmla="*/ 256603 w 614648"/>
              <a:gd name="connsiteY7" fmla="*/ 783180 h 802065"/>
              <a:gd name="connsiteX8" fmla="*/ 358045 w 614648"/>
              <a:gd name="connsiteY8" fmla="*/ 783180 h 802065"/>
              <a:gd name="connsiteX9" fmla="*/ 549419 w 614648"/>
              <a:gd name="connsiteY9" fmla="*/ 595643 h 802065"/>
              <a:gd name="connsiteX10" fmla="*/ 614649 w 614648"/>
              <a:gd name="connsiteY10" fmla="*/ 422016 h 802065"/>
              <a:gd name="connsiteX11" fmla="*/ 614649 w 614648"/>
              <a:gd name="connsiteY11" fmla="*/ 158459 h 802065"/>
              <a:gd name="connsiteX12" fmla="*/ 565726 w 614648"/>
              <a:gd name="connsiteY12" fmla="*/ 100903 h 802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4648" h="802065">
                <a:moveTo>
                  <a:pt x="565726" y="100903"/>
                </a:moveTo>
                <a:cubicBezTo>
                  <a:pt x="483229" y="85794"/>
                  <a:pt x="406728" y="53899"/>
                  <a:pt x="335503" y="8094"/>
                </a:cubicBezTo>
                <a:cubicBezTo>
                  <a:pt x="318476" y="-2698"/>
                  <a:pt x="296413" y="-2698"/>
                  <a:pt x="279146" y="8094"/>
                </a:cubicBezTo>
                <a:cubicBezTo>
                  <a:pt x="207921" y="53659"/>
                  <a:pt x="131419" y="85794"/>
                  <a:pt x="48922" y="100903"/>
                </a:cubicBezTo>
                <a:cubicBezTo>
                  <a:pt x="20864" y="105939"/>
                  <a:pt x="0" y="129920"/>
                  <a:pt x="0" y="158459"/>
                </a:cubicBezTo>
                <a:lnTo>
                  <a:pt x="0" y="422016"/>
                </a:lnTo>
                <a:cubicBezTo>
                  <a:pt x="0" y="485807"/>
                  <a:pt x="23022" y="547680"/>
                  <a:pt x="65230" y="595643"/>
                </a:cubicBezTo>
                <a:cubicBezTo>
                  <a:pt x="120867" y="658715"/>
                  <a:pt x="185378" y="721067"/>
                  <a:pt x="256603" y="783180"/>
                </a:cubicBezTo>
                <a:cubicBezTo>
                  <a:pt x="285621" y="808360"/>
                  <a:pt x="329028" y="808360"/>
                  <a:pt x="358045" y="783180"/>
                </a:cubicBezTo>
                <a:cubicBezTo>
                  <a:pt x="429271" y="721307"/>
                  <a:pt x="493781" y="658955"/>
                  <a:pt x="549419" y="595643"/>
                </a:cubicBezTo>
                <a:cubicBezTo>
                  <a:pt x="591626" y="547680"/>
                  <a:pt x="614649" y="486047"/>
                  <a:pt x="614649" y="422016"/>
                </a:cubicBezTo>
                <a:lnTo>
                  <a:pt x="614649" y="158459"/>
                </a:lnTo>
                <a:cubicBezTo>
                  <a:pt x="614649" y="129920"/>
                  <a:pt x="593785" y="106179"/>
                  <a:pt x="565726" y="100903"/>
                </a:cubicBezTo>
                <a:close/>
              </a:path>
            </a:pathLst>
          </a:custGeom>
          <a:solidFill>
            <a:srgbClr val="1E4471"/>
          </a:solidFill>
          <a:ln w="1428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82828"/>
              </a:solidFill>
              <a:effectLst/>
              <a:uLnTx/>
              <a:uFillTx/>
            </a:endParaRPr>
          </a:p>
        </p:txBody>
      </p:sp>
      <p:sp>
        <p:nvSpPr>
          <p:cNvPr id="843" name="Freeform: Shape 842">
            <a:extLst>
              <a:ext uri="{FF2B5EF4-FFF2-40B4-BE49-F238E27FC236}">
                <a16:creationId xmlns:a16="http://schemas.microsoft.com/office/drawing/2014/main" id="{01B375CA-4FB5-4355-AA05-9FC88795C464}"/>
              </a:ext>
            </a:extLst>
          </p:cNvPr>
          <p:cNvSpPr/>
          <p:nvPr/>
        </p:nvSpPr>
        <p:spPr>
          <a:xfrm rot="5400000">
            <a:off x="6784818" y="3605220"/>
            <a:ext cx="268729" cy="238928"/>
          </a:xfrm>
          <a:custGeom>
            <a:avLst/>
            <a:gdLst>
              <a:gd name="connsiteX0" fmla="*/ 93595 w 929392"/>
              <a:gd name="connsiteY0" fmla="*/ 826261 h 826323"/>
              <a:gd name="connsiteX1" fmla="*/ 20197 w 929392"/>
              <a:gd name="connsiteY1" fmla="*/ 712946 h 826323"/>
              <a:gd name="connsiteX2" fmla="*/ 395769 w 929392"/>
              <a:gd name="connsiteY2" fmla="*/ 69109 h 826323"/>
              <a:gd name="connsiteX3" fmla="*/ 539845 w 929392"/>
              <a:gd name="connsiteY3" fmla="*/ 69109 h 826323"/>
              <a:gd name="connsiteX4" fmla="*/ 904257 w 929392"/>
              <a:gd name="connsiteY4" fmla="*/ 704361 h 826323"/>
              <a:gd name="connsiteX5" fmla="*/ 847027 w 929392"/>
              <a:gd name="connsiteY5" fmla="*/ 823543 h 826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9392" h="826323">
                <a:moveTo>
                  <a:pt x="93595" y="826261"/>
                </a:moveTo>
                <a:cubicBezTo>
                  <a:pt x="4173" y="828264"/>
                  <a:pt x="-23154" y="781908"/>
                  <a:pt x="20197" y="712946"/>
                </a:cubicBezTo>
                <a:lnTo>
                  <a:pt x="395769" y="69109"/>
                </a:lnTo>
                <a:cubicBezTo>
                  <a:pt x="443842" y="-24462"/>
                  <a:pt x="494633" y="-21600"/>
                  <a:pt x="539845" y="69109"/>
                </a:cubicBezTo>
                <a:lnTo>
                  <a:pt x="904257" y="704361"/>
                </a:lnTo>
                <a:cubicBezTo>
                  <a:pt x="958911" y="772465"/>
                  <a:pt x="917420" y="823543"/>
                  <a:pt x="847027" y="823543"/>
                </a:cubicBezTo>
                <a:close/>
              </a:path>
            </a:pathLst>
          </a:custGeom>
          <a:solidFill>
            <a:srgbClr val="00BCE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nvGrpSpPr>
          <p:cNvPr id="844" name="Group 843">
            <a:extLst>
              <a:ext uri="{FF2B5EF4-FFF2-40B4-BE49-F238E27FC236}">
                <a16:creationId xmlns:a16="http://schemas.microsoft.com/office/drawing/2014/main" id="{684B0764-BBBE-41D2-BDD5-8360FB1A0347}"/>
              </a:ext>
            </a:extLst>
          </p:cNvPr>
          <p:cNvGrpSpPr/>
          <p:nvPr/>
        </p:nvGrpSpPr>
        <p:grpSpPr>
          <a:xfrm>
            <a:off x="6511505" y="3620426"/>
            <a:ext cx="270655" cy="208516"/>
            <a:chOff x="3442578" y="3133255"/>
            <a:chExt cx="406928" cy="313502"/>
          </a:xfrm>
          <a:solidFill>
            <a:srgbClr val="00BCEB"/>
          </a:solidFill>
        </p:grpSpPr>
        <p:grpSp>
          <p:nvGrpSpPr>
            <p:cNvPr id="845" name="Graphic 3">
              <a:extLst>
                <a:ext uri="{FF2B5EF4-FFF2-40B4-BE49-F238E27FC236}">
                  <a16:creationId xmlns:a16="http://schemas.microsoft.com/office/drawing/2014/main" id="{08CA33A7-C51A-4FD2-9332-B11EE41BCE6B}"/>
                </a:ext>
              </a:extLst>
            </p:cNvPr>
            <p:cNvGrpSpPr/>
            <p:nvPr/>
          </p:nvGrpSpPr>
          <p:grpSpPr>
            <a:xfrm>
              <a:off x="3442578" y="3133255"/>
              <a:ext cx="406928" cy="26971"/>
              <a:chOff x="9280892" y="2080036"/>
              <a:chExt cx="2259045" cy="149726"/>
            </a:xfrm>
            <a:grpFill/>
          </p:grpSpPr>
          <p:sp>
            <p:nvSpPr>
              <p:cNvPr id="901" name="Freeform: Shape 900">
                <a:extLst>
                  <a:ext uri="{FF2B5EF4-FFF2-40B4-BE49-F238E27FC236}">
                    <a16:creationId xmlns:a16="http://schemas.microsoft.com/office/drawing/2014/main" id="{24C15964-B91E-4477-881A-7378B985B33B}"/>
                  </a:ext>
                </a:extLst>
              </p:cNvPr>
              <p:cNvSpPr/>
              <p:nvPr/>
            </p:nvSpPr>
            <p:spPr>
              <a:xfrm>
                <a:off x="11390211" y="2080036"/>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902" name="Freeform: Shape 901">
                <a:extLst>
                  <a:ext uri="{FF2B5EF4-FFF2-40B4-BE49-F238E27FC236}">
                    <a16:creationId xmlns:a16="http://schemas.microsoft.com/office/drawing/2014/main" id="{0DA773D1-9334-4DDD-8F22-B206C73A01A3}"/>
                  </a:ext>
                </a:extLst>
              </p:cNvPr>
              <p:cNvSpPr/>
              <p:nvPr/>
            </p:nvSpPr>
            <p:spPr>
              <a:xfrm>
                <a:off x="11155798" y="2084948"/>
                <a:ext cx="139903" cy="139902"/>
              </a:xfrm>
              <a:custGeom>
                <a:avLst/>
                <a:gdLst>
                  <a:gd name="connsiteX0" fmla="*/ 139903 w 139903"/>
                  <a:gd name="connsiteY0" fmla="*/ 69951 h 139902"/>
                  <a:gd name="connsiteX1" fmla="*/ 69952 w 139903"/>
                  <a:gd name="connsiteY1" fmla="*/ 139903 h 139902"/>
                  <a:gd name="connsiteX2" fmla="*/ 1 w 139903"/>
                  <a:gd name="connsiteY2" fmla="*/ 69951 h 139902"/>
                  <a:gd name="connsiteX3" fmla="*/ 69952 w 139903"/>
                  <a:gd name="connsiteY3" fmla="*/ 0 h 139902"/>
                  <a:gd name="connsiteX4" fmla="*/ 139903 w 139903"/>
                  <a:gd name="connsiteY4" fmla="*/ 69951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1"/>
                    </a:moveTo>
                    <a:cubicBezTo>
                      <a:pt x="139903" y="108585"/>
                      <a:pt x="108584" y="139903"/>
                      <a:pt x="69952" y="139903"/>
                    </a:cubicBezTo>
                    <a:cubicBezTo>
                      <a:pt x="31318" y="139903"/>
                      <a:pt x="1" y="108585"/>
                      <a:pt x="1" y="69951"/>
                    </a:cubicBezTo>
                    <a:cubicBezTo>
                      <a:pt x="1" y="31318"/>
                      <a:pt x="31319" y="0"/>
                      <a:pt x="69952" y="0"/>
                    </a:cubicBezTo>
                    <a:cubicBezTo>
                      <a:pt x="108585" y="0"/>
                      <a:pt x="139903" y="31318"/>
                      <a:pt x="139903" y="6995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903" name="Freeform: Shape 902">
                <a:extLst>
                  <a:ext uri="{FF2B5EF4-FFF2-40B4-BE49-F238E27FC236}">
                    <a16:creationId xmlns:a16="http://schemas.microsoft.com/office/drawing/2014/main" id="{4F56B83A-2F25-47F2-82D2-E3C11846EF33}"/>
                  </a:ext>
                </a:extLst>
              </p:cNvPr>
              <p:cNvSpPr/>
              <p:nvPr/>
            </p:nvSpPr>
            <p:spPr>
              <a:xfrm>
                <a:off x="10920989" y="2089384"/>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904" name="Freeform: Shape 903">
                <a:extLst>
                  <a:ext uri="{FF2B5EF4-FFF2-40B4-BE49-F238E27FC236}">
                    <a16:creationId xmlns:a16="http://schemas.microsoft.com/office/drawing/2014/main" id="{CF92BBB1-9450-4614-8902-881B61D122DF}"/>
                  </a:ext>
                </a:extLst>
              </p:cNvPr>
              <p:cNvSpPr/>
              <p:nvPr/>
            </p:nvSpPr>
            <p:spPr>
              <a:xfrm>
                <a:off x="10686894" y="2094613"/>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905" name="Freeform: Shape 904">
                <a:extLst>
                  <a:ext uri="{FF2B5EF4-FFF2-40B4-BE49-F238E27FC236}">
                    <a16:creationId xmlns:a16="http://schemas.microsoft.com/office/drawing/2014/main" id="{0D294CB0-D72D-4478-941B-B04F220158C3}"/>
                  </a:ext>
                </a:extLst>
              </p:cNvPr>
              <p:cNvSpPr/>
              <p:nvPr/>
            </p:nvSpPr>
            <p:spPr>
              <a:xfrm>
                <a:off x="10452005" y="2099049"/>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906" name="Freeform: Shape 905">
                <a:extLst>
                  <a:ext uri="{FF2B5EF4-FFF2-40B4-BE49-F238E27FC236}">
                    <a16:creationId xmlns:a16="http://schemas.microsoft.com/office/drawing/2014/main" id="{D923388D-5198-430F-8BF0-556FE1F03BC7}"/>
                  </a:ext>
                </a:extLst>
              </p:cNvPr>
              <p:cNvSpPr/>
              <p:nvPr/>
            </p:nvSpPr>
            <p:spPr>
              <a:xfrm>
                <a:off x="10217513" y="2103882"/>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907" name="Freeform: Shape 906">
                <a:extLst>
                  <a:ext uri="{FF2B5EF4-FFF2-40B4-BE49-F238E27FC236}">
                    <a16:creationId xmlns:a16="http://schemas.microsoft.com/office/drawing/2014/main" id="{3C71C705-36DD-46B5-96A7-B865B5C92261}"/>
                  </a:ext>
                </a:extLst>
              </p:cNvPr>
              <p:cNvSpPr/>
              <p:nvPr/>
            </p:nvSpPr>
            <p:spPr>
              <a:xfrm>
                <a:off x="9983021" y="2108714"/>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908" name="Freeform: Shape 907">
                <a:extLst>
                  <a:ext uri="{FF2B5EF4-FFF2-40B4-BE49-F238E27FC236}">
                    <a16:creationId xmlns:a16="http://schemas.microsoft.com/office/drawing/2014/main" id="{37B50E0B-3160-4305-857D-3878F60A43D3}"/>
                  </a:ext>
                </a:extLst>
              </p:cNvPr>
              <p:cNvSpPr/>
              <p:nvPr/>
            </p:nvSpPr>
            <p:spPr>
              <a:xfrm>
                <a:off x="9749401" y="2114339"/>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909" name="Freeform: Shape 908">
                <a:extLst>
                  <a:ext uri="{FF2B5EF4-FFF2-40B4-BE49-F238E27FC236}">
                    <a16:creationId xmlns:a16="http://schemas.microsoft.com/office/drawing/2014/main" id="{B8D74F6A-3FE6-48DD-B614-5659D9FEBA58}"/>
                  </a:ext>
                </a:extLst>
              </p:cNvPr>
              <p:cNvSpPr/>
              <p:nvPr/>
            </p:nvSpPr>
            <p:spPr>
              <a:xfrm>
                <a:off x="9514830" y="2119092"/>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910" name="Freeform: Shape 909">
                <a:extLst>
                  <a:ext uri="{FF2B5EF4-FFF2-40B4-BE49-F238E27FC236}">
                    <a16:creationId xmlns:a16="http://schemas.microsoft.com/office/drawing/2014/main" id="{ACF7BBD3-045E-4DEC-B106-D5E324D77D6F}"/>
                  </a:ext>
                </a:extLst>
              </p:cNvPr>
              <p:cNvSpPr/>
              <p:nvPr/>
            </p:nvSpPr>
            <p:spPr>
              <a:xfrm>
                <a:off x="9280892" y="2124479"/>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846" name="Graphic 3">
              <a:extLst>
                <a:ext uri="{FF2B5EF4-FFF2-40B4-BE49-F238E27FC236}">
                  <a16:creationId xmlns:a16="http://schemas.microsoft.com/office/drawing/2014/main" id="{1EC0F1E0-D39D-498B-926B-3DBA6B8C5538}"/>
                </a:ext>
              </a:extLst>
            </p:cNvPr>
            <p:cNvGrpSpPr/>
            <p:nvPr/>
          </p:nvGrpSpPr>
          <p:grpSpPr>
            <a:xfrm>
              <a:off x="3442578" y="3190564"/>
              <a:ext cx="406928" cy="26971"/>
              <a:chOff x="9280892" y="2398185"/>
              <a:chExt cx="2259045" cy="149726"/>
            </a:xfrm>
            <a:grpFill/>
          </p:grpSpPr>
          <p:sp>
            <p:nvSpPr>
              <p:cNvPr id="891" name="Freeform: Shape 890">
                <a:extLst>
                  <a:ext uri="{FF2B5EF4-FFF2-40B4-BE49-F238E27FC236}">
                    <a16:creationId xmlns:a16="http://schemas.microsoft.com/office/drawing/2014/main" id="{FDDA1156-DEA8-4EE4-8EF8-0947E785633A}"/>
                  </a:ext>
                </a:extLst>
              </p:cNvPr>
              <p:cNvSpPr/>
              <p:nvPr/>
            </p:nvSpPr>
            <p:spPr>
              <a:xfrm>
                <a:off x="11390211" y="2398185"/>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92" name="Freeform: Shape 891">
                <a:extLst>
                  <a:ext uri="{FF2B5EF4-FFF2-40B4-BE49-F238E27FC236}">
                    <a16:creationId xmlns:a16="http://schemas.microsoft.com/office/drawing/2014/main" id="{60207876-547C-4F25-A7FA-FFF7E72112D6}"/>
                  </a:ext>
                </a:extLst>
              </p:cNvPr>
              <p:cNvSpPr/>
              <p:nvPr/>
            </p:nvSpPr>
            <p:spPr>
              <a:xfrm>
                <a:off x="11155798" y="2403097"/>
                <a:ext cx="139903" cy="139902"/>
              </a:xfrm>
              <a:custGeom>
                <a:avLst/>
                <a:gdLst>
                  <a:gd name="connsiteX0" fmla="*/ 139903 w 139903"/>
                  <a:gd name="connsiteY0" fmla="*/ 69952 h 139902"/>
                  <a:gd name="connsiteX1" fmla="*/ 69952 w 139903"/>
                  <a:gd name="connsiteY1" fmla="*/ 139903 h 139902"/>
                  <a:gd name="connsiteX2" fmla="*/ 1 w 139903"/>
                  <a:gd name="connsiteY2" fmla="*/ 69952 h 139902"/>
                  <a:gd name="connsiteX3" fmla="*/ 69952 w 139903"/>
                  <a:gd name="connsiteY3" fmla="*/ 0 h 139902"/>
                  <a:gd name="connsiteX4" fmla="*/ 139903 w 139903"/>
                  <a:gd name="connsiteY4" fmla="*/ 69952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2"/>
                    </a:moveTo>
                    <a:cubicBezTo>
                      <a:pt x="139903" y="108585"/>
                      <a:pt x="108584" y="139903"/>
                      <a:pt x="69952" y="139903"/>
                    </a:cubicBezTo>
                    <a:cubicBezTo>
                      <a:pt x="31318" y="139903"/>
                      <a:pt x="1" y="108585"/>
                      <a:pt x="1" y="69952"/>
                    </a:cubicBezTo>
                    <a:cubicBezTo>
                      <a:pt x="1" y="31318"/>
                      <a:pt x="31319" y="0"/>
                      <a:pt x="69952" y="0"/>
                    </a:cubicBezTo>
                    <a:cubicBezTo>
                      <a:pt x="108585" y="0"/>
                      <a:pt x="139903" y="31318"/>
                      <a:pt x="139903" y="69952"/>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93" name="Freeform: Shape 892">
                <a:extLst>
                  <a:ext uri="{FF2B5EF4-FFF2-40B4-BE49-F238E27FC236}">
                    <a16:creationId xmlns:a16="http://schemas.microsoft.com/office/drawing/2014/main" id="{63F02085-9C16-4AD8-8FC2-4A66D1A52950}"/>
                  </a:ext>
                </a:extLst>
              </p:cNvPr>
              <p:cNvSpPr/>
              <p:nvPr/>
            </p:nvSpPr>
            <p:spPr>
              <a:xfrm>
                <a:off x="10920989" y="2407533"/>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94" name="Freeform: Shape 893">
                <a:extLst>
                  <a:ext uri="{FF2B5EF4-FFF2-40B4-BE49-F238E27FC236}">
                    <a16:creationId xmlns:a16="http://schemas.microsoft.com/office/drawing/2014/main" id="{5F657AF7-CC6D-4C2C-98EF-5E494137242D}"/>
                  </a:ext>
                </a:extLst>
              </p:cNvPr>
              <p:cNvSpPr/>
              <p:nvPr/>
            </p:nvSpPr>
            <p:spPr>
              <a:xfrm>
                <a:off x="10686894" y="2412761"/>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95" name="Freeform: Shape 894">
                <a:extLst>
                  <a:ext uri="{FF2B5EF4-FFF2-40B4-BE49-F238E27FC236}">
                    <a16:creationId xmlns:a16="http://schemas.microsoft.com/office/drawing/2014/main" id="{53E4839B-58B9-45A1-BB73-8FBA5A34D47B}"/>
                  </a:ext>
                </a:extLst>
              </p:cNvPr>
              <p:cNvSpPr/>
              <p:nvPr/>
            </p:nvSpPr>
            <p:spPr>
              <a:xfrm>
                <a:off x="10452005" y="2417198"/>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96" name="Freeform: Shape 895">
                <a:extLst>
                  <a:ext uri="{FF2B5EF4-FFF2-40B4-BE49-F238E27FC236}">
                    <a16:creationId xmlns:a16="http://schemas.microsoft.com/office/drawing/2014/main" id="{7BE24FDA-25F0-4B00-9CE9-F80BBF28FB10}"/>
                  </a:ext>
                </a:extLst>
              </p:cNvPr>
              <p:cNvSpPr/>
              <p:nvPr/>
            </p:nvSpPr>
            <p:spPr>
              <a:xfrm>
                <a:off x="10217513" y="2422030"/>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97" name="Freeform: Shape 896">
                <a:extLst>
                  <a:ext uri="{FF2B5EF4-FFF2-40B4-BE49-F238E27FC236}">
                    <a16:creationId xmlns:a16="http://schemas.microsoft.com/office/drawing/2014/main" id="{228E3DE7-176A-40E7-A0C8-5D7676AD2795}"/>
                  </a:ext>
                </a:extLst>
              </p:cNvPr>
              <p:cNvSpPr/>
              <p:nvPr/>
            </p:nvSpPr>
            <p:spPr>
              <a:xfrm>
                <a:off x="9983021" y="2426863"/>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98" name="Freeform: Shape 897">
                <a:extLst>
                  <a:ext uri="{FF2B5EF4-FFF2-40B4-BE49-F238E27FC236}">
                    <a16:creationId xmlns:a16="http://schemas.microsoft.com/office/drawing/2014/main" id="{D5827C0C-696B-49B8-9B42-A1BBF4106EE1}"/>
                  </a:ext>
                </a:extLst>
              </p:cNvPr>
              <p:cNvSpPr/>
              <p:nvPr/>
            </p:nvSpPr>
            <p:spPr>
              <a:xfrm>
                <a:off x="9749401" y="2432487"/>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99" name="Freeform: Shape 898">
                <a:extLst>
                  <a:ext uri="{FF2B5EF4-FFF2-40B4-BE49-F238E27FC236}">
                    <a16:creationId xmlns:a16="http://schemas.microsoft.com/office/drawing/2014/main" id="{F4BE01A5-E11F-4D23-A5FC-3B5BE386A6A0}"/>
                  </a:ext>
                </a:extLst>
              </p:cNvPr>
              <p:cNvSpPr/>
              <p:nvPr/>
            </p:nvSpPr>
            <p:spPr>
              <a:xfrm>
                <a:off x="9514830" y="2437241"/>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900" name="Freeform: Shape 899">
                <a:extLst>
                  <a:ext uri="{FF2B5EF4-FFF2-40B4-BE49-F238E27FC236}">
                    <a16:creationId xmlns:a16="http://schemas.microsoft.com/office/drawing/2014/main" id="{B51E13F1-00AB-4730-9D8E-50EA5FD5F239}"/>
                  </a:ext>
                </a:extLst>
              </p:cNvPr>
              <p:cNvSpPr/>
              <p:nvPr/>
            </p:nvSpPr>
            <p:spPr>
              <a:xfrm>
                <a:off x="9280892" y="2442627"/>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847" name="Graphic 3">
              <a:extLst>
                <a:ext uri="{FF2B5EF4-FFF2-40B4-BE49-F238E27FC236}">
                  <a16:creationId xmlns:a16="http://schemas.microsoft.com/office/drawing/2014/main" id="{EE99C66A-E3AC-4545-8930-B99123D4F4C2}"/>
                </a:ext>
              </a:extLst>
            </p:cNvPr>
            <p:cNvGrpSpPr/>
            <p:nvPr/>
          </p:nvGrpSpPr>
          <p:grpSpPr>
            <a:xfrm>
              <a:off x="3442578" y="3247873"/>
              <a:ext cx="406928" cy="26971"/>
              <a:chOff x="9280892" y="2716333"/>
              <a:chExt cx="2259045" cy="149726"/>
            </a:xfrm>
            <a:grpFill/>
          </p:grpSpPr>
          <p:sp>
            <p:nvSpPr>
              <p:cNvPr id="881" name="Freeform: Shape 880">
                <a:extLst>
                  <a:ext uri="{FF2B5EF4-FFF2-40B4-BE49-F238E27FC236}">
                    <a16:creationId xmlns:a16="http://schemas.microsoft.com/office/drawing/2014/main" id="{0C7B94B0-5754-4C72-AAF0-E768AC48DBA6}"/>
                  </a:ext>
                </a:extLst>
              </p:cNvPr>
              <p:cNvSpPr/>
              <p:nvPr/>
            </p:nvSpPr>
            <p:spPr>
              <a:xfrm>
                <a:off x="11390211" y="2716333"/>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82" name="Freeform: Shape 881">
                <a:extLst>
                  <a:ext uri="{FF2B5EF4-FFF2-40B4-BE49-F238E27FC236}">
                    <a16:creationId xmlns:a16="http://schemas.microsoft.com/office/drawing/2014/main" id="{3354B234-C468-4722-B70B-DFC225499A4B}"/>
                  </a:ext>
                </a:extLst>
              </p:cNvPr>
              <p:cNvSpPr/>
              <p:nvPr/>
            </p:nvSpPr>
            <p:spPr>
              <a:xfrm>
                <a:off x="11155798" y="2721245"/>
                <a:ext cx="139903" cy="139902"/>
              </a:xfrm>
              <a:custGeom>
                <a:avLst/>
                <a:gdLst>
                  <a:gd name="connsiteX0" fmla="*/ 139903 w 139903"/>
                  <a:gd name="connsiteY0" fmla="*/ 69951 h 139902"/>
                  <a:gd name="connsiteX1" fmla="*/ 69952 w 139903"/>
                  <a:gd name="connsiteY1" fmla="*/ 139903 h 139902"/>
                  <a:gd name="connsiteX2" fmla="*/ 1 w 139903"/>
                  <a:gd name="connsiteY2" fmla="*/ 69951 h 139902"/>
                  <a:gd name="connsiteX3" fmla="*/ 69952 w 139903"/>
                  <a:gd name="connsiteY3" fmla="*/ 0 h 139902"/>
                  <a:gd name="connsiteX4" fmla="*/ 139903 w 139903"/>
                  <a:gd name="connsiteY4" fmla="*/ 69951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1"/>
                    </a:moveTo>
                    <a:cubicBezTo>
                      <a:pt x="139903" y="108585"/>
                      <a:pt x="108584" y="139903"/>
                      <a:pt x="69952" y="139903"/>
                    </a:cubicBezTo>
                    <a:cubicBezTo>
                      <a:pt x="31318" y="139903"/>
                      <a:pt x="1" y="108585"/>
                      <a:pt x="1" y="69951"/>
                    </a:cubicBezTo>
                    <a:cubicBezTo>
                      <a:pt x="1" y="31318"/>
                      <a:pt x="31319" y="0"/>
                      <a:pt x="69952" y="0"/>
                    </a:cubicBezTo>
                    <a:cubicBezTo>
                      <a:pt x="108585" y="0"/>
                      <a:pt x="139903" y="31318"/>
                      <a:pt x="139903" y="6995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83" name="Freeform: Shape 882">
                <a:extLst>
                  <a:ext uri="{FF2B5EF4-FFF2-40B4-BE49-F238E27FC236}">
                    <a16:creationId xmlns:a16="http://schemas.microsoft.com/office/drawing/2014/main" id="{6B250CC8-4722-4242-933A-524D5F86AE6B}"/>
                  </a:ext>
                </a:extLst>
              </p:cNvPr>
              <p:cNvSpPr/>
              <p:nvPr/>
            </p:nvSpPr>
            <p:spPr>
              <a:xfrm>
                <a:off x="10920989" y="2725681"/>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84" name="Freeform: Shape 883">
                <a:extLst>
                  <a:ext uri="{FF2B5EF4-FFF2-40B4-BE49-F238E27FC236}">
                    <a16:creationId xmlns:a16="http://schemas.microsoft.com/office/drawing/2014/main" id="{40016811-D78C-4E80-BAC7-28B15914AA8C}"/>
                  </a:ext>
                </a:extLst>
              </p:cNvPr>
              <p:cNvSpPr/>
              <p:nvPr/>
            </p:nvSpPr>
            <p:spPr>
              <a:xfrm>
                <a:off x="10686894" y="2730910"/>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85" name="Freeform: Shape 884">
                <a:extLst>
                  <a:ext uri="{FF2B5EF4-FFF2-40B4-BE49-F238E27FC236}">
                    <a16:creationId xmlns:a16="http://schemas.microsoft.com/office/drawing/2014/main" id="{DE85FDF0-9F47-41B4-91D6-153DD44CC9EE}"/>
                  </a:ext>
                </a:extLst>
              </p:cNvPr>
              <p:cNvSpPr/>
              <p:nvPr/>
            </p:nvSpPr>
            <p:spPr>
              <a:xfrm>
                <a:off x="10452005" y="2735346"/>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86" name="Freeform: Shape 885">
                <a:extLst>
                  <a:ext uri="{FF2B5EF4-FFF2-40B4-BE49-F238E27FC236}">
                    <a16:creationId xmlns:a16="http://schemas.microsoft.com/office/drawing/2014/main" id="{2FBD021A-2BCB-4701-866D-3330F05DF675}"/>
                  </a:ext>
                </a:extLst>
              </p:cNvPr>
              <p:cNvSpPr/>
              <p:nvPr/>
            </p:nvSpPr>
            <p:spPr>
              <a:xfrm>
                <a:off x="10217513" y="2740179"/>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87" name="Freeform: Shape 886">
                <a:extLst>
                  <a:ext uri="{FF2B5EF4-FFF2-40B4-BE49-F238E27FC236}">
                    <a16:creationId xmlns:a16="http://schemas.microsoft.com/office/drawing/2014/main" id="{6EDC2A91-0763-40AB-B242-8090713CB6A7}"/>
                  </a:ext>
                </a:extLst>
              </p:cNvPr>
              <p:cNvSpPr/>
              <p:nvPr/>
            </p:nvSpPr>
            <p:spPr>
              <a:xfrm>
                <a:off x="9983021" y="2745011"/>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88" name="Freeform: Shape 887">
                <a:extLst>
                  <a:ext uri="{FF2B5EF4-FFF2-40B4-BE49-F238E27FC236}">
                    <a16:creationId xmlns:a16="http://schemas.microsoft.com/office/drawing/2014/main" id="{04F76F92-0129-4B56-83D8-7848265A1698}"/>
                  </a:ext>
                </a:extLst>
              </p:cNvPr>
              <p:cNvSpPr/>
              <p:nvPr/>
            </p:nvSpPr>
            <p:spPr>
              <a:xfrm>
                <a:off x="9749401" y="2750636"/>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89" name="Freeform: Shape 888">
                <a:extLst>
                  <a:ext uri="{FF2B5EF4-FFF2-40B4-BE49-F238E27FC236}">
                    <a16:creationId xmlns:a16="http://schemas.microsoft.com/office/drawing/2014/main" id="{38521762-15B0-4385-8A11-8219E0EBDDB2}"/>
                  </a:ext>
                </a:extLst>
              </p:cNvPr>
              <p:cNvSpPr/>
              <p:nvPr/>
            </p:nvSpPr>
            <p:spPr>
              <a:xfrm>
                <a:off x="9514830" y="2755389"/>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90" name="Freeform: Shape 889">
                <a:extLst>
                  <a:ext uri="{FF2B5EF4-FFF2-40B4-BE49-F238E27FC236}">
                    <a16:creationId xmlns:a16="http://schemas.microsoft.com/office/drawing/2014/main" id="{E26FC8F1-3B5E-4E7F-9EF7-9AB81DC989D9}"/>
                  </a:ext>
                </a:extLst>
              </p:cNvPr>
              <p:cNvSpPr/>
              <p:nvPr/>
            </p:nvSpPr>
            <p:spPr>
              <a:xfrm>
                <a:off x="9280892" y="2760776"/>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848" name="Graphic 3">
              <a:extLst>
                <a:ext uri="{FF2B5EF4-FFF2-40B4-BE49-F238E27FC236}">
                  <a16:creationId xmlns:a16="http://schemas.microsoft.com/office/drawing/2014/main" id="{AE4A5BED-9F81-4FAA-A5C9-38416FF702A0}"/>
                </a:ext>
              </a:extLst>
            </p:cNvPr>
            <p:cNvGrpSpPr/>
            <p:nvPr/>
          </p:nvGrpSpPr>
          <p:grpSpPr>
            <a:xfrm>
              <a:off x="3442578" y="3305168"/>
              <a:ext cx="406928" cy="26971"/>
              <a:chOff x="9280892" y="3034403"/>
              <a:chExt cx="2259045" cy="149726"/>
            </a:xfrm>
            <a:grpFill/>
          </p:grpSpPr>
          <p:sp>
            <p:nvSpPr>
              <p:cNvPr id="871" name="Freeform: Shape 870">
                <a:extLst>
                  <a:ext uri="{FF2B5EF4-FFF2-40B4-BE49-F238E27FC236}">
                    <a16:creationId xmlns:a16="http://schemas.microsoft.com/office/drawing/2014/main" id="{55E64AA9-5648-4DE4-848B-786B57C83229}"/>
                  </a:ext>
                </a:extLst>
              </p:cNvPr>
              <p:cNvSpPr/>
              <p:nvPr/>
            </p:nvSpPr>
            <p:spPr>
              <a:xfrm>
                <a:off x="11390211" y="3034403"/>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72" name="Freeform: Shape 871">
                <a:extLst>
                  <a:ext uri="{FF2B5EF4-FFF2-40B4-BE49-F238E27FC236}">
                    <a16:creationId xmlns:a16="http://schemas.microsoft.com/office/drawing/2014/main" id="{674CBCBE-8762-4180-94AC-537452BC6E20}"/>
                  </a:ext>
                </a:extLst>
              </p:cNvPr>
              <p:cNvSpPr/>
              <p:nvPr/>
            </p:nvSpPr>
            <p:spPr>
              <a:xfrm>
                <a:off x="11155798" y="3039315"/>
                <a:ext cx="139903" cy="139902"/>
              </a:xfrm>
              <a:custGeom>
                <a:avLst/>
                <a:gdLst>
                  <a:gd name="connsiteX0" fmla="*/ 139903 w 139903"/>
                  <a:gd name="connsiteY0" fmla="*/ 69951 h 139902"/>
                  <a:gd name="connsiteX1" fmla="*/ 69952 w 139903"/>
                  <a:gd name="connsiteY1" fmla="*/ 139903 h 139902"/>
                  <a:gd name="connsiteX2" fmla="*/ 1 w 139903"/>
                  <a:gd name="connsiteY2" fmla="*/ 69951 h 139902"/>
                  <a:gd name="connsiteX3" fmla="*/ 69952 w 139903"/>
                  <a:gd name="connsiteY3" fmla="*/ 0 h 139902"/>
                  <a:gd name="connsiteX4" fmla="*/ 139903 w 139903"/>
                  <a:gd name="connsiteY4" fmla="*/ 69951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1"/>
                    </a:moveTo>
                    <a:cubicBezTo>
                      <a:pt x="139903" y="108585"/>
                      <a:pt x="108584" y="139903"/>
                      <a:pt x="69952" y="139903"/>
                    </a:cubicBezTo>
                    <a:cubicBezTo>
                      <a:pt x="31318" y="139903"/>
                      <a:pt x="1" y="108585"/>
                      <a:pt x="1" y="69951"/>
                    </a:cubicBezTo>
                    <a:cubicBezTo>
                      <a:pt x="1" y="31318"/>
                      <a:pt x="31319" y="0"/>
                      <a:pt x="69952" y="0"/>
                    </a:cubicBezTo>
                    <a:cubicBezTo>
                      <a:pt x="108585" y="0"/>
                      <a:pt x="139903" y="31318"/>
                      <a:pt x="139903" y="6995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73" name="Freeform: Shape 872">
                <a:extLst>
                  <a:ext uri="{FF2B5EF4-FFF2-40B4-BE49-F238E27FC236}">
                    <a16:creationId xmlns:a16="http://schemas.microsoft.com/office/drawing/2014/main" id="{9A92A685-D703-4B46-BF7C-4B860DAAA5F7}"/>
                  </a:ext>
                </a:extLst>
              </p:cNvPr>
              <p:cNvSpPr/>
              <p:nvPr/>
            </p:nvSpPr>
            <p:spPr>
              <a:xfrm>
                <a:off x="10920989" y="3043751"/>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74" name="Freeform: Shape 873">
                <a:extLst>
                  <a:ext uri="{FF2B5EF4-FFF2-40B4-BE49-F238E27FC236}">
                    <a16:creationId xmlns:a16="http://schemas.microsoft.com/office/drawing/2014/main" id="{57D65213-BEEC-400E-867E-378F96096CF7}"/>
                  </a:ext>
                </a:extLst>
              </p:cNvPr>
              <p:cNvSpPr/>
              <p:nvPr/>
            </p:nvSpPr>
            <p:spPr>
              <a:xfrm>
                <a:off x="10686894" y="3048979"/>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75" name="Freeform: Shape 874">
                <a:extLst>
                  <a:ext uri="{FF2B5EF4-FFF2-40B4-BE49-F238E27FC236}">
                    <a16:creationId xmlns:a16="http://schemas.microsoft.com/office/drawing/2014/main" id="{0868F4B7-BF31-499E-9575-07437D5A2974}"/>
                  </a:ext>
                </a:extLst>
              </p:cNvPr>
              <p:cNvSpPr/>
              <p:nvPr/>
            </p:nvSpPr>
            <p:spPr>
              <a:xfrm>
                <a:off x="10452005" y="3053416"/>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5"/>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76" name="Freeform: Shape 875">
                <a:extLst>
                  <a:ext uri="{FF2B5EF4-FFF2-40B4-BE49-F238E27FC236}">
                    <a16:creationId xmlns:a16="http://schemas.microsoft.com/office/drawing/2014/main" id="{22516630-C14B-4F3B-9E16-3CFEBE15CB15}"/>
                  </a:ext>
                </a:extLst>
              </p:cNvPr>
              <p:cNvSpPr/>
              <p:nvPr/>
            </p:nvSpPr>
            <p:spPr>
              <a:xfrm>
                <a:off x="10217513" y="3058248"/>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77" name="Freeform: Shape 876">
                <a:extLst>
                  <a:ext uri="{FF2B5EF4-FFF2-40B4-BE49-F238E27FC236}">
                    <a16:creationId xmlns:a16="http://schemas.microsoft.com/office/drawing/2014/main" id="{5D84E752-C519-4DB8-8B71-88C971A7FF08}"/>
                  </a:ext>
                </a:extLst>
              </p:cNvPr>
              <p:cNvSpPr/>
              <p:nvPr/>
            </p:nvSpPr>
            <p:spPr>
              <a:xfrm>
                <a:off x="9983021" y="3063081"/>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78" name="Freeform: Shape 877">
                <a:extLst>
                  <a:ext uri="{FF2B5EF4-FFF2-40B4-BE49-F238E27FC236}">
                    <a16:creationId xmlns:a16="http://schemas.microsoft.com/office/drawing/2014/main" id="{8FA7F92B-2A11-408C-B8B5-B926D5B07DF6}"/>
                  </a:ext>
                </a:extLst>
              </p:cNvPr>
              <p:cNvSpPr/>
              <p:nvPr/>
            </p:nvSpPr>
            <p:spPr>
              <a:xfrm>
                <a:off x="9749401" y="3068705"/>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79" name="Freeform: Shape 878">
                <a:extLst>
                  <a:ext uri="{FF2B5EF4-FFF2-40B4-BE49-F238E27FC236}">
                    <a16:creationId xmlns:a16="http://schemas.microsoft.com/office/drawing/2014/main" id="{412253DE-0A47-4D15-AD1D-1C66477DB2EC}"/>
                  </a:ext>
                </a:extLst>
              </p:cNvPr>
              <p:cNvSpPr/>
              <p:nvPr/>
            </p:nvSpPr>
            <p:spPr>
              <a:xfrm>
                <a:off x="9514830" y="3073458"/>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3"/>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80" name="Freeform: Shape 879">
                <a:extLst>
                  <a:ext uri="{FF2B5EF4-FFF2-40B4-BE49-F238E27FC236}">
                    <a16:creationId xmlns:a16="http://schemas.microsoft.com/office/drawing/2014/main" id="{FA5CE2FB-D1DA-4A52-AA1B-CAAFA30D96BC}"/>
                  </a:ext>
                </a:extLst>
              </p:cNvPr>
              <p:cNvSpPr/>
              <p:nvPr/>
            </p:nvSpPr>
            <p:spPr>
              <a:xfrm>
                <a:off x="9280892" y="3078845"/>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849" name="Graphic 3">
              <a:extLst>
                <a:ext uri="{FF2B5EF4-FFF2-40B4-BE49-F238E27FC236}">
                  <a16:creationId xmlns:a16="http://schemas.microsoft.com/office/drawing/2014/main" id="{F0AF8D7B-4764-49BF-8D5A-BFEEE403D842}"/>
                </a:ext>
              </a:extLst>
            </p:cNvPr>
            <p:cNvGrpSpPr/>
            <p:nvPr/>
          </p:nvGrpSpPr>
          <p:grpSpPr>
            <a:xfrm>
              <a:off x="3442578" y="3362477"/>
              <a:ext cx="406928" cy="26971"/>
              <a:chOff x="9280892" y="3352551"/>
              <a:chExt cx="2259045" cy="149726"/>
            </a:xfrm>
            <a:grpFill/>
          </p:grpSpPr>
          <p:sp>
            <p:nvSpPr>
              <p:cNvPr id="861" name="Freeform: Shape 860">
                <a:extLst>
                  <a:ext uri="{FF2B5EF4-FFF2-40B4-BE49-F238E27FC236}">
                    <a16:creationId xmlns:a16="http://schemas.microsoft.com/office/drawing/2014/main" id="{D8F3EE39-7421-4F8B-AF99-8FBADF9F48BA}"/>
                  </a:ext>
                </a:extLst>
              </p:cNvPr>
              <p:cNvSpPr/>
              <p:nvPr/>
            </p:nvSpPr>
            <p:spPr>
              <a:xfrm>
                <a:off x="11390211" y="3352551"/>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62" name="Freeform: Shape 861">
                <a:extLst>
                  <a:ext uri="{FF2B5EF4-FFF2-40B4-BE49-F238E27FC236}">
                    <a16:creationId xmlns:a16="http://schemas.microsoft.com/office/drawing/2014/main" id="{7593C23B-0582-4007-948A-55C08F40216B}"/>
                  </a:ext>
                </a:extLst>
              </p:cNvPr>
              <p:cNvSpPr/>
              <p:nvPr/>
            </p:nvSpPr>
            <p:spPr>
              <a:xfrm>
                <a:off x="11155798" y="3357463"/>
                <a:ext cx="139903" cy="139902"/>
              </a:xfrm>
              <a:custGeom>
                <a:avLst/>
                <a:gdLst>
                  <a:gd name="connsiteX0" fmla="*/ 139903 w 139903"/>
                  <a:gd name="connsiteY0" fmla="*/ 69952 h 139902"/>
                  <a:gd name="connsiteX1" fmla="*/ 69952 w 139903"/>
                  <a:gd name="connsiteY1" fmla="*/ 139903 h 139902"/>
                  <a:gd name="connsiteX2" fmla="*/ 1 w 139903"/>
                  <a:gd name="connsiteY2" fmla="*/ 69952 h 139902"/>
                  <a:gd name="connsiteX3" fmla="*/ 69952 w 139903"/>
                  <a:gd name="connsiteY3" fmla="*/ 0 h 139902"/>
                  <a:gd name="connsiteX4" fmla="*/ 139903 w 139903"/>
                  <a:gd name="connsiteY4" fmla="*/ 69952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2"/>
                    </a:moveTo>
                    <a:cubicBezTo>
                      <a:pt x="139903" y="108585"/>
                      <a:pt x="108584" y="139903"/>
                      <a:pt x="69952" y="139903"/>
                    </a:cubicBezTo>
                    <a:cubicBezTo>
                      <a:pt x="31318" y="139903"/>
                      <a:pt x="1" y="108585"/>
                      <a:pt x="1" y="69952"/>
                    </a:cubicBezTo>
                    <a:cubicBezTo>
                      <a:pt x="1" y="31318"/>
                      <a:pt x="31319" y="0"/>
                      <a:pt x="69952" y="0"/>
                    </a:cubicBezTo>
                    <a:cubicBezTo>
                      <a:pt x="108585" y="0"/>
                      <a:pt x="139903" y="31318"/>
                      <a:pt x="139903" y="69952"/>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63" name="Freeform: Shape 862">
                <a:extLst>
                  <a:ext uri="{FF2B5EF4-FFF2-40B4-BE49-F238E27FC236}">
                    <a16:creationId xmlns:a16="http://schemas.microsoft.com/office/drawing/2014/main" id="{66E78AD5-1C86-494F-A2E5-DBCE9BB7492F}"/>
                  </a:ext>
                </a:extLst>
              </p:cNvPr>
              <p:cNvSpPr/>
              <p:nvPr/>
            </p:nvSpPr>
            <p:spPr>
              <a:xfrm>
                <a:off x="10920989" y="3361899"/>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64" name="Freeform: Shape 863">
                <a:extLst>
                  <a:ext uri="{FF2B5EF4-FFF2-40B4-BE49-F238E27FC236}">
                    <a16:creationId xmlns:a16="http://schemas.microsoft.com/office/drawing/2014/main" id="{CC900ECF-ACB1-40B7-8979-9AF21280B90E}"/>
                  </a:ext>
                </a:extLst>
              </p:cNvPr>
              <p:cNvSpPr/>
              <p:nvPr/>
            </p:nvSpPr>
            <p:spPr>
              <a:xfrm>
                <a:off x="10686894" y="3367128"/>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65" name="Freeform: Shape 864">
                <a:extLst>
                  <a:ext uri="{FF2B5EF4-FFF2-40B4-BE49-F238E27FC236}">
                    <a16:creationId xmlns:a16="http://schemas.microsoft.com/office/drawing/2014/main" id="{EB99CE9E-BE35-4C68-A96B-03404A7D694C}"/>
                  </a:ext>
                </a:extLst>
              </p:cNvPr>
              <p:cNvSpPr/>
              <p:nvPr/>
            </p:nvSpPr>
            <p:spPr>
              <a:xfrm>
                <a:off x="10452005" y="3371564"/>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66" name="Freeform: Shape 865">
                <a:extLst>
                  <a:ext uri="{FF2B5EF4-FFF2-40B4-BE49-F238E27FC236}">
                    <a16:creationId xmlns:a16="http://schemas.microsoft.com/office/drawing/2014/main" id="{5B9A4005-2612-4392-90C1-159A734B1AF8}"/>
                  </a:ext>
                </a:extLst>
              </p:cNvPr>
              <p:cNvSpPr/>
              <p:nvPr/>
            </p:nvSpPr>
            <p:spPr>
              <a:xfrm>
                <a:off x="10217513" y="3376397"/>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67" name="Freeform: Shape 866">
                <a:extLst>
                  <a:ext uri="{FF2B5EF4-FFF2-40B4-BE49-F238E27FC236}">
                    <a16:creationId xmlns:a16="http://schemas.microsoft.com/office/drawing/2014/main" id="{A4333326-85A5-4013-9697-2CBE4C2D7CBA}"/>
                  </a:ext>
                </a:extLst>
              </p:cNvPr>
              <p:cNvSpPr/>
              <p:nvPr/>
            </p:nvSpPr>
            <p:spPr>
              <a:xfrm>
                <a:off x="9983021" y="3381229"/>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68" name="Freeform: Shape 867">
                <a:extLst>
                  <a:ext uri="{FF2B5EF4-FFF2-40B4-BE49-F238E27FC236}">
                    <a16:creationId xmlns:a16="http://schemas.microsoft.com/office/drawing/2014/main" id="{F8CDF5FA-83F6-4118-B1E0-A80018A906C0}"/>
                  </a:ext>
                </a:extLst>
              </p:cNvPr>
              <p:cNvSpPr/>
              <p:nvPr/>
            </p:nvSpPr>
            <p:spPr>
              <a:xfrm>
                <a:off x="9749401" y="3386854"/>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69" name="Freeform: Shape 868">
                <a:extLst>
                  <a:ext uri="{FF2B5EF4-FFF2-40B4-BE49-F238E27FC236}">
                    <a16:creationId xmlns:a16="http://schemas.microsoft.com/office/drawing/2014/main" id="{DC201D3F-3D33-443C-8561-EA484A60A63C}"/>
                  </a:ext>
                </a:extLst>
              </p:cNvPr>
              <p:cNvSpPr/>
              <p:nvPr/>
            </p:nvSpPr>
            <p:spPr>
              <a:xfrm>
                <a:off x="9514830" y="3391607"/>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70" name="Freeform: Shape 869">
                <a:extLst>
                  <a:ext uri="{FF2B5EF4-FFF2-40B4-BE49-F238E27FC236}">
                    <a16:creationId xmlns:a16="http://schemas.microsoft.com/office/drawing/2014/main" id="{CC438E6D-CACC-4285-8FB0-63920000A385}"/>
                  </a:ext>
                </a:extLst>
              </p:cNvPr>
              <p:cNvSpPr/>
              <p:nvPr/>
            </p:nvSpPr>
            <p:spPr>
              <a:xfrm>
                <a:off x="9280892" y="3396994"/>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850" name="Graphic 3">
              <a:extLst>
                <a:ext uri="{FF2B5EF4-FFF2-40B4-BE49-F238E27FC236}">
                  <a16:creationId xmlns:a16="http://schemas.microsoft.com/office/drawing/2014/main" id="{F6B284B2-06ED-4638-B6D4-A8CB65A13D68}"/>
                </a:ext>
              </a:extLst>
            </p:cNvPr>
            <p:cNvGrpSpPr/>
            <p:nvPr/>
          </p:nvGrpSpPr>
          <p:grpSpPr>
            <a:xfrm>
              <a:off x="3442578" y="3419786"/>
              <a:ext cx="406928" cy="26971"/>
              <a:chOff x="9280892" y="3670700"/>
              <a:chExt cx="2259045" cy="149726"/>
            </a:xfrm>
            <a:grpFill/>
          </p:grpSpPr>
          <p:sp>
            <p:nvSpPr>
              <p:cNvPr id="851" name="Freeform: Shape 850">
                <a:extLst>
                  <a:ext uri="{FF2B5EF4-FFF2-40B4-BE49-F238E27FC236}">
                    <a16:creationId xmlns:a16="http://schemas.microsoft.com/office/drawing/2014/main" id="{D74665F7-242E-4D72-A914-81931E4DA52D}"/>
                  </a:ext>
                </a:extLst>
              </p:cNvPr>
              <p:cNvSpPr/>
              <p:nvPr/>
            </p:nvSpPr>
            <p:spPr>
              <a:xfrm>
                <a:off x="11390211" y="3670700"/>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52" name="Freeform: Shape 851">
                <a:extLst>
                  <a:ext uri="{FF2B5EF4-FFF2-40B4-BE49-F238E27FC236}">
                    <a16:creationId xmlns:a16="http://schemas.microsoft.com/office/drawing/2014/main" id="{EE839912-E4EE-4792-B668-81855E369C81}"/>
                  </a:ext>
                </a:extLst>
              </p:cNvPr>
              <p:cNvSpPr/>
              <p:nvPr/>
            </p:nvSpPr>
            <p:spPr>
              <a:xfrm>
                <a:off x="11155798" y="3675612"/>
                <a:ext cx="139903" cy="139902"/>
              </a:xfrm>
              <a:custGeom>
                <a:avLst/>
                <a:gdLst>
                  <a:gd name="connsiteX0" fmla="*/ 139903 w 139903"/>
                  <a:gd name="connsiteY0" fmla="*/ 69952 h 139902"/>
                  <a:gd name="connsiteX1" fmla="*/ 69952 w 139903"/>
                  <a:gd name="connsiteY1" fmla="*/ 139903 h 139902"/>
                  <a:gd name="connsiteX2" fmla="*/ 1 w 139903"/>
                  <a:gd name="connsiteY2" fmla="*/ 69952 h 139902"/>
                  <a:gd name="connsiteX3" fmla="*/ 69952 w 139903"/>
                  <a:gd name="connsiteY3" fmla="*/ 0 h 139902"/>
                  <a:gd name="connsiteX4" fmla="*/ 139903 w 139903"/>
                  <a:gd name="connsiteY4" fmla="*/ 69952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2"/>
                    </a:moveTo>
                    <a:cubicBezTo>
                      <a:pt x="139903" y="108585"/>
                      <a:pt x="108584" y="139903"/>
                      <a:pt x="69952" y="139903"/>
                    </a:cubicBezTo>
                    <a:cubicBezTo>
                      <a:pt x="31318" y="139903"/>
                      <a:pt x="1" y="108585"/>
                      <a:pt x="1" y="69952"/>
                    </a:cubicBezTo>
                    <a:cubicBezTo>
                      <a:pt x="1" y="31318"/>
                      <a:pt x="31319" y="0"/>
                      <a:pt x="69952" y="0"/>
                    </a:cubicBezTo>
                    <a:cubicBezTo>
                      <a:pt x="108585" y="0"/>
                      <a:pt x="139903" y="31318"/>
                      <a:pt x="139903" y="69952"/>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53" name="Freeform: Shape 852">
                <a:extLst>
                  <a:ext uri="{FF2B5EF4-FFF2-40B4-BE49-F238E27FC236}">
                    <a16:creationId xmlns:a16="http://schemas.microsoft.com/office/drawing/2014/main" id="{26211CF2-7BC8-4856-94DC-36A126BB5F06}"/>
                  </a:ext>
                </a:extLst>
              </p:cNvPr>
              <p:cNvSpPr/>
              <p:nvPr/>
            </p:nvSpPr>
            <p:spPr>
              <a:xfrm>
                <a:off x="10920989" y="3680048"/>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54" name="Freeform: Shape 853">
                <a:extLst>
                  <a:ext uri="{FF2B5EF4-FFF2-40B4-BE49-F238E27FC236}">
                    <a16:creationId xmlns:a16="http://schemas.microsoft.com/office/drawing/2014/main" id="{C18C7884-33C7-4C9A-934D-A9EFF732649C}"/>
                  </a:ext>
                </a:extLst>
              </p:cNvPr>
              <p:cNvSpPr/>
              <p:nvPr/>
            </p:nvSpPr>
            <p:spPr>
              <a:xfrm>
                <a:off x="10686894" y="3685277"/>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55" name="Freeform: Shape 854">
                <a:extLst>
                  <a:ext uri="{FF2B5EF4-FFF2-40B4-BE49-F238E27FC236}">
                    <a16:creationId xmlns:a16="http://schemas.microsoft.com/office/drawing/2014/main" id="{90CAE67F-406A-4C43-B339-3F2DC84E8C9A}"/>
                  </a:ext>
                </a:extLst>
              </p:cNvPr>
              <p:cNvSpPr/>
              <p:nvPr/>
            </p:nvSpPr>
            <p:spPr>
              <a:xfrm>
                <a:off x="10452005" y="3689713"/>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56" name="Freeform: Shape 855">
                <a:extLst>
                  <a:ext uri="{FF2B5EF4-FFF2-40B4-BE49-F238E27FC236}">
                    <a16:creationId xmlns:a16="http://schemas.microsoft.com/office/drawing/2014/main" id="{8FC49EF8-8E49-4ADE-B401-24FE9D43395D}"/>
                  </a:ext>
                </a:extLst>
              </p:cNvPr>
              <p:cNvSpPr/>
              <p:nvPr/>
            </p:nvSpPr>
            <p:spPr>
              <a:xfrm>
                <a:off x="10217513" y="3694545"/>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57" name="Freeform: Shape 856">
                <a:extLst>
                  <a:ext uri="{FF2B5EF4-FFF2-40B4-BE49-F238E27FC236}">
                    <a16:creationId xmlns:a16="http://schemas.microsoft.com/office/drawing/2014/main" id="{D1A570CA-1611-422E-BA15-175A8EFFBB49}"/>
                  </a:ext>
                </a:extLst>
              </p:cNvPr>
              <p:cNvSpPr/>
              <p:nvPr/>
            </p:nvSpPr>
            <p:spPr>
              <a:xfrm>
                <a:off x="9983021" y="3699378"/>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58" name="Freeform: Shape 857">
                <a:extLst>
                  <a:ext uri="{FF2B5EF4-FFF2-40B4-BE49-F238E27FC236}">
                    <a16:creationId xmlns:a16="http://schemas.microsoft.com/office/drawing/2014/main" id="{84DD6F49-EFD8-4DE5-87B4-994E200A027E}"/>
                  </a:ext>
                </a:extLst>
              </p:cNvPr>
              <p:cNvSpPr/>
              <p:nvPr/>
            </p:nvSpPr>
            <p:spPr>
              <a:xfrm>
                <a:off x="9749401" y="3705002"/>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59" name="Freeform: Shape 858">
                <a:extLst>
                  <a:ext uri="{FF2B5EF4-FFF2-40B4-BE49-F238E27FC236}">
                    <a16:creationId xmlns:a16="http://schemas.microsoft.com/office/drawing/2014/main" id="{31379CD0-1EAD-4250-8253-F5E69D06E7BE}"/>
                  </a:ext>
                </a:extLst>
              </p:cNvPr>
              <p:cNvSpPr/>
              <p:nvPr/>
            </p:nvSpPr>
            <p:spPr>
              <a:xfrm>
                <a:off x="9514830" y="3709756"/>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860" name="Freeform: Shape 859">
                <a:extLst>
                  <a:ext uri="{FF2B5EF4-FFF2-40B4-BE49-F238E27FC236}">
                    <a16:creationId xmlns:a16="http://schemas.microsoft.com/office/drawing/2014/main" id="{7EFF348E-BEB9-437B-8DC2-2BAB461348BE}"/>
                  </a:ext>
                </a:extLst>
              </p:cNvPr>
              <p:cNvSpPr/>
              <p:nvPr/>
            </p:nvSpPr>
            <p:spPr>
              <a:xfrm>
                <a:off x="9280892" y="3715143"/>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sp>
        <p:nvSpPr>
          <p:cNvPr id="911" name="Freeform: Shape 910">
            <a:extLst>
              <a:ext uri="{FF2B5EF4-FFF2-40B4-BE49-F238E27FC236}">
                <a16:creationId xmlns:a16="http://schemas.microsoft.com/office/drawing/2014/main" id="{7C8E7695-92C0-4ACC-B219-03B583441628}"/>
              </a:ext>
            </a:extLst>
          </p:cNvPr>
          <p:cNvSpPr/>
          <p:nvPr/>
        </p:nvSpPr>
        <p:spPr>
          <a:xfrm>
            <a:off x="7177000" y="3603383"/>
            <a:ext cx="164023" cy="163975"/>
          </a:xfrm>
          <a:custGeom>
            <a:avLst/>
            <a:gdLst>
              <a:gd name="connsiteX0" fmla="*/ 0 w 4948808"/>
              <a:gd name="connsiteY0" fmla="*/ 412242 h 3203828"/>
              <a:gd name="connsiteX1" fmla="*/ 413385 w 4948808"/>
              <a:gd name="connsiteY1" fmla="*/ 0 h 3203828"/>
              <a:gd name="connsiteX2" fmla="*/ 4535519 w 4948808"/>
              <a:gd name="connsiteY2" fmla="*/ 0 h 3203828"/>
              <a:gd name="connsiteX3" fmla="*/ 4948809 w 4948808"/>
              <a:gd name="connsiteY3" fmla="*/ 412242 h 3203828"/>
              <a:gd name="connsiteX4" fmla="*/ 4948809 w 4948808"/>
              <a:gd name="connsiteY4" fmla="*/ 2791587 h 3203828"/>
              <a:gd name="connsiteX5" fmla="*/ 4535519 w 4948808"/>
              <a:gd name="connsiteY5" fmla="*/ 3203829 h 3203828"/>
              <a:gd name="connsiteX6" fmla="*/ 413385 w 4948808"/>
              <a:gd name="connsiteY6" fmla="*/ 3203829 h 3203828"/>
              <a:gd name="connsiteX7" fmla="*/ 95 w 4948808"/>
              <a:gd name="connsiteY7" fmla="*/ 2791587 h 3203828"/>
              <a:gd name="connsiteX8" fmla="*/ 95 w 4948808"/>
              <a:gd name="connsiteY8" fmla="*/ 412242 h 320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8808" h="3203828">
                <a:moveTo>
                  <a:pt x="0" y="412242"/>
                </a:moveTo>
                <a:cubicBezTo>
                  <a:pt x="0" y="184594"/>
                  <a:pt x="185071" y="0"/>
                  <a:pt x="413385" y="0"/>
                </a:cubicBezTo>
                <a:lnTo>
                  <a:pt x="4535519" y="0"/>
                </a:lnTo>
                <a:cubicBezTo>
                  <a:pt x="4763738" y="0"/>
                  <a:pt x="4948809" y="184594"/>
                  <a:pt x="4948809" y="412242"/>
                </a:cubicBezTo>
                <a:lnTo>
                  <a:pt x="4948809" y="2791587"/>
                </a:lnTo>
                <a:cubicBezTo>
                  <a:pt x="4948809" y="3019235"/>
                  <a:pt x="4763738" y="3203829"/>
                  <a:pt x="4535519" y="3203829"/>
                </a:cubicBezTo>
                <a:lnTo>
                  <a:pt x="413385" y="3203829"/>
                </a:lnTo>
                <a:cubicBezTo>
                  <a:pt x="185166" y="3203829"/>
                  <a:pt x="95" y="3019235"/>
                  <a:pt x="95" y="2791587"/>
                </a:cubicBezTo>
                <a:lnTo>
                  <a:pt x="95" y="412242"/>
                </a:lnTo>
                <a:close/>
              </a:path>
            </a:pathLst>
          </a:custGeom>
          <a:noFill/>
          <a:ln w="7144" cap="flat">
            <a:solidFill>
              <a:srgbClr val="6EBE4A"/>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912" name="Freeform: Shape 911">
            <a:extLst>
              <a:ext uri="{FF2B5EF4-FFF2-40B4-BE49-F238E27FC236}">
                <a16:creationId xmlns:a16="http://schemas.microsoft.com/office/drawing/2014/main" id="{CDBD23EB-6B8F-4F16-8AE3-523791C84220}"/>
              </a:ext>
            </a:extLst>
          </p:cNvPr>
          <p:cNvSpPr/>
          <p:nvPr/>
        </p:nvSpPr>
        <p:spPr>
          <a:xfrm>
            <a:off x="7273825" y="3676480"/>
            <a:ext cx="139342" cy="139303"/>
          </a:xfrm>
          <a:custGeom>
            <a:avLst/>
            <a:gdLst>
              <a:gd name="connsiteX0" fmla="*/ 0 w 4948808"/>
              <a:gd name="connsiteY0" fmla="*/ 412242 h 3203828"/>
              <a:gd name="connsiteX1" fmla="*/ 413385 w 4948808"/>
              <a:gd name="connsiteY1" fmla="*/ 0 h 3203828"/>
              <a:gd name="connsiteX2" fmla="*/ 4535519 w 4948808"/>
              <a:gd name="connsiteY2" fmla="*/ 0 h 3203828"/>
              <a:gd name="connsiteX3" fmla="*/ 4948809 w 4948808"/>
              <a:gd name="connsiteY3" fmla="*/ 412242 h 3203828"/>
              <a:gd name="connsiteX4" fmla="*/ 4948809 w 4948808"/>
              <a:gd name="connsiteY4" fmla="*/ 2791587 h 3203828"/>
              <a:gd name="connsiteX5" fmla="*/ 4535519 w 4948808"/>
              <a:gd name="connsiteY5" fmla="*/ 3203829 h 3203828"/>
              <a:gd name="connsiteX6" fmla="*/ 413385 w 4948808"/>
              <a:gd name="connsiteY6" fmla="*/ 3203829 h 3203828"/>
              <a:gd name="connsiteX7" fmla="*/ 95 w 4948808"/>
              <a:gd name="connsiteY7" fmla="*/ 2791587 h 3203828"/>
              <a:gd name="connsiteX8" fmla="*/ 95 w 4948808"/>
              <a:gd name="connsiteY8" fmla="*/ 412242 h 320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8808" h="3203828">
                <a:moveTo>
                  <a:pt x="0" y="412242"/>
                </a:moveTo>
                <a:cubicBezTo>
                  <a:pt x="0" y="184594"/>
                  <a:pt x="185071" y="0"/>
                  <a:pt x="413385" y="0"/>
                </a:cubicBezTo>
                <a:lnTo>
                  <a:pt x="4535519" y="0"/>
                </a:lnTo>
                <a:cubicBezTo>
                  <a:pt x="4763738" y="0"/>
                  <a:pt x="4948809" y="184594"/>
                  <a:pt x="4948809" y="412242"/>
                </a:cubicBezTo>
                <a:lnTo>
                  <a:pt x="4948809" y="2791587"/>
                </a:lnTo>
                <a:cubicBezTo>
                  <a:pt x="4948809" y="3019235"/>
                  <a:pt x="4763738" y="3203829"/>
                  <a:pt x="4535519" y="3203829"/>
                </a:cubicBezTo>
                <a:lnTo>
                  <a:pt x="413385" y="3203829"/>
                </a:lnTo>
                <a:cubicBezTo>
                  <a:pt x="185166" y="3203829"/>
                  <a:pt x="95" y="3019235"/>
                  <a:pt x="95" y="2791587"/>
                </a:cubicBezTo>
                <a:lnTo>
                  <a:pt x="95" y="412242"/>
                </a:lnTo>
                <a:close/>
              </a:path>
            </a:pathLst>
          </a:custGeom>
          <a:noFill/>
          <a:ln w="7144" cap="flat">
            <a:solidFill>
              <a:srgbClr val="6EBE4A"/>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nvGrpSpPr>
          <p:cNvPr id="913" name="Group 912">
            <a:extLst>
              <a:ext uri="{FF2B5EF4-FFF2-40B4-BE49-F238E27FC236}">
                <a16:creationId xmlns:a16="http://schemas.microsoft.com/office/drawing/2014/main" id="{E7265B85-FF04-4712-9414-2F4B6D4FB0B1}"/>
              </a:ext>
            </a:extLst>
          </p:cNvPr>
          <p:cNvGrpSpPr/>
          <p:nvPr/>
        </p:nvGrpSpPr>
        <p:grpSpPr>
          <a:xfrm rot="2678579">
            <a:off x="6976596" y="3002530"/>
            <a:ext cx="322553" cy="571727"/>
            <a:chOff x="8288242" y="2488354"/>
            <a:chExt cx="1927860" cy="3417146"/>
          </a:xfrm>
          <a:solidFill>
            <a:srgbClr val="6EBE4A"/>
          </a:solidFill>
        </p:grpSpPr>
        <p:sp>
          <p:nvSpPr>
            <p:cNvPr id="914" name="Oval 913">
              <a:extLst>
                <a:ext uri="{FF2B5EF4-FFF2-40B4-BE49-F238E27FC236}">
                  <a16:creationId xmlns:a16="http://schemas.microsoft.com/office/drawing/2014/main" id="{704DC562-084B-4691-A8B9-4784E3539008}"/>
                </a:ext>
              </a:extLst>
            </p:cNvPr>
            <p:cNvSpPr/>
            <p:nvPr/>
          </p:nvSpPr>
          <p:spPr>
            <a:xfrm>
              <a:off x="879116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15" name="Oval 914">
              <a:extLst>
                <a:ext uri="{FF2B5EF4-FFF2-40B4-BE49-F238E27FC236}">
                  <a16:creationId xmlns:a16="http://schemas.microsoft.com/office/drawing/2014/main" id="{401B623D-FB17-46D9-B56E-9F3663C1EB7B}"/>
                </a:ext>
              </a:extLst>
            </p:cNvPr>
            <p:cNvSpPr/>
            <p:nvPr/>
          </p:nvSpPr>
          <p:spPr>
            <a:xfrm>
              <a:off x="904262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16" name="Oval 915">
              <a:extLst>
                <a:ext uri="{FF2B5EF4-FFF2-40B4-BE49-F238E27FC236}">
                  <a16:creationId xmlns:a16="http://schemas.microsoft.com/office/drawing/2014/main" id="{57D1115E-5300-461B-AA7D-708B92940FEA}"/>
                </a:ext>
              </a:extLst>
            </p:cNvPr>
            <p:cNvSpPr/>
            <p:nvPr/>
          </p:nvSpPr>
          <p:spPr>
            <a:xfrm>
              <a:off x="929408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17" name="Oval 916">
              <a:extLst>
                <a:ext uri="{FF2B5EF4-FFF2-40B4-BE49-F238E27FC236}">
                  <a16:creationId xmlns:a16="http://schemas.microsoft.com/office/drawing/2014/main" id="{CB2CE2DF-8F5F-494E-8C54-7DB7FE549031}"/>
                </a:ext>
              </a:extLst>
            </p:cNvPr>
            <p:cNvSpPr/>
            <p:nvPr/>
          </p:nvSpPr>
          <p:spPr>
            <a:xfrm>
              <a:off x="879116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18" name="Oval 917">
              <a:extLst>
                <a:ext uri="{FF2B5EF4-FFF2-40B4-BE49-F238E27FC236}">
                  <a16:creationId xmlns:a16="http://schemas.microsoft.com/office/drawing/2014/main" id="{0A06A54A-9E18-46DD-9CC1-3EE4C330CC11}"/>
                </a:ext>
              </a:extLst>
            </p:cNvPr>
            <p:cNvSpPr/>
            <p:nvPr/>
          </p:nvSpPr>
          <p:spPr>
            <a:xfrm>
              <a:off x="904262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19" name="Oval 918">
              <a:extLst>
                <a:ext uri="{FF2B5EF4-FFF2-40B4-BE49-F238E27FC236}">
                  <a16:creationId xmlns:a16="http://schemas.microsoft.com/office/drawing/2014/main" id="{9741B471-E63B-4264-8181-80CB3814E3BF}"/>
                </a:ext>
              </a:extLst>
            </p:cNvPr>
            <p:cNvSpPr/>
            <p:nvPr/>
          </p:nvSpPr>
          <p:spPr>
            <a:xfrm>
              <a:off x="929408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20" name="Oval 919">
              <a:extLst>
                <a:ext uri="{FF2B5EF4-FFF2-40B4-BE49-F238E27FC236}">
                  <a16:creationId xmlns:a16="http://schemas.microsoft.com/office/drawing/2014/main" id="{A9FD5F60-B2D3-4A1E-BADF-3E1F51631594}"/>
                </a:ext>
              </a:extLst>
            </p:cNvPr>
            <p:cNvSpPr/>
            <p:nvPr/>
          </p:nvSpPr>
          <p:spPr>
            <a:xfrm>
              <a:off x="879116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21" name="Oval 920">
              <a:extLst>
                <a:ext uri="{FF2B5EF4-FFF2-40B4-BE49-F238E27FC236}">
                  <a16:creationId xmlns:a16="http://schemas.microsoft.com/office/drawing/2014/main" id="{1CB01D6E-AE6E-4FCB-B0FE-585E776841A3}"/>
                </a:ext>
              </a:extLst>
            </p:cNvPr>
            <p:cNvSpPr/>
            <p:nvPr/>
          </p:nvSpPr>
          <p:spPr>
            <a:xfrm>
              <a:off x="904262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22" name="Oval 921">
              <a:extLst>
                <a:ext uri="{FF2B5EF4-FFF2-40B4-BE49-F238E27FC236}">
                  <a16:creationId xmlns:a16="http://schemas.microsoft.com/office/drawing/2014/main" id="{AC3070EA-C058-47FB-B759-9BDBFAAE5044}"/>
                </a:ext>
              </a:extLst>
            </p:cNvPr>
            <p:cNvSpPr/>
            <p:nvPr/>
          </p:nvSpPr>
          <p:spPr>
            <a:xfrm>
              <a:off x="929408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nvGrpSpPr>
            <p:cNvPr id="923" name="Group 922">
              <a:extLst>
                <a:ext uri="{FF2B5EF4-FFF2-40B4-BE49-F238E27FC236}">
                  <a16:creationId xmlns:a16="http://schemas.microsoft.com/office/drawing/2014/main" id="{B9CCB681-D20B-4411-AF2D-71C425284D5C}"/>
                </a:ext>
              </a:extLst>
            </p:cNvPr>
            <p:cNvGrpSpPr/>
            <p:nvPr/>
          </p:nvGrpSpPr>
          <p:grpSpPr>
            <a:xfrm>
              <a:off x="9545542" y="5234940"/>
              <a:ext cx="670560" cy="670560"/>
              <a:chOff x="3208242" y="4511040"/>
              <a:chExt cx="670560" cy="670560"/>
            </a:xfrm>
            <a:grpFill/>
          </p:grpSpPr>
          <p:sp>
            <p:nvSpPr>
              <p:cNvPr id="965" name="Oval 964">
                <a:extLst>
                  <a:ext uri="{FF2B5EF4-FFF2-40B4-BE49-F238E27FC236}">
                    <a16:creationId xmlns:a16="http://schemas.microsoft.com/office/drawing/2014/main" id="{53812B9A-25EE-442B-B9AD-8C408090C0FC}"/>
                  </a:ext>
                </a:extLst>
              </p:cNvPr>
              <p:cNvSpPr/>
              <p:nvPr/>
            </p:nvSpPr>
            <p:spPr>
              <a:xfrm>
                <a:off x="320824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66" name="Oval 965">
                <a:extLst>
                  <a:ext uri="{FF2B5EF4-FFF2-40B4-BE49-F238E27FC236}">
                    <a16:creationId xmlns:a16="http://schemas.microsoft.com/office/drawing/2014/main" id="{B66BA590-6299-436B-9AEC-16919EC3DB16}"/>
                  </a:ext>
                </a:extLst>
              </p:cNvPr>
              <p:cNvSpPr/>
              <p:nvPr/>
            </p:nvSpPr>
            <p:spPr>
              <a:xfrm>
                <a:off x="345970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67" name="Oval 966">
                <a:extLst>
                  <a:ext uri="{FF2B5EF4-FFF2-40B4-BE49-F238E27FC236}">
                    <a16:creationId xmlns:a16="http://schemas.microsoft.com/office/drawing/2014/main" id="{60CBDF96-D11A-4FA4-A162-243F60652D6F}"/>
                  </a:ext>
                </a:extLst>
              </p:cNvPr>
              <p:cNvSpPr/>
              <p:nvPr/>
            </p:nvSpPr>
            <p:spPr>
              <a:xfrm>
                <a:off x="371116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68" name="Oval 967">
                <a:extLst>
                  <a:ext uri="{FF2B5EF4-FFF2-40B4-BE49-F238E27FC236}">
                    <a16:creationId xmlns:a16="http://schemas.microsoft.com/office/drawing/2014/main" id="{153517CA-EFFE-43A1-A610-C184BAEDDDB9}"/>
                  </a:ext>
                </a:extLst>
              </p:cNvPr>
              <p:cNvSpPr/>
              <p:nvPr/>
            </p:nvSpPr>
            <p:spPr>
              <a:xfrm>
                <a:off x="320824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69" name="Oval 968">
                <a:extLst>
                  <a:ext uri="{FF2B5EF4-FFF2-40B4-BE49-F238E27FC236}">
                    <a16:creationId xmlns:a16="http://schemas.microsoft.com/office/drawing/2014/main" id="{6652731E-F23B-4DB2-8B86-3F49E8685AAB}"/>
                  </a:ext>
                </a:extLst>
              </p:cNvPr>
              <p:cNvSpPr/>
              <p:nvPr/>
            </p:nvSpPr>
            <p:spPr>
              <a:xfrm>
                <a:off x="345970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70" name="Oval 969">
                <a:extLst>
                  <a:ext uri="{FF2B5EF4-FFF2-40B4-BE49-F238E27FC236}">
                    <a16:creationId xmlns:a16="http://schemas.microsoft.com/office/drawing/2014/main" id="{F0CCC6A9-33B2-48A4-811D-8520B1DA6A17}"/>
                  </a:ext>
                </a:extLst>
              </p:cNvPr>
              <p:cNvSpPr/>
              <p:nvPr/>
            </p:nvSpPr>
            <p:spPr>
              <a:xfrm>
                <a:off x="371116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71" name="Oval 970">
                <a:extLst>
                  <a:ext uri="{FF2B5EF4-FFF2-40B4-BE49-F238E27FC236}">
                    <a16:creationId xmlns:a16="http://schemas.microsoft.com/office/drawing/2014/main" id="{2D0A862A-4B6C-4A58-BE66-8DB12E19ED38}"/>
                  </a:ext>
                </a:extLst>
              </p:cNvPr>
              <p:cNvSpPr/>
              <p:nvPr/>
            </p:nvSpPr>
            <p:spPr>
              <a:xfrm>
                <a:off x="320824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72" name="Oval 971">
                <a:extLst>
                  <a:ext uri="{FF2B5EF4-FFF2-40B4-BE49-F238E27FC236}">
                    <a16:creationId xmlns:a16="http://schemas.microsoft.com/office/drawing/2014/main" id="{95409606-6303-4E71-A37A-A425918C2D58}"/>
                  </a:ext>
                </a:extLst>
              </p:cNvPr>
              <p:cNvSpPr/>
              <p:nvPr/>
            </p:nvSpPr>
            <p:spPr>
              <a:xfrm>
                <a:off x="345970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73" name="Oval 972">
                <a:extLst>
                  <a:ext uri="{FF2B5EF4-FFF2-40B4-BE49-F238E27FC236}">
                    <a16:creationId xmlns:a16="http://schemas.microsoft.com/office/drawing/2014/main" id="{2EBA7178-7DF2-43A8-AADB-1B3B781B52EA}"/>
                  </a:ext>
                </a:extLst>
              </p:cNvPr>
              <p:cNvSpPr/>
              <p:nvPr/>
            </p:nvSpPr>
            <p:spPr>
              <a:xfrm>
                <a:off x="371116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grpSp>
          <p:nvGrpSpPr>
            <p:cNvPr id="924" name="Group 923">
              <a:extLst>
                <a:ext uri="{FF2B5EF4-FFF2-40B4-BE49-F238E27FC236}">
                  <a16:creationId xmlns:a16="http://schemas.microsoft.com/office/drawing/2014/main" id="{E5C4B560-47E8-4886-8EBD-0C1E95162658}"/>
                </a:ext>
              </a:extLst>
            </p:cNvPr>
            <p:cNvGrpSpPr/>
            <p:nvPr/>
          </p:nvGrpSpPr>
          <p:grpSpPr>
            <a:xfrm>
              <a:off x="9545542" y="4485640"/>
              <a:ext cx="670560" cy="670560"/>
              <a:chOff x="3208242" y="4511040"/>
              <a:chExt cx="670560" cy="670560"/>
            </a:xfrm>
            <a:grpFill/>
          </p:grpSpPr>
          <p:sp>
            <p:nvSpPr>
              <p:cNvPr id="956" name="Oval 955">
                <a:extLst>
                  <a:ext uri="{FF2B5EF4-FFF2-40B4-BE49-F238E27FC236}">
                    <a16:creationId xmlns:a16="http://schemas.microsoft.com/office/drawing/2014/main" id="{073F0E18-81A6-49F6-B4B3-E5854BBD467D}"/>
                  </a:ext>
                </a:extLst>
              </p:cNvPr>
              <p:cNvSpPr/>
              <p:nvPr/>
            </p:nvSpPr>
            <p:spPr>
              <a:xfrm>
                <a:off x="320824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57" name="Oval 956">
                <a:extLst>
                  <a:ext uri="{FF2B5EF4-FFF2-40B4-BE49-F238E27FC236}">
                    <a16:creationId xmlns:a16="http://schemas.microsoft.com/office/drawing/2014/main" id="{CCC1EDC5-E2BE-4D66-9186-AE23784F4D9A}"/>
                  </a:ext>
                </a:extLst>
              </p:cNvPr>
              <p:cNvSpPr/>
              <p:nvPr/>
            </p:nvSpPr>
            <p:spPr>
              <a:xfrm>
                <a:off x="345970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58" name="Oval 957">
                <a:extLst>
                  <a:ext uri="{FF2B5EF4-FFF2-40B4-BE49-F238E27FC236}">
                    <a16:creationId xmlns:a16="http://schemas.microsoft.com/office/drawing/2014/main" id="{11DC9423-5163-488C-93DE-7B01CA1970C1}"/>
                  </a:ext>
                </a:extLst>
              </p:cNvPr>
              <p:cNvSpPr/>
              <p:nvPr/>
            </p:nvSpPr>
            <p:spPr>
              <a:xfrm>
                <a:off x="371116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59" name="Oval 958">
                <a:extLst>
                  <a:ext uri="{FF2B5EF4-FFF2-40B4-BE49-F238E27FC236}">
                    <a16:creationId xmlns:a16="http://schemas.microsoft.com/office/drawing/2014/main" id="{D587D3B1-2508-4C3E-B873-00036DDB4D68}"/>
                  </a:ext>
                </a:extLst>
              </p:cNvPr>
              <p:cNvSpPr/>
              <p:nvPr/>
            </p:nvSpPr>
            <p:spPr>
              <a:xfrm>
                <a:off x="320824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60" name="Oval 959">
                <a:extLst>
                  <a:ext uri="{FF2B5EF4-FFF2-40B4-BE49-F238E27FC236}">
                    <a16:creationId xmlns:a16="http://schemas.microsoft.com/office/drawing/2014/main" id="{FFA561CB-1CBB-45AE-ABB3-A90B2499AA5A}"/>
                  </a:ext>
                </a:extLst>
              </p:cNvPr>
              <p:cNvSpPr/>
              <p:nvPr/>
            </p:nvSpPr>
            <p:spPr>
              <a:xfrm>
                <a:off x="345970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61" name="Oval 960">
                <a:extLst>
                  <a:ext uri="{FF2B5EF4-FFF2-40B4-BE49-F238E27FC236}">
                    <a16:creationId xmlns:a16="http://schemas.microsoft.com/office/drawing/2014/main" id="{F8BBC00E-C140-4D52-AABF-B1F4485FE827}"/>
                  </a:ext>
                </a:extLst>
              </p:cNvPr>
              <p:cNvSpPr/>
              <p:nvPr/>
            </p:nvSpPr>
            <p:spPr>
              <a:xfrm>
                <a:off x="371116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62" name="Oval 961">
                <a:extLst>
                  <a:ext uri="{FF2B5EF4-FFF2-40B4-BE49-F238E27FC236}">
                    <a16:creationId xmlns:a16="http://schemas.microsoft.com/office/drawing/2014/main" id="{DCAC7961-AB7F-48D8-9856-75B85CD447F3}"/>
                  </a:ext>
                </a:extLst>
              </p:cNvPr>
              <p:cNvSpPr/>
              <p:nvPr/>
            </p:nvSpPr>
            <p:spPr>
              <a:xfrm>
                <a:off x="320824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63" name="Oval 962">
                <a:extLst>
                  <a:ext uri="{FF2B5EF4-FFF2-40B4-BE49-F238E27FC236}">
                    <a16:creationId xmlns:a16="http://schemas.microsoft.com/office/drawing/2014/main" id="{A2C8803A-4B99-4304-9FCD-1F45B5023231}"/>
                  </a:ext>
                </a:extLst>
              </p:cNvPr>
              <p:cNvSpPr/>
              <p:nvPr/>
            </p:nvSpPr>
            <p:spPr>
              <a:xfrm>
                <a:off x="345970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64" name="Oval 963">
                <a:extLst>
                  <a:ext uri="{FF2B5EF4-FFF2-40B4-BE49-F238E27FC236}">
                    <a16:creationId xmlns:a16="http://schemas.microsoft.com/office/drawing/2014/main" id="{8DBAA40D-77AF-4DE1-B8B4-631CBF4460E9}"/>
                  </a:ext>
                </a:extLst>
              </p:cNvPr>
              <p:cNvSpPr/>
              <p:nvPr/>
            </p:nvSpPr>
            <p:spPr>
              <a:xfrm>
                <a:off x="371116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grpSp>
          <p:nvGrpSpPr>
            <p:cNvPr id="925" name="Group 924">
              <a:extLst>
                <a:ext uri="{FF2B5EF4-FFF2-40B4-BE49-F238E27FC236}">
                  <a16:creationId xmlns:a16="http://schemas.microsoft.com/office/drawing/2014/main" id="{B299EAA6-A9D9-4570-AC7C-DC39FB8733EC}"/>
                </a:ext>
              </a:extLst>
            </p:cNvPr>
            <p:cNvGrpSpPr/>
            <p:nvPr/>
          </p:nvGrpSpPr>
          <p:grpSpPr>
            <a:xfrm>
              <a:off x="9545542" y="3736340"/>
              <a:ext cx="670560" cy="670560"/>
              <a:chOff x="3208242" y="4511040"/>
              <a:chExt cx="670560" cy="670560"/>
            </a:xfrm>
            <a:grpFill/>
          </p:grpSpPr>
          <p:sp>
            <p:nvSpPr>
              <p:cNvPr id="947" name="Oval 946">
                <a:extLst>
                  <a:ext uri="{FF2B5EF4-FFF2-40B4-BE49-F238E27FC236}">
                    <a16:creationId xmlns:a16="http://schemas.microsoft.com/office/drawing/2014/main" id="{93EC2D72-E729-462F-8462-9E9D6F74D099}"/>
                  </a:ext>
                </a:extLst>
              </p:cNvPr>
              <p:cNvSpPr/>
              <p:nvPr/>
            </p:nvSpPr>
            <p:spPr>
              <a:xfrm>
                <a:off x="320824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48" name="Oval 947">
                <a:extLst>
                  <a:ext uri="{FF2B5EF4-FFF2-40B4-BE49-F238E27FC236}">
                    <a16:creationId xmlns:a16="http://schemas.microsoft.com/office/drawing/2014/main" id="{C233EB31-1AEA-44EA-AC33-E3C2BB1233A2}"/>
                  </a:ext>
                </a:extLst>
              </p:cNvPr>
              <p:cNvSpPr/>
              <p:nvPr/>
            </p:nvSpPr>
            <p:spPr>
              <a:xfrm>
                <a:off x="345970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49" name="Oval 948">
                <a:extLst>
                  <a:ext uri="{FF2B5EF4-FFF2-40B4-BE49-F238E27FC236}">
                    <a16:creationId xmlns:a16="http://schemas.microsoft.com/office/drawing/2014/main" id="{1DFE3B53-E0D9-4D4C-8220-41BD22674AED}"/>
                  </a:ext>
                </a:extLst>
              </p:cNvPr>
              <p:cNvSpPr/>
              <p:nvPr/>
            </p:nvSpPr>
            <p:spPr>
              <a:xfrm>
                <a:off x="371116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50" name="Oval 949">
                <a:extLst>
                  <a:ext uri="{FF2B5EF4-FFF2-40B4-BE49-F238E27FC236}">
                    <a16:creationId xmlns:a16="http://schemas.microsoft.com/office/drawing/2014/main" id="{235373AD-3F9E-41BA-BF7E-F572DD97ACF9}"/>
                  </a:ext>
                </a:extLst>
              </p:cNvPr>
              <p:cNvSpPr/>
              <p:nvPr/>
            </p:nvSpPr>
            <p:spPr>
              <a:xfrm>
                <a:off x="320824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51" name="Oval 950">
                <a:extLst>
                  <a:ext uri="{FF2B5EF4-FFF2-40B4-BE49-F238E27FC236}">
                    <a16:creationId xmlns:a16="http://schemas.microsoft.com/office/drawing/2014/main" id="{DBDE6AFB-BE16-4E2A-85B8-4A4162F32846}"/>
                  </a:ext>
                </a:extLst>
              </p:cNvPr>
              <p:cNvSpPr/>
              <p:nvPr/>
            </p:nvSpPr>
            <p:spPr>
              <a:xfrm>
                <a:off x="345970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52" name="Oval 951">
                <a:extLst>
                  <a:ext uri="{FF2B5EF4-FFF2-40B4-BE49-F238E27FC236}">
                    <a16:creationId xmlns:a16="http://schemas.microsoft.com/office/drawing/2014/main" id="{63BB8BD0-3615-46D7-A1D4-058712341DE9}"/>
                  </a:ext>
                </a:extLst>
              </p:cNvPr>
              <p:cNvSpPr/>
              <p:nvPr/>
            </p:nvSpPr>
            <p:spPr>
              <a:xfrm>
                <a:off x="371116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53" name="Oval 952">
                <a:extLst>
                  <a:ext uri="{FF2B5EF4-FFF2-40B4-BE49-F238E27FC236}">
                    <a16:creationId xmlns:a16="http://schemas.microsoft.com/office/drawing/2014/main" id="{6D9461FC-2B05-4A97-94B2-DF4F5EDA68C9}"/>
                  </a:ext>
                </a:extLst>
              </p:cNvPr>
              <p:cNvSpPr/>
              <p:nvPr/>
            </p:nvSpPr>
            <p:spPr>
              <a:xfrm>
                <a:off x="320824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54" name="Oval 953">
                <a:extLst>
                  <a:ext uri="{FF2B5EF4-FFF2-40B4-BE49-F238E27FC236}">
                    <a16:creationId xmlns:a16="http://schemas.microsoft.com/office/drawing/2014/main" id="{BC256724-825A-4207-AD72-6B5A06A65248}"/>
                  </a:ext>
                </a:extLst>
              </p:cNvPr>
              <p:cNvSpPr/>
              <p:nvPr/>
            </p:nvSpPr>
            <p:spPr>
              <a:xfrm>
                <a:off x="345970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55" name="Oval 954">
                <a:extLst>
                  <a:ext uri="{FF2B5EF4-FFF2-40B4-BE49-F238E27FC236}">
                    <a16:creationId xmlns:a16="http://schemas.microsoft.com/office/drawing/2014/main" id="{54E8851A-2BF8-4F05-B5A7-CA9AA5483B0E}"/>
                  </a:ext>
                </a:extLst>
              </p:cNvPr>
              <p:cNvSpPr/>
              <p:nvPr/>
            </p:nvSpPr>
            <p:spPr>
              <a:xfrm>
                <a:off x="371116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sp>
          <p:nvSpPr>
            <p:cNvPr id="926" name="Oval 925">
              <a:extLst>
                <a:ext uri="{FF2B5EF4-FFF2-40B4-BE49-F238E27FC236}">
                  <a16:creationId xmlns:a16="http://schemas.microsoft.com/office/drawing/2014/main" id="{7C290C28-915D-4DFF-B979-94D42109274A}"/>
                </a:ext>
              </a:extLst>
            </p:cNvPr>
            <p:cNvSpPr/>
            <p:nvPr/>
          </p:nvSpPr>
          <p:spPr>
            <a:xfrm>
              <a:off x="9545542" y="2987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27" name="Oval 926">
              <a:extLst>
                <a:ext uri="{FF2B5EF4-FFF2-40B4-BE49-F238E27FC236}">
                  <a16:creationId xmlns:a16="http://schemas.microsoft.com/office/drawing/2014/main" id="{34ECE639-14E6-4905-BF07-77AA5EB2E019}"/>
                </a:ext>
              </a:extLst>
            </p:cNvPr>
            <p:cNvSpPr/>
            <p:nvPr/>
          </p:nvSpPr>
          <p:spPr>
            <a:xfrm>
              <a:off x="9797002" y="2987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28" name="Oval 927">
              <a:extLst>
                <a:ext uri="{FF2B5EF4-FFF2-40B4-BE49-F238E27FC236}">
                  <a16:creationId xmlns:a16="http://schemas.microsoft.com/office/drawing/2014/main" id="{96A50FF1-2F19-45C9-869B-C46B31AF386E}"/>
                </a:ext>
              </a:extLst>
            </p:cNvPr>
            <p:cNvSpPr/>
            <p:nvPr/>
          </p:nvSpPr>
          <p:spPr>
            <a:xfrm>
              <a:off x="10048462" y="2987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29" name="Oval 928">
              <a:extLst>
                <a:ext uri="{FF2B5EF4-FFF2-40B4-BE49-F238E27FC236}">
                  <a16:creationId xmlns:a16="http://schemas.microsoft.com/office/drawing/2014/main" id="{6B655C50-16B7-4F9E-BC79-24524C1E7F23}"/>
                </a:ext>
              </a:extLst>
            </p:cNvPr>
            <p:cNvSpPr/>
            <p:nvPr/>
          </p:nvSpPr>
          <p:spPr>
            <a:xfrm>
              <a:off x="9545542" y="3238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30" name="Oval 929">
              <a:extLst>
                <a:ext uri="{FF2B5EF4-FFF2-40B4-BE49-F238E27FC236}">
                  <a16:creationId xmlns:a16="http://schemas.microsoft.com/office/drawing/2014/main" id="{C7619E3E-43C8-4BA6-843E-B34DE5CEC030}"/>
                </a:ext>
              </a:extLst>
            </p:cNvPr>
            <p:cNvSpPr/>
            <p:nvPr/>
          </p:nvSpPr>
          <p:spPr>
            <a:xfrm>
              <a:off x="9797002" y="3238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31" name="Oval 930">
              <a:extLst>
                <a:ext uri="{FF2B5EF4-FFF2-40B4-BE49-F238E27FC236}">
                  <a16:creationId xmlns:a16="http://schemas.microsoft.com/office/drawing/2014/main" id="{9C5614DB-DD69-4342-ACD6-764AD0C4CA2C}"/>
                </a:ext>
              </a:extLst>
            </p:cNvPr>
            <p:cNvSpPr/>
            <p:nvPr/>
          </p:nvSpPr>
          <p:spPr>
            <a:xfrm>
              <a:off x="10048462" y="3238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32" name="Oval 931">
              <a:extLst>
                <a:ext uri="{FF2B5EF4-FFF2-40B4-BE49-F238E27FC236}">
                  <a16:creationId xmlns:a16="http://schemas.microsoft.com/office/drawing/2014/main" id="{D19AEE71-18D4-43A5-99BD-E75DE55A9915}"/>
                </a:ext>
              </a:extLst>
            </p:cNvPr>
            <p:cNvSpPr/>
            <p:nvPr/>
          </p:nvSpPr>
          <p:spPr>
            <a:xfrm>
              <a:off x="9545542" y="3489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33" name="Oval 932">
              <a:extLst>
                <a:ext uri="{FF2B5EF4-FFF2-40B4-BE49-F238E27FC236}">
                  <a16:creationId xmlns:a16="http://schemas.microsoft.com/office/drawing/2014/main" id="{0DC407D5-EA2D-4BA7-BA30-F092E65965A9}"/>
                </a:ext>
              </a:extLst>
            </p:cNvPr>
            <p:cNvSpPr/>
            <p:nvPr/>
          </p:nvSpPr>
          <p:spPr>
            <a:xfrm>
              <a:off x="9797002" y="3489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34" name="Oval 933">
              <a:extLst>
                <a:ext uri="{FF2B5EF4-FFF2-40B4-BE49-F238E27FC236}">
                  <a16:creationId xmlns:a16="http://schemas.microsoft.com/office/drawing/2014/main" id="{7988EEDB-3818-4355-A626-1470164D5147}"/>
                </a:ext>
              </a:extLst>
            </p:cNvPr>
            <p:cNvSpPr/>
            <p:nvPr/>
          </p:nvSpPr>
          <p:spPr>
            <a:xfrm>
              <a:off x="10048462" y="3489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35" name="Oval 934">
              <a:extLst>
                <a:ext uri="{FF2B5EF4-FFF2-40B4-BE49-F238E27FC236}">
                  <a16:creationId xmlns:a16="http://schemas.microsoft.com/office/drawing/2014/main" id="{FF6A7F76-7CDF-4EFC-8517-1A577AB8BBCC}"/>
                </a:ext>
              </a:extLst>
            </p:cNvPr>
            <p:cNvSpPr/>
            <p:nvPr/>
          </p:nvSpPr>
          <p:spPr>
            <a:xfrm>
              <a:off x="853970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36" name="Oval 935">
              <a:extLst>
                <a:ext uri="{FF2B5EF4-FFF2-40B4-BE49-F238E27FC236}">
                  <a16:creationId xmlns:a16="http://schemas.microsoft.com/office/drawing/2014/main" id="{B358FB16-875A-43EC-AC91-0CB5A4801CFC}"/>
                </a:ext>
              </a:extLst>
            </p:cNvPr>
            <p:cNvSpPr/>
            <p:nvPr/>
          </p:nvSpPr>
          <p:spPr>
            <a:xfrm>
              <a:off x="853970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37" name="Oval 936">
              <a:extLst>
                <a:ext uri="{FF2B5EF4-FFF2-40B4-BE49-F238E27FC236}">
                  <a16:creationId xmlns:a16="http://schemas.microsoft.com/office/drawing/2014/main" id="{A9C17180-564B-45EA-A7C0-0BDE59054A7B}"/>
                </a:ext>
              </a:extLst>
            </p:cNvPr>
            <p:cNvSpPr/>
            <p:nvPr/>
          </p:nvSpPr>
          <p:spPr>
            <a:xfrm>
              <a:off x="853970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38" name="Oval 937">
              <a:extLst>
                <a:ext uri="{FF2B5EF4-FFF2-40B4-BE49-F238E27FC236}">
                  <a16:creationId xmlns:a16="http://schemas.microsoft.com/office/drawing/2014/main" id="{7138B6FD-1D31-4C41-85F8-852F975C19E5}"/>
                </a:ext>
              </a:extLst>
            </p:cNvPr>
            <p:cNvSpPr/>
            <p:nvPr/>
          </p:nvSpPr>
          <p:spPr>
            <a:xfrm>
              <a:off x="828824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39" name="Oval 938">
              <a:extLst>
                <a:ext uri="{FF2B5EF4-FFF2-40B4-BE49-F238E27FC236}">
                  <a16:creationId xmlns:a16="http://schemas.microsoft.com/office/drawing/2014/main" id="{1496B986-B400-43D2-9D0E-8EE667C5E80A}"/>
                </a:ext>
              </a:extLst>
            </p:cNvPr>
            <p:cNvSpPr/>
            <p:nvPr/>
          </p:nvSpPr>
          <p:spPr>
            <a:xfrm>
              <a:off x="828824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40" name="Oval 939">
              <a:extLst>
                <a:ext uri="{FF2B5EF4-FFF2-40B4-BE49-F238E27FC236}">
                  <a16:creationId xmlns:a16="http://schemas.microsoft.com/office/drawing/2014/main" id="{735D44DE-562A-44F5-A0A9-8B9C45522EBC}"/>
                </a:ext>
              </a:extLst>
            </p:cNvPr>
            <p:cNvSpPr/>
            <p:nvPr/>
          </p:nvSpPr>
          <p:spPr>
            <a:xfrm>
              <a:off x="828824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41" name="Oval 940">
              <a:extLst>
                <a:ext uri="{FF2B5EF4-FFF2-40B4-BE49-F238E27FC236}">
                  <a16:creationId xmlns:a16="http://schemas.microsoft.com/office/drawing/2014/main" id="{C7B602FD-F45F-4E13-9767-000970531AA0}"/>
                </a:ext>
              </a:extLst>
            </p:cNvPr>
            <p:cNvSpPr/>
            <p:nvPr/>
          </p:nvSpPr>
          <p:spPr>
            <a:xfrm>
              <a:off x="9545542" y="248835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42" name="Oval 941">
              <a:extLst>
                <a:ext uri="{FF2B5EF4-FFF2-40B4-BE49-F238E27FC236}">
                  <a16:creationId xmlns:a16="http://schemas.microsoft.com/office/drawing/2014/main" id="{F39ABB07-75DD-43E1-9A6A-08FC91768405}"/>
                </a:ext>
              </a:extLst>
            </p:cNvPr>
            <p:cNvSpPr/>
            <p:nvPr/>
          </p:nvSpPr>
          <p:spPr>
            <a:xfrm>
              <a:off x="9797002" y="248835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43" name="Oval 942">
              <a:extLst>
                <a:ext uri="{FF2B5EF4-FFF2-40B4-BE49-F238E27FC236}">
                  <a16:creationId xmlns:a16="http://schemas.microsoft.com/office/drawing/2014/main" id="{A53281B9-E31F-4F76-B30C-EAB5194F0D37}"/>
                </a:ext>
              </a:extLst>
            </p:cNvPr>
            <p:cNvSpPr/>
            <p:nvPr/>
          </p:nvSpPr>
          <p:spPr>
            <a:xfrm>
              <a:off x="10048462" y="248835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44" name="Oval 943">
              <a:extLst>
                <a:ext uri="{FF2B5EF4-FFF2-40B4-BE49-F238E27FC236}">
                  <a16:creationId xmlns:a16="http://schemas.microsoft.com/office/drawing/2014/main" id="{DE8FB051-2ACF-42B4-812F-DAE11D7C145E}"/>
                </a:ext>
              </a:extLst>
            </p:cNvPr>
            <p:cNvSpPr/>
            <p:nvPr/>
          </p:nvSpPr>
          <p:spPr>
            <a:xfrm>
              <a:off x="9545542" y="273981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45" name="Oval 944">
              <a:extLst>
                <a:ext uri="{FF2B5EF4-FFF2-40B4-BE49-F238E27FC236}">
                  <a16:creationId xmlns:a16="http://schemas.microsoft.com/office/drawing/2014/main" id="{5F806F06-7838-4F60-B1B8-8B342C619AB7}"/>
                </a:ext>
              </a:extLst>
            </p:cNvPr>
            <p:cNvSpPr/>
            <p:nvPr/>
          </p:nvSpPr>
          <p:spPr>
            <a:xfrm>
              <a:off x="9797002" y="273981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946" name="Oval 945">
              <a:extLst>
                <a:ext uri="{FF2B5EF4-FFF2-40B4-BE49-F238E27FC236}">
                  <a16:creationId xmlns:a16="http://schemas.microsoft.com/office/drawing/2014/main" id="{BB0F514D-BEF4-43B8-B29F-F865E49AD813}"/>
                </a:ext>
              </a:extLst>
            </p:cNvPr>
            <p:cNvSpPr/>
            <p:nvPr/>
          </p:nvSpPr>
          <p:spPr>
            <a:xfrm>
              <a:off x="10048462" y="273981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sp>
        <p:nvSpPr>
          <p:cNvPr id="974" name="Freeform: Shape 973">
            <a:extLst>
              <a:ext uri="{FF2B5EF4-FFF2-40B4-BE49-F238E27FC236}">
                <a16:creationId xmlns:a16="http://schemas.microsoft.com/office/drawing/2014/main" id="{15D30B08-38D3-475F-A766-0BEF7DE6E754}"/>
              </a:ext>
            </a:extLst>
          </p:cNvPr>
          <p:cNvSpPr/>
          <p:nvPr/>
        </p:nvSpPr>
        <p:spPr>
          <a:xfrm>
            <a:off x="6706683" y="3061097"/>
            <a:ext cx="200764" cy="200586"/>
          </a:xfrm>
          <a:custGeom>
            <a:avLst/>
            <a:gdLst>
              <a:gd name="connsiteX0" fmla="*/ 0 w 401324"/>
              <a:gd name="connsiteY0" fmla="*/ 200662 h 400967"/>
              <a:gd name="connsiteX1" fmla="*/ 200662 w 401324"/>
              <a:gd name="connsiteY1" fmla="*/ 0 h 400967"/>
              <a:gd name="connsiteX2" fmla="*/ 401325 w 401324"/>
              <a:gd name="connsiteY2" fmla="*/ 200662 h 400967"/>
              <a:gd name="connsiteX3" fmla="*/ 201020 w 401324"/>
              <a:gd name="connsiteY3" fmla="*/ 400967 h 400967"/>
              <a:gd name="connsiteX4" fmla="*/ 715 w 401324"/>
              <a:gd name="connsiteY4" fmla="*/ 200662 h 400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324" h="400967">
                <a:moveTo>
                  <a:pt x="0" y="200662"/>
                </a:moveTo>
                <a:cubicBezTo>
                  <a:pt x="0" y="89840"/>
                  <a:pt x="89840" y="0"/>
                  <a:pt x="200662" y="0"/>
                </a:cubicBezTo>
                <a:cubicBezTo>
                  <a:pt x="311485" y="0"/>
                  <a:pt x="401325" y="89840"/>
                  <a:pt x="401325" y="200662"/>
                </a:cubicBezTo>
                <a:cubicBezTo>
                  <a:pt x="401325" y="311288"/>
                  <a:pt x="311646" y="400967"/>
                  <a:pt x="201020" y="400967"/>
                </a:cubicBezTo>
                <a:cubicBezTo>
                  <a:pt x="90395" y="400967"/>
                  <a:pt x="715" y="311288"/>
                  <a:pt x="715" y="200662"/>
                </a:cubicBezTo>
                <a:close/>
              </a:path>
            </a:pathLst>
          </a:custGeom>
          <a:solidFill>
            <a:srgbClr val="00BCE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975" name="Freeform: Shape 974">
            <a:extLst>
              <a:ext uri="{FF2B5EF4-FFF2-40B4-BE49-F238E27FC236}">
                <a16:creationId xmlns:a16="http://schemas.microsoft.com/office/drawing/2014/main" id="{4DD47DCA-FB61-4215-B54C-FEA5C5699B64}"/>
              </a:ext>
            </a:extLst>
          </p:cNvPr>
          <p:cNvSpPr/>
          <p:nvPr/>
        </p:nvSpPr>
        <p:spPr>
          <a:xfrm>
            <a:off x="6641678" y="3047214"/>
            <a:ext cx="200406" cy="200406"/>
          </a:xfrm>
          <a:custGeom>
            <a:avLst/>
            <a:gdLst>
              <a:gd name="connsiteX0" fmla="*/ 0 w 400609"/>
              <a:gd name="connsiteY0" fmla="*/ 200305 h 400609"/>
              <a:gd name="connsiteX1" fmla="*/ 200305 w 400609"/>
              <a:gd name="connsiteY1" fmla="*/ 0 h 400609"/>
              <a:gd name="connsiteX2" fmla="*/ 400609 w 400609"/>
              <a:gd name="connsiteY2" fmla="*/ 200305 h 400609"/>
              <a:gd name="connsiteX3" fmla="*/ 200305 w 400609"/>
              <a:gd name="connsiteY3" fmla="*/ 400609 h 400609"/>
              <a:gd name="connsiteX4" fmla="*/ 0 w 400609"/>
              <a:gd name="connsiteY4" fmla="*/ 200305 h 400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09" h="400609">
                <a:moveTo>
                  <a:pt x="0" y="200305"/>
                </a:moveTo>
                <a:cubicBezTo>
                  <a:pt x="0" y="89679"/>
                  <a:pt x="89679" y="0"/>
                  <a:pt x="200305" y="0"/>
                </a:cubicBezTo>
                <a:cubicBezTo>
                  <a:pt x="310930" y="0"/>
                  <a:pt x="400609" y="89679"/>
                  <a:pt x="400609" y="200305"/>
                </a:cubicBezTo>
                <a:cubicBezTo>
                  <a:pt x="400609" y="310930"/>
                  <a:pt x="310930" y="400609"/>
                  <a:pt x="200305" y="400609"/>
                </a:cubicBezTo>
                <a:cubicBezTo>
                  <a:pt x="89679" y="400609"/>
                  <a:pt x="0" y="310930"/>
                  <a:pt x="0" y="200305"/>
                </a:cubicBezTo>
                <a:close/>
              </a:path>
            </a:pathLst>
          </a:custGeom>
          <a:noFill/>
          <a:ln w="7144" cap="flat">
            <a:solidFill>
              <a:srgbClr val="0D274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nvGrpSpPr>
          <p:cNvPr id="990" name="Group 989">
            <a:extLst>
              <a:ext uri="{FF2B5EF4-FFF2-40B4-BE49-F238E27FC236}">
                <a16:creationId xmlns:a16="http://schemas.microsoft.com/office/drawing/2014/main" id="{469521F4-1704-4A59-86EE-AD7A08F7B9C6}"/>
              </a:ext>
            </a:extLst>
          </p:cNvPr>
          <p:cNvGrpSpPr/>
          <p:nvPr/>
        </p:nvGrpSpPr>
        <p:grpSpPr>
          <a:xfrm>
            <a:off x="9558528" y="3602439"/>
            <a:ext cx="2337045" cy="2272680"/>
            <a:chOff x="9765771" y="3773889"/>
            <a:chExt cx="2129802" cy="2071145"/>
          </a:xfrm>
        </p:grpSpPr>
        <p:sp>
          <p:nvSpPr>
            <p:cNvPr id="991" name="Google Shape;2115;p430">
              <a:extLst>
                <a:ext uri="{FF2B5EF4-FFF2-40B4-BE49-F238E27FC236}">
                  <a16:creationId xmlns:a16="http://schemas.microsoft.com/office/drawing/2014/main" id="{2E7F73E1-EF0D-40AD-AB0C-DE2A2E58BFE7}"/>
                </a:ext>
              </a:extLst>
            </p:cNvPr>
            <p:cNvSpPr txBox="1"/>
            <p:nvPr/>
          </p:nvSpPr>
          <p:spPr>
            <a:xfrm>
              <a:off x="9765771" y="5620647"/>
              <a:ext cx="1872316" cy="224387"/>
            </a:xfrm>
            <a:prstGeom prst="rect">
              <a:avLst/>
            </a:prstGeom>
            <a:noFill/>
            <a:ln>
              <a:noFill/>
            </a:ln>
          </p:spPr>
          <p:txBody>
            <a:bodyPr spcFirstLastPara="1" wrap="square" lIns="0" tIns="0" rIns="0" bIns="0" anchor="t" anchorCtr="0">
              <a:spAutoFit/>
            </a:bodyPr>
            <a:lstStyle/>
            <a:p>
              <a:pPr lvl="0" algn="ctr">
                <a:buClr>
                  <a:srgbClr val="000000"/>
                </a:buClr>
                <a:buSzPts val="1400"/>
              </a:pPr>
              <a:r>
                <a:rPr lang="en-IN" sz="1600" dirty="0">
                  <a:solidFill>
                    <a:schemeClr val="tx2"/>
                  </a:solidFill>
                  <a:sym typeface="Helvetica Neue"/>
                </a:rPr>
                <a:t>Corporate Network</a:t>
              </a:r>
            </a:p>
          </p:txBody>
        </p:sp>
        <p:grpSp>
          <p:nvGrpSpPr>
            <p:cNvPr id="992" name="Group 991">
              <a:extLst>
                <a:ext uri="{FF2B5EF4-FFF2-40B4-BE49-F238E27FC236}">
                  <a16:creationId xmlns:a16="http://schemas.microsoft.com/office/drawing/2014/main" id="{53A8FA54-DD94-448F-BF0B-B31856588E92}"/>
                </a:ext>
              </a:extLst>
            </p:cNvPr>
            <p:cNvGrpSpPr/>
            <p:nvPr/>
          </p:nvGrpSpPr>
          <p:grpSpPr>
            <a:xfrm>
              <a:off x="9789030" y="3773889"/>
              <a:ext cx="2106543" cy="1807488"/>
              <a:chOff x="9789030" y="3558266"/>
              <a:chExt cx="2106543" cy="1807488"/>
            </a:xfrm>
          </p:grpSpPr>
          <p:sp>
            <p:nvSpPr>
              <p:cNvPr id="993" name="Rectangle: Rounded Corners 992">
                <a:extLst>
                  <a:ext uri="{FF2B5EF4-FFF2-40B4-BE49-F238E27FC236}">
                    <a16:creationId xmlns:a16="http://schemas.microsoft.com/office/drawing/2014/main" id="{4088439D-E19D-4235-9C4B-975868869669}"/>
                  </a:ext>
                </a:extLst>
              </p:cNvPr>
              <p:cNvSpPr/>
              <p:nvPr/>
            </p:nvSpPr>
            <p:spPr>
              <a:xfrm>
                <a:off x="10801350" y="3558266"/>
                <a:ext cx="843087" cy="856743"/>
              </a:xfrm>
              <a:prstGeom prst="roundRect">
                <a:avLst>
                  <a:gd name="adj" fmla="val 5623"/>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994" name="Group 993">
                <a:extLst>
                  <a:ext uri="{FF2B5EF4-FFF2-40B4-BE49-F238E27FC236}">
                    <a16:creationId xmlns:a16="http://schemas.microsoft.com/office/drawing/2014/main" id="{96348116-0C5A-40D7-AFBB-D986479F0D3A}"/>
                  </a:ext>
                </a:extLst>
              </p:cNvPr>
              <p:cNvGrpSpPr/>
              <p:nvPr/>
            </p:nvGrpSpPr>
            <p:grpSpPr>
              <a:xfrm>
                <a:off x="9789030" y="5161319"/>
                <a:ext cx="1743734" cy="204435"/>
                <a:chOff x="3500791" y="3888237"/>
                <a:chExt cx="1743734" cy="204435"/>
              </a:xfrm>
            </p:grpSpPr>
            <p:sp>
              <p:nvSpPr>
                <p:cNvPr id="1001" name="Freeform: Shape 1000">
                  <a:extLst>
                    <a:ext uri="{FF2B5EF4-FFF2-40B4-BE49-F238E27FC236}">
                      <a16:creationId xmlns:a16="http://schemas.microsoft.com/office/drawing/2014/main" id="{CAF7B404-F699-464D-B5FD-6819FC7ED040}"/>
                    </a:ext>
                  </a:extLst>
                </p:cNvPr>
                <p:cNvSpPr/>
                <p:nvPr/>
              </p:nvSpPr>
              <p:spPr>
                <a:xfrm rot="1833945">
                  <a:off x="3538962"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02" name="Freeform: Shape 1001">
                  <a:extLst>
                    <a:ext uri="{FF2B5EF4-FFF2-40B4-BE49-F238E27FC236}">
                      <a16:creationId xmlns:a16="http://schemas.microsoft.com/office/drawing/2014/main" id="{DDB6D620-980A-49A5-A618-1BE004012A41}"/>
                    </a:ext>
                  </a:extLst>
                </p:cNvPr>
                <p:cNvSpPr/>
                <p:nvPr/>
              </p:nvSpPr>
              <p:spPr>
                <a:xfrm rot="1833945">
                  <a:off x="3618096"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03" name="Freeform: Shape 1002">
                  <a:extLst>
                    <a:ext uri="{FF2B5EF4-FFF2-40B4-BE49-F238E27FC236}">
                      <a16:creationId xmlns:a16="http://schemas.microsoft.com/office/drawing/2014/main" id="{A971B3EE-132B-469A-836B-BCC21179EF37}"/>
                    </a:ext>
                  </a:extLst>
                </p:cNvPr>
                <p:cNvSpPr/>
                <p:nvPr/>
              </p:nvSpPr>
              <p:spPr>
                <a:xfrm rot="1833945">
                  <a:off x="3697233" y="3982514"/>
                  <a:ext cx="443847" cy="5492"/>
                </a:xfrm>
                <a:custGeom>
                  <a:avLst/>
                  <a:gdLst>
                    <a:gd name="connsiteX0" fmla="*/ 0 w 443847"/>
                    <a:gd name="connsiteY0" fmla="*/ 5492 h 5492"/>
                    <a:gd name="connsiteX1" fmla="*/ 9298 w 443847"/>
                    <a:gd name="connsiteY1" fmla="*/ 0 h 5492"/>
                    <a:gd name="connsiteX2" fmla="*/ 443847 w 443847"/>
                    <a:gd name="connsiteY2" fmla="*/ 1 h 5492"/>
                    <a:gd name="connsiteX3" fmla="*/ 434549 w 443847"/>
                    <a:gd name="connsiteY3" fmla="*/ 5492 h 5492"/>
                    <a:gd name="connsiteX4" fmla="*/ 0 w 443847"/>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2">
                      <a:moveTo>
                        <a:pt x="0" y="5492"/>
                      </a:moveTo>
                      <a:lnTo>
                        <a:pt x="9298" y="0"/>
                      </a:lnTo>
                      <a:lnTo>
                        <a:pt x="443847" y="1"/>
                      </a:lnTo>
                      <a:lnTo>
                        <a:pt x="434549" y="5492"/>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04" name="Freeform: Shape 1003">
                  <a:extLst>
                    <a:ext uri="{FF2B5EF4-FFF2-40B4-BE49-F238E27FC236}">
                      <a16:creationId xmlns:a16="http://schemas.microsoft.com/office/drawing/2014/main" id="{94E69875-54BE-4F6D-B077-DE5767499738}"/>
                    </a:ext>
                  </a:extLst>
                </p:cNvPr>
                <p:cNvSpPr/>
                <p:nvPr/>
              </p:nvSpPr>
              <p:spPr>
                <a:xfrm rot="1833945">
                  <a:off x="3776364"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50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50"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05" name="Freeform: Shape 1004">
                  <a:extLst>
                    <a:ext uri="{FF2B5EF4-FFF2-40B4-BE49-F238E27FC236}">
                      <a16:creationId xmlns:a16="http://schemas.microsoft.com/office/drawing/2014/main" id="{0E9BF9FA-D982-46DD-BE8B-2221F32D5D35}"/>
                    </a:ext>
                  </a:extLst>
                </p:cNvPr>
                <p:cNvSpPr/>
                <p:nvPr/>
              </p:nvSpPr>
              <p:spPr>
                <a:xfrm rot="1833945">
                  <a:off x="3855500"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06" name="Freeform: Shape 1005">
                  <a:extLst>
                    <a:ext uri="{FF2B5EF4-FFF2-40B4-BE49-F238E27FC236}">
                      <a16:creationId xmlns:a16="http://schemas.microsoft.com/office/drawing/2014/main" id="{5690617B-058E-4175-A2A8-A21C55C1AD15}"/>
                    </a:ext>
                  </a:extLst>
                </p:cNvPr>
                <p:cNvSpPr/>
                <p:nvPr/>
              </p:nvSpPr>
              <p:spPr>
                <a:xfrm rot="1833945">
                  <a:off x="3934634" y="3982514"/>
                  <a:ext cx="443847" cy="5492"/>
                </a:xfrm>
                <a:custGeom>
                  <a:avLst/>
                  <a:gdLst>
                    <a:gd name="connsiteX0" fmla="*/ 0 w 443847"/>
                    <a:gd name="connsiteY0" fmla="*/ 5492 h 5492"/>
                    <a:gd name="connsiteX1" fmla="*/ 9298 w 443847"/>
                    <a:gd name="connsiteY1" fmla="*/ 0 h 5492"/>
                    <a:gd name="connsiteX2" fmla="*/ 443847 w 443847"/>
                    <a:gd name="connsiteY2" fmla="*/ 0 h 5492"/>
                    <a:gd name="connsiteX3" fmla="*/ 434549 w 443847"/>
                    <a:gd name="connsiteY3" fmla="*/ 5491 h 5492"/>
                    <a:gd name="connsiteX4" fmla="*/ 0 w 443847"/>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2">
                      <a:moveTo>
                        <a:pt x="0" y="5492"/>
                      </a:moveTo>
                      <a:lnTo>
                        <a:pt x="9298" y="0"/>
                      </a:lnTo>
                      <a:lnTo>
                        <a:pt x="443847" y="0"/>
                      </a:lnTo>
                      <a:lnTo>
                        <a:pt x="434549"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07" name="Freeform: Shape 1006">
                  <a:extLst>
                    <a:ext uri="{FF2B5EF4-FFF2-40B4-BE49-F238E27FC236}">
                      <a16:creationId xmlns:a16="http://schemas.microsoft.com/office/drawing/2014/main" id="{A5896C4E-51AC-454F-973D-35EEBC620DF0}"/>
                    </a:ext>
                  </a:extLst>
                </p:cNvPr>
                <p:cNvSpPr/>
                <p:nvPr/>
              </p:nvSpPr>
              <p:spPr>
                <a:xfrm rot="1833945">
                  <a:off x="4013769"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08" name="Freeform: Shape 1007">
                  <a:extLst>
                    <a:ext uri="{FF2B5EF4-FFF2-40B4-BE49-F238E27FC236}">
                      <a16:creationId xmlns:a16="http://schemas.microsoft.com/office/drawing/2014/main" id="{1A41721E-0541-438B-9DE6-15575F5835A2}"/>
                    </a:ext>
                  </a:extLst>
                </p:cNvPr>
                <p:cNvSpPr/>
                <p:nvPr/>
              </p:nvSpPr>
              <p:spPr>
                <a:xfrm rot="1833945">
                  <a:off x="4092903"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09" name="Freeform: Shape 1008">
                  <a:extLst>
                    <a:ext uri="{FF2B5EF4-FFF2-40B4-BE49-F238E27FC236}">
                      <a16:creationId xmlns:a16="http://schemas.microsoft.com/office/drawing/2014/main" id="{ACE1257B-58DE-4B1B-8954-25ED9BC7E7FE}"/>
                    </a:ext>
                  </a:extLst>
                </p:cNvPr>
                <p:cNvSpPr/>
                <p:nvPr/>
              </p:nvSpPr>
              <p:spPr>
                <a:xfrm rot="1833945">
                  <a:off x="4172038" y="3982513"/>
                  <a:ext cx="443848" cy="5492"/>
                </a:xfrm>
                <a:custGeom>
                  <a:avLst/>
                  <a:gdLst>
                    <a:gd name="connsiteX0" fmla="*/ 0 w 443848"/>
                    <a:gd name="connsiteY0" fmla="*/ 5492 h 5492"/>
                    <a:gd name="connsiteX1" fmla="*/ 9298 w 443848"/>
                    <a:gd name="connsiteY1" fmla="*/ 0 h 5492"/>
                    <a:gd name="connsiteX2" fmla="*/ 443848 w 443848"/>
                    <a:gd name="connsiteY2" fmla="*/ 0 h 5492"/>
                    <a:gd name="connsiteX3" fmla="*/ 434550 w 443848"/>
                    <a:gd name="connsiteY3" fmla="*/ 5491 h 5492"/>
                    <a:gd name="connsiteX4" fmla="*/ 0 w 443848"/>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2">
                      <a:moveTo>
                        <a:pt x="0" y="5492"/>
                      </a:moveTo>
                      <a:lnTo>
                        <a:pt x="9298" y="0"/>
                      </a:lnTo>
                      <a:lnTo>
                        <a:pt x="443848" y="0"/>
                      </a:lnTo>
                      <a:lnTo>
                        <a:pt x="434550"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10" name="Freeform: Shape 1009">
                  <a:extLst>
                    <a:ext uri="{FF2B5EF4-FFF2-40B4-BE49-F238E27FC236}">
                      <a16:creationId xmlns:a16="http://schemas.microsoft.com/office/drawing/2014/main" id="{A785AFEC-254B-4EF1-9112-8A5D1AE3CF45}"/>
                    </a:ext>
                  </a:extLst>
                </p:cNvPr>
                <p:cNvSpPr/>
                <p:nvPr/>
              </p:nvSpPr>
              <p:spPr>
                <a:xfrm rot="1833945">
                  <a:off x="4251171" y="3982513"/>
                  <a:ext cx="443848" cy="5492"/>
                </a:xfrm>
                <a:custGeom>
                  <a:avLst/>
                  <a:gdLst>
                    <a:gd name="connsiteX0" fmla="*/ 0 w 443848"/>
                    <a:gd name="connsiteY0" fmla="*/ 5492 h 5492"/>
                    <a:gd name="connsiteX1" fmla="*/ 9298 w 443848"/>
                    <a:gd name="connsiteY1" fmla="*/ 0 h 5492"/>
                    <a:gd name="connsiteX2" fmla="*/ 443848 w 443848"/>
                    <a:gd name="connsiteY2" fmla="*/ 0 h 5492"/>
                    <a:gd name="connsiteX3" fmla="*/ 434550 w 443848"/>
                    <a:gd name="connsiteY3" fmla="*/ 5492 h 5492"/>
                    <a:gd name="connsiteX4" fmla="*/ 0 w 443848"/>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2">
                      <a:moveTo>
                        <a:pt x="0" y="5492"/>
                      </a:moveTo>
                      <a:lnTo>
                        <a:pt x="9298" y="0"/>
                      </a:lnTo>
                      <a:lnTo>
                        <a:pt x="443848" y="0"/>
                      </a:lnTo>
                      <a:lnTo>
                        <a:pt x="434550" y="5492"/>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11" name="Freeform: Shape 1010">
                  <a:extLst>
                    <a:ext uri="{FF2B5EF4-FFF2-40B4-BE49-F238E27FC236}">
                      <a16:creationId xmlns:a16="http://schemas.microsoft.com/office/drawing/2014/main" id="{4A2DA315-B793-4E89-8C70-922AF5143207}"/>
                    </a:ext>
                  </a:extLst>
                </p:cNvPr>
                <p:cNvSpPr/>
                <p:nvPr/>
              </p:nvSpPr>
              <p:spPr>
                <a:xfrm rot="1833945">
                  <a:off x="4330307"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12" name="Freeform: Shape 1011">
                  <a:extLst>
                    <a:ext uri="{FF2B5EF4-FFF2-40B4-BE49-F238E27FC236}">
                      <a16:creationId xmlns:a16="http://schemas.microsoft.com/office/drawing/2014/main" id="{8F21A06A-FBEA-4C75-9DD5-5E5822F33B5C}"/>
                    </a:ext>
                  </a:extLst>
                </p:cNvPr>
                <p:cNvSpPr/>
                <p:nvPr/>
              </p:nvSpPr>
              <p:spPr>
                <a:xfrm rot="1833945">
                  <a:off x="4409438" y="3982515"/>
                  <a:ext cx="443848" cy="5491"/>
                </a:xfrm>
                <a:custGeom>
                  <a:avLst/>
                  <a:gdLst>
                    <a:gd name="connsiteX0" fmla="*/ 0 w 443848"/>
                    <a:gd name="connsiteY0" fmla="*/ 5491 h 5491"/>
                    <a:gd name="connsiteX1" fmla="*/ 9298 w 443848"/>
                    <a:gd name="connsiteY1" fmla="*/ 0 h 5491"/>
                    <a:gd name="connsiteX2" fmla="*/ 443848 w 443848"/>
                    <a:gd name="connsiteY2" fmla="*/ 0 h 5491"/>
                    <a:gd name="connsiteX3" fmla="*/ 434550 w 443848"/>
                    <a:gd name="connsiteY3" fmla="*/ 5491 h 5491"/>
                    <a:gd name="connsiteX4" fmla="*/ 0 w 443848"/>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1">
                      <a:moveTo>
                        <a:pt x="0" y="5491"/>
                      </a:moveTo>
                      <a:lnTo>
                        <a:pt x="9298" y="0"/>
                      </a:lnTo>
                      <a:lnTo>
                        <a:pt x="443848" y="0"/>
                      </a:lnTo>
                      <a:lnTo>
                        <a:pt x="434550"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13" name="Freeform: Shape 1012">
                  <a:extLst>
                    <a:ext uri="{FF2B5EF4-FFF2-40B4-BE49-F238E27FC236}">
                      <a16:creationId xmlns:a16="http://schemas.microsoft.com/office/drawing/2014/main" id="{17B6AD26-9E45-44B4-A6D9-A49D1595D772}"/>
                    </a:ext>
                  </a:extLst>
                </p:cNvPr>
                <p:cNvSpPr/>
                <p:nvPr/>
              </p:nvSpPr>
              <p:spPr>
                <a:xfrm rot="1833945">
                  <a:off x="4488576" y="3982514"/>
                  <a:ext cx="443847" cy="5492"/>
                </a:xfrm>
                <a:custGeom>
                  <a:avLst/>
                  <a:gdLst>
                    <a:gd name="connsiteX0" fmla="*/ 0 w 443847"/>
                    <a:gd name="connsiteY0" fmla="*/ 5492 h 5492"/>
                    <a:gd name="connsiteX1" fmla="*/ 9298 w 443847"/>
                    <a:gd name="connsiteY1" fmla="*/ 0 h 5492"/>
                    <a:gd name="connsiteX2" fmla="*/ 443847 w 443847"/>
                    <a:gd name="connsiteY2" fmla="*/ 0 h 5492"/>
                    <a:gd name="connsiteX3" fmla="*/ 434549 w 443847"/>
                    <a:gd name="connsiteY3" fmla="*/ 5491 h 5492"/>
                    <a:gd name="connsiteX4" fmla="*/ 0 w 443847"/>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2">
                      <a:moveTo>
                        <a:pt x="0" y="5492"/>
                      </a:moveTo>
                      <a:lnTo>
                        <a:pt x="9298" y="0"/>
                      </a:lnTo>
                      <a:lnTo>
                        <a:pt x="443847" y="0"/>
                      </a:lnTo>
                      <a:lnTo>
                        <a:pt x="434549"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14" name="Freeform: Shape 1013">
                  <a:extLst>
                    <a:ext uri="{FF2B5EF4-FFF2-40B4-BE49-F238E27FC236}">
                      <a16:creationId xmlns:a16="http://schemas.microsoft.com/office/drawing/2014/main" id="{E0B0A383-92F6-4999-8FE0-484198714D83}"/>
                    </a:ext>
                  </a:extLst>
                </p:cNvPr>
                <p:cNvSpPr/>
                <p:nvPr/>
              </p:nvSpPr>
              <p:spPr>
                <a:xfrm rot="1833945">
                  <a:off x="4567706" y="3982513"/>
                  <a:ext cx="443848" cy="5492"/>
                </a:xfrm>
                <a:custGeom>
                  <a:avLst/>
                  <a:gdLst>
                    <a:gd name="connsiteX0" fmla="*/ 0 w 443848"/>
                    <a:gd name="connsiteY0" fmla="*/ 5492 h 5492"/>
                    <a:gd name="connsiteX1" fmla="*/ 9298 w 443848"/>
                    <a:gd name="connsiteY1" fmla="*/ 0 h 5492"/>
                    <a:gd name="connsiteX2" fmla="*/ 443848 w 443848"/>
                    <a:gd name="connsiteY2" fmla="*/ 0 h 5492"/>
                    <a:gd name="connsiteX3" fmla="*/ 434550 w 443848"/>
                    <a:gd name="connsiteY3" fmla="*/ 5492 h 5492"/>
                    <a:gd name="connsiteX4" fmla="*/ 0 w 443848"/>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2">
                      <a:moveTo>
                        <a:pt x="0" y="5492"/>
                      </a:moveTo>
                      <a:lnTo>
                        <a:pt x="9298" y="0"/>
                      </a:lnTo>
                      <a:lnTo>
                        <a:pt x="443848" y="0"/>
                      </a:lnTo>
                      <a:lnTo>
                        <a:pt x="434550" y="5492"/>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15" name="Freeform: Shape 1014">
                  <a:extLst>
                    <a:ext uri="{FF2B5EF4-FFF2-40B4-BE49-F238E27FC236}">
                      <a16:creationId xmlns:a16="http://schemas.microsoft.com/office/drawing/2014/main" id="{7EA695E8-AFEA-43A6-9D66-051DE5754EB7}"/>
                    </a:ext>
                  </a:extLst>
                </p:cNvPr>
                <p:cNvSpPr/>
                <p:nvPr/>
              </p:nvSpPr>
              <p:spPr>
                <a:xfrm rot="1833945">
                  <a:off x="4646843"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16" name="Freeform: Shape 1015">
                  <a:extLst>
                    <a:ext uri="{FF2B5EF4-FFF2-40B4-BE49-F238E27FC236}">
                      <a16:creationId xmlns:a16="http://schemas.microsoft.com/office/drawing/2014/main" id="{B506D108-E0D0-4EFC-BF4F-AA31ADA3D3CA}"/>
                    </a:ext>
                  </a:extLst>
                </p:cNvPr>
                <p:cNvSpPr/>
                <p:nvPr/>
              </p:nvSpPr>
              <p:spPr>
                <a:xfrm rot="1833945">
                  <a:off x="4725974" y="3982515"/>
                  <a:ext cx="443848" cy="5491"/>
                </a:xfrm>
                <a:custGeom>
                  <a:avLst/>
                  <a:gdLst>
                    <a:gd name="connsiteX0" fmla="*/ 0 w 443848"/>
                    <a:gd name="connsiteY0" fmla="*/ 5491 h 5491"/>
                    <a:gd name="connsiteX1" fmla="*/ 9298 w 443848"/>
                    <a:gd name="connsiteY1" fmla="*/ 0 h 5491"/>
                    <a:gd name="connsiteX2" fmla="*/ 443848 w 443848"/>
                    <a:gd name="connsiteY2" fmla="*/ 0 h 5491"/>
                    <a:gd name="connsiteX3" fmla="*/ 434550 w 443848"/>
                    <a:gd name="connsiteY3" fmla="*/ 5491 h 5491"/>
                    <a:gd name="connsiteX4" fmla="*/ 0 w 443848"/>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1">
                      <a:moveTo>
                        <a:pt x="0" y="5491"/>
                      </a:moveTo>
                      <a:lnTo>
                        <a:pt x="9298" y="0"/>
                      </a:lnTo>
                      <a:lnTo>
                        <a:pt x="443848" y="0"/>
                      </a:lnTo>
                      <a:lnTo>
                        <a:pt x="434550"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17" name="Freeform: Shape 1016">
                  <a:extLst>
                    <a:ext uri="{FF2B5EF4-FFF2-40B4-BE49-F238E27FC236}">
                      <a16:creationId xmlns:a16="http://schemas.microsoft.com/office/drawing/2014/main" id="{7B1AEABB-8071-4953-BBB7-947B8A927668}"/>
                    </a:ext>
                  </a:extLst>
                </p:cNvPr>
                <p:cNvSpPr/>
                <p:nvPr/>
              </p:nvSpPr>
              <p:spPr>
                <a:xfrm rot="1833945">
                  <a:off x="4805441" y="3981302"/>
                  <a:ext cx="439084" cy="5492"/>
                </a:xfrm>
                <a:custGeom>
                  <a:avLst/>
                  <a:gdLst>
                    <a:gd name="connsiteX0" fmla="*/ 0 w 439084"/>
                    <a:gd name="connsiteY0" fmla="*/ 5492 h 5492"/>
                    <a:gd name="connsiteX1" fmla="*/ 9298 w 439084"/>
                    <a:gd name="connsiteY1" fmla="*/ 0 h 5492"/>
                    <a:gd name="connsiteX2" fmla="*/ 437423 w 439084"/>
                    <a:gd name="connsiteY2" fmla="*/ 0 h 5492"/>
                    <a:gd name="connsiteX3" fmla="*/ 439084 w 439084"/>
                    <a:gd name="connsiteY3" fmla="*/ 2813 h 5492"/>
                    <a:gd name="connsiteX4" fmla="*/ 434549 w 439084"/>
                    <a:gd name="connsiteY4" fmla="*/ 5491 h 5492"/>
                    <a:gd name="connsiteX5" fmla="*/ 0 w 439084"/>
                    <a:gd name="connsiteY5" fmla="*/ 5492 h 5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084" h="5492">
                      <a:moveTo>
                        <a:pt x="0" y="5492"/>
                      </a:moveTo>
                      <a:lnTo>
                        <a:pt x="9298" y="0"/>
                      </a:lnTo>
                      <a:lnTo>
                        <a:pt x="437423" y="0"/>
                      </a:lnTo>
                      <a:lnTo>
                        <a:pt x="439084" y="2813"/>
                      </a:lnTo>
                      <a:lnTo>
                        <a:pt x="434549"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18" name="Freeform: Shape 1017">
                  <a:extLst>
                    <a:ext uri="{FF2B5EF4-FFF2-40B4-BE49-F238E27FC236}">
                      <a16:creationId xmlns:a16="http://schemas.microsoft.com/office/drawing/2014/main" id="{4C7D0622-81C7-4530-9908-CEA8F04049E2}"/>
                    </a:ext>
                  </a:extLst>
                </p:cNvPr>
                <p:cNvSpPr/>
                <p:nvPr/>
              </p:nvSpPr>
              <p:spPr>
                <a:xfrm rot="1833945">
                  <a:off x="4890848" y="3958336"/>
                  <a:ext cx="348764" cy="5492"/>
                </a:xfrm>
                <a:custGeom>
                  <a:avLst/>
                  <a:gdLst>
                    <a:gd name="connsiteX0" fmla="*/ 0 w 348764"/>
                    <a:gd name="connsiteY0" fmla="*/ 5492 h 5492"/>
                    <a:gd name="connsiteX1" fmla="*/ 9298 w 348764"/>
                    <a:gd name="connsiteY1" fmla="*/ 0 h 5492"/>
                    <a:gd name="connsiteX2" fmla="*/ 345521 w 348764"/>
                    <a:gd name="connsiteY2" fmla="*/ 0 h 5492"/>
                    <a:gd name="connsiteX3" fmla="*/ 348764 w 348764"/>
                    <a:gd name="connsiteY3" fmla="*/ 5491 h 5492"/>
                    <a:gd name="connsiteX4" fmla="*/ 0 w 348764"/>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64" h="5492">
                      <a:moveTo>
                        <a:pt x="0" y="5492"/>
                      </a:moveTo>
                      <a:lnTo>
                        <a:pt x="9298" y="0"/>
                      </a:lnTo>
                      <a:lnTo>
                        <a:pt x="345521" y="0"/>
                      </a:lnTo>
                      <a:lnTo>
                        <a:pt x="348764"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19" name="Freeform: Shape 1018">
                  <a:extLst>
                    <a:ext uri="{FF2B5EF4-FFF2-40B4-BE49-F238E27FC236}">
                      <a16:creationId xmlns:a16="http://schemas.microsoft.com/office/drawing/2014/main" id="{88FB3340-4384-4A49-92DA-B5658EDE2EC9}"/>
                    </a:ext>
                  </a:extLst>
                </p:cNvPr>
                <p:cNvSpPr/>
                <p:nvPr/>
              </p:nvSpPr>
              <p:spPr>
                <a:xfrm rot="1833945">
                  <a:off x="4976371" y="3934970"/>
                  <a:ext cx="256857" cy="5491"/>
                </a:xfrm>
                <a:custGeom>
                  <a:avLst/>
                  <a:gdLst>
                    <a:gd name="connsiteX0" fmla="*/ 0 w 256857"/>
                    <a:gd name="connsiteY0" fmla="*/ 5491 h 5491"/>
                    <a:gd name="connsiteX1" fmla="*/ 9298 w 256857"/>
                    <a:gd name="connsiteY1" fmla="*/ 0 h 5491"/>
                    <a:gd name="connsiteX2" fmla="*/ 253614 w 256857"/>
                    <a:gd name="connsiteY2" fmla="*/ 0 h 5491"/>
                    <a:gd name="connsiteX3" fmla="*/ 256857 w 256857"/>
                    <a:gd name="connsiteY3" fmla="*/ 5491 h 5491"/>
                    <a:gd name="connsiteX4" fmla="*/ 0 w 25685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7" h="5491">
                      <a:moveTo>
                        <a:pt x="0" y="5491"/>
                      </a:moveTo>
                      <a:lnTo>
                        <a:pt x="9298" y="0"/>
                      </a:lnTo>
                      <a:lnTo>
                        <a:pt x="253614" y="0"/>
                      </a:lnTo>
                      <a:lnTo>
                        <a:pt x="256857"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20" name="Freeform: Shape 1019">
                  <a:extLst>
                    <a:ext uri="{FF2B5EF4-FFF2-40B4-BE49-F238E27FC236}">
                      <a16:creationId xmlns:a16="http://schemas.microsoft.com/office/drawing/2014/main" id="{93B2B99E-6ECE-495A-AFDE-73BD8E021C92}"/>
                    </a:ext>
                  </a:extLst>
                </p:cNvPr>
                <p:cNvSpPr/>
                <p:nvPr/>
              </p:nvSpPr>
              <p:spPr>
                <a:xfrm rot="1833945">
                  <a:off x="5061888" y="3911603"/>
                  <a:ext cx="164955" cy="5491"/>
                </a:xfrm>
                <a:custGeom>
                  <a:avLst/>
                  <a:gdLst>
                    <a:gd name="connsiteX0" fmla="*/ 0 w 164955"/>
                    <a:gd name="connsiteY0" fmla="*/ 5491 h 5491"/>
                    <a:gd name="connsiteX1" fmla="*/ 9298 w 164955"/>
                    <a:gd name="connsiteY1" fmla="*/ 0 h 5491"/>
                    <a:gd name="connsiteX2" fmla="*/ 161712 w 164955"/>
                    <a:gd name="connsiteY2" fmla="*/ 0 h 5491"/>
                    <a:gd name="connsiteX3" fmla="*/ 164955 w 164955"/>
                    <a:gd name="connsiteY3" fmla="*/ 5491 h 5491"/>
                    <a:gd name="connsiteX4" fmla="*/ 0 w 164955"/>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955" h="5491">
                      <a:moveTo>
                        <a:pt x="0" y="5491"/>
                      </a:moveTo>
                      <a:lnTo>
                        <a:pt x="9298" y="0"/>
                      </a:lnTo>
                      <a:lnTo>
                        <a:pt x="161712" y="0"/>
                      </a:lnTo>
                      <a:lnTo>
                        <a:pt x="164955"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21" name="Freeform: Shape 1020">
                  <a:extLst>
                    <a:ext uri="{FF2B5EF4-FFF2-40B4-BE49-F238E27FC236}">
                      <a16:creationId xmlns:a16="http://schemas.microsoft.com/office/drawing/2014/main" id="{92E7B7D9-7FA8-4FB5-9170-FA51BB413DFC}"/>
                    </a:ext>
                  </a:extLst>
                </p:cNvPr>
                <p:cNvSpPr/>
                <p:nvPr/>
              </p:nvSpPr>
              <p:spPr>
                <a:xfrm rot="1833945">
                  <a:off x="5147399" y="3888237"/>
                  <a:ext cx="73059" cy="5491"/>
                </a:xfrm>
                <a:custGeom>
                  <a:avLst/>
                  <a:gdLst>
                    <a:gd name="connsiteX0" fmla="*/ 0 w 73059"/>
                    <a:gd name="connsiteY0" fmla="*/ 5491 h 5491"/>
                    <a:gd name="connsiteX1" fmla="*/ 9298 w 73059"/>
                    <a:gd name="connsiteY1" fmla="*/ 0 h 5491"/>
                    <a:gd name="connsiteX2" fmla="*/ 69816 w 73059"/>
                    <a:gd name="connsiteY2" fmla="*/ 0 h 5491"/>
                    <a:gd name="connsiteX3" fmla="*/ 73059 w 73059"/>
                    <a:gd name="connsiteY3" fmla="*/ 5491 h 5491"/>
                    <a:gd name="connsiteX4" fmla="*/ 0 w 73059"/>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059" h="5491">
                      <a:moveTo>
                        <a:pt x="0" y="5491"/>
                      </a:moveTo>
                      <a:lnTo>
                        <a:pt x="9298" y="0"/>
                      </a:lnTo>
                      <a:lnTo>
                        <a:pt x="69816" y="0"/>
                      </a:lnTo>
                      <a:lnTo>
                        <a:pt x="7305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22" name="Freeform: Shape 1021">
                  <a:extLst>
                    <a:ext uri="{FF2B5EF4-FFF2-40B4-BE49-F238E27FC236}">
                      <a16:creationId xmlns:a16="http://schemas.microsoft.com/office/drawing/2014/main" id="{FF3FBC80-5807-48BD-9DF6-0B045CB5D2E3}"/>
                    </a:ext>
                  </a:extLst>
                </p:cNvPr>
                <p:cNvSpPr/>
                <p:nvPr/>
              </p:nvSpPr>
              <p:spPr>
                <a:xfrm rot="1833945">
                  <a:off x="3500791" y="3993706"/>
                  <a:ext cx="399824" cy="5492"/>
                </a:xfrm>
                <a:custGeom>
                  <a:avLst/>
                  <a:gdLst>
                    <a:gd name="connsiteX0" fmla="*/ 0 w 399824"/>
                    <a:gd name="connsiteY0" fmla="*/ 0 h 5492"/>
                    <a:gd name="connsiteX1" fmla="*/ 399824 w 399824"/>
                    <a:gd name="connsiteY1" fmla="*/ 1 h 5492"/>
                    <a:gd name="connsiteX2" fmla="*/ 390526 w 399824"/>
                    <a:gd name="connsiteY2" fmla="*/ 5492 h 5492"/>
                    <a:gd name="connsiteX3" fmla="*/ 3243 w 399824"/>
                    <a:gd name="connsiteY3" fmla="*/ 5492 h 5492"/>
                    <a:gd name="connsiteX4" fmla="*/ 0 w 399824"/>
                    <a:gd name="connsiteY4" fmla="*/ 0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824" h="5492">
                      <a:moveTo>
                        <a:pt x="0" y="0"/>
                      </a:moveTo>
                      <a:lnTo>
                        <a:pt x="399824" y="1"/>
                      </a:lnTo>
                      <a:lnTo>
                        <a:pt x="390526" y="5492"/>
                      </a:lnTo>
                      <a:lnTo>
                        <a:pt x="3243" y="5492"/>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23" name="Freeform: Shape 1022">
                  <a:extLst>
                    <a:ext uri="{FF2B5EF4-FFF2-40B4-BE49-F238E27FC236}">
                      <a16:creationId xmlns:a16="http://schemas.microsoft.com/office/drawing/2014/main" id="{E222FCCA-49F7-42B6-BF6C-F1F1461673D5}"/>
                    </a:ext>
                  </a:extLst>
                </p:cNvPr>
                <p:cNvSpPr/>
                <p:nvPr/>
              </p:nvSpPr>
              <p:spPr>
                <a:xfrm rot="1833945">
                  <a:off x="3507177" y="4017074"/>
                  <a:ext cx="307921" cy="5492"/>
                </a:xfrm>
                <a:custGeom>
                  <a:avLst/>
                  <a:gdLst>
                    <a:gd name="connsiteX0" fmla="*/ 0 w 307921"/>
                    <a:gd name="connsiteY0" fmla="*/ 0 h 5492"/>
                    <a:gd name="connsiteX1" fmla="*/ 307921 w 307921"/>
                    <a:gd name="connsiteY1" fmla="*/ 0 h 5492"/>
                    <a:gd name="connsiteX2" fmla="*/ 298623 w 307921"/>
                    <a:gd name="connsiteY2" fmla="*/ 5492 h 5492"/>
                    <a:gd name="connsiteX3" fmla="*/ 3243 w 307921"/>
                    <a:gd name="connsiteY3" fmla="*/ 5492 h 5492"/>
                    <a:gd name="connsiteX4" fmla="*/ 0 w 307921"/>
                    <a:gd name="connsiteY4" fmla="*/ 0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21" h="5492">
                      <a:moveTo>
                        <a:pt x="0" y="0"/>
                      </a:moveTo>
                      <a:lnTo>
                        <a:pt x="307921" y="0"/>
                      </a:lnTo>
                      <a:lnTo>
                        <a:pt x="298623" y="5492"/>
                      </a:lnTo>
                      <a:lnTo>
                        <a:pt x="3243" y="5492"/>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24" name="Freeform: Shape 1023">
                  <a:extLst>
                    <a:ext uri="{FF2B5EF4-FFF2-40B4-BE49-F238E27FC236}">
                      <a16:creationId xmlns:a16="http://schemas.microsoft.com/office/drawing/2014/main" id="{84C60C91-670D-4EC7-96DD-DD417F2D0BBE}"/>
                    </a:ext>
                  </a:extLst>
                </p:cNvPr>
                <p:cNvSpPr/>
                <p:nvPr/>
              </p:nvSpPr>
              <p:spPr>
                <a:xfrm rot="1833945">
                  <a:off x="3513562" y="4040444"/>
                  <a:ext cx="216015" cy="5491"/>
                </a:xfrm>
                <a:custGeom>
                  <a:avLst/>
                  <a:gdLst>
                    <a:gd name="connsiteX0" fmla="*/ 0 w 216015"/>
                    <a:gd name="connsiteY0" fmla="*/ 0 h 5491"/>
                    <a:gd name="connsiteX1" fmla="*/ 216015 w 216015"/>
                    <a:gd name="connsiteY1" fmla="*/ 0 h 5491"/>
                    <a:gd name="connsiteX2" fmla="*/ 206717 w 216015"/>
                    <a:gd name="connsiteY2" fmla="*/ 5491 h 5491"/>
                    <a:gd name="connsiteX3" fmla="*/ 3243 w 216015"/>
                    <a:gd name="connsiteY3" fmla="*/ 5491 h 5491"/>
                    <a:gd name="connsiteX4" fmla="*/ 0 w 216015"/>
                    <a:gd name="connsiteY4" fmla="*/ 0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15" h="5491">
                      <a:moveTo>
                        <a:pt x="0" y="0"/>
                      </a:moveTo>
                      <a:lnTo>
                        <a:pt x="216015" y="0"/>
                      </a:lnTo>
                      <a:lnTo>
                        <a:pt x="206717" y="5491"/>
                      </a:lnTo>
                      <a:lnTo>
                        <a:pt x="3243" y="5491"/>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25" name="Freeform: Shape 1024">
                  <a:extLst>
                    <a:ext uri="{FF2B5EF4-FFF2-40B4-BE49-F238E27FC236}">
                      <a16:creationId xmlns:a16="http://schemas.microsoft.com/office/drawing/2014/main" id="{E48AE57F-9B19-4C9C-81FF-20B7D97BCBD1}"/>
                    </a:ext>
                  </a:extLst>
                </p:cNvPr>
                <p:cNvSpPr/>
                <p:nvPr/>
              </p:nvSpPr>
              <p:spPr>
                <a:xfrm rot="1833945">
                  <a:off x="3519946" y="4063813"/>
                  <a:ext cx="124111" cy="5491"/>
                </a:xfrm>
                <a:custGeom>
                  <a:avLst/>
                  <a:gdLst>
                    <a:gd name="connsiteX0" fmla="*/ 0 w 124111"/>
                    <a:gd name="connsiteY0" fmla="*/ 0 h 5491"/>
                    <a:gd name="connsiteX1" fmla="*/ 124111 w 124111"/>
                    <a:gd name="connsiteY1" fmla="*/ 0 h 5491"/>
                    <a:gd name="connsiteX2" fmla="*/ 114813 w 124111"/>
                    <a:gd name="connsiteY2" fmla="*/ 5491 h 5491"/>
                    <a:gd name="connsiteX3" fmla="*/ 3243 w 124111"/>
                    <a:gd name="connsiteY3" fmla="*/ 5491 h 5491"/>
                    <a:gd name="connsiteX4" fmla="*/ 0 w 124111"/>
                    <a:gd name="connsiteY4" fmla="*/ 0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11" h="5491">
                      <a:moveTo>
                        <a:pt x="0" y="0"/>
                      </a:moveTo>
                      <a:lnTo>
                        <a:pt x="124111" y="0"/>
                      </a:lnTo>
                      <a:lnTo>
                        <a:pt x="114813" y="5491"/>
                      </a:lnTo>
                      <a:lnTo>
                        <a:pt x="3243" y="5491"/>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026" name="Freeform: Shape 1025">
                  <a:extLst>
                    <a:ext uri="{FF2B5EF4-FFF2-40B4-BE49-F238E27FC236}">
                      <a16:creationId xmlns:a16="http://schemas.microsoft.com/office/drawing/2014/main" id="{D55626BD-6BC0-42A8-BD8B-32D2DEB7B896}"/>
                    </a:ext>
                  </a:extLst>
                </p:cNvPr>
                <p:cNvSpPr/>
                <p:nvPr/>
              </p:nvSpPr>
              <p:spPr>
                <a:xfrm rot="1833945">
                  <a:off x="3526331" y="4087181"/>
                  <a:ext cx="32204" cy="5491"/>
                </a:xfrm>
                <a:custGeom>
                  <a:avLst/>
                  <a:gdLst>
                    <a:gd name="connsiteX0" fmla="*/ 0 w 32204"/>
                    <a:gd name="connsiteY0" fmla="*/ 0 h 5491"/>
                    <a:gd name="connsiteX1" fmla="*/ 32204 w 32204"/>
                    <a:gd name="connsiteY1" fmla="*/ 0 h 5491"/>
                    <a:gd name="connsiteX2" fmla="*/ 22906 w 32204"/>
                    <a:gd name="connsiteY2" fmla="*/ 5491 h 5491"/>
                    <a:gd name="connsiteX3" fmla="*/ 3243 w 32204"/>
                    <a:gd name="connsiteY3" fmla="*/ 5491 h 5491"/>
                    <a:gd name="connsiteX4" fmla="*/ 0 w 32204"/>
                    <a:gd name="connsiteY4" fmla="*/ 0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4" h="5491">
                      <a:moveTo>
                        <a:pt x="0" y="0"/>
                      </a:moveTo>
                      <a:lnTo>
                        <a:pt x="32204" y="0"/>
                      </a:lnTo>
                      <a:lnTo>
                        <a:pt x="22906" y="5491"/>
                      </a:lnTo>
                      <a:lnTo>
                        <a:pt x="3243" y="5491"/>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sp>
            <p:nvSpPr>
              <p:cNvPr id="995" name="Oval 294">
                <a:extLst>
                  <a:ext uri="{FF2B5EF4-FFF2-40B4-BE49-F238E27FC236}">
                    <a16:creationId xmlns:a16="http://schemas.microsoft.com/office/drawing/2014/main" id="{3821662E-3D5C-46EB-902D-22D17C3A42CB}"/>
                  </a:ext>
                </a:extLst>
              </p:cNvPr>
              <p:cNvSpPr/>
              <p:nvPr/>
            </p:nvSpPr>
            <p:spPr>
              <a:xfrm>
                <a:off x="9849356" y="3707987"/>
                <a:ext cx="1552005" cy="1551998"/>
              </a:xfrm>
              <a:prstGeom prst="ellipse">
                <a:avLst/>
              </a:prstGeom>
              <a:solidFill>
                <a:schemeClr val="accent1">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996" name="Picture 995" descr="A picture containing tower, black, white, clock&#10;&#10;Description automatically generated">
                <a:extLst>
                  <a:ext uri="{FF2B5EF4-FFF2-40B4-BE49-F238E27FC236}">
                    <a16:creationId xmlns:a16="http://schemas.microsoft.com/office/drawing/2014/main" id="{C6D5EF8D-D171-46F3-867A-E06117D863E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968690" y="3834787"/>
                <a:ext cx="1384414" cy="1423013"/>
              </a:xfrm>
              <a:prstGeom prst="rect">
                <a:avLst/>
              </a:prstGeom>
            </p:spPr>
          </p:pic>
          <p:grpSp>
            <p:nvGrpSpPr>
              <p:cNvPr id="997" name="Group 996">
                <a:extLst>
                  <a:ext uri="{FF2B5EF4-FFF2-40B4-BE49-F238E27FC236}">
                    <a16:creationId xmlns:a16="http://schemas.microsoft.com/office/drawing/2014/main" id="{F73FC57D-E6AE-430A-B21E-68C5252CA40F}"/>
                  </a:ext>
                </a:extLst>
              </p:cNvPr>
              <p:cNvGrpSpPr/>
              <p:nvPr/>
            </p:nvGrpSpPr>
            <p:grpSpPr>
              <a:xfrm>
                <a:off x="11425861" y="4653427"/>
                <a:ext cx="469712" cy="442001"/>
                <a:chOff x="11417488" y="4500476"/>
                <a:chExt cx="776502" cy="730692"/>
              </a:xfrm>
            </p:grpSpPr>
            <p:sp>
              <p:nvSpPr>
                <p:cNvPr id="998" name="Freeform 25">
                  <a:extLst>
                    <a:ext uri="{FF2B5EF4-FFF2-40B4-BE49-F238E27FC236}">
                      <a16:creationId xmlns:a16="http://schemas.microsoft.com/office/drawing/2014/main" id="{A45FE9B5-515C-4139-A14F-8ECA9AB29CF2}"/>
                    </a:ext>
                  </a:extLst>
                </p:cNvPr>
                <p:cNvSpPr>
                  <a:spLocks noEditPoints="1"/>
                </p:cNvSpPr>
                <p:nvPr/>
              </p:nvSpPr>
              <p:spPr bwMode="auto">
                <a:xfrm>
                  <a:off x="11480492" y="4910496"/>
                  <a:ext cx="325231" cy="320672"/>
                </a:xfrm>
                <a:custGeom>
                  <a:avLst/>
                  <a:gdLst>
                    <a:gd name="T0" fmla="*/ 72 w 88"/>
                    <a:gd name="T1" fmla="*/ 91 h 91"/>
                    <a:gd name="T2" fmla="*/ 15 w 88"/>
                    <a:gd name="T3" fmla="*/ 91 h 91"/>
                    <a:gd name="T4" fmla="*/ 0 w 88"/>
                    <a:gd name="T5" fmla="*/ 75 h 91"/>
                    <a:gd name="T6" fmla="*/ 0 w 88"/>
                    <a:gd name="T7" fmla="*/ 16 h 91"/>
                    <a:gd name="T8" fmla="*/ 15 w 88"/>
                    <a:gd name="T9" fmla="*/ 0 h 91"/>
                    <a:gd name="T10" fmla="*/ 72 w 88"/>
                    <a:gd name="T11" fmla="*/ 0 h 91"/>
                    <a:gd name="T12" fmla="*/ 88 w 88"/>
                    <a:gd name="T13" fmla="*/ 16 h 91"/>
                    <a:gd name="T14" fmla="*/ 88 w 88"/>
                    <a:gd name="T15" fmla="*/ 75 h 91"/>
                    <a:gd name="T16" fmla="*/ 72 w 88"/>
                    <a:gd name="T17" fmla="*/ 91 h 91"/>
                    <a:gd name="T18" fmla="*/ 15 w 88"/>
                    <a:gd name="T19" fmla="*/ 3 h 91"/>
                    <a:gd name="T20" fmla="*/ 3 w 88"/>
                    <a:gd name="T21" fmla="*/ 16 h 91"/>
                    <a:gd name="T22" fmla="*/ 3 w 88"/>
                    <a:gd name="T23" fmla="*/ 75 h 91"/>
                    <a:gd name="T24" fmla="*/ 15 w 88"/>
                    <a:gd name="T25" fmla="*/ 88 h 91"/>
                    <a:gd name="T26" fmla="*/ 72 w 88"/>
                    <a:gd name="T27" fmla="*/ 88 h 91"/>
                    <a:gd name="T28" fmla="*/ 85 w 88"/>
                    <a:gd name="T29" fmla="*/ 75 h 91"/>
                    <a:gd name="T30" fmla="*/ 85 w 88"/>
                    <a:gd name="T31" fmla="*/ 16 h 91"/>
                    <a:gd name="T32" fmla="*/ 72 w 88"/>
                    <a:gd name="T33" fmla="*/ 3 h 91"/>
                    <a:gd name="T34" fmla="*/ 15 w 88"/>
                    <a:gd name="T35" fmla="*/ 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91">
                      <a:moveTo>
                        <a:pt x="72" y="91"/>
                      </a:moveTo>
                      <a:cubicBezTo>
                        <a:pt x="15" y="91"/>
                        <a:pt x="15" y="91"/>
                        <a:pt x="15" y="91"/>
                      </a:cubicBezTo>
                      <a:cubicBezTo>
                        <a:pt x="7" y="91"/>
                        <a:pt x="0" y="84"/>
                        <a:pt x="0" y="75"/>
                      </a:cubicBezTo>
                      <a:cubicBezTo>
                        <a:pt x="0" y="16"/>
                        <a:pt x="0" y="16"/>
                        <a:pt x="0" y="16"/>
                      </a:cubicBezTo>
                      <a:cubicBezTo>
                        <a:pt x="0" y="7"/>
                        <a:pt x="7" y="0"/>
                        <a:pt x="15" y="0"/>
                      </a:cubicBezTo>
                      <a:cubicBezTo>
                        <a:pt x="72" y="0"/>
                        <a:pt x="72" y="0"/>
                        <a:pt x="72" y="0"/>
                      </a:cubicBezTo>
                      <a:cubicBezTo>
                        <a:pt x="81" y="0"/>
                        <a:pt x="88" y="7"/>
                        <a:pt x="88" y="16"/>
                      </a:cubicBezTo>
                      <a:cubicBezTo>
                        <a:pt x="88" y="75"/>
                        <a:pt x="88" y="75"/>
                        <a:pt x="88" y="75"/>
                      </a:cubicBezTo>
                      <a:cubicBezTo>
                        <a:pt x="88" y="84"/>
                        <a:pt x="81" y="91"/>
                        <a:pt x="72" y="91"/>
                      </a:cubicBezTo>
                      <a:close/>
                      <a:moveTo>
                        <a:pt x="15" y="3"/>
                      </a:moveTo>
                      <a:cubicBezTo>
                        <a:pt x="8" y="3"/>
                        <a:pt x="3" y="9"/>
                        <a:pt x="3" y="16"/>
                      </a:cubicBezTo>
                      <a:cubicBezTo>
                        <a:pt x="3" y="75"/>
                        <a:pt x="3" y="75"/>
                        <a:pt x="3" y="75"/>
                      </a:cubicBezTo>
                      <a:cubicBezTo>
                        <a:pt x="3" y="83"/>
                        <a:pt x="8" y="88"/>
                        <a:pt x="15" y="88"/>
                      </a:cubicBezTo>
                      <a:cubicBezTo>
                        <a:pt x="72" y="88"/>
                        <a:pt x="72" y="88"/>
                        <a:pt x="72" y="88"/>
                      </a:cubicBezTo>
                      <a:cubicBezTo>
                        <a:pt x="79" y="88"/>
                        <a:pt x="85" y="83"/>
                        <a:pt x="85" y="75"/>
                      </a:cubicBezTo>
                      <a:cubicBezTo>
                        <a:pt x="85" y="16"/>
                        <a:pt x="85" y="16"/>
                        <a:pt x="85" y="16"/>
                      </a:cubicBezTo>
                      <a:cubicBezTo>
                        <a:pt x="85" y="9"/>
                        <a:pt x="79" y="3"/>
                        <a:pt x="72" y="3"/>
                      </a:cubicBezTo>
                      <a:lnTo>
                        <a:pt x="15" y="3"/>
                      </a:lnTo>
                      <a:close/>
                    </a:path>
                  </a:pathLst>
                </a:custGeom>
                <a:solidFill>
                  <a:srgbClr val="0D274D"/>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ＭＳ Ｐゴシック" charset="0"/>
                  </a:endParaRPr>
                </a:p>
              </p:txBody>
            </p:sp>
            <p:sp>
              <p:nvSpPr>
                <p:cNvPr id="999" name="Freeform 17">
                  <a:extLst>
                    <a:ext uri="{FF2B5EF4-FFF2-40B4-BE49-F238E27FC236}">
                      <a16:creationId xmlns:a16="http://schemas.microsoft.com/office/drawing/2014/main" id="{8131B297-2351-4DE2-A22A-5198CB274334}"/>
                    </a:ext>
                  </a:extLst>
                </p:cNvPr>
                <p:cNvSpPr>
                  <a:spLocks/>
                </p:cNvSpPr>
                <p:nvPr/>
              </p:nvSpPr>
              <p:spPr bwMode="auto">
                <a:xfrm>
                  <a:off x="11750863" y="4837469"/>
                  <a:ext cx="443127" cy="233363"/>
                </a:xfrm>
                <a:custGeom>
                  <a:avLst/>
                  <a:gdLst>
                    <a:gd name="T0" fmla="*/ 61 w 122"/>
                    <a:gd name="T1" fmla="*/ 0 h 62"/>
                    <a:gd name="T2" fmla="*/ 53 w 122"/>
                    <a:gd name="T3" fmla="*/ 3 h 62"/>
                    <a:gd name="T4" fmla="*/ 4 w 122"/>
                    <a:gd name="T5" fmla="*/ 54 h 62"/>
                    <a:gd name="T6" fmla="*/ 8 w 122"/>
                    <a:gd name="T7" fmla="*/ 62 h 62"/>
                    <a:gd name="T8" fmla="*/ 114 w 122"/>
                    <a:gd name="T9" fmla="*/ 62 h 62"/>
                    <a:gd name="T10" fmla="*/ 118 w 122"/>
                    <a:gd name="T11" fmla="*/ 54 h 62"/>
                    <a:gd name="T12" fmla="*/ 69 w 122"/>
                    <a:gd name="T13" fmla="*/ 3 h 62"/>
                    <a:gd name="T14" fmla="*/ 61 w 122"/>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62">
                      <a:moveTo>
                        <a:pt x="61" y="0"/>
                      </a:moveTo>
                      <a:cubicBezTo>
                        <a:pt x="58" y="0"/>
                        <a:pt x="55" y="1"/>
                        <a:pt x="53" y="3"/>
                      </a:cubicBezTo>
                      <a:cubicBezTo>
                        <a:pt x="4" y="54"/>
                        <a:pt x="4" y="54"/>
                        <a:pt x="4" y="54"/>
                      </a:cubicBezTo>
                      <a:cubicBezTo>
                        <a:pt x="0" y="59"/>
                        <a:pt x="1" y="62"/>
                        <a:pt x="8" y="62"/>
                      </a:cubicBezTo>
                      <a:cubicBezTo>
                        <a:pt x="114" y="62"/>
                        <a:pt x="114" y="62"/>
                        <a:pt x="114" y="62"/>
                      </a:cubicBezTo>
                      <a:cubicBezTo>
                        <a:pt x="121" y="62"/>
                        <a:pt x="122" y="59"/>
                        <a:pt x="118" y="54"/>
                      </a:cubicBezTo>
                      <a:cubicBezTo>
                        <a:pt x="69" y="3"/>
                        <a:pt x="69" y="3"/>
                        <a:pt x="69" y="3"/>
                      </a:cubicBezTo>
                      <a:cubicBezTo>
                        <a:pt x="67" y="1"/>
                        <a:pt x="64" y="0"/>
                        <a:pt x="61" y="0"/>
                      </a:cubicBezTo>
                    </a:path>
                  </a:pathLst>
                </a:custGeom>
                <a:solidFill>
                  <a:srgbClr val="0D274D"/>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ＭＳ Ｐゴシック" charset="0"/>
                  </a:endParaRPr>
                </a:p>
              </p:txBody>
            </p:sp>
            <p:sp>
              <p:nvSpPr>
                <p:cNvPr id="1000" name="Freeform 17">
                  <a:extLst>
                    <a:ext uri="{FF2B5EF4-FFF2-40B4-BE49-F238E27FC236}">
                      <a16:creationId xmlns:a16="http://schemas.microsoft.com/office/drawing/2014/main" id="{5DA6C346-78FB-4DA5-A703-E9D326F4218A}"/>
                    </a:ext>
                  </a:extLst>
                </p:cNvPr>
                <p:cNvSpPr>
                  <a:spLocks/>
                </p:cNvSpPr>
                <p:nvPr/>
              </p:nvSpPr>
              <p:spPr bwMode="auto">
                <a:xfrm>
                  <a:off x="11417488" y="4500476"/>
                  <a:ext cx="443127" cy="233363"/>
                </a:xfrm>
                <a:custGeom>
                  <a:avLst/>
                  <a:gdLst>
                    <a:gd name="T0" fmla="*/ 61 w 122"/>
                    <a:gd name="T1" fmla="*/ 0 h 62"/>
                    <a:gd name="T2" fmla="*/ 53 w 122"/>
                    <a:gd name="T3" fmla="*/ 3 h 62"/>
                    <a:gd name="T4" fmla="*/ 4 w 122"/>
                    <a:gd name="T5" fmla="*/ 54 h 62"/>
                    <a:gd name="T6" fmla="*/ 8 w 122"/>
                    <a:gd name="T7" fmla="*/ 62 h 62"/>
                    <a:gd name="T8" fmla="*/ 114 w 122"/>
                    <a:gd name="T9" fmla="*/ 62 h 62"/>
                    <a:gd name="T10" fmla="*/ 118 w 122"/>
                    <a:gd name="T11" fmla="*/ 54 h 62"/>
                    <a:gd name="T12" fmla="*/ 69 w 122"/>
                    <a:gd name="T13" fmla="*/ 3 h 62"/>
                    <a:gd name="T14" fmla="*/ 61 w 122"/>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62">
                      <a:moveTo>
                        <a:pt x="61" y="0"/>
                      </a:moveTo>
                      <a:cubicBezTo>
                        <a:pt x="58" y="0"/>
                        <a:pt x="55" y="1"/>
                        <a:pt x="53" y="3"/>
                      </a:cubicBezTo>
                      <a:cubicBezTo>
                        <a:pt x="4" y="54"/>
                        <a:pt x="4" y="54"/>
                        <a:pt x="4" y="54"/>
                      </a:cubicBezTo>
                      <a:cubicBezTo>
                        <a:pt x="0" y="59"/>
                        <a:pt x="1" y="62"/>
                        <a:pt x="8" y="62"/>
                      </a:cubicBezTo>
                      <a:cubicBezTo>
                        <a:pt x="114" y="62"/>
                        <a:pt x="114" y="62"/>
                        <a:pt x="114" y="62"/>
                      </a:cubicBezTo>
                      <a:cubicBezTo>
                        <a:pt x="121" y="62"/>
                        <a:pt x="122" y="59"/>
                        <a:pt x="118" y="54"/>
                      </a:cubicBezTo>
                      <a:cubicBezTo>
                        <a:pt x="69" y="3"/>
                        <a:pt x="69" y="3"/>
                        <a:pt x="69" y="3"/>
                      </a:cubicBezTo>
                      <a:cubicBezTo>
                        <a:pt x="67" y="1"/>
                        <a:pt x="64" y="0"/>
                        <a:pt x="61" y="0"/>
                      </a:cubicBezTo>
                    </a:path>
                  </a:pathLst>
                </a:custGeom>
                <a:solidFill>
                  <a:srgbClr val="00BCEB"/>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ＭＳ Ｐゴシック" charset="0"/>
                  </a:endParaRPr>
                </a:p>
              </p:txBody>
            </p:sp>
          </p:grpSp>
        </p:grpSp>
      </p:grpSp>
      <p:sp>
        <p:nvSpPr>
          <p:cNvPr id="1071" name="Rectangle 1070">
            <a:extLst>
              <a:ext uri="{FF2B5EF4-FFF2-40B4-BE49-F238E27FC236}">
                <a16:creationId xmlns:a16="http://schemas.microsoft.com/office/drawing/2014/main" id="{8AAA9E89-FE18-4D02-8E58-E1099F6345BE}"/>
              </a:ext>
            </a:extLst>
          </p:cNvPr>
          <p:cNvSpPr/>
          <p:nvPr/>
        </p:nvSpPr>
        <p:spPr>
          <a:xfrm>
            <a:off x="0" y="1180151"/>
            <a:ext cx="12192000" cy="4914965"/>
          </a:xfrm>
          <a:prstGeom prst="rect">
            <a:avLst/>
          </a:prstGeom>
          <a:solidFill>
            <a:schemeClr val="bg2">
              <a:alpha val="8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094" name="Group 1093">
            <a:extLst>
              <a:ext uri="{FF2B5EF4-FFF2-40B4-BE49-F238E27FC236}">
                <a16:creationId xmlns:a16="http://schemas.microsoft.com/office/drawing/2014/main" id="{1AA86E03-E631-4563-A07F-6071887F8473}"/>
              </a:ext>
            </a:extLst>
          </p:cNvPr>
          <p:cNvGrpSpPr/>
          <p:nvPr/>
        </p:nvGrpSpPr>
        <p:grpSpPr>
          <a:xfrm rot="2202474" flipH="1">
            <a:off x="2466809" y="2640531"/>
            <a:ext cx="674040" cy="2083450"/>
            <a:chOff x="-2811377" y="877971"/>
            <a:chExt cx="1235896" cy="3820139"/>
          </a:xfrm>
        </p:grpSpPr>
        <p:sp>
          <p:nvSpPr>
            <p:cNvPr id="1095" name="Freeform: Shape 1094">
              <a:extLst>
                <a:ext uri="{FF2B5EF4-FFF2-40B4-BE49-F238E27FC236}">
                  <a16:creationId xmlns:a16="http://schemas.microsoft.com/office/drawing/2014/main" id="{0EFE6316-03CD-4CAB-8E6F-E8D5565FF15B}"/>
                </a:ext>
              </a:extLst>
            </p:cNvPr>
            <p:cNvSpPr/>
            <p:nvPr/>
          </p:nvSpPr>
          <p:spPr>
            <a:xfrm rot="5400000">
              <a:off x="-1709720" y="2845035"/>
              <a:ext cx="134239" cy="134239"/>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96" name="Freeform: Shape 1095">
              <a:extLst>
                <a:ext uri="{FF2B5EF4-FFF2-40B4-BE49-F238E27FC236}">
                  <a16:creationId xmlns:a16="http://schemas.microsoft.com/office/drawing/2014/main" id="{114B54F6-8C5C-4BBD-8A8F-2F3762C712F9}"/>
                </a:ext>
              </a:extLst>
            </p:cNvPr>
            <p:cNvSpPr/>
            <p:nvPr/>
          </p:nvSpPr>
          <p:spPr>
            <a:xfrm rot="5400000">
              <a:off x="-1713298" y="2351033"/>
              <a:ext cx="134239" cy="134239"/>
            </a:xfrm>
            <a:custGeom>
              <a:avLst/>
              <a:gdLst>
                <a:gd name="connsiteX0" fmla="*/ 23894 w 42922"/>
                <a:gd name="connsiteY0" fmla="*/ 10731 h 42922"/>
                <a:gd name="connsiteX1" fmla="*/ 10731 w 42922"/>
                <a:gd name="connsiteY1" fmla="*/ 23894 h 42922"/>
                <a:gd name="connsiteX2" fmla="*/ 23894 w 42922"/>
                <a:gd name="connsiteY2" fmla="*/ 37056 h 42922"/>
                <a:gd name="connsiteX3" fmla="*/ 37056 w 42922"/>
                <a:gd name="connsiteY3" fmla="*/ 23894 h 42922"/>
                <a:gd name="connsiteX4" fmla="*/ 23894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4" y="10731"/>
                  </a:moveTo>
                  <a:cubicBezTo>
                    <a:pt x="16624" y="10731"/>
                    <a:pt x="10731" y="16624"/>
                    <a:pt x="10731" y="23894"/>
                  </a:cubicBezTo>
                  <a:cubicBezTo>
                    <a:pt x="10731" y="31163"/>
                    <a:pt x="16624" y="37056"/>
                    <a:pt x="23894" y="37056"/>
                  </a:cubicBezTo>
                  <a:cubicBezTo>
                    <a:pt x="31163" y="37056"/>
                    <a:pt x="37056" y="31163"/>
                    <a:pt x="37056" y="23894"/>
                  </a:cubicBezTo>
                  <a:cubicBezTo>
                    <a:pt x="37056" y="16624"/>
                    <a:pt x="31163" y="10731"/>
                    <a:pt x="2389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97" name="Freeform: Shape 1096">
              <a:extLst>
                <a:ext uri="{FF2B5EF4-FFF2-40B4-BE49-F238E27FC236}">
                  <a16:creationId xmlns:a16="http://schemas.microsoft.com/office/drawing/2014/main" id="{0FE07777-8979-4C8F-A395-182DE84D47D4}"/>
                </a:ext>
              </a:extLst>
            </p:cNvPr>
            <p:cNvSpPr/>
            <p:nvPr/>
          </p:nvSpPr>
          <p:spPr>
            <a:xfrm rot="5400000">
              <a:off x="-1715087" y="2105374"/>
              <a:ext cx="134239" cy="134239"/>
            </a:xfrm>
            <a:custGeom>
              <a:avLst/>
              <a:gdLst>
                <a:gd name="connsiteX0" fmla="*/ 22892 w 42922"/>
                <a:gd name="connsiteY0" fmla="*/ 11160 h 42922"/>
                <a:gd name="connsiteX1" fmla="*/ 10731 w 42922"/>
                <a:gd name="connsiteY1" fmla="*/ 22892 h 42922"/>
                <a:gd name="connsiteX2" fmla="*/ 10731 w 42922"/>
                <a:gd name="connsiteY2" fmla="*/ 22892 h 42922"/>
                <a:gd name="connsiteX3" fmla="*/ 22892 w 42922"/>
                <a:gd name="connsiteY3" fmla="*/ 35053 h 42922"/>
                <a:gd name="connsiteX4" fmla="*/ 35053 w 42922"/>
                <a:gd name="connsiteY4" fmla="*/ 22892 h 42922"/>
                <a:gd name="connsiteX5" fmla="*/ 22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2" y="11160"/>
                  </a:moveTo>
                  <a:cubicBezTo>
                    <a:pt x="16309" y="11080"/>
                    <a:pt x="10887" y="16311"/>
                    <a:pt x="10731" y="22892"/>
                  </a:cubicBezTo>
                  <a:lnTo>
                    <a:pt x="10731" y="22892"/>
                  </a:ln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98" name="Freeform: Shape 1097">
              <a:extLst>
                <a:ext uri="{FF2B5EF4-FFF2-40B4-BE49-F238E27FC236}">
                  <a16:creationId xmlns:a16="http://schemas.microsoft.com/office/drawing/2014/main" id="{D3211874-44FF-439A-9592-EBACD22AAE35}"/>
                </a:ext>
              </a:extLst>
            </p:cNvPr>
            <p:cNvSpPr/>
            <p:nvPr/>
          </p:nvSpPr>
          <p:spPr>
            <a:xfrm rot="5400000">
              <a:off x="-1710167" y="2595797"/>
              <a:ext cx="134239" cy="134239"/>
            </a:xfrm>
            <a:custGeom>
              <a:avLst/>
              <a:gdLst>
                <a:gd name="connsiteX0" fmla="*/ 25038 w 42922"/>
                <a:gd name="connsiteY0" fmla="*/ 10731 h 42922"/>
                <a:gd name="connsiteX1" fmla="*/ 10731 w 42922"/>
                <a:gd name="connsiteY1" fmla="*/ 25038 h 42922"/>
                <a:gd name="connsiteX2" fmla="*/ 10731 w 42922"/>
                <a:gd name="connsiteY2" fmla="*/ 25038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lnTo>
                    <a:pt x="10731" y="25038"/>
                  </a:lnTo>
                  <a:cubicBezTo>
                    <a:pt x="10731" y="32940"/>
                    <a:pt x="17136" y="39346"/>
                    <a:pt x="25038" y="39346"/>
                  </a:cubicBez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99" name="Freeform: Shape 1098">
              <a:extLst>
                <a:ext uri="{FF2B5EF4-FFF2-40B4-BE49-F238E27FC236}">
                  <a16:creationId xmlns:a16="http://schemas.microsoft.com/office/drawing/2014/main" id="{0E3CA63E-7B5B-4680-B775-4D1CCFFC5CA5}"/>
                </a:ext>
              </a:extLst>
            </p:cNvPr>
            <p:cNvSpPr/>
            <p:nvPr/>
          </p:nvSpPr>
          <p:spPr>
            <a:xfrm rot="5400000">
              <a:off x="-1716428" y="3349776"/>
              <a:ext cx="134239" cy="134239"/>
            </a:xfrm>
            <a:custGeom>
              <a:avLst/>
              <a:gdLst>
                <a:gd name="connsiteX0" fmla="*/ 22892 w 42922"/>
                <a:gd name="connsiteY0" fmla="*/ 10732 h 42922"/>
                <a:gd name="connsiteX1" fmla="*/ 22892 w 42922"/>
                <a:gd name="connsiteY1" fmla="*/ 10732 h 42922"/>
                <a:gd name="connsiteX2" fmla="*/ 10731 w 42922"/>
                <a:gd name="connsiteY2" fmla="*/ 22893 h 42922"/>
                <a:gd name="connsiteX3" fmla="*/ 22892 w 42922"/>
                <a:gd name="connsiteY3" fmla="*/ 35054 h 42922"/>
                <a:gd name="connsiteX4" fmla="*/ 35053 w 42922"/>
                <a:gd name="connsiteY4" fmla="*/ 22893 h 42922"/>
                <a:gd name="connsiteX5" fmla="*/ 23180 w 42922"/>
                <a:gd name="connsiteY5" fmla="*/ 10732 h 42922"/>
                <a:gd name="connsiteX6" fmla="*/ 22892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2"/>
                  </a:moveTo>
                  <a:lnTo>
                    <a:pt x="22892" y="10732"/>
                  </a:lnTo>
                  <a:cubicBezTo>
                    <a:pt x="16176" y="10732"/>
                    <a:pt x="10731" y="16177"/>
                    <a:pt x="10731" y="22893"/>
                  </a:cubicBezTo>
                  <a:cubicBezTo>
                    <a:pt x="10731" y="29609"/>
                    <a:pt x="16176" y="35054"/>
                    <a:pt x="22892" y="35054"/>
                  </a:cubicBezTo>
                  <a:cubicBezTo>
                    <a:pt x="29608" y="35054"/>
                    <a:pt x="35053" y="29609"/>
                    <a:pt x="35053" y="22893"/>
                  </a:cubicBezTo>
                  <a:cubicBezTo>
                    <a:pt x="35132" y="16256"/>
                    <a:pt x="29817" y="10812"/>
                    <a:pt x="23180" y="10732"/>
                  </a:cubicBezTo>
                  <a:cubicBezTo>
                    <a:pt x="23084" y="10730"/>
                    <a:pt x="22988" y="10730"/>
                    <a:pt x="2289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00" name="Freeform: Shape 1099">
              <a:extLst>
                <a:ext uri="{FF2B5EF4-FFF2-40B4-BE49-F238E27FC236}">
                  <a16:creationId xmlns:a16="http://schemas.microsoft.com/office/drawing/2014/main" id="{8A0B9462-7865-4D9C-B675-60A763BBA668}"/>
                </a:ext>
              </a:extLst>
            </p:cNvPr>
            <p:cNvSpPr/>
            <p:nvPr/>
          </p:nvSpPr>
          <p:spPr>
            <a:xfrm rot="5400000">
              <a:off x="-1713298" y="3096511"/>
              <a:ext cx="134239" cy="134239"/>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01" name="Freeform: Shape 1100">
              <a:extLst>
                <a:ext uri="{FF2B5EF4-FFF2-40B4-BE49-F238E27FC236}">
                  <a16:creationId xmlns:a16="http://schemas.microsoft.com/office/drawing/2014/main" id="{53EF388C-B472-4BED-B517-38A64573E83A}"/>
                </a:ext>
              </a:extLst>
            </p:cNvPr>
            <p:cNvSpPr/>
            <p:nvPr/>
          </p:nvSpPr>
          <p:spPr>
            <a:xfrm rot="5400000">
              <a:off x="-1678552" y="1123297"/>
              <a:ext cx="89493" cy="89493"/>
            </a:xfrm>
            <a:custGeom>
              <a:avLst/>
              <a:gdLst>
                <a:gd name="connsiteX0" fmla="*/ 10839 w 28614"/>
                <a:gd name="connsiteY0" fmla="*/ 17836 h 28614"/>
                <a:gd name="connsiteX1" fmla="*/ 10839 w 28614"/>
                <a:gd name="connsiteY1" fmla="*/ 20411 h 28614"/>
                <a:gd name="connsiteX2" fmla="*/ 20392 w 28614"/>
                <a:gd name="connsiteY2" fmla="*/ 27569 h 28614"/>
                <a:gd name="connsiteX3" fmla="*/ 20425 w 28614"/>
                <a:gd name="connsiteY3" fmla="*/ 27565 h 28614"/>
                <a:gd name="connsiteX4" fmla="*/ 27579 w 28614"/>
                <a:gd name="connsiteY4" fmla="*/ 20411 h 28614"/>
                <a:gd name="connsiteX5" fmla="*/ 20425 w 28614"/>
                <a:gd name="connsiteY5" fmla="*/ 10825 h 28614"/>
                <a:gd name="connsiteX6" fmla="*/ 10839 w 28614"/>
                <a:gd name="connsiteY6" fmla="*/ 178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0839" y="17836"/>
                  </a:moveTo>
                  <a:cubicBezTo>
                    <a:pt x="10694" y="18688"/>
                    <a:pt x="10694" y="19558"/>
                    <a:pt x="10839" y="20411"/>
                  </a:cubicBezTo>
                  <a:cubicBezTo>
                    <a:pt x="11500" y="25026"/>
                    <a:pt x="15778" y="28231"/>
                    <a:pt x="20392" y="27569"/>
                  </a:cubicBezTo>
                  <a:cubicBezTo>
                    <a:pt x="20404" y="27567"/>
                    <a:pt x="20414" y="27566"/>
                    <a:pt x="20425" y="27565"/>
                  </a:cubicBezTo>
                  <a:cubicBezTo>
                    <a:pt x="24132" y="27031"/>
                    <a:pt x="27045" y="24118"/>
                    <a:pt x="27579" y="20411"/>
                  </a:cubicBezTo>
                  <a:cubicBezTo>
                    <a:pt x="28180" y="15807"/>
                    <a:pt x="25009" y="11560"/>
                    <a:pt x="20425" y="10825"/>
                  </a:cubicBezTo>
                  <a:cubicBezTo>
                    <a:pt x="15848" y="10140"/>
                    <a:pt x="11573" y="13266"/>
                    <a:pt x="10839" y="1783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02" name="Freeform: Shape 1101">
              <a:extLst>
                <a:ext uri="{FF2B5EF4-FFF2-40B4-BE49-F238E27FC236}">
                  <a16:creationId xmlns:a16="http://schemas.microsoft.com/office/drawing/2014/main" id="{7CC92B3B-A914-4FF1-8F1E-B61543ADC016}"/>
                </a:ext>
              </a:extLst>
            </p:cNvPr>
            <p:cNvSpPr/>
            <p:nvPr/>
          </p:nvSpPr>
          <p:spPr>
            <a:xfrm rot="5400000">
              <a:off x="-1677498" y="1369280"/>
              <a:ext cx="89493" cy="89493"/>
            </a:xfrm>
            <a:custGeom>
              <a:avLst/>
              <a:gdLst>
                <a:gd name="connsiteX0" fmla="*/ 19892 w 28614"/>
                <a:gd name="connsiteY0" fmla="*/ 30333 h 28614"/>
                <a:gd name="connsiteX1" fmla="*/ 29764 w 28614"/>
                <a:gd name="connsiteY1" fmla="*/ 20461 h 28614"/>
                <a:gd name="connsiteX2" fmla="*/ 20036 w 28614"/>
                <a:gd name="connsiteY2" fmla="*/ 10731 h 28614"/>
                <a:gd name="connsiteX3" fmla="*/ 19892 w 28614"/>
                <a:gd name="connsiteY3" fmla="*/ 10732 h 28614"/>
                <a:gd name="connsiteX4" fmla="*/ 10735 w 28614"/>
                <a:gd name="connsiteY4" fmla="*/ 19600 h 28614"/>
                <a:gd name="connsiteX5" fmla="*/ 10735 w 28614"/>
                <a:gd name="connsiteY5" fmla="*/ 19889 h 28614"/>
                <a:gd name="connsiteX6" fmla="*/ 10735 w 28614"/>
                <a:gd name="connsiteY6" fmla="*/ 19889 h 28614"/>
                <a:gd name="connsiteX7" fmla="*/ 10735 w 28614"/>
                <a:gd name="connsiteY7" fmla="*/ 20890 h 28614"/>
                <a:gd name="connsiteX8" fmla="*/ 19601 w 28614"/>
                <a:gd name="connsiteY8" fmla="*/ 30329 h 28614"/>
                <a:gd name="connsiteX9" fmla="*/ 19892 w 28614"/>
                <a:gd name="connsiteY9" fmla="*/ 30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19892" y="30333"/>
                  </a:moveTo>
                  <a:cubicBezTo>
                    <a:pt x="25345" y="30333"/>
                    <a:pt x="29764" y="25914"/>
                    <a:pt x="29764" y="20461"/>
                  </a:cubicBezTo>
                  <a:cubicBezTo>
                    <a:pt x="29764" y="15087"/>
                    <a:pt x="25409" y="10732"/>
                    <a:pt x="20036" y="10731"/>
                  </a:cubicBezTo>
                  <a:cubicBezTo>
                    <a:pt x="19988" y="10731"/>
                    <a:pt x="19941" y="10731"/>
                    <a:pt x="19892" y="10732"/>
                  </a:cubicBezTo>
                  <a:cubicBezTo>
                    <a:pt x="14914" y="10652"/>
                    <a:pt x="10815" y="14622"/>
                    <a:pt x="10735" y="19600"/>
                  </a:cubicBezTo>
                  <a:cubicBezTo>
                    <a:pt x="10734" y="19697"/>
                    <a:pt x="10734" y="19793"/>
                    <a:pt x="10735" y="19889"/>
                  </a:cubicBezTo>
                  <a:lnTo>
                    <a:pt x="10735" y="19889"/>
                  </a:lnTo>
                  <a:lnTo>
                    <a:pt x="10735" y="20890"/>
                  </a:lnTo>
                  <a:cubicBezTo>
                    <a:pt x="10578" y="25945"/>
                    <a:pt x="14547" y="30170"/>
                    <a:pt x="19601" y="30329"/>
                  </a:cubicBezTo>
                  <a:cubicBezTo>
                    <a:pt x="19699" y="30332"/>
                    <a:pt x="19795" y="30333"/>
                    <a:pt x="19892" y="3033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03" name="Freeform: Shape 1102">
              <a:extLst>
                <a:ext uri="{FF2B5EF4-FFF2-40B4-BE49-F238E27FC236}">
                  <a16:creationId xmlns:a16="http://schemas.microsoft.com/office/drawing/2014/main" id="{C2C464D6-7310-4C9E-BCB2-E7B2FD026A7C}"/>
                </a:ext>
              </a:extLst>
            </p:cNvPr>
            <p:cNvSpPr/>
            <p:nvPr/>
          </p:nvSpPr>
          <p:spPr>
            <a:xfrm rot="5400000">
              <a:off x="-1683320" y="877977"/>
              <a:ext cx="89493" cy="89493"/>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04" name="Freeform: Shape 1103">
              <a:extLst>
                <a:ext uri="{FF2B5EF4-FFF2-40B4-BE49-F238E27FC236}">
                  <a16:creationId xmlns:a16="http://schemas.microsoft.com/office/drawing/2014/main" id="{EF640AD6-9FAD-42CF-ADCA-5E112366BB1A}"/>
                </a:ext>
              </a:extLst>
            </p:cNvPr>
            <p:cNvSpPr/>
            <p:nvPr/>
          </p:nvSpPr>
          <p:spPr>
            <a:xfrm rot="5400000">
              <a:off x="-1723683" y="1859807"/>
              <a:ext cx="134239" cy="134239"/>
            </a:xfrm>
            <a:custGeom>
              <a:avLst/>
              <a:gdLst>
                <a:gd name="connsiteX0" fmla="*/ 20574 w 42922"/>
                <a:gd name="connsiteY0" fmla="*/ 10843 h 42922"/>
                <a:gd name="connsiteX1" fmla="*/ 10845 w 42922"/>
                <a:gd name="connsiteY1" fmla="*/ 20572 h 42922"/>
                <a:gd name="connsiteX2" fmla="*/ 20574 w 42922"/>
                <a:gd name="connsiteY2" fmla="*/ 33509 h 42922"/>
                <a:gd name="connsiteX3" fmla="*/ 33511 w 42922"/>
                <a:gd name="connsiteY3" fmla="*/ 23780 h 42922"/>
                <a:gd name="connsiteX4" fmla="*/ 23782 w 42922"/>
                <a:gd name="connsiteY4" fmla="*/ 10843 h 42922"/>
                <a:gd name="connsiteX5" fmla="*/ 20574 w 42922"/>
                <a:gd name="connsiteY5" fmla="*/ 1084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74" y="10843"/>
                  </a:moveTo>
                  <a:cubicBezTo>
                    <a:pt x="15526" y="11557"/>
                    <a:pt x="11559" y="15525"/>
                    <a:pt x="10845" y="20572"/>
                  </a:cubicBezTo>
                  <a:cubicBezTo>
                    <a:pt x="9959" y="26832"/>
                    <a:pt x="14314" y="32624"/>
                    <a:pt x="20574" y="33509"/>
                  </a:cubicBezTo>
                  <a:cubicBezTo>
                    <a:pt x="26834" y="34395"/>
                    <a:pt x="32625" y="30040"/>
                    <a:pt x="33511" y="23780"/>
                  </a:cubicBezTo>
                  <a:cubicBezTo>
                    <a:pt x="34396" y="17521"/>
                    <a:pt x="30041" y="11729"/>
                    <a:pt x="23782" y="10843"/>
                  </a:cubicBezTo>
                  <a:cubicBezTo>
                    <a:pt x="22717" y="10693"/>
                    <a:pt x="21638" y="10693"/>
                    <a:pt x="20574" y="1084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05" name="Freeform: Shape 1104">
              <a:extLst>
                <a:ext uri="{FF2B5EF4-FFF2-40B4-BE49-F238E27FC236}">
                  <a16:creationId xmlns:a16="http://schemas.microsoft.com/office/drawing/2014/main" id="{3B36287B-239D-4CCC-94F9-A1E00FCB2086}"/>
                </a:ext>
              </a:extLst>
            </p:cNvPr>
            <p:cNvSpPr/>
            <p:nvPr/>
          </p:nvSpPr>
          <p:spPr>
            <a:xfrm rot="5400000">
              <a:off x="-1677501" y="1614504"/>
              <a:ext cx="89493" cy="89493"/>
            </a:xfrm>
            <a:custGeom>
              <a:avLst/>
              <a:gdLst>
                <a:gd name="connsiteX0" fmla="*/ 21032 w 28614"/>
                <a:gd name="connsiteY0" fmla="*/ 10732 h 28614"/>
                <a:gd name="connsiteX1" fmla="*/ 10732 w 28614"/>
                <a:gd name="connsiteY1" fmla="*/ 20745 h 28614"/>
                <a:gd name="connsiteX2" fmla="*/ 10731 w 28614"/>
                <a:gd name="connsiteY2" fmla="*/ 20890 h 28614"/>
                <a:gd name="connsiteX3" fmla="*/ 10731 w 28614"/>
                <a:gd name="connsiteY3" fmla="*/ 20890 h 28614"/>
                <a:gd name="connsiteX4" fmla="*/ 21032 w 28614"/>
                <a:gd name="connsiteY4" fmla="*/ 31191 h 28614"/>
                <a:gd name="connsiteX5" fmla="*/ 31333 w 28614"/>
                <a:gd name="connsiteY5" fmla="*/ 20890 h 28614"/>
                <a:gd name="connsiteX6" fmla="*/ 31333 w 28614"/>
                <a:gd name="connsiteY6" fmla="*/ 20890 h 28614"/>
                <a:gd name="connsiteX7" fmla="*/ 21032 w 28614"/>
                <a:gd name="connsiteY7"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032" y="10732"/>
                  </a:moveTo>
                  <a:cubicBezTo>
                    <a:pt x="15422" y="10653"/>
                    <a:pt x="10811" y="15135"/>
                    <a:pt x="10732" y="20745"/>
                  </a:cubicBezTo>
                  <a:cubicBezTo>
                    <a:pt x="10731" y="20794"/>
                    <a:pt x="10731" y="20841"/>
                    <a:pt x="10731" y="20890"/>
                  </a:cubicBezTo>
                  <a:lnTo>
                    <a:pt x="10731" y="20890"/>
                  </a:lnTo>
                  <a:cubicBezTo>
                    <a:pt x="10731" y="26579"/>
                    <a:pt x="15343" y="31191"/>
                    <a:pt x="21032" y="31191"/>
                  </a:cubicBezTo>
                  <a:cubicBezTo>
                    <a:pt x="26721" y="31191"/>
                    <a:pt x="31333" y="26579"/>
                    <a:pt x="31333" y="20890"/>
                  </a:cubicBezTo>
                  <a:lnTo>
                    <a:pt x="31333" y="20890"/>
                  </a:lnTo>
                  <a:cubicBezTo>
                    <a:pt x="31255" y="15257"/>
                    <a:pt x="26666" y="10732"/>
                    <a:pt x="2103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06" name="Freeform: Shape 1105">
              <a:extLst>
                <a:ext uri="{FF2B5EF4-FFF2-40B4-BE49-F238E27FC236}">
                  <a16:creationId xmlns:a16="http://schemas.microsoft.com/office/drawing/2014/main" id="{B21C375B-9AF0-4D99-A922-B024C164854C}"/>
                </a:ext>
              </a:extLst>
            </p:cNvPr>
            <p:cNvSpPr/>
            <p:nvPr/>
          </p:nvSpPr>
          <p:spPr>
            <a:xfrm rot="5400000">
              <a:off x="-1685989" y="4353440"/>
              <a:ext cx="89493" cy="89493"/>
            </a:xfrm>
            <a:custGeom>
              <a:avLst/>
              <a:gdLst>
                <a:gd name="connsiteX0" fmla="*/ 19459 w 28614"/>
                <a:gd name="connsiteY0" fmla="*/ 10736 h 28614"/>
                <a:gd name="connsiteX1" fmla="*/ 10732 w 28614"/>
                <a:gd name="connsiteY1" fmla="*/ 18881 h 28614"/>
                <a:gd name="connsiteX2" fmla="*/ 10732 w 28614"/>
                <a:gd name="connsiteY2" fmla="*/ 18891 h 28614"/>
                <a:gd name="connsiteX3" fmla="*/ 19030 w 28614"/>
                <a:gd name="connsiteY3" fmla="*/ 27619 h 28614"/>
                <a:gd name="connsiteX4" fmla="*/ 19030 w 28614"/>
                <a:gd name="connsiteY4" fmla="*/ 27619 h 28614"/>
                <a:gd name="connsiteX5" fmla="*/ 27187 w 28614"/>
                <a:gd name="connsiteY5" fmla="*/ 19465 h 28614"/>
                <a:gd name="connsiteX6" fmla="*/ 27186 w 28614"/>
                <a:gd name="connsiteY6" fmla="*/ 19320 h 28614"/>
                <a:gd name="connsiteX7" fmla="*/ 19459 w 28614"/>
                <a:gd name="connsiteY7" fmla="*/ 107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59" y="10736"/>
                  </a:moveTo>
                  <a:cubicBezTo>
                    <a:pt x="14800" y="10575"/>
                    <a:pt x="10894" y="14222"/>
                    <a:pt x="10732" y="18881"/>
                  </a:cubicBezTo>
                  <a:cubicBezTo>
                    <a:pt x="10732" y="18884"/>
                    <a:pt x="10732" y="18888"/>
                    <a:pt x="10732" y="18891"/>
                  </a:cubicBezTo>
                  <a:cubicBezTo>
                    <a:pt x="10652" y="23578"/>
                    <a:pt x="14345" y="27463"/>
                    <a:pt x="19030" y="27619"/>
                  </a:cubicBezTo>
                  <a:lnTo>
                    <a:pt x="19030" y="27619"/>
                  </a:lnTo>
                  <a:cubicBezTo>
                    <a:pt x="23534" y="27619"/>
                    <a:pt x="27186" y="23969"/>
                    <a:pt x="27187" y="19465"/>
                  </a:cubicBezTo>
                  <a:cubicBezTo>
                    <a:pt x="27187" y="19416"/>
                    <a:pt x="27187" y="19369"/>
                    <a:pt x="27186" y="19320"/>
                  </a:cubicBezTo>
                  <a:cubicBezTo>
                    <a:pt x="27277" y="14869"/>
                    <a:pt x="23896" y="11112"/>
                    <a:pt x="19459" y="1073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07" name="Freeform: Shape 1106">
              <a:extLst>
                <a:ext uri="{FF2B5EF4-FFF2-40B4-BE49-F238E27FC236}">
                  <a16:creationId xmlns:a16="http://schemas.microsoft.com/office/drawing/2014/main" id="{242C5BC2-9EAB-438C-B5B1-CBD29EFA8FCC}"/>
                </a:ext>
              </a:extLst>
            </p:cNvPr>
            <p:cNvSpPr/>
            <p:nvPr/>
          </p:nvSpPr>
          <p:spPr>
            <a:xfrm rot="5400000">
              <a:off x="-1677504" y="3851382"/>
              <a:ext cx="89493" cy="89493"/>
            </a:xfrm>
            <a:custGeom>
              <a:avLst/>
              <a:gdLst>
                <a:gd name="connsiteX0" fmla="*/ 21176 w 28614"/>
                <a:gd name="connsiteY0" fmla="*/ 10731 h 28614"/>
                <a:gd name="connsiteX1" fmla="*/ 21176 w 28614"/>
                <a:gd name="connsiteY1" fmla="*/ 10731 h 28614"/>
                <a:gd name="connsiteX2" fmla="*/ 10732 w 28614"/>
                <a:gd name="connsiteY2" fmla="*/ 21032 h 28614"/>
                <a:gd name="connsiteX3" fmla="*/ 20746 w 28614"/>
                <a:gd name="connsiteY3" fmla="*/ 31332 h 28614"/>
                <a:gd name="connsiteX4" fmla="*/ 20890 w 28614"/>
                <a:gd name="connsiteY4" fmla="*/ 31333 h 28614"/>
                <a:gd name="connsiteX5" fmla="*/ 20890 w 28614"/>
                <a:gd name="connsiteY5" fmla="*/ 31333 h 28614"/>
                <a:gd name="connsiteX6" fmla="*/ 31050 w 28614"/>
                <a:gd name="connsiteY6" fmla="*/ 21176 h 28614"/>
                <a:gd name="connsiteX7" fmla="*/ 31048 w 28614"/>
                <a:gd name="connsiteY7" fmla="*/ 21032 h 28614"/>
                <a:gd name="connsiteX8" fmla="*/ 21325 w 28614"/>
                <a:gd name="connsiteY8" fmla="*/ 10734 h 28614"/>
                <a:gd name="connsiteX9" fmla="*/ 21176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176" y="10731"/>
                  </a:moveTo>
                  <a:lnTo>
                    <a:pt x="21176" y="10731"/>
                  </a:lnTo>
                  <a:cubicBezTo>
                    <a:pt x="15463" y="10731"/>
                    <a:pt x="10810" y="15319"/>
                    <a:pt x="10732" y="21032"/>
                  </a:cubicBezTo>
                  <a:cubicBezTo>
                    <a:pt x="10653" y="26642"/>
                    <a:pt x="15135" y="31253"/>
                    <a:pt x="20746" y="31332"/>
                  </a:cubicBezTo>
                  <a:cubicBezTo>
                    <a:pt x="20794" y="31333"/>
                    <a:pt x="20841" y="31333"/>
                    <a:pt x="20890" y="31333"/>
                  </a:cubicBezTo>
                  <a:lnTo>
                    <a:pt x="20890" y="31333"/>
                  </a:lnTo>
                  <a:cubicBezTo>
                    <a:pt x="26500" y="31333"/>
                    <a:pt x="31048" y="26786"/>
                    <a:pt x="31050" y="21176"/>
                  </a:cubicBezTo>
                  <a:cubicBezTo>
                    <a:pt x="31050" y="21128"/>
                    <a:pt x="31048" y="21081"/>
                    <a:pt x="31048" y="21032"/>
                  </a:cubicBezTo>
                  <a:cubicBezTo>
                    <a:pt x="31207" y="15504"/>
                    <a:pt x="26853" y="10892"/>
                    <a:pt x="21325" y="10734"/>
                  </a:cubicBezTo>
                  <a:cubicBezTo>
                    <a:pt x="21275" y="10732"/>
                    <a:pt x="21226" y="10731"/>
                    <a:pt x="21176"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08" name="Freeform: Shape 1107">
              <a:extLst>
                <a:ext uri="{FF2B5EF4-FFF2-40B4-BE49-F238E27FC236}">
                  <a16:creationId xmlns:a16="http://schemas.microsoft.com/office/drawing/2014/main" id="{494D9710-0D41-4E24-ACEF-97010907E0D3}"/>
                </a:ext>
              </a:extLst>
            </p:cNvPr>
            <p:cNvSpPr/>
            <p:nvPr/>
          </p:nvSpPr>
          <p:spPr>
            <a:xfrm rot="5400000">
              <a:off x="-1680187" y="4102414"/>
              <a:ext cx="89493" cy="89493"/>
            </a:xfrm>
            <a:custGeom>
              <a:avLst/>
              <a:gdLst>
                <a:gd name="connsiteX0" fmla="*/ 20603 w 28614"/>
                <a:gd name="connsiteY0" fmla="*/ 10731 h 28614"/>
                <a:gd name="connsiteX1" fmla="*/ 20603 w 28614"/>
                <a:gd name="connsiteY1" fmla="*/ 10731 h 28614"/>
                <a:gd name="connsiteX2" fmla="*/ 10731 w 28614"/>
                <a:gd name="connsiteY2" fmla="*/ 20603 h 28614"/>
                <a:gd name="connsiteX3" fmla="*/ 20603 w 28614"/>
                <a:gd name="connsiteY3" fmla="*/ 30475 h 28614"/>
                <a:gd name="connsiteX4" fmla="*/ 29903 w 28614"/>
                <a:gd name="connsiteY4" fmla="*/ 21175 h 28614"/>
                <a:gd name="connsiteX5" fmla="*/ 29903 w 28614"/>
                <a:gd name="connsiteY5" fmla="*/ 20174 h 28614"/>
                <a:gd name="connsiteX6" fmla="*/ 20603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603" y="10731"/>
                  </a:moveTo>
                  <a:lnTo>
                    <a:pt x="20603" y="10731"/>
                  </a:lnTo>
                  <a:cubicBezTo>
                    <a:pt x="15150" y="10731"/>
                    <a:pt x="10731" y="15150"/>
                    <a:pt x="10731" y="20603"/>
                  </a:cubicBezTo>
                  <a:cubicBezTo>
                    <a:pt x="10731" y="26055"/>
                    <a:pt x="15150" y="30475"/>
                    <a:pt x="20603" y="30475"/>
                  </a:cubicBezTo>
                  <a:cubicBezTo>
                    <a:pt x="25739" y="30475"/>
                    <a:pt x="29903" y="26311"/>
                    <a:pt x="29903" y="21175"/>
                  </a:cubicBezTo>
                  <a:lnTo>
                    <a:pt x="29903" y="20174"/>
                  </a:lnTo>
                  <a:cubicBezTo>
                    <a:pt x="29903" y="15014"/>
                    <a:pt x="25762" y="10809"/>
                    <a:pt x="2060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09" name="Freeform: Shape 1108">
              <a:extLst>
                <a:ext uri="{FF2B5EF4-FFF2-40B4-BE49-F238E27FC236}">
                  <a16:creationId xmlns:a16="http://schemas.microsoft.com/office/drawing/2014/main" id="{B67D876F-F692-4609-BF85-E064781BD36C}"/>
                </a:ext>
              </a:extLst>
            </p:cNvPr>
            <p:cNvSpPr/>
            <p:nvPr/>
          </p:nvSpPr>
          <p:spPr>
            <a:xfrm rot="5400000">
              <a:off x="-1689584" y="4605365"/>
              <a:ext cx="89493" cy="89493"/>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10" name="Freeform: Shape 1109">
              <a:extLst>
                <a:ext uri="{FF2B5EF4-FFF2-40B4-BE49-F238E27FC236}">
                  <a16:creationId xmlns:a16="http://schemas.microsoft.com/office/drawing/2014/main" id="{39996AA2-7289-4A37-88D9-85E4B91F4EB1}"/>
                </a:ext>
              </a:extLst>
            </p:cNvPr>
            <p:cNvSpPr/>
            <p:nvPr/>
          </p:nvSpPr>
          <p:spPr>
            <a:xfrm rot="5400000">
              <a:off x="-1717992" y="3595015"/>
              <a:ext cx="134239" cy="134239"/>
            </a:xfrm>
            <a:custGeom>
              <a:avLst/>
              <a:gdLst>
                <a:gd name="connsiteX0" fmla="*/ 23455 w 42922"/>
                <a:gd name="connsiteY0" fmla="*/ 10803 h 42922"/>
                <a:gd name="connsiteX1" fmla="*/ 10803 w 42922"/>
                <a:gd name="connsiteY1" fmla="*/ 20900 h 42922"/>
                <a:gd name="connsiteX2" fmla="*/ 20900 w 42922"/>
                <a:gd name="connsiteY2" fmla="*/ 33552 h 42922"/>
                <a:gd name="connsiteX3" fmla="*/ 23455 w 42922"/>
                <a:gd name="connsiteY3" fmla="*/ 33552 h 42922"/>
                <a:gd name="connsiteX4" fmla="*/ 23455 w 42922"/>
                <a:gd name="connsiteY4" fmla="*/ 33552 h 42922"/>
                <a:gd name="connsiteX5" fmla="*/ 34757 w 42922"/>
                <a:gd name="connsiteY5" fmla="*/ 22537 h 42922"/>
                <a:gd name="connsiteX6" fmla="*/ 34758 w 42922"/>
                <a:gd name="connsiteY6" fmla="*/ 22392 h 42922"/>
                <a:gd name="connsiteX7" fmla="*/ 23744 w 42922"/>
                <a:gd name="connsiteY7" fmla="*/ 10807 h 42922"/>
                <a:gd name="connsiteX8" fmla="*/ 23455 w 42922"/>
                <a:gd name="connsiteY8" fmla="*/ 1080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22" h="42922">
                  <a:moveTo>
                    <a:pt x="23455" y="10803"/>
                  </a:moveTo>
                  <a:cubicBezTo>
                    <a:pt x="17173" y="10098"/>
                    <a:pt x="11509" y="14618"/>
                    <a:pt x="10803" y="20900"/>
                  </a:cubicBezTo>
                  <a:cubicBezTo>
                    <a:pt x="10098" y="27182"/>
                    <a:pt x="14618" y="32847"/>
                    <a:pt x="20900" y="33552"/>
                  </a:cubicBezTo>
                  <a:cubicBezTo>
                    <a:pt x="21748" y="33648"/>
                    <a:pt x="22607" y="33648"/>
                    <a:pt x="23455" y="33552"/>
                  </a:cubicBezTo>
                  <a:lnTo>
                    <a:pt x="23455" y="33552"/>
                  </a:lnTo>
                  <a:cubicBezTo>
                    <a:pt x="29618" y="33631"/>
                    <a:pt x="34678" y="28699"/>
                    <a:pt x="34757" y="22537"/>
                  </a:cubicBezTo>
                  <a:cubicBezTo>
                    <a:pt x="34758" y="22488"/>
                    <a:pt x="34758" y="22441"/>
                    <a:pt x="34758" y="22392"/>
                  </a:cubicBezTo>
                  <a:cubicBezTo>
                    <a:pt x="34916" y="16151"/>
                    <a:pt x="29985" y="10965"/>
                    <a:pt x="23744" y="10807"/>
                  </a:cubicBezTo>
                  <a:cubicBezTo>
                    <a:pt x="23648" y="10805"/>
                    <a:pt x="23551" y="10803"/>
                    <a:pt x="23455" y="1080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11" name="Freeform: Shape 1110">
              <a:extLst>
                <a:ext uri="{FF2B5EF4-FFF2-40B4-BE49-F238E27FC236}">
                  <a16:creationId xmlns:a16="http://schemas.microsoft.com/office/drawing/2014/main" id="{BEFFA6DF-3DF4-48C7-BF90-0DA781E21304}"/>
                </a:ext>
              </a:extLst>
            </p:cNvPr>
            <p:cNvSpPr/>
            <p:nvPr/>
          </p:nvSpPr>
          <p:spPr>
            <a:xfrm rot="5400000">
              <a:off x="-2203721" y="1860153"/>
              <a:ext cx="134239" cy="134239"/>
            </a:xfrm>
            <a:custGeom>
              <a:avLst/>
              <a:gdLst>
                <a:gd name="connsiteX0" fmla="*/ 22180 w 42922"/>
                <a:gd name="connsiteY0" fmla="*/ 10731 h 42922"/>
                <a:gd name="connsiteX1" fmla="*/ 22180 w 42922"/>
                <a:gd name="connsiteY1" fmla="*/ 10731 h 42922"/>
                <a:gd name="connsiteX2" fmla="*/ 10734 w 42922"/>
                <a:gd name="connsiteY2" fmla="*/ 21890 h 42922"/>
                <a:gd name="connsiteX3" fmla="*/ 21891 w 42922"/>
                <a:gd name="connsiteY3" fmla="*/ 33618 h 42922"/>
                <a:gd name="connsiteX4" fmla="*/ 33619 w 42922"/>
                <a:gd name="connsiteY4" fmla="*/ 22461 h 42922"/>
                <a:gd name="connsiteX5" fmla="*/ 22462 w 42922"/>
                <a:gd name="connsiteY5" fmla="*/ 10733 h 42922"/>
                <a:gd name="connsiteX6" fmla="*/ 22323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180" y="10731"/>
                  </a:moveTo>
                  <a:lnTo>
                    <a:pt x="22180" y="10731"/>
                  </a:lnTo>
                  <a:cubicBezTo>
                    <a:pt x="15969" y="10729"/>
                    <a:pt x="10890" y="15681"/>
                    <a:pt x="10734" y="21890"/>
                  </a:cubicBezTo>
                  <a:cubicBezTo>
                    <a:pt x="10577" y="28210"/>
                    <a:pt x="15572" y="33461"/>
                    <a:pt x="21891" y="33618"/>
                  </a:cubicBezTo>
                  <a:cubicBezTo>
                    <a:pt x="28211" y="33776"/>
                    <a:pt x="33462" y="28781"/>
                    <a:pt x="33619" y="22461"/>
                  </a:cubicBezTo>
                  <a:cubicBezTo>
                    <a:pt x="33776" y="16142"/>
                    <a:pt x="28782" y="10891"/>
                    <a:pt x="22462" y="10733"/>
                  </a:cubicBezTo>
                  <a:cubicBezTo>
                    <a:pt x="22416" y="10732"/>
                    <a:pt x="22369" y="10731"/>
                    <a:pt x="2232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12" name="Freeform: Shape 1111">
              <a:extLst>
                <a:ext uri="{FF2B5EF4-FFF2-40B4-BE49-F238E27FC236}">
                  <a16:creationId xmlns:a16="http://schemas.microsoft.com/office/drawing/2014/main" id="{6AB3063D-3586-4BDC-9446-1E8BCFD4215F}"/>
                </a:ext>
              </a:extLst>
            </p:cNvPr>
            <p:cNvSpPr/>
            <p:nvPr/>
          </p:nvSpPr>
          <p:spPr>
            <a:xfrm rot="5400000">
              <a:off x="-1997887" y="1612716"/>
              <a:ext cx="44746" cy="44746"/>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lnTo>
                    <a:pt x="10731" y="10731"/>
                  </a:lnTo>
                  <a:cubicBezTo>
                    <a:pt x="10731" y="10731"/>
                    <a:pt x="10731" y="10731"/>
                    <a:pt x="1073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13" name="Freeform: Shape 1112">
              <a:extLst>
                <a:ext uri="{FF2B5EF4-FFF2-40B4-BE49-F238E27FC236}">
                  <a16:creationId xmlns:a16="http://schemas.microsoft.com/office/drawing/2014/main" id="{8C424F69-2521-4557-AD30-6C016599AD85}"/>
                </a:ext>
              </a:extLst>
            </p:cNvPr>
            <p:cNvSpPr/>
            <p:nvPr/>
          </p:nvSpPr>
          <p:spPr>
            <a:xfrm rot="5400000">
              <a:off x="-1849762" y="1615399"/>
              <a:ext cx="89493" cy="89493"/>
            </a:xfrm>
            <a:custGeom>
              <a:avLst/>
              <a:gdLst>
                <a:gd name="connsiteX0" fmla="*/ 21032 w 28614"/>
                <a:gd name="connsiteY0" fmla="*/ 10735 h 28614"/>
                <a:gd name="connsiteX1" fmla="*/ 21032 w 28614"/>
                <a:gd name="connsiteY1" fmla="*/ 10735 h 28614"/>
                <a:gd name="connsiteX2" fmla="*/ 10731 w 28614"/>
                <a:gd name="connsiteY2" fmla="*/ 21036 h 28614"/>
                <a:gd name="connsiteX3" fmla="*/ 21032 w 28614"/>
                <a:gd name="connsiteY3" fmla="*/ 31338 h 28614"/>
                <a:gd name="connsiteX4" fmla="*/ 21032 w 28614"/>
                <a:gd name="connsiteY4" fmla="*/ 31338 h 28614"/>
                <a:gd name="connsiteX5" fmla="*/ 31476 w 28614"/>
                <a:gd name="connsiteY5" fmla="*/ 20893 h 28614"/>
                <a:gd name="connsiteX6" fmla="*/ 21322 w 28614"/>
                <a:gd name="connsiteY6" fmla="*/ 10731 h 28614"/>
                <a:gd name="connsiteX7" fmla="*/ 21032 w 28614"/>
                <a:gd name="connsiteY7"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032" y="10735"/>
                  </a:moveTo>
                  <a:lnTo>
                    <a:pt x="21032" y="10735"/>
                  </a:lnTo>
                  <a:cubicBezTo>
                    <a:pt x="15343" y="10735"/>
                    <a:pt x="10731" y="15348"/>
                    <a:pt x="10731" y="21036"/>
                  </a:cubicBezTo>
                  <a:cubicBezTo>
                    <a:pt x="10731" y="26725"/>
                    <a:pt x="15343" y="31338"/>
                    <a:pt x="21032" y="31338"/>
                  </a:cubicBezTo>
                  <a:lnTo>
                    <a:pt x="21032" y="31338"/>
                  </a:lnTo>
                  <a:cubicBezTo>
                    <a:pt x="26801" y="31338"/>
                    <a:pt x="31476" y="26662"/>
                    <a:pt x="31476" y="20893"/>
                  </a:cubicBezTo>
                  <a:cubicBezTo>
                    <a:pt x="31479" y="15283"/>
                    <a:pt x="26932" y="10733"/>
                    <a:pt x="21322" y="10731"/>
                  </a:cubicBezTo>
                  <a:cubicBezTo>
                    <a:pt x="21225" y="10731"/>
                    <a:pt x="21129" y="10732"/>
                    <a:pt x="21032" y="107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14" name="Freeform: Shape 1113">
              <a:extLst>
                <a:ext uri="{FF2B5EF4-FFF2-40B4-BE49-F238E27FC236}">
                  <a16:creationId xmlns:a16="http://schemas.microsoft.com/office/drawing/2014/main" id="{67880BA3-491D-4354-ABCE-114D4D13FE42}"/>
                </a:ext>
              </a:extLst>
            </p:cNvPr>
            <p:cNvSpPr/>
            <p:nvPr/>
          </p:nvSpPr>
          <p:spPr>
            <a:xfrm rot="5400000">
              <a:off x="-2324091" y="4354336"/>
              <a:ext cx="89493" cy="89493"/>
            </a:xfrm>
            <a:custGeom>
              <a:avLst/>
              <a:gdLst>
                <a:gd name="connsiteX0" fmla="*/ 19172 w 28614"/>
                <a:gd name="connsiteY0" fmla="*/ 10731 h 28614"/>
                <a:gd name="connsiteX1" fmla="*/ 10731 w 28614"/>
                <a:gd name="connsiteY1" fmla="*/ 19172 h 28614"/>
                <a:gd name="connsiteX2" fmla="*/ 19172 w 28614"/>
                <a:gd name="connsiteY2" fmla="*/ 27613 h 28614"/>
                <a:gd name="connsiteX3" fmla="*/ 19172 w 28614"/>
                <a:gd name="connsiteY3" fmla="*/ 27613 h 28614"/>
                <a:gd name="connsiteX4" fmla="*/ 27327 w 28614"/>
                <a:gd name="connsiteY4" fmla="*/ 19458 h 28614"/>
                <a:gd name="connsiteX5" fmla="*/ 19182 w 28614"/>
                <a:gd name="connsiteY5" fmla="*/ 10731 h 28614"/>
                <a:gd name="connsiteX6" fmla="*/ 19172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172" y="10731"/>
                  </a:moveTo>
                  <a:cubicBezTo>
                    <a:pt x="14509" y="10731"/>
                    <a:pt x="10731" y="14511"/>
                    <a:pt x="10731" y="19172"/>
                  </a:cubicBezTo>
                  <a:cubicBezTo>
                    <a:pt x="10731" y="23833"/>
                    <a:pt x="14511" y="27613"/>
                    <a:pt x="19172" y="27613"/>
                  </a:cubicBezTo>
                  <a:lnTo>
                    <a:pt x="19172" y="27613"/>
                  </a:lnTo>
                  <a:cubicBezTo>
                    <a:pt x="23676" y="27613"/>
                    <a:pt x="27327" y="23962"/>
                    <a:pt x="27327" y="19458"/>
                  </a:cubicBezTo>
                  <a:cubicBezTo>
                    <a:pt x="27487" y="14798"/>
                    <a:pt x="23841" y="10891"/>
                    <a:pt x="19182" y="10731"/>
                  </a:cubicBezTo>
                  <a:cubicBezTo>
                    <a:pt x="19178" y="10731"/>
                    <a:pt x="19175" y="10731"/>
                    <a:pt x="1917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15" name="Freeform: Shape 1114">
              <a:extLst>
                <a:ext uri="{FF2B5EF4-FFF2-40B4-BE49-F238E27FC236}">
                  <a16:creationId xmlns:a16="http://schemas.microsoft.com/office/drawing/2014/main" id="{C342CD96-54BC-459C-8217-2971FADAC650}"/>
                </a:ext>
              </a:extLst>
            </p:cNvPr>
            <p:cNvSpPr/>
            <p:nvPr/>
          </p:nvSpPr>
          <p:spPr>
            <a:xfrm rot="5400000">
              <a:off x="-2464147" y="1612716"/>
              <a:ext cx="44746" cy="44746"/>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1116" name="Freeform: Shape 1115">
              <a:extLst>
                <a:ext uri="{FF2B5EF4-FFF2-40B4-BE49-F238E27FC236}">
                  <a16:creationId xmlns:a16="http://schemas.microsoft.com/office/drawing/2014/main" id="{E59807F5-2E21-4583-9D9E-128203E4C643}"/>
                </a:ext>
              </a:extLst>
            </p:cNvPr>
            <p:cNvSpPr/>
            <p:nvPr/>
          </p:nvSpPr>
          <p:spPr>
            <a:xfrm rot="5400000">
              <a:off x="-2498150" y="1635536"/>
              <a:ext cx="134239" cy="89493"/>
            </a:xfrm>
            <a:custGeom>
              <a:avLst/>
              <a:gdLst>
                <a:gd name="connsiteX0" fmla="*/ 26469 w 42922"/>
                <a:gd name="connsiteY0" fmla="*/ 11161 h 28614"/>
                <a:gd name="connsiteX1" fmla="*/ 20746 w 42922"/>
                <a:gd name="connsiteY1" fmla="*/ 11161 h 28614"/>
                <a:gd name="connsiteX2" fmla="*/ 10731 w 42922"/>
                <a:gd name="connsiteY2" fmla="*/ 20890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25" y="11158"/>
                    <a:pt x="10885" y="15470"/>
                    <a:pt x="10731" y="20890"/>
                  </a:cubicBezTo>
                  <a:cubicBezTo>
                    <a:pt x="10884" y="26333"/>
                    <a:pt x="15300" y="30688"/>
                    <a:pt x="20746" y="30762"/>
                  </a:cubicBezTo>
                  <a:cubicBezTo>
                    <a:pt x="26158" y="32343"/>
                    <a:pt x="31827" y="29236"/>
                    <a:pt x="33408" y="23823"/>
                  </a:cubicBezTo>
                  <a:cubicBezTo>
                    <a:pt x="34989" y="18411"/>
                    <a:pt x="31881" y="12742"/>
                    <a:pt x="26469" y="1116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17" name="Freeform: Shape 1116">
              <a:extLst>
                <a:ext uri="{FF2B5EF4-FFF2-40B4-BE49-F238E27FC236}">
                  <a16:creationId xmlns:a16="http://schemas.microsoft.com/office/drawing/2014/main" id="{7AA0896E-D622-4F5E-8650-BDE67A0A3523}"/>
                </a:ext>
              </a:extLst>
            </p:cNvPr>
            <p:cNvSpPr/>
            <p:nvPr/>
          </p:nvSpPr>
          <p:spPr>
            <a:xfrm rot="5400000">
              <a:off x="-2030555" y="1880747"/>
              <a:ext cx="134239" cy="89493"/>
            </a:xfrm>
            <a:custGeom>
              <a:avLst/>
              <a:gdLst>
                <a:gd name="connsiteX0" fmla="*/ 23464 w 42922"/>
                <a:gd name="connsiteY0" fmla="*/ 30760 h 28614"/>
                <a:gd name="connsiteX1" fmla="*/ 33374 w 42922"/>
                <a:gd name="connsiteY1" fmla="*/ 20639 h 28614"/>
                <a:gd name="connsiteX2" fmla="*/ 23253 w 42922"/>
                <a:gd name="connsiteY2" fmla="*/ 10731 h 28614"/>
                <a:gd name="connsiteX3" fmla="*/ 20460 w 42922"/>
                <a:gd name="connsiteY3" fmla="*/ 11159 h 28614"/>
                <a:gd name="connsiteX4" fmla="*/ 10731 w 42922"/>
                <a:gd name="connsiteY4" fmla="*/ 20888 h 28614"/>
                <a:gd name="connsiteX5" fmla="*/ 23284 w 42922"/>
                <a:gd name="connsiteY5" fmla="*/ 30783 h 28614"/>
                <a:gd name="connsiteX6" fmla="*/ 23464 w 42922"/>
                <a:gd name="connsiteY6" fmla="*/ 3076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28614">
                  <a:moveTo>
                    <a:pt x="23464" y="30760"/>
                  </a:moveTo>
                  <a:cubicBezTo>
                    <a:pt x="28996" y="30702"/>
                    <a:pt x="33431" y="26170"/>
                    <a:pt x="33374" y="20639"/>
                  </a:cubicBezTo>
                  <a:cubicBezTo>
                    <a:pt x="33315" y="15109"/>
                    <a:pt x="28784" y="10673"/>
                    <a:pt x="23253" y="10731"/>
                  </a:cubicBezTo>
                  <a:cubicBezTo>
                    <a:pt x="22305" y="10741"/>
                    <a:pt x="21365" y="10886"/>
                    <a:pt x="20460" y="11159"/>
                  </a:cubicBezTo>
                  <a:cubicBezTo>
                    <a:pt x="15342" y="11730"/>
                    <a:pt x="11301" y="15770"/>
                    <a:pt x="10731" y="20888"/>
                  </a:cubicBezTo>
                  <a:cubicBezTo>
                    <a:pt x="11465" y="27088"/>
                    <a:pt x="17086" y="31517"/>
                    <a:pt x="23284" y="30783"/>
                  </a:cubicBezTo>
                  <a:cubicBezTo>
                    <a:pt x="23344" y="30776"/>
                    <a:pt x="23404" y="30769"/>
                    <a:pt x="23464" y="3076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18" name="Freeform: Shape 1117">
              <a:extLst>
                <a:ext uri="{FF2B5EF4-FFF2-40B4-BE49-F238E27FC236}">
                  <a16:creationId xmlns:a16="http://schemas.microsoft.com/office/drawing/2014/main" id="{151A1F9F-4C9C-4424-988E-80B81DC7C74B}"/>
                </a:ext>
              </a:extLst>
            </p:cNvPr>
            <p:cNvSpPr/>
            <p:nvPr/>
          </p:nvSpPr>
          <p:spPr>
            <a:xfrm rot="5400000">
              <a:off x="-2629710" y="1614504"/>
              <a:ext cx="89493" cy="89493"/>
            </a:xfrm>
            <a:custGeom>
              <a:avLst/>
              <a:gdLst>
                <a:gd name="connsiteX0" fmla="*/ 21032 w 28614"/>
                <a:gd name="connsiteY0" fmla="*/ 10731 h 28614"/>
                <a:gd name="connsiteX1" fmla="*/ 10731 w 28614"/>
                <a:gd name="connsiteY1" fmla="*/ 21032 h 28614"/>
                <a:gd name="connsiteX2" fmla="*/ 10731 w 28614"/>
                <a:gd name="connsiteY2" fmla="*/ 21032 h 28614"/>
                <a:gd name="connsiteX3" fmla="*/ 20888 w 28614"/>
                <a:gd name="connsiteY3" fmla="*/ 31192 h 28614"/>
                <a:gd name="connsiteX4" fmla="*/ 21032 w 28614"/>
                <a:gd name="connsiteY4" fmla="*/ 31190 h 28614"/>
                <a:gd name="connsiteX5" fmla="*/ 31333 w 28614"/>
                <a:gd name="connsiteY5" fmla="*/ 21177 h 28614"/>
                <a:gd name="connsiteX6" fmla="*/ 31333 w 28614"/>
                <a:gd name="connsiteY6" fmla="*/ 21175 h 28614"/>
                <a:gd name="connsiteX7" fmla="*/ 31333 w 28614"/>
                <a:gd name="connsiteY7" fmla="*/ 21175 h 28614"/>
                <a:gd name="connsiteX8" fmla="*/ 21032 w 28614"/>
                <a:gd name="connsiteY8"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032" y="10731"/>
                  </a:moveTo>
                  <a:cubicBezTo>
                    <a:pt x="15343" y="10731"/>
                    <a:pt x="10731" y="15343"/>
                    <a:pt x="10731" y="21032"/>
                  </a:cubicBezTo>
                  <a:lnTo>
                    <a:pt x="10731" y="21032"/>
                  </a:lnTo>
                  <a:cubicBezTo>
                    <a:pt x="10731" y="26642"/>
                    <a:pt x="15278" y="31190"/>
                    <a:pt x="20888" y="31192"/>
                  </a:cubicBezTo>
                  <a:cubicBezTo>
                    <a:pt x="20936" y="31192"/>
                    <a:pt x="20983" y="31190"/>
                    <a:pt x="21032" y="31190"/>
                  </a:cubicBezTo>
                  <a:cubicBezTo>
                    <a:pt x="26642" y="31270"/>
                    <a:pt x="31253" y="26786"/>
                    <a:pt x="31333" y="21177"/>
                  </a:cubicBezTo>
                  <a:cubicBezTo>
                    <a:pt x="31333" y="21177"/>
                    <a:pt x="31333" y="21175"/>
                    <a:pt x="31333" y="21175"/>
                  </a:cubicBezTo>
                  <a:lnTo>
                    <a:pt x="31333" y="21175"/>
                  </a:lnTo>
                  <a:cubicBezTo>
                    <a:pt x="31333" y="15462"/>
                    <a:pt x="26745" y="10809"/>
                    <a:pt x="2103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19" name="Freeform: Shape 1118">
              <a:extLst>
                <a:ext uri="{FF2B5EF4-FFF2-40B4-BE49-F238E27FC236}">
                  <a16:creationId xmlns:a16="http://schemas.microsoft.com/office/drawing/2014/main" id="{079E5BBA-CB48-469C-83E1-34A53A812FD1}"/>
                </a:ext>
              </a:extLst>
            </p:cNvPr>
            <p:cNvSpPr/>
            <p:nvPr/>
          </p:nvSpPr>
          <p:spPr>
            <a:xfrm rot="5400000">
              <a:off x="-2013997" y="4604464"/>
              <a:ext cx="89493" cy="89493"/>
            </a:xfrm>
            <a:custGeom>
              <a:avLst/>
              <a:gdLst>
                <a:gd name="connsiteX0" fmla="*/ 18459 w 28614"/>
                <a:gd name="connsiteY0" fmla="*/ 10731 h 28614"/>
                <a:gd name="connsiteX1" fmla="*/ 11019 w 28614"/>
                <a:gd name="connsiteY1" fmla="*/ 18171 h 28614"/>
                <a:gd name="connsiteX2" fmla="*/ 16129 w 28614"/>
                <a:gd name="connsiteY2" fmla="*/ 27367 h 28614"/>
                <a:gd name="connsiteX3" fmla="*/ 25326 w 28614"/>
                <a:gd name="connsiteY3" fmla="*/ 22258 h 28614"/>
                <a:gd name="connsiteX4" fmla="*/ 25326 w 28614"/>
                <a:gd name="connsiteY4" fmla="*/ 18171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1"/>
                  </a:cubicBezTo>
                  <a:cubicBezTo>
                    <a:pt x="9890" y="22121"/>
                    <a:pt x="12178" y="26238"/>
                    <a:pt x="16129" y="27367"/>
                  </a:cubicBezTo>
                  <a:cubicBezTo>
                    <a:pt x="20080" y="28496"/>
                    <a:pt x="24197" y="26208"/>
                    <a:pt x="25326" y="22258"/>
                  </a:cubicBezTo>
                  <a:cubicBezTo>
                    <a:pt x="25708" y="20922"/>
                    <a:pt x="25708" y="19507"/>
                    <a:pt x="25326" y="18171"/>
                  </a:cubicBezTo>
                  <a:cubicBezTo>
                    <a:pt x="25338" y="14275"/>
                    <a:pt x="22343" y="11030"/>
                    <a:pt x="1845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20" name="Freeform: Shape 1119">
              <a:extLst>
                <a:ext uri="{FF2B5EF4-FFF2-40B4-BE49-F238E27FC236}">
                  <a16:creationId xmlns:a16="http://schemas.microsoft.com/office/drawing/2014/main" id="{10F65C97-C449-40AA-B03E-546D8FD1FCBE}"/>
                </a:ext>
              </a:extLst>
            </p:cNvPr>
            <p:cNvSpPr/>
            <p:nvPr/>
          </p:nvSpPr>
          <p:spPr>
            <a:xfrm rot="5400000">
              <a:off x="-2031781" y="1635536"/>
              <a:ext cx="134239" cy="89493"/>
            </a:xfrm>
            <a:custGeom>
              <a:avLst/>
              <a:gdLst>
                <a:gd name="connsiteX0" fmla="*/ 26469 w 42922"/>
                <a:gd name="connsiteY0" fmla="*/ 11053 h 28614"/>
                <a:gd name="connsiteX1" fmla="*/ 20746 w 42922"/>
                <a:gd name="connsiteY1" fmla="*/ 11053 h 28614"/>
                <a:gd name="connsiteX2" fmla="*/ 10731 w 42922"/>
                <a:gd name="connsiteY2" fmla="*/ 20925 h 28614"/>
                <a:gd name="connsiteX3" fmla="*/ 20746 w 42922"/>
                <a:gd name="connsiteY3" fmla="*/ 30654 h 28614"/>
                <a:gd name="connsiteX4" fmla="*/ 33480 w 42922"/>
                <a:gd name="connsiteY4" fmla="*/ 23643 h 28614"/>
                <a:gd name="connsiteX5" fmla="*/ 26469 w 42922"/>
                <a:gd name="connsiteY5" fmla="*/ 1105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053"/>
                  </a:moveTo>
                  <a:cubicBezTo>
                    <a:pt x="24586" y="10623"/>
                    <a:pt x="22629" y="10623"/>
                    <a:pt x="20746" y="11053"/>
                  </a:cubicBezTo>
                  <a:cubicBezTo>
                    <a:pt x="15300" y="11127"/>
                    <a:pt x="10884" y="15482"/>
                    <a:pt x="10731" y="20925"/>
                  </a:cubicBezTo>
                  <a:cubicBezTo>
                    <a:pt x="10885" y="26344"/>
                    <a:pt x="15325" y="30655"/>
                    <a:pt x="20746" y="30654"/>
                  </a:cubicBezTo>
                  <a:cubicBezTo>
                    <a:pt x="26197" y="32220"/>
                    <a:pt x="31889" y="29087"/>
                    <a:pt x="33480" y="23643"/>
                  </a:cubicBezTo>
                  <a:cubicBezTo>
                    <a:pt x="34876" y="18248"/>
                    <a:pt x="31790" y="12706"/>
                    <a:pt x="26469" y="11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21" name="Freeform: Shape 1120">
              <a:extLst>
                <a:ext uri="{FF2B5EF4-FFF2-40B4-BE49-F238E27FC236}">
                  <a16:creationId xmlns:a16="http://schemas.microsoft.com/office/drawing/2014/main" id="{96ED27DA-7213-439F-BB2A-060F5718919E}"/>
                </a:ext>
              </a:extLst>
            </p:cNvPr>
            <p:cNvSpPr/>
            <p:nvPr/>
          </p:nvSpPr>
          <p:spPr>
            <a:xfrm rot="5400000">
              <a:off x="-2316958" y="1121505"/>
              <a:ext cx="89493" cy="89493"/>
            </a:xfrm>
            <a:custGeom>
              <a:avLst/>
              <a:gdLst>
                <a:gd name="connsiteX0" fmla="*/ 20425 w 28614"/>
                <a:gd name="connsiteY0" fmla="*/ 28321 h 28614"/>
                <a:gd name="connsiteX1" fmla="*/ 27436 w 28614"/>
                <a:gd name="connsiteY1" fmla="*/ 21310 h 28614"/>
                <a:gd name="connsiteX2" fmla="*/ 21405 w 28614"/>
                <a:gd name="connsiteY2" fmla="*/ 11007 h 28614"/>
                <a:gd name="connsiteX3" fmla="*/ 11102 w 28614"/>
                <a:gd name="connsiteY3" fmla="*/ 17038 h 28614"/>
                <a:gd name="connsiteX4" fmla="*/ 10839 w 28614"/>
                <a:gd name="connsiteY4" fmla="*/ 18735 h 28614"/>
                <a:gd name="connsiteX5" fmla="*/ 10839 w 28614"/>
                <a:gd name="connsiteY5" fmla="*/ 21310 h 28614"/>
                <a:gd name="connsiteX6" fmla="*/ 20425 w 28614"/>
                <a:gd name="connsiteY6" fmla="*/ 283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425" y="28321"/>
                  </a:moveTo>
                  <a:cubicBezTo>
                    <a:pt x="24078" y="27836"/>
                    <a:pt x="26951" y="24963"/>
                    <a:pt x="27436" y="21310"/>
                  </a:cubicBezTo>
                  <a:cubicBezTo>
                    <a:pt x="28616" y="16800"/>
                    <a:pt x="25915" y="12187"/>
                    <a:pt x="21405" y="11007"/>
                  </a:cubicBezTo>
                  <a:cubicBezTo>
                    <a:pt x="16894" y="9828"/>
                    <a:pt x="12283" y="12528"/>
                    <a:pt x="11102" y="17038"/>
                  </a:cubicBezTo>
                  <a:cubicBezTo>
                    <a:pt x="10958" y="17593"/>
                    <a:pt x="10869" y="18162"/>
                    <a:pt x="10839" y="18735"/>
                  </a:cubicBezTo>
                  <a:cubicBezTo>
                    <a:pt x="10694" y="19587"/>
                    <a:pt x="10694" y="20457"/>
                    <a:pt x="10839" y="21310"/>
                  </a:cubicBezTo>
                  <a:cubicBezTo>
                    <a:pt x="11573" y="25880"/>
                    <a:pt x="15848" y="29006"/>
                    <a:pt x="20425" y="2832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22" name="Freeform: Shape 1121">
              <a:extLst>
                <a:ext uri="{FF2B5EF4-FFF2-40B4-BE49-F238E27FC236}">
                  <a16:creationId xmlns:a16="http://schemas.microsoft.com/office/drawing/2014/main" id="{CC3C8142-5D2B-46F2-B05A-E7B15893BC7A}"/>
                </a:ext>
              </a:extLst>
            </p:cNvPr>
            <p:cNvSpPr/>
            <p:nvPr/>
          </p:nvSpPr>
          <p:spPr>
            <a:xfrm rot="5400000">
              <a:off x="-2481752" y="4353473"/>
              <a:ext cx="89493" cy="89493"/>
            </a:xfrm>
            <a:custGeom>
              <a:avLst/>
              <a:gdLst>
                <a:gd name="connsiteX0" fmla="*/ 18018 w 28614"/>
                <a:gd name="connsiteY0" fmla="*/ 10825 h 28614"/>
                <a:gd name="connsiteX1" fmla="*/ 11007 w 28614"/>
                <a:gd name="connsiteY1" fmla="*/ 17836 h 28614"/>
                <a:gd name="connsiteX2" fmla="*/ 17038 w 28614"/>
                <a:gd name="connsiteY2" fmla="*/ 28138 h 28614"/>
                <a:gd name="connsiteX3" fmla="*/ 27340 w 28614"/>
                <a:gd name="connsiteY3" fmla="*/ 22108 h 28614"/>
                <a:gd name="connsiteX4" fmla="*/ 27604 w 28614"/>
                <a:gd name="connsiteY4" fmla="*/ 20411 h 28614"/>
                <a:gd name="connsiteX5" fmla="*/ 27604 w 28614"/>
                <a:gd name="connsiteY5" fmla="*/ 17836 h 28614"/>
                <a:gd name="connsiteX6" fmla="*/ 18018 w 28614"/>
                <a:gd name="connsiteY6"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018" y="10825"/>
                  </a:moveTo>
                  <a:cubicBezTo>
                    <a:pt x="14409" y="11399"/>
                    <a:pt x="11581" y="14227"/>
                    <a:pt x="11007" y="17836"/>
                  </a:cubicBezTo>
                  <a:cubicBezTo>
                    <a:pt x="9828" y="22345"/>
                    <a:pt x="12528" y="26958"/>
                    <a:pt x="17038" y="28138"/>
                  </a:cubicBezTo>
                  <a:cubicBezTo>
                    <a:pt x="21549" y="29317"/>
                    <a:pt x="26162" y="26617"/>
                    <a:pt x="27340" y="22108"/>
                  </a:cubicBezTo>
                  <a:cubicBezTo>
                    <a:pt x="27486" y="21553"/>
                    <a:pt x="27574" y="20983"/>
                    <a:pt x="27604" y="20411"/>
                  </a:cubicBezTo>
                  <a:cubicBezTo>
                    <a:pt x="27748" y="19558"/>
                    <a:pt x="27748" y="18688"/>
                    <a:pt x="27604" y="17836"/>
                  </a:cubicBezTo>
                  <a:cubicBezTo>
                    <a:pt x="26871" y="13266"/>
                    <a:pt x="22595" y="10140"/>
                    <a:pt x="18018" y="108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23" name="Freeform: Shape 1122">
              <a:extLst>
                <a:ext uri="{FF2B5EF4-FFF2-40B4-BE49-F238E27FC236}">
                  <a16:creationId xmlns:a16="http://schemas.microsoft.com/office/drawing/2014/main" id="{23E6385A-64C0-422C-B614-DBB3BB830F1F}"/>
                </a:ext>
              </a:extLst>
            </p:cNvPr>
            <p:cNvSpPr/>
            <p:nvPr/>
          </p:nvSpPr>
          <p:spPr>
            <a:xfrm rot="5400000">
              <a:off x="-2320337" y="1858374"/>
              <a:ext cx="89493" cy="89493"/>
            </a:xfrm>
            <a:custGeom>
              <a:avLst/>
              <a:gdLst>
                <a:gd name="connsiteX0" fmla="*/ 23464 w 28614"/>
                <a:gd name="connsiteY0" fmla="*/ 30387 h 28614"/>
                <a:gd name="connsiteX1" fmla="*/ 30385 w 28614"/>
                <a:gd name="connsiteY1" fmla="*/ 18030 h 28614"/>
                <a:gd name="connsiteX2" fmla="*/ 18026 w 28614"/>
                <a:gd name="connsiteY2" fmla="*/ 11110 h 28614"/>
                <a:gd name="connsiteX3" fmla="*/ 10731 w 28614"/>
                <a:gd name="connsiteY3" fmla="*/ 20658 h 28614"/>
                <a:gd name="connsiteX4" fmla="*/ 23407 w 28614"/>
                <a:gd name="connsiteY4" fmla="*/ 30395 h 28614"/>
                <a:gd name="connsiteX5" fmla="*/ 23464 w 28614"/>
                <a:gd name="connsiteY5" fmla="*/ 3038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464" y="30387"/>
                  </a:moveTo>
                  <a:cubicBezTo>
                    <a:pt x="28788" y="28887"/>
                    <a:pt x="31886" y="23352"/>
                    <a:pt x="30385" y="18030"/>
                  </a:cubicBezTo>
                  <a:cubicBezTo>
                    <a:pt x="28883" y="12706"/>
                    <a:pt x="23350" y="9607"/>
                    <a:pt x="18026" y="11110"/>
                  </a:cubicBezTo>
                  <a:cubicBezTo>
                    <a:pt x="13742" y="12317"/>
                    <a:pt x="10771" y="16207"/>
                    <a:pt x="10731" y="20658"/>
                  </a:cubicBezTo>
                  <a:cubicBezTo>
                    <a:pt x="11543" y="26848"/>
                    <a:pt x="17218" y="31207"/>
                    <a:pt x="23407" y="30395"/>
                  </a:cubicBezTo>
                  <a:cubicBezTo>
                    <a:pt x="23427" y="30393"/>
                    <a:pt x="23446" y="30390"/>
                    <a:pt x="23464" y="3038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24" name="Freeform: Shape 1123">
              <a:extLst>
                <a:ext uri="{FF2B5EF4-FFF2-40B4-BE49-F238E27FC236}">
                  <a16:creationId xmlns:a16="http://schemas.microsoft.com/office/drawing/2014/main" id="{2414D327-A626-484D-8EC9-8A1BFBCC996D}"/>
                </a:ext>
              </a:extLst>
            </p:cNvPr>
            <p:cNvSpPr/>
            <p:nvPr/>
          </p:nvSpPr>
          <p:spPr>
            <a:xfrm rot="5400000">
              <a:off x="-1891386" y="1859719"/>
              <a:ext cx="134239" cy="134239"/>
            </a:xfrm>
            <a:custGeom>
              <a:avLst/>
              <a:gdLst>
                <a:gd name="connsiteX0" fmla="*/ 22319 w 42922"/>
                <a:gd name="connsiteY0" fmla="*/ 10732 h 42922"/>
                <a:gd name="connsiteX1" fmla="*/ 22319 w 42922"/>
                <a:gd name="connsiteY1" fmla="*/ 10732 h 42922"/>
                <a:gd name="connsiteX2" fmla="*/ 10732 w 42922"/>
                <a:gd name="connsiteY2" fmla="*/ 22034 h 42922"/>
                <a:gd name="connsiteX3" fmla="*/ 22034 w 42922"/>
                <a:gd name="connsiteY3" fmla="*/ 33622 h 42922"/>
                <a:gd name="connsiteX4" fmla="*/ 33622 w 42922"/>
                <a:gd name="connsiteY4" fmla="*/ 22321 h 42922"/>
                <a:gd name="connsiteX5" fmla="*/ 22321 w 42922"/>
                <a:gd name="connsiteY5" fmla="*/ 10732 h 42922"/>
                <a:gd name="connsiteX6" fmla="*/ 22319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19" y="10732"/>
                  </a:moveTo>
                  <a:lnTo>
                    <a:pt x="22319" y="10732"/>
                  </a:lnTo>
                  <a:cubicBezTo>
                    <a:pt x="15998" y="10653"/>
                    <a:pt x="10810" y="15713"/>
                    <a:pt x="10732" y="22034"/>
                  </a:cubicBezTo>
                  <a:cubicBezTo>
                    <a:pt x="10653" y="28355"/>
                    <a:pt x="15713" y="33543"/>
                    <a:pt x="22034" y="33622"/>
                  </a:cubicBezTo>
                  <a:cubicBezTo>
                    <a:pt x="28355" y="33701"/>
                    <a:pt x="33542" y="28640"/>
                    <a:pt x="33622" y="22321"/>
                  </a:cubicBezTo>
                  <a:cubicBezTo>
                    <a:pt x="33702" y="16000"/>
                    <a:pt x="28642" y="10812"/>
                    <a:pt x="22321" y="10732"/>
                  </a:cubicBezTo>
                  <a:cubicBezTo>
                    <a:pt x="22321" y="10732"/>
                    <a:pt x="22319" y="10732"/>
                    <a:pt x="22319"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25" name="Freeform: Shape 1124">
              <a:extLst>
                <a:ext uri="{FF2B5EF4-FFF2-40B4-BE49-F238E27FC236}">
                  <a16:creationId xmlns:a16="http://schemas.microsoft.com/office/drawing/2014/main" id="{2DC9E337-31C7-4791-8A47-2C9508BF1935}"/>
                </a:ext>
              </a:extLst>
            </p:cNvPr>
            <p:cNvSpPr/>
            <p:nvPr/>
          </p:nvSpPr>
          <p:spPr>
            <a:xfrm rot="5400000">
              <a:off x="-2009547" y="1121505"/>
              <a:ext cx="89493" cy="89493"/>
            </a:xfrm>
            <a:custGeom>
              <a:avLst/>
              <a:gdLst>
                <a:gd name="connsiteX0" fmla="*/ 20425 w 28614"/>
                <a:gd name="connsiteY0" fmla="*/ 28321 h 28614"/>
                <a:gd name="connsiteX1" fmla="*/ 27436 w 28614"/>
                <a:gd name="connsiteY1" fmla="*/ 21310 h 28614"/>
                <a:gd name="connsiteX2" fmla="*/ 21405 w 28614"/>
                <a:gd name="connsiteY2" fmla="*/ 11007 h 28614"/>
                <a:gd name="connsiteX3" fmla="*/ 11102 w 28614"/>
                <a:gd name="connsiteY3" fmla="*/ 17038 h 28614"/>
                <a:gd name="connsiteX4" fmla="*/ 10839 w 28614"/>
                <a:gd name="connsiteY4" fmla="*/ 18735 h 28614"/>
                <a:gd name="connsiteX5" fmla="*/ 10839 w 28614"/>
                <a:gd name="connsiteY5" fmla="*/ 21310 h 28614"/>
                <a:gd name="connsiteX6" fmla="*/ 20425 w 28614"/>
                <a:gd name="connsiteY6" fmla="*/ 283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425" y="28321"/>
                  </a:moveTo>
                  <a:cubicBezTo>
                    <a:pt x="24078" y="27836"/>
                    <a:pt x="26951" y="24963"/>
                    <a:pt x="27436" y="21310"/>
                  </a:cubicBezTo>
                  <a:cubicBezTo>
                    <a:pt x="28616" y="16800"/>
                    <a:pt x="25915" y="12187"/>
                    <a:pt x="21405" y="11007"/>
                  </a:cubicBezTo>
                  <a:cubicBezTo>
                    <a:pt x="16894" y="9828"/>
                    <a:pt x="12283" y="12528"/>
                    <a:pt x="11102" y="17038"/>
                  </a:cubicBezTo>
                  <a:cubicBezTo>
                    <a:pt x="10958" y="17593"/>
                    <a:pt x="10869" y="18162"/>
                    <a:pt x="10839" y="18735"/>
                  </a:cubicBezTo>
                  <a:cubicBezTo>
                    <a:pt x="10694" y="19587"/>
                    <a:pt x="10694" y="20457"/>
                    <a:pt x="10839" y="21310"/>
                  </a:cubicBezTo>
                  <a:cubicBezTo>
                    <a:pt x="11573" y="25880"/>
                    <a:pt x="15848" y="29006"/>
                    <a:pt x="20425" y="2832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26" name="Freeform: Shape 1125">
              <a:extLst>
                <a:ext uri="{FF2B5EF4-FFF2-40B4-BE49-F238E27FC236}">
                  <a16:creationId xmlns:a16="http://schemas.microsoft.com/office/drawing/2014/main" id="{E8E9A4AF-2D5D-4634-857F-11D2F16BC8A5}"/>
                </a:ext>
              </a:extLst>
            </p:cNvPr>
            <p:cNvSpPr/>
            <p:nvPr/>
          </p:nvSpPr>
          <p:spPr>
            <a:xfrm rot="5400000">
              <a:off x="-1851117" y="4098782"/>
              <a:ext cx="89493" cy="89493"/>
            </a:xfrm>
            <a:custGeom>
              <a:avLst/>
              <a:gdLst>
                <a:gd name="connsiteX0" fmla="*/ 20620 w 28614"/>
                <a:gd name="connsiteY0" fmla="*/ 30905 h 28614"/>
                <a:gd name="connsiteX1" fmla="*/ 29776 w 28614"/>
                <a:gd name="connsiteY1" fmla="*/ 21605 h 28614"/>
                <a:gd name="connsiteX2" fmla="*/ 29776 w 28614"/>
                <a:gd name="connsiteY2" fmla="*/ 21605 h 28614"/>
                <a:gd name="connsiteX3" fmla="*/ 29776 w 28614"/>
                <a:gd name="connsiteY3" fmla="*/ 19888 h 28614"/>
                <a:gd name="connsiteX4" fmla="*/ 20620 w 28614"/>
                <a:gd name="connsiteY4" fmla="*/ 10732 h 28614"/>
                <a:gd name="connsiteX5" fmla="*/ 10749 w 28614"/>
                <a:gd name="connsiteY5" fmla="*/ 20316 h 28614"/>
                <a:gd name="connsiteX6" fmla="*/ 10748 w 28614"/>
                <a:gd name="connsiteY6" fmla="*/ 20461 h 28614"/>
                <a:gd name="connsiteX7" fmla="*/ 20030 w 28614"/>
                <a:gd name="connsiteY7" fmla="*/ 30888 h 28614"/>
                <a:gd name="connsiteX8" fmla="*/ 20620 w 28614"/>
                <a:gd name="connsiteY8" fmla="*/ 3090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620" y="30905"/>
                  </a:moveTo>
                  <a:cubicBezTo>
                    <a:pt x="25700" y="30827"/>
                    <a:pt x="29776" y="26686"/>
                    <a:pt x="29776" y="21605"/>
                  </a:cubicBezTo>
                  <a:lnTo>
                    <a:pt x="29776" y="21605"/>
                  </a:lnTo>
                  <a:lnTo>
                    <a:pt x="29776" y="19888"/>
                  </a:lnTo>
                  <a:cubicBezTo>
                    <a:pt x="29776" y="14831"/>
                    <a:pt x="25677" y="10732"/>
                    <a:pt x="20620" y="10732"/>
                  </a:cubicBezTo>
                  <a:cubicBezTo>
                    <a:pt x="15247" y="10653"/>
                    <a:pt x="10828" y="14944"/>
                    <a:pt x="10749" y="20316"/>
                  </a:cubicBezTo>
                  <a:cubicBezTo>
                    <a:pt x="10748" y="20365"/>
                    <a:pt x="10748" y="20412"/>
                    <a:pt x="10748" y="20461"/>
                  </a:cubicBezTo>
                  <a:cubicBezTo>
                    <a:pt x="10431" y="25903"/>
                    <a:pt x="14588" y="30572"/>
                    <a:pt x="20030" y="30888"/>
                  </a:cubicBezTo>
                  <a:cubicBezTo>
                    <a:pt x="20226" y="30899"/>
                    <a:pt x="20424" y="30905"/>
                    <a:pt x="20620" y="3090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27" name="Freeform: Shape 1126">
              <a:extLst>
                <a:ext uri="{FF2B5EF4-FFF2-40B4-BE49-F238E27FC236}">
                  <a16:creationId xmlns:a16="http://schemas.microsoft.com/office/drawing/2014/main" id="{4AAB29B4-60BC-46D8-A3D4-A8B69870BB0B}"/>
                </a:ext>
              </a:extLst>
            </p:cNvPr>
            <p:cNvSpPr/>
            <p:nvPr/>
          </p:nvSpPr>
          <p:spPr>
            <a:xfrm rot="5400000">
              <a:off x="-2640443" y="4353427"/>
              <a:ext cx="89493" cy="89493"/>
            </a:xfrm>
            <a:custGeom>
              <a:avLst/>
              <a:gdLst>
                <a:gd name="connsiteX0" fmla="*/ 19463 w 28614"/>
                <a:gd name="connsiteY0" fmla="*/ 10732 h 28614"/>
                <a:gd name="connsiteX1" fmla="*/ 10736 w 28614"/>
                <a:gd name="connsiteY1" fmla="*/ 19030 h 28614"/>
                <a:gd name="connsiteX2" fmla="*/ 18744 w 28614"/>
                <a:gd name="connsiteY2" fmla="*/ 27610 h 28614"/>
                <a:gd name="connsiteX3" fmla="*/ 19034 w 28614"/>
                <a:gd name="connsiteY3" fmla="*/ 27615 h 28614"/>
                <a:gd name="connsiteX4" fmla="*/ 19034 w 28614"/>
                <a:gd name="connsiteY4" fmla="*/ 27615 h 28614"/>
                <a:gd name="connsiteX5" fmla="*/ 27189 w 28614"/>
                <a:gd name="connsiteY5" fmla="*/ 19748 h 28614"/>
                <a:gd name="connsiteX6" fmla="*/ 27189 w 28614"/>
                <a:gd name="connsiteY6" fmla="*/ 19459 h 28614"/>
                <a:gd name="connsiteX7" fmla="*/ 19463 w 28614"/>
                <a:gd name="connsiteY7"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63" y="10732"/>
                  </a:moveTo>
                  <a:cubicBezTo>
                    <a:pt x="14776" y="10652"/>
                    <a:pt x="10892" y="14345"/>
                    <a:pt x="10736" y="19030"/>
                  </a:cubicBezTo>
                  <a:cubicBezTo>
                    <a:pt x="10578" y="23610"/>
                    <a:pt x="14162" y="27452"/>
                    <a:pt x="18744" y="27610"/>
                  </a:cubicBezTo>
                  <a:cubicBezTo>
                    <a:pt x="18839" y="27613"/>
                    <a:pt x="18937" y="27615"/>
                    <a:pt x="19034" y="27615"/>
                  </a:cubicBezTo>
                  <a:lnTo>
                    <a:pt x="19034" y="27615"/>
                  </a:lnTo>
                  <a:cubicBezTo>
                    <a:pt x="23458" y="27695"/>
                    <a:pt x="27109" y="24172"/>
                    <a:pt x="27189" y="19748"/>
                  </a:cubicBezTo>
                  <a:cubicBezTo>
                    <a:pt x="27191" y="19653"/>
                    <a:pt x="27191" y="19555"/>
                    <a:pt x="27189" y="19459"/>
                  </a:cubicBezTo>
                  <a:cubicBezTo>
                    <a:pt x="27358" y="14954"/>
                    <a:pt x="23956" y="11111"/>
                    <a:pt x="19463"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28" name="Freeform: Shape 1127">
              <a:extLst>
                <a:ext uri="{FF2B5EF4-FFF2-40B4-BE49-F238E27FC236}">
                  <a16:creationId xmlns:a16="http://schemas.microsoft.com/office/drawing/2014/main" id="{39DEB2A9-B909-4A2E-9589-548900629269}"/>
                </a:ext>
              </a:extLst>
            </p:cNvPr>
            <p:cNvSpPr/>
            <p:nvPr/>
          </p:nvSpPr>
          <p:spPr>
            <a:xfrm rot="5400000">
              <a:off x="-2628969" y="1123297"/>
              <a:ext cx="89493" cy="89493"/>
            </a:xfrm>
            <a:custGeom>
              <a:avLst/>
              <a:gdLst>
                <a:gd name="connsiteX0" fmla="*/ 10839 w 28614"/>
                <a:gd name="connsiteY0" fmla="*/ 17836 h 28614"/>
                <a:gd name="connsiteX1" fmla="*/ 10839 w 28614"/>
                <a:gd name="connsiteY1" fmla="*/ 20411 h 28614"/>
                <a:gd name="connsiteX2" fmla="*/ 20425 w 28614"/>
                <a:gd name="connsiteY2" fmla="*/ 27422 h 28614"/>
                <a:gd name="connsiteX3" fmla="*/ 27579 w 28614"/>
                <a:gd name="connsiteY3" fmla="*/ 20411 h 28614"/>
                <a:gd name="connsiteX4" fmla="*/ 20425 w 28614"/>
                <a:gd name="connsiteY4" fmla="*/ 10825 h 28614"/>
                <a:gd name="connsiteX5" fmla="*/ 10839 w 28614"/>
                <a:gd name="connsiteY5" fmla="*/ 178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0839" y="17836"/>
                  </a:moveTo>
                  <a:cubicBezTo>
                    <a:pt x="10694" y="18688"/>
                    <a:pt x="10694" y="19558"/>
                    <a:pt x="10839" y="20411"/>
                  </a:cubicBezTo>
                  <a:cubicBezTo>
                    <a:pt x="11573" y="24981"/>
                    <a:pt x="15848" y="28107"/>
                    <a:pt x="20425" y="27422"/>
                  </a:cubicBezTo>
                  <a:cubicBezTo>
                    <a:pt x="24088" y="26905"/>
                    <a:pt x="26988" y="24064"/>
                    <a:pt x="27579" y="20411"/>
                  </a:cubicBezTo>
                  <a:cubicBezTo>
                    <a:pt x="28180" y="15807"/>
                    <a:pt x="25009" y="11560"/>
                    <a:pt x="20425" y="10825"/>
                  </a:cubicBezTo>
                  <a:cubicBezTo>
                    <a:pt x="15848" y="10139"/>
                    <a:pt x="11573" y="13266"/>
                    <a:pt x="10839" y="1783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29" name="Freeform: Shape 1128">
              <a:extLst>
                <a:ext uri="{FF2B5EF4-FFF2-40B4-BE49-F238E27FC236}">
                  <a16:creationId xmlns:a16="http://schemas.microsoft.com/office/drawing/2014/main" id="{6E48C475-EF61-4AEB-8FD2-C655C8387A87}"/>
                </a:ext>
              </a:extLst>
            </p:cNvPr>
            <p:cNvSpPr/>
            <p:nvPr/>
          </p:nvSpPr>
          <p:spPr>
            <a:xfrm rot="5400000">
              <a:off x="-2480253" y="1367057"/>
              <a:ext cx="89493" cy="89493"/>
            </a:xfrm>
            <a:custGeom>
              <a:avLst/>
              <a:gdLst>
                <a:gd name="connsiteX0" fmla="*/ 20030 w 28614"/>
                <a:gd name="connsiteY0" fmla="*/ 29332 h 28614"/>
                <a:gd name="connsiteX1" fmla="*/ 29473 w 28614"/>
                <a:gd name="connsiteY1" fmla="*/ 19889 h 28614"/>
                <a:gd name="connsiteX2" fmla="*/ 20030 w 28614"/>
                <a:gd name="connsiteY2" fmla="*/ 10732 h 28614"/>
                <a:gd name="connsiteX3" fmla="*/ 10732 w 28614"/>
                <a:gd name="connsiteY3" fmla="*/ 19744 h 28614"/>
                <a:gd name="connsiteX4" fmla="*/ 10731 w 28614"/>
                <a:gd name="connsiteY4" fmla="*/ 19889 h 28614"/>
                <a:gd name="connsiteX5" fmla="*/ 20030 w 28614"/>
                <a:gd name="connsiteY5" fmla="*/ 293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0" y="29332"/>
                  </a:moveTo>
                  <a:cubicBezTo>
                    <a:pt x="25183" y="29183"/>
                    <a:pt x="29325" y="25041"/>
                    <a:pt x="29473" y="19889"/>
                  </a:cubicBezTo>
                  <a:cubicBezTo>
                    <a:pt x="29319" y="14785"/>
                    <a:pt x="25135" y="10729"/>
                    <a:pt x="20030" y="10732"/>
                  </a:cubicBezTo>
                  <a:cubicBezTo>
                    <a:pt x="14974" y="10653"/>
                    <a:pt x="10811" y="14688"/>
                    <a:pt x="10732" y="19744"/>
                  </a:cubicBezTo>
                  <a:cubicBezTo>
                    <a:pt x="10731" y="19793"/>
                    <a:pt x="10731" y="19840"/>
                    <a:pt x="10731" y="19889"/>
                  </a:cubicBezTo>
                  <a:cubicBezTo>
                    <a:pt x="10731" y="25048"/>
                    <a:pt x="14871" y="29253"/>
                    <a:pt x="20030" y="293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30" name="Freeform: Shape 1129">
              <a:extLst>
                <a:ext uri="{FF2B5EF4-FFF2-40B4-BE49-F238E27FC236}">
                  <a16:creationId xmlns:a16="http://schemas.microsoft.com/office/drawing/2014/main" id="{5D975DAD-3F15-4D82-A0FA-D84C7B8BFB01}"/>
                </a:ext>
              </a:extLst>
            </p:cNvPr>
            <p:cNvSpPr/>
            <p:nvPr/>
          </p:nvSpPr>
          <p:spPr>
            <a:xfrm rot="5400000">
              <a:off x="-2482940" y="1120952"/>
              <a:ext cx="89493" cy="89493"/>
            </a:xfrm>
            <a:custGeom>
              <a:avLst/>
              <a:gdLst>
                <a:gd name="connsiteX0" fmla="*/ 19172 w 28614"/>
                <a:gd name="connsiteY0" fmla="*/ 27613 h 28614"/>
                <a:gd name="connsiteX1" fmla="*/ 27613 w 28614"/>
                <a:gd name="connsiteY1" fmla="*/ 19172 h 28614"/>
                <a:gd name="connsiteX2" fmla="*/ 19172 w 28614"/>
                <a:gd name="connsiteY2" fmla="*/ 10731 h 28614"/>
                <a:gd name="connsiteX3" fmla="*/ 19172 w 28614"/>
                <a:gd name="connsiteY3" fmla="*/ 10731 h 28614"/>
                <a:gd name="connsiteX4" fmla="*/ 10731 w 28614"/>
                <a:gd name="connsiteY4" fmla="*/ 19172 h 28614"/>
                <a:gd name="connsiteX5" fmla="*/ 19172 w 28614"/>
                <a:gd name="connsiteY5" fmla="*/ 2761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172" y="27613"/>
                  </a:moveTo>
                  <a:cubicBezTo>
                    <a:pt x="23833" y="27613"/>
                    <a:pt x="27613" y="23833"/>
                    <a:pt x="27613" y="19172"/>
                  </a:cubicBezTo>
                  <a:cubicBezTo>
                    <a:pt x="27613" y="14511"/>
                    <a:pt x="23833" y="10731"/>
                    <a:pt x="19172" y="10731"/>
                  </a:cubicBezTo>
                  <a:lnTo>
                    <a:pt x="19172" y="10731"/>
                  </a:lnTo>
                  <a:cubicBezTo>
                    <a:pt x="14511" y="10731"/>
                    <a:pt x="10731" y="14511"/>
                    <a:pt x="10731" y="19172"/>
                  </a:cubicBezTo>
                  <a:cubicBezTo>
                    <a:pt x="10731" y="23833"/>
                    <a:pt x="14511" y="27613"/>
                    <a:pt x="19172" y="2761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31" name="Freeform: Shape 1130">
              <a:extLst>
                <a:ext uri="{FF2B5EF4-FFF2-40B4-BE49-F238E27FC236}">
                  <a16:creationId xmlns:a16="http://schemas.microsoft.com/office/drawing/2014/main" id="{20C7E744-EDFF-4024-BA48-4267AF550A95}"/>
                </a:ext>
              </a:extLst>
            </p:cNvPr>
            <p:cNvSpPr/>
            <p:nvPr/>
          </p:nvSpPr>
          <p:spPr>
            <a:xfrm rot="5400000">
              <a:off x="-1862304" y="4608617"/>
              <a:ext cx="89493" cy="89493"/>
            </a:xfrm>
            <a:custGeom>
              <a:avLst/>
              <a:gdLst>
                <a:gd name="connsiteX0" fmla="*/ 16129 w 28614"/>
                <a:gd name="connsiteY0" fmla="*/ 25325 h 28614"/>
                <a:gd name="connsiteX1" fmla="*/ 25326 w 28614"/>
                <a:gd name="connsiteY1" fmla="*/ 20214 h 28614"/>
                <a:gd name="connsiteX2" fmla="*/ 20217 w 28614"/>
                <a:gd name="connsiteY2" fmla="*/ 11017 h 28614"/>
                <a:gd name="connsiteX3" fmla="*/ 16129 w 28614"/>
                <a:gd name="connsiteY3" fmla="*/ 11017 h 28614"/>
                <a:gd name="connsiteX4" fmla="*/ 11019 w 28614"/>
                <a:gd name="connsiteY4" fmla="*/ 20214 h 28614"/>
                <a:gd name="connsiteX5" fmla="*/ 16129 w 28614"/>
                <a:gd name="connsiteY5"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6129" y="25325"/>
                  </a:moveTo>
                  <a:cubicBezTo>
                    <a:pt x="20080" y="26453"/>
                    <a:pt x="24197" y="24166"/>
                    <a:pt x="25326" y="20214"/>
                  </a:cubicBezTo>
                  <a:cubicBezTo>
                    <a:pt x="26455" y="16264"/>
                    <a:pt x="24167" y="12146"/>
                    <a:pt x="20217" y="11017"/>
                  </a:cubicBezTo>
                  <a:cubicBezTo>
                    <a:pt x="18881" y="10635"/>
                    <a:pt x="17466" y="10635"/>
                    <a:pt x="16129" y="11017"/>
                  </a:cubicBezTo>
                  <a:cubicBezTo>
                    <a:pt x="12179" y="12146"/>
                    <a:pt x="9890" y="16264"/>
                    <a:pt x="11019" y="20214"/>
                  </a:cubicBezTo>
                  <a:cubicBezTo>
                    <a:pt x="11725" y="22686"/>
                    <a:pt x="13657" y="24619"/>
                    <a:pt x="16129" y="253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32" name="Freeform: Shape 1131">
              <a:extLst>
                <a:ext uri="{FF2B5EF4-FFF2-40B4-BE49-F238E27FC236}">
                  <a16:creationId xmlns:a16="http://schemas.microsoft.com/office/drawing/2014/main" id="{B13D27FF-154B-4012-9EEE-DE3AD51FC963}"/>
                </a:ext>
              </a:extLst>
            </p:cNvPr>
            <p:cNvSpPr/>
            <p:nvPr/>
          </p:nvSpPr>
          <p:spPr>
            <a:xfrm rot="5400000">
              <a:off x="-2170610" y="878872"/>
              <a:ext cx="89493" cy="89493"/>
            </a:xfrm>
            <a:custGeom>
              <a:avLst/>
              <a:gdLst>
                <a:gd name="connsiteX0" fmla="*/ 25610 w 28614"/>
                <a:gd name="connsiteY0" fmla="*/ 18171 h 28614"/>
                <a:gd name="connsiteX1" fmla="*/ 18171 w 28614"/>
                <a:gd name="connsiteY1" fmla="*/ 25610 h 28614"/>
                <a:gd name="connsiteX2" fmla="*/ 10731 w 28614"/>
                <a:gd name="connsiteY2" fmla="*/ 18171 h 28614"/>
                <a:gd name="connsiteX3" fmla="*/ 18171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1" y="25610"/>
                  </a:cubicBezTo>
                  <a:cubicBezTo>
                    <a:pt x="14062" y="25610"/>
                    <a:pt x="10731" y="22279"/>
                    <a:pt x="10731" y="18171"/>
                  </a:cubicBezTo>
                  <a:cubicBezTo>
                    <a:pt x="10731" y="14062"/>
                    <a:pt x="14062" y="10731"/>
                    <a:pt x="18171"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33" name="Freeform: Shape 1132">
              <a:extLst>
                <a:ext uri="{FF2B5EF4-FFF2-40B4-BE49-F238E27FC236}">
                  <a16:creationId xmlns:a16="http://schemas.microsoft.com/office/drawing/2014/main" id="{F0BE06AF-BF0E-4D69-A950-193DE21A82D6}"/>
                </a:ext>
              </a:extLst>
            </p:cNvPr>
            <p:cNvSpPr/>
            <p:nvPr/>
          </p:nvSpPr>
          <p:spPr>
            <a:xfrm rot="5400000">
              <a:off x="-2327669" y="878987"/>
              <a:ext cx="89493" cy="89493"/>
            </a:xfrm>
            <a:custGeom>
              <a:avLst/>
              <a:gdLst>
                <a:gd name="connsiteX0" fmla="*/ 17275 w 28614"/>
                <a:gd name="connsiteY0" fmla="*/ 25754 h 28614"/>
                <a:gd name="connsiteX1" fmla="*/ 23748 w 28614"/>
                <a:gd name="connsiteY1" fmla="*/ 17203 h 28614"/>
                <a:gd name="connsiteX2" fmla="*/ 17275 w 28614"/>
                <a:gd name="connsiteY2" fmla="*/ 10731 h 28614"/>
                <a:gd name="connsiteX3" fmla="*/ 10803 w 28614"/>
                <a:gd name="connsiteY3" fmla="*/ 19281 h 28614"/>
                <a:gd name="connsiteX4" fmla="*/ 17275 w 28614"/>
                <a:gd name="connsiteY4" fmla="*/ 25754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7275" y="25754"/>
                  </a:moveTo>
                  <a:cubicBezTo>
                    <a:pt x="21424" y="25180"/>
                    <a:pt x="24321" y="21351"/>
                    <a:pt x="23748" y="17203"/>
                  </a:cubicBezTo>
                  <a:cubicBezTo>
                    <a:pt x="23282" y="13840"/>
                    <a:pt x="20638" y="11196"/>
                    <a:pt x="17275" y="10731"/>
                  </a:cubicBezTo>
                  <a:cubicBezTo>
                    <a:pt x="13127" y="11304"/>
                    <a:pt x="10229" y="15133"/>
                    <a:pt x="10803" y="19281"/>
                  </a:cubicBezTo>
                  <a:cubicBezTo>
                    <a:pt x="11268" y="22644"/>
                    <a:pt x="13912" y="25288"/>
                    <a:pt x="17275" y="2575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34" name="Freeform: Shape 1133">
              <a:extLst>
                <a:ext uri="{FF2B5EF4-FFF2-40B4-BE49-F238E27FC236}">
                  <a16:creationId xmlns:a16="http://schemas.microsoft.com/office/drawing/2014/main" id="{0BC046D6-78E3-4EF1-B809-322907E6D29C}"/>
                </a:ext>
              </a:extLst>
            </p:cNvPr>
            <p:cNvSpPr/>
            <p:nvPr/>
          </p:nvSpPr>
          <p:spPr>
            <a:xfrm rot="5400000">
              <a:off x="-1862457" y="4351366"/>
              <a:ext cx="89493" cy="89493"/>
            </a:xfrm>
            <a:custGeom>
              <a:avLst/>
              <a:gdLst>
                <a:gd name="connsiteX0" fmla="*/ 17976 w 28614"/>
                <a:gd name="connsiteY0" fmla="*/ 27421 h 28614"/>
                <a:gd name="connsiteX1" fmla="*/ 27562 w 28614"/>
                <a:gd name="connsiteY1" fmla="*/ 20411 h 28614"/>
                <a:gd name="connsiteX2" fmla="*/ 27562 w 28614"/>
                <a:gd name="connsiteY2" fmla="*/ 17836 h 28614"/>
                <a:gd name="connsiteX3" fmla="*/ 17976 w 28614"/>
                <a:gd name="connsiteY3" fmla="*/ 10825 h 28614"/>
                <a:gd name="connsiteX4" fmla="*/ 10822 w 28614"/>
                <a:gd name="connsiteY4" fmla="*/ 17836 h 28614"/>
                <a:gd name="connsiteX5" fmla="*/ 17943 w 28614"/>
                <a:gd name="connsiteY5" fmla="*/ 27417 h 28614"/>
                <a:gd name="connsiteX6" fmla="*/ 17976 w 28614"/>
                <a:gd name="connsiteY6" fmla="*/ 274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7976" y="27421"/>
                  </a:moveTo>
                  <a:cubicBezTo>
                    <a:pt x="22553" y="28107"/>
                    <a:pt x="26828" y="24981"/>
                    <a:pt x="27562" y="20411"/>
                  </a:cubicBezTo>
                  <a:cubicBezTo>
                    <a:pt x="27706" y="19558"/>
                    <a:pt x="27706" y="18688"/>
                    <a:pt x="27562" y="17836"/>
                  </a:cubicBezTo>
                  <a:cubicBezTo>
                    <a:pt x="26828" y="13266"/>
                    <a:pt x="22553" y="10140"/>
                    <a:pt x="17976" y="10825"/>
                  </a:cubicBezTo>
                  <a:cubicBezTo>
                    <a:pt x="14313" y="11341"/>
                    <a:pt x="11413" y="14183"/>
                    <a:pt x="10822" y="17836"/>
                  </a:cubicBezTo>
                  <a:cubicBezTo>
                    <a:pt x="10142" y="22448"/>
                    <a:pt x="13331" y="26738"/>
                    <a:pt x="17943" y="27417"/>
                  </a:cubicBezTo>
                  <a:cubicBezTo>
                    <a:pt x="17954" y="27419"/>
                    <a:pt x="17964" y="27420"/>
                    <a:pt x="17976" y="2742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35" name="Freeform: Shape 1134">
              <a:extLst>
                <a:ext uri="{FF2B5EF4-FFF2-40B4-BE49-F238E27FC236}">
                  <a16:creationId xmlns:a16="http://schemas.microsoft.com/office/drawing/2014/main" id="{D92FBFE4-A592-4CA1-946D-31C092BD89A3}"/>
                </a:ext>
              </a:extLst>
            </p:cNvPr>
            <p:cNvSpPr/>
            <p:nvPr/>
          </p:nvSpPr>
          <p:spPr>
            <a:xfrm rot="5400000">
              <a:off x="-2013102" y="1367057"/>
              <a:ext cx="89493" cy="89493"/>
            </a:xfrm>
            <a:custGeom>
              <a:avLst/>
              <a:gdLst>
                <a:gd name="connsiteX0" fmla="*/ 20030 w 28614"/>
                <a:gd name="connsiteY0" fmla="*/ 29330 h 28614"/>
                <a:gd name="connsiteX1" fmla="*/ 29473 w 28614"/>
                <a:gd name="connsiteY1" fmla="*/ 20174 h 28614"/>
                <a:gd name="connsiteX2" fmla="*/ 20030 w 28614"/>
                <a:gd name="connsiteY2" fmla="*/ 10731 h 28614"/>
                <a:gd name="connsiteX3" fmla="*/ 10731 w 28614"/>
                <a:gd name="connsiteY3" fmla="*/ 20174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35" y="29333"/>
                    <a:pt x="29319" y="25277"/>
                    <a:pt x="29473" y="20174"/>
                  </a:cubicBezTo>
                  <a:cubicBezTo>
                    <a:pt x="29325" y="15021"/>
                    <a:pt x="25183" y="10879"/>
                    <a:pt x="20030" y="10731"/>
                  </a:cubicBezTo>
                  <a:cubicBezTo>
                    <a:pt x="14871" y="10809"/>
                    <a:pt x="10731" y="15014"/>
                    <a:pt x="10731" y="20174"/>
                  </a:cubicBezTo>
                  <a:cubicBezTo>
                    <a:pt x="10809" y="25254"/>
                    <a:pt x="14950" y="29330"/>
                    <a:pt x="20030" y="2933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36" name="Freeform: Shape 1135">
              <a:extLst>
                <a:ext uri="{FF2B5EF4-FFF2-40B4-BE49-F238E27FC236}">
                  <a16:creationId xmlns:a16="http://schemas.microsoft.com/office/drawing/2014/main" id="{15A6F6D1-2A45-437A-B50E-F86813771116}"/>
                </a:ext>
              </a:extLst>
            </p:cNvPr>
            <p:cNvSpPr/>
            <p:nvPr/>
          </p:nvSpPr>
          <p:spPr>
            <a:xfrm rot="5400000">
              <a:off x="-2021156" y="883601"/>
              <a:ext cx="89493" cy="89493"/>
            </a:xfrm>
            <a:custGeom>
              <a:avLst/>
              <a:gdLst>
                <a:gd name="connsiteX0" fmla="*/ 15801 w 28614"/>
                <a:gd name="connsiteY0" fmla="*/ 25038 h 28614"/>
                <a:gd name="connsiteX1" fmla="*/ 20439 w 28614"/>
                <a:gd name="connsiteY1" fmla="*/ 15369 h 28614"/>
                <a:gd name="connsiteX2" fmla="*/ 15801 w 28614"/>
                <a:gd name="connsiteY2" fmla="*/ 10731 h 28614"/>
                <a:gd name="connsiteX3" fmla="*/ 11162 w 28614"/>
                <a:gd name="connsiteY3" fmla="*/ 20400 h 28614"/>
                <a:gd name="connsiteX4" fmla="*/ 15801 w 28614"/>
                <a:gd name="connsiteY4" fmla="*/ 25038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5801" y="25038"/>
                  </a:moveTo>
                  <a:cubicBezTo>
                    <a:pt x="19752" y="23649"/>
                    <a:pt x="21828" y="19321"/>
                    <a:pt x="20439" y="15369"/>
                  </a:cubicBezTo>
                  <a:cubicBezTo>
                    <a:pt x="19677" y="13200"/>
                    <a:pt x="17970" y="11493"/>
                    <a:pt x="15801" y="10731"/>
                  </a:cubicBezTo>
                  <a:cubicBezTo>
                    <a:pt x="11850" y="12120"/>
                    <a:pt x="9773" y="16448"/>
                    <a:pt x="11162" y="20400"/>
                  </a:cubicBezTo>
                  <a:cubicBezTo>
                    <a:pt x="11925" y="22569"/>
                    <a:pt x="13631" y="24276"/>
                    <a:pt x="15801" y="25038"/>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37" name="Freeform: Shape 1136">
              <a:extLst>
                <a:ext uri="{FF2B5EF4-FFF2-40B4-BE49-F238E27FC236}">
                  <a16:creationId xmlns:a16="http://schemas.microsoft.com/office/drawing/2014/main" id="{B4511760-1A40-4008-97AF-E7403EC6EC5E}"/>
                </a:ext>
              </a:extLst>
            </p:cNvPr>
            <p:cNvSpPr/>
            <p:nvPr/>
          </p:nvSpPr>
          <p:spPr>
            <a:xfrm rot="5400000">
              <a:off x="-2321852" y="1367051"/>
              <a:ext cx="89493" cy="89493"/>
            </a:xfrm>
            <a:custGeom>
              <a:avLst/>
              <a:gdLst>
                <a:gd name="connsiteX0" fmla="*/ 20032 w 28614"/>
                <a:gd name="connsiteY0" fmla="*/ 29330 h 28614"/>
                <a:gd name="connsiteX1" fmla="*/ 29330 w 28614"/>
                <a:gd name="connsiteY1" fmla="*/ 20029 h 28614"/>
                <a:gd name="connsiteX2" fmla="*/ 20029 w 28614"/>
                <a:gd name="connsiteY2" fmla="*/ 10731 h 28614"/>
                <a:gd name="connsiteX3" fmla="*/ 10731 w 28614"/>
                <a:gd name="connsiteY3" fmla="*/ 20032 h 28614"/>
                <a:gd name="connsiteX4" fmla="*/ 10732 w 28614"/>
                <a:gd name="connsiteY4" fmla="*/ 20174 h 28614"/>
                <a:gd name="connsiteX5" fmla="*/ 20032 w 28614"/>
                <a:gd name="connsiteY5" fmla="*/ 293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2" y="29330"/>
                  </a:moveTo>
                  <a:cubicBezTo>
                    <a:pt x="25168" y="29330"/>
                    <a:pt x="29332" y="25165"/>
                    <a:pt x="29330" y="20029"/>
                  </a:cubicBezTo>
                  <a:cubicBezTo>
                    <a:pt x="29330" y="14893"/>
                    <a:pt x="25165" y="10731"/>
                    <a:pt x="20029" y="10731"/>
                  </a:cubicBezTo>
                  <a:cubicBezTo>
                    <a:pt x="14894" y="10731"/>
                    <a:pt x="10731" y="14896"/>
                    <a:pt x="10731" y="20032"/>
                  </a:cubicBezTo>
                  <a:cubicBezTo>
                    <a:pt x="10731" y="20079"/>
                    <a:pt x="10731" y="20126"/>
                    <a:pt x="10732" y="20174"/>
                  </a:cubicBezTo>
                  <a:cubicBezTo>
                    <a:pt x="10811" y="25254"/>
                    <a:pt x="14951" y="29330"/>
                    <a:pt x="20032" y="2933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38" name="Freeform: Shape 1137">
              <a:extLst>
                <a:ext uri="{FF2B5EF4-FFF2-40B4-BE49-F238E27FC236}">
                  <a16:creationId xmlns:a16="http://schemas.microsoft.com/office/drawing/2014/main" id="{FD78BF3C-92EB-46B2-A389-03F86836A38F}"/>
                </a:ext>
              </a:extLst>
            </p:cNvPr>
            <p:cNvSpPr/>
            <p:nvPr/>
          </p:nvSpPr>
          <p:spPr>
            <a:xfrm rot="5400000">
              <a:off x="-2640449" y="4605365"/>
              <a:ext cx="89493" cy="89493"/>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39" name="Freeform: Shape 1138">
              <a:extLst>
                <a:ext uri="{FF2B5EF4-FFF2-40B4-BE49-F238E27FC236}">
                  <a16:creationId xmlns:a16="http://schemas.microsoft.com/office/drawing/2014/main" id="{B1CA53A6-82AC-48EB-89EA-7881083FA515}"/>
                </a:ext>
              </a:extLst>
            </p:cNvPr>
            <p:cNvSpPr/>
            <p:nvPr/>
          </p:nvSpPr>
          <p:spPr>
            <a:xfrm rot="5400000">
              <a:off x="-2635968" y="878424"/>
              <a:ext cx="89493" cy="89493"/>
            </a:xfrm>
            <a:custGeom>
              <a:avLst/>
              <a:gdLst>
                <a:gd name="connsiteX0" fmla="*/ 18027 w 28614"/>
                <a:gd name="connsiteY0" fmla="*/ 10732 h 28614"/>
                <a:gd name="connsiteX1" fmla="*/ 10732 w 28614"/>
                <a:gd name="connsiteY1" fmla="*/ 18314 h 28614"/>
                <a:gd name="connsiteX2" fmla="*/ 18314 w 28614"/>
                <a:gd name="connsiteY2" fmla="*/ 25609 h 28614"/>
                <a:gd name="connsiteX3" fmla="*/ 25610 w 28614"/>
                <a:gd name="connsiteY3" fmla="*/ 18172 h 28614"/>
                <a:gd name="connsiteX4" fmla="*/ 18172 w 28614"/>
                <a:gd name="connsiteY4" fmla="*/ 10731 h 28614"/>
                <a:gd name="connsiteX5" fmla="*/ 18027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027" y="10732"/>
                  </a:moveTo>
                  <a:cubicBezTo>
                    <a:pt x="13919" y="10811"/>
                    <a:pt x="10653" y="14206"/>
                    <a:pt x="10732" y="18314"/>
                  </a:cubicBezTo>
                  <a:cubicBezTo>
                    <a:pt x="10811" y="22421"/>
                    <a:pt x="14205" y="25688"/>
                    <a:pt x="18314" y="25609"/>
                  </a:cubicBezTo>
                  <a:cubicBezTo>
                    <a:pt x="22365" y="25532"/>
                    <a:pt x="25610" y="22225"/>
                    <a:pt x="25610" y="18172"/>
                  </a:cubicBezTo>
                  <a:cubicBezTo>
                    <a:pt x="25611" y="14063"/>
                    <a:pt x="22281" y="10732"/>
                    <a:pt x="18172" y="10731"/>
                  </a:cubicBezTo>
                  <a:cubicBezTo>
                    <a:pt x="18124" y="10731"/>
                    <a:pt x="18076" y="10731"/>
                    <a:pt x="18027"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40" name="Freeform: Shape 1139">
              <a:extLst>
                <a:ext uri="{FF2B5EF4-FFF2-40B4-BE49-F238E27FC236}">
                  <a16:creationId xmlns:a16="http://schemas.microsoft.com/office/drawing/2014/main" id="{C5BD6820-25B1-4582-9928-7C6FC8598440}"/>
                </a:ext>
              </a:extLst>
            </p:cNvPr>
            <p:cNvSpPr/>
            <p:nvPr/>
          </p:nvSpPr>
          <p:spPr>
            <a:xfrm rot="5400000">
              <a:off x="-2629710" y="1369280"/>
              <a:ext cx="89493" cy="89493"/>
            </a:xfrm>
            <a:custGeom>
              <a:avLst/>
              <a:gdLst>
                <a:gd name="connsiteX0" fmla="*/ 19892 w 28614"/>
                <a:gd name="connsiteY0" fmla="*/ 30332 h 28614"/>
                <a:gd name="connsiteX1" fmla="*/ 29763 w 28614"/>
                <a:gd name="connsiteY1" fmla="*/ 20747 h 28614"/>
                <a:gd name="connsiteX2" fmla="*/ 29764 w 28614"/>
                <a:gd name="connsiteY2" fmla="*/ 20603 h 28614"/>
                <a:gd name="connsiteX3" fmla="*/ 19892 w 28614"/>
                <a:gd name="connsiteY3" fmla="*/ 10731 h 28614"/>
                <a:gd name="connsiteX4" fmla="*/ 10734 w 28614"/>
                <a:gd name="connsiteY4" fmla="*/ 19886 h 28614"/>
                <a:gd name="connsiteX5" fmla="*/ 10735 w 28614"/>
                <a:gd name="connsiteY5" fmla="*/ 20030 h 28614"/>
                <a:gd name="connsiteX6" fmla="*/ 10735 w 28614"/>
                <a:gd name="connsiteY6" fmla="*/ 20030 h 28614"/>
                <a:gd name="connsiteX7" fmla="*/ 10735 w 28614"/>
                <a:gd name="connsiteY7" fmla="*/ 21032 h 28614"/>
                <a:gd name="connsiteX8" fmla="*/ 19457 w 28614"/>
                <a:gd name="connsiteY8" fmla="*/ 30329 h 28614"/>
                <a:gd name="connsiteX9" fmla="*/ 19892 w 28614"/>
                <a:gd name="connsiteY9" fmla="*/ 303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19892" y="30332"/>
                  </a:moveTo>
                  <a:cubicBezTo>
                    <a:pt x="25265" y="30411"/>
                    <a:pt x="29684" y="26120"/>
                    <a:pt x="29763" y="20747"/>
                  </a:cubicBezTo>
                  <a:cubicBezTo>
                    <a:pt x="29764" y="20699"/>
                    <a:pt x="29764" y="20651"/>
                    <a:pt x="29764" y="20603"/>
                  </a:cubicBezTo>
                  <a:cubicBezTo>
                    <a:pt x="29764" y="15150"/>
                    <a:pt x="25345" y="10731"/>
                    <a:pt x="19892" y="10731"/>
                  </a:cubicBezTo>
                  <a:cubicBezTo>
                    <a:pt x="14834" y="10731"/>
                    <a:pt x="10735" y="14830"/>
                    <a:pt x="10734" y="19886"/>
                  </a:cubicBezTo>
                  <a:cubicBezTo>
                    <a:pt x="10734" y="19935"/>
                    <a:pt x="10734" y="19982"/>
                    <a:pt x="10735" y="20030"/>
                  </a:cubicBezTo>
                  <a:lnTo>
                    <a:pt x="10735" y="20030"/>
                  </a:lnTo>
                  <a:lnTo>
                    <a:pt x="10735" y="21032"/>
                  </a:lnTo>
                  <a:cubicBezTo>
                    <a:pt x="10576" y="26008"/>
                    <a:pt x="14481" y="30170"/>
                    <a:pt x="19457" y="30329"/>
                  </a:cubicBezTo>
                  <a:cubicBezTo>
                    <a:pt x="19602" y="30333"/>
                    <a:pt x="19748" y="30335"/>
                    <a:pt x="19892" y="303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41" name="Freeform: Shape 1140">
              <a:extLst>
                <a:ext uri="{FF2B5EF4-FFF2-40B4-BE49-F238E27FC236}">
                  <a16:creationId xmlns:a16="http://schemas.microsoft.com/office/drawing/2014/main" id="{3A682FCF-2865-4309-A3BD-349A9838295E}"/>
                </a:ext>
              </a:extLst>
            </p:cNvPr>
            <p:cNvSpPr/>
            <p:nvPr/>
          </p:nvSpPr>
          <p:spPr>
            <a:xfrm rot="5400000">
              <a:off x="-2487415" y="882572"/>
              <a:ext cx="89493" cy="89493"/>
            </a:xfrm>
            <a:custGeom>
              <a:avLst/>
              <a:gdLst>
                <a:gd name="connsiteX0" fmla="*/ 16129 w 28614"/>
                <a:gd name="connsiteY0" fmla="*/ 25038 h 28614"/>
                <a:gd name="connsiteX1" fmla="*/ 21239 w 28614"/>
                <a:gd name="connsiteY1" fmla="*/ 15841 h 28614"/>
                <a:gd name="connsiteX2" fmla="*/ 16129 w 28614"/>
                <a:gd name="connsiteY2" fmla="*/ 10731 h 28614"/>
                <a:gd name="connsiteX3" fmla="*/ 11019 w 28614"/>
                <a:gd name="connsiteY3" fmla="*/ 19927 h 28614"/>
                <a:gd name="connsiteX4" fmla="*/ 16129 w 28614"/>
                <a:gd name="connsiteY4" fmla="*/ 25038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6129" y="25038"/>
                  </a:moveTo>
                  <a:cubicBezTo>
                    <a:pt x="20080" y="23909"/>
                    <a:pt x="22368" y="19791"/>
                    <a:pt x="21239" y="15841"/>
                  </a:cubicBezTo>
                  <a:cubicBezTo>
                    <a:pt x="20533" y="13369"/>
                    <a:pt x="18601" y="11437"/>
                    <a:pt x="16129" y="10731"/>
                  </a:cubicBezTo>
                  <a:cubicBezTo>
                    <a:pt x="12178" y="11859"/>
                    <a:pt x="9890" y="15977"/>
                    <a:pt x="11019" y="19927"/>
                  </a:cubicBezTo>
                  <a:cubicBezTo>
                    <a:pt x="11725" y="22400"/>
                    <a:pt x="13657" y="24333"/>
                    <a:pt x="16129" y="25038"/>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42" name="Freeform: Shape 1141">
              <a:extLst>
                <a:ext uri="{FF2B5EF4-FFF2-40B4-BE49-F238E27FC236}">
                  <a16:creationId xmlns:a16="http://schemas.microsoft.com/office/drawing/2014/main" id="{B9F414E7-01BF-4906-B0F2-D7B4CCFF2862}"/>
                </a:ext>
              </a:extLst>
            </p:cNvPr>
            <p:cNvSpPr/>
            <p:nvPr/>
          </p:nvSpPr>
          <p:spPr>
            <a:xfrm rot="5400000">
              <a:off x="-2164342" y="1369737"/>
              <a:ext cx="89493" cy="89493"/>
            </a:xfrm>
            <a:custGeom>
              <a:avLst/>
              <a:gdLst>
                <a:gd name="connsiteX0" fmla="*/ 10732 w 28614"/>
                <a:gd name="connsiteY0" fmla="*/ 19888 h 28614"/>
                <a:gd name="connsiteX1" fmla="*/ 19889 w 28614"/>
                <a:gd name="connsiteY1" fmla="*/ 29329 h 28614"/>
                <a:gd name="connsiteX2" fmla="*/ 29329 w 28614"/>
                <a:gd name="connsiteY2" fmla="*/ 20172 h 28614"/>
                <a:gd name="connsiteX3" fmla="*/ 20172 w 28614"/>
                <a:gd name="connsiteY3" fmla="*/ 10732 h 28614"/>
                <a:gd name="connsiteX4" fmla="*/ 19889 w 28614"/>
                <a:gd name="connsiteY4" fmla="*/ 10732 h 28614"/>
                <a:gd name="connsiteX5" fmla="*/ 10732 w 28614"/>
                <a:gd name="connsiteY5" fmla="*/ 1988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0732" y="19888"/>
                  </a:moveTo>
                  <a:cubicBezTo>
                    <a:pt x="10653" y="25023"/>
                    <a:pt x="14754" y="29251"/>
                    <a:pt x="19889" y="29329"/>
                  </a:cubicBezTo>
                  <a:cubicBezTo>
                    <a:pt x="25023" y="29407"/>
                    <a:pt x="29251" y="25308"/>
                    <a:pt x="29329" y="20172"/>
                  </a:cubicBezTo>
                  <a:cubicBezTo>
                    <a:pt x="29407" y="15037"/>
                    <a:pt x="25308" y="10810"/>
                    <a:pt x="20172" y="10732"/>
                  </a:cubicBezTo>
                  <a:cubicBezTo>
                    <a:pt x="20077" y="10730"/>
                    <a:pt x="19983" y="10730"/>
                    <a:pt x="19889" y="10732"/>
                  </a:cubicBezTo>
                  <a:cubicBezTo>
                    <a:pt x="14831" y="10732"/>
                    <a:pt x="10732" y="14831"/>
                    <a:pt x="10732" y="19888"/>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43" name="Freeform: Shape 1142">
              <a:extLst>
                <a:ext uri="{FF2B5EF4-FFF2-40B4-BE49-F238E27FC236}">
                  <a16:creationId xmlns:a16="http://schemas.microsoft.com/office/drawing/2014/main" id="{DB80B4B9-64E8-4A2B-8C62-6D91609C82F3}"/>
                </a:ext>
              </a:extLst>
            </p:cNvPr>
            <p:cNvSpPr/>
            <p:nvPr/>
          </p:nvSpPr>
          <p:spPr>
            <a:xfrm rot="5400000">
              <a:off x="-2010415" y="4354336"/>
              <a:ext cx="89493" cy="89493"/>
            </a:xfrm>
            <a:custGeom>
              <a:avLst/>
              <a:gdLst>
                <a:gd name="connsiteX0" fmla="*/ 19172 w 28614"/>
                <a:gd name="connsiteY0" fmla="*/ 10731 h 28614"/>
                <a:gd name="connsiteX1" fmla="*/ 10731 w 28614"/>
                <a:gd name="connsiteY1" fmla="*/ 19172 h 28614"/>
                <a:gd name="connsiteX2" fmla="*/ 19172 w 28614"/>
                <a:gd name="connsiteY2" fmla="*/ 27613 h 28614"/>
                <a:gd name="connsiteX3" fmla="*/ 19172 w 28614"/>
                <a:gd name="connsiteY3" fmla="*/ 27613 h 28614"/>
                <a:gd name="connsiteX4" fmla="*/ 27327 w 28614"/>
                <a:gd name="connsiteY4" fmla="*/ 19458 h 28614"/>
                <a:gd name="connsiteX5" fmla="*/ 19182 w 28614"/>
                <a:gd name="connsiteY5" fmla="*/ 10731 h 28614"/>
                <a:gd name="connsiteX6" fmla="*/ 19172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172" y="10731"/>
                  </a:moveTo>
                  <a:cubicBezTo>
                    <a:pt x="14509" y="10731"/>
                    <a:pt x="10731" y="14511"/>
                    <a:pt x="10731" y="19172"/>
                  </a:cubicBezTo>
                  <a:cubicBezTo>
                    <a:pt x="10731" y="23833"/>
                    <a:pt x="14511" y="27613"/>
                    <a:pt x="19172" y="27613"/>
                  </a:cubicBezTo>
                  <a:lnTo>
                    <a:pt x="19172" y="27613"/>
                  </a:lnTo>
                  <a:cubicBezTo>
                    <a:pt x="23676" y="27613"/>
                    <a:pt x="27327" y="23962"/>
                    <a:pt x="27327" y="19458"/>
                  </a:cubicBezTo>
                  <a:cubicBezTo>
                    <a:pt x="27487" y="14798"/>
                    <a:pt x="23841" y="10891"/>
                    <a:pt x="19182" y="10731"/>
                  </a:cubicBezTo>
                  <a:cubicBezTo>
                    <a:pt x="19178" y="10731"/>
                    <a:pt x="19175" y="10731"/>
                    <a:pt x="1917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44" name="Freeform: Shape 1143">
              <a:extLst>
                <a:ext uri="{FF2B5EF4-FFF2-40B4-BE49-F238E27FC236}">
                  <a16:creationId xmlns:a16="http://schemas.microsoft.com/office/drawing/2014/main" id="{9BB99FAE-C061-4E56-8FDE-ADCB8D55201F}"/>
                </a:ext>
              </a:extLst>
            </p:cNvPr>
            <p:cNvSpPr/>
            <p:nvPr/>
          </p:nvSpPr>
          <p:spPr>
            <a:xfrm rot="5400000">
              <a:off x="-2327218" y="4604470"/>
              <a:ext cx="89493" cy="89493"/>
            </a:xfrm>
            <a:custGeom>
              <a:avLst/>
              <a:gdLst>
                <a:gd name="connsiteX0" fmla="*/ 18457 w 28614"/>
                <a:gd name="connsiteY0" fmla="*/ 10732 h 28614"/>
                <a:gd name="connsiteX1" fmla="*/ 10732 w 28614"/>
                <a:gd name="connsiteY1" fmla="*/ 18170 h 28614"/>
                <a:gd name="connsiteX2" fmla="*/ 18171 w 28614"/>
                <a:gd name="connsiteY2" fmla="*/ 25895 h 28614"/>
                <a:gd name="connsiteX3" fmla="*/ 25895 w 28614"/>
                <a:gd name="connsiteY3" fmla="*/ 18457 h 28614"/>
                <a:gd name="connsiteX4" fmla="*/ 25896 w 28614"/>
                <a:gd name="connsiteY4" fmla="*/ 18315 h 28614"/>
                <a:gd name="connsiteX5" fmla="*/ 18601 w 28614"/>
                <a:gd name="connsiteY5" fmla="*/ 10733 h 28614"/>
                <a:gd name="connsiteX6" fmla="*/ 18457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57" y="10732"/>
                  </a:moveTo>
                  <a:cubicBezTo>
                    <a:pt x="14269" y="10653"/>
                    <a:pt x="10811" y="13983"/>
                    <a:pt x="10732" y="18170"/>
                  </a:cubicBezTo>
                  <a:cubicBezTo>
                    <a:pt x="10653" y="22358"/>
                    <a:pt x="13983" y="25816"/>
                    <a:pt x="18171" y="25895"/>
                  </a:cubicBezTo>
                  <a:cubicBezTo>
                    <a:pt x="22358" y="25974"/>
                    <a:pt x="25816" y="22644"/>
                    <a:pt x="25895" y="18457"/>
                  </a:cubicBezTo>
                  <a:cubicBezTo>
                    <a:pt x="25896" y="18409"/>
                    <a:pt x="25896" y="18362"/>
                    <a:pt x="25896" y="18315"/>
                  </a:cubicBezTo>
                  <a:cubicBezTo>
                    <a:pt x="25975" y="14207"/>
                    <a:pt x="22709" y="10812"/>
                    <a:pt x="18601" y="10733"/>
                  </a:cubicBezTo>
                  <a:cubicBezTo>
                    <a:pt x="18552" y="10732"/>
                    <a:pt x="18505" y="10732"/>
                    <a:pt x="18457"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45" name="Freeform: Shape 1144">
              <a:extLst>
                <a:ext uri="{FF2B5EF4-FFF2-40B4-BE49-F238E27FC236}">
                  <a16:creationId xmlns:a16="http://schemas.microsoft.com/office/drawing/2014/main" id="{EA539A54-C198-4A7F-B8F2-1FE5694DC3FF}"/>
                </a:ext>
              </a:extLst>
            </p:cNvPr>
            <p:cNvSpPr/>
            <p:nvPr/>
          </p:nvSpPr>
          <p:spPr>
            <a:xfrm rot="5400000">
              <a:off x="-2493678" y="1839101"/>
              <a:ext cx="89493" cy="134239"/>
            </a:xfrm>
            <a:custGeom>
              <a:avLst/>
              <a:gdLst>
                <a:gd name="connsiteX0" fmla="*/ 20900 w 28614"/>
                <a:gd name="connsiteY0" fmla="*/ 33480 h 42922"/>
                <a:gd name="connsiteX1" fmla="*/ 30997 w 28614"/>
                <a:gd name="connsiteY1" fmla="*/ 20827 h 42922"/>
                <a:gd name="connsiteX2" fmla="*/ 20900 w 28614"/>
                <a:gd name="connsiteY2" fmla="*/ 10731 h 42922"/>
                <a:gd name="connsiteX3" fmla="*/ 20900 w 28614"/>
                <a:gd name="connsiteY3" fmla="*/ 10731 h 42922"/>
                <a:gd name="connsiteX4" fmla="*/ 10803 w 28614"/>
                <a:gd name="connsiteY4" fmla="*/ 23383 h 42922"/>
                <a:gd name="connsiteX5" fmla="*/ 20900 w 28614"/>
                <a:gd name="connsiteY5" fmla="*/ 334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42922">
                  <a:moveTo>
                    <a:pt x="20900" y="33480"/>
                  </a:moveTo>
                  <a:cubicBezTo>
                    <a:pt x="27182" y="32774"/>
                    <a:pt x="31702" y="27110"/>
                    <a:pt x="30997" y="20827"/>
                  </a:cubicBezTo>
                  <a:cubicBezTo>
                    <a:pt x="30400" y="15518"/>
                    <a:pt x="26209" y="11327"/>
                    <a:pt x="20900" y="10731"/>
                  </a:cubicBezTo>
                  <a:lnTo>
                    <a:pt x="20900" y="10731"/>
                  </a:lnTo>
                  <a:cubicBezTo>
                    <a:pt x="14617" y="11436"/>
                    <a:pt x="10098" y="17100"/>
                    <a:pt x="10803" y="23383"/>
                  </a:cubicBezTo>
                  <a:cubicBezTo>
                    <a:pt x="11400" y="28692"/>
                    <a:pt x="15590" y="32883"/>
                    <a:pt x="20900" y="3348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46" name="Freeform: Shape 1145">
              <a:extLst>
                <a:ext uri="{FF2B5EF4-FFF2-40B4-BE49-F238E27FC236}">
                  <a16:creationId xmlns:a16="http://schemas.microsoft.com/office/drawing/2014/main" id="{5843D7E0-CCE5-4C28-B91A-004109C56598}"/>
                </a:ext>
              </a:extLst>
            </p:cNvPr>
            <p:cNvSpPr/>
            <p:nvPr/>
          </p:nvSpPr>
          <p:spPr>
            <a:xfrm rot="5400000">
              <a:off x="-1847761" y="1369728"/>
              <a:ext cx="89493" cy="89493"/>
            </a:xfrm>
            <a:custGeom>
              <a:avLst/>
              <a:gdLst>
                <a:gd name="connsiteX0" fmla="*/ 19892 w 28614"/>
                <a:gd name="connsiteY0" fmla="*/ 11375 h 28614"/>
                <a:gd name="connsiteX1" fmla="*/ 10735 w 28614"/>
                <a:gd name="connsiteY1" fmla="*/ 20532 h 28614"/>
                <a:gd name="connsiteX2" fmla="*/ 10735 w 28614"/>
                <a:gd name="connsiteY2" fmla="*/ 20961 h 28614"/>
                <a:gd name="connsiteX3" fmla="*/ 19600 w 28614"/>
                <a:gd name="connsiteY3" fmla="*/ 30401 h 28614"/>
                <a:gd name="connsiteX4" fmla="*/ 19749 w 28614"/>
                <a:gd name="connsiteY4" fmla="*/ 30404 h 28614"/>
                <a:gd name="connsiteX5" fmla="*/ 19749 w 28614"/>
                <a:gd name="connsiteY5" fmla="*/ 30404 h 28614"/>
                <a:gd name="connsiteX6" fmla="*/ 30736 w 28614"/>
                <a:gd name="connsiteY6" fmla="*/ 21789 h 28614"/>
                <a:gd name="connsiteX7" fmla="*/ 22121 w 28614"/>
                <a:gd name="connsiteY7" fmla="*/ 10803 h 28614"/>
                <a:gd name="connsiteX8" fmla="*/ 19749 w 28614"/>
                <a:gd name="connsiteY8" fmla="*/ 1080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19892" y="11375"/>
                  </a:moveTo>
                  <a:cubicBezTo>
                    <a:pt x="14834" y="11375"/>
                    <a:pt x="10735" y="15474"/>
                    <a:pt x="10735" y="20532"/>
                  </a:cubicBezTo>
                  <a:lnTo>
                    <a:pt x="10735" y="20961"/>
                  </a:lnTo>
                  <a:cubicBezTo>
                    <a:pt x="10576" y="26016"/>
                    <a:pt x="14545" y="30242"/>
                    <a:pt x="19600" y="30401"/>
                  </a:cubicBezTo>
                  <a:cubicBezTo>
                    <a:pt x="19650" y="30402"/>
                    <a:pt x="19699" y="30404"/>
                    <a:pt x="19749" y="30404"/>
                  </a:cubicBezTo>
                  <a:lnTo>
                    <a:pt x="19749" y="30404"/>
                  </a:lnTo>
                  <a:cubicBezTo>
                    <a:pt x="25161" y="31059"/>
                    <a:pt x="30080" y="27202"/>
                    <a:pt x="30736" y="21789"/>
                  </a:cubicBezTo>
                  <a:cubicBezTo>
                    <a:pt x="31391" y="16377"/>
                    <a:pt x="27534" y="11458"/>
                    <a:pt x="22121" y="10803"/>
                  </a:cubicBezTo>
                  <a:cubicBezTo>
                    <a:pt x="21334" y="10707"/>
                    <a:pt x="20537" y="10707"/>
                    <a:pt x="19749" y="1080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47" name="Freeform: Shape 1146">
              <a:extLst>
                <a:ext uri="{FF2B5EF4-FFF2-40B4-BE49-F238E27FC236}">
                  <a16:creationId xmlns:a16="http://schemas.microsoft.com/office/drawing/2014/main" id="{B6F2EF1A-50A5-4DBB-810B-E6184CD8A514}"/>
                </a:ext>
              </a:extLst>
            </p:cNvPr>
            <p:cNvSpPr/>
            <p:nvPr/>
          </p:nvSpPr>
          <p:spPr>
            <a:xfrm rot="5400000">
              <a:off x="-2168372" y="1125421"/>
              <a:ext cx="89493" cy="89493"/>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48" name="Freeform: Shape 1147">
              <a:extLst>
                <a:ext uri="{FF2B5EF4-FFF2-40B4-BE49-F238E27FC236}">
                  <a16:creationId xmlns:a16="http://schemas.microsoft.com/office/drawing/2014/main" id="{2A5D001E-779F-4936-99B8-E22F888316FA}"/>
                </a:ext>
              </a:extLst>
            </p:cNvPr>
            <p:cNvSpPr/>
            <p:nvPr/>
          </p:nvSpPr>
          <p:spPr>
            <a:xfrm rot="5400000">
              <a:off x="-2653603" y="1882536"/>
              <a:ext cx="134239" cy="89493"/>
            </a:xfrm>
            <a:custGeom>
              <a:avLst/>
              <a:gdLst>
                <a:gd name="connsiteX0" fmla="*/ 20460 w 42922"/>
                <a:gd name="connsiteY0" fmla="*/ 10817 h 28614"/>
                <a:gd name="connsiteX1" fmla="*/ 10731 w 42922"/>
                <a:gd name="connsiteY1" fmla="*/ 20689 h 28614"/>
                <a:gd name="connsiteX2" fmla="*/ 23464 w 42922"/>
                <a:gd name="connsiteY2" fmla="*/ 30418 h 28614"/>
                <a:gd name="connsiteX3" fmla="*/ 33336 w 42922"/>
                <a:gd name="connsiteY3" fmla="*/ 20689 h 28614"/>
                <a:gd name="connsiteX4" fmla="*/ 20460 w 42922"/>
                <a:gd name="connsiteY4" fmla="*/ 10817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28614">
                  <a:moveTo>
                    <a:pt x="20460" y="10817"/>
                  </a:moveTo>
                  <a:cubicBezTo>
                    <a:pt x="15389" y="11592"/>
                    <a:pt x="11432" y="15609"/>
                    <a:pt x="10731" y="20689"/>
                  </a:cubicBezTo>
                  <a:cubicBezTo>
                    <a:pt x="11619" y="26859"/>
                    <a:pt x="17279" y="31182"/>
                    <a:pt x="23464" y="30418"/>
                  </a:cubicBezTo>
                  <a:cubicBezTo>
                    <a:pt x="28591" y="29810"/>
                    <a:pt x="32654" y="25805"/>
                    <a:pt x="33336" y="20689"/>
                  </a:cubicBezTo>
                  <a:cubicBezTo>
                    <a:pt x="32448" y="14441"/>
                    <a:pt x="26724" y="10053"/>
                    <a:pt x="20460" y="1081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49" name="Freeform: Shape 1148">
              <a:extLst>
                <a:ext uri="{FF2B5EF4-FFF2-40B4-BE49-F238E27FC236}">
                  <a16:creationId xmlns:a16="http://schemas.microsoft.com/office/drawing/2014/main" id="{2351A0AB-8A9A-435A-BDF7-7F3FA4D623BB}"/>
                </a:ext>
              </a:extLst>
            </p:cNvPr>
            <p:cNvSpPr/>
            <p:nvPr/>
          </p:nvSpPr>
          <p:spPr>
            <a:xfrm rot="5400000">
              <a:off x="-2172998" y="4354302"/>
              <a:ext cx="89493" cy="89493"/>
            </a:xfrm>
            <a:custGeom>
              <a:avLst/>
              <a:gdLst>
                <a:gd name="connsiteX0" fmla="*/ 17753 w 28614"/>
                <a:gd name="connsiteY0" fmla="*/ 10825 h 28614"/>
                <a:gd name="connsiteX1" fmla="*/ 10742 w 28614"/>
                <a:gd name="connsiteY1" fmla="*/ 17835 h 28614"/>
                <a:gd name="connsiteX2" fmla="*/ 18733 w 28614"/>
                <a:gd name="connsiteY2" fmla="*/ 26705 h 28614"/>
                <a:gd name="connsiteX3" fmla="*/ 27339 w 28614"/>
                <a:gd name="connsiteY3" fmla="*/ 20411 h 28614"/>
                <a:gd name="connsiteX4" fmla="*/ 27339 w 28614"/>
                <a:gd name="connsiteY4" fmla="*/ 17835 h 28614"/>
                <a:gd name="connsiteX5" fmla="*/ 17753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753" y="10825"/>
                  </a:moveTo>
                  <a:cubicBezTo>
                    <a:pt x="14145" y="11399"/>
                    <a:pt x="11316" y="14229"/>
                    <a:pt x="10742" y="17835"/>
                  </a:cubicBezTo>
                  <a:cubicBezTo>
                    <a:pt x="10499" y="22491"/>
                    <a:pt x="14077" y="26463"/>
                    <a:pt x="18733" y="26705"/>
                  </a:cubicBezTo>
                  <a:cubicBezTo>
                    <a:pt x="22731" y="26914"/>
                    <a:pt x="26326" y="24284"/>
                    <a:pt x="27339" y="20411"/>
                  </a:cubicBezTo>
                  <a:cubicBezTo>
                    <a:pt x="27483" y="19558"/>
                    <a:pt x="27483" y="18688"/>
                    <a:pt x="27339" y="17835"/>
                  </a:cubicBezTo>
                  <a:cubicBezTo>
                    <a:pt x="26605" y="13266"/>
                    <a:pt x="22330" y="10139"/>
                    <a:pt x="17753" y="108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50" name="Freeform: Shape 1149">
              <a:extLst>
                <a:ext uri="{FF2B5EF4-FFF2-40B4-BE49-F238E27FC236}">
                  <a16:creationId xmlns:a16="http://schemas.microsoft.com/office/drawing/2014/main" id="{F1460228-C9A0-4F31-9F26-86EC085969DA}"/>
                </a:ext>
              </a:extLst>
            </p:cNvPr>
            <p:cNvSpPr/>
            <p:nvPr/>
          </p:nvSpPr>
          <p:spPr>
            <a:xfrm rot="5400000">
              <a:off x="-2171951" y="4605365"/>
              <a:ext cx="89493" cy="89493"/>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51" name="Freeform: Shape 1150">
              <a:extLst>
                <a:ext uri="{FF2B5EF4-FFF2-40B4-BE49-F238E27FC236}">
                  <a16:creationId xmlns:a16="http://schemas.microsoft.com/office/drawing/2014/main" id="{4BB7A8C1-8FE9-4164-A2E3-68C8F4A34774}"/>
                </a:ext>
              </a:extLst>
            </p:cNvPr>
            <p:cNvSpPr/>
            <p:nvPr/>
          </p:nvSpPr>
          <p:spPr>
            <a:xfrm rot="5400000">
              <a:off x="-1852908" y="1125421"/>
              <a:ext cx="89493" cy="89493"/>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52" name="Freeform: Shape 1151">
              <a:extLst>
                <a:ext uri="{FF2B5EF4-FFF2-40B4-BE49-F238E27FC236}">
                  <a16:creationId xmlns:a16="http://schemas.microsoft.com/office/drawing/2014/main" id="{1684C05C-41B5-4470-ACE8-2B26CBC5C566}"/>
                </a:ext>
              </a:extLst>
            </p:cNvPr>
            <p:cNvSpPr/>
            <p:nvPr/>
          </p:nvSpPr>
          <p:spPr>
            <a:xfrm rot="5400000">
              <a:off x="-1854698" y="877971"/>
              <a:ext cx="89493" cy="89493"/>
            </a:xfrm>
            <a:custGeom>
              <a:avLst/>
              <a:gdLst>
                <a:gd name="connsiteX0" fmla="*/ 18459 w 28614"/>
                <a:gd name="connsiteY0" fmla="*/ 11160 h 28614"/>
                <a:gd name="connsiteX1" fmla="*/ 11019 w 28614"/>
                <a:gd name="connsiteY1" fmla="*/ 18311 h 28614"/>
                <a:gd name="connsiteX2" fmla="*/ 11019 w 28614"/>
                <a:gd name="connsiteY2" fmla="*/ 18314 h 28614"/>
                <a:gd name="connsiteX3" fmla="*/ 16129 w 28614"/>
                <a:gd name="connsiteY3" fmla="*/ 27510 h 28614"/>
                <a:gd name="connsiteX4" fmla="*/ 25326 w 28614"/>
                <a:gd name="connsiteY4" fmla="*/ 22401 h 28614"/>
                <a:gd name="connsiteX5" fmla="*/ 25326 w 28614"/>
                <a:gd name="connsiteY5" fmla="*/ 18314 h 28614"/>
                <a:gd name="connsiteX6" fmla="*/ 18321 w 28614"/>
                <a:gd name="connsiteY6" fmla="*/ 10736 h 28614"/>
                <a:gd name="connsiteX7" fmla="*/ 18029 w 28614"/>
                <a:gd name="connsiteY7"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8459" y="11160"/>
                  </a:moveTo>
                  <a:cubicBezTo>
                    <a:pt x="14429" y="11080"/>
                    <a:pt x="11099" y="14282"/>
                    <a:pt x="11019" y="18311"/>
                  </a:cubicBezTo>
                  <a:cubicBezTo>
                    <a:pt x="11019" y="18312"/>
                    <a:pt x="11019" y="18312"/>
                    <a:pt x="11019" y="18314"/>
                  </a:cubicBezTo>
                  <a:cubicBezTo>
                    <a:pt x="9890" y="22264"/>
                    <a:pt x="12178" y="26382"/>
                    <a:pt x="16129" y="27510"/>
                  </a:cubicBezTo>
                  <a:cubicBezTo>
                    <a:pt x="20080" y="28639"/>
                    <a:pt x="24198" y="26352"/>
                    <a:pt x="25326" y="22401"/>
                  </a:cubicBezTo>
                  <a:cubicBezTo>
                    <a:pt x="25708" y="21065"/>
                    <a:pt x="25708" y="19650"/>
                    <a:pt x="25326" y="18314"/>
                  </a:cubicBezTo>
                  <a:cubicBezTo>
                    <a:pt x="25484" y="14287"/>
                    <a:pt x="22348" y="10894"/>
                    <a:pt x="18321" y="10736"/>
                  </a:cubicBezTo>
                  <a:cubicBezTo>
                    <a:pt x="18224" y="10732"/>
                    <a:pt x="18127" y="10731"/>
                    <a:pt x="1802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53" name="Freeform: Shape 1152">
              <a:extLst>
                <a:ext uri="{FF2B5EF4-FFF2-40B4-BE49-F238E27FC236}">
                  <a16:creationId xmlns:a16="http://schemas.microsoft.com/office/drawing/2014/main" id="{84306155-EDEB-407A-B465-8B829A7CB202}"/>
                </a:ext>
              </a:extLst>
            </p:cNvPr>
            <p:cNvSpPr/>
            <p:nvPr/>
          </p:nvSpPr>
          <p:spPr>
            <a:xfrm rot="5400000">
              <a:off x="-2319165" y="1612713"/>
              <a:ext cx="89493" cy="89493"/>
            </a:xfrm>
            <a:custGeom>
              <a:avLst/>
              <a:gdLst>
                <a:gd name="connsiteX0" fmla="*/ 20890 w 28614"/>
                <a:gd name="connsiteY0" fmla="*/ 31191 h 28614"/>
                <a:gd name="connsiteX1" fmla="*/ 31334 w 28614"/>
                <a:gd name="connsiteY1" fmla="*/ 21176 h 28614"/>
                <a:gd name="connsiteX2" fmla="*/ 31334 w 28614"/>
                <a:gd name="connsiteY2" fmla="*/ 21176 h 28614"/>
                <a:gd name="connsiteX3" fmla="*/ 21178 w 28614"/>
                <a:gd name="connsiteY3" fmla="*/ 10732 h 28614"/>
                <a:gd name="connsiteX4" fmla="*/ 20890 w 28614"/>
                <a:gd name="connsiteY4" fmla="*/ 10732 h 28614"/>
                <a:gd name="connsiteX5" fmla="*/ 10732 w 28614"/>
                <a:gd name="connsiteY5" fmla="*/ 20890 h 28614"/>
                <a:gd name="connsiteX6" fmla="*/ 10732 w 28614"/>
                <a:gd name="connsiteY6" fmla="*/ 20890 h 28614"/>
                <a:gd name="connsiteX7" fmla="*/ 20745 w 28614"/>
                <a:gd name="connsiteY7" fmla="*/ 31190 h 28614"/>
                <a:gd name="connsiteX8" fmla="*/ 20890 w 28614"/>
                <a:gd name="connsiteY8" fmla="*/ 3119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890" y="31191"/>
                  </a:moveTo>
                  <a:cubicBezTo>
                    <a:pt x="26524" y="31271"/>
                    <a:pt x="31178" y="26809"/>
                    <a:pt x="31334" y="21176"/>
                  </a:cubicBezTo>
                  <a:lnTo>
                    <a:pt x="31334" y="21176"/>
                  </a:lnTo>
                  <a:cubicBezTo>
                    <a:pt x="31415" y="15487"/>
                    <a:pt x="26866" y="10812"/>
                    <a:pt x="21178" y="10732"/>
                  </a:cubicBezTo>
                  <a:cubicBezTo>
                    <a:pt x="21082" y="10730"/>
                    <a:pt x="20986" y="10730"/>
                    <a:pt x="20890" y="10732"/>
                  </a:cubicBezTo>
                  <a:cubicBezTo>
                    <a:pt x="15280" y="10732"/>
                    <a:pt x="10732" y="15280"/>
                    <a:pt x="10732" y="20890"/>
                  </a:cubicBezTo>
                  <a:lnTo>
                    <a:pt x="10732" y="20890"/>
                  </a:lnTo>
                  <a:cubicBezTo>
                    <a:pt x="10653" y="26500"/>
                    <a:pt x="15135" y="31111"/>
                    <a:pt x="20745" y="31190"/>
                  </a:cubicBezTo>
                  <a:cubicBezTo>
                    <a:pt x="20794" y="31191"/>
                    <a:pt x="20841" y="31191"/>
                    <a:pt x="20890" y="3119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54" name="Freeform: Shape 1153">
              <a:extLst>
                <a:ext uri="{FF2B5EF4-FFF2-40B4-BE49-F238E27FC236}">
                  <a16:creationId xmlns:a16="http://schemas.microsoft.com/office/drawing/2014/main" id="{D7B3CE01-011F-46FB-811F-E971E7BBEECC}"/>
                </a:ext>
              </a:extLst>
            </p:cNvPr>
            <p:cNvSpPr/>
            <p:nvPr/>
          </p:nvSpPr>
          <p:spPr>
            <a:xfrm rot="5400000">
              <a:off x="-2480704" y="4605365"/>
              <a:ext cx="89493" cy="89493"/>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55" name="Freeform: Shape 1154">
              <a:extLst>
                <a:ext uri="{FF2B5EF4-FFF2-40B4-BE49-F238E27FC236}">
                  <a16:creationId xmlns:a16="http://schemas.microsoft.com/office/drawing/2014/main" id="{671D6E68-9BB5-4B99-8D0F-26853AA2791E}"/>
                </a:ext>
              </a:extLst>
            </p:cNvPr>
            <p:cNvSpPr/>
            <p:nvPr/>
          </p:nvSpPr>
          <p:spPr>
            <a:xfrm rot="5400000">
              <a:off x="-2162103" y="1614504"/>
              <a:ext cx="89493" cy="89493"/>
            </a:xfrm>
            <a:custGeom>
              <a:avLst/>
              <a:gdLst>
                <a:gd name="connsiteX0" fmla="*/ 20889 w 28614"/>
                <a:gd name="connsiteY0" fmla="*/ 31335 h 28614"/>
                <a:gd name="connsiteX1" fmla="*/ 20889 w 28614"/>
                <a:gd name="connsiteY1" fmla="*/ 31335 h 28614"/>
                <a:gd name="connsiteX2" fmla="*/ 31333 w 28614"/>
                <a:gd name="connsiteY2" fmla="*/ 20890 h 28614"/>
                <a:gd name="connsiteX3" fmla="*/ 21177 w 28614"/>
                <a:gd name="connsiteY3" fmla="*/ 10731 h 28614"/>
                <a:gd name="connsiteX4" fmla="*/ 21032 w 28614"/>
                <a:gd name="connsiteY4" fmla="*/ 10732 h 28614"/>
                <a:gd name="connsiteX5" fmla="*/ 21032 w 28614"/>
                <a:gd name="connsiteY5" fmla="*/ 10732 h 28614"/>
                <a:gd name="connsiteX6" fmla="*/ 10731 w 28614"/>
                <a:gd name="connsiteY6" fmla="*/ 21033 h 28614"/>
                <a:gd name="connsiteX7" fmla="*/ 21032 w 28614"/>
                <a:gd name="connsiteY7" fmla="*/ 313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0889" y="31335"/>
                  </a:moveTo>
                  <a:lnTo>
                    <a:pt x="20889" y="31335"/>
                  </a:lnTo>
                  <a:cubicBezTo>
                    <a:pt x="26658" y="31335"/>
                    <a:pt x="31333" y="26659"/>
                    <a:pt x="31333" y="20890"/>
                  </a:cubicBezTo>
                  <a:cubicBezTo>
                    <a:pt x="31333" y="15280"/>
                    <a:pt x="26786" y="10732"/>
                    <a:pt x="21177" y="10731"/>
                  </a:cubicBezTo>
                  <a:cubicBezTo>
                    <a:pt x="21128" y="10731"/>
                    <a:pt x="21081" y="10732"/>
                    <a:pt x="21032" y="10732"/>
                  </a:cubicBezTo>
                  <a:lnTo>
                    <a:pt x="21032" y="10732"/>
                  </a:lnTo>
                  <a:cubicBezTo>
                    <a:pt x="15343" y="10732"/>
                    <a:pt x="10731" y="15345"/>
                    <a:pt x="10731" y="21033"/>
                  </a:cubicBezTo>
                  <a:cubicBezTo>
                    <a:pt x="10731" y="26722"/>
                    <a:pt x="15343" y="31335"/>
                    <a:pt x="21032" y="313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56" name="Freeform: Shape 1155">
              <a:extLst>
                <a:ext uri="{FF2B5EF4-FFF2-40B4-BE49-F238E27FC236}">
                  <a16:creationId xmlns:a16="http://schemas.microsoft.com/office/drawing/2014/main" id="{045E3706-EB3B-4F27-857D-EBB68756F9B4}"/>
                </a:ext>
              </a:extLst>
            </p:cNvPr>
            <p:cNvSpPr/>
            <p:nvPr/>
          </p:nvSpPr>
          <p:spPr>
            <a:xfrm rot="5400000">
              <a:off x="-2357202" y="2103583"/>
              <a:ext cx="134239" cy="134239"/>
            </a:xfrm>
            <a:custGeom>
              <a:avLst/>
              <a:gdLst>
                <a:gd name="connsiteX0" fmla="*/ 22893 w 42922"/>
                <a:gd name="connsiteY0" fmla="*/ 35339 h 42922"/>
                <a:gd name="connsiteX1" fmla="*/ 35339 w 42922"/>
                <a:gd name="connsiteY1" fmla="*/ 23178 h 42922"/>
                <a:gd name="connsiteX2" fmla="*/ 23178 w 42922"/>
                <a:gd name="connsiteY2" fmla="*/ 10731 h 42922"/>
                <a:gd name="connsiteX3" fmla="*/ 10732 w 42922"/>
                <a:gd name="connsiteY3" fmla="*/ 22893 h 42922"/>
                <a:gd name="connsiteX4" fmla="*/ 10732 w 42922"/>
                <a:gd name="connsiteY4" fmla="*/ 23178 h 42922"/>
                <a:gd name="connsiteX5" fmla="*/ 22893 w 42922"/>
                <a:gd name="connsiteY5" fmla="*/ 353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3" y="35339"/>
                  </a:moveTo>
                  <a:cubicBezTo>
                    <a:pt x="29688" y="35418"/>
                    <a:pt x="35260" y="29972"/>
                    <a:pt x="35339" y="23178"/>
                  </a:cubicBezTo>
                  <a:cubicBezTo>
                    <a:pt x="35418" y="16383"/>
                    <a:pt x="29972" y="10810"/>
                    <a:pt x="23178" y="10731"/>
                  </a:cubicBezTo>
                  <a:cubicBezTo>
                    <a:pt x="16383" y="10653"/>
                    <a:pt x="10810" y="16098"/>
                    <a:pt x="10732" y="22893"/>
                  </a:cubicBezTo>
                  <a:cubicBezTo>
                    <a:pt x="10730" y="22987"/>
                    <a:pt x="10730" y="23083"/>
                    <a:pt x="10732" y="23178"/>
                  </a:cubicBezTo>
                  <a:cubicBezTo>
                    <a:pt x="10809" y="29862"/>
                    <a:pt x="16209" y="35262"/>
                    <a:pt x="22893" y="3533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57" name="Freeform: Shape 1156">
              <a:extLst>
                <a:ext uri="{FF2B5EF4-FFF2-40B4-BE49-F238E27FC236}">
                  <a16:creationId xmlns:a16="http://schemas.microsoft.com/office/drawing/2014/main" id="{858C0B50-80C3-47A1-9D13-376B88C520FF}"/>
                </a:ext>
              </a:extLst>
            </p:cNvPr>
            <p:cNvSpPr/>
            <p:nvPr/>
          </p:nvSpPr>
          <p:spPr>
            <a:xfrm rot="5400000">
              <a:off x="-2354963" y="3096511"/>
              <a:ext cx="134239" cy="134239"/>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58" name="Freeform: Shape 1157">
              <a:extLst>
                <a:ext uri="{FF2B5EF4-FFF2-40B4-BE49-F238E27FC236}">
                  <a16:creationId xmlns:a16="http://schemas.microsoft.com/office/drawing/2014/main" id="{ABFC0CFD-3C79-483A-84DE-27F292F7E77B}"/>
                </a:ext>
              </a:extLst>
            </p:cNvPr>
            <p:cNvSpPr/>
            <p:nvPr/>
          </p:nvSpPr>
          <p:spPr>
            <a:xfrm rot="5400000">
              <a:off x="-2198797" y="3096511"/>
              <a:ext cx="134239" cy="134239"/>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59" name="Freeform: Shape 1158">
              <a:extLst>
                <a:ext uri="{FF2B5EF4-FFF2-40B4-BE49-F238E27FC236}">
                  <a16:creationId xmlns:a16="http://schemas.microsoft.com/office/drawing/2014/main" id="{C047985D-9D48-48C3-9B41-E04A24AB3ABB}"/>
                </a:ext>
              </a:extLst>
            </p:cNvPr>
            <p:cNvSpPr/>
            <p:nvPr/>
          </p:nvSpPr>
          <p:spPr>
            <a:xfrm rot="5400000">
              <a:off x="-2510233" y="3096511"/>
              <a:ext cx="134239" cy="134239"/>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60" name="Freeform: Shape 1159">
              <a:extLst>
                <a:ext uri="{FF2B5EF4-FFF2-40B4-BE49-F238E27FC236}">
                  <a16:creationId xmlns:a16="http://schemas.microsoft.com/office/drawing/2014/main" id="{73D439E3-22B6-49EF-8407-8BCF166F6A13}"/>
                </a:ext>
              </a:extLst>
            </p:cNvPr>
            <p:cNvSpPr/>
            <p:nvPr/>
          </p:nvSpPr>
          <p:spPr>
            <a:xfrm rot="5400000">
              <a:off x="-1887808" y="3096511"/>
              <a:ext cx="134239" cy="134239"/>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61" name="Freeform: Shape 1160">
              <a:extLst>
                <a:ext uri="{FF2B5EF4-FFF2-40B4-BE49-F238E27FC236}">
                  <a16:creationId xmlns:a16="http://schemas.microsoft.com/office/drawing/2014/main" id="{4CAFCE79-8575-4FDA-8FE9-B957E397F551}"/>
                </a:ext>
              </a:extLst>
            </p:cNvPr>
            <p:cNvSpPr/>
            <p:nvPr/>
          </p:nvSpPr>
          <p:spPr>
            <a:xfrm rot="5400000">
              <a:off x="-2043526" y="3096511"/>
              <a:ext cx="134239" cy="134239"/>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62" name="Freeform: Shape 1161">
              <a:extLst>
                <a:ext uri="{FF2B5EF4-FFF2-40B4-BE49-F238E27FC236}">
                  <a16:creationId xmlns:a16="http://schemas.microsoft.com/office/drawing/2014/main" id="{13A6F3E5-D628-470E-9EC7-B5654EF37DB7}"/>
                </a:ext>
              </a:extLst>
            </p:cNvPr>
            <p:cNvSpPr/>
            <p:nvPr/>
          </p:nvSpPr>
          <p:spPr>
            <a:xfrm rot="5400000">
              <a:off x="-2350491" y="2594008"/>
              <a:ext cx="134239" cy="134239"/>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63" name="Freeform: Shape 1162">
              <a:extLst>
                <a:ext uri="{FF2B5EF4-FFF2-40B4-BE49-F238E27FC236}">
                  <a16:creationId xmlns:a16="http://schemas.microsoft.com/office/drawing/2014/main" id="{253EAA3F-3341-4C58-9C27-FEDD5A112017}"/>
                </a:ext>
              </a:extLst>
            </p:cNvPr>
            <p:cNvSpPr/>
            <p:nvPr/>
          </p:nvSpPr>
          <p:spPr>
            <a:xfrm rot="5400000">
              <a:off x="-2665952" y="3096511"/>
              <a:ext cx="134239" cy="134239"/>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64" name="Freeform: Shape 1163">
              <a:extLst>
                <a:ext uri="{FF2B5EF4-FFF2-40B4-BE49-F238E27FC236}">
                  <a16:creationId xmlns:a16="http://schemas.microsoft.com/office/drawing/2014/main" id="{ABE2DD8C-E322-4071-AF49-62446A9D25D3}"/>
                </a:ext>
              </a:extLst>
            </p:cNvPr>
            <p:cNvSpPr/>
            <p:nvPr/>
          </p:nvSpPr>
          <p:spPr>
            <a:xfrm rot="5400000">
              <a:off x="-2318721" y="3850938"/>
              <a:ext cx="89493" cy="89493"/>
            </a:xfrm>
            <a:custGeom>
              <a:avLst/>
              <a:gdLst>
                <a:gd name="connsiteX0" fmla="*/ 21175 w 28614"/>
                <a:gd name="connsiteY0" fmla="*/ 31333 h 28614"/>
                <a:gd name="connsiteX1" fmla="*/ 31476 w 28614"/>
                <a:gd name="connsiteY1" fmla="*/ 21032 h 28614"/>
                <a:gd name="connsiteX2" fmla="*/ 21175 w 28614"/>
                <a:gd name="connsiteY2" fmla="*/ 10731 h 28614"/>
                <a:gd name="connsiteX3" fmla="*/ 21175 w 28614"/>
                <a:gd name="connsiteY3" fmla="*/ 10731 h 28614"/>
                <a:gd name="connsiteX4" fmla="*/ 10731 w 28614"/>
                <a:gd name="connsiteY4" fmla="*/ 21175 h 28614"/>
                <a:gd name="connsiteX5" fmla="*/ 20889 w 28614"/>
                <a:gd name="connsiteY5"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1175" y="31333"/>
                  </a:moveTo>
                  <a:cubicBezTo>
                    <a:pt x="26864" y="31333"/>
                    <a:pt x="31476" y="26721"/>
                    <a:pt x="31476" y="21032"/>
                  </a:cubicBezTo>
                  <a:cubicBezTo>
                    <a:pt x="31476" y="15343"/>
                    <a:pt x="26864" y="10731"/>
                    <a:pt x="21175" y="10731"/>
                  </a:cubicBezTo>
                  <a:lnTo>
                    <a:pt x="21175" y="10731"/>
                  </a:lnTo>
                  <a:cubicBezTo>
                    <a:pt x="15406" y="10731"/>
                    <a:pt x="10731" y="15406"/>
                    <a:pt x="10731" y="21175"/>
                  </a:cubicBezTo>
                  <a:cubicBezTo>
                    <a:pt x="10731" y="26785"/>
                    <a:pt x="15279" y="31333"/>
                    <a:pt x="20889" y="3133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65" name="Freeform: Shape 1164">
              <a:extLst>
                <a:ext uri="{FF2B5EF4-FFF2-40B4-BE49-F238E27FC236}">
                  <a16:creationId xmlns:a16="http://schemas.microsoft.com/office/drawing/2014/main" id="{7E8BCFB9-C2B4-4A5C-B1B0-9989A4915311}"/>
                </a:ext>
              </a:extLst>
            </p:cNvPr>
            <p:cNvSpPr/>
            <p:nvPr/>
          </p:nvSpPr>
          <p:spPr>
            <a:xfrm rot="5400000">
              <a:off x="-2029326" y="3864032"/>
              <a:ext cx="134239" cy="89493"/>
            </a:xfrm>
            <a:custGeom>
              <a:avLst/>
              <a:gdLst>
                <a:gd name="connsiteX0" fmla="*/ 18133 w 42922"/>
                <a:gd name="connsiteY0" fmla="*/ 30724 h 28614"/>
                <a:gd name="connsiteX1" fmla="*/ 23713 w 42922"/>
                <a:gd name="connsiteY1" fmla="*/ 30724 h 28614"/>
                <a:gd name="connsiteX2" fmla="*/ 33871 w 42922"/>
                <a:gd name="connsiteY2" fmla="*/ 20852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83" y="30652"/>
                    <a:pt x="33644" y="26317"/>
                    <a:pt x="33871" y="20852"/>
                  </a:cubicBezTo>
                  <a:cubicBezTo>
                    <a:pt x="33641" y="15409"/>
                    <a:pt x="29160" y="11118"/>
                    <a:pt x="23713" y="11123"/>
                  </a:cubicBezTo>
                  <a:cubicBezTo>
                    <a:pt x="18301" y="9582"/>
                    <a:pt x="12664" y="12721"/>
                    <a:pt x="11123" y="18133"/>
                  </a:cubicBezTo>
                  <a:cubicBezTo>
                    <a:pt x="9582" y="23546"/>
                    <a:pt x="12721" y="29183"/>
                    <a:pt x="18133" y="3072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66" name="Freeform: Shape 1165">
              <a:extLst>
                <a:ext uri="{FF2B5EF4-FFF2-40B4-BE49-F238E27FC236}">
                  <a16:creationId xmlns:a16="http://schemas.microsoft.com/office/drawing/2014/main" id="{BF312897-706D-447C-B20B-9C32F364E6DF}"/>
                </a:ext>
              </a:extLst>
            </p:cNvPr>
            <p:cNvSpPr/>
            <p:nvPr/>
          </p:nvSpPr>
          <p:spPr>
            <a:xfrm rot="5400000">
              <a:off x="-2461460" y="3915373"/>
              <a:ext cx="44746" cy="44746"/>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1167" name="Freeform: Shape 1166">
              <a:extLst>
                <a:ext uri="{FF2B5EF4-FFF2-40B4-BE49-F238E27FC236}">
                  <a16:creationId xmlns:a16="http://schemas.microsoft.com/office/drawing/2014/main" id="{51CE6AA8-B18C-4E1D-9EA6-77C6182145ED}"/>
                </a:ext>
              </a:extLst>
            </p:cNvPr>
            <p:cNvSpPr/>
            <p:nvPr/>
          </p:nvSpPr>
          <p:spPr>
            <a:xfrm rot="5400000">
              <a:off x="-1884679" y="2844589"/>
              <a:ext cx="134239" cy="134239"/>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68" name="Freeform: Shape 1167">
              <a:extLst>
                <a:ext uri="{FF2B5EF4-FFF2-40B4-BE49-F238E27FC236}">
                  <a16:creationId xmlns:a16="http://schemas.microsoft.com/office/drawing/2014/main" id="{A5F1E280-E010-4085-8E8F-2E2782AE150D}"/>
                </a:ext>
              </a:extLst>
            </p:cNvPr>
            <p:cNvSpPr/>
            <p:nvPr/>
          </p:nvSpPr>
          <p:spPr>
            <a:xfrm rot="5400000">
              <a:off x="-2629710" y="3851386"/>
              <a:ext cx="89493" cy="89493"/>
            </a:xfrm>
            <a:custGeom>
              <a:avLst/>
              <a:gdLst>
                <a:gd name="connsiteX0" fmla="*/ 21175 w 28614"/>
                <a:gd name="connsiteY0" fmla="*/ 10731 h 28614"/>
                <a:gd name="connsiteX1" fmla="*/ 21175 w 28614"/>
                <a:gd name="connsiteY1" fmla="*/ 10731 h 28614"/>
                <a:gd name="connsiteX2" fmla="*/ 10731 w 28614"/>
                <a:gd name="connsiteY2" fmla="*/ 21175 h 28614"/>
                <a:gd name="connsiteX3" fmla="*/ 20889 w 28614"/>
                <a:gd name="connsiteY3" fmla="*/ 31333 h 28614"/>
                <a:gd name="connsiteX4" fmla="*/ 20889 w 28614"/>
                <a:gd name="connsiteY4" fmla="*/ 31333 h 28614"/>
                <a:gd name="connsiteX5" fmla="*/ 31190 w 28614"/>
                <a:gd name="connsiteY5" fmla="*/ 21032 h 28614"/>
                <a:gd name="connsiteX6" fmla="*/ 20889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175" y="10731"/>
                  </a:moveTo>
                  <a:lnTo>
                    <a:pt x="21175" y="10731"/>
                  </a:lnTo>
                  <a:cubicBezTo>
                    <a:pt x="15406" y="10731"/>
                    <a:pt x="10731" y="15406"/>
                    <a:pt x="10731" y="21175"/>
                  </a:cubicBezTo>
                  <a:cubicBezTo>
                    <a:pt x="10731" y="26785"/>
                    <a:pt x="15279" y="31333"/>
                    <a:pt x="20889" y="31333"/>
                  </a:cubicBezTo>
                  <a:lnTo>
                    <a:pt x="20889" y="31333"/>
                  </a:lnTo>
                  <a:cubicBezTo>
                    <a:pt x="26578" y="31333"/>
                    <a:pt x="31190" y="26721"/>
                    <a:pt x="31190" y="21032"/>
                  </a:cubicBezTo>
                  <a:cubicBezTo>
                    <a:pt x="31190" y="15343"/>
                    <a:pt x="26578" y="10731"/>
                    <a:pt x="2088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69" name="Freeform: Shape 1168">
              <a:extLst>
                <a:ext uri="{FF2B5EF4-FFF2-40B4-BE49-F238E27FC236}">
                  <a16:creationId xmlns:a16="http://schemas.microsoft.com/office/drawing/2014/main" id="{E8BD1477-045F-4DF8-865B-01617FB00836}"/>
                </a:ext>
              </a:extLst>
            </p:cNvPr>
            <p:cNvSpPr/>
            <p:nvPr/>
          </p:nvSpPr>
          <p:spPr>
            <a:xfrm rot="5400000">
              <a:off x="-2192979" y="2594456"/>
              <a:ext cx="134239" cy="134239"/>
            </a:xfrm>
            <a:custGeom>
              <a:avLst/>
              <a:gdLst>
                <a:gd name="connsiteX0" fmla="*/ 25753 w 42922"/>
                <a:gd name="connsiteY0" fmla="*/ 39346 h 42922"/>
                <a:gd name="connsiteX1" fmla="*/ 40061 w 42922"/>
                <a:gd name="connsiteY1" fmla="*/ 25038 h 42922"/>
                <a:gd name="connsiteX2" fmla="*/ 25753 w 42922"/>
                <a:gd name="connsiteY2" fmla="*/ 10731 h 42922"/>
                <a:gd name="connsiteX3" fmla="*/ 11446 w 42922"/>
                <a:gd name="connsiteY3" fmla="*/ 25038 h 42922"/>
                <a:gd name="connsiteX4" fmla="*/ 10731 w 42922"/>
                <a:gd name="connsiteY4" fmla="*/ 26040 h 42922"/>
                <a:gd name="connsiteX5" fmla="*/ 25753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753" y="39346"/>
                  </a:moveTo>
                  <a:cubicBezTo>
                    <a:pt x="33655" y="39346"/>
                    <a:pt x="40061" y="32940"/>
                    <a:pt x="40061" y="25038"/>
                  </a:cubicBezTo>
                  <a:cubicBezTo>
                    <a:pt x="40061" y="17136"/>
                    <a:pt x="33655" y="10731"/>
                    <a:pt x="25753" y="10731"/>
                  </a:cubicBezTo>
                  <a:cubicBezTo>
                    <a:pt x="17851" y="10731"/>
                    <a:pt x="11446" y="17136"/>
                    <a:pt x="11446" y="25038"/>
                  </a:cubicBezTo>
                  <a:lnTo>
                    <a:pt x="10731" y="26040"/>
                  </a:lnTo>
                  <a:cubicBezTo>
                    <a:pt x="11267" y="33831"/>
                    <a:pt x="17953" y="39755"/>
                    <a:pt x="25753"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70" name="Freeform: Shape 1169">
              <a:extLst>
                <a:ext uri="{FF2B5EF4-FFF2-40B4-BE49-F238E27FC236}">
                  <a16:creationId xmlns:a16="http://schemas.microsoft.com/office/drawing/2014/main" id="{6B09B00F-B885-40FF-9FB0-EB4F59951BFE}"/>
                </a:ext>
              </a:extLst>
            </p:cNvPr>
            <p:cNvSpPr/>
            <p:nvPr/>
          </p:nvSpPr>
          <p:spPr>
            <a:xfrm rot="5400000">
              <a:off x="-2039949" y="2845035"/>
              <a:ext cx="134239" cy="134239"/>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71" name="Freeform: Shape 1170">
              <a:extLst>
                <a:ext uri="{FF2B5EF4-FFF2-40B4-BE49-F238E27FC236}">
                  <a16:creationId xmlns:a16="http://schemas.microsoft.com/office/drawing/2014/main" id="{6094B7B1-63F2-4B59-803E-24429C772A5F}"/>
                </a:ext>
              </a:extLst>
            </p:cNvPr>
            <p:cNvSpPr/>
            <p:nvPr/>
          </p:nvSpPr>
          <p:spPr>
            <a:xfrm rot="5400000">
              <a:off x="-2495586" y="3864032"/>
              <a:ext cx="134239" cy="89493"/>
            </a:xfrm>
            <a:custGeom>
              <a:avLst/>
              <a:gdLst>
                <a:gd name="connsiteX0" fmla="*/ 18133 w 42922"/>
                <a:gd name="connsiteY0" fmla="*/ 30724 h 28614"/>
                <a:gd name="connsiteX1" fmla="*/ 23713 w 42922"/>
                <a:gd name="connsiteY1" fmla="*/ 30724 h 28614"/>
                <a:gd name="connsiteX2" fmla="*/ 33871 w 42922"/>
                <a:gd name="connsiteY2" fmla="*/ 20995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60" y="30728"/>
                    <a:pt x="33641" y="26437"/>
                    <a:pt x="33871" y="20995"/>
                  </a:cubicBezTo>
                  <a:cubicBezTo>
                    <a:pt x="33644" y="15529"/>
                    <a:pt x="29183" y="11194"/>
                    <a:pt x="23713" y="11123"/>
                  </a:cubicBezTo>
                  <a:cubicBezTo>
                    <a:pt x="18301" y="9582"/>
                    <a:pt x="12664" y="12721"/>
                    <a:pt x="11123" y="18133"/>
                  </a:cubicBezTo>
                  <a:cubicBezTo>
                    <a:pt x="9582" y="23546"/>
                    <a:pt x="12721" y="29183"/>
                    <a:pt x="18133" y="3072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72" name="Freeform: Shape 1171">
              <a:extLst>
                <a:ext uri="{FF2B5EF4-FFF2-40B4-BE49-F238E27FC236}">
                  <a16:creationId xmlns:a16="http://schemas.microsoft.com/office/drawing/2014/main" id="{A3807B12-0C29-4053-95C6-3DC6277F5CFA}"/>
                </a:ext>
              </a:extLst>
            </p:cNvPr>
            <p:cNvSpPr/>
            <p:nvPr/>
          </p:nvSpPr>
          <p:spPr>
            <a:xfrm rot="5400000">
              <a:off x="-2163437" y="3850938"/>
              <a:ext cx="89493" cy="89493"/>
            </a:xfrm>
            <a:custGeom>
              <a:avLst/>
              <a:gdLst>
                <a:gd name="connsiteX0" fmla="*/ 21175 w 28614"/>
                <a:gd name="connsiteY0" fmla="*/ 10735 h 28614"/>
                <a:gd name="connsiteX1" fmla="*/ 10733 w 28614"/>
                <a:gd name="connsiteY1" fmla="*/ 20603 h 28614"/>
                <a:gd name="connsiteX2" fmla="*/ 10731 w 28614"/>
                <a:gd name="connsiteY2" fmla="*/ 20750 h 28614"/>
                <a:gd name="connsiteX3" fmla="*/ 10731 w 28614"/>
                <a:gd name="connsiteY3" fmla="*/ 20750 h 28614"/>
                <a:gd name="connsiteX4" fmla="*/ 21175 w 28614"/>
                <a:gd name="connsiteY4" fmla="*/ 31194 h 28614"/>
                <a:gd name="connsiteX5" fmla="*/ 31333 w 28614"/>
                <a:gd name="connsiteY5" fmla="*/ 21036 h 28614"/>
                <a:gd name="connsiteX6" fmla="*/ 31333 w 28614"/>
                <a:gd name="connsiteY6" fmla="*/ 21036 h 28614"/>
                <a:gd name="connsiteX7" fmla="*/ 21320 w 28614"/>
                <a:gd name="connsiteY7" fmla="*/ 10736 h 28614"/>
                <a:gd name="connsiteX8" fmla="*/ 21175 w 28614"/>
                <a:gd name="connsiteY8"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175" y="10735"/>
                  </a:moveTo>
                  <a:cubicBezTo>
                    <a:pt x="15567" y="10576"/>
                    <a:pt x="10892" y="14994"/>
                    <a:pt x="10733" y="20603"/>
                  </a:cubicBezTo>
                  <a:cubicBezTo>
                    <a:pt x="10732" y="20651"/>
                    <a:pt x="10731" y="20701"/>
                    <a:pt x="10731" y="20750"/>
                  </a:cubicBezTo>
                  <a:lnTo>
                    <a:pt x="10731" y="20750"/>
                  </a:lnTo>
                  <a:cubicBezTo>
                    <a:pt x="10731" y="26519"/>
                    <a:pt x="15406" y="31194"/>
                    <a:pt x="21175" y="31194"/>
                  </a:cubicBezTo>
                  <a:cubicBezTo>
                    <a:pt x="26785" y="31194"/>
                    <a:pt x="31333" y="26646"/>
                    <a:pt x="31333" y="21036"/>
                  </a:cubicBezTo>
                  <a:lnTo>
                    <a:pt x="31333" y="21036"/>
                  </a:lnTo>
                  <a:cubicBezTo>
                    <a:pt x="31412" y="15426"/>
                    <a:pt x="26929" y="10815"/>
                    <a:pt x="21320" y="10736"/>
                  </a:cubicBezTo>
                  <a:cubicBezTo>
                    <a:pt x="21271" y="10735"/>
                    <a:pt x="21224" y="10735"/>
                    <a:pt x="21175" y="107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73" name="Freeform: Shape 1172">
              <a:extLst>
                <a:ext uri="{FF2B5EF4-FFF2-40B4-BE49-F238E27FC236}">
                  <a16:creationId xmlns:a16="http://schemas.microsoft.com/office/drawing/2014/main" id="{9E8670EA-9816-4026-A18F-D0D50110BD87}"/>
                </a:ext>
              </a:extLst>
            </p:cNvPr>
            <p:cNvSpPr/>
            <p:nvPr/>
          </p:nvSpPr>
          <p:spPr>
            <a:xfrm rot="5400000">
              <a:off x="-2359875" y="3598569"/>
              <a:ext cx="134239" cy="134239"/>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74" name="Freeform: Shape 1173">
              <a:extLst>
                <a:ext uri="{FF2B5EF4-FFF2-40B4-BE49-F238E27FC236}">
                  <a16:creationId xmlns:a16="http://schemas.microsoft.com/office/drawing/2014/main" id="{8051F496-A5DF-435D-A6DF-EF2F1812D2A4}"/>
                </a:ext>
              </a:extLst>
            </p:cNvPr>
            <p:cNvSpPr/>
            <p:nvPr/>
          </p:nvSpPr>
          <p:spPr>
            <a:xfrm rot="5400000">
              <a:off x="-2046660" y="3348435"/>
              <a:ext cx="134239" cy="134239"/>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75" name="Freeform: Shape 1174">
              <a:extLst>
                <a:ext uri="{FF2B5EF4-FFF2-40B4-BE49-F238E27FC236}">
                  <a16:creationId xmlns:a16="http://schemas.microsoft.com/office/drawing/2014/main" id="{7DAD3C7C-E8B1-4730-AB76-9ACEDA2AE0E0}"/>
                </a:ext>
              </a:extLst>
            </p:cNvPr>
            <p:cNvSpPr/>
            <p:nvPr/>
          </p:nvSpPr>
          <p:spPr>
            <a:xfrm rot="5400000">
              <a:off x="-1888255" y="3345752"/>
              <a:ext cx="134239" cy="134239"/>
            </a:xfrm>
            <a:custGeom>
              <a:avLst/>
              <a:gdLst>
                <a:gd name="connsiteX0" fmla="*/ 24609 w 42922"/>
                <a:gd name="connsiteY0" fmla="*/ 10731 h 42922"/>
                <a:gd name="connsiteX1" fmla="*/ 22892 w 42922"/>
                <a:gd name="connsiteY1" fmla="*/ 10731 h 42922"/>
                <a:gd name="connsiteX2" fmla="*/ 10731 w 42922"/>
                <a:gd name="connsiteY2" fmla="*/ 22892 h 42922"/>
                <a:gd name="connsiteX3" fmla="*/ 22892 w 42922"/>
                <a:gd name="connsiteY3" fmla="*/ 35053 h 42922"/>
                <a:gd name="connsiteX4" fmla="*/ 35045 w 42922"/>
                <a:gd name="connsiteY4" fmla="*/ 23758 h 42922"/>
                <a:gd name="connsiteX5" fmla="*/ 35053 w 42922"/>
                <a:gd name="connsiteY5" fmla="*/ 23321 h 42922"/>
                <a:gd name="connsiteX6" fmla="*/ 35053 w 42922"/>
                <a:gd name="connsiteY6" fmla="*/ 23321 h 42922"/>
                <a:gd name="connsiteX7" fmla="*/ 35912 w 42922"/>
                <a:gd name="connsiteY7" fmla="*/ 24180 h 42922"/>
                <a:gd name="connsiteX8" fmla="*/ 25135 w 42922"/>
                <a:gd name="connsiteY8" fmla="*/ 10776 h 42922"/>
                <a:gd name="connsiteX9" fmla="*/ 24609 w 42922"/>
                <a:gd name="connsiteY9"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4609" y="10731"/>
                  </a:moveTo>
                  <a:lnTo>
                    <a:pt x="22892" y="10731"/>
                  </a:lnTo>
                  <a:cubicBezTo>
                    <a:pt x="16176" y="10731"/>
                    <a:pt x="10731" y="16176"/>
                    <a:pt x="10731" y="22892"/>
                  </a:cubicBezTo>
                  <a:cubicBezTo>
                    <a:pt x="10731" y="29608"/>
                    <a:pt x="16176" y="35053"/>
                    <a:pt x="22892" y="35053"/>
                  </a:cubicBezTo>
                  <a:cubicBezTo>
                    <a:pt x="29367" y="35291"/>
                    <a:pt x="34809" y="30233"/>
                    <a:pt x="35045" y="23758"/>
                  </a:cubicBezTo>
                  <a:cubicBezTo>
                    <a:pt x="35050" y="23613"/>
                    <a:pt x="35053" y="23467"/>
                    <a:pt x="35053" y="23321"/>
                  </a:cubicBezTo>
                  <a:lnTo>
                    <a:pt x="35053" y="23321"/>
                  </a:lnTo>
                  <a:lnTo>
                    <a:pt x="35912" y="24180"/>
                  </a:lnTo>
                  <a:cubicBezTo>
                    <a:pt x="36637" y="17502"/>
                    <a:pt x="31813" y="11502"/>
                    <a:pt x="25135" y="10776"/>
                  </a:cubicBezTo>
                  <a:cubicBezTo>
                    <a:pt x="24959" y="10758"/>
                    <a:pt x="24785" y="10742"/>
                    <a:pt x="2460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76" name="Freeform: Shape 1175">
              <a:extLst>
                <a:ext uri="{FF2B5EF4-FFF2-40B4-BE49-F238E27FC236}">
                  <a16:creationId xmlns:a16="http://schemas.microsoft.com/office/drawing/2014/main" id="{806AEAB8-E654-4FB0-B10A-092B7D6CB1FE}"/>
                </a:ext>
              </a:extLst>
            </p:cNvPr>
            <p:cNvSpPr/>
            <p:nvPr/>
          </p:nvSpPr>
          <p:spPr>
            <a:xfrm rot="5400000">
              <a:off x="-2209237" y="3599156"/>
              <a:ext cx="134239" cy="134239"/>
            </a:xfrm>
            <a:custGeom>
              <a:avLst/>
              <a:gdLst>
                <a:gd name="connsiteX0" fmla="*/ 20558 w 42922"/>
                <a:gd name="connsiteY0" fmla="*/ 10827 h 42922"/>
                <a:gd name="connsiteX1" fmla="*/ 10829 w 42922"/>
                <a:gd name="connsiteY1" fmla="*/ 20556 h 42922"/>
                <a:gd name="connsiteX2" fmla="*/ 20558 w 42922"/>
                <a:gd name="connsiteY2" fmla="*/ 33240 h 42922"/>
                <a:gd name="connsiteX3" fmla="*/ 33241 w 42922"/>
                <a:gd name="connsiteY3" fmla="*/ 23511 h 42922"/>
                <a:gd name="connsiteX4" fmla="*/ 23512 w 42922"/>
                <a:gd name="connsiteY4" fmla="*/ 10827 h 42922"/>
                <a:gd name="connsiteX5" fmla="*/ 20558 w 42922"/>
                <a:gd name="connsiteY5" fmla="*/ 1082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58" y="10827"/>
                  </a:moveTo>
                  <a:cubicBezTo>
                    <a:pt x="15463" y="11448"/>
                    <a:pt x="11450" y="15461"/>
                    <a:pt x="10829" y="20556"/>
                  </a:cubicBezTo>
                  <a:cubicBezTo>
                    <a:pt x="10013" y="26746"/>
                    <a:pt x="14368" y="32423"/>
                    <a:pt x="20558" y="33240"/>
                  </a:cubicBezTo>
                  <a:cubicBezTo>
                    <a:pt x="26747" y="34055"/>
                    <a:pt x="32424" y="29699"/>
                    <a:pt x="33241" y="23511"/>
                  </a:cubicBezTo>
                  <a:cubicBezTo>
                    <a:pt x="34057" y="17321"/>
                    <a:pt x="29700" y="11643"/>
                    <a:pt x="23512" y="10827"/>
                  </a:cubicBezTo>
                  <a:cubicBezTo>
                    <a:pt x="22531" y="10698"/>
                    <a:pt x="21538" y="10698"/>
                    <a:pt x="20558" y="1082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77" name="Freeform: Shape 1176">
              <a:extLst>
                <a:ext uri="{FF2B5EF4-FFF2-40B4-BE49-F238E27FC236}">
                  <a16:creationId xmlns:a16="http://schemas.microsoft.com/office/drawing/2014/main" id="{5A4F77AD-B1FB-4EFC-BE0C-A23BAA99970D}"/>
                </a:ext>
              </a:extLst>
            </p:cNvPr>
            <p:cNvSpPr/>
            <p:nvPr/>
          </p:nvSpPr>
          <p:spPr>
            <a:xfrm rot="5400000">
              <a:off x="-2520217" y="3599213"/>
              <a:ext cx="134239" cy="134239"/>
            </a:xfrm>
            <a:custGeom>
              <a:avLst/>
              <a:gdLst>
                <a:gd name="connsiteX0" fmla="*/ 20540 w 42922"/>
                <a:gd name="connsiteY0" fmla="*/ 10829 h 42922"/>
                <a:gd name="connsiteX1" fmla="*/ 10810 w 42922"/>
                <a:gd name="connsiteY1" fmla="*/ 20702 h 42922"/>
                <a:gd name="connsiteX2" fmla="*/ 20703 w 42922"/>
                <a:gd name="connsiteY2" fmla="*/ 33258 h 42922"/>
                <a:gd name="connsiteX3" fmla="*/ 33259 w 42922"/>
                <a:gd name="connsiteY3" fmla="*/ 23364 h 42922"/>
                <a:gd name="connsiteX4" fmla="*/ 23367 w 42922"/>
                <a:gd name="connsiteY4" fmla="*/ 10809 h 42922"/>
                <a:gd name="connsiteX5" fmla="*/ 20540 w 42922"/>
                <a:gd name="connsiteY5" fmla="*/ 1082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40" y="10829"/>
                  </a:moveTo>
                  <a:cubicBezTo>
                    <a:pt x="15446" y="11559"/>
                    <a:pt x="11466" y="15598"/>
                    <a:pt x="10810" y="20702"/>
                  </a:cubicBezTo>
                  <a:cubicBezTo>
                    <a:pt x="10075" y="26901"/>
                    <a:pt x="14505" y="32522"/>
                    <a:pt x="20703" y="33258"/>
                  </a:cubicBezTo>
                  <a:cubicBezTo>
                    <a:pt x="26902" y="33993"/>
                    <a:pt x="32523" y="29564"/>
                    <a:pt x="33259" y="23364"/>
                  </a:cubicBezTo>
                  <a:cubicBezTo>
                    <a:pt x="33994" y="17166"/>
                    <a:pt x="29565" y="11545"/>
                    <a:pt x="23367" y="10809"/>
                  </a:cubicBezTo>
                  <a:cubicBezTo>
                    <a:pt x="22427" y="10698"/>
                    <a:pt x="21477" y="10705"/>
                    <a:pt x="20540" y="1082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78" name="Freeform: Shape 1177">
              <a:extLst>
                <a:ext uri="{FF2B5EF4-FFF2-40B4-BE49-F238E27FC236}">
                  <a16:creationId xmlns:a16="http://schemas.microsoft.com/office/drawing/2014/main" id="{2C1ADC0E-F4D0-47D4-96D7-11EDA51BBFF4}"/>
                </a:ext>
              </a:extLst>
            </p:cNvPr>
            <p:cNvSpPr/>
            <p:nvPr/>
          </p:nvSpPr>
          <p:spPr>
            <a:xfrm rot="5400000">
              <a:off x="-1873217" y="3619033"/>
              <a:ext cx="134239" cy="89493"/>
            </a:xfrm>
            <a:custGeom>
              <a:avLst/>
              <a:gdLst>
                <a:gd name="connsiteX0" fmla="*/ 23645 w 42922"/>
                <a:gd name="connsiteY0" fmla="*/ 30419 h 28614"/>
                <a:gd name="connsiteX1" fmla="*/ 33374 w 42922"/>
                <a:gd name="connsiteY1" fmla="*/ 20547 h 28614"/>
                <a:gd name="connsiteX2" fmla="*/ 20640 w 42922"/>
                <a:gd name="connsiteY2" fmla="*/ 10818 h 28614"/>
                <a:gd name="connsiteX3" fmla="*/ 10731 w 42922"/>
                <a:gd name="connsiteY3" fmla="*/ 20939 h 28614"/>
                <a:gd name="connsiteX4" fmla="*/ 20852 w 42922"/>
                <a:gd name="connsiteY4" fmla="*/ 30847 h 28614"/>
                <a:gd name="connsiteX5" fmla="*/ 23645 w 42922"/>
                <a:gd name="connsiteY5" fmla="*/ 3041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645" y="30419"/>
                  </a:moveTo>
                  <a:cubicBezTo>
                    <a:pt x="28716" y="29644"/>
                    <a:pt x="32673" y="25628"/>
                    <a:pt x="33374" y="20547"/>
                  </a:cubicBezTo>
                  <a:cubicBezTo>
                    <a:pt x="32487" y="14378"/>
                    <a:pt x="26826" y="10054"/>
                    <a:pt x="20640" y="10818"/>
                  </a:cubicBezTo>
                  <a:cubicBezTo>
                    <a:pt x="15109" y="10877"/>
                    <a:pt x="10674" y="15408"/>
                    <a:pt x="10731" y="20939"/>
                  </a:cubicBezTo>
                  <a:cubicBezTo>
                    <a:pt x="10790" y="26469"/>
                    <a:pt x="15321" y="30906"/>
                    <a:pt x="20852" y="30847"/>
                  </a:cubicBezTo>
                  <a:cubicBezTo>
                    <a:pt x="21799" y="30837"/>
                    <a:pt x="22739" y="30693"/>
                    <a:pt x="23645" y="3041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79" name="Freeform: Shape 1178">
              <a:extLst>
                <a:ext uri="{FF2B5EF4-FFF2-40B4-BE49-F238E27FC236}">
                  <a16:creationId xmlns:a16="http://schemas.microsoft.com/office/drawing/2014/main" id="{8BC0011B-9B25-4582-BED5-ED798FAAD5AB}"/>
                </a:ext>
              </a:extLst>
            </p:cNvPr>
            <p:cNvSpPr/>
            <p:nvPr/>
          </p:nvSpPr>
          <p:spPr>
            <a:xfrm rot="5400000">
              <a:off x="-2670864" y="3598569"/>
              <a:ext cx="134239" cy="134239"/>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80" name="Freeform: Shape 1179">
              <a:extLst>
                <a:ext uri="{FF2B5EF4-FFF2-40B4-BE49-F238E27FC236}">
                  <a16:creationId xmlns:a16="http://schemas.microsoft.com/office/drawing/2014/main" id="{2B8B8E7F-7B22-4C65-B326-14B6E46CFC10}"/>
                </a:ext>
              </a:extLst>
            </p:cNvPr>
            <p:cNvSpPr/>
            <p:nvPr/>
          </p:nvSpPr>
          <p:spPr>
            <a:xfrm rot="5400000">
              <a:off x="-2512917" y="3347543"/>
              <a:ext cx="134239" cy="134239"/>
            </a:xfrm>
            <a:custGeom>
              <a:avLst/>
              <a:gdLst>
                <a:gd name="connsiteX0" fmla="*/ 23178 w 42922"/>
                <a:gd name="connsiteY0" fmla="*/ 10731 h 42922"/>
                <a:gd name="connsiteX1" fmla="*/ 10731 w 42922"/>
                <a:gd name="connsiteY1" fmla="*/ 22891 h 42922"/>
                <a:gd name="connsiteX2" fmla="*/ 22891 w 42922"/>
                <a:gd name="connsiteY2" fmla="*/ 35339 h 42922"/>
                <a:gd name="connsiteX3" fmla="*/ 35337 w 42922"/>
                <a:gd name="connsiteY3" fmla="*/ 23178 h 42922"/>
                <a:gd name="connsiteX4" fmla="*/ 35339 w 42922"/>
                <a:gd name="connsiteY4" fmla="*/ 23036 h 42922"/>
                <a:gd name="connsiteX5" fmla="*/ 2317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178" y="10731"/>
                  </a:moveTo>
                  <a:cubicBezTo>
                    <a:pt x="16383" y="10653"/>
                    <a:pt x="10810" y="16097"/>
                    <a:pt x="10731" y="22891"/>
                  </a:cubicBezTo>
                  <a:cubicBezTo>
                    <a:pt x="10651" y="29687"/>
                    <a:pt x="16097" y="35260"/>
                    <a:pt x="22891" y="35339"/>
                  </a:cubicBezTo>
                  <a:cubicBezTo>
                    <a:pt x="29686" y="35418"/>
                    <a:pt x="35259" y="29974"/>
                    <a:pt x="35337" y="23178"/>
                  </a:cubicBezTo>
                  <a:cubicBezTo>
                    <a:pt x="35339" y="23130"/>
                    <a:pt x="35339" y="23083"/>
                    <a:pt x="35339" y="23036"/>
                  </a:cubicBezTo>
                  <a:cubicBezTo>
                    <a:pt x="35339" y="16296"/>
                    <a:pt x="29918" y="10810"/>
                    <a:pt x="2317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81" name="Freeform: Shape 1180">
              <a:extLst>
                <a:ext uri="{FF2B5EF4-FFF2-40B4-BE49-F238E27FC236}">
                  <a16:creationId xmlns:a16="http://schemas.microsoft.com/office/drawing/2014/main" id="{EB8EE5CF-1A6B-44DC-939B-762D16F91A4E}"/>
                </a:ext>
              </a:extLst>
            </p:cNvPr>
            <p:cNvSpPr/>
            <p:nvPr/>
          </p:nvSpPr>
          <p:spPr>
            <a:xfrm rot="5400000">
              <a:off x="-2048441" y="3598565"/>
              <a:ext cx="134239" cy="134239"/>
            </a:xfrm>
            <a:custGeom>
              <a:avLst/>
              <a:gdLst>
                <a:gd name="connsiteX0" fmla="*/ 22321 w 42922"/>
                <a:gd name="connsiteY0" fmla="*/ 10734 h 42922"/>
                <a:gd name="connsiteX1" fmla="*/ 10734 w 42922"/>
                <a:gd name="connsiteY1" fmla="*/ 21747 h 42922"/>
                <a:gd name="connsiteX2" fmla="*/ 10732 w 42922"/>
                <a:gd name="connsiteY2" fmla="*/ 21894 h 42922"/>
                <a:gd name="connsiteX3" fmla="*/ 22033 w 42922"/>
                <a:gd name="connsiteY3" fmla="*/ 33483 h 42922"/>
                <a:gd name="connsiteX4" fmla="*/ 22034 w 42922"/>
                <a:gd name="connsiteY4" fmla="*/ 33483 h 42922"/>
                <a:gd name="connsiteX5" fmla="*/ 22034 w 42922"/>
                <a:gd name="connsiteY5" fmla="*/ 33483 h 42922"/>
                <a:gd name="connsiteX6" fmla="*/ 33336 w 42922"/>
                <a:gd name="connsiteY6" fmla="*/ 22468 h 42922"/>
                <a:gd name="connsiteX7" fmla="*/ 33337 w 42922"/>
                <a:gd name="connsiteY7" fmla="*/ 22323 h 42922"/>
                <a:gd name="connsiteX8" fmla="*/ 22328 w 42922"/>
                <a:gd name="connsiteY8" fmla="*/ 10734 h 42922"/>
                <a:gd name="connsiteX9" fmla="*/ 22321 w 42922"/>
                <a:gd name="connsiteY9"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2321" y="10734"/>
                  </a:moveTo>
                  <a:cubicBezTo>
                    <a:pt x="16080" y="10576"/>
                    <a:pt x="10893" y="15506"/>
                    <a:pt x="10734" y="21747"/>
                  </a:cubicBezTo>
                  <a:cubicBezTo>
                    <a:pt x="10733" y="21795"/>
                    <a:pt x="10732" y="21846"/>
                    <a:pt x="10732" y="21894"/>
                  </a:cubicBezTo>
                  <a:cubicBezTo>
                    <a:pt x="10651" y="28215"/>
                    <a:pt x="15712" y="33403"/>
                    <a:pt x="22033" y="33483"/>
                  </a:cubicBezTo>
                  <a:cubicBezTo>
                    <a:pt x="22033" y="33483"/>
                    <a:pt x="22034" y="33483"/>
                    <a:pt x="22034" y="33483"/>
                  </a:cubicBezTo>
                  <a:lnTo>
                    <a:pt x="22034" y="33483"/>
                  </a:lnTo>
                  <a:cubicBezTo>
                    <a:pt x="28197" y="33562"/>
                    <a:pt x="33257" y="28630"/>
                    <a:pt x="33336" y="22468"/>
                  </a:cubicBezTo>
                  <a:cubicBezTo>
                    <a:pt x="33337" y="22419"/>
                    <a:pt x="33337" y="22372"/>
                    <a:pt x="33337" y="22323"/>
                  </a:cubicBezTo>
                  <a:cubicBezTo>
                    <a:pt x="33498" y="16082"/>
                    <a:pt x="28569" y="10895"/>
                    <a:pt x="22328" y="10734"/>
                  </a:cubicBezTo>
                  <a:cubicBezTo>
                    <a:pt x="22325" y="10734"/>
                    <a:pt x="22323" y="10734"/>
                    <a:pt x="22321"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82" name="Freeform: Shape 1181">
              <a:extLst>
                <a:ext uri="{FF2B5EF4-FFF2-40B4-BE49-F238E27FC236}">
                  <a16:creationId xmlns:a16="http://schemas.microsoft.com/office/drawing/2014/main" id="{7A570B55-1C1C-4A5E-AB6F-8CBADED46052}"/>
                </a:ext>
              </a:extLst>
            </p:cNvPr>
            <p:cNvSpPr/>
            <p:nvPr/>
          </p:nvSpPr>
          <p:spPr>
            <a:xfrm rot="5400000">
              <a:off x="-1888255" y="2595302"/>
              <a:ext cx="134239" cy="134239"/>
            </a:xfrm>
            <a:custGeom>
              <a:avLst/>
              <a:gdLst>
                <a:gd name="connsiteX0" fmla="*/ 23480 w 42922"/>
                <a:gd name="connsiteY0" fmla="*/ 38916 h 42922"/>
                <a:gd name="connsiteX1" fmla="*/ 38645 w 42922"/>
                <a:gd name="connsiteY1" fmla="*/ 26040 h 42922"/>
                <a:gd name="connsiteX2" fmla="*/ 25769 w 42922"/>
                <a:gd name="connsiteY2" fmla="*/ 10731 h 42922"/>
                <a:gd name="connsiteX3" fmla="*/ 25769 w 42922"/>
                <a:gd name="connsiteY3" fmla="*/ 10731 h 42922"/>
                <a:gd name="connsiteX4" fmla="*/ 11461 w 42922"/>
                <a:gd name="connsiteY4" fmla="*/ 25038 h 42922"/>
                <a:gd name="connsiteX5" fmla="*/ 10746 w 42922"/>
                <a:gd name="connsiteY5" fmla="*/ 24037 h 42922"/>
                <a:gd name="connsiteX6" fmla="*/ 23480 w 42922"/>
                <a:gd name="connsiteY6" fmla="*/ 3891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3480" y="38916"/>
                  </a:moveTo>
                  <a:cubicBezTo>
                    <a:pt x="31180" y="39417"/>
                    <a:pt x="37890" y="33720"/>
                    <a:pt x="38645" y="26040"/>
                  </a:cubicBezTo>
                  <a:cubicBezTo>
                    <a:pt x="39226" y="18285"/>
                    <a:pt x="33508" y="11486"/>
                    <a:pt x="25769" y="10731"/>
                  </a:cubicBezTo>
                  <a:lnTo>
                    <a:pt x="25769" y="10731"/>
                  </a:lnTo>
                  <a:cubicBezTo>
                    <a:pt x="17867" y="10731"/>
                    <a:pt x="11461" y="17136"/>
                    <a:pt x="11461" y="25038"/>
                  </a:cubicBezTo>
                  <a:lnTo>
                    <a:pt x="10746" y="24037"/>
                  </a:lnTo>
                  <a:cubicBezTo>
                    <a:pt x="10400" y="31580"/>
                    <a:pt x="15974" y="38094"/>
                    <a:pt x="23480" y="3891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83" name="Freeform: Shape 1182">
              <a:extLst>
                <a:ext uri="{FF2B5EF4-FFF2-40B4-BE49-F238E27FC236}">
                  <a16:creationId xmlns:a16="http://schemas.microsoft.com/office/drawing/2014/main" id="{2CD3DD20-8B7A-492A-8E61-8035F2C8EBCB}"/>
                </a:ext>
              </a:extLst>
            </p:cNvPr>
            <p:cNvSpPr/>
            <p:nvPr/>
          </p:nvSpPr>
          <p:spPr>
            <a:xfrm rot="5400000">
              <a:off x="-2201931" y="3348435"/>
              <a:ext cx="134239" cy="134239"/>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3321 h 42922"/>
                <a:gd name="connsiteX4" fmla="*/ 35053 w 42922"/>
                <a:gd name="connsiteY4" fmla="*/ 23321 h 42922"/>
                <a:gd name="connsiteX5" fmla="*/ 23328 w 42922"/>
                <a:gd name="connsiteY5" fmla="*/ 10738 h 42922"/>
                <a:gd name="connsiteX6" fmla="*/ 22892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1"/>
                  </a:moveTo>
                  <a:cubicBezTo>
                    <a:pt x="16176" y="10731"/>
                    <a:pt x="10731" y="16176"/>
                    <a:pt x="10731" y="22892"/>
                  </a:cubicBezTo>
                  <a:cubicBezTo>
                    <a:pt x="10731" y="29608"/>
                    <a:pt x="16176" y="35053"/>
                    <a:pt x="22892" y="35053"/>
                  </a:cubicBezTo>
                  <a:cubicBezTo>
                    <a:pt x="29475" y="35133"/>
                    <a:pt x="34897" y="29903"/>
                    <a:pt x="35053" y="23321"/>
                  </a:cubicBezTo>
                  <a:lnTo>
                    <a:pt x="35053" y="23321"/>
                  </a:lnTo>
                  <a:cubicBezTo>
                    <a:pt x="35291" y="16610"/>
                    <a:pt x="30041" y="10975"/>
                    <a:pt x="23328" y="10738"/>
                  </a:cubicBezTo>
                  <a:cubicBezTo>
                    <a:pt x="23184" y="10733"/>
                    <a:pt x="2303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84" name="Freeform: Shape 1183">
              <a:extLst>
                <a:ext uri="{FF2B5EF4-FFF2-40B4-BE49-F238E27FC236}">
                  <a16:creationId xmlns:a16="http://schemas.microsoft.com/office/drawing/2014/main" id="{4FCB8F49-9B07-4B5B-8D4A-14FF0968DD47}"/>
                </a:ext>
              </a:extLst>
            </p:cNvPr>
            <p:cNvSpPr/>
            <p:nvPr/>
          </p:nvSpPr>
          <p:spPr>
            <a:xfrm rot="5400000">
              <a:off x="-2669082" y="3349776"/>
              <a:ext cx="134239" cy="134239"/>
            </a:xfrm>
            <a:custGeom>
              <a:avLst/>
              <a:gdLst>
                <a:gd name="connsiteX0" fmla="*/ 22892 w 42922"/>
                <a:gd name="connsiteY0" fmla="*/ 10732 h 42922"/>
                <a:gd name="connsiteX1" fmla="*/ 22892 w 42922"/>
                <a:gd name="connsiteY1" fmla="*/ 10732 h 42922"/>
                <a:gd name="connsiteX2" fmla="*/ 10731 w 42922"/>
                <a:gd name="connsiteY2" fmla="*/ 22893 h 42922"/>
                <a:gd name="connsiteX3" fmla="*/ 22892 w 42922"/>
                <a:gd name="connsiteY3" fmla="*/ 35054 h 42922"/>
                <a:gd name="connsiteX4" fmla="*/ 35053 w 42922"/>
                <a:gd name="connsiteY4" fmla="*/ 22893 h 42922"/>
                <a:gd name="connsiteX5" fmla="*/ 23180 w 42922"/>
                <a:gd name="connsiteY5" fmla="*/ 10732 h 42922"/>
                <a:gd name="connsiteX6" fmla="*/ 22892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2"/>
                  </a:moveTo>
                  <a:lnTo>
                    <a:pt x="22892" y="10732"/>
                  </a:lnTo>
                  <a:cubicBezTo>
                    <a:pt x="16176" y="10732"/>
                    <a:pt x="10731" y="16177"/>
                    <a:pt x="10731" y="22893"/>
                  </a:cubicBezTo>
                  <a:cubicBezTo>
                    <a:pt x="10731" y="29609"/>
                    <a:pt x="16176" y="35054"/>
                    <a:pt x="22892" y="35054"/>
                  </a:cubicBezTo>
                  <a:cubicBezTo>
                    <a:pt x="29608" y="35054"/>
                    <a:pt x="35053" y="29609"/>
                    <a:pt x="35053" y="22893"/>
                  </a:cubicBezTo>
                  <a:cubicBezTo>
                    <a:pt x="35132" y="16256"/>
                    <a:pt x="29817" y="10812"/>
                    <a:pt x="23180" y="10732"/>
                  </a:cubicBezTo>
                  <a:cubicBezTo>
                    <a:pt x="23084" y="10730"/>
                    <a:pt x="22988" y="10730"/>
                    <a:pt x="2289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85" name="Freeform: Shape 1184">
              <a:extLst>
                <a:ext uri="{FF2B5EF4-FFF2-40B4-BE49-F238E27FC236}">
                  <a16:creationId xmlns:a16="http://schemas.microsoft.com/office/drawing/2014/main" id="{F67DD6D0-449F-4DF6-B8EE-32DDA3F54B4E}"/>
                </a:ext>
              </a:extLst>
            </p:cNvPr>
            <p:cNvSpPr/>
            <p:nvPr/>
          </p:nvSpPr>
          <p:spPr>
            <a:xfrm rot="5400000">
              <a:off x="-2039502" y="2594008"/>
              <a:ext cx="134239" cy="134239"/>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86" name="Freeform: Shape 1185">
              <a:extLst>
                <a:ext uri="{FF2B5EF4-FFF2-40B4-BE49-F238E27FC236}">
                  <a16:creationId xmlns:a16="http://schemas.microsoft.com/office/drawing/2014/main" id="{2861DF64-2C3A-4CCC-8101-F3FB29470175}"/>
                </a:ext>
              </a:extLst>
            </p:cNvPr>
            <p:cNvSpPr/>
            <p:nvPr/>
          </p:nvSpPr>
          <p:spPr>
            <a:xfrm rot="5400000">
              <a:off x="-2357646" y="3347543"/>
              <a:ext cx="134239" cy="134239"/>
            </a:xfrm>
            <a:custGeom>
              <a:avLst/>
              <a:gdLst>
                <a:gd name="connsiteX0" fmla="*/ 23178 w 42922"/>
                <a:gd name="connsiteY0" fmla="*/ 10731 h 42922"/>
                <a:gd name="connsiteX1" fmla="*/ 10731 w 42922"/>
                <a:gd name="connsiteY1" fmla="*/ 22891 h 42922"/>
                <a:gd name="connsiteX2" fmla="*/ 22891 w 42922"/>
                <a:gd name="connsiteY2" fmla="*/ 35339 h 42922"/>
                <a:gd name="connsiteX3" fmla="*/ 35337 w 42922"/>
                <a:gd name="connsiteY3" fmla="*/ 23178 h 42922"/>
                <a:gd name="connsiteX4" fmla="*/ 35339 w 42922"/>
                <a:gd name="connsiteY4" fmla="*/ 23036 h 42922"/>
                <a:gd name="connsiteX5" fmla="*/ 2317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178" y="10731"/>
                  </a:moveTo>
                  <a:cubicBezTo>
                    <a:pt x="16383" y="10653"/>
                    <a:pt x="10810" y="16097"/>
                    <a:pt x="10731" y="22891"/>
                  </a:cubicBezTo>
                  <a:cubicBezTo>
                    <a:pt x="10651" y="29687"/>
                    <a:pt x="16097" y="35260"/>
                    <a:pt x="22891" y="35339"/>
                  </a:cubicBezTo>
                  <a:cubicBezTo>
                    <a:pt x="29686" y="35418"/>
                    <a:pt x="35259" y="29974"/>
                    <a:pt x="35337" y="23178"/>
                  </a:cubicBezTo>
                  <a:cubicBezTo>
                    <a:pt x="35339" y="23130"/>
                    <a:pt x="35339" y="23083"/>
                    <a:pt x="35339" y="23036"/>
                  </a:cubicBezTo>
                  <a:cubicBezTo>
                    <a:pt x="35339" y="16296"/>
                    <a:pt x="29918" y="10810"/>
                    <a:pt x="2317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87" name="Freeform: Shape 1186">
              <a:extLst>
                <a:ext uri="{FF2B5EF4-FFF2-40B4-BE49-F238E27FC236}">
                  <a16:creationId xmlns:a16="http://schemas.microsoft.com/office/drawing/2014/main" id="{B2733F58-495F-4CE3-8ED9-6FB69043961F}"/>
                </a:ext>
              </a:extLst>
            </p:cNvPr>
            <p:cNvSpPr/>
            <p:nvPr/>
          </p:nvSpPr>
          <p:spPr>
            <a:xfrm rot="5400000">
              <a:off x="-2506207" y="2593561"/>
              <a:ext cx="134239" cy="134239"/>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25038 w 42922"/>
                <a:gd name="connsiteY3" fmla="*/ 10731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lnTo>
                    <a:pt x="25038" y="10731"/>
                  </a:lnTo>
                  <a:cubicBezTo>
                    <a:pt x="17136" y="10731"/>
                    <a:pt x="10731" y="17136"/>
                    <a:pt x="10731" y="25038"/>
                  </a:cubicBez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88" name="Freeform: Shape 1187">
              <a:extLst>
                <a:ext uri="{FF2B5EF4-FFF2-40B4-BE49-F238E27FC236}">
                  <a16:creationId xmlns:a16="http://schemas.microsoft.com/office/drawing/2014/main" id="{AB530FFA-3767-4C1C-A458-0F9D4BB41308}"/>
                </a:ext>
              </a:extLst>
            </p:cNvPr>
            <p:cNvSpPr/>
            <p:nvPr/>
          </p:nvSpPr>
          <p:spPr>
            <a:xfrm rot="5400000">
              <a:off x="-2665952" y="2351033"/>
              <a:ext cx="134239" cy="134239"/>
            </a:xfrm>
            <a:custGeom>
              <a:avLst/>
              <a:gdLst>
                <a:gd name="connsiteX0" fmla="*/ 23894 w 42922"/>
                <a:gd name="connsiteY0" fmla="*/ 10731 h 42922"/>
                <a:gd name="connsiteX1" fmla="*/ 10731 w 42922"/>
                <a:gd name="connsiteY1" fmla="*/ 23894 h 42922"/>
                <a:gd name="connsiteX2" fmla="*/ 23894 w 42922"/>
                <a:gd name="connsiteY2" fmla="*/ 37056 h 42922"/>
                <a:gd name="connsiteX3" fmla="*/ 37056 w 42922"/>
                <a:gd name="connsiteY3" fmla="*/ 23894 h 42922"/>
                <a:gd name="connsiteX4" fmla="*/ 23894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4" y="10731"/>
                  </a:moveTo>
                  <a:cubicBezTo>
                    <a:pt x="16624" y="10731"/>
                    <a:pt x="10731" y="16624"/>
                    <a:pt x="10731" y="23894"/>
                  </a:cubicBezTo>
                  <a:cubicBezTo>
                    <a:pt x="10731" y="31163"/>
                    <a:pt x="16624" y="37056"/>
                    <a:pt x="23894" y="37056"/>
                  </a:cubicBezTo>
                  <a:cubicBezTo>
                    <a:pt x="31163" y="37056"/>
                    <a:pt x="37056" y="31163"/>
                    <a:pt x="37056" y="23894"/>
                  </a:cubicBezTo>
                  <a:cubicBezTo>
                    <a:pt x="37056" y="16624"/>
                    <a:pt x="31163" y="10731"/>
                    <a:pt x="2389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89" name="Freeform: Shape 1188">
              <a:extLst>
                <a:ext uri="{FF2B5EF4-FFF2-40B4-BE49-F238E27FC236}">
                  <a16:creationId xmlns:a16="http://schemas.microsoft.com/office/drawing/2014/main" id="{4BD0059B-425E-4416-8C72-F09C6E5FF7D3}"/>
                </a:ext>
              </a:extLst>
            </p:cNvPr>
            <p:cNvSpPr/>
            <p:nvPr/>
          </p:nvSpPr>
          <p:spPr>
            <a:xfrm rot="5400000">
              <a:off x="-2662821" y="2595797"/>
              <a:ext cx="134239" cy="134239"/>
            </a:xfrm>
            <a:custGeom>
              <a:avLst/>
              <a:gdLst>
                <a:gd name="connsiteX0" fmla="*/ 25038 w 42922"/>
                <a:gd name="connsiteY0" fmla="*/ 10731 h 42922"/>
                <a:gd name="connsiteX1" fmla="*/ 10731 w 42922"/>
                <a:gd name="connsiteY1" fmla="*/ 25038 h 42922"/>
                <a:gd name="connsiteX2" fmla="*/ 10731 w 42922"/>
                <a:gd name="connsiteY2" fmla="*/ 25038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lnTo>
                    <a:pt x="10731" y="25038"/>
                  </a:lnTo>
                  <a:cubicBezTo>
                    <a:pt x="10731" y="32940"/>
                    <a:pt x="17136" y="39346"/>
                    <a:pt x="25038" y="39346"/>
                  </a:cubicBez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90" name="Freeform: Shape 1189">
              <a:extLst>
                <a:ext uri="{FF2B5EF4-FFF2-40B4-BE49-F238E27FC236}">
                  <a16:creationId xmlns:a16="http://schemas.microsoft.com/office/drawing/2014/main" id="{B3622AD6-03C8-44D1-ACCA-B8B7DEF27615}"/>
                </a:ext>
              </a:extLst>
            </p:cNvPr>
            <p:cNvSpPr/>
            <p:nvPr/>
          </p:nvSpPr>
          <p:spPr>
            <a:xfrm rot="5400000">
              <a:off x="-2197456" y="2351480"/>
              <a:ext cx="134239" cy="134239"/>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91" name="Freeform: Shape 1190">
              <a:extLst>
                <a:ext uri="{FF2B5EF4-FFF2-40B4-BE49-F238E27FC236}">
                  <a16:creationId xmlns:a16="http://schemas.microsoft.com/office/drawing/2014/main" id="{6314B62D-F5E4-47E1-BB98-322DFF01343B}"/>
                </a:ext>
              </a:extLst>
            </p:cNvPr>
            <p:cNvSpPr/>
            <p:nvPr/>
          </p:nvSpPr>
          <p:spPr>
            <a:xfrm rot="5400000">
              <a:off x="-2043526" y="2349244"/>
              <a:ext cx="134239" cy="134239"/>
            </a:xfrm>
            <a:custGeom>
              <a:avLst/>
              <a:gdLst>
                <a:gd name="connsiteX0" fmla="*/ 23893 w 42922"/>
                <a:gd name="connsiteY0" fmla="*/ 37056 h 42922"/>
                <a:gd name="connsiteX1" fmla="*/ 37056 w 42922"/>
                <a:gd name="connsiteY1" fmla="*/ 23894 h 42922"/>
                <a:gd name="connsiteX2" fmla="*/ 23893 w 42922"/>
                <a:gd name="connsiteY2" fmla="*/ 10731 h 42922"/>
                <a:gd name="connsiteX3" fmla="*/ 10731 w 42922"/>
                <a:gd name="connsiteY3" fmla="*/ 23894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4"/>
                  </a:cubicBezTo>
                  <a:cubicBezTo>
                    <a:pt x="37056" y="16624"/>
                    <a:pt x="31163" y="10731"/>
                    <a:pt x="23893" y="10731"/>
                  </a:cubicBezTo>
                  <a:cubicBezTo>
                    <a:pt x="16624" y="10731"/>
                    <a:pt x="10731" y="16624"/>
                    <a:pt x="10731" y="23894"/>
                  </a:cubicBezTo>
                  <a:cubicBezTo>
                    <a:pt x="10731" y="31163"/>
                    <a:pt x="16624" y="37056"/>
                    <a:pt x="23893"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92" name="Freeform: Shape 1191">
              <a:extLst>
                <a:ext uri="{FF2B5EF4-FFF2-40B4-BE49-F238E27FC236}">
                  <a16:creationId xmlns:a16="http://schemas.microsoft.com/office/drawing/2014/main" id="{321DDDBB-BF97-4517-89C6-946490924636}"/>
                </a:ext>
              </a:extLst>
            </p:cNvPr>
            <p:cNvSpPr/>
            <p:nvPr/>
          </p:nvSpPr>
          <p:spPr>
            <a:xfrm rot="5400000">
              <a:off x="-2354515" y="2349241"/>
              <a:ext cx="134239" cy="134239"/>
            </a:xfrm>
            <a:custGeom>
              <a:avLst/>
              <a:gdLst>
                <a:gd name="connsiteX0" fmla="*/ 23895 w 42922"/>
                <a:gd name="connsiteY0" fmla="*/ 37056 h 42922"/>
                <a:gd name="connsiteX1" fmla="*/ 37056 w 42922"/>
                <a:gd name="connsiteY1" fmla="*/ 23892 h 42922"/>
                <a:gd name="connsiteX2" fmla="*/ 23893 w 42922"/>
                <a:gd name="connsiteY2" fmla="*/ 10731 h 42922"/>
                <a:gd name="connsiteX3" fmla="*/ 10731 w 42922"/>
                <a:gd name="connsiteY3" fmla="*/ 23895 h 42922"/>
                <a:gd name="connsiteX4" fmla="*/ 10732 w 42922"/>
                <a:gd name="connsiteY4" fmla="*/ 24037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2"/>
                    <a:pt x="37056" y="23892"/>
                  </a:cubicBezTo>
                  <a:cubicBezTo>
                    <a:pt x="37056" y="16622"/>
                    <a:pt x="31163" y="10731"/>
                    <a:pt x="23893" y="10731"/>
                  </a:cubicBezTo>
                  <a:cubicBezTo>
                    <a:pt x="16624" y="10731"/>
                    <a:pt x="10731" y="16625"/>
                    <a:pt x="10731" y="23895"/>
                  </a:cubicBezTo>
                  <a:cubicBezTo>
                    <a:pt x="10731" y="23942"/>
                    <a:pt x="10732" y="23989"/>
                    <a:pt x="10732" y="24037"/>
                  </a:cubicBezTo>
                  <a:cubicBezTo>
                    <a:pt x="10811" y="31250"/>
                    <a:pt x="16681" y="37056"/>
                    <a:pt x="23895"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93" name="Freeform: Shape 1192">
              <a:extLst>
                <a:ext uri="{FF2B5EF4-FFF2-40B4-BE49-F238E27FC236}">
                  <a16:creationId xmlns:a16="http://schemas.microsoft.com/office/drawing/2014/main" id="{B7BD23B6-0A8B-4727-BA14-E8688503AFEE}"/>
                </a:ext>
              </a:extLst>
            </p:cNvPr>
            <p:cNvSpPr/>
            <p:nvPr/>
          </p:nvSpPr>
          <p:spPr>
            <a:xfrm rot="5400000">
              <a:off x="-2509786" y="2349241"/>
              <a:ext cx="134239" cy="134239"/>
            </a:xfrm>
            <a:custGeom>
              <a:avLst/>
              <a:gdLst>
                <a:gd name="connsiteX0" fmla="*/ 23895 w 42922"/>
                <a:gd name="connsiteY0" fmla="*/ 37056 h 42922"/>
                <a:gd name="connsiteX1" fmla="*/ 37056 w 42922"/>
                <a:gd name="connsiteY1" fmla="*/ 23892 h 42922"/>
                <a:gd name="connsiteX2" fmla="*/ 23893 w 42922"/>
                <a:gd name="connsiteY2" fmla="*/ 10731 h 42922"/>
                <a:gd name="connsiteX3" fmla="*/ 10731 w 42922"/>
                <a:gd name="connsiteY3" fmla="*/ 23895 h 42922"/>
                <a:gd name="connsiteX4" fmla="*/ 10732 w 42922"/>
                <a:gd name="connsiteY4" fmla="*/ 24037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2"/>
                    <a:pt x="37056" y="23892"/>
                  </a:cubicBezTo>
                  <a:cubicBezTo>
                    <a:pt x="37056" y="16622"/>
                    <a:pt x="31163" y="10731"/>
                    <a:pt x="23893" y="10731"/>
                  </a:cubicBezTo>
                  <a:cubicBezTo>
                    <a:pt x="16624" y="10731"/>
                    <a:pt x="10731" y="16625"/>
                    <a:pt x="10731" y="23895"/>
                  </a:cubicBezTo>
                  <a:cubicBezTo>
                    <a:pt x="10731" y="23942"/>
                    <a:pt x="10732" y="23989"/>
                    <a:pt x="10732" y="24037"/>
                  </a:cubicBezTo>
                  <a:cubicBezTo>
                    <a:pt x="10811" y="31250"/>
                    <a:pt x="16681" y="37056"/>
                    <a:pt x="23895"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94" name="Freeform: Shape 1193">
              <a:extLst>
                <a:ext uri="{FF2B5EF4-FFF2-40B4-BE49-F238E27FC236}">
                  <a16:creationId xmlns:a16="http://schemas.microsoft.com/office/drawing/2014/main" id="{4229E40F-82F0-4857-8A52-990376E39B19}"/>
                </a:ext>
              </a:extLst>
            </p:cNvPr>
            <p:cNvSpPr/>
            <p:nvPr/>
          </p:nvSpPr>
          <p:spPr>
            <a:xfrm rot="5400000">
              <a:off x="-2046660" y="2103586"/>
              <a:ext cx="134239" cy="134239"/>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95" name="Freeform: Shape 1194">
              <a:extLst>
                <a:ext uri="{FF2B5EF4-FFF2-40B4-BE49-F238E27FC236}">
                  <a16:creationId xmlns:a16="http://schemas.microsoft.com/office/drawing/2014/main" id="{DA7219DC-38EE-40DE-9C0F-A3BB8E9554AF}"/>
                </a:ext>
              </a:extLst>
            </p:cNvPr>
            <p:cNvSpPr/>
            <p:nvPr/>
          </p:nvSpPr>
          <p:spPr>
            <a:xfrm rot="5400000">
              <a:off x="-2475331" y="4103755"/>
              <a:ext cx="89493" cy="89493"/>
            </a:xfrm>
            <a:custGeom>
              <a:avLst/>
              <a:gdLst>
                <a:gd name="connsiteX0" fmla="*/ 20174 w 28614"/>
                <a:gd name="connsiteY0" fmla="*/ 10732 h 28614"/>
                <a:gd name="connsiteX1" fmla="*/ 10731 w 28614"/>
                <a:gd name="connsiteY1" fmla="*/ 19889 h 28614"/>
                <a:gd name="connsiteX2" fmla="*/ 20174 w 28614"/>
                <a:gd name="connsiteY2" fmla="*/ 29332 h 28614"/>
                <a:gd name="connsiteX3" fmla="*/ 29473 w 28614"/>
                <a:gd name="connsiteY3" fmla="*/ 19889 h 28614"/>
                <a:gd name="connsiteX4" fmla="*/ 20318 w 28614"/>
                <a:gd name="connsiteY4" fmla="*/ 10731 h 28614"/>
                <a:gd name="connsiteX5" fmla="*/ 20174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174" y="10732"/>
                  </a:moveTo>
                  <a:cubicBezTo>
                    <a:pt x="15069" y="10729"/>
                    <a:pt x="10885" y="14785"/>
                    <a:pt x="10731" y="19889"/>
                  </a:cubicBezTo>
                  <a:cubicBezTo>
                    <a:pt x="10880" y="25041"/>
                    <a:pt x="15021" y="29183"/>
                    <a:pt x="20174" y="29332"/>
                  </a:cubicBezTo>
                  <a:cubicBezTo>
                    <a:pt x="25333" y="29253"/>
                    <a:pt x="29473" y="25048"/>
                    <a:pt x="29473" y="19889"/>
                  </a:cubicBezTo>
                  <a:cubicBezTo>
                    <a:pt x="29473" y="14831"/>
                    <a:pt x="25374" y="10732"/>
                    <a:pt x="20318" y="10731"/>
                  </a:cubicBezTo>
                  <a:cubicBezTo>
                    <a:pt x="20269" y="10731"/>
                    <a:pt x="20222" y="10731"/>
                    <a:pt x="20174"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96" name="Freeform: Shape 1195">
              <a:extLst>
                <a:ext uri="{FF2B5EF4-FFF2-40B4-BE49-F238E27FC236}">
                  <a16:creationId xmlns:a16="http://schemas.microsoft.com/office/drawing/2014/main" id="{999EA61F-B616-4221-AD38-0E2B806689F8}"/>
                </a:ext>
              </a:extLst>
            </p:cNvPr>
            <p:cNvSpPr/>
            <p:nvPr/>
          </p:nvSpPr>
          <p:spPr>
            <a:xfrm rot="5400000">
              <a:off x="-1890942" y="2351480"/>
              <a:ext cx="134239" cy="134239"/>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97" name="Freeform: Shape 1196">
              <a:extLst>
                <a:ext uri="{FF2B5EF4-FFF2-40B4-BE49-F238E27FC236}">
                  <a16:creationId xmlns:a16="http://schemas.microsoft.com/office/drawing/2014/main" id="{C67848C9-9312-4DB2-B8E0-18A06FCBCAA2}"/>
                </a:ext>
              </a:extLst>
            </p:cNvPr>
            <p:cNvSpPr/>
            <p:nvPr/>
          </p:nvSpPr>
          <p:spPr>
            <a:xfrm rot="5400000">
              <a:off x="-2632840" y="4102859"/>
              <a:ext cx="89493" cy="89493"/>
            </a:xfrm>
            <a:custGeom>
              <a:avLst/>
              <a:gdLst>
                <a:gd name="connsiteX0" fmla="*/ 20461 w 28614"/>
                <a:gd name="connsiteY0" fmla="*/ 10731 h 28614"/>
                <a:gd name="connsiteX1" fmla="*/ 20461 w 28614"/>
                <a:gd name="connsiteY1" fmla="*/ 10731 h 28614"/>
                <a:gd name="connsiteX2" fmla="*/ 10731 w 28614"/>
                <a:gd name="connsiteY2" fmla="*/ 20458 h 28614"/>
                <a:gd name="connsiteX3" fmla="*/ 10732 w 28614"/>
                <a:gd name="connsiteY3" fmla="*/ 20603 h 28614"/>
                <a:gd name="connsiteX4" fmla="*/ 20173 w 28614"/>
                <a:gd name="connsiteY4" fmla="*/ 30332 h 28614"/>
                <a:gd name="connsiteX5" fmla="*/ 20461 w 28614"/>
                <a:gd name="connsiteY5" fmla="*/ 30332 h 28614"/>
                <a:gd name="connsiteX6" fmla="*/ 29761 w 28614"/>
                <a:gd name="connsiteY6" fmla="*/ 21175 h 28614"/>
                <a:gd name="connsiteX7" fmla="*/ 29761 w 28614"/>
                <a:gd name="connsiteY7" fmla="*/ 20174 h 28614"/>
                <a:gd name="connsiteX8" fmla="*/ 20606 w 28614"/>
                <a:gd name="connsiteY8" fmla="*/ 10732 h 28614"/>
                <a:gd name="connsiteX9" fmla="*/ 20461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0461" y="10731"/>
                  </a:moveTo>
                  <a:lnTo>
                    <a:pt x="20461" y="10731"/>
                  </a:lnTo>
                  <a:cubicBezTo>
                    <a:pt x="15087" y="10731"/>
                    <a:pt x="10732" y="15086"/>
                    <a:pt x="10731" y="20458"/>
                  </a:cubicBezTo>
                  <a:cubicBezTo>
                    <a:pt x="10731" y="20507"/>
                    <a:pt x="10731" y="20554"/>
                    <a:pt x="10732" y="20603"/>
                  </a:cubicBezTo>
                  <a:cubicBezTo>
                    <a:pt x="10652" y="25897"/>
                    <a:pt x="14880" y="30252"/>
                    <a:pt x="20173" y="30332"/>
                  </a:cubicBezTo>
                  <a:cubicBezTo>
                    <a:pt x="20269" y="30333"/>
                    <a:pt x="20365" y="30333"/>
                    <a:pt x="20461" y="30332"/>
                  </a:cubicBezTo>
                  <a:cubicBezTo>
                    <a:pt x="25542" y="30332"/>
                    <a:pt x="29682" y="26256"/>
                    <a:pt x="29761" y="21175"/>
                  </a:cubicBezTo>
                  <a:lnTo>
                    <a:pt x="29761" y="20174"/>
                  </a:lnTo>
                  <a:cubicBezTo>
                    <a:pt x="29840" y="15039"/>
                    <a:pt x="25741" y="10811"/>
                    <a:pt x="20606" y="10732"/>
                  </a:cubicBezTo>
                  <a:cubicBezTo>
                    <a:pt x="20557" y="10731"/>
                    <a:pt x="20510" y="10731"/>
                    <a:pt x="2046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98" name="Freeform: Shape 1197">
              <a:extLst>
                <a:ext uri="{FF2B5EF4-FFF2-40B4-BE49-F238E27FC236}">
                  <a16:creationId xmlns:a16="http://schemas.microsoft.com/office/drawing/2014/main" id="{2200B59F-E436-47C6-9628-84432BDBB4F3}"/>
                </a:ext>
              </a:extLst>
            </p:cNvPr>
            <p:cNvSpPr/>
            <p:nvPr/>
          </p:nvSpPr>
          <p:spPr>
            <a:xfrm rot="5400000">
              <a:off x="-2166581" y="4103755"/>
              <a:ext cx="89493" cy="89493"/>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80" y="25040"/>
                    <a:pt x="15021" y="29182"/>
                    <a:pt x="20174" y="29330"/>
                  </a:cubicBezTo>
                  <a:cubicBezTo>
                    <a:pt x="25333" y="29252"/>
                    <a:pt x="29473" y="25047"/>
                    <a:pt x="29473" y="19887"/>
                  </a:cubicBezTo>
                  <a:cubicBezTo>
                    <a:pt x="29395" y="14807"/>
                    <a:pt x="25254" y="10731"/>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99" name="Freeform: Shape 1198">
              <a:extLst>
                <a:ext uri="{FF2B5EF4-FFF2-40B4-BE49-F238E27FC236}">
                  <a16:creationId xmlns:a16="http://schemas.microsoft.com/office/drawing/2014/main" id="{3DFFB4D0-2A83-40FF-ACD3-424039FFEBE8}"/>
                </a:ext>
              </a:extLst>
            </p:cNvPr>
            <p:cNvSpPr/>
            <p:nvPr/>
          </p:nvSpPr>
          <p:spPr>
            <a:xfrm rot="5400000">
              <a:off x="-2321852" y="4104203"/>
              <a:ext cx="89493" cy="89493"/>
            </a:xfrm>
            <a:custGeom>
              <a:avLst/>
              <a:gdLst>
                <a:gd name="connsiteX0" fmla="*/ 20030 w 28614"/>
                <a:gd name="connsiteY0" fmla="*/ 10731 h 28614"/>
                <a:gd name="connsiteX1" fmla="*/ 10731 w 28614"/>
                <a:gd name="connsiteY1" fmla="*/ 20030 h 28614"/>
                <a:gd name="connsiteX2" fmla="*/ 20030 w 28614"/>
                <a:gd name="connsiteY2" fmla="*/ 29330 h 28614"/>
                <a:gd name="connsiteX3" fmla="*/ 29330 w 28614"/>
                <a:gd name="connsiteY3" fmla="*/ 20174 h 28614"/>
                <a:gd name="connsiteX4" fmla="*/ 2003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10731"/>
                  </a:moveTo>
                  <a:cubicBezTo>
                    <a:pt x="14894" y="10731"/>
                    <a:pt x="10731" y="14894"/>
                    <a:pt x="10731" y="20030"/>
                  </a:cubicBezTo>
                  <a:cubicBezTo>
                    <a:pt x="10731" y="25167"/>
                    <a:pt x="14894" y="29330"/>
                    <a:pt x="20030" y="29330"/>
                  </a:cubicBezTo>
                  <a:cubicBezTo>
                    <a:pt x="25111" y="29330"/>
                    <a:pt x="29252" y="25254"/>
                    <a:pt x="29330" y="20174"/>
                  </a:cubicBezTo>
                  <a:cubicBezTo>
                    <a:pt x="29330" y="15014"/>
                    <a:pt x="25190" y="10809"/>
                    <a:pt x="20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00" name="Freeform: Shape 1199">
              <a:extLst>
                <a:ext uri="{FF2B5EF4-FFF2-40B4-BE49-F238E27FC236}">
                  <a16:creationId xmlns:a16="http://schemas.microsoft.com/office/drawing/2014/main" id="{665E2C98-932F-4888-B47D-6256EE7652EE}"/>
                </a:ext>
              </a:extLst>
            </p:cNvPr>
            <p:cNvSpPr/>
            <p:nvPr/>
          </p:nvSpPr>
          <p:spPr>
            <a:xfrm rot="5400000">
              <a:off x="-2008179" y="4103755"/>
              <a:ext cx="89493" cy="89493"/>
            </a:xfrm>
            <a:custGeom>
              <a:avLst/>
              <a:gdLst>
                <a:gd name="connsiteX0" fmla="*/ 20174 w 28614"/>
                <a:gd name="connsiteY0" fmla="*/ 10731 h 28614"/>
                <a:gd name="connsiteX1" fmla="*/ 10731 w 28614"/>
                <a:gd name="connsiteY1" fmla="*/ 20174 h 28614"/>
                <a:gd name="connsiteX2" fmla="*/ 20174 w 28614"/>
                <a:gd name="connsiteY2" fmla="*/ 29330 h 28614"/>
                <a:gd name="connsiteX3" fmla="*/ 29473 w 28614"/>
                <a:gd name="connsiteY3" fmla="*/ 20174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21" y="10879"/>
                    <a:pt x="10880" y="15021"/>
                    <a:pt x="10731" y="20174"/>
                  </a:cubicBezTo>
                  <a:cubicBezTo>
                    <a:pt x="10885" y="25277"/>
                    <a:pt x="15069" y="29333"/>
                    <a:pt x="20174" y="29330"/>
                  </a:cubicBezTo>
                  <a:cubicBezTo>
                    <a:pt x="25254" y="29330"/>
                    <a:pt x="29395" y="25254"/>
                    <a:pt x="29473" y="20174"/>
                  </a:cubicBezTo>
                  <a:cubicBezTo>
                    <a:pt x="29473" y="15014"/>
                    <a:pt x="25333" y="10809"/>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01" name="Freeform: Shape 1200">
              <a:extLst>
                <a:ext uri="{FF2B5EF4-FFF2-40B4-BE49-F238E27FC236}">
                  <a16:creationId xmlns:a16="http://schemas.microsoft.com/office/drawing/2014/main" id="{B53946F8-3595-4CE3-9FE1-7A9812C5AD99}"/>
                </a:ext>
              </a:extLst>
            </p:cNvPr>
            <p:cNvSpPr/>
            <p:nvPr/>
          </p:nvSpPr>
          <p:spPr>
            <a:xfrm rot="5400000">
              <a:off x="-1849762" y="3848702"/>
              <a:ext cx="89493" cy="89493"/>
            </a:xfrm>
            <a:custGeom>
              <a:avLst/>
              <a:gdLst>
                <a:gd name="connsiteX0" fmla="*/ 21032 w 28614"/>
                <a:gd name="connsiteY0" fmla="*/ 10735 h 28614"/>
                <a:gd name="connsiteX1" fmla="*/ 10735 w 28614"/>
                <a:gd name="connsiteY1" fmla="*/ 20460 h 28614"/>
                <a:gd name="connsiteX2" fmla="*/ 10731 w 28614"/>
                <a:gd name="connsiteY2" fmla="*/ 20750 h 28614"/>
                <a:gd name="connsiteX3" fmla="*/ 10731 w 28614"/>
                <a:gd name="connsiteY3" fmla="*/ 20750 h 28614"/>
                <a:gd name="connsiteX4" fmla="*/ 21032 w 28614"/>
                <a:gd name="connsiteY4" fmla="*/ 31194 h 28614"/>
                <a:gd name="connsiteX5" fmla="*/ 31332 w 28614"/>
                <a:gd name="connsiteY5" fmla="*/ 21181 h 28614"/>
                <a:gd name="connsiteX6" fmla="*/ 31333 w 28614"/>
                <a:gd name="connsiteY6" fmla="*/ 21036 h 28614"/>
                <a:gd name="connsiteX7" fmla="*/ 31333 w 28614"/>
                <a:gd name="connsiteY7" fmla="*/ 21036 h 28614"/>
                <a:gd name="connsiteX8" fmla="*/ 21320 w 28614"/>
                <a:gd name="connsiteY8" fmla="*/ 10735 h 28614"/>
                <a:gd name="connsiteX9" fmla="*/ 21032 w 28614"/>
                <a:gd name="connsiteY9"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032" y="10735"/>
                  </a:moveTo>
                  <a:cubicBezTo>
                    <a:pt x="15504" y="10577"/>
                    <a:pt x="10892" y="14931"/>
                    <a:pt x="10735" y="20460"/>
                  </a:cubicBezTo>
                  <a:cubicBezTo>
                    <a:pt x="10732" y="20557"/>
                    <a:pt x="10731" y="20653"/>
                    <a:pt x="10731" y="20750"/>
                  </a:cubicBezTo>
                  <a:lnTo>
                    <a:pt x="10731" y="20750"/>
                  </a:lnTo>
                  <a:cubicBezTo>
                    <a:pt x="10731" y="26463"/>
                    <a:pt x="15319" y="31116"/>
                    <a:pt x="21032" y="31194"/>
                  </a:cubicBezTo>
                  <a:cubicBezTo>
                    <a:pt x="26642" y="31273"/>
                    <a:pt x="31253" y="26791"/>
                    <a:pt x="31332" y="21181"/>
                  </a:cubicBezTo>
                  <a:cubicBezTo>
                    <a:pt x="31333" y="21132"/>
                    <a:pt x="31333" y="21085"/>
                    <a:pt x="31333" y="21036"/>
                  </a:cubicBezTo>
                  <a:lnTo>
                    <a:pt x="31333" y="21036"/>
                  </a:lnTo>
                  <a:cubicBezTo>
                    <a:pt x="31414" y="15426"/>
                    <a:pt x="26930" y="10815"/>
                    <a:pt x="21320" y="10735"/>
                  </a:cubicBezTo>
                  <a:cubicBezTo>
                    <a:pt x="21224" y="10733"/>
                    <a:pt x="21128" y="10733"/>
                    <a:pt x="21032" y="107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02" name="Freeform: Shape 1201">
              <a:extLst>
                <a:ext uri="{FF2B5EF4-FFF2-40B4-BE49-F238E27FC236}">
                  <a16:creationId xmlns:a16="http://schemas.microsoft.com/office/drawing/2014/main" id="{55B62F06-FA6A-43DA-87DF-4DF6F824FF09}"/>
                </a:ext>
              </a:extLst>
            </p:cNvPr>
            <p:cNvSpPr/>
            <p:nvPr/>
          </p:nvSpPr>
          <p:spPr>
            <a:xfrm rot="5400000">
              <a:off x="-2667743" y="2105374"/>
              <a:ext cx="134239" cy="134239"/>
            </a:xfrm>
            <a:custGeom>
              <a:avLst/>
              <a:gdLst>
                <a:gd name="connsiteX0" fmla="*/ 22892 w 42922"/>
                <a:gd name="connsiteY0" fmla="*/ 11160 h 42922"/>
                <a:gd name="connsiteX1" fmla="*/ 10731 w 42922"/>
                <a:gd name="connsiteY1" fmla="*/ 22892 h 42922"/>
                <a:gd name="connsiteX2" fmla="*/ 10731 w 42922"/>
                <a:gd name="connsiteY2" fmla="*/ 22892 h 42922"/>
                <a:gd name="connsiteX3" fmla="*/ 22892 w 42922"/>
                <a:gd name="connsiteY3" fmla="*/ 35053 h 42922"/>
                <a:gd name="connsiteX4" fmla="*/ 35053 w 42922"/>
                <a:gd name="connsiteY4" fmla="*/ 22892 h 42922"/>
                <a:gd name="connsiteX5" fmla="*/ 22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2" y="11160"/>
                  </a:moveTo>
                  <a:cubicBezTo>
                    <a:pt x="16309" y="11080"/>
                    <a:pt x="10887" y="16311"/>
                    <a:pt x="10731" y="22892"/>
                  </a:cubicBezTo>
                  <a:lnTo>
                    <a:pt x="10731" y="22892"/>
                  </a:ln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03" name="Freeform: Shape 1202">
              <a:extLst>
                <a:ext uri="{FF2B5EF4-FFF2-40B4-BE49-F238E27FC236}">
                  <a16:creationId xmlns:a16="http://schemas.microsoft.com/office/drawing/2014/main" id="{AA372501-ECDF-4F2A-AC63-2263B31C9F07}"/>
                </a:ext>
              </a:extLst>
            </p:cNvPr>
            <p:cNvSpPr/>
            <p:nvPr/>
          </p:nvSpPr>
          <p:spPr>
            <a:xfrm rot="5400000">
              <a:off x="-1992965" y="3915373"/>
              <a:ext cx="44746" cy="44746"/>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1204" name="Freeform: Shape 1203">
              <a:extLst>
                <a:ext uri="{FF2B5EF4-FFF2-40B4-BE49-F238E27FC236}">
                  <a16:creationId xmlns:a16="http://schemas.microsoft.com/office/drawing/2014/main" id="{7BE834A6-8B56-49E8-A9BB-4B77F4229371}"/>
                </a:ext>
              </a:extLst>
            </p:cNvPr>
            <p:cNvSpPr/>
            <p:nvPr/>
          </p:nvSpPr>
          <p:spPr>
            <a:xfrm rot="5400000">
              <a:off x="-2506207" y="2844589"/>
              <a:ext cx="134239" cy="134239"/>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05" name="Freeform: Shape 1204">
              <a:extLst>
                <a:ext uri="{FF2B5EF4-FFF2-40B4-BE49-F238E27FC236}">
                  <a16:creationId xmlns:a16="http://schemas.microsoft.com/office/drawing/2014/main" id="{916ADA30-819E-45CE-8E85-4184DC6998B8}"/>
                </a:ext>
              </a:extLst>
            </p:cNvPr>
            <p:cNvSpPr/>
            <p:nvPr/>
          </p:nvSpPr>
          <p:spPr>
            <a:xfrm rot="5400000">
              <a:off x="-2351832" y="2844589"/>
              <a:ext cx="134239" cy="134239"/>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06" name="Freeform: Shape 1205">
              <a:extLst>
                <a:ext uri="{FF2B5EF4-FFF2-40B4-BE49-F238E27FC236}">
                  <a16:creationId xmlns:a16="http://schemas.microsoft.com/office/drawing/2014/main" id="{EE1E3B97-4AFC-4458-BE89-4AFFF67F60D9}"/>
                </a:ext>
              </a:extLst>
            </p:cNvPr>
            <p:cNvSpPr/>
            <p:nvPr/>
          </p:nvSpPr>
          <p:spPr>
            <a:xfrm rot="5400000">
              <a:off x="-2662373" y="2845035"/>
              <a:ext cx="134239" cy="134239"/>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07" name="Freeform: Shape 1206">
              <a:extLst>
                <a:ext uri="{FF2B5EF4-FFF2-40B4-BE49-F238E27FC236}">
                  <a16:creationId xmlns:a16="http://schemas.microsoft.com/office/drawing/2014/main" id="{52B5E56F-1D50-4A4D-9485-E68FFE3A94DE}"/>
                </a:ext>
              </a:extLst>
            </p:cNvPr>
            <p:cNvSpPr/>
            <p:nvPr/>
          </p:nvSpPr>
          <p:spPr>
            <a:xfrm rot="5400000">
              <a:off x="-2195666" y="2844589"/>
              <a:ext cx="134239" cy="134239"/>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08" name="Freeform: Shape 1207">
              <a:extLst>
                <a:ext uri="{FF2B5EF4-FFF2-40B4-BE49-F238E27FC236}">
                  <a16:creationId xmlns:a16="http://schemas.microsoft.com/office/drawing/2014/main" id="{CE79FAB6-4924-4B95-92EB-C4FFCDCB9493}"/>
                </a:ext>
              </a:extLst>
            </p:cNvPr>
            <p:cNvSpPr/>
            <p:nvPr/>
          </p:nvSpPr>
          <p:spPr>
            <a:xfrm rot="5400000">
              <a:off x="-2200590" y="2106244"/>
              <a:ext cx="134239" cy="134239"/>
            </a:xfrm>
            <a:custGeom>
              <a:avLst/>
              <a:gdLst>
                <a:gd name="connsiteX0" fmla="*/ 22900 w 42922"/>
                <a:gd name="connsiteY0" fmla="*/ 10731 h 42922"/>
                <a:gd name="connsiteX1" fmla="*/ 10739 w 42922"/>
                <a:gd name="connsiteY1" fmla="*/ 22892 h 42922"/>
                <a:gd name="connsiteX2" fmla="*/ 22034 w 42922"/>
                <a:gd name="connsiteY2" fmla="*/ 35045 h 42922"/>
                <a:gd name="connsiteX3" fmla="*/ 22471 w 42922"/>
                <a:gd name="connsiteY3" fmla="*/ 35053 h 42922"/>
                <a:gd name="connsiteX4" fmla="*/ 22471 w 42922"/>
                <a:gd name="connsiteY4" fmla="*/ 35053 h 42922"/>
                <a:gd name="connsiteX5" fmla="*/ 34632 w 42922"/>
                <a:gd name="connsiteY5" fmla="*/ 22892 h 42922"/>
                <a:gd name="connsiteX6" fmla="*/ 22471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900" y="10731"/>
                  </a:moveTo>
                  <a:cubicBezTo>
                    <a:pt x="16184" y="10731"/>
                    <a:pt x="10739" y="16176"/>
                    <a:pt x="10739" y="22892"/>
                  </a:cubicBezTo>
                  <a:cubicBezTo>
                    <a:pt x="10501" y="29368"/>
                    <a:pt x="15559" y="34809"/>
                    <a:pt x="22034" y="35045"/>
                  </a:cubicBezTo>
                  <a:cubicBezTo>
                    <a:pt x="22179" y="35051"/>
                    <a:pt x="22325" y="35053"/>
                    <a:pt x="22471" y="35053"/>
                  </a:cubicBezTo>
                  <a:lnTo>
                    <a:pt x="22471" y="35053"/>
                  </a:lnTo>
                  <a:cubicBezTo>
                    <a:pt x="29187" y="35053"/>
                    <a:pt x="34632" y="29608"/>
                    <a:pt x="34632" y="22892"/>
                  </a:cubicBezTo>
                  <a:cubicBezTo>
                    <a:pt x="34632" y="16176"/>
                    <a:pt x="29187" y="10731"/>
                    <a:pt x="2247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09" name="Freeform: Shape 1208">
              <a:extLst>
                <a:ext uri="{FF2B5EF4-FFF2-40B4-BE49-F238E27FC236}">
                  <a16:creationId xmlns:a16="http://schemas.microsoft.com/office/drawing/2014/main" id="{6ECF83F7-B157-4450-ADCE-8838B2A81682}"/>
                </a:ext>
              </a:extLst>
            </p:cNvPr>
            <p:cNvSpPr/>
            <p:nvPr/>
          </p:nvSpPr>
          <p:spPr>
            <a:xfrm rot="5400000">
              <a:off x="-1888706" y="2106269"/>
              <a:ext cx="134239" cy="134239"/>
            </a:xfrm>
            <a:custGeom>
              <a:avLst/>
              <a:gdLst>
                <a:gd name="connsiteX0" fmla="*/ 24753 w 42922"/>
                <a:gd name="connsiteY0" fmla="*/ 10731 h 42922"/>
                <a:gd name="connsiteX1" fmla="*/ 22893 w 42922"/>
                <a:gd name="connsiteY1" fmla="*/ 10731 h 42922"/>
                <a:gd name="connsiteX2" fmla="*/ 10732 w 42922"/>
                <a:gd name="connsiteY2" fmla="*/ 22892 h 42922"/>
                <a:gd name="connsiteX3" fmla="*/ 10732 w 42922"/>
                <a:gd name="connsiteY3" fmla="*/ 24752 h 42922"/>
                <a:gd name="connsiteX4" fmla="*/ 22464 w 42922"/>
                <a:gd name="connsiteY4" fmla="*/ 36913 h 42922"/>
                <a:gd name="connsiteX5" fmla="*/ 22464 w 42922"/>
                <a:gd name="connsiteY5" fmla="*/ 36913 h 42922"/>
                <a:gd name="connsiteX6" fmla="*/ 34841 w 42922"/>
                <a:gd name="connsiteY6" fmla="*/ 23009 h 42922"/>
                <a:gd name="connsiteX7" fmla="*/ 24324 w 42922"/>
                <a:gd name="connsiteY7" fmla="*/ 1087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4753" y="10731"/>
                  </a:moveTo>
                  <a:lnTo>
                    <a:pt x="22893" y="10731"/>
                  </a:lnTo>
                  <a:cubicBezTo>
                    <a:pt x="16177" y="10731"/>
                    <a:pt x="10732" y="16176"/>
                    <a:pt x="10732" y="22892"/>
                  </a:cubicBezTo>
                  <a:lnTo>
                    <a:pt x="10732" y="24752"/>
                  </a:lnTo>
                  <a:cubicBezTo>
                    <a:pt x="10651" y="31335"/>
                    <a:pt x="15882" y="36757"/>
                    <a:pt x="22464" y="36913"/>
                  </a:cubicBezTo>
                  <a:lnTo>
                    <a:pt x="22464" y="36913"/>
                  </a:lnTo>
                  <a:cubicBezTo>
                    <a:pt x="29720" y="36491"/>
                    <a:pt x="35263" y="30267"/>
                    <a:pt x="34841" y="23009"/>
                  </a:cubicBezTo>
                  <a:cubicBezTo>
                    <a:pt x="34495" y="17046"/>
                    <a:pt x="30177" y="12064"/>
                    <a:pt x="24324" y="1087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10" name="Freeform: Shape 1209">
              <a:extLst>
                <a:ext uri="{FF2B5EF4-FFF2-40B4-BE49-F238E27FC236}">
                  <a16:creationId xmlns:a16="http://schemas.microsoft.com/office/drawing/2014/main" id="{BD79D927-7B63-4246-851F-E7590587B691}"/>
                </a:ext>
              </a:extLst>
            </p:cNvPr>
            <p:cNvSpPr/>
            <p:nvPr/>
          </p:nvSpPr>
          <p:spPr>
            <a:xfrm rot="5400000">
              <a:off x="-2512472" y="2103583"/>
              <a:ext cx="134239" cy="134239"/>
            </a:xfrm>
            <a:custGeom>
              <a:avLst/>
              <a:gdLst>
                <a:gd name="connsiteX0" fmla="*/ 22893 w 42922"/>
                <a:gd name="connsiteY0" fmla="*/ 35339 h 42922"/>
                <a:gd name="connsiteX1" fmla="*/ 35339 w 42922"/>
                <a:gd name="connsiteY1" fmla="*/ 23178 h 42922"/>
                <a:gd name="connsiteX2" fmla="*/ 23178 w 42922"/>
                <a:gd name="connsiteY2" fmla="*/ 10731 h 42922"/>
                <a:gd name="connsiteX3" fmla="*/ 10732 w 42922"/>
                <a:gd name="connsiteY3" fmla="*/ 22893 h 42922"/>
                <a:gd name="connsiteX4" fmla="*/ 10732 w 42922"/>
                <a:gd name="connsiteY4" fmla="*/ 23178 h 42922"/>
                <a:gd name="connsiteX5" fmla="*/ 22893 w 42922"/>
                <a:gd name="connsiteY5" fmla="*/ 353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3" y="35339"/>
                  </a:moveTo>
                  <a:cubicBezTo>
                    <a:pt x="29688" y="35418"/>
                    <a:pt x="35260" y="29972"/>
                    <a:pt x="35339" y="23178"/>
                  </a:cubicBezTo>
                  <a:cubicBezTo>
                    <a:pt x="35418" y="16383"/>
                    <a:pt x="29972" y="10810"/>
                    <a:pt x="23178" y="10731"/>
                  </a:cubicBezTo>
                  <a:cubicBezTo>
                    <a:pt x="16383" y="10653"/>
                    <a:pt x="10810" y="16098"/>
                    <a:pt x="10732" y="22893"/>
                  </a:cubicBezTo>
                  <a:cubicBezTo>
                    <a:pt x="10730" y="22987"/>
                    <a:pt x="10730" y="23083"/>
                    <a:pt x="10732" y="23178"/>
                  </a:cubicBezTo>
                  <a:cubicBezTo>
                    <a:pt x="10809" y="29862"/>
                    <a:pt x="16209" y="35262"/>
                    <a:pt x="22893" y="3533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11" name="Freeform: Shape 1210">
              <a:extLst>
                <a:ext uri="{FF2B5EF4-FFF2-40B4-BE49-F238E27FC236}">
                  <a16:creationId xmlns:a16="http://schemas.microsoft.com/office/drawing/2014/main" id="{816EBA95-AC18-4D3E-A321-A7BE28D2B1D6}"/>
                </a:ext>
              </a:extLst>
            </p:cNvPr>
            <p:cNvSpPr/>
            <p:nvPr/>
          </p:nvSpPr>
          <p:spPr>
            <a:xfrm rot="5400000">
              <a:off x="-2808247" y="2595302"/>
              <a:ext cx="134239" cy="134239"/>
            </a:xfrm>
            <a:custGeom>
              <a:avLst/>
              <a:gdLst>
                <a:gd name="connsiteX0" fmla="*/ 23480 w 42922"/>
                <a:gd name="connsiteY0" fmla="*/ 38916 h 42922"/>
                <a:gd name="connsiteX1" fmla="*/ 38645 w 42922"/>
                <a:gd name="connsiteY1" fmla="*/ 26040 h 42922"/>
                <a:gd name="connsiteX2" fmla="*/ 25769 w 42922"/>
                <a:gd name="connsiteY2" fmla="*/ 10731 h 42922"/>
                <a:gd name="connsiteX3" fmla="*/ 25769 w 42922"/>
                <a:gd name="connsiteY3" fmla="*/ 10731 h 42922"/>
                <a:gd name="connsiteX4" fmla="*/ 11461 w 42922"/>
                <a:gd name="connsiteY4" fmla="*/ 25038 h 42922"/>
                <a:gd name="connsiteX5" fmla="*/ 10746 w 42922"/>
                <a:gd name="connsiteY5" fmla="*/ 24037 h 42922"/>
                <a:gd name="connsiteX6" fmla="*/ 23480 w 42922"/>
                <a:gd name="connsiteY6" fmla="*/ 3891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3480" y="38916"/>
                  </a:moveTo>
                  <a:cubicBezTo>
                    <a:pt x="31180" y="39417"/>
                    <a:pt x="37890" y="33720"/>
                    <a:pt x="38645" y="26040"/>
                  </a:cubicBezTo>
                  <a:cubicBezTo>
                    <a:pt x="39226" y="18285"/>
                    <a:pt x="33508" y="11486"/>
                    <a:pt x="25769" y="10731"/>
                  </a:cubicBezTo>
                  <a:lnTo>
                    <a:pt x="25769" y="10731"/>
                  </a:lnTo>
                  <a:cubicBezTo>
                    <a:pt x="17867" y="10731"/>
                    <a:pt x="11461" y="17136"/>
                    <a:pt x="11461" y="25038"/>
                  </a:cubicBezTo>
                  <a:lnTo>
                    <a:pt x="10746" y="24037"/>
                  </a:lnTo>
                  <a:cubicBezTo>
                    <a:pt x="10400" y="31579"/>
                    <a:pt x="15974" y="38094"/>
                    <a:pt x="23480" y="3891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12" name="Freeform: Shape 1211">
              <a:extLst>
                <a:ext uri="{FF2B5EF4-FFF2-40B4-BE49-F238E27FC236}">
                  <a16:creationId xmlns:a16="http://schemas.microsoft.com/office/drawing/2014/main" id="{368D36A2-8196-4700-B15A-982B733CE1ED}"/>
                </a:ext>
              </a:extLst>
            </p:cNvPr>
            <p:cNvSpPr/>
            <p:nvPr/>
          </p:nvSpPr>
          <p:spPr>
            <a:xfrm rot="5400000">
              <a:off x="-2769763" y="3848702"/>
              <a:ext cx="89493" cy="89493"/>
            </a:xfrm>
            <a:custGeom>
              <a:avLst/>
              <a:gdLst>
                <a:gd name="connsiteX0" fmla="*/ 21032 w 28614"/>
                <a:gd name="connsiteY0" fmla="*/ 10732 h 28614"/>
                <a:gd name="connsiteX1" fmla="*/ 10731 w 28614"/>
                <a:gd name="connsiteY1" fmla="*/ 20745 h 28614"/>
                <a:gd name="connsiteX2" fmla="*/ 10731 w 28614"/>
                <a:gd name="connsiteY2" fmla="*/ 20747 h 28614"/>
                <a:gd name="connsiteX3" fmla="*/ 10731 w 28614"/>
                <a:gd name="connsiteY3" fmla="*/ 20747 h 28614"/>
                <a:gd name="connsiteX4" fmla="*/ 21032 w 28614"/>
                <a:gd name="connsiteY4" fmla="*/ 31191 h 28614"/>
                <a:gd name="connsiteX5" fmla="*/ 31332 w 28614"/>
                <a:gd name="connsiteY5" fmla="*/ 21178 h 28614"/>
                <a:gd name="connsiteX6" fmla="*/ 31333 w 28614"/>
                <a:gd name="connsiteY6" fmla="*/ 21033 h 28614"/>
                <a:gd name="connsiteX7" fmla="*/ 31333 w 28614"/>
                <a:gd name="connsiteY7" fmla="*/ 21033 h 28614"/>
                <a:gd name="connsiteX8" fmla="*/ 21320 w 28614"/>
                <a:gd name="connsiteY8" fmla="*/ 10732 h 28614"/>
                <a:gd name="connsiteX9" fmla="*/ 21032 w 28614"/>
                <a:gd name="connsiteY9"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032" y="10732"/>
                  </a:moveTo>
                  <a:cubicBezTo>
                    <a:pt x="15422" y="10652"/>
                    <a:pt x="10811" y="15136"/>
                    <a:pt x="10731" y="20745"/>
                  </a:cubicBezTo>
                  <a:cubicBezTo>
                    <a:pt x="10731" y="20745"/>
                    <a:pt x="10731" y="20747"/>
                    <a:pt x="10731" y="20747"/>
                  </a:cubicBezTo>
                  <a:lnTo>
                    <a:pt x="10731" y="20747"/>
                  </a:lnTo>
                  <a:cubicBezTo>
                    <a:pt x="10731" y="26460"/>
                    <a:pt x="15319" y="31113"/>
                    <a:pt x="21032" y="31191"/>
                  </a:cubicBezTo>
                  <a:cubicBezTo>
                    <a:pt x="26642" y="31270"/>
                    <a:pt x="31253" y="26788"/>
                    <a:pt x="31332" y="21178"/>
                  </a:cubicBezTo>
                  <a:cubicBezTo>
                    <a:pt x="31333" y="21129"/>
                    <a:pt x="31333" y="21082"/>
                    <a:pt x="31333" y="21033"/>
                  </a:cubicBezTo>
                  <a:lnTo>
                    <a:pt x="31333" y="21033"/>
                  </a:lnTo>
                  <a:cubicBezTo>
                    <a:pt x="31414" y="15423"/>
                    <a:pt x="26930" y="10812"/>
                    <a:pt x="21320" y="10732"/>
                  </a:cubicBezTo>
                  <a:cubicBezTo>
                    <a:pt x="21224" y="10730"/>
                    <a:pt x="21128" y="10730"/>
                    <a:pt x="2103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13" name="Freeform: Shape 1212">
              <a:extLst>
                <a:ext uri="{FF2B5EF4-FFF2-40B4-BE49-F238E27FC236}">
                  <a16:creationId xmlns:a16="http://schemas.microsoft.com/office/drawing/2014/main" id="{AFC93EB5-D00C-4D1E-AB79-47795218AFD0}"/>
                </a:ext>
              </a:extLst>
            </p:cNvPr>
            <p:cNvSpPr/>
            <p:nvPr/>
          </p:nvSpPr>
          <p:spPr>
            <a:xfrm rot="5400000">
              <a:off x="-2808247" y="3345752"/>
              <a:ext cx="134239" cy="134239"/>
            </a:xfrm>
            <a:custGeom>
              <a:avLst/>
              <a:gdLst>
                <a:gd name="connsiteX0" fmla="*/ 24609 w 42922"/>
                <a:gd name="connsiteY0" fmla="*/ 10731 h 42922"/>
                <a:gd name="connsiteX1" fmla="*/ 22892 w 42922"/>
                <a:gd name="connsiteY1" fmla="*/ 10731 h 42922"/>
                <a:gd name="connsiteX2" fmla="*/ 10731 w 42922"/>
                <a:gd name="connsiteY2" fmla="*/ 22892 h 42922"/>
                <a:gd name="connsiteX3" fmla="*/ 22892 w 42922"/>
                <a:gd name="connsiteY3" fmla="*/ 35053 h 42922"/>
                <a:gd name="connsiteX4" fmla="*/ 35045 w 42922"/>
                <a:gd name="connsiteY4" fmla="*/ 23758 h 42922"/>
                <a:gd name="connsiteX5" fmla="*/ 35053 w 42922"/>
                <a:gd name="connsiteY5" fmla="*/ 23321 h 42922"/>
                <a:gd name="connsiteX6" fmla="*/ 35053 w 42922"/>
                <a:gd name="connsiteY6" fmla="*/ 23321 h 42922"/>
                <a:gd name="connsiteX7" fmla="*/ 35912 w 42922"/>
                <a:gd name="connsiteY7" fmla="*/ 24180 h 42922"/>
                <a:gd name="connsiteX8" fmla="*/ 25135 w 42922"/>
                <a:gd name="connsiteY8" fmla="*/ 10776 h 42922"/>
                <a:gd name="connsiteX9" fmla="*/ 24609 w 42922"/>
                <a:gd name="connsiteY9"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4609" y="10731"/>
                  </a:moveTo>
                  <a:lnTo>
                    <a:pt x="22892" y="10731"/>
                  </a:lnTo>
                  <a:cubicBezTo>
                    <a:pt x="16176" y="10731"/>
                    <a:pt x="10731" y="16176"/>
                    <a:pt x="10731" y="22892"/>
                  </a:cubicBezTo>
                  <a:cubicBezTo>
                    <a:pt x="10731" y="29608"/>
                    <a:pt x="16176" y="35053"/>
                    <a:pt x="22892" y="35053"/>
                  </a:cubicBezTo>
                  <a:cubicBezTo>
                    <a:pt x="29367" y="35291"/>
                    <a:pt x="34809" y="30233"/>
                    <a:pt x="35045" y="23758"/>
                  </a:cubicBezTo>
                  <a:cubicBezTo>
                    <a:pt x="35050" y="23613"/>
                    <a:pt x="35053" y="23467"/>
                    <a:pt x="35053" y="23321"/>
                  </a:cubicBezTo>
                  <a:lnTo>
                    <a:pt x="35053" y="23321"/>
                  </a:lnTo>
                  <a:lnTo>
                    <a:pt x="35912" y="24180"/>
                  </a:lnTo>
                  <a:cubicBezTo>
                    <a:pt x="36637" y="17502"/>
                    <a:pt x="31813" y="11502"/>
                    <a:pt x="25135" y="10776"/>
                  </a:cubicBezTo>
                  <a:cubicBezTo>
                    <a:pt x="24959" y="10758"/>
                    <a:pt x="24785" y="10742"/>
                    <a:pt x="2460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14" name="Freeform: Shape 1213">
              <a:extLst>
                <a:ext uri="{FF2B5EF4-FFF2-40B4-BE49-F238E27FC236}">
                  <a16:creationId xmlns:a16="http://schemas.microsoft.com/office/drawing/2014/main" id="{3FA4EB4C-056A-43AC-A09B-926A1E32EFC3}"/>
                </a:ext>
              </a:extLst>
            </p:cNvPr>
            <p:cNvSpPr/>
            <p:nvPr/>
          </p:nvSpPr>
          <p:spPr>
            <a:xfrm rot="5400000">
              <a:off x="-2793207" y="3619033"/>
              <a:ext cx="134239" cy="89493"/>
            </a:xfrm>
            <a:custGeom>
              <a:avLst/>
              <a:gdLst>
                <a:gd name="connsiteX0" fmla="*/ 23645 w 42922"/>
                <a:gd name="connsiteY0" fmla="*/ 30419 h 28614"/>
                <a:gd name="connsiteX1" fmla="*/ 33374 w 42922"/>
                <a:gd name="connsiteY1" fmla="*/ 20547 h 28614"/>
                <a:gd name="connsiteX2" fmla="*/ 20640 w 42922"/>
                <a:gd name="connsiteY2" fmla="*/ 10818 h 28614"/>
                <a:gd name="connsiteX3" fmla="*/ 10731 w 42922"/>
                <a:gd name="connsiteY3" fmla="*/ 20939 h 28614"/>
                <a:gd name="connsiteX4" fmla="*/ 20852 w 42922"/>
                <a:gd name="connsiteY4" fmla="*/ 30847 h 28614"/>
                <a:gd name="connsiteX5" fmla="*/ 23645 w 42922"/>
                <a:gd name="connsiteY5" fmla="*/ 3041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645" y="30419"/>
                  </a:moveTo>
                  <a:cubicBezTo>
                    <a:pt x="28716" y="29644"/>
                    <a:pt x="32673" y="25628"/>
                    <a:pt x="33374" y="20547"/>
                  </a:cubicBezTo>
                  <a:cubicBezTo>
                    <a:pt x="32487" y="14378"/>
                    <a:pt x="26826" y="10054"/>
                    <a:pt x="20640" y="10818"/>
                  </a:cubicBezTo>
                  <a:cubicBezTo>
                    <a:pt x="15109" y="10877"/>
                    <a:pt x="10674" y="15408"/>
                    <a:pt x="10731" y="20939"/>
                  </a:cubicBezTo>
                  <a:cubicBezTo>
                    <a:pt x="10790" y="26469"/>
                    <a:pt x="15321" y="30906"/>
                    <a:pt x="20852" y="30847"/>
                  </a:cubicBezTo>
                  <a:cubicBezTo>
                    <a:pt x="21799" y="30837"/>
                    <a:pt x="22739" y="30694"/>
                    <a:pt x="23645" y="3041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15" name="Freeform: Shape 1214">
              <a:extLst>
                <a:ext uri="{FF2B5EF4-FFF2-40B4-BE49-F238E27FC236}">
                  <a16:creationId xmlns:a16="http://schemas.microsoft.com/office/drawing/2014/main" id="{560FC110-C227-4071-AF59-9ED9B202AFFC}"/>
                </a:ext>
              </a:extLst>
            </p:cNvPr>
            <p:cNvSpPr/>
            <p:nvPr/>
          </p:nvSpPr>
          <p:spPr>
            <a:xfrm rot="5400000">
              <a:off x="-2807799" y="3096511"/>
              <a:ext cx="134239" cy="134239"/>
            </a:xfrm>
            <a:custGeom>
              <a:avLst/>
              <a:gdLst>
                <a:gd name="connsiteX0" fmla="*/ 37056 w 42922"/>
                <a:gd name="connsiteY0" fmla="*/ 23894 h 42922"/>
                <a:gd name="connsiteX1" fmla="*/ 23893 w 42922"/>
                <a:gd name="connsiteY1" fmla="*/ 37056 h 42922"/>
                <a:gd name="connsiteX2" fmla="*/ 10731 w 42922"/>
                <a:gd name="connsiteY2" fmla="*/ 23894 h 42922"/>
                <a:gd name="connsiteX3" fmla="*/ 23893 w 42922"/>
                <a:gd name="connsiteY3" fmla="*/ 10731 h 42922"/>
                <a:gd name="connsiteX4" fmla="*/ 37056 w 42922"/>
                <a:gd name="connsiteY4" fmla="*/ 23894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4"/>
                  </a:moveTo>
                  <a:cubicBezTo>
                    <a:pt x="37056" y="31163"/>
                    <a:pt x="31163" y="37056"/>
                    <a:pt x="23893" y="37056"/>
                  </a:cubicBezTo>
                  <a:cubicBezTo>
                    <a:pt x="16624" y="37056"/>
                    <a:pt x="10731" y="31163"/>
                    <a:pt x="10731" y="23894"/>
                  </a:cubicBezTo>
                  <a:cubicBezTo>
                    <a:pt x="10731" y="16624"/>
                    <a:pt x="16624" y="10731"/>
                    <a:pt x="23893" y="10731"/>
                  </a:cubicBezTo>
                  <a:cubicBezTo>
                    <a:pt x="31163" y="10731"/>
                    <a:pt x="37056" y="16624"/>
                    <a:pt x="37056" y="2389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16" name="Freeform: Shape 1215">
              <a:extLst>
                <a:ext uri="{FF2B5EF4-FFF2-40B4-BE49-F238E27FC236}">
                  <a16:creationId xmlns:a16="http://schemas.microsoft.com/office/drawing/2014/main" id="{4CBF8314-8E46-4378-B471-ADAC615FB67B}"/>
                </a:ext>
              </a:extLst>
            </p:cNvPr>
            <p:cNvSpPr/>
            <p:nvPr/>
          </p:nvSpPr>
          <p:spPr>
            <a:xfrm rot="5400000">
              <a:off x="-2782288" y="4595838"/>
              <a:ext cx="89493" cy="89493"/>
            </a:xfrm>
            <a:custGeom>
              <a:avLst/>
              <a:gdLst>
                <a:gd name="connsiteX0" fmla="*/ 20216 w 28614"/>
                <a:gd name="connsiteY0" fmla="*/ 25326 h 28614"/>
                <a:gd name="connsiteX1" fmla="*/ 25326 w 28614"/>
                <a:gd name="connsiteY1" fmla="*/ 16129 h 28614"/>
                <a:gd name="connsiteX2" fmla="*/ 20216 w 28614"/>
                <a:gd name="connsiteY2" fmla="*/ 11019 h 28614"/>
                <a:gd name="connsiteX3" fmla="*/ 11019 w 28614"/>
                <a:gd name="connsiteY3" fmla="*/ 16129 h 28614"/>
                <a:gd name="connsiteX4" fmla="*/ 16128 w 28614"/>
                <a:gd name="connsiteY4" fmla="*/ 25326 h 28614"/>
                <a:gd name="connsiteX5" fmla="*/ 20216 w 28614"/>
                <a:gd name="connsiteY5" fmla="*/ 2532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216" y="25326"/>
                  </a:moveTo>
                  <a:cubicBezTo>
                    <a:pt x="24166" y="24197"/>
                    <a:pt x="26455" y="20080"/>
                    <a:pt x="25326" y="16129"/>
                  </a:cubicBezTo>
                  <a:cubicBezTo>
                    <a:pt x="24620" y="13657"/>
                    <a:pt x="22688" y="11726"/>
                    <a:pt x="20216" y="11019"/>
                  </a:cubicBezTo>
                  <a:cubicBezTo>
                    <a:pt x="16265" y="9890"/>
                    <a:pt x="12148" y="12178"/>
                    <a:pt x="11019" y="16129"/>
                  </a:cubicBezTo>
                  <a:cubicBezTo>
                    <a:pt x="9890" y="20080"/>
                    <a:pt x="12178" y="24197"/>
                    <a:pt x="16128" y="25326"/>
                  </a:cubicBezTo>
                  <a:cubicBezTo>
                    <a:pt x="17464" y="25708"/>
                    <a:pt x="18879" y="25708"/>
                    <a:pt x="20216" y="2532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17" name="Freeform: Shape 1216">
              <a:extLst>
                <a:ext uri="{FF2B5EF4-FFF2-40B4-BE49-F238E27FC236}">
                  <a16:creationId xmlns:a16="http://schemas.microsoft.com/office/drawing/2014/main" id="{2E73AE51-F9EF-46EC-859D-C9335A251CB2}"/>
                </a:ext>
              </a:extLst>
            </p:cNvPr>
            <p:cNvSpPr/>
            <p:nvPr/>
          </p:nvSpPr>
          <p:spPr>
            <a:xfrm rot="5400000">
              <a:off x="-2772671" y="4095120"/>
              <a:ext cx="89493" cy="89493"/>
            </a:xfrm>
            <a:custGeom>
              <a:avLst/>
              <a:gdLst>
                <a:gd name="connsiteX0" fmla="*/ 21790 w 28614"/>
                <a:gd name="connsiteY0" fmla="*/ 30404 h 28614"/>
                <a:gd name="connsiteX1" fmla="*/ 30947 w 28614"/>
                <a:gd name="connsiteY1" fmla="*/ 21248 h 28614"/>
                <a:gd name="connsiteX2" fmla="*/ 30947 w 28614"/>
                <a:gd name="connsiteY2" fmla="*/ 19960 h 28614"/>
                <a:gd name="connsiteX3" fmla="*/ 21790 w 28614"/>
                <a:gd name="connsiteY3" fmla="*/ 10803 h 28614"/>
                <a:gd name="connsiteX4" fmla="*/ 10803 w 28614"/>
                <a:gd name="connsiteY4" fmla="*/ 19418 h 28614"/>
                <a:gd name="connsiteX5" fmla="*/ 19418 w 28614"/>
                <a:gd name="connsiteY5" fmla="*/ 30404 h 28614"/>
                <a:gd name="connsiteX6" fmla="*/ 21790 w 28614"/>
                <a:gd name="connsiteY6" fmla="*/ 3040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790" y="30404"/>
                  </a:moveTo>
                  <a:cubicBezTo>
                    <a:pt x="26848" y="30404"/>
                    <a:pt x="30947" y="26305"/>
                    <a:pt x="30947" y="21248"/>
                  </a:cubicBezTo>
                  <a:lnTo>
                    <a:pt x="30947" y="19960"/>
                  </a:lnTo>
                  <a:cubicBezTo>
                    <a:pt x="30947" y="14902"/>
                    <a:pt x="26848" y="10803"/>
                    <a:pt x="21790" y="10803"/>
                  </a:cubicBezTo>
                  <a:cubicBezTo>
                    <a:pt x="16377" y="10148"/>
                    <a:pt x="11458" y="14005"/>
                    <a:pt x="10803" y="19418"/>
                  </a:cubicBezTo>
                  <a:cubicBezTo>
                    <a:pt x="10148" y="24830"/>
                    <a:pt x="14005" y="29749"/>
                    <a:pt x="19418" y="30404"/>
                  </a:cubicBezTo>
                  <a:cubicBezTo>
                    <a:pt x="20205" y="30500"/>
                    <a:pt x="21002" y="30500"/>
                    <a:pt x="21790" y="3040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18" name="Freeform: Shape 1217">
              <a:extLst>
                <a:ext uri="{FF2B5EF4-FFF2-40B4-BE49-F238E27FC236}">
                  <a16:creationId xmlns:a16="http://schemas.microsoft.com/office/drawing/2014/main" id="{09B0EED0-731D-4CCB-ADED-4D40EFCD94A6}"/>
                </a:ext>
              </a:extLst>
            </p:cNvPr>
            <p:cNvSpPr/>
            <p:nvPr/>
          </p:nvSpPr>
          <p:spPr>
            <a:xfrm rot="5400000">
              <a:off x="-2804668" y="2844589"/>
              <a:ext cx="134239" cy="134239"/>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19" name="Freeform: Shape 1218">
              <a:extLst>
                <a:ext uri="{FF2B5EF4-FFF2-40B4-BE49-F238E27FC236}">
                  <a16:creationId xmlns:a16="http://schemas.microsoft.com/office/drawing/2014/main" id="{33B7BA30-558E-4206-8F45-7B8F67C83810}"/>
                </a:ext>
              </a:extLst>
            </p:cNvPr>
            <p:cNvSpPr/>
            <p:nvPr/>
          </p:nvSpPr>
          <p:spPr>
            <a:xfrm rot="5400000">
              <a:off x="-2782447" y="4351366"/>
              <a:ext cx="89493" cy="89493"/>
            </a:xfrm>
            <a:custGeom>
              <a:avLst/>
              <a:gdLst>
                <a:gd name="connsiteX0" fmla="*/ 17976 w 28614"/>
                <a:gd name="connsiteY0" fmla="*/ 27422 h 28614"/>
                <a:gd name="connsiteX1" fmla="*/ 27562 w 28614"/>
                <a:gd name="connsiteY1" fmla="*/ 20411 h 28614"/>
                <a:gd name="connsiteX2" fmla="*/ 27562 w 28614"/>
                <a:gd name="connsiteY2" fmla="*/ 17836 h 28614"/>
                <a:gd name="connsiteX3" fmla="*/ 17976 w 28614"/>
                <a:gd name="connsiteY3" fmla="*/ 10825 h 28614"/>
                <a:gd name="connsiteX4" fmla="*/ 10822 w 28614"/>
                <a:gd name="connsiteY4" fmla="*/ 17836 h 28614"/>
                <a:gd name="connsiteX5" fmla="*/ 17943 w 28614"/>
                <a:gd name="connsiteY5" fmla="*/ 27418 h 28614"/>
                <a:gd name="connsiteX6" fmla="*/ 17976 w 28614"/>
                <a:gd name="connsiteY6" fmla="*/ 2742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7976" y="27422"/>
                  </a:moveTo>
                  <a:cubicBezTo>
                    <a:pt x="22553" y="28107"/>
                    <a:pt x="26828" y="24981"/>
                    <a:pt x="27562" y="20411"/>
                  </a:cubicBezTo>
                  <a:cubicBezTo>
                    <a:pt x="27706" y="19558"/>
                    <a:pt x="27706" y="18689"/>
                    <a:pt x="27562" y="17836"/>
                  </a:cubicBezTo>
                  <a:cubicBezTo>
                    <a:pt x="26828" y="13266"/>
                    <a:pt x="22553" y="10138"/>
                    <a:pt x="17976" y="10825"/>
                  </a:cubicBezTo>
                  <a:cubicBezTo>
                    <a:pt x="14313" y="11342"/>
                    <a:pt x="11413" y="14183"/>
                    <a:pt x="10822" y="17836"/>
                  </a:cubicBezTo>
                  <a:cubicBezTo>
                    <a:pt x="10142" y="22449"/>
                    <a:pt x="13331" y="26738"/>
                    <a:pt x="17943" y="27418"/>
                  </a:cubicBezTo>
                  <a:cubicBezTo>
                    <a:pt x="17954" y="27419"/>
                    <a:pt x="17964" y="27420"/>
                    <a:pt x="17976" y="2742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20" name="Freeform: Shape 1219">
              <a:extLst>
                <a:ext uri="{FF2B5EF4-FFF2-40B4-BE49-F238E27FC236}">
                  <a16:creationId xmlns:a16="http://schemas.microsoft.com/office/drawing/2014/main" id="{F55936FB-859B-4DE2-9BF0-53070E188020}"/>
                </a:ext>
              </a:extLst>
            </p:cNvPr>
            <p:cNvSpPr/>
            <p:nvPr/>
          </p:nvSpPr>
          <p:spPr>
            <a:xfrm rot="5400000">
              <a:off x="-2769540" y="1369728"/>
              <a:ext cx="89493" cy="89493"/>
            </a:xfrm>
            <a:custGeom>
              <a:avLst/>
              <a:gdLst>
                <a:gd name="connsiteX0" fmla="*/ 19892 w 28614"/>
                <a:gd name="connsiteY0" fmla="*/ 10802 h 28614"/>
                <a:gd name="connsiteX1" fmla="*/ 10735 w 28614"/>
                <a:gd name="connsiteY1" fmla="*/ 19959 h 28614"/>
                <a:gd name="connsiteX2" fmla="*/ 10735 w 28614"/>
                <a:gd name="connsiteY2" fmla="*/ 20961 h 28614"/>
                <a:gd name="connsiteX3" fmla="*/ 19600 w 28614"/>
                <a:gd name="connsiteY3" fmla="*/ 30401 h 28614"/>
                <a:gd name="connsiteX4" fmla="*/ 19749 w 28614"/>
                <a:gd name="connsiteY4" fmla="*/ 30404 h 28614"/>
                <a:gd name="connsiteX5" fmla="*/ 19749 w 28614"/>
                <a:gd name="connsiteY5" fmla="*/ 30404 h 28614"/>
                <a:gd name="connsiteX6" fmla="*/ 30736 w 28614"/>
                <a:gd name="connsiteY6" fmla="*/ 21789 h 28614"/>
                <a:gd name="connsiteX7" fmla="*/ 22121 w 28614"/>
                <a:gd name="connsiteY7" fmla="*/ 10802 h 28614"/>
                <a:gd name="connsiteX8" fmla="*/ 19749 w 28614"/>
                <a:gd name="connsiteY8" fmla="*/ 1080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19892" y="10802"/>
                  </a:moveTo>
                  <a:cubicBezTo>
                    <a:pt x="14834" y="10802"/>
                    <a:pt x="10735" y="14902"/>
                    <a:pt x="10735" y="19959"/>
                  </a:cubicBezTo>
                  <a:lnTo>
                    <a:pt x="10735" y="20961"/>
                  </a:lnTo>
                  <a:cubicBezTo>
                    <a:pt x="10576" y="26016"/>
                    <a:pt x="14545" y="30242"/>
                    <a:pt x="19600" y="30401"/>
                  </a:cubicBezTo>
                  <a:cubicBezTo>
                    <a:pt x="19650" y="30402"/>
                    <a:pt x="19699" y="30402"/>
                    <a:pt x="19749" y="30404"/>
                  </a:cubicBezTo>
                  <a:lnTo>
                    <a:pt x="19749" y="30404"/>
                  </a:lnTo>
                  <a:cubicBezTo>
                    <a:pt x="25161" y="31059"/>
                    <a:pt x="30080" y="27202"/>
                    <a:pt x="30736" y="21789"/>
                  </a:cubicBezTo>
                  <a:cubicBezTo>
                    <a:pt x="31391" y="16377"/>
                    <a:pt x="27534" y="11458"/>
                    <a:pt x="22121" y="10802"/>
                  </a:cubicBezTo>
                  <a:cubicBezTo>
                    <a:pt x="21334" y="10707"/>
                    <a:pt x="20537" y="10707"/>
                    <a:pt x="19749" y="1080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21" name="Freeform: Shape 1220">
              <a:extLst>
                <a:ext uri="{FF2B5EF4-FFF2-40B4-BE49-F238E27FC236}">
                  <a16:creationId xmlns:a16="http://schemas.microsoft.com/office/drawing/2014/main" id="{9E6E4353-CE57-49B1-9215-5B41749EA41C}"/>
                </a:ext>
              </a:extLst>
            </p:cNvPr>
            <p:cNvSpPr/>
            <p:nvPr/>
          </p:nvSpPr>
          <p:spPr>
            <a:xfrm rot="5400000">
              <a:off x="-2774688" y="1125421"/>
              <a:ext cx="89493" cy="89493"/>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22" name="Freeform: Shape 1221">
              <a:extLst>
                <a:ext uri="{FF2B5EF4-FFF2-40B4-BE49-F238E27FC236}">
                  <a16:creationId xmlns:a16="http://schemas.microsoft.com/office/drawing/2014/main" id="{7496B868-8B8A-4E17-A781-756524F62F74}"/>
                </a:ext>
              </a:extLst>
            </p:cNvPr>
            <p:cNvSpPr/>
            <p:nvPr/>
          </p:nvSpPr>
          <p:spPr>
            <a:xfrm rot="5400000">
              <a:off x="-2774685" y="877971"/>
              <a:ext cx="89493" cy="89493"/>
            </a:xfrm>
            <a:custGeom>
              <a:avLst/>
              <a:gdLst>
                <a:gd name="connsiteX0" fmla="*/ 18459 w 28614"/>
                <a:gd name="connsiteY0" fmla="*/ 10732 h 28614"/>
                <a:gd name="connsiteX1" fmla="*/ 11019 w 28614"/>
                <a:gd name="connsiteY1" fmla="*/ 17883 h 28614"/>
                <a:gd name="connsiteX2" fmla="*/ 11019 w 28614"/>
                <a:gd name="connsiteY2" fmla="*/ 17886 h 28614"/>
                <a:gd name="connsiteX3" fmla="*/ 16129 w 28614"/>
                <a:gd name="connsiteY3" fmla="*/ 27083 h 28614"/>
                <a:gd name="connsiteX4" fmla="*/ 25326 w 28614"/>
                <a:gd name="connsiteY4" fmla="*/ 21973 h 28614"/>
                <a:gd name="connsiteX5" fmla="*/ 25326 w 28614"/>
                <a:gd name="connsiteY5" fmla="*/ 17886 h 28614"/>
                <a:gd name="connsiteX6" fmla="*/ 18602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59" y="10732"/>
                  </a:moveTo>
                  <a:cubicBezTo>
                    <a:pt x="14429" y="10652"/>
                    <a:pt x="11099" y="13854"/>
                    <a:pt x="11019" y="17883"/>
                  </a:cubicBezTo>
                  <a:cubicBezTo>
                    <a:pt x="11019" y="17884"/>
                    <a:pt x="11019" y="17884"/>
                    <a:pt x="11019" y="17886"/>
                  </a:cubicBezTo>
                  <a:cubicBezTo>
                    <a:pt x="9890" y="21836"/>
                    <a:pt x="12178" y="25954"/>
                    <a:pt x="16129" y="27083"/>
                  </a:cubicBezTo>
                  <a:cubicBezTo>
                    <a:pt x="20080" y="28212"/>
                    <a:pt x="24198" y="25924"/>
                    <a:pt x="25326" y="21973"/>
                  </a:cubicBezTo>
                  <a:cubicBezTo>
                    <a:pt x="25708" y="20637"/>
                    <a:pt x="25708" y="19222"/>
                    <a:pt x="25326" y="17886"/>
                  </a:cubicBezTo>
                  <a:cubicBezTo>
                    <a:pt x="25264" y="14124"/>
                    <a:pt x="22352" y="11027"/>
                    <a:pt x="1860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23" name="Freeform: Shape 1222">
              <a:extLst>
                <a:ext uri="{FF2B5EF4-FFF2-40B4-BE49-F238E27FC236}">
                  <a16:creationId xmlns:a16="http://schemas.microsoft.com/office/drawing/2014/main" id="{68C475CB-B961-48EF-A975-6F3755E68A19}"/>
                </a:ext>
              </a:extLst>
            </p:cNvPr>
            <p:cNvSpPr/>
            <p:nvPr/>
          </p:nvSpPr>
          <p:spPr>
            <a:xfrm rot="5400000">
              <a:off x="-2810933" y="2351480"/>
              <a:ext cx="134239" cy="134239"/>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24" name="Freeform: Shape 1223">
              <a:extLst>
                <a:ext uri="{FF2B5EF4-FFF2-40B4-BE49-F238E27FC236}">
                  <a16:creationId xmlns:a16="http://schemas.microsoft.com/office/drawing/2014/main" id="{7BC19561-B5D0-4C08-9095-0105DCBF155E}"/>
                </a:ext>
              </a:extLst>
            </p:cNvPr>
            <p:cNvSpPr/>
            <p:nvPr/>
          </p:nvSpPr>
          <p:spPr>
            <a:xfrm rot="5400000">
              <a:off x="-2769753" y="1615399"/>
              <a:ext cx="89493" cy="89493"/>
            </a:xfrm>
            <a:custGeom>
              <a:avLst/>
              <a:gdLst>
                <a:gd name="connsiteX0" fmla="*/ 21032 w 28614"/>
                <a:gd name="connsiteY0" fmla="*/ 10735 h 28614"/>
                <a:gd name="connsiteX1" fmla="*/ 21032 w 28614"/>
                <a:gd name="connsiteY1" fmla="*/ 10735 h 28614"/>
                <a:gd name="connsiteX2" fmla="*/ 10731 w 28614"/>
                <a:gd name="connsiteY2" fmla="*/ 21036 h 28614"/>
                <a:gd name="connsiteX3" fmla="*/ 21032 w 28614"/>
                <a:gd name="connsiteY3" fmla="*/ 31338 h 28614"/>
                <a:gd name="connsiteX4" fmla="*/ 21032 w 28614"/>
                <a:gd name="connsiteY4" fmla="*/ 31338 h 28614"/>
                <a:gd name="connsiteX5" fmla="*/ 31476 w 28614"/>
                <a:gd name="connsiteY5" fmla="*/ 20893 h 28614"/>
                <a:gd name="connsiteX6" fmla="*/ 21322 w 28614"/>
                <a:gd name="connsiteY6" fmla="*/ 10731 h 28614"/>
                <a:gd name="connsiteX7" fmla="*/ 21032 w 28614"/>
                <a:gd name="connsiteY7"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032" y="10735"/>
                  </a:moveTo>
                  <a:lnTo>
                    <a:pt x="21032" y="10735"/>
                  </a:lnTo>
                  <a:cubicBezTo>
                    <a:pt x="15343" y="10735"/>
                    <a:pt x="10731" y="15348"/>
                    <a:pt x="10731" y="21036"/>
                  </a:cubicBezTo>
                  <a:cubicBezTo>
                    <a:pt x="10731" y="26725"/>
                    <a:pt x="15343" y="31338"/>
                    <a:pt x="21032" y="31338"/>
                  </a:cubicBezTo>
                  <a:lnTo>
                    <a:pt x="21032" y="31338"/>
                  </a:lnTo>
                  <a:cubicBezTo>
                    <a:pt x="26801" y="31338"/>
                    <a:pt x="31476" y="26662"/>
                    <a:pt x="31476" y="20893"/>
                  </a:cubicBezTo>
                  <a:cubicBezTo>
                    <a:pt x="31479" y="15283"/>
                    <a:pt x="26932" y="10733"/>
                    <a:pt x="21322" y="10731"/>
                  </a:cubicBezTo>
                  <a:cubicBezTo>
                    <a:pt x="21225" y="10731"/>
                    <a:pt x="21129" y="10732"/>
                    <a:pt x="21032" y="107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25" name="Freeform: Shape 1224">
              <a:extLst>
                <a:ext uri="{FF2B5EF4-FFF2-40B4-BE49-F238E27FC236}">
                  <a16:creationId xmlns:a16="http://schemas.microsoft.com/office/drawing/2014/main" id="{60C85171-F14B-4C8E-9486-2F36DEF2BA98}"/>
                </a:ext>
              </a:extLst>
            </p:cNvPr>
            <p:cNvSpPr/>
            <p:nvPr/>
          </p:nvSpPr>
          <p:spPr>
            <a:xfrm rot="5400000">
              <a:off x="-2811377" y="1859719"/>
              <a:ext cx="134239" cy="134239"/>
            </a:xfrm>
            <a:custGeom>
              <a:avLst/>
              <a:gdLst>
                <a:gd name="connsiteX0" fmla="*/ 22319 w 42922"/>
                <a:gd name="connsiteY0" fmla="*/ 10732 h 42922"/>
                <a:gd name="connsiteX1" fmla="*/ 22319 w 42922"/>
                <a:gd name="connsiteY1" fmla="*/ 10732 h 42922"/>
                <a:gd name="connsiteX2" fmla="*/ 10732 w 42922"/>
                <a:gd name="connsiteY2" fmla="*/ 22034 h 42922"/>
                <a:gd name="connsiteX3" fmla="*/ 22034 w 42922"/>
                <a:gd name="connsiteY3" fmla="*/ 33622 h 42922"/>
                <a:gd name="connsiteX4" fmla="*/ 33622 w 42922"/>
                <a:gd name="connsiteY4" fmla="*/ 22321 h 42922"/>
                <a:gd name="connsiteX5" fmla="*/ 22321 w 42922"/>
                <a:gd name="connsiteY5" fmla="*/ 10732 h 42922"/>
                <a:gd name="connsiteX6" fmla="*/ 22319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19" y="10732"/>
                  </a:moveTo>
                  <a:lnTo>
                    <a:pt x="22319" y="10732"/>
                  </a:lnTo>
                  <a:cubicBezTo>
                    <a:pt x="15998" y="10653"/>
                    <a:pt x="10810" y="15713"/>
                    <a:pt x="10732" y="22034"/>
                  </a:cubicBezTo>
                  <a:cubicBezTo>
                    <a:pt x="10653" y="28356"/>
                    <a:pt x="15713" y="33543"/>
                    <a:pt x="22034" y="33622"/>
                  </a:cubicBezTo>
                  <a:cubicBezTo>
                    <a:pt x="28355" y="33701"/>
                    <a:pt x="33542" y="28640"/>
                    <a:pt x="33622" y="22321"/>
                  </a:cubicBezTo>
                  <a:cubicBezTo>
                    <a:pt x="33702" y="16000"/>
                    <a:pt x="28642" y="10812"/>
                    <a:pt x="22321" y="10732"/>
                  </a:cubicBezTo>
                  <a:cubicBezTo>
                    <a:pt x="22321" y="10732"/>
                    <a:pt x="22319" y="10732"/>
                    <a:pt x="22319"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26" name="Freeform: Shape 1225">
              <a:extLst>
                <a:ext uri="{FF2B5EF4-FFF2-40B4-BE49-F238E27FC236}">
                  <a16:creationId xmlns:a16="http://schemas.microsoft.com/office/drawing/2014/main" id="{E0BE336B-E481-4F48-A66D-E81D5872902F}"/>
                </a:ext>
              </a:extLst>
            </p:cNvPr>
            <p:cNvSpPr/>
            <p:nvPr/>
          </p:nvSpPr>
          <p:spPr>
            <a:xfrm rot="5400000">
              <a:off x="-2808693" y="2106269"/>
              <a:ext cx="134239" cy="134239"/>
            </a:xfrm>
            <a:custGeom>
              <a:avLst/>
              <a:gdLst>
                <a:gd name="connsiteX0" fmla="*/ 24753 w 42922"/>
                <a:gd name="connsiteY0" fmla="*/ 10731 h 42922"/>
                <a:gd name="connsiteX1" fmla="*/ 22893 w 42922"/>
                <a:gd name="connsiteY1" fmla="*/ 10731 h 42922"/>
                <a:gd name="connsiteX2" fmla="*/ 10732 w 42922"/>
                <a:gd name="connsiteY2" fmla="*/ 22892 h 42922"/>
                <a:gd name="connsiteX3" fmla="*/ 10732 w 42922"/>
                <a:gd name="connsiteY3" fmla="*/ 24752 h 42922"/>
                <a:gd name="connsiteX4" fmla="*/ 22464 w 42922"/>
                <a:gd name="connsiteY4" fmla="*/ 36913 h 42922"/>
                <a:gd name="connsiteX5" fmla="*/ 22464 w 42922"/>
                <a:gd name="connsiteY5" fmla="*/ 36913 h 42922"/>
                <a:gd name="connsiteX6" fmla="*/ 34841 w 42922"/>
                <a:gd name="connsiteY6" fmla="*/ 23009 h 42922"/>
                <a:gd name="connsiteX7" fmla="*/ 24324 w 42922"/>
                <a:gd name="connsiteY7" fmla="*/ 1087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4753" y="10731"/>
                  </a:moveTo>
                  <a:lnTo>
                    <a:pt x="22893" y="10731"/>
                  </a:lnTo>
                  <a:cubicBezTo>
                    <a:pt x="16177" y="10731"/>
                    <a:pt x="10732" y="16176"/>
                    <a:pt x="10732" y="22892"/>
                  </a:cubicBezTo>
                  <a:lnTo>
                    <a:pt x="10732" y="24752"/>
                  </a:lnTo>
                  <a:cubicBezTo>
                    <a:pt x="10651" y="31335"/>
                    <a:pt x="15882" y="36757"/>
                    <a:pt x="22464" y="36913"/>
                  </a:cubicBezTo>
                  <a:lnTo>
                    <a:pt x="22464" y="36913"/>
                  </a:lnTo>
                  <a:cubicBezTo>
                    <a:pt x="29720" y="36491"/>
                    <a:pt x="35263" y="30268"/>
                    <a:pt x="34841" y="23009"/>
                  </a:cubicBezTo>
                  <a:cubicBezTo>
                    <a:pt x="34495" y="17046"/>
                    <a:pt x="30177" y="12064"/>
                    <a:pt x="24324" y="10874"/>
                  </a:cubicBezTo>
                  <a:close/>
                </a:path>
              </a:pathLst>
            </a:custGeom>
            <a:solidFill>
              <a:srgbClr val="00BCEB">
                <a:alpha val="81000"/>
              </a:srgbClr>
            </a:solidFill>
            <a:ln w="9525" cap="flat">
              <a:noFill/>
              <a:prstDash val="solid"/>
              <a:miter/>
            </a:ln>
          </p:spPr>
          <p:txBody>
            <a:bodyPr rtlCol="0" anchor="ctr"/>
            <a:lstStyle/>
            <a:p>
              <a:endParaRPr lang="en-US" dirty="0"/>
            </a:p>
          </p:txBody>
        </p:sp>
      </p:grpSp>
      <p:sp>
        <p:nvSpPr>
          <p:cNvPr id="1227" name="Google Shape;2115;p430">
            <a:extLst>
              <a:ext uri="{FF2B5EF4-FFF2-40B4-BE49-F238E27FC236}">
                <a16:creationId xmlns:a16="http://schemas.microsoft.com/office/drawing/2014/main" id="{A4713464-524F-4E6C-92DF-F136183AF3AF}"/>
              </a:ext>
            </a:extLst>
          </p:cNvPr>
          <p:cNvSpPr txBox="1"/>
          <p:nvPr/>
        </p:nvSpPr>
        <p:spPr>
          <a:xfrm>
            <a:off x="855126" y="5664229"/>
            <a:ext cx="2201958" cy="430887"/>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AMP</a:t>
            </a:r>
            <a:br>
              <a:rPr lang="en-US" sz="1400" dirty="0">
                <a:solidFill>
                  <a:schemeClr val="bg1"/>
                </a:solidFill>
              </a:rPr>
            </a:br>
            <a:r>
              <a:rPr lang="en-US" sz="1400" dirty="0">
                <a:solidFill>
                  <a:schemeClr val="bg1"/>
                </a:solidFill>
              </a:rPr>
              <a:t>for Endpoints</a:t>
            </a:r>
          </a:p>
        </p:txBody>
      </p:sp>
      <p:sp>
        <p:nvSpPr>
          <p:cNvPr id="1228" name="Rectangle 1227">
            <a:extLst>
              <a:ext uri="{FF2B5EF4-FFF2-40B4-BE49-F238E27FC236}">
                <a16:creationId xmlns:a16="http://schemas.microsoft.com/office/drawing/2014/main" id="{FAF9434D-DCE9-4258-B1E2-2794436A99A0}"/>
              </a:ext>
            </a:extLst>
          </p:cNvPr>
          <p:cNvSpPr/>
          <p:nvPr/>
        </p:nvSpPr>
        <p:spPr>
          <a:xfrm>
            <a:off x="3124881" y="1491247"/>
            <a:ext cx="1067254" cy="215444"/>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Duo</a:t>
            </a:r>
          </a:p>
        </p:txBody>
      </p:sp>
      <p:sp>
        <p:nvSpPr>
          <p:cNvPr id="3" name="Footer Placeholder 2">
            <a:extLst>
              <a:ext uri="{FF2B5EF4-FFF2-40B4-BE49-F238E27FC236}">
                <a16:creationId xmlns:a16="http://schemas.microsoft.com/office/drawing/2014/main" id="{5F6985F3-0A5D-4537-8D35-6BF252E08386}"/>
              </a:ext>
            </a:extLst>
          </p:cNvPr>
          <p:cNvSpPr>
            <a:spLocks noGrp="1"/>
          </p:cNvSpPr>
          <p:nvPr>
            <p:ph type="ftr" sz="quarter" idx="10"/>
          </p:nvPr>
        </p:nvSpPr>
        <p:spPr/>
        <p:txBody>
          <a:bodyPr/>
          <a:lstStyle/>
          <a:p>
            <a:r>
              <a:rPr lang="en-US" dirty="0"/>
              <a:t>© 2020 Cisco and/or its affiliates. All rights reserved. Cisco Confidential</a:t>
            </a:r>
          </a:p>
        </p:txBody>
      </p:sp>
      <p:sp>
        <p:nvSpPr>
          <p:cNvPr id="4" name="Title 3">
            <a:extLst>
              <a:ext uri="{FF2B5EF4-FFF2-40B4-BE49-F238E27FC236}">
                <a16:creationId xmlns:a16="http://schemas.microsoft.com/office/drawing/2014/main" id="{EAA3ED8F-C188-4E21-A6C8-AB21ACB2D406}"/>
              </a:ext>
            </a:extLst>
          </p:cNvPr>
          <p:cNvSpPr>
            <a:spLocks noGrp="1"/>
          </p:cNvSpPr>
          <p:nvPr>
            <p:ph type="title"/>
          </p:nvPr>
        </p:nvSpPr>
        <p:spPr>
          <a:xfrm>
            <a:off x="533400" y="481807"/>
            <a:ext cx="11127317" cy="403828"/>
          </a:xfrm>
        </p:spPr>
        <p:txBody>
          <a:bodyPr/>
          <a:lstStyle/>
          <a:p>
            <a:r>
              <a:rPr lang="en-US" sz="3200" dirty="0"/>
              <a:t>Cisco’s integrated approach protects users everywhere</a:t>
            </a:r>
          </a:p>
        </p:txBody>
      </p:sp>
      <p:grpSp>
        <p:nvGrpSpPr>
          <p:cNvPr id="402" name="Group 401">
            <a:extLst>
              <a:ext uri="{FF2B5EF4-FFF2-40B4-BE49-F238E27FC236}">
                <a16:creationId xmlns:a16="http://schemas.microsoft.com/office/drawing/2014/main" id="{D5D374A0-CBF1-4591-8D2A-E275504AB8B4}"/>
              </a:ext>
            </a:extLst>
          </p:cNvPr>
          <p:cNvGrpSpPr/>
          <p:nvPr/>
        </p:nvGrpSpPr>
        <p:grpSpPr>
          <a:xfrm>
            <a:off x="961414" y="1958680"/>
            <a:ext cx="3256000" cy="3691701"/>
            <a:chOff x="961414" y="1958680"/>
            <a:chExt cx="3256000" cy="3691701"/>
          </a:xfrm>
        </p:grpSpPr>
        <p:grpSp>
          <p:nvGrpSpPr>
            <p:cNvPr id="403" name="Group 402">
              <a:extLst>
                <a:ext uri="{FF2B5EF4-FFF2-40B4-BE49-F238E27FC236}">
                  <a16:creationId xmlns:a16="http://schemas.microsoft.com/office/drawing/2014/main" id="{1B2D1CFB-90ED-4BE1-8149-3C0A4A754EDD}"/>
                </a:ext>
              </a:extLst>
            </p:cNvPr>
            <p:cNvGrpSpPr/>
            <p:nvPr/>
          </p:nvGrpSpPr>
          <p:grpSpPr>
            <a:xfrm>
              <a:off x="2953269" y="1958680"/>
              <a:ext cx="1264145" cy="1282553"/>
              <a:chOff x="2953269" y="1958680"/>
              <a:chExt cx="1264145" cy="1282553"/>
            </a:xfrm>
          </p:grpSpPr>
          <p:sp>
            <p:nvSpPr>
              <p:cNvPr id="415" name="Freeform: Shape 414">
                <a:extLst>
                  <a:ext uri="{FF2B5EF4-FFF2-40B4-BE49-F238E27FC236}">
                    <a16:creationId xmlns:a16="http://schemas.microsoft.com/office/drawing/2014/main" id="{C84C5966-436E-4CED-9BD0-8A25E8DB80F4}"/>
                  </a:ext>
                </a:extLst>
              </p:cNvPr>
              <p:cNvSpPr>
                <a:spLocks/>
              </p:cNvSpPr>
              <p:nvPr/>
            </p:nvSpPr>
            <p:spPr bwMode="auto">
              <a:xfrm>
                <a:off x="2953269" y="1958680"/>
                <a:ext cx="1264145" cy="1282553"/>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416" name="Group 415">
                <a:extLst>
                  <a:ext uri="{FF2B5EF4-FFF2-40B4-BE49-F238E27FC236}">
                    <a16:creationId xmlns:a16="http://schemas.microsoft.com/office/drawing/2014/main" id="{2E4893A4-C361-4BD6-AD60-CA42F426EAEE}"/>
                  </a:ext>
                </a:extLst>
              </p:cNvPr>
              <p:cNvGrpSpPr/>
              <p:nvPr/>
            </p:nvGrpSpPr>
            <p:grpSpPr>
              <a:xfrm>
                <a:off x="3071095" y="2085710"/>
                <a:ext cx="1028492" cy="1028492"/>
                <a:chOff x="3071095" y="2085710"/>
                <a:chExt cx="1028492" cy="1028492"/>
              </a:xfrm>
            </p:grpSpPr>
            <p:sp>
              <p:nvSpPr>
                <p:cNvPr id="417" name="Oval 416">
                  <a:extLst>
                    <a:ext uri="{FF2B5EF4-FFF2-40B4-BE49-F238E27FC236}">
                      <a16:creationId xmlns:a16="http://schemas.microsoft.com/office/drawing/2014/main" id="{A2ADE3AD-A69E-4BF2-9AF5-46801F42F058}"/>
                    </a:ext>
                  </a:extLst>
                </p:cNvPr>
                <p:cNvSpPr/>
                <p:nvPr/>
              </p:nvSpPr>
              <p:spPr>
                <a:xfrm>
                  <a:off x="3071095" y="2085710"/>
                  <a:ext cx="1028492" cy="1028492"/>
                </a:xfrm>
                <a:prstGeom prst="ellipse">
                  <a:avLst/>
                </a:prstGeom>
                <a:solidFill>
                  <a:schemeClr val="accent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18" name="Graphic 33">
                  <a:extLst>
                    <a:ext uri="{FF2B5EF4-FFF2-40B4-BE49-F238E27FC236}">
                      <a16:creationId xmlns:a16="http://schemas.microsoft.com/office/drawing/2014/main" id="{8D123FC1-DB7F-4174-A828-43B7CF9D7D52}"/>
                    </a:ext>
                  </a:extLst>
                </p:cNvPr>
                <p:cNvGrpSpPr/>
                <p:nvPr/>
              </p:nvGrpSpPr>
              <p:grpSpPr>
                <a:xfrm>
                  <a:off x="3271205" y="2262466"/>
                  <a:ext cx="628272" cy="674980"/>
                  <a:chOff x="2647943" y="-1912619"/>
                  <a:chExt cx="1024892" cy="1101088"/>
                </a:xfrm>
                <a:solidFill>
                  <a:schemeClr val="bg2"/>
                </a:solidFill>
              </p:grpSpPr>
              <p:sp>
                <p:nvSpPr>
                  <p:cNvPr id="419" name="Freeform: Shape 418">
                    <a:extLst>
                      <a:ext uri="{FF2B5EF4-FFF2-40B4-BE49-F238E27FC236}">
                        <a16:creationId xmlns:a16="http://schemas.microsoft.com/office/drawing/2014/main" id="{1C609E14-CC06-4530-84C8-317F7AADD1F6}"/>
                      </a:ext>
                    </a:extLst>
                  </p:cNvPr>
                  <p:cNvSpPr/>
                  <p:nvPr/>
                </p:nvSpPr>
                <p:spPr>
                  <a:xfrm>
                    <a:off x="3036563" y="-1523999"/>
                    <a:ext cx="270681" cy="712468"/>
                  </a:xfrm>
                  <a:custGeom>
                    <a:avLst/>
                    <a:gdLst>
                      <a:gd name="connsiteX0" fmla="*/ 198120 w 270681"/>
                      <a:gd name="connsiteY0" fmla="*/ 712469 h 712468"/>
                      <a:gd name="connsiteX1" fmla="*/ 163830 w 270681"/>
                      <a:gd name="connsiteY1" fmla="*/ 697229 h 712468"/>
                      <a:gd name="connsiteX2" fmla="*/ 213360 w 270681"/>
                      <a:gd name="connsiteY2" fmla="*/ 91440 h 712468"/>
                      <a:gd name="connsiteX3" fmla="*/ 129540 w 270681"/>
                      <a:gd name="connsiteY3" fmla="*/ 34290 h 712468"/>
                      <a:gd name="connsiteX4" fmla="*/ 38100 w 270681"/>
                      <a:gd name="connsiteY4" fmla="*/ 125730 h 712468"/>
                      <a:gd name="connsiteX5" fmla="*/ 41910 w 270681"/>
                      <a:gd name="connsiteY5" fmla="*/ 148590 h 712468"/>
                      <a:gd name="connsiteX6" fmla="*/ 38100 w 270681"/>
                      <a:gd name="connsiteY6" fmla="*/ 601979 h 712468"/>
                      <a:gd name="connsiteX7" fmla="*/ 0 w 270681"/>
                      <a:gd name="connsiteY7" fmla="*/ 590549 h 712468"/>
                      <a:gd name="connsiteX8" fmla="*/ 3810 w 270681"/>
                      <a:gd name="connsiteY8" fmla="*/ 160020 h 712468"/>
                      <a:gd name="connsiteX9" fmla="*/ 0 w 270681"/>
                      <a:gd name="connsiteY9" fmla="*/ 129540 h 712468"/>
                      <a:gd name="connsiteX10" fmla="*/ 129540 w 270681"/>
                      <a:gd name="connsiteY10" fmla="*/ 0 h 712468"/>
                      <a:gd name="connsiteX11" fmla="*/ 251460 w 270681"/>
                      <a:gd name="connsiteY11" fmla="*/ 83820 h 712468"/>
                      <a:gd name="connsiteX12" fmla="*/ 198120 w 270681"/>
                      <a:gd name="connsiteY12" fmla="*/ 712469 h 712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0681" h="712468">
                        <a:moveTo>
                          <a:pt x="198120" y="712469"/>
                        </a:moveTo>
                        <a:lnTo>
                          <a:pt x="163830" y="697229"/>
                        </a:lnTo>
                        <a:cubicBezTo>
                          <a:pt x="281941" y="396239"/>
                          <a:pt x="213360" y="95250"/>
                          <a:pt x="213360" y="91440"/>
                        </a:cubicBezTo>
                        <a:cubicBezTo>
                          <a:pt x="201930" y="57150"/>
                          <a:pt x="167640" y="34290"/>
                          <a:pt x="129540" y="34290"/>
                        </a:cubicBezTo>
                        <a:cubicBezTo>
                          <a:pt x="80010" y="34290"/>
                          <a:pt x="38100" y="76200"/>
                          <a:pt x="38100" y="125730"/>
                        </a:cubicBezTo>
                        <a:cubicBezTo>
                          <a:pt x="38100" y="133350"/>
                          <a:pt x="38100" y="140970"/>
                          <a:pt x="41910" y="148590"/>
                        </a:cubicBezTo>
                        <a:cubicBezTo>
                          <a:pt x="45720" y="156210"/>
                          <a:pt x="110490" y="388619"/>
                          <a:pt x="38100" y="601979"/>
                        </a:cubicBezTo>
                        <a:lnTo>
                          <a:pt x="0" y="590549"/>
                        </a:lnTo>
                        <a:cubicBezTo>
                          <a:pt x="68580" y="388619"/>
                          <a:pt x="3810" y="160020"/>
                          <a:pt x="3810" y="160020"/>
                        </a:cubicBezTo>
                        <a:cubicBezTo>
                          <a:pt x="0" y="148590"/>
                          <a:pt x="0" y="137160"/>
                          <a:pt x="0" y="129540"/>
                        </a:cubicBezTo>
                        <a:cubicBezTo>
                          <a:pt x="0" y="57150"/>
                          <a:pt x="57150" y="0"/>
                          <a:pt x="129540" y="0"/>
                        </a:cubicBezTo>
                        <a:cubicBezTo>
                          <a:pt x="182880" y="0"/>
                          <a:pt x="232410" y="34290"/>
                          <a:pt x="251460" y="83820"/>
                        </a:cubicBezTo>
                        <a:cubicBezTo>
                          <a:pt x="251460" y="99060"/>
                          <a:pt x="320041" y="400049"/>
                          <a:pt x="198120" y="712469"/>
                        </a:cubicBezTo>
                        <a:close/>
                      </a:path>
                    </a:pathLst>
                  </a:custGeom>
                  <a:grpFill/>
                  <a:ln w="38100" cap="flat">
                    <a:noFill/>
                    <a:prstDash val="solid"/>
                    <a:miter/>
                  </a:ln>
                </p:spPr>
                <p:txBody>
                  <a:bodyPr rtlCol="0" anchor="ctr"/>
                  <a:lstStyle/>
                  <a:p>
                    <a:endParaRPr lang="en-IN" dirty="0"/>
                  </a:p>
                </p:txBody>
              </p:sp>
              <p:sp>
                <p:nvSpPr>
                  <p:cNvPr id="420" name="Freeform: Shape 419">
                    <a:extLst>
                      <a:ext uri="{FF2B5EF4-FFF2-40B4-BE49-F238E27FC236}">
                        <a16:creationId xmlns:a16="http://schemas.microsoft.com/office/drawing/2014/main" id="{98353DAF-F1BC-4A32-AE4D-074527081527}"/>
                      </a:ext>
                    </a:extLst>
                  </p:cNvPr>
                  <p:cNvSpPr/>
                  <p:nvPr/>
                </p:nvSpPr>
                <p:spPr>
                  <a:xfrm>
                    <a:off x="2884163" y="-1661159"/>
                    <a:ext cx="575966" cy="788668"/>
                  </a:xfrm>
                  <a:custGeom>
                    <a:avLst/>
                    <a:gdLst>
                      <a:gd name="connsiteX0" fmla="*/ 30480 w 575966"/>
                      <a:gd name="connsiteY0" fmla="*/ 788669 h 788668"/>
                      <a:gd name="connsiteX1" fmla="*/ 0 w 575966"/>
                      <a:gd name="connsiteY1" fmla="*/ 769619 h 788668"/>
                      <a:gd name="connsiteX2" fmla="*/ 22860 w 575966"/>
                      <a:gd name="connsiteY2" fmla="*/ 293370 h 788668"/>
                      <a:gd name="connsiteX3" fmla="*/ 19050 w 575966"/>
                      <a:gd name="connsiteY3" fmla="*/ 228600 h 788668"/>
                      <a:gd name="connsiteX4" fmla="*/ 278131 w 575966"/>
                      <a:gd name="connsiteY4" fmla="*/ 0 h 788668"/>
                      <a:gd name="connsiteX5" fmla="*/ 514351 w 575966"/>
                      <a:gd name="connsiteY5" fmla="*/ 144780 h 788668"/>
                      <a:gd name="connsiteX6" fmla="*/ 552451 w 575966"/>
                      <a:gd name="connsiteY6" fmla="*/ 693419 h 788668"/>
                      <a:gd name="connsiteX7" fmla="*/ 514351 w 575966"/>
                      <a:gd name="connsiteY7" fmla="*/ 685799 h 788668"/>
                      <a:gd name="connsiteX8" fmla="*/ 480061 w 575966"/>
                      <a:gd name="connsiteY8" fmla="*/ 163830 h 788668"/>
                      <a:gd name="connsiteX9" fmla="*/ 278131 w 575966"/>
                      <a:gd name="connsiteY9" fmla="*/ 38100 h 788668"/>
                      <a:gd name="connsiteX10" fmla="*/ 57150 w 575966"/>
                      <a:gd name="connsiteY10" fmla="*/ 232410 h 788668"/>
                      <a:gd name="connsiteX11" fmla="*/ 60960 w 575966"/>
                      <a:gd name="connsiteY11" fmla="*/ 281940 h 788668"/>
                      <a:gd name="connsiteX12" fmla="*/ 30480 w 575966"/>
                      <a:gd name="connsiteY12" fmla="*/ 788669 h 788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966" h="788668">
                        <a:moveTo>
                          <a:pt x="30480" y="788669"/>
                        </a:moveTo>
                        <a:lnTo>
                          <a:pt x="0" y="769619"/>
                        </a:lnTo>
                        <a:cubicBezTo>
                          <a:pt x="91440" y="628649"/>
                          <a:pt x="30480" y="327660"/>
                          <a:pt x="22860" y="293370"/>
                        </a:cubicBezTo>
                        <a:cubicBezTo>
                          <a:pt x="19050" y="270510"/>
                          <a:pt x="15240" y="247650"/>
                          <a:pt x="19050" y="228600"/>
                        </a:cubicBezTo>
                        <a:cubicBezTo>
                          <a:pt x="38100" y="99060"/>
                          <a:pt x="148590" y="0"/>
                          <a:pt x="278131" y="0"/>
                        </a:cubicBezTo>
                        <a:cubicBezTo>
                          <a:pt x="377191" y="0"/>
                          <a:pt x="468631" y="57150"/>
                          <a:pt x="514351" y="144780"/>
                        </a:cubicBezTo>
                        <a:cubicBezTo>
                          <a:pt x="518161" y="152400"/>
                          <a:pt x="621031" y="358139"/>
                          <a:pt x="552451" y="693419"/>
                        </a:cubicBezTo>
                        <a:lnTo>
                          <a:pt x="514351" y="685799"/>
                        </a:lnTo>
                        <a:cubicBezTo>
                          <a:pt x="579121" y="365759"/>
                          <a:pt x="480061" y="163830"/>
                          <a:pt x="480061" y="163830"/>
                        </a:cubicBezTo>
                        <a:cubicBezTo>
                          <a:pt x="441961" y="87630"/>
                          <a:pt x="365761" y="38100"/>
                          <a:pt x="278131" y="38100"/>
                        </a:cubicBezTo>
                        <a:cubicBezTo>
                          <a:pt x="167640" y="38100"/>
                          <a:pt x="68580" y="121920"/>
                          <a:pt x="57150" y="232410"/>
                        </a:cubicBezTo>
                        <a:cubicBezTo>
                          <a:pt x="53340" y="247650"/>
                          <a:pt x="57150" y="262890"/>
                          <a:pt x="60960" y="281940"/>
                        </a:cubicBezTo>
                        <a:cubicBezTo>
                          <a:pt x="72390" y="342899"/>
                          <a:pt x="125730" y="640079"/>
                          <a:pt x="30480" y="788669"/>
                        </a:cubicBezTo>
                        <a:close/>
                      </a:path>
                    </a:pathLst>
                  </a:custGeom>
                  <a:grpFill/>
                  <a:ln w="38100" cap="flat">
                    <a:noFill/>
                    <a:prstDash val="solid"/>
                    <a:miter/>
                  </a:ln>
                </p:spPr>
                <p:txBody>
                  <a:bodyPr rtlCol="0" anchor="ctr"/>
                  <a:lstStyle/>
                  <a:p>
                    <a:endParaRPr lang="en-IN" dirty="0"/>
                  </a:p>
                </p:txBody>
              </p:sp>
              <p:sp>
                <p:nvSpPr>
                  <p:cNvPr id="421" name="Freeform: Shape 420">
                    <a:extLst>
                      <a:ext uri="{FF2B5EF4-FFF2-40B4-BE49-F238E27FC236}">
                        <a16:creationId xmlns:a16="http://schemas.microsoft.com/office/drawing/2014/main" id="{23D0EF4B-DF35-43F2-8311-1860055C82A9}"/>
                      </a:ext>
                    </a:extLst>
                  </p:cNvPr>
                  <p:cNvSpPr/>
                  <p:nvPr/>
                </p:nvSpPr>
                <p:spPr>
                  <a:xfrm>
                    <a:off x="2682233" y="-1798319"/>
                    <a:ext cx="904665" cy="895348"/>
                  </a:xfrm>
                  <a:custGeom>
                    <a:avLst/>
                    <a:gdLst>
                      <a:gd name="connsiteX0" fmla="*/ 857252 w 904665"/>
                      <a:gd name="connsiteY0" fmla="*/ 895349 h 895348"/>
                      <a:gd name="connsiteX1" fmla="*/ 819152 w 904665"/>
                      <a:gd name="connsiteY1" fmla="*/ 883919 h 895348"/>
                      <a:gd name="connsiteX2" fmla="*/ 815342 w 904665"/>
                      <a:gd name="connsiteY2" fmla="*/ 270510 h 895348"/>
                      <a:gd name="connsiteX3" fmla="*/ 480061 w 904665"/>
                      <a:gd name="connsiteY3" fmla="*/ 41910 h 895348"/>
                      <a:gd name="connsiteX4" fmla="*/ 133350 w 904665"/>
                      <a:gd name="connsiteY4" fmla="*/ 300990 h 895348"/>
                      <a:gd name="connsiteX5" fmla="*/ 125730 w 904665"/>
                      <a:gd name="connsiteY5" fmla="*/ 438149 h 895348"/>
                      <a:gd name="connsiteX6" fmla="*/ 19050 w 904665"/>
                      <a:gd name="connsiteY6" fmla="*/ 796289 h 895348"/>
                      <a:gd name="connsiteX7" fmla="*/ 0 w 904665"/>
                      <a:gd name="connsiteY7" fmla="*/ 761999 h 895348"/>
                      <a:gd name="connsiteX8" fmla="*/ 87630 w 904665"/>
                      <a:gd name="connsiteY8" fmla="*/ 438149 h 895348"/>
                      <a:gd name="connsiteX9" fmla="*/ 99060 w 904665"/>
                      <a:gd name="connsiteY9" fmla="*/ 285750 h 895348"/>
                      <a:gd name="connsiteX10" fmla="*/ 483871 w 904665"/>
                      <a:gd name="connsiteY10" fmla="*/ 0 h 895348"/>
                      <a:gd name="connsiteX11" fmla="*/ 857252 w 904665"/>
                      <a:gd name="connsiteY11" fmla="*/ 255270 h 895348"/>
                      <a:gd name="connsiteX12" fmla="*/ 857252 w 904665"/>
                      <a:gd name="connsiteY12" fmla="*/ 895349 h 89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4665" h="895348">
                        <a:moveTo>
                          <a:pt x="857252" y="895349"/>
                        </a:moveTo>
                        <a:lnTo>
                          <a:pt x="819152" y="883919"/>
                        </a:lnTo>
                        <a:cubicBezTo>
                          <a:pt x="922022" y="552449"/>
                          <a:pt x="815342" y="274320"/>
                          <a:pt x="815342" y="270510"/>
                        </a:cubicBezTo>
                        <a:cubicBezTo>
                          <a:pt x="762002" y="129540"/>
                          <a:pt x="628651" y="41910"/>
                          <a:pt x="480061" y="41910"/>
                        </a:cubicBezTo>
                        <a:cubicBezTo>
                          <a:pt x="320041" y="41910"/>
                          <a:pt x="179070" y="148590"/>
                          <a:pt x="133350" y="300990"/>
                        </a:cubicBezTo>
                        <a:cubicBezTo>
                          <a:pt x="121920" y="342899"/>
                          <a:pt x="118110" y="388619"/>
                          <a:pt x="125730" y="438149"/>
                        </a:cubicBezTo>
                        <a:cubicBezTo>
                          <a:pt x="137160" y="521969"/>
                          <a:pt x="144780" y="723899"/>
                          <a:pt x="19050" y="796289"/>
                        </a:cubicBezTo>
                        <a:lnTo>
                          <a:pt x="0" y="761999"/>
                        </a:lnTo>
                        <a:cubicBezTo>
                          <a:pt x="106680" y="701039"/>
                          <a:pt x="95250" y="514349"/>
                          <a:pt x="87630" y="438149"/>
                        </a:cubicBezTo>
                        <a:cubicBezTo>
                          <a:pt x="80010" y="380999"/>
                          <a:pt x="83820" y="331469"/>
                          <a:pt x="99060" y="285750"/>
                        </a:cubicBezTo>
                        <a:cubicBezTo>
                          <a:pt x="148590" y="118110"/>
                          <a:pt x="304801" y="0"/>
                          <a:pt x="483871" y="0"/>
                        </a:cubicBezTo>
                        <a:cubicBezTo>
                          <a:pt x="651511" y="0"/>
                          <a:pt x="796292" y="99060"/>
                          <a:pt x="857252" y="255270"/>
                        </a:cubicBezTo>
                        <a:cubicBezTo>
                          <a:pt x="857252" y="270510"/>
                          <a:pt x="963932" y="552449"/>
                          <a:pt x="857252" y="895349"/>
                        </a:cubicBezTo>
                        <a:close/>
                      </a:path>
                    </a:pathLst>
                  </a:custGeom>
                  <a:grpFill/>
                  <a:ln w="38100" cap="flat">
                    <a:noFill/>
                    <a:prstDash val="solid"/>
                    <a:miter/>
                  </a:ln>
                </p:spPr>
                <p:txBody>
                  <a:bodyPr rtlCol="0" anchor="ctr"/>
                  <a:lstStyle/>
                  <a:p>
                    <a:endParaRPr lang="en-IN" dirty="0"/>
                  </a:p>
                </p:txBody>
              </p:sp>
              <p:sp>
                <p:nvSpPr>
                  <p:cNvPr id="422" name="Freeform: Shape 421">
                    <a:extLst>
                      <a:ext uri="{FF2B5EF4-FFF2-40B4-BE49-F238E27FC236}">
                        <a16:creationId xmlns:a16="http://schemas.microsoft.com/office/drawing/2014/main" id="{7AC7C3AC-61E4-486D-802C-65ABA18CFD3E}"/>
                      </a:ext>
                    </a:extLst>
                  </p:cNvPr>
                  <p:cNvSpPr/>
                  <p:nvPr/>
                </p:nvSpPr>
                <p:spPr>
                  <a:xfrm>
                    <a:off x="2647943" y="-1912619"/>
                    <a:ext cx="1024892" cy="670558"/>
                  </a:xfrm>
                  <a:custGeom>
                    <a:avLst/>
                    <a:gdLst>
                      <a:gd name="connsiteX0" fmla="*/ 22860 w 1024892"/>
                      <a:gd name="connsiteY0" fmla="*/ 670559 h 670558"/>
                      <a:gd name="connsiteX1" fmla="*/ 0 w 1024892"/>
                      <a:gd name="connsiteY1" fmla="*/ 518159 h 670558"/>
                      <a:gd name="connsiteX2" fmla="*/ 514351 w 1024892"/>
                      <a:gd name="connsiteY2" fmla="*/ 0 h 670558"/>
                      <a:gd name="connsiteX3" fmla="*/ 1024892 w 1024892"/>
                      <a:gd name="connsiteY3" fmla="*/ 438149 h 670558"/>
                      <a:gd name="connsiteX4" fmla="*/ 986792 w 1024892"/>
                      <a:gd name="connsiteY4" fmla="*/ 441959 h 670558"/>
                      <a:gd name="connsiteX5" fmla="*/ 514351 w 1024892"/>
                      <a:gd name="connsiteY5" fmla="*/ 38100 h 670558"/>
                      <a:gd name="connsiteX6" fmla="*/ 38100 w 1024892"/>
                      <a:gd name="connsiteY6" fmla="*/ 514349 h 670558"/>
                      <a:gd name="connsiteX7" fmla="*/ 60960 w 1024892"/>
                      <a:gd name="connsiteY7" fmla="*/ 655319 h 670558"/>
                      <a:gd name="connsiteX8" fmla="*/ 22860 w 1024892"/>
                      <a:gd name="connsiteY8" fmla="*/ 670559 h 67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4892" h="670558">
                        <a:moveTo>
                          <a:pt x="22860" y="670559"/>
                        </a:moveTo>
                        <a:cubicBezTo>
                          <a:pt x="7620" y="621029"/>
                          <a:pt x="0" y="571499"/>
                          <a:pt x="0" y="518159"/>
                        </a:cubicBezTo>
                        <a:cubicBezTo>
                          <a:pt x="0" y="232410"/>
                          <a:pt x="232410" y="0"/>
                          <a:pt x="514351" y="0"/>
                        </a:cubicBezTo>
                        <a:cubicBezTo>
                          <a:pt x="769622" y="0"/>
                          <a:pt x="986792" y="190500"/>
                          <a:pt x="1024892" y="438149"/>
                        </a:cubicBezTo>
                        <a:lnTo>
                          <a:pt x="986792" y="441959"/>
                        </a:lnTo>
                        <a:cubicBezTo>
                          <a:pt x="952502" y="213360"/>
                          <a:pt x="750572" y="38100"/>
                          <a:pt x="514351" y="38100"/>
                        </a:cubicBezTo>
                        <a:cubicBezTo>
                          <a:pt x="251461" y="38100"/>
                          <a:pt x="38100" y="251460"/>
                          <a:pt x="38100" y="514349"/>
                        </a:cubicBezTo>
                        <a:cubicBezTo>
                          <a:pt x="38100" y="563879"/>
                          <a:pt x="45720" y="609599"/>
                          <a:pt x="60960" y="655319"/>
                        </a:cubicBezTo>
                        <a:lnTo>
                          <a:pt x="22860" y="670559"/>
                        </a:lnTo>
                        <a:close/>
                      </a:path>
                    </a:pathLst>
                  </a:custGeom>
                  <a:grpFill/>
                  <a:ln w="38100" cap="flat">
                    <a:noFill/>
                    <a:prstDash val="solid"/>
                    <a:miter/>
                  </a:ln>
                </p:spPr>
                <p:txBody>
                  <a:bodyPr rtlCol="0" anchor="ctr"/>
                  <a:lstStyle/>
                  <a:p>
                    <a:endParaRPr lang="en-IN" dirty="0"/>
                  </a:p>
                </p:txBody>
              </p:sp>
              <p:sp>
                <p:nvSpPr>
                  <p:cNvPr id="423" name="Freeform: Shape 422">
                    <a:extLst>
                      <a:ext uri="{FF2B5EF4-FFF2-40B4-BE49-F238E27FC236}">
                        <a16:creationId xmlns:a16="http://schemas.microsoft.com/office/drawing/2014/main" id="{92138FD4-E809-4D89-AAA0-42C99E23DC96}"/>
                      </a:ext>
                    </a:extLst>
                  </p:cNvPr>
                  <p:cNvSpPr/>
                  <p:nvPr/>
                </p:nvSpPr>
                <p:spPr>
                  <a:xfrm>
                    <a:off x="3143244" y="-1421129"/>
                    <a:ext cx="63935" cy="339089"/>
                  </a:xfrm>
                  <a:custGeom>
                    <a:avLst/>
                    <a:gdLst>
                      <a:gd name="connsiteX0" fmla="*/ 49530 w 63935"/>
                      <a:gd name="connsiteY0" fmla="*/ 339089 h 339089"/>
                      <a:gd name="connsiteX1" fmla="*/ 11430 w 63935"/>
                      <a:gd name="connsiteY1" fmla="*/ 331469 h 339089"/>
                      <a:gd name="connsiteX2" fmla="*/ 0 w 63935"/>
                      <a:gd name="connsiteY2" fmla="*/ 11430 h 339089"/>
                      <a:gd name="connsiteX3" fmla="*/ 38100 w 63935"/>
                      <a:gd name="connsiteY3" fmla="*/ 0 h 339089"/>
                      <a:gd name="connsiteX4" fmla="*/ 49530 w 63935"/>
                      <a:gd name="connsiteY4" fmla="*/ 339089 h 3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35" h="339089">
                        <a:moveTo>
                          <a:pt x="49530" y="339089"/>
                        </a:moveTo>
                        <a:lnTo>
                          <a:pt x="11430" y="331469"/>
                        </a:lnTo>
                        <a:cubicBezTo>
                          <a:pt x="49530" y="179070"/>
                          <a:pt x="0" y="11430"/>
                          <a:pt x="0" y="11430"/>
                        </a:cubicBezTo>
                        <a:lnTo>
                          <a:pt x="38100" y="0"/>
                        </a:lnTo>
                        <a:cubicBezTo>
                          <a:pt x="38100" y="3810"/>
                          <a:pt x="87630" y="171450"/>
                          <a:pt x="49530" y="339089"/>
                        </a:cubicBezTo>
                        <a:close/>
                      </a:path>
                    </a:pathLst>
                  </a:custGeom>
                  <a:grpFill/>
                  <a:ln w="38100" cap="flat">
                    <a:noFill/>
                    <a:prstDash val="solid"/>
                    <a:miter/>
                  </a:ln>
                </p:spPr>
                <p:txBody>
                  <a:bodyPr rtlCol="0" anchor="ctr"/>
                  <a:lstStyle/>
                  <a:p>
                    <a:endParaRPr lang="en-IN" dirty="0"/>
                  </a:p>
                </p:txBody>
              </p:sp>
            </p:grpSp>
          </p:grpSp>
        </p:grpSp>
        <p:grpSp>
          <p:nvGrpSpPr>
            <p:cNvPr id="404" name="Group 403">
              <a:extLst>
                <a:ext uri="{FF2B5EF4-FFF2-40B4-BE49-F238E27FC236}">
                  <a16:creationId xmlns:a16="http://schemas.microsoft.com/office/drawing/2014/main" id="{06B3A8B9-3E68-4DE7-AEAB-4F5BF26A5F03}"/>
                </a:ext>
              </a:extLst>
            </p:cNvPr>
            <p:cNvGrpSpPr/>
            <p:nvPr/>
          </p:nvGrpSpPr>
          <p:grpSpPr>
            <a:xfrm>
              <a:off x="961414" y="3686048"/>
              <a:ext cx="2258515" cy="1964333"/>
              <a:chOff x="961414" y="3686048"/>
              <a:chExt cx="2258515" cy="1964333"/>
            </a:xfrm>
          </p:grpSpPr>
          <p:pic>
            <p:nvPicPr>
              <p:cNvPr id="405" name="Graphic 404">
                <a:extLst>
                  <a:ext uri="{FF2B5EF4-FFF2-40B4-BE49-F238E27FC236}">
                    <a16:creationId xmlns:a16="http://schemas.microsoft.com/office/drawing/2014/main" id="{C4D41EDA-9014-4D2C-A57C-11EBB727EC7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p:blipFill>
            <p:spPr>
              <a:xfrm>
                <a:off x="961414" y="3686048"/>
                <a:ext cx="1932281" cy="1964333"/>
              </a:xfrm>
              <a:custGeom>
                <a:avLst/>
                <a:gdLst>
                  <a:gd name="connsiteX0" fmla="*/ 0 w 2740583"/>
                  <a:gd name="connsiteY0" fmla="*/ 0 h 2786043"/>
                  <a:gd name="connsiteX1" fmla="*/ 2740583 w 2740583"/>
                  <a:gd name="connsiteY1" fmla="*/ 0 h 2786043"/>
                  <a:gd name="connsiteX2" fmla="*/ 2740583 w 2740583"/>
                  <a:gd name="connsiteY2" fmla="*/ 534603 h 2786043"/>
                  <a:gd name="connsiteX3" fmla="*/ 2448484 w 2740583"/>
                  <a:gd name="connsiteY3" fmla="*/ 309543 h 2786043"/>
                  <a:gd name="connsiteX4" fmla="*/ 111684 w 2740583"/>
                  <a:gd name="connsiteY4" fmla="*/ 1897043 h 2786043"/>
                  <a:gd name="connsiteX5" fmla="*/ 209020 w 2740583"/>
                  <a:gd name="connsiteY5" fmla="*/ 2786043 h 2786043"/>
                  <a:gd name="connsiteX6" fmla="*/ 0 w 2740583"/>
                  <a:gd name="connsiteY6" fmla="*/ 2786043 h 2786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0583" h="2786043">
                    <a:moveTo>
                      <a:pt x="0" y="0"/>
                    </a:moveTo>
                    <a:lnTo>
                      <a:pt x="2740583" y="0"/>
                    </a:lnTo>
                    <a:lnTo>
                      <a:pt x="2740583" y="534603"/>
                    </a:lnTo>
                    <a:lnTo>
                      <a:pt x="2448484" y="309543"/>
                    </a:lnTo>
                    <a:lnTo>
                      <a:pt x="111684" y="1897043"/>
                    </a:lnTo>
                    <a:lnTo>
                      <a:pt x="209020" y="2786043"/>
                    </a:lnTo>
                    <a:lnTo>
                      <a:pt x="0" y="2786043"/>
                    </a:lnTo>
                    <a:close/>
                  </a:path>
                </a:pathLst>
              </a:custGeom>
            </p:spPr>
          </p:pic>
          <p:sp>
            <p:nvSpPr>
              <p:cNvPr id="406" name="Arc 405">
                <a:extLst>
                  <a:ext uri="{FF2B5EF4-FFF2-40B4-BE49-F238E27FC236}">
                    <a16:creationId xmlns:a16="http://schemas.microsoft.com/office/drawing/2014/main" id="{8C397238-2DA3-4B00-AF1F-3D823FE1F9BF}"/>
                  </a:ext>
                </a:extLst>
              </p:cNvPr>
              <p:cNvSpPr/>
              <p:nvPr/>
            </p:nvSpPr>
            <p:spPr>
              <a:xfrm>
                <a:off x="1121138" y="3882947"/>
                <a:ext cx="1724932" cy="1724932"/>
              </a:xfrm>
              <a:prstGeom prst="arc">
                <a:avLst>
                  <a:gd name="adj1" fmla="val 1095341"/>
                  <a:gd name="adj2" fmla="val 0"/>
                </a:avLst>
              </a:prstGeom>
              <a:solidFill>
                <a:schemeClr val="bg2"/>
              </a:solidFill>
              <a:ln w="9525" cap="rnd">
                <a:solidFill>
                  <a:schemeClr val="accent3"/>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7" name="Freeform: Shape 406">
                <a:extLst>
                  <a:ext uri="{FF2B5EF4-FFF2-40B4-BE49-F238E27FC236}">
                    <a16:creationId xmlns:a16="http://schemas.microsoft.com/office/drawing/2014/main" id="{74093E4B-8888-4310-ADAE-1A21A986B781}"/>
                  </a:ext>
                </a:extLst>
              </p:cNvPr>
              <p:cNvSpPr/>
              <p:nvPr/>
            </p:nvSpPr>
            <p:spPr>
              <a:xfrm>
                <a:off x="2601585" y="4167032"/>
                <a:ext cx="618344" cy="1156762"/>
              </a:xfrm>
              <a:custGeom>
                <a:avLst/>
                <a:gdLst>
                  <a:gd name="connsiteX0" fmla="*/ 0 w 656476"/>
                  <a:gd name="connsiteY0" fmla="*/ 44270 h 1228097"/>
                  <a:gd name="connsiteX1" fmla="*/ 0 w 656476"/>
                  <a:gd name="connsiteY1" fmla="*/ 1183829 h 1228097"/>
                  <a:gd name="connsiteX2" fmla="*/ 75455 w 656476"/>
                  <a:gd name="connsiteY2" fmla="*/ 1215075 h 1228097"/>
                  <a:gd name="connsiteX3" fmla="*/ 643521 w 656476"/>
                  <a:gd name="connsiteY3" fmla="*/ 647009 h 1228097"/>
                  <a:gd name="connsiteX4" fmla="*/ 643627 w 656476"/>
                  <a:gd name="connsiteY4" fmla="*/ 584622 h 1228097"/>
                  <a:gd name="connsiteX5" fmla="*/ 75560 w 656476"/>
                  <a:gd name="connsiteY5" fmla="*/ 13130 h 1228097"/>
                  <a:gd name="connsiteX6" fmla="*/ 0 w 656476"/>
                  <a:gd name="connsiteY6" fmla="*/ 44270 h 122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476" h="1228097">
                    <a:moveTo>
                      <a:pt x="0" y="44270"/>
                    </a:moveTo>
                    <a:lnTo>
                      <a:pt x="0" y="1183829"/>
                    </a:lnTo>
                    <a:cubicBezTo>
                      <a:pt x="0" y="1223190"/>
                      <a:pt x="47581" y="1242896"/>
                      <a:pt x="75455" y="1215075"/>
                    </a:cubicBezTo>
                    <a:lnTo>
                      <a:pt x="643521" y="647009"/>
                    </a:lnTo>
                    <a:cubicBezTo>
                      <a:pt x="660751" y="629778"/>
                      <a:pt x="660804" y="601852"/>
                      <a:pt x="643627" y="584622"/>
                    </a:cubicBezTo>
                    <a:lnTo>
                      <a:pt x="75560" y="13130"/>
                    </a:lnTo>
                    <a:cubicBezTo>
                      <a:pt x="47739" y="-14849"/>
                      <a:pt x="0" y="4857"/>
                      <a:pt x="0" y="44270"/>
                    </a:cubicBezTo>
                    <a:close/>
                  </a:path>
                </a:pathLst>
              </a:custGeom>
              <a:solidFill>
                <a:srgbClr val="21BDEA"/>
              </a:solidFill>
              <a:ln w="5266" cap="flat">
                <a:noFill/>
                <a:prstDash val="solid"/>
                <a:miter/>
              </a:ln>
            </p:spPr>
            <p:txBody>
              <a:bodyPr rtlCol="0" anchor="ctr"/>
              <a:lstStyle/>
              <a:p>
                <a:endParaRPr lang="en-IN" dirty="0"/>
              </a:p>
            </p:txBody>
          </p:sp>
          <p:grpSp>
            <p:nvGrpSpPr>
              <p:cNvPr id="408" name="Group 407">
                <a:extLst>
                  <a:ext uri="{FF2B5EF4-FFF2-40B4-BE49-F238E27FC236}">
                    <a16:creationId xmlns:a16="http://schemas.microsoft.com/office/drawing/2014/main" id="{E4576013-9B56-4895-B02B-199414ECAEA4}"/>
                  </a:ext>
                </a:extLst>
              </p:cNvPr>
              <p:cNvGrpSpPr/>
              <p:nvPr/>
            </p:nvGrpSpPr>
            <p:grpSpPr>
              <a:xfrm>
                <a:off x="1386831" y="4076956"/>
                <a:ext cx="1264145" cy="1282553"/>
                <a:chOff x="1386831" y="4076956"/>
                <a:chExt cx="1264145" cy="1282553"/>
              </a:xfrm>
            </p:grpSpPr>
            <p:sp>
              <p:nvSpPr>
                <p:cNvPr id="409" name="Freeform: Shape 408">
                  <a:extLst>
                    <a:ext uri="{FF2B5EF4-FFF2-40B4-BE49-F238E27FC236}">
                      <a16:creationId xmlns:a16="http://schemas.microsoft.com/office/drawing/2014/main" id="{1EF6E2DB-043C-4879-B56A-9D28621FE618}"/>
                    </a:ext>
                  </a:extLst>
                </p:cNvPr>
                <p:cNvSpPr>
                  <a:spLocks/>
                </p:cNvSpPr>
                <p:nvPr/>
              </p:nvSpPr>
              <p:spPr bwMode="auto">
                <a:xfrm>
                  <a:off x="1386831" y="4076956"/>
                  <a:ext cx="1264145" cy="1282553"/>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410" name="Group 409">
                  <a:extLst>
                    <a:ext uri="{FF2B5EF4-FFF2-40B4-BE49-F238E27FC236}">
                      <a16:creationId xmlns:a16="http://schemas.microsoft.com/office/drawing/2014/main" id="{D1134082-B245-490A-9493-B0B5DA38237B}"/>
                    </a:ext>
                  </a:extLst>
                </p:cNvPr>
                <p:cNvGrpSpPr/>
                <p:nvPr/>
              </p:nvGrpSpPr>
              <p:grpSpPr>
                <a:xfrm>
                  <a:off x="1502268" y="4201597"/>
                  <a:ext cx="1033271" cy="1033271"/>
                  <a:chOff x="1502268" y="4201597"/>
                  <a:chExt cx="1033271" cy="1033271"/>
                </a:xfrm>
              </p:grpSpPr>
              <p:sp>
                <p:nvSpPr>
                  <p:cNvPr id="411" name="Oval 410">
                    <a:extLst>
                      <a:ext uri="{FF2B5EF4-FFF2-40B4-BE49-F238E27FC236}">
                        <a16:creationId xmlns:a16="http://schemas.microsoft.com/office/drawing/2014/main" id="{0BF6E61E-5E3D-4B7C-A66A-AD2246D705E1}"/>
                      </a:ext>
                    </a:extLst>
                  </p:cNvPr>
                  <p:cNvSpPr/>
                  <p:nvPr/>
                </p:nvSpPr>
                <p:spPr>
                  <a:xfrm>
                    <a:off x="1502268" y="4201597"/>
                    <a:ext cx="1033271" cy="1033271"/>
                  </a:xfrm>
                  <a:prstGeom prst="ellipse">
                    <a:avLst/>
                  </a:prstGeom>
                  <a:solidFill>
                    <a:schemeClr val="tx2">
                      <a:lumMod val="7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12" name="Group 411">
                    <a:extLst>
                      <a:ext uri="{FF2B5EF4-FFF2-40B4-BE49-F238E27FC236}">
                        <a16:creationId xmlns:a16="http://schemas.microsoft.com/office/drawing/2014/main" id="{8B3BC1AB-63CC-4BBA-AF57-18C5208D4707}"/>
                      </a:ext>
                    </a:extLst>
                  </p:cNvPr>
                  <p:cNvGrpSpPr/>
                  <p:nvPr/>
                </p:nvGrpSpPr>
                <p:grpSpPr>
                  <a:xfrm>
                    <a:off x="1736567" y="4391688"/>
                    <a:ext cx="564674" cy="653090"/>
                    <a:chOff x="8473444" y="-2023109"/>
                    <a:chExt cx="1070612" cy="1238248"/>
                  </a:xfrm>
                  <a:solidFill>
                    <a:schemeClr val="bg2"/>
                  </a:solidFill>
                </p:grpSpPr>
                <p:sp>
                  <p:nvSpPr>
                    <p:cNvPr id="413" name="Freeform: Shape 412">
                      <a:extLst>
                        <a:ext uri="{FF2B5EF4-FFF2-40B4-BE49-F238E27FC236}">
                          <a16:creationId xmlns:a16="http://schemas.microsoft.com/office/drawing/2014/main" id="{9DE2FACF-50C3-49A4-92D5-5399136F172C}"/>
                        </a:ext>
                      </a:extLst>
                    </p:cNvPr>
                    <p:cNvSpPr/>
                    <p:nvPr/>
                  </p:nvSpPr>
                  <p:spPr>
                    <a:xfrm>
                      <a:off x="8473444" y="-2023109"/>
                      <a:ext cx="1070612" cy="1238248"/>
                    </a:xfrm>
                    <a:custGeom>
                      <a:avLst/>
                      <a:gdLst>
                        <a:gd name="connsiteX0" fmla="*/ 533401 w 1070612"/>
                        <a:gd name="connsiteY0" fmla="*/ 1238248 h 1238248"/>
                        <a:gd name="connsiteX1" fmla="*/ 0 w 1070612"/>
                        <a:gd name="connsiteY1" fmla="*/ 929639 h 1238248"/>
                        <a:gd name="connsiteX2" fmla="*/ 0 w 1070612"/>
                        <a:gd name="connsiteY2" fmla="*/ 308610 h 1238248"/>
                        <a:gd name="connsiteX3" fmla="*/ 533401 w 1070612"/>
                        <a:gd name="connsiteY3" fmla="*/ 0 h 1238248"/>
                        <a:gd name="connsiteX4" fmla="*/ 1070612 w 1070612"/>
                        <a:gd name="connsiteY4" fmla="*/ 308610 h 1238248"/>
                        <a:gd name="connsiteX5" fmla="*/ 1070612 w 1070612"/>
                        <a:gd name="connsiteY5" fmla="*/ 925829 h 1238248"/>
                        <a:gd name="connsiteX6" fmla="*/ 533401 w 1070612"/>
                        <a:gd name="connsiteY6" fmla="*/ 1238248 h 1238248"/>
                        <a:gd name="connsiteX7" fmla="*/ 34290 w 1070612"/>
                        <a:gd name="connsiteY7" fmla="*/ 906779 h 1238248"/>
                        <a:gd name="connsiteX8" fmla="*/ 529591 w 1070612"/>
                        <a:gd name="connsiteY8" fmla="*/ 1192528 h 1238248"/>
                        <a:gd name="connsiteX9" fmla="*/ 1028702 w 1070612"/>
                        <a:gd name="connsiteY9" fmla="*/ 906779 h 1238248"/>
                        <a:gd name="connsiteX10" fmla="*/ 1028702 w 1070612"/>
                        <a:gd name="connsiteY10" fmla="*/ 331470 h 1238248"/>
                        <a:gd name="connsiteX11" fmla="*/ 529591 w 1070612"/>
                        <a:gd name="connsiteY11" fmla="*/ 45720 h 1238248"/>
                        <a:gd name="connsiteX12" fmla="*/ 34290 w 1070612"/>
                        <a:gd name="connsiteY12" fmla="*/ 331470 h 1238248"/>
                        <a:gd name="connsiteX13" fmla="*/ 34290 w 1070612"/>
                        <a:gd name="connsiteY13" fmla="*/ 906779 h 1238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0612" h="1238248">
                          <a:moveTo>
                            <a:pt x="533401" y="1238248"/>
                          </a:moveTo>
                          <a:lnTo>
                            <a:pt x="0" y="929639"/>
                          </a:lnTo>
                          <a:lnTo>
                            <a:pt x="0" y="308610"/>
                          </a:lnTo>
                          <a:lnTo>
                            <a:pt x="533401" y="0"/>
                          </a:lnTo>
                          <a:lnTo>
                            <a:pt x="1070612" y="308610"/>
                          </a:lnTo>
                          <a:lnTo>
                            <a:pt x="1070612" y="925829"/>
                          </a:lnTo>
                          <a:lnTo>
                            <a:pt x="533401" y="1238248"/>
                          </a:lnTo>
                          <a:close/>
                          <a:moveTo>
                            <a:pt x="34290" y="906779"/>
                          </a:moveTo>
                          <a:lnTo>
                            <a:pt x="529591" y="1192528"/>
                          </a:lnTo>
                          <a:lnTo>
                            <a:pt x="1028702" y="906779"/>
                          </a:lnTo>
                          <a:lnTo>
                            <a:pt x="1028702" y="331470"/>
                          </a:lnTo>
                          <a:lnTo>
                            <a:pt x="529591" y="45720"/>
                          </a:lnTo>
                          <a:lnTo>
                            <a:pt x="34290" y="331470"/>
                          </a:lnTo>
                          <a:lnTo>
                            <a:pt x="34290" y="906779"/>
                          </a:lnTo>
                          <a:close/>
                        </a:path>
                      </a:pathLst>
                    </a:custGeom>
                    <a:grpFill/>
                    <a:ln w="38100" cap="flat">
                      <a:noFill/>
                      <a:prstDash val="solid"/>
                      <a:miter/>
                    </a:ln>
                  </p:spPr>
                  <p:txBody>
                    <a:bodyPr rtlCol="0" anchor="ctr"/>
                    <a:lstStyle/>
                    <a:p>
                      <a:endParaRPr lang="en-IN" dirty="0"/>
                    </a:p>
                  </p:txBody>
                </p:sp>
                <p:sp>
                  <p:nvSpPr>
                    <p:cNvPr id="414" name="Freeform: Shape 413">
                      <a:extLst>
                        <a:ext uri="{FF2B5EF4-FFF2-40B4-BE49-F238E27FC236}">
                          <a16:creationId xmlns:a16="http://schemas.microsoft.com/office/drawing/2014/main" id="{67643199-626A-41E5-941E-F774E2C1FEC9}"/>
                        </a:ext>
                      </a:extLst>
                    </p:cNvPr>
                    <p:cNvSpPr/>
                    <p:nvPr/>
                  </p:nvSpPr>
                  <p:spPr>
                    <a:xfrm>
                      <a:off x="8763005" y="-1645919"/>
                      <a:ext cx="487681" cy="487679"/>
                    </a:xfrm>
                    <a:custGeom>
                      <a:avLst/>
                      <a:gdLst>
                        <a:gd name="connsiteX0" fmla="*/ 243840 w 487681"/>
                        <a:gd name="connsiteY0" fmla="*/ 487679 h 487679"/>
                        <a:gd name="connsiteX1" fmla="*/ 0 w 487681"/>
                        <a:gd name="connsiteY1" fmla="*/ 243840 h 487679"/>
                        <a:gd name="connsiteX2" fmla="*/ 243840 w 487681"/>
                        <a:gd name="connsiteY2" fmla="*/ 0 h 487679"/>
                        <a:gd name="connsiteX3" fmla="*/ 487681 w 487681"/>
                        <a:gd name="connsiteY3" fmla="*/ 243840 h 487679"/>
                        <a:gd name="connsiteX4" fmla="*/ 243840 w 487681"/>
                        <a:gd name="connsiteY4" fmla="*/ 487679 h 487679"/>
                        <a:gd name="connsiteX5" fmla="*/ 243840 w 487681"/>
                        <a:gd name="connsiteY5" fmla="*/ 38100 h 487679"/>
                        <a:gd name="connsiteX6" fmla="*/ 38100 w 487681"/>
                        <a:gd name="connsiteY6" fmla="*/ 243840 h 487679"/>
                        <a:gd name="connsiteX7" fmla="*/ 243840 w 487681"/>
                        <a:gd name="connsiteY7" fmla="*/ 449579 h 487679"/>
                        <a:gd name="connsiteX8" fmla="*/ 449581 w 487681"/>
                        <a:gd name="connsiteY8" fmla="*/ 243840 h 487679"/>
                        <a:gd name="connsiteX9" fmla="*/ 243840 w 487681"/>
                        <a:gd name="connsiteY9" fmla="*/ 38100 h 48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681" h="487679">
                          <a:moveTo>
                            <a:pt x="243840" y="487679"/>
                          </a:moveTo>
                          <a:cubicBezTo>
                            <a:pt x="110490" y="487679"/>
                            <a:pt x="0" y="377189"/>
                            <a:pt x="0" y="243840"/>
                          </a:cubicBezTo>
                          <a:cubicBezTo>
                            <a:pt x="0" y="110490"/>
                            <a:pt x="110490" y="0"/>
                            <a:pt x="243840" y="0"/>
                          </a:cubicBezTo>
                          <a:cubicBezTo>
                            <a:pt x="377191" y="0"/>
                            <a:pt x="487681" y="110490"/>
                            <a:pt x="487681" y="243840"/>
                          </a:cubicBezTo>
                          <a:cubicBezTo>
                            <a:pt x="487681" y="377189"/>
                            <a:pt x="377191" y="487679"/>
                            <a:pt x="243840" y="487679"/>
                          </a:cubicBezTo>
                          <a:close/>
                          <a:moveTo>
                            <a:pt x="243840" y="38100"/>
                          </a:moveTo>
                          <a:cubicBezTo>
                            <a:pt x="129540" y="38100"/>
                            <a:pt x="38100" y="129540"/>
                            <a:pt x="38100" y="243840"/>
                          </a:cubicBezTo>
                          <a:cubicBezTo>
                            <a:pt x="38100" y="358139"/>
                            <a:pt x="129540" y="449579"/>
                            <a:pt x="243840" y="449579"/>
                          </a:cubicBezTo>
                          <a:cubicBezTo>
                            <a:pt x="358141" y="449579"/>
                            <a:pt x="449581" y="358139"/>
                            <a:pt x="449581" y="243840"/>
                          </a:cubicBezTo>
                          <a:cubicBezTo>
                            <a:pt x="449581" y="129540"/>
                            <a:pt x="358141" y="38100"/>
                            <a:pt x="243840" y="38100"/>
                          </a:cubicBezTo>
                          <a:close/>
                        </a:path>
                      </a:pathLst>
                    </a:custGeom>
                    <a:grpFill/>
                    <a:ln w="38100" cap="flat">
                      <a:noFill/>
                      <a:prstDash val="solid"/>
                      <a:miter/>
                    </a:ln>
                  </p:spPr>
                  <p:txBody>
                    <a:bodyPr rtlCol="0" anchor="ctr"/>
                    <a:lstStyle/>
                    <a:p>
                      <a:endParaRPr lang="en-IN" dirty="0"/>
                    </a:p>
                  </p:txBody>
                </p:sp>
              </p:grpSp>
            </p:grpSp>
          </p:grpSp>
        </p:grpSp>
      </p:grpSp>
      <p:sp>
        <p:nvSpPr>
          <p:cNvPr id="426" name="Rectangle: Rounded Corners 1">
            <a:extLst>
              <a:ext uri="{FF2B5EF4-FFF2-40B4-BE49-F238E27FC236}">
                <a16:creationId xmlns:a16="http://schemas.microsoft.com/office/drawing/2014/main" id="{A742568E-793D-4FD8-B728-C22930E16547}"/>
              </a:ext>
            </a:extLst>
          </p:cNvPr>
          <p:cNvSpPr/>
          <p:nvPr/>
        </p:nvSpPr>
        <p:spPr>
          <a:xfrm flipH="1">
            <a:off x="4301986" y="3022403"/>
            <a:ext cx="3810688" cy="2212465"/>
          </a:xfrm>
          <a:custGeom>
            <a:avLst/>
            <a:gdLst>
              <a:gd name="connsiteX0" fmla="*/ 0 w 3941976"/>
              <a:gd name="connsiteY0" fmla="*/ 131288 h 2212465"/>
              <a:gd name="connsiteX1" fmla="*/ 131288 w 3941976"/>
              <a:gd name="connsiteY1" fmla="*/ 0 h 2212465"/>
              <a:gd name="connsiteX2" fmla="*/ 3810688 w 3941976"/>
              <a:gd name="connsiteY2" fmla="*/ 0 h 2212465"/>
              <a:gd name="connsiteX3" fmla="*/ 3941976 w 3941976"/>
              <a:gd name="connsiteY3" fmla="*/ 131288 h 2212465"/>
              <a:gd name="connsiteX4" fmla="*/ 3941976 w 3941976"/>
              <a:gd name="connsiteY4" fmla="*/ 2081177 h 2212465"/>
              <a:gd name="connsiteX5" fmla="*/ 3810688 w 3941976"/>
              <a:gd name="connsiteY5" fmla="*/ 2212465 h 2212465"/>
              <a:gd name="connsiteX6" fmla="*/ 131288 w 3941976"/>
              <a:gd name="connsiteY6" fmla="*/ 2212465 h 2212465"/>
              <a:gd name="connsiteX7" fmla="*/ 0 w 3941976"/>
              <a:gd name="connsiteY7" fmla="*/ 2081177 h 2212465"/>
              <a:gd name="connsiteX8" fmla="*/ 0 w 3941976"/>
              <a:gd name="connsiteY8" fmla="*/ 131288 h 2212465"/>
              <a:gd name="connsiteX0" fmla="*/ 3941976 w 4033416"/>
              <a:gd name="connsiteY0" fmla="*/ 131288 h 2212465"/>
              <a:gd name="connsiteX1" fmla="*/ 3941976 w 4033416"/>
              <a:gd name="connsiteY1" fmla="*/ 2081177 h 2212465"/>
              <a:gd name="connsiteX2" fmla="*/ 3810688 w 4033416"/>
              <a:gd name="connsiteY2" fmla="*/ 2212465 h 2212465"/>
              <a:gd name="connsiteX3" fmla="*/ 131288 w 4033416"/>
              <a:gd name="connsiteY3" fmla="*/ 2212465 h 2212465"/>
              <a:gd name="connsiteX4" fmla="*/ 0 w 4033416"/>
              <a:gd name="connsiteY4" fmla="*/ 2081177 h 2212465"/>
              <a:gd name="connsiteX5" fmla="*/ 0 w 4033416"/>
              <a:gd name="connsiteY5" fmla="*/ 131288 h 2212465"/>
              <a:gd name="connsiteX6" fmla="*/ 131288 w 4033416"/>
              <a:gd name="connsiteY6" fmla="*/ 0 h 2212465"/>
              <a:gd name="connsiteX7" fmla="*/ 3810688 w 4033416"/>
              <a:gd name="connsiteY7" fmla="*/ 0 h 2212465"/>
              <a:gd name="connsiteX8" fmla="*/ 4033416 w 4033416"/>
              <a:gd name="connsiteY8" fmla="*/ 222728 h 2212465"/>
              <a:gd name="connsiteX0" fmla="*/ 3941976 w 4033416"/>
              <a:gd name="connsiteY0" fmla="*/ 2081177 h 2212465"/>
              <a:gd name="connsiteX1" fmla="*/ 3810688 w 4033416"/>
              <a:gd name="connsiteY1" fmla="*/ 2212465 h 2212465"/>
              <a:gd name="connsiteX2" fmla="*/ 131288 w 4033416"/>
              <a:gd name="connsiteY2" fmla="*/ 2212465 h 2212465"/>
              <a:gd name="connsiteX3" fmla="*/ 0 w 4033416"/>
              <a:gd name="connsiteY3" fmla="*/ 2081177 h 2212465"/>
              <a:gd name="connsiteX4" fmla="*/ 0 w 4033416"/>
              <a:gd name="connsiteY4" fmla="*/ 131288 h 2212465"/>
              <a:gd name="connsiteX5" fmla="*/ 131288 w 4033416"/>
              <a:gd name="connsiteY5" fmla="*/ 0 h 2212465"/>
              <a:gd name="connsiteX6" fmla="*/ 3810688 w 4033416"/>
              <a:gd name="connsiteY6" fmla="*/ 0 h 2212465"/>
              <a:gd name="connsiteX7" fmla="*/ 4033416 w 4033416"/>
              <a:gd name="connsiteY7" fmla="*/ 222728 h 2212465"/>
              <a:gd name="connsiteX0" fmla="*/ 3941976 w 3941976"/>
              <a:gd name="connsiteY0" fmla="*/ 2081177 h 2212465"/>
              <a:gd name="connsiteX1" fmla="*/ 3810688 w 3941976"/>
              <a:gd name="connsiteY1" fmla="*/ 2212465 h 2212465"/>
              <a:gd name="connsiteX2" fmla="*/ 131288 w 3941976"/>
              <a:gd name="connsiteY2" fmla="*/ 2212465 h 2212465"/>
              <a:gd name="connsiteX3" fmla="*/ 0 w 3941976"/>
              <a:gd name="connsiteY3" fmla="*/ 2081177 h 2212465"/>
              <a:gd name="connsiteX4" fmla="*/ 0 w 3941976"/>
              <a:gd name="connsiteY4" fmla="*/ 131288 h 2212465"/>
              <a:gd name="connsiteX5" fmla="*/ 131288 w 3941976"/>
              <a:gd name="connsiteY5" fmla="*/ 0 h 2212465"/>
              <a:gd name="connsiteX6" fmla="*/ 3810688 w 3941976"/>
              <a:gd name="connsiteY6" fmla="*/ 0 h 2212465"/>
              <a:gd name="connsiteX0" fmla="*/ 3810688 w 3810688"/>
              <a:gd name="connsiteY0" fmla="*/ 2212465 h 2212465"/>
              <a:gd name="connsiteX1" fmla="*/ 131288 w 3810688"/>
              <a:gd name="connsiteY1" fmla="*/ 2212465 h 2212465"/>
              <a:gd name="connsiteX2" fmla="*/ 0 w 3810688"/>
              <a:gd name="connsiteY2" fmla="*/ 2081177 h 2212465"/>
              <a:gd name="connsiteX3" fmla="*/ 0 w 3810688"/>
              <a:gd name="connsiteY3" fmla="*/ 131288 h 2212465"/>
              <a:gd name="connsiteX4" fmla="*/ 131288 w 3810688"/>
              <a:gd name="connsiteY4" fmla="*/ 0 h 2212465"/>
              <a:gd name="connsiteX5" fmla="*/ 3810688 w 3810688"/>
              <a:gd name="connsiteY5" fmla="*/ 0 h 2212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0688" h="2212465">
                <a:moveTo>
                  <a:pt x="3810688" y="2212465"/>
                </a:moveTo>
                <a:lnTo>
                  <a:pt x="131288" y="2212465"/>
                </a:lnTo>
                <a:cubicBezTo>
                  <a:pt x="58780" y="2212465"/>
                  <a:pt x="0" y="2153685"/>
                  <a:pt x="0" y="2081177"/>
                </a:cubicBezTo>
                <a:lnTo>
                  <a:pt x="0" y="131288"/>
                </a:lnTo>
                <a:cubicBezTo>
                  <a:pt x="0" y="58780"/>
                  <a:pt x="58780" y="0"/>
                  <a:pt x="131288" y="0"/>
                </a:cubicBezTo>
                <a:lnTo>
                  <a:pt x="3810688" y="0"/>
                </a:lnTo>
              </a:path>
            </a:pathLst>
          </a:custGeom>
          <a:solidFill>
            <a:schemeClr val="bg2">
              <a:alpha val="50000"/>
            </a:schemeClr>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marL="231775" indent="-231775">
              <a:spcBef>
                <a:spcPts val="600"/>
              </a:spcBef>
              <a:buFont typeface="Arial" panose="020B0604020202020204" pitchFamily="34" charset="0"/>
              <a:buChar char="•"/>
            </a:pPr>
            <a:r>
              <a:rPr lang="en-US" dirty="0"/>
              <a:t>AMP and Duo work together to flag compromised devices</a:t>
            </a:r>
          </a:p>
          <a:p>
            <a:pPr marL="231775" indent="-231775">
              <a:spcBef>
                <a:spcPts val="600"/>
              </a:spcBef>
              <a:buFont typeface="Arial" panose="020B0604020202020204" pitchFamily="34" charset="0"/>
              <a:buChar char="•"/>
            </a:pPr>
            <a:r>
              <a:rPr lang="en-US" dirty="0"/>
              <a:t>If an issue is detected by AMP, Duo prevents the device from accessing Duo-protected apps</a:t>
            </a:r>
          </a:p>
        </p:txBody>
      </p:sp>
      <p:cxnSp>
        <p:nvCxnSpPr>
          <p:cNvPr id="5" name="Straight Connector 4">
            <a:extLst>
              <a:ext uri="{FF2B5EF4-FFF2-40B4-BE49-F238E27FC236}">
                <a16:creationId xmlns:a16="http://schemas.microsoft.com/office/drawing/2014/main" id="{F70BA51E-66E7-466D-9C49-DEFA2A7FB94F}"/>
              </a:ext>
            </a:extLst>
          </p:cNvPr>
          <p:cNvCxnSpPr>
            <a:stCxn id="426" idx="0"/>
          </p:cNvCxnSpPr>
          <p:nvPr/>
        </p:nvCxnSpPr>
        <p:spPr>
          <a:xfrm flipH="1">
            <a:off x="3040759" y="5234868"/>
            <a:ext cx="1261227" cy="0"/>
          </a:xfrm>
          <a:prstGeom prst="line">
            <a:avLst/>
          </a:prstGeom>
          <a:solidFill>
            <a:schemeClr val="bg2">
              <a:alpha val="50000"/>
            </a:schemeClr>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5062207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72">
            <a:extLst>
              <a:ext uri="{FF2B5EF4-FFF2-40B4-BE49-F238E27FC236}">
                <a16:creationId xmlns:a16="http://schemas.microsoft.com/office/drawing/2014/main" id="{F08CD448-1E32-4F65-84CE-43E5BD497645}"/>
              </a:ext>
            </a:extLst>
          </p:cNvPr>
          <p:cNvGrpSpPr/>
          <p:nvPr/>
        </p:nvGrpSpPr>
        <p:grpSpPr>
          <a:xfrm>
            <a:off x="3139594" y="2049123"/>
            <a:ext cx="1028492" cy="1028492"/>
            <a:chOff x="2060713" y="2025546"/>
            <a:chExt cx="2209800" cy="2209800"/>
          </a:xfrm>
        </p:grpSpPr>
        <p:sp>
          <p:nvSpPr>
            <p:cNvPr id="76" name="Oval 75">
              <a:extLst>
                <a:ext uri="{FF2B5EF4-FFF2-40B4-BE49-F238E27FC236}">
                  <a16:creationId xmlns:a16="http://schemas.microsoft.com/office/drawing/2014/main" id="{978218C3-8857-42A6-A2BE-C5D87A7DDA8B}"/>
                </a:ext>
              </a:extLst>
            </p:cNvPr>
            <p:cNvSpPr/>
            <p:nvPr/>
          </p:nvSpPr>
          <p:spPr>
            <a:xfrm>
              <a:off x="2060713" y="2025546"/>
              <a:ext cx="2209800" cy="2209800"/>
            </a:xfrm>
            <a:prstGeom prst="ellipse">
              <a:avLst/>
            </a:prstGeom>
            <a:solidFill>
              <a:schemeClr val="accent1">
                <a:alpha val="7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9" name="Graphic 33">
              <a:extLst>
                <a:ext uri="{FF2B5EF4-FFF2-40B4-BE49-F238E27FC236}">
                  <a16:creationId xmlns:a16="http://schemas.microsoft.com/office/drawing/2014/main" id="{E5ECC01E-BAF3-4774-96CA-EC8B66C9B413}"/>
                </a:ext>
              </a:extLst>
            </p:cNvPr>
            <p:cNvGrpSpPr/>
            <p:nvPr/>
          </p:nvGrpSpPr>
          <p:grpSpPr>
            <a:xfrm>
              <a:off x="2718075" y="2649636"/>
              <a:ext cx="895076" cy="961620"/>
              <a:chOff x="2647943" y="-1912619"/>
              <a:chExt cx="1024892" cy="1101088"/>
            </a:xfrm>
            <a:solidFill>
              <a:schemeClr val="bg2"/>
            </a:solidFill>
          </p:grpSpPr>
          <p:sp>
            <p:nvSpPr>
              <p:cNvPr id="81" name="Freeform: Shape 80">
                <a:extLst>
                  <a:ext uri="{FF2B5EF4-FFF2-40B4-BE49-F238E27FC236}">
                    <a16:creationId xmlns:a16="http://schemas.microsoft.com/office/drawing/2014/main" id="{7AA38482-3D9D-4EC0-B619-404A3E2554CE}"/>
                  </a:ext>
                </a:extLst>
              </p:cNvPr>
              <p:cNvSpPr/>
              <p:nvPr/>
            </p:nvSpPr>
            <p:spPr>
              <a:xfrm>
                <a:off x="3036563" y="-1523999"/>
                <a:ext cx="270681" cy="712468"/>
              </a:xfrm>
              <a:custGeom>
                <a:avLst/>
                <a:gdLst>
                  <a:gd name="connsiteX0" fmla="*/ 198120 w 270681"/>
                  <a:gd name="connsiteY0" fmla="*/ 712469 h 712468"/>
                  <a:gd name="connsiteX1" fmla="*/ 163830 w 270681"/>
                  <a:gd name="connsiteY1" fmla="*/ 697229 h 712468"/>
                  <a:gd name="connsiteX2" fmla="*/ 213360 w 270681"/>
                  <a:gd name="connsiteY2" fmla="*/ 91440 h 712468"/>
                  <a:gd name="connsiteX3" fmla="*/ 129540 w 270681"/>
                  <a:gd name="connsiteY3" fmla="*/ 34290 h 712468"/>
                  <a:gd name="connsiteX4" fmla="*/ 38100 w 270681"/>
                  <a:gd name="connsiteY4" fmla="*/ 125730 h 712468"/>
                  <a:gd name="connsiteX5" fmla="*/ 41910 w 270681"/>
                  <a:gd name="connsiteY5" fmla="*/ 148590 h 712468"/>
                  <a:gd name="connsiteX6" fmla="*/ 38100 w 270681"/>
                  <a:gd name="connsiteY6" fmla="*/ 601979 h 712468"/>
                  <a:gd name="connsiteX7" fmla="*/ 0 w 270681"/>
                  <a:gd name="connsiteY7" fmla="*/ 590549 h 712468"/>
                  <a:gd name="connsiteX8" fmla="*/ 3810 w 270681"/>
                  <a:gd name="connsiteY8" fmla="*/ 160020 h 712468"/>
                  <a:gd name="connsiteX9" fmla="*/ 0 w 270681"/>
                  <a:gd name="connsiteY9" fmla="*/ 129540 h 712468"/>
                  <a:gd name="connsiteX10" fmla="*/ 129540 w 270681"/>
                  <a:gd name="connsiteY10" fmla="*/ 0 h 712468"/>
                  <a:gd name="connsiteX11" fmla="*/ 251460 w 270681"/>
                  <a:gd name="connsiteY11" fmla="*/ 83820 h 712468"/>
                  <a:gd name="connsiteX12" fmla="*/ 198120 w 270681"/>
                  <a:gd name="connsiteY12" fmla="*/ 712469 h 712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0681" h="712468">
                    <a:moveTo>
                      <a:pt x="198120" y="712469"/>
                    </a:moveTo>
                    <a:lnTo>
                      <a:pt x="163830" y="697229"/>
                    </a:lnTo>
                    <a:cubicBezTo>
                      <a:pt x="281941" y="396239"/>
                      <a:pt x="213360" y="95250"/>
                      <a:pt x="213360" y="91440"/>
                    </a:cubicBezTo>
                    <a:cubicBezTo>
                      <a:pt x="201930" y="57150"/>
                      <a:pt x="167640" y="34290"/>
                      <a:pt x="129540" y="34290"/>
                    </a:cubicBezTo>
                    <a:cubicBezTo>
                      <a:pt x="80010" y="34290"/>
                      <a:pt x="38100" y="76200"/>
                      <a:pt x="38100" y="125730"/>
                    </a:cubicBezTo>
                    <a:cubicBezTo>
                      <a:pt x="38100" y="133350"/>
                      <a:pt x="38100" y="140970"/>
                      <a:pt x="41910" y="148590"/>
                    </a:cubicBezTo>
                    <a:cubicBezTo>
                      <a:pt x="45720" y="156210"/>
                      <a:pt x="110490" y="388619"/>
                      <a:pt x="38100" y="601979"/>
                    </a:cubicBezTo>
                    <a:lnTo>
                      <a:pt x="0" y="590549"/>
                    </a:lnTo>
                    <a:cubicBezTo>
                      <a:pt x="68580" y="388619"/>
                      <a:pt x="3810" y="160020"/>
                      <a:pt x="3810" y="160020"/>
                    </a:cubicBezTo>
                    <a:cubicBezTo>
                      <a:pt x="0" y="148590"/>
                      <a:pt x="0" y="137160"/>
                      <a:pt x="0" y="129540"/>
                    </a:cubicBezTo>
                    <a:cubicBezTo>
                      <a:pt x="0" y="57150"/>
                      <a:pt x="57150" y="0"/>
                      <a:pt x="129540" y="0"/>
                    </a:cubicBezTo>
                    <a:cubicBezTo>
                      <a:pt x="182880" y="0"/>
                      <a:pt x="232410" y="34290"/>
                      <a:pt x="251460" y="83820"/>
                    </a:cubicBezTo>
                    <a:cubicBezTo>
                      <a:pt x="251460" y="99060"/>
                      <a:pt x="320041" y="400049"/>
                      <a:pt x="198120" y="712469"/>
                    </a:cubicBezTo>
                    <a:close/>
                  </a:path>
                </a:pathLst>
              </a:custGeom>
              <a:grpFill/>
              <a:ln w="38100" cap="flat">
                <a:noFill/>
                <a:prstDash val="solid"/>
                <a:miter/>
              </a:ln>
            </p:spPr>
            <p:txBody>
              <a:bodyPr rtlCol="0" anchor="ctr"/>
              <a:lstStyle/>
              <a:p>
                <a:endParaRPr lang="en-IN" dirty="0"/>
              </a:p>
            </p:txBody>
          </p:sp>
          <p:sp>
            <p:nvSpPr>
              <p:cNvPr id="85" name="Freeform: Shape 84">
                <a:extLst>
                  <a:ext uri="{FF2B5EF4-FFF2-40B4-BE49-F238E27FC236}">
                    <a16:creationId xmlns:a16="http://schemas.microsoft.com/office/drawing/2014/main" id="{8AAB82A4-72A8-4FC4-9841-2B79288A7128}"/>
                  </a:ext>
                </a:extLst>
              </p:cNvPr>
              <p:cNvSpPr/>
              <p:nvPr/>
            </p:nvSpPr>
            <p:spPr>
              <a:xfrm>
                <a:off x="2884163" y="-1661159"/>
                <a:ext cx="575966" cy="788668"/>
              </a:xfrm>
              <a:custGeom>
                <a:avLst/>
                <a:gdLst>
                  <a:gd name="connsiteX0" fmla="*/ 30480 w 575966"/>
                  <a:gd name="connsiteY0" fmla="*/ 788669 h 788668"/>
                  <a:gd name="connsiteX1" fmla="*/ 0 w 575966"/>
                  <a:gd name="connsiteY1" fmla="*/ 769619 h 788668"/>
                  <a:gd name="connsiteX2" fmla="*/ 22860 w 575966"/>
                  <a:gd name="connsiteY2" fmla="*/ 293370 h 788668"/>
                  <a:gd name="connsiteX3" fmla="*/ 19050 w 575966"/>
                  <a:gd name="connsiteY3" fmla="*/ 228600 h 788668"/>
                  <a:gd name="connsiteX4" fmla="*/ 278131 w 575966"/>
                  <a:gd name="connsiteY4" fmla="*/ 0 h 788668"/>
                  <a:gd name="connsiteX5" fmla="*/ 514351 w 575966"/>
                  <a:gd name="connsiteY5" fmla="*/ 144780 h 788668"/>
                  <a:gd name="connsiteX6" fmla="*/ 552451 w 575966"/>
                  <a:gd name="connsiteY6" fmla="*/ 693419 h 788668"/>
                  <a:gd name="connsiteX7" fmla="*/ 514351 w 575966"/>
                  <a:gd name="connsiteY7" fmla="*/ 685799 h 788668"/>
                  <a:gd name="connsiteX8" fmla="*/ 480061 w 575966"/>
                  <a:gd name="connsiteY8" fmla="*/ 163830 h 788668"/>
                  <a:gd name="connsiteX9" fmla="*/ 278131 w 575966"/>
                  <a:gd name="connsiteY9" fmla="*/ 38100 h 788668"/>
                  <a:gd name="connsiteX10" fmla="*/ 57150 w 575966"/>
                  <a:gd name="connsiteY10" fmla="*/ 232410 h 788668"/>
                  <a:gd name="connsiteX11" fmla="*/ 60960 w 575966"/>
                  <a:gd name="connsiteY11" fmla="*/ 281940 h 788668"/>
                  <a:gd name="connsiteX12" fmla="*/ 30480 w 575966"/>
                  <a:gd name="connsiteY12" fmla="*/ 788669 h 788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966" h="788668">
                    <a:moveTo>
                      <a:pt x="30480" y="788669"/>
                    </a:moveTo>
                    <a:lnTo>
                      <a:pt x="0" y="769619"/>
                    </a:lnTo>
                    <a:cubicBezTo>
                      <a:pt x="91440" y="628649"/>
                      <a:pt x="30480" y="327660"/>
                      <a:pt x="22860" y="293370"/>
                    </a:cubicBezTo>
                    <a:cubicBezTo>
                      <a:pt x="19050" y="270510"/>
                      <a:pt x="15240" y="247650"/>
                      <a:pt x="19050" y="228600"/>
                    </a:cubicBezTo>
                    <a:cubicBezTo>
                      <a:pt x="38100" y="99060"/>
                      <a:pt x="148590" y="0"/>
                      <a:pt x="278131" y="0"/>
                    </a:cubicBezTo>
                    <a:cubicBezTo>
                      <a:pt x="377191" y="0"/>
                      <a:pt x="468631" y="57150"/>
                      <a:pt x="514351" y="144780"/>
                    </a:cubicBezTo>
                    <a:cubicBezTo>
                      <a:pt x="518161" y="152400"/>
                      <a:pt x="621031" y="358139"/>
                      <a:pt x="552451" y="693419"/>
                    </a:cubicBezTo>
                    <a:lnTo>
                      <a:pt x="514351" y="685799"/>
                    </a:lnTo>
                    <a:cubicBezTo>
                      <a:pt x="579121" y="365759"/>
                      <a:pt x="480061" y="163830"/>
                      <a:pt x="480061" y="163830"/>
                    </a:cubicBezTo>
                    <a:cubicBezTo>
                      <a:pt x="441961" y="87630"/>
                      <a:pt x="365761" y="38100"/>
                      <a:pt x="278131" y="38100"/>
                    </a:cubicBezTo>
                    <a:cubicBezTo>
                      <a:pt x="167640" y="38100"/>
                      <a:pt x="68580" y="121920"/>
                      <a:pt x="57150" y="232410"/>
                    </a:cubicBezTo>
                    <a:cubicBezTo>
                      <a:pt x="53340" y="247650"/>
                      <a:pt x="57150" y="262890"/>
                      <a:pt x="60960" y="281940"/>
                    </a:cubicBezTo>
                    <a:cubicBezTo>
                      <a:pt x="72390" y="342899"/>
                      <a:pt x="125730" y="640079"/>
                      <a:pt x="30480" y="788669"/>
                    </a:cubicBezTo>
                    <a:close/>
                  </a:path>
                </a:pathLst>
              </a:custGeom>
              <a:grpFill/>
              <a:ln w="38100" cap="flat">
                <a:noFill/>
                <a:prstDash val="solid"/>
                <a:miter/>
              </a:ln>
            </p:spPr>
            <p:txBody>
              <a:bodyPr rtlCol="0" anchor="ctr"/>
              <a:lstStyle/>
              <a:p>
                <a:endParaRPr lang="en-IN" dirty="0"/>
              </a:p>
            </p:txBody>
          </p:sp>
          <p:sp>
            <p:nvSpPr>
              <p:cNvPr id="86" name="Freeform: Shape 85">
                <a:extLst>
                  <a:ext uri="{FF2B5EF4-FFF2-40B4-BE49-F238E27FC236}">
                    <a16:creationId xmlns:a16="http://schemas.microsoft.com/office/drawing/2014/main" id="{A1F64F92-029B-4893-BE6B-1D2E0605E112}"/>
                  </a:ext>
                </a:extLst>
              </p:cNvPr>
              <p:cNvSpPr/>
              <p:nvPr/>
            </p:nvSpPr>
            <p:spPr>
              <a:xfrm>
                <a:off x="2682233" y="-1798319"/>
                <a:ext cx="904665" cy="895348"/>
              </a:xfrm>
              <a:custGeom>
                <a:avLst/>
                <a:gdLst>
                  <a:gd name="connsiteX0" fmla="*/ 857252 w 904665"/>
                  <a:gd name="connsiteY0" fmla="*/ 895349 h 895348"/>
                  <a:gd name="connsiteX1" fmla="*/ 819152 w 904665"/>
                  <a:gd name="connsiteY1" fmla="*/ 883919 h 895348"/>
                  <a:gd name="connsiteX2" fmla="*/ 815342 w 904665"/>
                  <a:gd name="connsiteY2" fmla="*/ 270510 h 895348"/>
                  <a:gd name="connsiteX3" fmla="*/ 480061 w 904665"/>
                  <a:gd name="connsiteY3" fmla="*/ 41910 h 895348"/>
                  <a:gd name="connsiteX4" fmla="*/ 133350 w 904665"/>
                  <a:gd name="connsiteY4" fmla="*/ 300990 h 895348"/>
                  <a:gd name="connsiteX5" fmla="*/ 125730 w 904665"/>
                  <a:gd name="connsiteY5" fmla="*/ 438149 h 895348"/>
                  <a:gd name="connsiteX6" fmla="*/ 19050 w 904665"/>
                  <a:gd name="connsiteY6" fmla="*/ 796289 h 895348"/>
                  <a:gd name="connsiteX7" fmla="*/ 0 w 904665"/>
                  <a:gd name="connsiteY7" fmla="*/ 761999 h 895348"/>
                  <a:gd name="connsiteX8" fmla="*/ 87630 w 904665"/>
                  <a:gd name="connsiteY8" fmla="*/ 438149 h 895348"/>
                  <a:gd name="connsiteX9" fmla="*/ 99060 w 904665"/>
                  <a:gd name="connsiteY9" fmla="*/ 285750 h 895348"/>
                  <a:gd name="connsiteX10" fmla="*/ 483871 w 904665"/>
                  <a:gd name="connsiteY10" fmla="*/ 0 h 895348"/>
                  <a:gd name="connsiteX11" fmla="*/ 857252 w 904665"/>
                  <a:gd name="connsiteY11" fmla="*/ 255270 h 895348"/>
                  <a:gd name="connsiteX12" fmla="*/ 857252 w 904665"/>
                  <a:gd name="connsiteY12" fmla="*/ 895349 h 89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4665" h="895348">
                    <a:moveTo>
                      <a:pt x="857252" y="895349"/>
                    </a:moveTo>
                    <a:lnTo>
                      <a:pt x="819152" y="883919"/>
                    </a:lnTo>
                    <a:cubicBezTo>
                      <a:pt x="922022" y="552449"/>
                      <a:pt x="815342" y="274320"/>
                      <a:pt x="815342" y="270510"/>
                    </a:cubicBezTo>
                    <a:cubicBezTo>
                      <a:pt x="762002" y="129540"/>
                      <a:pt x="628651" y="41910"/>
                      <a:pt x="480061" y="41910"/>
                    </a:cubicBezTo>
                    <a:cubicBezTo>
                      <a:pt x="320041" y="41910"/>
                      <a:pt x="179070" y="148590"/>
                      <a:pt x="133350" y="300990"/>
                    </a:cubicBezTo>
                    <a:cubicBezTo>
                      <a:pt x="121920" y="342899"/>
                      <a:pt x="118110" y="388619"/>
                      <a:pt x="125730" y="438149"/>
                    </a:cubicBezTo>
                    <a:cubicBezTo>
                      <a:pt x="137160" y="521969"/>
                      <a:pt x="144780" y="723899"/>
                      <a:pt x="19050" y="796289"/>
                    </a:cubicBezTo>
                    <a:lnTo>
                      <a:pt x="0" y="761999"/>
                    </a:lnTo>
                    <a:cubicBezTo>
                      <a:pt x="106680" y="701039"/>
                      <a:pt x="95250" y="514349"/>
                      <a:pt x="87630" y="438149"/>
                    </a:cubicBezTo>
                    <a:cubicBezTo>
                      <a:pt x="80010" y="380999"/>
                      <a:pt x="83820" y="331469"/>
                      <a:pt x="99060" y="285750"/>
                    </a:cubicBezTo>
                    <a:cubicBezTo>
                      <a:pt x="148590" y="118110"/>
                      <a:pt x="304801" y="0"/>
                      <a:pt x="483871" y="0"/>
                    </a:cubicBezTo>
                    <a:cubicBezTo>
                      <a:pt x="651511" y="0"/>
                      <a:pt x="796292" y="99060"/>
                      <a:pt x="857252" y="255270"/>
                    </a:cubicBezTo>
                    <a:cubicBezTo>
                      <a:pt x="857252" y="270510"/>
                      <a:pt x="963932" y="552449"/>
                      <a:pt x="857252" y="895349"/>
                    </a:cubicBezTo>
                    <a:close/>
                  </a:path>
                </a:pathLst>
              </a:custGeom>
              <a:grpFill/>
              <a:ln w="38100" cap="flat">
                <a:noFill/>
                <a:prstDash val="solid"/>
                <a:miter/>
              </a:ln>
            </p:spPr>
            <p:txBody>
              <a:bodyPr rtlCol="0" anchor="ctr"/>
              <a:lstStyle/>
              <a:p>
                <a:endParaRPr lang="en-IN" dirty="0"/>
              </a:p>
            </p:txBody>
          </p:sp>
          <p:sp>
            <p:nvSpPr>
              <p:cNvPr id="88" name="Freeform: Shape 87">
                <a:extLst>
                  <a:ext uri="{FF2B5EF4-FFF2-40B4-BE49-F238E27FC236}">
                    <a16:creationId xmlns:a16="http://schemas.microsoft.com/office/drawing/2014/main" id="{5A526A15-CB20-4DEB-B0B9-C1808EC7163E}"/>
                  </a:ext>
                </a:extLst>
              </p:cNvPr>
              <p:cNvSpPr/>
              <p:nvPr/>
            </p:nvSpPr>
            <p:spPr>
              <a:xfrm>
                <a:off x="2647943" y="-1912619"/>
                <a:ext cx="1024892" cy="670558"/>
              </a:xfrm>
              <a:custGeom>
                <a:avLst/>
                <a:gdLst>
                  <a:gd name="connsiteX0" fmla="*/ 22860 w 1024892"/>
                  <a:gd name="connsiteY0" fmla="*/ 670559 h 670558"/>
                  <a:gd name="connsiteX1" fmla="*/ 0 w 1024892"/>
                  <a:gd name="connsiteY1" fmla="*/ 518159 h 670558"/>
                  <a:gd name="connsiteX2" fmla="*/ 514351 w 1024892"/>
                  <a:gd name="connsiteY2" fmla="*/ 0 h 670558"/>
                  <a:gd name="connsiteX3" fmla="*/ 1024892 w 1024892"/>
                  <a:gd name="connsiteY3" fmla="*/ 438149 h 670558"/>
                  <a:gd name="connsiteX4" fmla="*/ 986792 w 1024892"/>
                  <a:gd name="connsiteY4" fmla="*/ 441959 h 670558"/>
                  <a:gd name="connsiteX5" fmla="*/ 514351 w 1024892"/>
                  <a:gd name="connsiteY5" fmla="*/ 38100 h 670558"/>
                  <a:gd name="connsiteX6" fmla="*/ 38100 w 1024892"/>
                  <a:gd name="connsiteY6" fmla="*/ 514349 h 670558"/>
                  <a:gd name="connsiteX7" fmla="*/ 60960 w 1024892"/>
                  <a:gd name="connsiteY7" fmla="*/ 655319 h 670558"/>
                  <a:gd name="connsiteX8" fmla="*/ 22860 w 1024892"/>
                  <a:gd name="connsiteY8" fmla="*/ 670559 h 67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4892" h="670558">
                    <a:moveTo>
                      <a:pt x="22860" y="670559"/>
                    </a:moveTo>
                    <a:cubicBezTo>
                      <a:pt x="7620" y="621029"/>
                      <a:pt x="0" y="571499"/>
                      <a:pt x="0" y="518159"/>
                    </a:cubicBezTo>
                    <a:cubicBezTo>
                      <a:pt x="0" y="232410"/>
                      <a:pt x="232410" y="0"/>
                      <a:pt x="514351" y="0"/>
                    </a:cubicBezTo>
                    <a:cubicBezTo>
                      <a:pt x="769622" y="0"/>
                      <a:pt x="986792" y="190500"/>
                      <a:pt x="1024892" y="438149"/>
                    </a:cubicBezTo>
                    <a:lnTo>
                      <a:pt x="986792" y="441959"/>
                    </a:lnTo>
                    <a:cubicBezTo>
                      <a:pt x="952502" y="213360"/>
                      <a:pt x="750572" y="38100"/>
                      <a:pt x="514351" y="38100"/>
                    </a:cubicBezTo>
                    <a:cubicBezTo>
                      <a:pt x="251461" y="38100"/>
                      <a:pt x="38100" y="251460"/>
                      <a:pt x="38100" y="514349"/>
                    </a:cubicBezTo>
                    <a:cubicBezTo>
                      <a:pt x="38100" y="563879"/>
                      <a:pt x="45720" y="609599"/>
                      <a:pt x="60960" y="655319"/>
                    </a:cubicBezTo>
                    <a:lnTo>
                      <a:pt x="22860" y="670559"/>
                    </a:lnTo>
                    <a:close/>
                  </a:path>
                </a:pathLst>
              </a:custGeom>
              <a:grpFill/>
              <a:ln w="38100" cap="flat">
                <a:noFill/>
                <a:prstDash val="solid"/>
                <a:miter/>
              </a:ln>
            </p:spPr>
            <p:txBody>
              <a:bodyPr rtlCol="0" anchor="ctr"/>
              <a:lstStyle/>
              <a:p>
                <a:endParaRPr lang="en-IN" dirty="0"/>
              </a:p>
            </p:txBody>
          </p:sp>
          <p:sp>
            <p:nvSpPr>
              <p:cNvPr id="89" name="Freeform: Shape 88">
                <a:extLst>
                  <a:ext uri="{FF2B5EF4-FFF2-40B4-BE49-F238E27FC236}">
                    <a16:creationId xmlns:a16="http://schemas.microsoft.com/office/drawing/2014/main" id="{E454554A-7639-46E6-A840-BF5CFDA647EE}"/>
                  </a:ext>
                </a:extLst>
              </p:cNvPr>
              <p:cNvSpPr/>
              <p:nvPr/>
            </p:nvSpPr>
            <p:spPr>
              <a:xfrm>
                <a:off x="3143244" y="-1421129"/>
                <a:ext cx="63935" cy="339089"/>
              </a:xfrm>
              <a:custGeom>
                <a:avLst/>
                <a:gdLst>
                  <a:gd name="connsiteX0" fmla="*/ 49530 w 63935"/>
                  <a:gd name="connsiteY0" fmla="*/ 339089 h 339089"/>
                  <a:gd name="connsiteX1" fmla="*/ 11430 w 63935"/>
                  <a:gd name="connsiteY1" fmla="*/ 331469 h 339089"/>
                  <a:gd name="connsiteX2" fmla="*/ 0 w 63935"/>
                  <a:gd name="connsiteY2" fmla="*/ 11430 h 339089"/>
                  <a:gd name="connsiteX3" fmla="*/ 38100 w 63935"/>
                  <a:gd name="connsiteY3" fmla="*/ 0 h 339089"/>
                  <a:gd name="connsiteX4" fmla="*/ 49530 w 63935"/>
                  <a:gd name="connsiteY4" fmla="*/ 339089 h 3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35" h="339089">
                    <a:moveTo>
                      <a:pt x="49530" y="339089"/>
                    </a:moveTo>
                    <a:lnTo>
                      <a:pt x="11430" y="331469"/>
                    </a:lnTo>
                    <a:cubicBezTo>
                      <a:pt x="49530" y="179070"/>
                      <a:pt x="0" y="11430"/>
                      <a:pt x="0" y="11430"/>
                    </a:cubicBezTo>
                    <a:lnTo>
                      <a:pt x="38100" y="0"/>
                    </a:lnTo>
                    <a:cubicBezTo>
                      <a:pt x="38100" y="3810"/>
                      <a:pt x="87630" y="171450"/>
                      <a:pt x="49530" y="339089"/>
                    </a:cubicBezTo>
                    <a:close/>
                  </a:path>
                </a:pathLst>
              </a:custGeom>
              <a:grpFill/>
              <a:ln w="38100" cap="flat">
                <a:noFill/>
                <a:prstDash val="solid"/>
                <a:miter/>
              </a:ln>
            </p:spPr>
            <p:txBody>
              <a:bodyPr rtlCol="0" anchor="ctr"/>
              <a:lstStyle/>
              <a:p>
                <a:endParaRPr lang="en-IN" dirty="0"/>
              </a:p>
            </p:txBody>
          </p:sp>
        </p:grpSp>
      </p:grpSp>
      <p:sp>
        <p:nvSpPr>
          <p:cNvPr id="118" name="Rectangle 117">
            <a:extLst>
              <a:ext uri="{FF2B5EF4-FFF2-40B4-BE49-F238E27FC236}">
                <a16:creationId xmlns:a16="http://schemas.microsoft.com/office/drawing/2014/main" id="{05DED65F-9ED4-406D-B583-8E84468FD33C}"/>
              </a:ext>
            </a:extLst>
          </p:cNvPr>
          <p:cNvSpPr/>
          <p:nvPr/>
        </p:nvSpPr>
        <p:spPr>
          <a:xfrm>
            <a:off x="7849357" y="5476837"/>
            <a:ext cx="1177814" cy="430887"/>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AnyConnect</a:t>
            </a:r>
          </a:p>
        </p:txBody>
      </p:sp>
      <p:grpSp>
        <p:nvGrpSpPr>
          <p:cNvPr id="119" name="Group 118">
            <a:extLst>
              <a:ext uri="{FF2B5EF4-FFF2-40B4-BE49-F238E27FC236}">
                <a16:creationId xmlns:a16="http://schemas.microsoft.com/office/drawing/2014/main" id="{186CE65D-99FB-41E9-8AE1-5D2FEF261FA0}"/>
              </a:ext>
            </a:extLst>
          </p:cNvPr>
          <p:cNvGrpSpPr/>
          <p:nvPr/>
        </p:nvGrpSpPr>
        <p:grpSpPr>
          <a:xfrm>
            <a:off x="4449365" y="2890068"/>
            <a:ext cx="2908253" cy="2888993"/>
            <a:chOff x="4449365" y="3061518"/>
            <a:chExt cx="2908253" cy="2888993"/>
          </a:xfrm>
        </p:grpSpPr>
        <p:pic>
          <p:nvPicPr>
            <p:cNvPr id="125" name="Picture 124">
              <a:extLst>
                <a:ext uri="{FF2B5EF4-FFF2-40B4-BE49-F238E27FC236}">
                  <a16:creationId xmlns:a16="http://schemas.microsoft.com/office/drawing/2014/main" id="{3EFC48D3-8E87-4F8C-88CB-87F63FDBA7CA}"/>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4566659" y="3291462"/>
              <a:ext cx="2790959" cy="2659049"/>
            </a:xfrm>
            <a:custGeom>
              <a:avLst/>
              <a:gdLst>
                <a:gd name="connsiteX0" fmla="*/ 566410 w 2790959"/>
                <a:gd name="connsiteY0" fmla="*/ 0 h 2659049"/>
                <a:gd name="connsiteX1" fmla="*/ 2126516 w 2790959"/>
                <a:gd name="connsiteY1" fmla="*/ 0 h 2659049"/>
                <a:gd name="connsiteX2" fmla="*/ 2154095 w 2790959"/>
                <a:gd name="connsiteY2" fmla="*/ 16754 h 2659049"/>
                <a:gd name="connsiteX3" fmla="*/ 2790959 w 2790959"/>
                <a:gd name="connsiteY3" fmla="*/ 1214553 h 2659049"/>
                <a:gd name="connsiteX4" fmla="*/ 1346463 w 2790959"/>
                <a:gd name="connsiteY4" fmla="*/ 2659049 h 2659049"/>
                <a:gd name="connsiteX5" fmla="*/ 15483 w 2790959"/>
                <a:gd name="connsiteY5" fmla="*/ 1776816 h 2659049"/>
                <a:gd name="connsiteX6" fmla="*/ 0 w 2790959"/>
                <a:gd name="connsiteY6" fmla="*/ 1734514 h 2659049"/>
                <a:gd name="connsiteX7" fmla="*/ 0 w 2790959"/>
                <a:gd name="connsiteY7" fmla="*/ 694592 h 2659049"/>
                <a:gd name="connsiteX8" fmla="*/ 15483 w 2790959"/>
                <a:gd name="connsiteY8" fmla="*/ 652290 h 2659049"/>
                <a:gd name="connsiteX9" fmla="*/ 538832 w 2790959"/>
                <a:gd name="connsiteY9" fmla="*/ 16754 h 265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0959" h="2659049">
                  <a:moveTo>
                    <a:pt x="566410" y="0"/>
                  </a:moveTo>
                  <a:lnTo>
                    <a:pt x="2126516" y="0"/>
                  </a:lnTo>
                  <a:lnTo>
                    <a:pt x="2154095" y="16754"/>
                  </a:lnTo>
                  <a:cubicBezTo>
                    <a:pt x="2538333" y="276341"/>
                    <a:pt x="2790959" y="715945"/>
                    <a:pt x="2790959" y="1214553"/>
                  </a:cubicBezTo>
                  <a:cubicBezTo>
                    <a:pt x="2790959" y="2012326"/>
                    <a:pt x="2144236" y="2659049"/>
                    <a:pt x="1346463" y="2659049"/>
                  </a:cubicBezTo>
                  <a:cubicBezTo>
                    <a:pt x="748134" y="2659049"/>
                    <a:pt x="234769" y="2295268"/>
                    <a:pt x="15483" y="1776816"/>
                  </a:cubicBezTo>
                  <a:lnTo>
                    <a:pt x="0" y="1734514"/>
                  </a:lnTo>
                  <a:lnTo>
                    <a:pt x="0" y="694592"/>
                  </a:lnTo>
                  <a:lnTo>
                    <a:pt x="15483" y="652290"/>
                  </a:lnTo>
                  <a:cubicBezTo>
                    <a:pt x="125126" y="393065"/>
                    <a:pt x="308289" y="172506"/>
                    <a:pt x="538832" y="16754"/>
                  </a:cubicBezTo>
                  <a:close/>
                </a:path>
              </a:pathLst>
            </a:custGeom>
          </p:spPr>
        </p:pic>
        <p:sp>
          <p:nvSpPr>
            <p:cNvPr id="126" name="Oval 125">
              <a:extLst>
                <a:ext uri="{FF2B5EF4-FFF2-40B4-BE49-F238E27FC236}">
                  <a16:creationId xmlns:a16="http://schemas.microsoft.com/office/drawing/2014/main" id="{A823AA71-673D-4B95-9B73-BD87DEBBF2A9}"/>
                </a:ext>
              </a:extLst>
            </p:cNvPr>
            <p:cNvSpPr/>
            <p:nvPr/>
          </p:nvSpPr>
          <p:spPr>
            <a:xfrm>
              <a:off x="4468625" y="3061518"/>
              <a:ext cx="2888991" cy="2888991"/>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0" name="Group 129">
              <a:extLst>
                <a:ext uri="{FF2B5EF4-FFF2-40B4-BE49-F238E27FC236}">
                  <a16:creationId xmlns:a16="http://schemas.microsoft.com/office/drawing/2014/main" id="{20664A1C-B9A8-4D8B-8594-3C38A19D2B08}"/>
                </a:ext>
              </a:extLst>
            </p:cNvPr>
            <p:cNvGrpSpPr/>
            <p:nvPr/>
          </p:nvGrpSpPr>
          <p:grpSpPr>
            <a:xfrm rot="20432285" flipH="1">
              <a:off x="4449365" y="3755498"/>
              <a:ext cx="1426045" cy="1500991"/>
              <a:chOff x="7770951" y="3977103"/>
              <a:chExt cx="1426045" cy="1500991"/>
            </a:xfrm>
          </p:grpSpPr>
          <p:sp>
            <p:nvSpPr>
              <p:cNvPr id="169" name="Freeform: Shape 168">
                <a:extLst>
                  <a:ext uri="{FF2B5EF4-FFF2-40B4-BE49-F238E27FC236}">
                    <a16:creationId xmlns:a16="http://schemas.microsoft.com/office/drawing/2014/main" id="{0EDDB619-1B84-48B3-A189-C1D1EE22B8BF}"/>
                  </a:ext>
                </a:extLst>
              </p:cNvPr>
              <p:cNvSpPr/>
              <p:nvPr/>
            </p:nvSpPr>
            <p:spPr>
              <a:xfrm rot="7966944">
                <a:off x="7979694" y="4047526"/>
                <a:ext cx="1287725" cy="1146879"/>
              </a:xfrm>
              <a:custGeom>
                <a:avLst/>
                <a:gdLst>
                  <a:gd name="connsiteX0" fmla="*/ 427744 w 915678"/>
                  <a:gd name="connsiteY0" fmla="*/ 436995 h 815526"/>
                  <a:gd name="connsiteX1" fmla="*/ 428460 w 915678"/>
                  <a:gd name="connsiteY1" fmla="*/ 424405 h 815526"/>
                  <a:gd name="connsiteX2" fmla="*/ 441050 w 915678"/>
                  <a:gd name="connsiteY2" fmla="*/ 425120 h 815526"/>
                  <a:gd name="connsiteX3" fmla="*/ 440335 w 915678"/>
                  <a:gd name="connsiteY3" fmla="*/ 437711 h 815526"/>
                  <a:gd name="connsiteX4" fmla="*/ 427744 w 915678"/>
                  <a:gd name="connsiteY4" fmla="*/ 436995 h 815526"/>
                  <a:gd name="connsiteX5" fmla="*/ 390688 w 915678"/>
                  <a:gd name="connsiteY5" fmla="*/ 469759 h 815526"/>
                  <a:gd name="connsiteX6" fmla="*/ 402423 w 915678"/>
                  <a:gd name="connsiteY6" fmla="*/ 469762 h 815526"/>
                  <a:gd name="connsiteX7" fmla="*/ 402427 w 915678"/>
                  <a:gd name="connsiteY7" fmla="*/ 458027 h 815526"/>
                  <a:gd name="connsiteX8" fmla="*/ 390691 w 915678"/>
                  <a:gd name="connsiteY8" fmla="*/ 458024 h 815526"/>
                  <a:gd name="connsiteX9" fmla="*/ 390688 w 915678"/>
                  <a:gd name="connsiteY9" fmla="*/ 458027 h 815526"/>
                  <a:gd name="connsiteX10" fmla="*/ 390688 w 915678"/>
                  <a:gd name="connsiteY10" fmla="*/ 469759 h 815526"/>
                  <a:gd name="connsiteX11" fmla="*/ 353774 w 915678"/>
                  <a:gd name="connsiteY11" fmla="*/ 502523 h 815526"/>
                  <a:gd name="connsiteX12" fmla="*/ 364648 w 915678"/>
                  <a:gd name="connsiteY12" fmla="*/ 502523 h 815526"/>
                  <a:gd name="connsiteX13" fmla="*/ 364648 w 915678"/>
                  <a:gd name="connsiteY13" fmla="*/ 491650 h 815526"/>
                  <a:gd name="connsiteX14" fmla="*/ 353774 w 915678"/>
                  <a:gd name="connsiteY14" fmla="*/ 491650 h 815526"/>
                  <a:gd name="connsiteX15" fmla="*/ 352896 w 915678"/>
                  <a:gd name="connsiteY15" fmla="*/ 502337 h 815526"/>
                  <a:gd name="connsiteX16" fmla="*/ 353059 w 915678"/>
                  <a:gd name="connsiteY16" fmla="*/ 502523 h 815526"/>
                  <a:gd name="connsiteX17" fmla="*/ 316146 w 915678"/>
                  <a:gd name="connsiteY17" fmla="*/ 535145 h 815526"/>
                  <a:gd name="connsiteX18" fmla="*/ 326059 w 915678"/>
                  <a:gd name="connsiteY18" fmla="*/ 535246 h 815526"/>
                  <a:gd name="connsiteX19" fmla="*/ 326161 w 915678"/>
                  <a:gd name="connsiteY19" fmla="*/ 535145 h 815526"/>
                  <a:gd name="connsiteX20" fmla="*/ 326161 w 915678"/>
                  <a:gd name="connsiteY20" fmla="*/ 525129 h 815526"/>
                  <a:gd name="connsiteX21" fmla="*/ 316217 w 915678"/>
                  <a:gd name="connsiteY21" fmla="*/ 524485 h 815526"/>
                  <a:gd name="connsiteX22" fmla="*/ 315573 w 915678"/>
                  <a:gd name="connsiteY22" fmla="*/ 534429 h 815526"/>
                  <a:gd name="connsiteX23" fmla="*/ 280377 w 915678"/>
                  <a:gd name="connsiteY23" fmla="*/ 567479 h 815526"/>
                  <a:gd name="connsiteX24" fmla="*/ 289534 w 915678"/>
                  <a:gd name="connsiteY24" fmla="*/ 568052 h 815526"/>
                  <a:gd name="connsiteX25" fmla="*/ 290106 w 915678"/>
                  <a:gd name="connsiteY25" fmla="*/ 558895 h 815526"/>
                  <a:gd name="connsiteX26" fmla="*/ 280949 w 915678"/>
                  <a:gd name="connsiteY26" fmla="*/ 558323 h 815526"/>
                  <a:gd name="connsiteX27" fmla="*/ 280377 w 915678"/>
                  <a:gd name="connsiteY27" fmla="*/ 567479 h 815526"/>
                  <a:gd name="connsiteX28" fmla="*/ 243464 w 915678"/>
                  <a:gd name="connsiteY28" fmla="*/ 600244 h 815526"/>
                  <a:gd name="connsiteX29" fmla="*/ 251759 w 915678"/>
                  <a:gd name="connsiteY29" fmla="*/ 600241 h 815526"/>
                  <a:gd name="connsiteX30" fmla="*/ 251758 w 915678"/>
                  <a:gd name="connsiteY30" fmla="*/ 591945 h 815526"/>
                  <a:gd name="connsiteX31" fmla="*/ 243464 w 915678"/>
                  <a:gd name="connsiteY31" fmla="*/ 591945 h 815526"/>
                  <a:gd name="connsiteX32" fmla="*/ 243461 w 915678"/>
                  <a:gd name="connsiteY32" fmla="*/ 600241 h 815526"/>
                  <a:gd name="connsiteX33" fmla="*/ 243464 w 915678"/>
                  <a:gd name="connsiteY33" fmla="*/ 600244 h 815526"/>
                  <a:gd name="connsiteX34" fmla="*/ 206551 w 915678"/>
                  <a:gd name="connsiteY34" fmla="*/ 633008 h 815526"/>
                  <a:gd name="connsiteX35" fmla="*/ 213833 w 915678"/>
                  <a:gd name="connsiteY35" fmla="*/ 633165 h 815526"/>
                  <a:gd name="connsiteX36" fmla="*/ 213990 w 915678"/>
                  <a:gd name="connsiteY36" fmla="*/ 633008 h 815526"/>
                  <a:gd name="connsiteX37" fmla="*/ 215134 w 915678"/>
                  <a:gd name="connsiteY37" fmla="*/ 625609 h 815526"/>
                  <a:gd name="connsiteX38" fmla="*/ 207735 w 915678"/>
                  <a:gd name="connsiteY38" fmla="*/ 624466 h 815526"/>
                  <a:gd name="connsiteX39" fmla="*/ 206980 w 915678"/>
                  <a:gd name="connsiteY39" fmla="*/ 625139 h 815526"/>
                  <a:gd name="connsiteX40" fmla="*/ 206980 w 915678"/>
                  <a:gd name="connsiteY40" fmla="*/ 632578 h 815526"/>
                  <a:gd name="connsiteX41" fmla="*/ 170209 w 915678"/>
                  <a:gd name="connsiteY41" fmla="*/ 666201 h 815526"/>
                  <a:gd name="connsiteX42" fmla="*/ 176885 w 915678"/>
                  <a:gd name="connsiteY42" fmla="*/ 666295 h 815526"/>
                  <a:gd name="connsiteX43" fmla="*/ 176981 w 915678"/>
                  <a:gd name="connsiteY43" fmla="*/ 659620 h 815526"/>
                  <a:gd name="connsiteX44" fmla="*/ 170304 w 915678"/>
                  <a:gd name="connsiteY44" fmla="*/ 659525 h 815526"/>
                  <a:gd name="connsiteX45" fmla="*/ 170209 w 915678"/>
                  <a:gd name="connsiteY45" fmla="*/ 659620 h 815526"/>
                  <a:gd name="connsiteX46" fmla="*/ 170209 w 915678"/>
                  <a:gd name="connsiteY46" fmla="*/ 666201 h 815526"/>
                  <a:gd name="connsiteX47" fmla="*/ 133296 w 915678"/>
                  <a:gd name="connsiteY47" fmla="*/ 698965 h 815526"/>
                  <a:gd name="connsiteX48" fmla="*/ 138962 w 915678"/>
                  <a:gd name="connsiteY48" fmla="*/ 699022 h 815526"/>
                  <a:gd name="connsiteX49" fmla="*/ 139019 w 915678"/>
                  <a:gd name="connsiteY49" fmla="*/ 698965 h 815526"/>
                  <a:gd name="connsiteX50" fmla="*/ 140228 w 915678"/>
                  <a:gd name="connsiteY50" fmla="*/ 693224 h 815526"/>
                  <a:gd name="connsiteX51" fmla="*/ 134485 w 915678"/>
                  <a:gd name="connsiteY51" fmla="*/ 692015 h 815526"/>
                  <a:gd name="connsiteX52" fmla="*/ 133582 w 915678"/>
                  <a:gd name="connsiteY52" fmla="*/ 692813 h 815526"/>
                  <a:gd name="connsiteX53" fmla="*/ 133582 w 915678"/>
                  <a:gd name="connsiteY53" fmla="*/ 698536 h 815526"/>
                  <a:gd name="connsiteX54" fmla="*/ 96669 w 915678"/>
                  <a:gd name="connsiteY54" fmla="*/ 731300 h 815526"/>
                  <a:gd name="connsiteX55" fmla="*/ 101525 w 915678"/>
                  <a:gd name="connsiteY55" fmla="*/ 731291 h 815526"/>
                  <a:gd name="connsiteX56" fmla="*/ 101516 w 915678"/>
                  <a:gd name="connsiteY56" fmla="*/ 726436 h 815526"/>
                  <a:gd name="connsiteX57" fmla="*/ 96669 w 915678"/>
                  <a:gd name="connsiteY57" fmla="*/ 726436 h 815526"/>
                  <a:gd name="connsiteX58" fmla="*/ 96660 w 915678"/>
                  <a:gd name="connsiteY58" fmla="*/ 731291 h 815526"/>
                  <a:gd name="connsiteX59" fmla="*/ 96669 w 915678"/>
                  <a:gd name="connsiteY59" fmla="*/ 731300 h 815526"/>
                  <a:gd name="connsiteX60" fmla="*/ 58611 w 915678"/>
                  <a:gd name="connsiteY60" fmla="*/ 764493 h 815526"/>
                  <a:gd name="connsiteX61" fmla="*/ 62760 w 915678"/>
                  <a:gd name="connsiteY61" fmla="*/ 764493 h 815526"/>
                  <a:gd name="connsiteX62" fmla="*/ 62760 w 915678"/>
                  <a:gd name="connsiteY62" fmla="*/ 760344 h 815526"/>
                  <a:gd name="connsiteX63" fmla="*/ 58919 w 915678"/>
                  <a:gd name="connsiteY63" fmla="*/ 760178 h 815526"/>
                  <a:gd name="connsiteX64" fmla="*/ 58754 w 915678"/>
                  <a:gd name="connsiteY64" fmla="*/ 760344 h 815526"/>
                  <a:gd name="connsiteX65" fmla="*/ 58754 w 915678"/>
                  <a:gd name="connsiteY65" fmla="*/ 764350 h 815526"/>
                  <a:gd name="connsiteX66" fmla="*/ 407428 w 915678"/>
                  <a:gd name="connsiteY66" fmla="*/ 413388 h 815526"/>
                  <a:gd name="connsiteX67" fmla="*/ 420018 w 915678"/>
                  <a:gd name="connsiteY67" fmla="*/ 414246 h 815526"/>
                  <a:gd name="connsiteX68" fmla="*/ 420064 w 915678"/>
                  <a:gd name="connsiteY68" fmla="*/ 401701 h 815526"/>
                  <a:gd name="connsiteX69" fmla="*/ 420018 w 915678"/>
                  <a:gd name="connsiteY69" fmla="*/ 401656 h 815526"/>
                  <a:gd name="connsiteX70" fmla="*/ 407511 w 915678"/>
                  <a:gd name="connsiteY70" fmla="*/ 400694 h 815526"/>
                  <a:gd name="connsiteX71" fmla="*/ 406548 w 915678"/>
                  <a:gd name="connsiteY71" fmla="*/ 413202 h 815526"/>
                  <a:gd name="connsiteX72" fmla="*/ 406712 w 915678"/>
                  <a:gd name="connsiteY72" fmla="*/ 413388 h 815526"/>
                  <a:gd name="connsiteX73" fmla="*/ 370514 w 915678"/>
                  <a:gd name="connsiteY73" fmla="*/ 446152 h 815526"/>
                  <a:gd name="connsiteX74" fmla="*/ 382249 w 915678"/>
                  <a:gd name="connsiteY74" fmla="*/ 446155 h 815526"/>
                  <a:gd name="connsiteX75" fmla="*/ 382254 w 915678"/>
                  <a:gd name="connsiteY75" fmla="*/ 434420 h 815526"/>
                  <a:gd name="connsiteX76" fmla="*/ 370517 w 915678"/>
                  <a:gd name="connsiteY76" fmla="*/ 434417 h 815526"/>
                  <a:gd name="connsiteX77" fmla="*/ 370514 w 915678"/>
                  <a:gd name="connsiteY77" fmla="*/ 434420 h 815526"/>
                  <a:gd name="connsiteX78" fmla="*/ 370514 w 915678"/>
                  <a:gd name="connsiteY78" fmla="*/ 446152 h 815526"/>
                  <a:gd name="connsiteX79" fmla="*/ 333458 w 915678"/>
                  <a:gd name="connsiteY79" fmla="*/ 478916 h 815526"/>
                  <a:gd name="connsiteX80" fmla="*/ 344332 w 915678"/>
                  <a:gd name="connsiteY80" fmla="*/ 478916 h 815526"/>
                  <a:gd name="connsiteX81" fmla="*/ 344332 w 915678"/>
                  <a:gd name="connsiteY81" fmla="*/ 468042 h 815526"/>
                  <a:gd name="connsiteX82" fmla="*/ 333511 w 915678"/>
                  <a:gd name="connsiteY82" fmla="*/ 466532 h 815526"/>
                  <a:gd name="connsiteX83" fmla="*/ 332000 w 915678"/>
                  <a:gd name="connsiteY83" fmla="*/ 477354 h 815526"/>
                  <a:gd name="connsiteX84" fmla="*/ 332742 w 915678"/>
                  <a:gd name="connsiteY84" fmla="*/ 478201 h 815526"/>
                  <a:gd name="connsiteX85" fmla="*/ 296545 w 915678"/>
                  <a:gd name="connsiteY85" fmla="*/ 511680 h 815526"/>
                  <a:gd name="connsiteX86" fmla="*/ 306458 w 915678"/>
                  <a:gd name="connsiteY86" fmla="*/ 511782 h 815526"/>
                  <a:gd name="connsiteX87" fmla="*/ 306560 w 915678"/>
                  <a:gd name="connsiteY87" fmla="*/ 511680 h 815526"/>
                  <a:gd name="connsiteX88" fmla="*/ 306661 w 915678"/>
                  <a:gd name="connsiteY88" fmla="*/ 501563 h 815526"/>
                  <a:gd name="connsiteX89" fmla="*/ 296545 w 915678"/>
                  <a:gd name="connsiteY89" fmla="*/ 501463 h 815526"/>
                  <a:gd name="connsiteX90" fmla="*/ 296443 w 915678"/>
                  <a:gd name="connsiteY90" fmla="*/ 511579 h 815526"/>
                  <a:gd name="connsiteX91" fmla="*/ 296545 w 915678"/>
                  <a:gd name="connsiteY91" fmla="*/ 511680 h 815526"/>
                  <a:gd name="connsiteX92" fmla="*/ 259631 w 915678"/>
                  <a:gd name="connsiteY92" fmla="*/ 544444 h 815526"/>
                  <a:gd name="connsiteX93" fmla="*/ 268788 w 915678"/>
                  <a:gd name="connsiteY93" fmla="*/ 544444 h 815526"/>
                  <a:gd name="connsiteX94" fmla="*/ 268788 w 915678"/>
                  <a:gd name="connsiteY94" fmla="*/ 535288 h 815526"/>
                  <a:gd name="connsiteX95" fmla="*/ 259631 w 915678"/>
                  <a:gd name="connsiteY95" fmla="*/ 534715 h 815526"/>
                  <a:gd name="connsiteX96" fmla="*/ 259059 w 915678"/>
                  <a:gd name="connsiteY96" fmla="*/ 543872 h 815526"/>
                  <a:gd name="connsiteX97" fmla="*/ 222003 w 915678"/>
                  <a:gd name="connsiteY97" fmla="*/ 576636 h 815526"/>
                  <a:gd name="connsiteX98" fmla="*/ 230298 w 915678"/>
                  <a:gd name="connsiteY98" fmla="*/ 576633 h 815526"/>
                  <a:gd name="connsiteX99" fmla="*/ 230297 w 915678"/>
                  <a:gd name="connsiteY99" fmla="*/ 568338 h 815526"/>
                  <a:gd name="connsiteX100" fmla="*/ 222003 w 915678"/>
                  <a:gd name="connsiteY100" fmla="*/ 568338 h 815526"/>
                  <a:gd name="connsiteX101" fmla="*/ 222000 w 915678"/>
                  <a:gd name="connsiteY101" fmla="*/ 576633 h 815526"/>
                  <a:gd name="connsiteX102" fmla="*/ 222003 w 915678"/>
                  <a:gd name="connsiteY102" fmla="*/ 576636 h 815526"/>
                  <a:gd name="connsiteX103" fmla="*/ 185662 w 915678"/>
                  <a:gd name="connsiteY103" fmla="*/ 610402 h 815526"/>
                  <a:gd name="connsiteX104" fmla="*/ 193147 w 915678"/>
                  <a:gd name="connsiteY104" fmla="*/ 610449 h 815526"/>
                  <a:gd name="connsiteX105" fmla="*/ 193194 w 915678"/>
                  <a:gd name="connsiteY105" fmla="*/ 602962 h 815526"/>
                  <a:gd name="connsiteX106" fmla="*/ 185707 w 915678"/>
                  <a:gd name="connsiteY106" fmla="*/ 602915 h 815526"/>
                  <a:gd name="connsiteX107" fmla="*/ 185662 w 915678"/>
                  <a:gd name="connsiteY107" fmla="*/ 602962 h 815526"/>
                  <a:gd name="connsiteX108" fmla="*/ 185662 w 915678"/>
                  <a:gd name="connsiteY108" fmla="*/ 610402 h 815526"/>
                  <a:gd name="connsiteX109" fmla="*/ 148748 w 915678"/>
                  <a:gd name="connsiteY109" fmla="*/ 642737 h 815526"/>
                  <a:gd name="connsiteX110" fmla="*/ 155330 w 915678"/>
                  <a:gd name="connsiteY110" fmla="*/ 642737 h 815526"/>
                  <a:gd name="connsiteX111" fmla="*/ 156128 w 915678"/>
                  <a:gd name="connsiteY111" fmla="*/ 636108 h 815526"/>
                  <a:gd name="connsiteX112" fmla="*/ 149498 w 915678"/>
                  <a:gd name="connsiteY112" fmla="*/ 635310 h 815526"/>
                  <a:gd name="connsiteX113" fmla="*/ 149034 w 915678"/>
                  <a:gd name="connsiteY113" fmla="*/ 635726 h 815526"/>
                  <a:gd name="connsiteX114" fmla="*/ 149034 w 915678"/>
                  <a:gd name="connsiteY114" fmla="*/ 642308 h 815526"/>
                  <a:gd name="connsiteX115" fmla="*/ 111978 w 915678"/>
                  <a:gd name="connsiteY115" fmla="*/ 675072 h 815526"/>
                  <a:gd name="connsiteX116" fmla="*/ 117844 w 915678"/>
                  <a:gd name="connsiteY116" fmla="*/ 675072 h 815526"/>
                  <a:gd name="connsiteX117" fmla="*/ 117844 w 915678"/>
                  <a:gd name="connsiteY117" fmla="*/ 669349 h 815526"/>
                  <a:gd name="connsiteX118" fmla="*/ 112178 w 915678"/>
                  <a:gd name="connsiteY118" fmla="*/ 669291 h 815526"/>
                  <a:gd name="connsiteX119" fmla="*/ 112121 w 915678"/>
                  <a:gd name="connsiteY119" fmla="*/ 669349 h 815526"/>
                  <a:gd name="connsiteX120" fmla="*/ 112064 w 915678"/>
                  <a:gd name="connsiteY120" fmla="*/ 675014 h 815526"/>
                  <a:gd name="connsiteX121" fmla="*/ 112121 w 915678"/>
                  <a:gd name="connsiteY121" fmla="*/ 675072 h 815526"/>
                  <a:gd name="connsiteX122" fmla="*/ 75208 w 915678"/>
                  <a:gd name="connsiteY122" fmla="*/ 707836 h 815526"/>
                  <a:gd name="connsiteX123" fmla="*/ 80064 w 915678"/>
                  <a:gd name="connsiteY123" fmla="*/ 707844 h 815526"/>
                  <a:gd name="connsiteX124" fmla="*/ 80072 w 915678"/>
                  <a:gd name="connsiteY124" fmla="*/ 707836 h 815526"/>
                  <a:gd name="connsiteX125" fmla="*/ 80064 w 915678"/>
                  <a:gd name="connsiteY125" fmla="*/ 702980 h 815526"/>
                  <a:gd name="connsiteX126" fmla="*/ 75208 w 915678"/>
                  <a:gd name="connsiteY126" fmla="*/ 702988 h 815526"/>
                  <a:gd name="connsiteX127" fmla="*/ 75208 w 915678"/>
                  <a:gd name="connsiteY127" fmla="*/ 707836 h 815526"/>
                  <a:gd name="connsiteX128" fmla="*/ 38295 w 915678"/>
                  <a:gd name="connsiteY128" fmla="*/ 740600 h 815526"/>
                  <a:gd name="connsiteX129" fmla="*/ 42136 w 915678"/>
                  <a:gd name="connsiteY129" fmla="*/ 740765 h 815526"/>
                  <a:gd name="connsiteX130" fmla="*/ 42301 w 915678"/>
                  <a:gd name="connsiteY130" fmla="*/ 740600 h 815526"/>
                  <a:gd name="connsiteX131" fmla="*/ 42301 w 915678"/>
                  <a:gd name="connsiteY131" fmla="*/ 736594 h 815526"/>
                  <a:gd name="connsiteX132" fmla="*/ 38151 w 915678"/>
                  <a:gd name="connsiteY132" fmla="*/ 736594 h 815526"/>
                  <a:gd name="connsiteX133" fmla="*/ 38151 w 915678"/>
                  <a:gd name="connsiteY133" fmla="*/ 740743 h 815526"/>
                  <a:gd name="connsiteX134" fmla="*/ 386539 w 915678"/>
                  <a:gd name="connsiteY134" fmla="*/ 389924 h 815526"/>
                  <a:gd name="connsiteX135" fmla="*/ 399059 w 915678"/>
                  <a:gd name="connsiteY135" fmla="*/ 390702 h 815526"/>
                  <a:gd name="connsiteX136" fmla="*/ 399837 w 915678"/>
                  <a:gd name="connsiteY136" fmla="*/ 378181 h 815526"/>
                  <a:gd name="connsiteX137" fmla="*/ 387397 w 915678"/>
                  <a:gd name="connsiteY137" fmla="*/ 377333 h 815526"/>
                  <a:gd name="connsiteX138" fmla="*/ 386539 w 915678"/>
                  <a:gd name="connsiteY138" fmla="*/ 389924 h 815526"/>
                  <a:gd name="connsiteX139" fmla="*/ 349625 w 915678"/>
                  <a:gd name="connsiteY139" fmla="*/ 422688 h 815526"/>
                  <a:gd name="connsiteX140" fmla="*/ 361340 w 915678"/>
                  <a:gd name="connsiteY140" fmla="*/ 423383 h 815526"/>
                  <a:gd name="connsiteX141" fmla="*/ 362036 w 915678"/>
                  <a:gd name="connsiteY141" fmla="*/ 411668 h 815526"/>
                  <a:gd name="connsiteX142" fmla="*/ 350341 w 915678"/>
                  <a:gd name="connsiteY142" fmla="*/ 410956 h 815526"/>
                  <a:gd name="connsiteX143" fmla="*/ 349608 w 915678"/>
                  <a:gd name="connsiteY143" fmla="*/ 422668 h 815526"/>
                  <a:gd name="connsiteX144" fmla="*/ 349625 w 915678"/>
                  <a:gd name="connsiteY144" fmla="*/ 422688 h 815526"/>
                  <a:gd name="connsiteX145" fmla="*/ 313284 w 915678"/>
                  <a:gd name="connsiteY145" fmla="*/ 455452 h 815526"/>
                  <a:gd name="connsiteX146" fmla="*/ 324211 w 915678"/>
                  <a:gd name="connsiteY146" fmla="*/ 455505 h 815526"/>
                  <a:gd name="connsiteX147" fmla="*/ 324262 w 915678"/>
                  <a:gd name="connsiteY147" fmla="*/ 444578 h 815526"/>
                  <a:gd name="connsiteX148" fmla="*/ 313337 w 915678"/>
                  <a:gd name="connsiteY148" fmla="*/ 444525 h 815526"/>
                  <a:gd name="connsiteX149" fmla="*/ 313284 w 915678"/>
                  <a:gd name="connsiteY149" fmla="*/ 444578 h 815526"/>
                  <a:gd name="connsiteX150" fmla="*/ 313284 w 915678"/>
                  <a:gd name="connsiteY150" fmla="*/ 455452 h 815526"/>
                  <a:gd name="connsiteX151" fmla="*/ 276228 w 915678"/>
                  <a:gd name="connsiteY151" fmla="*/ 488216 h 815526"/>
                  <a:gd name="connsiteX152" fmla="*/ 286243 w 915678"/>
                  <a:gd name="connsiteY152" fmla="*/ 488216 h 815526"/>
                  <a:gd name="connsiteX153" fmla="*/ 286142 w 915678"/>
                  <a:gd name="connsiteY153" fmla="*/ 478302 h 815526"/>
                  <a:gd name="connsiteX154" fmla="*/ 276228 w 915678"/>
                  <a:gd name="connsiteY154" fmla="*/ 478402 h 815526"/>
                  <a:gd name="connsiteX155" fmla="*/ 276228 w 915678"/>
                  <a:gd name="connsiteY155" fmla="*/ 488216 h 815526"/>
                  <a:gd name="connsiteX156" fmla="*/ 239315 w 915678"/>
                  <a:gd name="connsiteY156" fmla="*/ 520980 h 815526"/>
                  <a:gd name="connsiteX157" fmla="*/ 248622 w 915678"/>
                  <a:gd name="connsiteY157" fmla="*/ 521130 h 815526"/>
                  <a:gd name="connsiteX158" fmla="*/ 248770 w 915678"/>
                  <a:gd name="connsiteY158" fmla="*/ 511823 h 815526"/>
                  <a:gd name="connsiteX159" fmla="*/ 239465 w 915678"/>
                  <a:gd name="connsiteY159" fmla="*/ 511673 h 815526"/>
                  <a:gd name="connsiteX160" fmla="*/ 239315 w 915678"/>
                  <a:gd name="connsiteY160" fmla="*/ 511823 h 815526"/>
                  <a:gd name="connsiteX161" fmla="*/ 239263 w 915678"/>
                  <a:gd name="connsiteY161" fmla="*/ 520929 h 815526"/>
                  <a:gd name="connsiteX162" fmla="*/ 239315 w 915678"/>
                  <a:gd name="connsiteY162" fmla="*/ 520980 h 815526"/>
                  <a:gd name="connsiteX163" fmla="*/ 201829 w 915678"/>
                  <a:gd name="connsiteY163" fmla="*/ 553172 h 815526"/>
                  <a:gd name="connsiteX164" fmla="*/ 210123 w 915678"/>
                  <a:gd name="connsiteY164" fmla="*/ 553025 h 815526"/>
                  <a:gd name="connsiteX165" fmla="*/ 209977 w 915678"/>
                  <a:gd name="connsiteY165" fmla="*/ 544731 h 815526"/>
                  <a:gd name="connsiteX166" fmla="*/ 201829 w 915678"/>
                  <a:gd name="connsiteY166" fmla="*/ 544731 h 815526"/>
                  <a:gd name="connsiteX167" fmla="*/ 201829 w 915678"/>
                  <a:gd name="connsiteY167" fmla="*/ 553172 h 815526"/>
                  <a:gd name="connsiteX168" fmla="*/ 164773 w 915678"/>
                  <a:gd name="connsiteY168" fmla="*/ 585793 h 815526"/>
                  <a:gd name="connsiteX169" fmla="*/ 172260 w 915678"/>
                  <a:gd name="connsiteY169" fmla="*/ 585760 h 815526"/>
                  <a:gd name="connsiteX170" fmla="*/ 172785 w 915678"/>
                  <a:gd name="connsiteY170" fmla="*/ 578925 h 815526"/>
                  <a:gd name="connsiteX171" fmla="*/ 165392 w 915678"/>
                  <a:gd name="connsiteY171" fmla="*/ 577748 h 815526"/>
                  <a:gd name="connsiteX172" fmla="*/ 164215 w 915678"/>
                  <a:gd name="connsiteY172" fmla="*/ 585141 h 815526"/>
                  <a:gd name="connsiteX173" fmla="*/ 164773 w 915678"/>
                  <a:gd name="connsiteY173" fmla="*/ 585793 h 815526"/>
                  <a:gd name="connsiteX174" fmla="*/ 127287 w 915678"/>
                  <a:gd name="connsiteY174" fmla="*/ 619129 h 815526"/>
                  <a:gd name="connsiteX175" fmla="*/ 133936 w 915678"/>
                  <a:gd name="connsiteY175" fmla="*/ 618520 h 815526"/>
                  <a:gd name="connsiteX176" fmla="*/ 134298 w 915678"/>
                  <a:gd name="connsiteY176" fmla="*/ 612977 h 815526"/>
                  <a:gd name="connsiteX177" fmla="*/ 127716 w 915678"/>
                  <a:gd name="connsiteY177" fmla="*/ 612977 h 815526"/>
                  <a:gd name="connsiteX178" fmla="*/ 127609 w 915678"/>
                  <a:gd name="connsiteY178" fmla="*/ 619451 h 815526"/>
                  <a:gd name="connsiteX179" fmla="*/ 127716 w 915678"/>
                  <a:gd name="connsiteY179" fmla="*/ 619559 h 815526"/>
                  <a:gd name="connsiteX180" fmla="*/ 90946 w 915678"/>
                  <a:gd name="connsiteY180" fmla="*/ 651894 h 815526"/>
                  <a:gd name="connsiteX181" fmla="*/ 96612 w 915678"/>
                  <a:gd name="connsiteY181" fmla="*/ 651951 h 815526"/>
                  <a:gd name="connsiteX182" fmla="*/ 96669 w 915678"/>
                  <a:gd name="connsiteY182" fmla="*/ 651894 h 815526"/>
                  <a:gd name="connsiteX183" fmla="*/ 96726 w 915678"/>
                  <a:gd name="connsiteY183" fmla="*/ 646228 h 815526"/>
                  <a:gd name="connsiteX184" fmla="*/ 96669 w 915678"/>
                  <a:gd name="connsiteY184" fmla="*/ 646171 h 815526"/>
                  <a:gd name="connsiteX185" fmla="*/ 91003 w 915678"/>
                  <a:gd name="connsiteY185" fmla="*/ 646113 h 815526"/>
                  <a:gd name="connsiteX186" fmla="*/ 90946 w 915678"/>
                  <a:gd name="connsiteY186" fmla="*/ 646171 h 815526"/>
                  <a:gd name="connsiteX187" fmla="*/ 90889 w 915678"/>
                  <a:gd name="connsiteY187" fmla="*/ 651836 h 815526"/>
                  <a:gd name="connsiteX188" fmla="*/ 90946 w 915678"/>
                  <a:gd name="connsiteY188" fmla="*/ 651894 h 815526"/>
                  <a:gd name="connsiteX189" fmla="*/ 53890 w 915678"/>
                  <a:gd name="connsiteY189" fmla="*/ 684658 h 815526"/>
                  <a:gd name="connsiteX190" fmla="*/ 58746 w 915678"/>
                  <a:gd name="connsiteY190" fmla="*/ 684649 h 815526"/>
                  <a:gd name="connsiteX191" fmla="*/ 58737 w 915678"/>
                  <a:gd name="connsiteY191" fmla="*/ 679793 h 815526"/>
                  <a:gd name="connsiteX192" fmla="*/ 53890 w 915678"/>
                  <a:gd name="connsiteY192" fmla="*/ 679793 h 815526"/>
                  <a:gd name="connsiteX193" fmla="*/ 53881 w 915678"/>
                  <a:gd name="connsiteY193" fmla="*/ 684649 h 815526"/>
                  <a:gd name="connsiteX194" fmla="*/ 53890 w 915678"/>
                  <a:gd name="connsiteY194" fmla="*/ 684658 h 815526"/>
                  <a:gd name="connsiteX195" fmla="*/ 16976 w 915678"/>
                  <a:gd name="connsiteY195" fmla="*/ 717422 h 815526"/>
                  <a:gd name="connsiteX196" fmla="*/ 21023 w 915678"/>
                  <a:gd name="connsiteY196" fmla="*/ 717462 h 815526"/>
                  <a:gd name="connsiteX197" fmla="*/ 21064 w 915678"/>
                  <a:gd name="connsiteY197" fmla="*/ 713416 h 815526"/>
                  <a:gd name="connsiteX198" fmla="*/ 17016 w 915678"/>
                  <a:gd name="connsiteY198" fmla="*/ 713376 h 815526"/>
                  <a:gd name="connsiteX199" fmla="*/ 16976 w 915678"/>
                  <a:gd name="connsiteY199" fmla="*/ 713416 h 815526"/>
                  <a:gd name="connsiteX200" fmla="*/ 16812 w 915678"/>
                  <a:gd name="connsiteY200" fmla="*/ 717257 h 815526"/>
                  <a:gd name="connsiteX201" fmla="*/ 16976 w 915678"/>
                  <a:gd name="connsiteY201" fmla="*/ 717422 h 815526"/>
                  <a:gd name="connsiteX202" fmla="*/ 490840 w 915678"/>
                  <a:gd name="connsiteY202" fmla="*/ 507531 h 815526"/>
                  <a:gd name="connsiteX203" fmla="*/ 503385 w 915678"/>
                  <a:gd name="connsiteY203" fmla="*/ 507577 h 815526"/>
                  <a:gd name="connsiteX204" fmla="*/ 503431 w 915678"/>
                  <a:gd name="connsiteY204" fmla="*/ 507531 h 815526"/>
                  <a:gd name="connsiteX205" fmla="*/ 503385 w 915678"/>
                  <a:gd name="connsiteY205" fmla="*/ 494986 h 815526"/>
                  <a:gd name="connsiteX206" fmla="*/ 490840 w 915678"/>
                  <a:gd name="connsiteY206" fmla="*/ 495032 h 815526"/>
                  <a:gd name="connsiteX207" fmla="*/ 490840 w 915678"/>
                  <a:gd name="connsiteY207" fmla="*/ 507531 h 815526"/>
                  <a:gd name="connsiteX208" fmla="*/ 453927 w 915678"/>
                  <a:gd name="connsiteY208" fmla="*/ 540295 h 815526"/>
                  <a:gd name="connsiteX209" fmla="*/ 465523 w 915678"/>
                  <a:gd name="connsiteY209" fmla="*/ 542095 h 815526"/>
                  <a:gd name="connsiteX210" fmla="*/ 467323 w 915678"/>
                  <a:gd name="connsiteY210" fmla="*/ 530499 h 815526"/>
                  <a:gd name="connsiteX211" fmla="*/ 466231 w 915678"/>
                  <a:gd name="connsiteY211" fmla="*/ 529278 h 815526"/>
                  <a:gd name="connsiteX212" fmla="*/ 454635 w 915678"/>
                  <a:gd name="connsiteY212" fmla="*/ 527479 h 815526"/>
                  <a:gd name="connsiteX213" fmla="*/ 452835 w 915678"/>
                  <a:gd name="connsiteY213" fmla="*/ 539075 h 815526"/>
                  <a:gd name="connsiteX214" fmla="*/ 453927 w 915678"/>
                  <a:gd name="connsiteY214" fmla="*/ 540295 h 815526"/>
                  <a:gd name="connsiteX215" fmla="*/ 416870 w 915678"/>
                  <a:gd name="connsiteY215" fmla="*/ 573059 h 815526"/>
                  <a:gd name="connsiteX216" fmla="*/ 427744 w 915678"/>
                  <a:gd name="connsiteY216" fmla="*/ 573059 h 815526"/>
                  <a:gd name="connsiteX217" fmla="*/ 427744 w 915678"/>
                  <a:gd name="connsiteY217" fmla="*/ 562186 h 815526"/>
                  <a:gd name="connsiteX218" fmla="*/ 416870 w 915678"/>
                  <a:gd name="connsiteY218" fmla="*/ 562186 h 815526"/>
                  <a:gd name="connsiteX219" fmla="*/ 416870 w 915678"/>
                  <a:gd name="connsiteY219" fmla="*/ 573059 h 815526"/>
                  <a:gd name="connsiteX220" fmla="*/ 379957 w 915678"/>
                  <a:gd name="connsiteY220" fmla="*/ 605823 h 815526"/>
                  <a:gd name="connsiteX221" fmla="*/ 390074 w 915678"/>
                  <a:gd name="connsiteY221" fmla="*/ 605925 h 815526"/>
                  <a:gd name="connsiteX222" fmla="*/ 390174 w 915678"/>
                  <a:gd name="connsiteY222" fmla="*/ 595808 h 815526"/>
                  <a:gd name="connsiteX223" fmla="*/ 380059 w 915678"/>
                  <a:gd name="connsiteY223" fmla="*/ 595707 h 815526"/>
                  <a:gd name="connsiteX224" fmla="*/ 379957 w 915678"/>
                  <a:gd name="connsiteY224" fmla="*/ 595808 h 815526"/>
                  <a:gd name="connsiteX225" fmla="*/ 379957 w 915678"/>
                  <a:gd name="connsiteY225" fmla="*/ 605823 h 815526"/>
                  <a:gd name="connsiteX226" fmla="*/ 342901 w 915678"/>
                  <a:gd name="connsiteY226" fmla="*/ 639017 h 815526"/>
                  <a:gd name="connsiteX227" fmla="*/ 352058 w 915678"/>
                  <a:gd name="connsiteY227" fmla="*/ 639017 h 815526"/>
                  <a:gd name="connsiteX228" fmla="*/ 352630 w 915678"/>
                  <a:gd name="connsiteY228" fmla="*/ 629860 h 815526"/>
                  <a:gd name="connsiteX229" fmla="*/ 343473 w 915678"/>
                  <a:gd name="connsiteY229" fmla="*/ 629288 h 815526"/>
                  <a:gd name="connsiteX230" fmla="*/ 343473 w 915678"/>
                  <a:gd name="connsiteY230" fmla="*/ 638444 h 815526"/>
                  <a:gd name="connsiteX231" fmla="*/ 306560 w 915678"/>
                  <a:gd name="connsiteY231" fmla="*/ 671209 h 815526"/>
                  <a:gd name="connsiteX232" fmla="*/ 314930 w 915678"/>
                  <a:gd name="connsiteY232" fmla="*/ 671709 h 815526"/>
                  <a:gd name="connsiteX233" fmla="*/ 315430 w 915678"/>
                  <a:gd name="connsiteY233" fmla="*/ 663339 h 815526"/>
                  <a:gd name="connsiteX234" fmla="*/ 307340 w 915678"/>
                  <a:gd name="connsiteY234" fmla="*/ 663132 h 815526"/>
                  <a:gd name="connsiteX235" fmla="*/ 307132 w 915678"/>
                  <a:gd name="connsiteY235" fmla="*/ 663339 h 815526"/>
                  <a:gd name="connsiteX236" fmla="*/ 307129 w 915678"/>
                  <a:gd name="connsiteY236" fmla="*/ 671635 h 815526"/>
                  <a:gd name="connsiteX237" fmla="*/ 307132 w 915678"/>
                  <a:gd name="connsiteY237" fmla="*/ 671638 h 815526"/>
                  <a:gd name="connsiteX238" fmla="*/ 270219 w 915678"/>
                  <a:gd name="connsiteY238" fmla="*/ 704402 h 815526"/>
                  <a:gd name="connsiteX239" fmla="*/ 277659 w 915678"/>
                  <a:gd name="connsiteY239" fmla="*/ 704402 h 815526"/>
                  <a:gd name="connsiteX240" fmla="*/ 278159 w 915678"/>
                  <a:gd name="connsiteY240" fmla="*/ 696891 h 815526"/>
                  <a:gd name="connsiteX241" fmla="*/ 270648 w 915678"/>
                  <a:gd name="connsiteY241" fmla="*/ 696390 h 815526"/>
                  <a:gd name="connsiteX242" fmla="*/ 270648 w 915678"/>
                  <a:gd name="connsiteY242" fmla="*/ 703973 h 815526"/>
                  <a:gd name="connsiteX243" fmla="*/ 233592 w 915678"/>
                  <a:gd name="connsiteY243" fmla="*/ 736594 h 815526"/>
                  <a:gd name="connsiteX244" fmla="*/ 240269 w 915678"/>
                  <a:gd name="connsiteY244" fmla="*/ 736641 h 815526"/>
                  <a:gd name="connsiteX245" fmla="*/ 240316 w 915678"/>
                  <a:gd name="connsiteY245" fmla="*/ 736594 h 815526"/>
                  <a:gd name="connsiteX246" fmla="*/ 240269 w 915678"/>
                  <a:gd name="connsiteY246" fmla="*/ 729917 h 815526"/>
                  <a:gd name="connsiteX247" fmla="*/ 233592 w 915678"/>
                  <a:gd name="connsiteY247" fmla="*/ 729964 h 815526"/>
                  <a:gd name="connsiteX248" fmla="*/ 233592 w 915678"/>
                  <a:gd name="connsiteY248" fmla="*/ 736594 h 815526"/>
                  <a:gd name="connsiteX249" fmla="*/ 196678 w 915678"/>
                  <a:gd name="connsiteY249" fmla="*/ 769358 h 815526"/>
                  <a:gd name="connsiteX250" fmla="*/ 202344 w 915678"/>
                  <a:gd name="connsiteY250" fmla="*/ 769301 h 815526"/>
                  <a:gd name="connsiteX251" fmla="*/ 202285 w 915678"/>
                  <a:gd name="connsiteY251" fmla="*/ 763635 h 815526"/>
                  <a:gd name="connsiteX252" fmla="*/ 196678 w 915678"/>
                  <a:gd name="connsiteY252" fmla="*/ 763635 h 815526"/>
                  <a:gd name="connsiteX253" fmla="*/ 196678 w 915678"/>
                  <a:gd name="connsiteY253" fmla="*/ 769358 h 815526"/>
                  <a:gd name="connsiteX254" fmla="*/ 159765 w 915678"/>
                  <a:gd name="connsiteY254" fmla="*/ 802122 h 815526"/>
                  <a:gd name="connsiteX255" fmla="*/ 164621 w 915678"/>
                  <a:gd name="connsiteY255" fmla="*/ 802113 h 815526"/>
                  <a:gd name="connsiteX256" fmla="*/ 164612 w 915678"/>
                  <a:gd name="connsiteY256" fmla="*/ 797258 h 815526"/>
                  <a:gd name="connsiteX257" fmla="*/ 159765 w 915678"/>
                  <a:gd name="connsiteY257" fmla="*/ 797258 h 815526"/>
                  <a:gd name="connsiteX258" fmla="*/ 159756 w 915678"/>
                  <a:gd name="connsiteY258" fmla="*/ 802113 h 815526"/>
                  <a:gd name="connsiteX259" fmla="*/ 159765 w 915678"/>
                  <a:gd name="connsiteY259" fmla="*/ 802122 h 815526"/>
                  <a:gd name="connsiteX260" fmla="*/ 470667 w 915678"/>
                  <a:gd name="connsiteY260" fmla="*/ 483924 h 815526"/>
                  <a:gd name="connsiteX261" fmla="*/ 483174 w 915678"/>
                  <a:gd name="connsiteY261" fmla="*/ 484885 h 815526"/>
                  <a:gd name="connsiteX262" fmla="*/ 484137 w 915678"/>
                  <a:gd name="connsiteY262" fmla="*/ 472378 h 815526"/>
                  <a:gd name="connsiteX263" fmla="*/ 483973 w 915678"/>
                  <a:gd name="connsiteY263" fmla="*/ 472192 h 815526"/>
                  <a:gd name="connsiteX264" fmla="*/ 471442 w 915678"/>
                  <a:gd name="connsiteY264" fmla="*/ 471579 h 815526"/>
                  <a:gd name="connsiteX265" fmla="*/ 470667 w 915678"/>
                  <a:gd name="connsiteY265" fmla="*/ 483924 h 815526"/>
                  <a:gd name="connsiteX266" fmla="*/ 433753 w 915678"/>
                  <a:gd name="connsiteY266" fmla="*/ 516688 h 815526"/>
                  <a:gd name="connsiteX267" fmla="*/ 445458 w 915678"/>
                  <a:gd name="connsiteY267" fmla="*/ 517535 h 815526"/>
                  <a:gd name="connsiteX268" fmla="*/ 446305 w 915678"/>
                  <a:gd name="connsiteY268" fmla="*/ 505830 h 815526"/>
                  <a:gd name="connsiteX269" fmla="*/ 434600 w 915678"/>
                  <a:gd name="connsiteY269" fmla="*/ 504983 h 815526"/>
                  <a:gd name="connsiteX270" fmla="*/ 434469 w 915678"/>
                  <a:gd name="connsiteY270" fmla="*/ 505099 h 815526"/>
                  <a:gd name="connsiteX271" fmla="*/ 433680 w 915678"/>
                  <a:gd name="connsiteY271" fmla="*/ 516605 h 815526"/>
                  <a:gd name="connsiteX272" fmla="*/ 433753 w 915678"/>
                  <a:gd name="connsiteY272" fmla="*/ 516688 h 815526"/>
                  <a:gd name="connsiteX273" fmla="*/ 396840 w 915678"/>
                  <a:gd name="connsiteY273" fmla="*/ 549452 h 815526"/>
                  <a:gd name="connsiteX274" fmla="*/ 407359 w 915678"/>
                  <a:gd name="connsiteY274" fmla="*/ 549664 h 815526"/>
                  <a:gd name="connsiteX275" fmla="*/ 407571 w 915678"/>
                  <a:gd name="connsiteY275" fmla="*/ 549452 h 815526"/>
                  <a:gd name="connsiteX276" fmla="*/ 408449 w 915678"/>
                  <a:gd name="connsiteY276" fmla="*/ 538764 h 815526"/>
                  <a:gd name="connsiteX277" fmla="*/ 408286 w 915678"/>
                  <a:gd name="connsiteY277" fmla="*/ 538578 h 815526"/>
                  <a:gd name="connsiteX278" fmla="*/ 397412 w 915678"/>
                  <a:gd name="connsiteY278" fmla="*/ 537863 h 815526"/>
                  <a:gd name="connsiteX279" fmla="*/ 397412 w 915678"/>
                  <a:gd name="connsiteY279" fmla="*/ 548737 h 815526"/>
                  <a:gd name="connsiteX280" fmla="*/ 359068 w 915678"/>
                  <a:gd name="connsiteY280" fmla="*/ 581787 h 815526"/>
                  <a:gd name="connsiteX281" fmla="*/ 368982 w 915678"/>
                  <a:gd name="connsiteY281" fmla="*/ 581685 h 815526"/>
                  <a:gd name="connsiteX282" fmla="*/ 368882 w 915678"/>
                  <a:gd name="connsiteY282" fmla="*/ 571772 h 815526"/>
                  <a:gd name="connsiteX283" fmla="*/ 359068 w 915678"/>
                  <a:gd name="connsiteY283" fmla="*/ 571772 h 815526"/>
                  <a:gd name="connsiteX284" fmla="*/ 359068 w 915678"/>
                  <a:gd name="connsiteY284" fmla="*/ 581787 h 815526"/>
                  <a:gd name="connsiteX285" fmla="*/ 322155 w 915678"/>
                  <a:gd name="connsiteY285" fmla="*/ 614551 h 815526"/>
                  <a:gd name="connsiteX286" fmla="*/ 331260 w 915678"/>
                  <a:gd name="connsiteY286" fmla="*/ 614602 h 815526"/>
                  <a:gd name="connsiteX287" fmla="*/ 331312 w 915678"/>
                  <a:gd name="connsiteY287" fmla="*/ 614551 h 815526"/>
                  <a:gd name="connsiteX288" fmla="*/ 331884 w 915678"/>
                  <a:gd name="connsiteY288" fmla="*/ 605394 h 815526"/>
                  <a:gd name="connsiteX289" fmla="*/ 322727 w 915678"/>
                  <a:gd name="connsiteY289" fmla="*/ 604822 h 815526"/>
                  <a:gd name="connsiteX290" fmla="*/ 322676 w 915678"/>
                  <a:gd name="connsiteY290" fmla="*/ 613927 h 815526"/>
                  <a:gd name="connsiteX291" fmla="*/ 322727 w 915678"/>
                  <a:gd name="connsiteY291" fmla="*/ 613979 h 815526"/>
                  <a:gd name="connsiteX292" fmla="*/ 284669 w 915678"/>
                  <a:gd name="connsiteY292" fmla="*/ 647744 h 815526"/>
                  <a:gd name="connsiteX293" fmla="*/ 292965 w 915678"/>
                  <a:gd name="connsiteY293" fmla="*/ 647741 h 815526"/>
                  <a:gd name="connsiteX294" fmla="*/ 292963 w 915678"/>
                  <a:gd name="connsiteY294" fmla="*/ 639446 h 815526"/>
                  <a:gd name="connsiteX295" fmla="*/ 284669 w 915678"/>
                  <a:gd name="connsiteY295" fmla="*/ 639446 h 815526"/>
                  <a:gd name="connsiteX296" fmla="*/ 284666 w 915678"/>
                  <a:gd name="connsiteY296" fmla="*/ 647741 h 815526"/>
                  <a:gd name="connsiteX297" fmla="*/ 284669 w 915678"/>
                  <a:gd name="connsiteY297" fmla="*/ 647744 h 815526"/>
                  <a:gd name="connsiteX298" fmla="*/ 248185 w 915678"/>
                  <a:gd name="connsiteY298" fmla="*/ 680509 h 815526"/>
                  <a:gd name="connsiteX299" fmla="*/ 255667 w 915678"/>
                  <a:gd name="connsiteY299" fmla="*/ 680224 h 815526"/>
                  <a:gd name="connsiteX300" fmla="*/ 256054 w 915678"/>
                  <a:gd name="connsiteY300" fmla="*/ 673498 h 815526"/>
                  <a:gd name="connsiteX301" fmla="*/ 248656 w 915678"/>
                  <a:gd name="connsiteY301" fmla="*/ 672355 h 815526"/>
                  <a:gd name="connsiteX302" fmla="*/ 247513 w 915678"/>
                  <a:gd name="connsiteY302" fmla="*/ 679753 h 815526"/>
                  <a:gd name="connsiteX303" fmla="*/ 248185 w 915678"/>
                  <a:gd name="connsiteY303" fmla="*/ 680509 h 815526"/>
                  <a:gd name="connsiteX304" fmla="*/ 211272 w 915678"/>
                  <a:gd name="connsiteY304" fmla="*/ 713273 h 815526"/>
                  <a:gd name="connsiteX305" fmla="*/ 217746 w 915678"/>
                  <a:gd name="connsiteY305" fmla="*/ 713380 h 815526"/>
                  <a:gd name="connsiteX306" fmla="*/ 217853 w 915678"/>
                  <a:gd name="connsiteY306" fmla="*/ 713273 h 815526"/>
                  <a:gd name="connsiteX307" fmla="*/ 217853 w 915678"/>
                  <a:gd name="connsiteY307" fmla="*/ 706691 h 815526"/>
                  <a:gd name="connsiteX308" fmla="*/ 211339 w 915678"/>
                  <a:gd name="connsiteY308" fmla="*/ 705223 h 815526"/>
                  <a:gd name="connsiteX309" fmla="*/ 209871 w 915678"/>
                  <a:gd name="connsiteY309" fmla="*/ 711736 h 815526"/>
                  <a:gd name="connsiteX310" fmla="*/ 210843 w 915678"/>
                  <a:gd name="connsiteY310" fmla="*/ 712843 h 815526"/>
                  <a:gd name="connsiteX311" fmla="*/ 173786 w 915678"/>
                  <a:gd name="connsiteY311" fmla="*/ 745607 h 815526"/>
                  <a:gd name="connsiteX312" fmla="*/ 179652 w 915678"/>
                  <a:gd name="connsiteY312" fmla="*/ 745607 h 815526"/>
                  <a:gd name="connsiteX313" fmla="*/ 179652 w 915678"/>
                  <a:gd name="connsiteY313" fmla="*/ 739885 h 815526"/>
                  <a:gd name="connsiteX314" fmla="*/ 174196 w 915678"/>
                  <a:gd name="connsiteY314" fmla="*/ 739618 h 815526"/>
                  <a:gd name="connsiteX315" fmla="*/ 173929 w 915678"/>
                  <a:gd name="connsiteY315" fmla="*/ 739885 h 815526"/>
                  <a:gd name="connsiteX316" fmla="*/ 173872 w 915678"/>
                  <a:gd name="connsiteY316" fmla="*/ 745550 h 815526"/>
                  <a:gd name="connsiteX317" fmla="*/ 173929 w 915678"/>
                  <a:gd name="connsiteY317" fmla="*/ 745607 h 815526"/>
                  <a:gd name="connsiteX318" fmla="*/ 137302 w 915678"/>
                  <a:gd name="connsiteY318" fmla="*/ 778801 h 815526"/>
                  <a:gd name="connsiteX319" fmla="*/ 142158 w 915678"/>
                  <a:gd name="connsiteY319" fmla="*/ 778792 h 815526"/>
                  <a:gd name="connsiteX320" fmla="*/ 142150 w 915678"/>
                  <a:gd name="connsiteY320" fmla="*/ 773936 h 815526"/>
                  <a:gd name="connsiteX321" fmla="*/ 137302 w 915678"/>
                  <a:gd name="connsiteY321" fmla="*/ 773936 h 815526"/>
                  <a:gd name="connsiteX322" fmla="*/ 137294 w 915678"/>
                  <a:gd name="connsiteY322" fmla="*/ 778792 h 815526"/>
                  <a:gd name="connsiteX323" fmla="*/ 137302 w 915678"/>
                  <a:gd name="connsiteY323" fmla="*/ 778801 h 815526"/>
                  <a:gd name="connsiteX324" fmla="*/ 449205 w 915678"/>
                  <a:gd name="connsiteY324" fmla="*/ 460459 h 815526"/>
                  <a:gd name="connsiteX325" fmla="*/ 461547 w 915678"/>
                  <a:gd name="connsiteY325" fmla="*/ 460565 h 815526"/>
                  <a:gd name="connsiteX326" fmla="*/ 461653 w 915678"/>
                  <a:gd name="connsiteY326" fmla="*/ 460459 h 815526"/>
                  <a:gd name="connsiteX327" fmla="*/ 462511 w 915678"/>
                  <a:gd name="connsiteY327" fmla="*/ 448012 h 815526"/>
                  <a:gd name="connsiteX328" fmla="*/ 449921 w 915678"/>
                  <a:gd name="connsiteY328" fmla="*/ 447153 h 815526"/>
                  <a:gd name="connsiteX329" fmla="*/ 449875 w 915678"/>
                  <a:gd name="connsiteY329" fmla="*/ 459698 h 815526"/>
                  <a:gd name="connsiteX330" fmla="*/ 449921 w 915678"/>
                  <a:gd name="connsiteY330" fmla="*/ 459744 h 815526"/>
                  <a:gd name="connsiteX331" fmla="*/ 412864 w 915678"/>
                  <a:gd name="connsiteY331" fmla="*/ 492508 h 815526"/>
                  <a:gd name="connsiteX332" fmla="*/ 424512 w 915678"/>
                  <a:gd name="connsiteY332" fmla="*/ 493940 h 815526"/>
                  <a:gd name="connsiteX333" fmla="*/ 425944 w 915678"/>
                  <a:gd name="connsiteY333" fmla="*/ 482293 h 815526"/>
                  <a:gd name="connsiteX334" fmla="*/ 414297 w 915678"/>
                  <a:gd name="connsiteY334" fmla="*/ 480860 h 815526"/>
                  <a:gd name="connsiteX335" fmla="*/ 413437 w 915678"/>
                  <a:gd name="connsiteY335" fmla="*/ 481635 h 815526"/>
                  <a:gd name="connsiteX336" fmla="*/ 412704 w 915678"/>
                  <a:gd name="connsiteY336" fmla="*/ 493347 h 815526"/>
                  <a:gd name="connsiteX337" fmla="*/ 412721 w 915678"/>
                  <a:gd name="connsiteY337" fmla="*/ 493367 h 815526"/>
                  <a:gd name="connsiteX338" fmla="*/ 375236 w 915678"/>
                  <a:gd name="connsiteY338" fmla="*/ 525988 h 815526"/>
                  <a:gd name="connsiteX339" fmla="*/ 386109 w 915678"/>
                  <a:gd name="connsiteY339" fmla="*/ 525988 h 815526"/>
                  <a:gd name="connsiteX340" fmla="*/ 386109 w 915678"/>
                  <a:gd name="connsiteY340" fmla="*/ 515114 h 815526"/>
                  <a:gd name="connsiteX341" fmla="*/ 375386 w 915678"/>
                  <a:gd name="connsiteY341" fmla="*/ 514964 h 815526"/>
                  <a:gd name="connsiteX342" fmla="*/ 375236 w 915678"/>
                  <a:gd name="connsiteY342" fmla="*/ 515114 h 815526"/>
                  <a:gd name="connsiteX343" fmla="*/ 375236 w 915678"/>
                  <a:gd name="connsiteY343" fmla="*/ 525988 h 815526"/>
                  <a:gd name="connsiteX344" fmla="*/ 338179 w 915678"/>
                  <a:gd name="connsiteY344" fmla="*/ 558752 h 815526"/>
                  <a:gd name="connsiteX345" fmla="*/ 348195 w 915678"/>
                  <a:gd name="connsiteY345" fmla="*/ 558752 h 815526"/>
                  <a:gd name="connsiteX346" fmla="*/ 349027 w 915678"/>
                  <a:gd name="connsiteY346" fmla="*/ 548873 h 815526"/>
                  <a:gd name="connsiteX347" fmla="*/ 348910 w 915678"/>
                  <a:gd name="connsiteY347" fmla="*/ 548737 h 815526"/>
                  <a:gd name="connsiteX348" fmla="*/ 338895 w 915678"/>
                  <a:gd name="connsiteY348" fmla="*/ 548737 h 815526"/>
                  <a:gd name="connsiteX349" fmla="*/ 338793 w 915678"/>
                  <a:gd name="connsiteY349" fmla="*/ 558650 h 815526"/>
                  <a:gd name="connsiteX350" fmla="*/ 338895 w 915678"/>
                  <a:gd name="connsiteY350" fmla="*/ 558752 h 815526"/>
                  <a:gd name="connsiteX351" fmla="*/ 301981 w 915678"/>
                  <a:gd name="connsiteY351" fmla="*/ 591516 h 815526"/>
                  <a:gd name="connsiteX352" fmla="*/ 311138 w 915678"/>
                  <a:gd name="connsiteY352" fmla="*/ 591516 h 815526"/>
                  <a:gd name="connsiteX353" fmla="*/ 311710 w 915678"/>
                  <a:gd name="connsiteY353" fmla="*/ 582359 h 815526"/>
                  <a:gd name="connsiteX354" fmla="*/ 302554 w 915678"/>
                  <a:gd name="connsiteY354" fmla="*/ 581787 h 815526"/>
                  <a:gd name="connsiteX355" fmla="*/ 302554 w 915678"/>
                  <a:gd name="connsiteY355" fmla="*/ 590944 h 815526"/>
                  <a:gd name="connsiteX356" fmla="*/ 264353 w 915678"/>
                  <a:gd name="connsiteY356" fmla="*/ 624709 h 815526"/>
                  <a:gd name="connsiteX357" fmla="*/ 272648 w 915678"/>
                  <a:gd name="connsiteY357" fmla="*/ 624706 h 815526"/>
                  <a:gd name="connsiteX358" fmla="*/ 272647 w 915678"/>
                  <a:gd name="connsiteY358" fmla="*/ 616411 h 815526"/>
                  <a:gd name="connsiteX359" fmla="*/ 264353 w 915678"/>
                  <a:gd name="connsiteY359" fmla="*/ 616411 h 815526"/>
                  <a:gd name="connsiteX360" fmla="*/ 264350 w 915678"/>
                  <a:gd name="connsiteY360" fmla="*/ 624706 h 815526"/>
                  <a:gd name="connsiteX361" fmla="*/ 264353 w 915678"/>
                  <a:gd name="connsiteY361" fmla="*/ 624709 h 815526"/>
                  <a:gd name="connsiteX362" fmla="*/ 227439 w 915678"/>
                  <a:gd name="connsiteY362" fmla="*/ 657044 h 815526"/>
                  <a:gd name="connsiteX363" fmla="*/ 235022 w 915678"/>
                  <a:gd name="connsiteY363" fmla="*/ 657044 h 815526"/>
                  <a:gd name="connsiteX364" fmla="*/ 235022 w 915678"/>
                  <a:gd name="connsiteY364" fmla="*/ 649604 h 815526"/>
                  <a:gd name="connsiteX365" fmla="*/ 227511 w 915678"/>
                  <a:gd name="connsiteY365" fmla="*/ 649104 h 815526"/>
                  <a:gd name="connsiteX366" fmla="*/ 227010 w 915678"/>
                  <a:gd name="connsiteY366" fmla="*/ 656615 h 815526"/>
                  <a:gd name="connsiteX367" fmla="*/ 190097 w 915678"/>
                  <a:gd name="connsiteY367" fmla="*/ 689379 h 815526"/>
                  <a:gd name="connsiteX368" fmla="*/ 196678 w 915678"/>
                  <a:gd name="connsiteY368" fmla="*/ 689379 h 815526"/>
                  <a:gd name="connsiteX369" fmla="*/ 196786 w 915678"/>
                  <a:gd name="connsiteY369" fmla="*/ 682905 h 815526"/>
                  <a:gd name="connsiteX370" fmla="*/ 196678 w 915678"/>
                  <a:gd name="connsiteY370" fmla="*/ 682798 h 815526"/>
                  <a:gd name="connsiteX371" fmla="*/ 190097 w 915678"/>
                  <a:gd name="connsiteY371" fmla="*/ 682798 h 815526"/>
                  <a:gd name="connsiteX372" fmla="*/ 189990 w 915678"/>
                  <a:gd name="connsiteY372" fmla="*/ 689272 h 815526"/>
                  <a:gd name="connsiteX373" fmla="*/ 190097 w 915678"/>
                  <a:gd name="connsiteY373" fmla="*/ 689379 h 815526"/>
                  <a:gd name="connsiteX374" fmla="*/ 153184 w 915678"/>
                  <a:gd name="connsiteY374" fmla="*/ 722143 h 815526"/>
                  <a:gd name="connsiteX375" fmla="*/ 158907 w 915678"/>
                  <a:gd name="connsiteY375" fmla="*/ 722143 h 815526"/>
                  <a:gd name="connsiteX376" fmla="*/ 159173 w 915678"/>
                  <a:gd name="connsiteY376" fmla="*/ 716686 h 815526"/>
                  <a:gd name="connsiteX377" fmla="*/ 158907 w 915678"/>
                  <a:gd name="connsiteY377" fmla="*/ 716420 h 815526"/>
                  <a:gd name="connsiteX378" fmla="*/ 153241 w 915678"/>
                  <a:gd name="connsiteY378" fmla="*/ 716363 h 815526"/>
                  <a:gd name="connsiteX379" fmla="*/ 153184 w 915678"/>
                  <a:gd name="connsiteY379" fmla="*/ 716420 h 815526"/>
                  <a:gd name="connsiteX380" fmla="*/ 153184 w 915678"/>
                  <a:gd name="connsiteY380" fmla="*/ 722286 h 815526"/>
                  <a:gd name="connsiteX381" fmla="*/ 116127 w 915678"/>
                  <a:gd name="connsiteY381" fmla="*/ 755050 h 815526"/>
                  <a:gd name="connsiteX382" fmla="*/ 121185 w 915678"/>
                  <a:gd name="connsiteY382" fmla="*/ 755101 h 815526"/>
                  <a:gd name="connsiteX383" fmla="*/ 121236 w 915678"/>
                  <a:gd name="connsiteY383" fmla="*/ 750043 h 815526"/>
                  <a:gd name="connsiteX384" fmla="*/ 116177 w 915678"/>
                  <a:gd name="connsiteY384" fmla="*/ 749993 h 815526"/>
                  <a:gd name="connsiteX385" fmla="*/ 116127 w 915678"/>
                  <a:gd name="connsiteY385" fmla="*/ 750043 h 815526"/>
                  <a:gd name="connsiteX386" fmla="*/ 116127 w 915678"/>
                  <a:gd name="connsiteY386" fmla="*/ 755050 h 815526"/>
                  <a:gd name="connsiteX387" fmla="*/ 79214 w 915678"/>
                  <a:gd name="connsiteY387" fmla="*/ 787672 h 815526"/>
                  <a:gd name="connsiteX388" fmla="*/ 83055 w 915678"/>
                  <a:gd name="connsiteY388" fmla="*/ 787838 h 815526"/>
                  <a:gd name="connsiteX389" fmla="*/ 83220 w 915678"/>
                  <a:gd name="connsiteY389" fmla="*/ 787672 h 815526"/>
                  <a:gd name="connsiteX390" fmla="*/ 83385 w 915678"/>
                  <a:gd name="connsiteY390" fmla="*/ 783830 h 815526"/>
                  <a:gd name="connsiteX391" fmla="*/ 83220 w 915678"/>
                  <a:gd name="connsiteY391" fmla="*/ 783665 h 815526"/>
                  <a:gd name="connsiteX392" fmla="*/ 79214 w 915678"/>
                  <a:gd name="connsiteY392" fmla="*/ 783665 h 815526"/>
                  <a:gd name="connsiteX393" fmla="*/ 79049 w 915678"/>
                  <a:gd name="connsiteY393" fmla="*/ 787506 h 815526"/>
                  <a:gd name="connsiteX394" fmla="*/ 79214 w 915678"/>
                  <a:gd name="connsiteY394" fmla="*/ 787672 h 815526"/>
                  <a:gd name="connsiteX395" fmla="*/ 479823 w 915678"/>
                  <a:gd name="connsiteY395" fmla="*/ 391354 h 815526"/>
                  <a:gd name="connsiteX396" fmla="*/ 467233 w 915678"/>
                  <a:gd name="connsiteY396" fmla="*/ 390496 h 815526"/>
                  <a:gd name="connsiteX397" fmla="*/ 466374 w 915678"/>
                  <a:gd name="connsiteY397" fmla="*/ 403086 h 815526"/>
                  <a:gd name="connsiteX398" fmla="*/ 478965 w 915678"/>
                  <a:gd name="connsiteY398" fmla="*/ 403945 h 815526"/>
                  <a:gd name="connsiteX399" fmla="*/ 479823 w 915678"/>
                  <a:gd name="connsiteY399" fmla="*/ 391354 h 815526"/>
                  <a:gd name="connsiteX400" fmla="*/ 516737 w 915678"/>
                  <a:gd name="connsiteY400" fmla="*/ 358590 h 815526"/>
                  <a:gd name="connsiteX401" fmla="*/ 505032 w 915678"/>
                  <a:gd name="connsiteY401" fmla="*/ 357743 h 815526"/>
                  <a:gd name="connsiteX402" fmla="*/ 504185 w 915678"/>
                  <a:gd name="connsiteY402" fmla="*/ 369448 h 815526"/>
                  <a:gd name="connsiteX403" fmla="*/ 515890 w 915678"/>
                  <a:gd name="connsiteY403" fmla="*/ 370295 h 815526"/>
                  <a:gd name="connsiteX404" fmla="*/ 516021 w 915678"/>
                  <a:gd name="connsiteY404" fmla="*/ 370179 h 815526"/>
                  <a:gd name="connsiteX405" fmla="*/ 516810 w 915678"/>
                  <a:gd name="connsiteY405" fmla="*/ 358673 h 815526"/>
                  <a:gd name="connsiteX406" fmla="*/ 516737 w 915678"/>
                  <a:gd name="connsiteY406" fmla="*/ 358590 h 815526"/>
                  <a:gd name="connsiteX407" fmla="*/ 553650 w 915678"/>
                  <a:gd name="connsiteY407" fmla="*/ 325826 h 815526"/>
                  <a:gd name="connsiteX408" fmla="*/ 542848 w 915678"/>
                  <a:gd name="connsiteY408" fmla="*/ 325182 h 815526"/>
                  <a:gd name="connsiteX409" fmla="*/ 542204 w 915678"/>
                  <a:gd name="connsiteY409" fmla="*/ 335984 h 815526"/>
                  <a:gd name="connsiteX410" fmla="*/ 553078 w 915678"/>
                  <a:gd name="connsiteY410" fmla="*/ 335984 h 815526"/>
                  <a:gd name="connsiteX411" fmla="*/ 553078 w 915678"/>
                  <a:gd name="connsiteY411" fmla="*/ 325111 h 815526"/>
                  <a:gd name="connsiteX412" fmla="*/ 590134 w 915678"/>
                  <a:gd name="connsiteY412" fmla="*/ 292347 h 815526"/>
                  <a:gd name="connsiteX413" fmla="*/ 580426 w 915678"/>
                  <a:gd name="connsiteY413" fmla="*/ 292039 h 815526"/>
                  <a:gd name="connsiteX414" fmla="*/ 580119 w 915678"/>
                  <a:gd name="connsiteY414" fmla="*/ 292347 h 815526"/>
                  <a:gd name="connsiteX415" fmla="*/ 579286 w 915678"/>
                  <a:gd name="connsiteY415" fmla="*/ 302226 h 815526"/>
                  <a:gd name="connsiteX416" fmla="*/ 579403 w 915678"/>
                  <a:gd name="connsiteY416" fmla="*/ 302362 h 815526"/>
                  <a:gd name="connsiteX417" fmla="*/ 589419 w 915678"/>
                  <a:gd name="connsiteY417" fmla="*/ 302362 h 815526"/>
                  <a:gd name="connsiteX418" fmla="*/ 589520 w 915678"/>
                  <a:gd name="connsiteY418" fmla="*/ 292448 h 815526"/>
                  <a:gd name="connsiteX419" fmla="*/ 589419 w 915678"/>
                  <a:gd name="connsiteY419" fmla="*/ 292347 h 815526"/>
                  <a:gd name="connsiteX420" fmla="*/ 628049 w 915678"/>
                  <a:gd name="connsiteY420" fmla="*/ 260584 h 815526"/>
                  <a:gd name="connsiteX421" fmla="*/ 618944 w 915678"/>
                  <a:gd name="connsiteY421" fmla="*/ 260532 h 815526"/>
                  <a:gd name="connsiteX422" fmla="*/ 618892 w 915678"/>
                  <a:gd name="connsiteY422" fmla="*/ 260584 h 815526"/>
                  <a:gd name="connsiteX423" fmla="*/ 618320 w 915678"/>
                  <a:gd name="connsiteY423" fmla="*/ 269741 h 815526"/>
                  <a:gd name="connsiteX424" fmla="*/ 627477 w 915678"/>
                  <a:gd name="connsiteY424" fmla="*/ 270313 h 815526"/>
                  <a:gd name="connsiteX425" fmla="*/ 627528 w 915678"/>
                  <a:gd name="connsiteY425" fmla="*/ 261208 h 815526"/>
                  <a:gd name="connsiteX426" fmla="*/ 627477 w 915678"/>
                  <a:gd name="connsiteY426" fmla="*/ 261156 h 815526"/>
                  <a:gd name="connsiteX427" fmla="*/ 664390 w 915678"/>
                  <a:gd name="connsiteY427" fmla="*/ 228392 h 815526"/>
                  <a:gd name="connsiteX428" fmla="*/ 656094 w 915678"/>
                  <a:gd name="connsiteY428" fmla="*/ 228395 h 815526"/>
                  <a:gd name="connsiteX429" fmla="*/ 656096 w 915678"/>
                  <a:gd name="connsiteY429" fmla="*/ 236690 h 815526"/>
                  <a:gd name="connsiteX430" fmla="*/ 664390 w 915678"/>
                  <a:gd name="connsiteY430" fmla="*/ 236690 h 815526"/>
                  <a:gd name="connsiteX431" fmla="*/ 664393 w 915678"/>
                  <a:gd name="connsiteY431" fmla="*/ 228395 h 815526"/>
                  <a:gd name="connsiteX432" fmla="*/ 664390 w 915678"/>
                  <a:gd name="connsiteY432" fmla="*/ 228392 h 815526"/>
                  <a:gd name="connsiteX433" fmla="*/ 701303 w 915678"/>
                  <a:gd name="connsiteY433" fmla="*/ 195485 h 815526"/>
                  <a:gd name="connsiteX434" fmla="*/ 693792 w 915678"/>
                  <a:gd name="connsiteY434" fmla="*/ 194984 h 815526"/>
                  <a:gd name="connsiteX435" fmla="*/ 693291 w 915678"/>
                  <a:gd name="connsiteY435" fmla="*/ 202496 h 815526"/>
                  <a:gd name="connsiteX436" fmla="*/ 700802 w 915678"/>
                  <a:gd name="connsiteY436" fmla="*/ 202996 h 815526"/>
                  <a:gd name="connsiteX437" fmla="*/ 701303 w 915678"/>
                  <a:gd name="connsiteY437" fmla="*/ 195485 h 815526"/>
                  <a:gd name="connsiteX438" fmla="*/ 738216 w 915678"/>
                  <a:gd name="connsiteY438" fmla="*/ 162721 h 815526"/>
                  <a:gd name="connsiteX439" fmla="*/ 731635 w 915678"/>
                  <a:gd name="connsiteY439" fmla="*/ 162721 h 815526"/>
                  <a:gd name="connsiteX440" fmla="*/ 731541 w 915678"/>
                  <a:gd name="connsiteY440" fmla="*/ 169397 h 815526"/>
                  <a:gd name="connsiteX441" fmla="*/ 738216 w 915678"/>
                  <a:gd name="connsiteY441" fmla="*/ 169493 h 815526"/>
                  <a:gd name="connsiteX442" fmla="*/ 738311 w 915678"/>
                  <a:gd name="connsiteY442" fmla="*/ 162815 h 815526"/>
                  <a:gd name="connsiteX443" fmla="*/ 738216 w 915678"/>
                  <a:gd name="connsiteY443" fmla="*/ 162721 h 815526"/>
                  <a:gd name="connsiteX444" fmla="*/ 775130 w 915678"/>
                  <a:gd name="connsiteY444" fmla="*/ 129957 h 815526"/>
                  <a:gd name="connsiteX445" fmla="*/ 769464 w 915678"/>
                  <a:gd name="connsiteY445" fmla="*/ 130014 h 815526"/>
                  <a:gd name="connsiteX446" fmla="*/ 769523 w 915678"/>
                  <a:gd name="connsiteY446" fmla="*/ 135680 h 815526"/>
                  <a:gd name="connsiteX447" fmla="*/ 775130 w 915678"/>
                  <a:gd name="connsiteY447" fmla="*/ 135680 h 815526"/>
                  <a:gd name="connsiteX448" fmla="*/ 775396 w 915678"/>
                  <a:gd name="connsiteY448" fmla="*/ 130223 h 815526"/>
                  <a:gd name="connsiteX449" fmla="*/ 775130 w 915678"/>
                  <a:gd name="connsiteY449" fmla="*/ 129957 h 815526"/>
                  <a:gd name="connsiteX450" fmla="*/ 812186 w 915678"/>
                  <a:gd name="connsiteY450" fmla="*/ 97192 h 815526"/>
                  <a:gd name="connsiteX451" fmla="*/ 807330 w 915678"/>
                  <a:gd name="connsiteY451" fmla="*/ 97201 h 815526"/>
                  <a:gd name="connsiteX452" fmla="*/ 807339 w 915678"/>
                  <a:gd name="connsiteY452" fmla="*/ 102057 h 815526"/>
                  <a:gd name="connsiteX453" fmla="*/ 812186 w 915678"/>
                  <a:gd name="connsiteY453" fmla="*/ 102057 h 815526"/>
                  <a:gd name="connsiteX454" fmla="*/ 812195 w 915678"/>
                  <a:gd name="connsiteY454" fmla="*/ 97201 h 815526"/>
                  <a:gd name="connsiteX455" fmla="*/ 812186 w 915678"/>
                  <a:gd name="connsiteY455" fmla="*/ 97192 h 815526"/>
                  <a:gd name="connsiteX456" fmla="*/ 849099 w 915678"/>
                  <a:gd name="connsiteY456" fmla="*/ 64428 h 815526"/>
                  <a:gd name="connsiteX457" fmla="*/ 845022 w 915678"/>
                  <a:gd name="connsiteY457" fmla="*/ 64214 h 815526"/>
                  <a:gd name="connsiteX458" fmla="*/ 844807 w 915678"/>
                  <a:gd name="connsiteY458" fmla="*/ 68291 h 815526"/>
                  <a:gd name="connsiteX459" fmla="*/ 848813 w 915678"/>
                  <a:gd name="connsiteY459" fmla="*/ 68291 h 815526"/>
                  <a:gd name="connsiteX460" fmla="*/ 848813 w 915678"/>
                  <a:gd name="connsiteY460" fmla="*/ 64142 h 815526"/>
                  <a:gd name="connsiteX461" fmla="*/ 458648 w 915678"/>
                  <a:gd name="connsiteY461" fmla="*/ 368033 h 815526"/>
                  <a:gd name="connsiteX462" fmla="*/ 446058 w 915678"/>
                  <a:gd name="connsiteY462" fmla="*/ 367318 h 815526"/>
                  <a:gd name="connsiteX463" fmla="*/ 445281 w 915678"/>
                  <a:gd name="connsiteY463" fmla="*/ 379838 h 815526"/>
                  <a:gd name="connsiteX464" fmla="*/ 445342 w 915678"/>
                  <a:gd name="connsiteY464" fmla="*/ 379908 h 815526"/>
                  <a:gd name="connsiteX465" fmla="*/ 457933 w 915678"/>
                  <a:gd name="connsiteY465" fmla="*/ 380624 h 815526"/>
                  <a:gd name="connsiteX466" fmla="*/ 458648 w 915678"/>
                  <a:gd name="connsiteY466" fmla="*/ 368033 h 815526"/>
                  <a:gd name="connsiteX467" fmla="*/ 495562 w 915678"/>
                  <a:gd name="connsiteY467" fmla="*/ 335269 h 815526"/>
                  <a:gd name="connsiteX468" fmla="*/ 483847 w 915678"/>
                  <a:gd name="connsiteY468" fmla="*/ 334574 h 815526"/>
                  <a:gd name="connsiteX469" fmla="*/ 483151 w 915678"/>
                  <a:gd name="connsiteY469" fmla="*/ 346289 h 815526"/>
                  <a:gd name="connsiteX470" fmla="*/ 494846 w 915678"/>
                  <a:gd name="connsiteY470" fmla="*/ 347001 h 815526"/>
                  <a:gd name="connsiteX471" fmla="*/ 495579 w 915678"/>
                  <a:gd name="connsiteY471" fmla="*/ 335289 h 815526"/>
                  <a:gd name="connsiteX472" fmla="*/ 495562 w 915678"/>
                  <a:gd name="connsiteY472" fmla="*/ 335269 h 815526"/>
                  <a:gd name="connsiteX473" fmla="*/ 532618 w 915678"/>
                  <a:gd name="connsiteY473" fmla="*/ 302505 h 815526"/>
                  <a:gd name="connsiteX474" fmla="*/ 521744 w 915678"/>
                  <a:gd name="connsiteY474" fmla="*/ 302505 h 815526"/>
                  <a:gd name="connsiteX475" fmla="*/ 521594 w 915678"/>
                  <a:gd name="connsiteY475" fmla="*/ 313228 h 815526"/>
                  <a:gd name="connsiteX476" fmla="*/ 521744 w 915678"/>
                  <a:gd name="connsiteY476" fmla="*/ 313379 h 815526"/>
                  <a:gd name="connsiteX477" fmla="*/ 532618 w 915678"/>
                  <a:gd name="connsiteY477" fmla="*/ 313379 h 815526"/>
                  <a:gd name="connsiteX478" fmla="*/ 532618 w 915678"/>
                  <a:gd name="connsiteY478" fmla="*/ 302505 h 815526"/>
                  <a:gd name="connsiteX479" fmla="*/ 569531 w 915678"/>
                  <a:gd name="connsiteY479" fmla="*/ 269741 h 815526"/>
                  <a:gd name="connsiteX480" fmla="*/ 559516 w 915678"/>
                  <a:gd name="connsiteY480" fmla="*/ 269741 h 815526"/>
                  <a:gd name="connsiteX481" fmla="*/ 560253 w 915678"/>
                  <a:gd name="connsiteY481" fmla="*/ 279830 h 815526"/>
                  <a:gd name="connsiteX482" fmla="*/ 568959 w 915678"/>
                  <a:gd name="connsiteY482" fmla="*/ 280328 h 815526"/>
                  <a:gd name="connsiteX483" fmla="*/ 568959 w 915678"/>
                  <a:gd name="connsiteY483" fmla="*/ 270313 h 815526"/>
                  <a:gd name="connsiteX484" fmla="*/ 605872 w 915678"/>
                  <a:gd name="connsiteY484" fmla="*/ 237549 h 815526"/>
                  <a:gd name="connsiteX485" fmla="*/ 596716 w 915678"/>
                  <a:gd name="connsiteY485" fmla="*/ 237549 h 815526"/>
                  <a:gd name="connsiteX486" fmla="*/ 596716 w 915678"/>
                  <a:gd name="connsiteY486" fmla="*/ 246706 h 815526"/>
                  <a:gd name="connsiteX487" fmla="*/ 605872 w 915678"/>
                  <a:gd name="connsiteY487" fmla="*/ 246706 h 815526"/>
                  <a:gd name="connsiteX488" fmla="*/ 605924 w 915678"/>
                  <a:gd name="connsiteY488" fmla="*/ 237600 h 815526"/>
                  <a:gd name="connsiteX489" fmla="*/ 605872 w 915678"/>
                  <a:gd name="connsiteY489" fmla="*/ 237549 h 815526"/>
                  <a:gd name="connsiteX490" fmla="*/ 642929 w 915678"/>
                  <a:gd name="connsiteY490" fmla="*/ 204928 h 815526"/>
                  <a:gd name="connsiteX491" fmla="*/ 634633 w 915678"/>
                  <a:gd name="connsiteY491" fmla="*/ 204931 h 815526"/>
                  <a:gd name="connsiteX492" fmla="*/ 634635 w 915678"/>
                  <a:gd name="connsiteY492" fmla="*/ 213226 h 815526"/>
                  <a:gd name="connsiteX493" fmla="*/ 642929 w 915678"/>
                  <a:gd name="connsiteY493" fmla="*/ 213226 h 815526"/>
                  <a:gd name="connsiteX494" fmla="*/ 642932 w 915678"/>
                  <a:gd name="connsiteY494" fmla="*/ 204931 h 815526"/>
                  <a:gd name="connsiteX495" fmla="*/ 642929 w 915678"/>
                  <a:gd name="connsiteY495" fmla="*/ 204928 h 815526"/>
                  <a:gd name="connsiteX496" fmla="*/ 679842 w 915678"/>
                  <a:gd name="connsiteY496" fmla="*/ 172164 h 815526"/>
                  <a:gd name="connsiteX497" fmla="*/ 672402 w 915678"/>
                  <a:gd name="connsiteY497" fmla="*/ 172164 h 815526"/>
                  <a:gd name="connsiteX498" fmla="*/ 671901 w 915678"/>
                  <a:gd name="connsiteY498" fmla="*/ 179675 h 815526"/>
                  <a:gd name="connsiteX499" fmla="*/ 679413 w 915678"/>
                  <a:gd name="connsiteY499" fmla="*/ 180176 h 815526"/>
                  <a:gd name="connsiteX500" fmla="*/ 679413 w 915678"/>
                  <a:gd name="connsiteY500" fmla="*/ 172736 h 815526"/>
                  <a:gd name="connsiteX501" fmla="*/ 717328 w 915678"/>
                  <a:gd name="connsiteY501" fmla="*/ 138255 h 815526"/>
                  <a:gd name="connsiteX502" fmla="*/ 710853 w 915678"/>
                  <a:gd name="connsiteY502" fmla="*/ 138148 h 815526"/>
                  <a:gd name="connsiteX503" fmla="*/ 710746 w 915678"/>
                  <a:gd name="connsiteY503" fmla="*/ 138255 h 815526"/>
                  <a:gd name="connsiteX504" fmla="*/ 710746 w 915678"/>
                  <a:gd name="connsiteY504" fmla="*/ 144836 h 815526"/>
                  <a:gd name="connsiteX505" fmla="*/ 717471 w 915678"/>
                  <a:gd name="connsiteY505" fmla="*/ 144836 h 815526"/>
                  <a:gd name="connsiteX506" fmla="*/ 717471 w 915678"/>
                  <a:gd name="connsiteY506" fmla="*/ 138255 h 815526"/>
                  <a:gd name="connsiteX507" fmla="*/ 754527 w 915678"/>
                  <a:gd name="connsiteY507" fmla="*/ 105491 h 815526"/>
                  <a:gd name="connsiteX508" fmla="*/ 748661 w 915678"/>
                  <a:gd name="connsiteY508" fmla="*/ 105491 h 815526"/>
                  <a:gd name="connsiteX509" fmla="*/ 748661 w 915678"/>
                  <a:gd name="connsiteY509" fmla="*/ 111214 h 815526"/>
                  <a:gd name="connsiteX510" fmla="*/ 754384 w 915678"/>
                  <a:gd name="connsiteY510" fmla="*/ 111643 h 815526"/>
                  <a:gd name="connsiteX511" fmla="*/ 754813 w 915678"/>
                  <a:gd name="connsiteY511" fmla="*/ 105920 h 815526"/>
                  <a:gd name="connsiteX512" fmla="*/ 791726 w 915678"/>
                  <a:gd name="connsiteY512" fmla="*/ 73156 h 815526"/>
                  <a:gd name="connsiteX513" fmla="*/ 786871 w 915678"/>
                  <a:gd name="connsiteY513" fmla="*/ 73165 h 815526"/>
                  <a:gd name="connsiteX514" fmla="*/ 786879 w 915678"/>
                  <a:gd name="connsiteY514" fmla="*/ 78021 h 815526"/>
                  <a:gd name="connsiteX515" fmla="*/ 791726 w 915678"/>
                  <a:gd name="connsiteY515" fmla="*/ 78021 h 815526"/>
                  <a:gd name="connsiteX516" fmla="*/ 791735 w 915678"/>
                  <a:gd name="connsiteY516" fmla="*/ 73165 h 815526"/>
                  <a:gd name="connsiteX517" fmla="*/ 791726 w 915678"/>
                  <a:gd name="connsiteY517" fmla="*/ 73156 h 815526"/>
                  <a:gd name="connsiteX518" fmla="*/ 828354 w 915678"/>
                  <a:gd name="connsiteY518" fmla="*/ 40535 h 815526"/>
                  <a:gd name="connsiteX519" fmla="*/ 824312 w 915678"/>
                  <a:gd name="connsiteY519" fmla="*/ 40744 h 815526"/>
                  <a:gd name="connsiteX520" fmla="*/ 824061 w 915678"/>
                  <a:gd name="connsiteY520" fmla="*/ 44255 h 815526"/>
                  <a:gd name="connsiteX521" fmla="*/ 828210 w 915678"/>
                  <a:gd name="connsiteY521" fmla="*/ 44255 h 815526"/>
                  <a:gd name="connsiteX522" fmla="*/ 828375 w 915678"/>
                  <a:gd name="connsiteY522" fmla="*/ 40413 h 815526"/>
                  <a:gd name="connsiteX523" fmla="*/ 828210 w 915678"/>
                  <a:gd name="connsiteY523" fmla="*/ 40249 h 815526"/>
                  <a:gd name="connsiteX524" fmla="*/ 437759 w 915678"/>
                  <a:gd name="connsiteY524" fmla="*/ 344569 h 815526"/>
                  <a:gd name="connsiteX525" fmla="*/ 425229 w 915678"/>
                  <a:gd name="connsiteY525" fmla="*/ 343957 h 815526"/>
                  <a:gd name="connsiteX526" fmla="*/ 424453 w 915678"/>
                  <a:gd name="connsiteY526" fmla="*/ 356301 h 815526"/>
                  <a:gd name="connsiteX527" fmla="*/ 437044 w 915678"/>
                  <a:gd name="connsiteY527" fmla="*/ 357159 h 815526"/>
                  <a:gd name="connsiteX528" fmla="*/ 437821 w 915678"/>
                  <a:gd name="connsiteY528" fmla="*/ 344639 h 815526"/>
                  <a:gd name="connsiteX529" fmla="*/ 437759 w 915678"/>
                  <a:gd name="connsiteY529" fmla="*/ 344569 h 815526"/>
                  <a:gd name="connsiteX530" fmla="*/ 474816 w 915678"/>
                  <a:gd name="connsiteY530" fmla="*/ 311805 h 815526"/>
                  <a:gd name="connsiteX531" fmla="*/ 463081 w 915678"/>
                  <a:gd name="connsiteY531" fmla="*/ 311802 h 815526"/>
                  <a:gd name="connsiteX532" fmla="*/ 463076 w 915678"/>
                  <a:gd name="connsiteY532" fmla="*/ 323537 h 815526"/>
                  <a:gd name="connsiteX533" fmla="*/ 474813 w 915678"/>
                  <a:gd name="connsiteY533" fmla="*/ 323540 h 815526"/>
                  <a:gd name="connsiteX534" fmla="*/ 474816 w 915678"/>
                  <a:gd name="connsiteY534" fmla="*/ 323537 h 815526"/>
                  <a:gd name="connsiteX535" fmla="*/ 474816 w 915678"/>
                  <a:gd name="connsiteY535" fmla="*/ 311805 h 815526"/>
                  <a:gd name="connsiteX536" fmla="*/ 511729 w 915678"/>
                  <a:gd name="connsiteY536" fmla="*/ 279041 h 815526"/>
                  <a:gd name="connsiteX537" fmla="*/ 500802 w 915678"/>
                  <a:gd name="connsiteY537" fmla="*/ 278988 h 815526"/>
                  <a:gd name="connsiteX538" fmla="*/ 500751 w 915678"/>
                  <a:gd name="connsiteY538" fmla="*/ 289914 h 815526"/>
                  <a:gd name="connsiteX539" fmla="*/ 511676 w 915678"/>
                  <a:gd name="connsiteY539" fmla="*/ 289967 h 815526"/>
                  <a:gd name="connsiteX540" fmla="*/ 511729 w 915678"/>
                  <a:gd name="connsiteY540" fmla="*/ 289914 h 815526"/>
                  <a:gd name="connsiteX541" fmla="*/ 511879 w 915678"/>
                  <a:gd name="connsiteY541" fmla="*/ 279191 h 815526"/>
                  <a:gd name="connsiteX542" fmla="*/ 511729 w 915678"/>
                  <a:gd name="connsiteY542" fmla="*/ 279041 h 815526"/>
                  <a:gd name="connsiteX543" fmla="*/ 548642 w 915678"/>
                  <a:gd name="connsiteY543" fmla="*/ 246276 h 815526"/>
                  <a:gd name="connsiteX544" fmla="*/ 538526 w 915678"/>
                  <a:gd name="connsiteY544" fmla="*/ 246175 h 815526"/>
                  <a:gd name="connsiteX545" fmla="*/ 538425 w 915678"/>
                  <a:gd name="connsiteY545" fmla="*/ 256292 h 815526"/>
                  <a:gd name="connsiteX546" fmla="*/ 548541 w 915678"/>
                  <a:gd name="connsiteY546" fmla="*/ 256393 h 815526"/>
                  <a:gd name="connsiteX547" fmla="*/ 548642 w 915678"/>
                  <a:gd name="connsiteY547" fmla="*/ 256292 h 815526"/>
                  <a:gd name="connsiteX548" fmla="*/ 548642 w 915678"/>
                  <a:gd name="connsiteY548" fmla="*/ 246276 h 815526"/>
                  <a:gd name="connsiteX549" fmla="*/ 585126 w 915678"/>
                  <a:gd name="connsiteY549" fmla="*/ 213512 h 815526"/>
                  <a:gd name="connsiteX550" fmla="*/ 575970 w 915678"/>
                  <a:gd name="connsiteY550" fmla="*/ 213512 h 815526"/>
                  <a:gd name="connsiteX551" fmla="*/ 575397 w 915678"/>
                  <a:gd name="connsiteY551" fmla="*/ 222669 h 815526"/>
                  <a:gd name="connsiteX552" fmla="*/ 584554 w 915678"/>
                  <a:gd name="connsiteY552" fmla="*/ 223241 h 815526"/>
                  <a:gd name="connsiteX553" fmla="*/ 584554 w 915678"/>
                  <a:gd name="connsiteY553" fmla="*/ 214085 h 815526"/>
                  <a:gd name="connsiteX554" fmla="*/ 622612 w 915678"/>
                  <a:gd name="connsiteY554" fmla="*/ 181177 h 815526"/>
                  <a:gd name="connsiteX555" fmla="*/ 614317 w 915678"/>
                  <a:gd name="connsiteY555" fmla="*/ 181180 h 815526"/>
                  <a:gd name="connsiteX556" fmla="*/ 614318 w 915678"/>
                  <a:gd name="connsiteY556" fmla="*/ 189476 h 815526"/>
                  <a:gd name="connsiteX557" fmla="*/ 622612 w 915678"/>
                  <a:gd name="connsiteY557" fmla="*/ 189476 h 815526"/>
                  <a:gd name="connsiteX558" fmla="*/ 622615 w 915678"/>
                  <a:gd name="connsiteY558" fmla="*/ 181180 h 815526"/>
                  <a:gd name="connsiteX559" fmla="*/ 622612 w 915678"/>
                  <a:gd name="connsiteY559" fmla="*/ 181177 h 815526"/>
                  <a:gd name="connsiteX560" fmla="*/ 659525 w 915678"/>
                  <a:gd name="connsiteY560" fmla="*/ 148413 h 815526"/>
                  <a:gd name="connsiteX561" fmla="*/ 652085 w 915678"/>
                  <a:gd name="connsiteY561" fmla="*/ 148413 h 815526"/>
                  <a:gd name="connsiteX562" fmla="*/ 652085 w 915678"/>
                  <a:gd name="connsiteY562" fmla="*/ 155853 h 815526"/>
                  <a:gd name="connsiteX563" fmla="*/ 659567 w 915678"/>
                  <a:gd name="connsiteY563" fmla="*/ 155568 h 815526"/>
                  <a:gd name="connsiteX564" fmla="*/ 659955 w 915678"/>
                  <a:gd name="connsiteY564" fmla="*/ 148843 h 815526"/>
                  <a:gd name="connsiteX565" fmla="*/ 697011 w 915678"/>
                  <a:gd name="connsiteY565" fmla="*/ 116078 h 815526"/>
                  <a:gd name="connsiteX566" fmla="*/ 690382 w 915678"/>
                  <a:gd name="connsiteY566" fmla="*/ 115280 h 815526"/>
                  <a:gd name="connsiteX567" fmla="*/ 689584 w 915678"/>
                  <a:gd name="connsiteY567" fmla="*/ 121910 h 815526"/>
                  <a:gd name="connsiteX568" fmla="*/ 690000 w 915678"/>
                  <a:gd name="connsiteY568" fmla="*/ 122374 h 815526"/>
                  <a:gd name="connsiteX569" fmla="*/ 696678 w 915678"/>
                  <a:gd name="connsiteY569" fmla="*/ 122291 h 815526"/>
                  <a:gd name="connsiteX570" fmla="*/ 697011 w 915678"/>
                  <a:gd name="connsiteY570" fmla="*/ 116078 h 815526"/>
                  <a:gd name="connsiteX571" fmla="*/ 733924 w 915678"/>
                  <a:gd name="connsiteY571" fmla="*/ 83314 h 815526"/>
                  <a:gd name="connsiteX572" fmla="*/ 728077 w 915678"/>
                  <a:gd name="connsiteY572" fmla="*/ 83808 h 815526"/>
                  <a:gd name="connsiteX573" fmla="*/ 727772 w 915678"/>
                  <a:gd name="connsiteY573" fmla="*/ 88751 h 815526"/>
                  <a:gd name="connsiteX574" fmla="*/ 733638 w 915678"/>
                  <a:gd name="connsiteY574" fmla="*/ 88751 h 815526"/>
                  <a:gd name="connsiteX575" fmla="*/ 733638 w 915678"/>
                  <a:gd name="connsiteY575" fmla="*/ 83028 h 815526"/>
                  <a:gd name="connsiteX576" fmla="*/ 771124 w 915678"/>
                  <a:gd name="connsiteY576" fmla="*/ 49692 h 815526"/>
                  <a:gd name="connsiteX577" fmla="*/ 766268 w 915678"/>
                  <a:gd name="connsiteY577" fmla="*/ 49683 h 815526"/>
                  <a:gd name="connsiteX578" fmla="*/ 766259 w 915678"/>
                  <a:gd name="connsiteY578" fmla="*/ 49692 h 815526"/>
                  <a:gd name="connsiteX579" fmla="*/ 766268 w 915678"/>
                  <a:gd name="connsiteY579" fmla="*/ 54548 h 815526"/>
                  <a:gd name="connsiteX580" fmla="*/ 771124 w 915678"/>
                  <a:gd name="connsiteY580" fmla="*/ 54539 h 815526"/>
                  <a:gd name="connsiteX581" fmla="*/ 771124 w 915678"/>
                  <a:gd name="connsiteY581" fmla="*/ 49692 h 815526"/>
                  <a:gd name="connsiteX582" fmla="*/ 808180 w 915678"/>
                  <a:gd name="connsiteY582" fmla="*/ 16928 h 815526"/>
                  <a:gd name="connsiteX583" fmla="*/ 804031 w 915678"/>
                  <a:gd name="connsiteY583" fmla="*/ 16928 h 815526"/>
                  <a:gd name="connsiteX584" fmla="*/ 803865 w 915678"/>
                  <a:gd name="connsiteY584" fmla="*/ 20769 h 815526"/>
                  <a:gd name="connsiteX585" fmla="*/ 804031 w 915678"/>
                  <a:gd name="connsiteY585" fmla="*/ 20934 h 815526"/>
                  <a:gd name="connsiteX586" fmla="*/ 808037 w 915678"/>
                  <a:gd name="connsiteY586" fmla="*/ 20934 h 815526"/>
                  <a:gd name="connsiteX587" fmla="*/ 808037 w 915678"/>
                  <a:gd name="connsiteY587" fmla="*/ 16784 h 815526"/>
                  <a:gd name="connsiteX588" fmla="*/ 542204 w 915678"/>
                  <a:gd name="connsiteY588" fmla="*/ 462176 h 815526"/>
                  <a:gd name="connsiteX589" fmla="*/ 529659 w 915678"/>
                  <a:gd name="connsiteY589" fmla="*/ 462131 h 815526"/>
                  <a:gd name="connsiteX590" fmla="*/ 529613 w 915678"/>
                  <a:gd name="connsiteY590" fmla="*/ 462176 h 815526"/>
                  <a:gd name="connsiteX591" fmla="*/ 529508 w 915678"/>
                  <a:gd name="connsiteY591" fmla="*/ 474518 h 815526"/>
                  <a:gd name="connsiteX592" fmla="*/ 529613 w 915678"/>
                  <a:gd name="connsiteY592" fmla="*/ 474624 h 815526"/>
                  <a:gd name="connsiteX593" fmla="*/ 542061 w 915678"/>
                  <a:gd name="connsiteY593" fmla="*/ 475482 h 815526"/>
                  <a:gd name="connsiteX594" fmla="*/ 542919 w 915678"/>
                  <a:gd name="connsiteY594" fmla="*/ 462892 h 815526"/>
                  <a:gd name="connsiteX595" fmla="*/ 579833 w 915678"/>
                  <a:gd name="connsiteY595" fmla="*/ 430128 h 815526"/>
                  <a:gd name="connsiteX596" fmla="*/ 568098 w 915678"/>
                  <a:gd name="connsiteY596" fmla="*/ 430125 h 815526"/>
                  <a:gd name="connsiteX597" fmla="*/ 568093 w 915678"/>
                  <a:gd name="connsiteY597" fmla="*/ 441860 h 815526"/>
                  <a:gd name="connsiteX598" fmla="*/ 579830 w 915678"/>
                  <a:gd name="connsiteY598" fmla="*/ 441863 h 815526"/>
                  <a:gd name="connsiteX599" fmla="*/ 579833 w 915678"/>
                  <a:gd name="connsiteY599" fmla="*/ 441860 h 815526"/>
                  <a:gd name="connsiteX600" fmla="*/ 579833 w 915678"/>
                  <a:gd name="connsiteY600" fmla="*/ 430128 h 815526"/>
                  <a:gd name="connsiteX601" fmla="*/ 616746 w 915678"/>
                  <a:gd name="connsiteY601" fmla="*/ 397363 h 815526"/>
                  <a:gd name="connsiteX602" fmla="*/ 606022 w 915678"/>
                  <a:gd name="connsiteY602" fmla="*/ 397514 h 815526"/>
                  <a:gd name="connsiteX603" fmla="*/ 606174 w 915678"/>
                  <a:gd name="connsiteY603" fmla="*/ 408237 h 815526"/>
                  <a:gd name="connsiteX604" fmla="*/ 616746 w 915678"/>
                  <a:gd name="connsiteY604" fmla="*/ 408237 h 815526"/>
                  <a:gd name="connsiteX605" fmla="*/ 616746 w 915678"/>
                  <a:gd name="connsiteY605" fmla="*/ 397363 h 815526"/>
                  <a:gd name="connsiteX606" fmla="*/ 653802 w 915678"/>
                  <a:gd name="connsiteY606" fmla="*/ 364599 h 815526"/>
                  <a:gd name="connsiteX607" fmla="*/ 643787 w 915678"/>
                  <a:gd name="connsiteY607" fmla="*/ 364599 h 815526"/>
                  <a:gd name="connsiteX608" fmla="*/ 643479 w 915678"/>
                  <a:gd name="connsiteY608" fmla="*/ 374307 h 815526"/>
                  <a:gd name="connsiteX609" fmla="*/ 643787 w 915678"/>
                  <a:gd name="connsiteY609" fmla="*/ 374615 h 815526"/>
                  <a:gd name="connsiteX610" fmla="*/ 653728 w 915678"/>
                  <a:gd name="connsiteY610" fmla="*/ 376496 h 815526"/>
                  <a:gd name="connsiteX611" fmla="*/ 655609 w 915678"/>
                  <a:gd name="connsiteY611" fmla="*/ 366555 h 815526"/>
                  <a:gd name="connsiteX612" fmla="*/ 654375 w 915678"/>
                  <a:gd name="connsiteY612" fmla="*/ 365172 h 815526"/>
                  <a:gd name="connsiteX613" fmla="*/ 691288 w 915678"/>
                  <a:gd name="connsiteY613" fmla="*/ 332407 h 815526"/>
                  <a:gd name="connsiteX614" fmla="*/ 682131 w 915678"/>
                  <a:gd name="connsiteY614" fmla="*/ 331835 h 815526"/>
                  <a:gd name="connsiteX615" fmla="*/ 681559 w 915678"/>
                  <a:gd name="connsiteY615" fmla="*/ 340992 h 815526"/>
                  <a:gd name="connsiteX616" fmla="*/ 690716 w 915678"/>
                  <a:gd name="connsiteY616" fmla="*/ 341564 h 815526"/>
                  <a:gd name="connsiteX617" fmla="*/ 691288 w 915678"/>
                  <a:gd name="connsiteY617" fmla="*/ 332407 h 815526"/>
                  <a:gd name="connsiteX618" fmla="*/ 728201 w 915678"/>
                  <a:gd name="connsiteY618" fmla="*/ 299643 h 815526"/>
                  <a:gd name="connsiteX619" fmla="*/ 719906 w 915678"/>
                  <a:gd name="connsiteY619" fmla="*/ 299646 h 815526"/>
                  <a:gd name="connsiteX620" fmla="*/ 719907 w 915678"/>
                  <a:gd name="connsiteY620" fmla="*/ 307942 h 815526"/>
                  <a:gd name="connsiteX621" fmla="*/ 728201 w 915678"/>
                  <a:gd name="connsiteY621" fmla="*/ 307942 h 815526"/>
                  <a:gd name="connsiteX622" fmla="*/ 728204 w 915678"/>
                  <a:gd name="connsiteY622" fmla="*/ 299646 h 815526"/>
                  <a:gd name="connsiteX623" fmla="*/ 728201 w 915678"/>
                  <a:gd name="connsiteY623" fmla="*/ 299643 h 815526"/>
                  <a:gd name="connsiteX624" fmla="*/ 765258 w 915678"/>
                  <a:gd name="connsiteY624" fmla="*/ 266879 h 815526"/>
                  <a:gd name="connsiteX625" fmla="*/ 757818 w 915678"/>
                  <a:gd name="connsiteY625" fmla="*/ 266879 h 815526"/>
                  <a:gd name="connsiteX626" fmla="*/ 757660 w 915678"/>
                  <a:gd name="connsiteY626" fmla="*/ 274162 h 815526"/>
                  <a:gd name="connsiteX627" fmla="*/ 757818 w 915678"/>
                  <a:gd name="connsiteY627" fmla="*/ 274319 h 815526"/>
                  <a:gd name="connsiteX628" fmla="*/ 765258 w 915678"/>
                  <a:gd name="connsiteY628" fmla="*/ 274319 h 815526"/>
                  <a:gd name="connsiteX629" fmla="*/ 765258 w 915678"/>
                  <a:gd name="connsiteY629" fmla="*/ 266879 h 815526"/>
                  <a:gd name="connsiteX630" fmla="*/ 802171 w 915678"/>
                  <a:gd name="connsiteY630" fmla="*/ 234115 h 815526"/>
                  <a:gd name="connsiteX631" fmla="*/ 795589 w 915678"/>
                  <a:gd name="connsiteY631" fmla="*/ 234115 h 815526"/>
                  <a:gd name="connsiteX632" fmla="*/ 795482 w 915678"/>
                  <a:gd name="connsiteY632" fmla="*/ 240589 h 815526"/>
                  <a:gd name="connsiteX633" fmla="*/ 795589 w 915678"/>
                  <a:gd name="connsiteY633" fmla="*/ 240697 h 815526"/>
                  <a:gd name="connsiteX634" fmla="*/ 802171 w 915678"/>
                  <a:gd name="connsiteY634" fmla="*/ 240697 h 815526"/>
                  <a:gd name="connsiteX635" fmla="*/ 802278 w 915678"/>
                  <a:gd name="connsiteY635" fmla="*/ 234222 h 815526"/>
                  <a:gd name="connsiteX636" fmla="*/ 802171 w 915678"/>
                  <a:gd name="connsiteY636" fmla="*/ 234115 h 815526"/>
                  <a:gd name="connsiteX637" fmla="*/ 839084 w 915678"/>
                  <a:gd name="connsiteY637" fmla="*/ 201351 h 815526"/>
                  <a:gd name="connsiteX638" fmla="*/ 833418 w 915678"/>
                  <a:gd name="connsiteY638" fmla="*/ 201294 h 815526"/>
                  <a:gd name="connsiteX639" fmla="*/ 833361 w 915678"/>
                  <a:gd name="connsiteY639" fmla="*/ 201351 h 815526"/>
                  <a:gd name="connsiteX640" fmla="*/ 833095 w 915678"/>
                  <a:gd name="connsiteY640" fmla="*/ 206808 h 815526"/>
                  <a:gd name="connsiteX641" fmla="*/ 833361 w 915678"/>
                  <a:gd name="connsiteY641" fmla="*/ 207074 h 815526"/>
                  <a:gd name="connsiteX642" fmla="*/ 839027 w 915678"/>
                  <a:gd name="connsiteY642" fmla="*/ 207131 h 815526"/>
                  <a:gd name="connsiteX643" fmla="*/ 839084 w 915678"/>
                  <a:gd name="connsiteY643" fmla="*/ 207074 h 815526"/>
                  <a:gd name="connsiteX644" fmla="*/ 839084 w 915678"/>
                  <a:gd name="connsiteY644" fmla="*/ 201208 h 815526"/>
                  <a:gd name="connsiteX645" fmla="*/ 874710 w 915678"/>
                  <a:gd name="connsiteY645" fmla="*/ 166870 h 815526"/>
                  <a:gd name="connsiteX646" fmla="*/ 869854 w 915678"/>
                  <a:gd name="connsiteY646" fmla="*/ 166861 h 815526"/>
                  <a:gd name="connsiteX647" fmla="*/ 869845 w 915678"/>
                  <a:gd name="connsiteY647" fmla="*/ 166870 h 815526"/>
                  <a:gd name="connsiteX648" fmla="*/ 869845 w 915678"/>
                  <a:gd name="connsiteY648" fmla="*/ 171878 h 815526"/>
                  <a:gd name="connsiteX649" fmla="*/ 874701 w 915678"/>
                  <a:gd name="connsiteY649" fmla="*/ 171886 h 815526"/>
                  <a:gd name="connsiteX650" fmla="*/ 874710 w 915678"/>
                  <a:gd name="connsiteY650" fmla="*/ 171878 h 815526"/>
                  <a:gd name="connsiteX651" fmla="*/ 874710 w 915678"/>
                  <a:gd name="connsiteY651" fmla="*/ 166870 h 815526"/>
                  <a:gd name="connsiteX652" fmla="*/ 911623 w 915678"/>
                  <a:gd name="connsiteY652" fmla="*/ 134106 h 815526"/>
                  <a:gd name="connsiteX653" fmla="*/ 907782 w 915678"/>
                  <a:gd name="connsiteY653" fmla="*/ 133941 h 815526"/>
                  <a:gd name="connsiteX654" fmla="*/ 907617 w 915678"/>
                  <a:gd name="connsiteY654" fmla="*/ 134106 h 815526"/>
                  <a:gd name="connsiteX655" fmla="*/ 906836 w 915678"/>
                  <a:gd name="connsiteY655" fmla="*/ 138076 h 815526"/>
                  <a:gd name="connsiteX656" fmla="*/ 910808 w 915678"/>
                  <a:gd name="connsiteY656" fmla="*/ 138857 h 815526"/>
                  <a:gd name="connsiteX657" fmla="*/ 911337 w 915678"/>
                  <a:gd name="connsiteY657" fmla="*/ 138398 h 815526"/>
                  <a:gd name="connsiteX658" fmla="*/ 911440 w 915678"/>
                  <a:gd name="connsiteY658" fmla="*/ 134352 h 815526"/>
                  <a:gd name="connsiteX659" fmla="*/ 911337 w 915678"/>
                  <a:gd name="connsiteY659" fmla="*/ 134249 h 815526"/>
                  <a:gd name="connsiteX660" fmla="*/ 521172 w 915678"/>
                  <a:gd name="connsiteY660" fmla="*/ 438712 h 815526"/>
                  <a:gd name="connsiteX661" fmla="*/ 508581 w 915678"/>
                  <a:gd name="connsiteY661" fmla="*/ 437997 h 815526"/>
                  <a:gd name="connsiteX662" fmla="*/ 507866 w 915678"/>
                  <a:gd name="connsiteY662" fmla="*/ 450587 h 815526"/>
                  <a:gd name="connsiteX663" fmla="*/ 520411 w 915678"/>
                  <a:gd name="connsiteY663" fmla="*/ 450633 h 815526"/>
                  <a:gd name="connsiteX664" fmla="*/ 520457 w 915678"/>
                  <a:gd name="connsiteY664" fmla="*/ 450587 h 815526"/>
                  <a:gd name="connsiteX665" fmla="*/ 521172 w 915678"/>
                  <a:gd name="connsiteY665" fmla="*/ 437997 h 815526"/>
                  <a:gd name="connsiteX666" fmla="*/ 558085 w 915678"/>
                  <a:gd name="connsiteY666" fmla="*/ 405376 h 815526"/>
                  <a:gd name="connsiteX667" fmla="*/ 546552 w 915678"/>
                  <a:gd name="connsiteY667" fmla="*/ 405431 h 815526"/>
                  <a:gd name="connsiteX668" fmla="*/ 546608 w 915678"/>
                  <a:gd name="connsiteY668" fmla="*/ 416965 h 815526"/>
                  <a:gd name="connsiteX669" fmla="*/ 558085 w 915678"/>
                  <a:gd name="connsiteY669" fmla="*/ 416965 h 815526"/>
                  <a:gd name="connsiteX670" fmla="*/ 558347 w 915678"/>
                  <a:gd name="connsiteY670" fmla="*/ 405636 h 815526"/>
                  <a:gd name="connsiteX671" fmla="*/ 558085 w 915678"/>
                  <a:gd name="connsiteY671" fmla="*/ 405376 h 815526"/>
                  <a:gd name="connsiteX672" fmla="*/ 595142 w 915678"/>
                  <a:gd name="connsiteY672" fmla="*/ 372612 h 815526"/>
                  <a:gd name="connsiteX673" fmla="*/ 584454 w 915678"/>
                  <a:gd name="connsiteY673" fmla="*/ 371733 h 815526"/>
                  <a:gd name="connsiteX674" fmla="*/ 584268 w 915678"/>
                  <a:gd name="connsiteY674" fmla="*/ 371896 h 815526"/>
                  <a:gd name="connsiteX675" fmla="*/ 584268 w 915678"/>
                  <a:gd name="connsiteY675" fmla="*/ 382770 h 815526"/>
                  <a:gd name="connsiteX676" fmla="*/ 595195 w 915678"/>
                  <a:gd name="connsiteY676" fmla="*/ 382690 h 815526"/>
                  <a:gd name="connsiteX677" fmla="*/ 595857 w 915678"/>
                  <a:gd name="connsiteY677" fmla="*/ 372612 h 815526"/>
                  <a:gd name="connsiteX678" fmla="*/ 632770 w 915678"/>
                  <a:gd name="connsiteY678" fmla="*/ 339847 h 815526"/>
                  <a:gd name="connsiteX679" fmla="*/ 622891 w 915678"/>
                  <a:gd name="connsiteY679" fmla="*/ 339015 h 815526"/>
                  <a:gd name="connsiteX680" fmla="*/ 622755 w 915678"/>
                  <a:gd name="connsiteY680" fmla="*/ 339132 h 815526"/>
                  <a:gd name="connsiteX681" fmla="*/ 622755 w 915678"/>
                  <a:gd name="connsiteY681" fmla="*/ 349147 h 815526"/>
                  <a:gd name="connsiteX682" fmla="*/ 632669 w 915678"/>
                  <a:gd name="connsiteY682" fmla="*/ 349249 h 815526"/>
                  <a:gd name="connsiteX683" fmla="*/ 632770 w 915678"/>
                  <a:gd name="connsiteY683" fmla="*/ 349147 h 815526"/>
                  <a:gd name="connsiteX684" fmla="*/ 632770 w 915678"/>
                  <a:gd name="connsiteY684" fmla="*/ 339132 h 815526"/>
                  <a:gd name="connsiteX685" fmla="*/ 669684 w 915678"/>
                  <a:gd name="connsiteY685" fmla="*/ 306368 h 815526"/>
                  <a:gd name="connsiteX686" fmla="*/ 660578 w 915678"/>
                  <a:gd name="connsiteY686" fmla="*/ 306316 h 815526"/>
                  <a:gd name="connsiteX687" fmla="*/ 660527 w 915678"/>
                  <a:gd name="connsiteY687" fmla="*/ 306368 h 815526"/>
                  <a:gd name="connsiteX688" fmla="*/ 660377 w 915678"/>
                  <a:gd name="connsiteY688" fmla="*/ 315675 h 815526"/>
                  <a:gd name="connsiteX689" fmla="*/ 669684 w 915678"/>
                  <a:gd name="connsiteY689" fmla="*/ 315824 h 815526"/>
                  <a:gd name="connsiteX690" fmla="*/ 669834 w 915678"/>
                  <a:gd name="connsiteY690" fmla="*/ 306518 h 815526"/>
                  <a:gd name="connsiteX691" fmla="*/ 669684 w 915678"/>
                  <a:gd name="connsiteY691" fmla="*/ 306368 h 815526"/>
                  <a:gd name="connsiteX692" fmla="*/ 706740 w 915678"/>
                  <a:gd name="connsiteY692" fmla="*/ 273604 h 815526"/>
                  <a:gd name="connsiteX693" fmla="*/ 698445 w 915678"/>
                  <a:gd name="connsiteY693" fmla="*/ 273607 h 815526"/>
                  <a:gd name="connsiteX694" fmla="*/ 698446 w 915678"/>
                  <a:gd name="connsiteY694" fmla="*/ 281902 h 815526"/>
                  <a:gd name="connsiteX695" fmla="*/ 706740 w 915678"/>
                  <a:gd name="connsiteY695" fmla="*/ 281902 h 815526"/>
                  <a:gd name="connsiteX696" fmla="*/ 706743 w 915678"/>
                  <a:gd name="connsiteY696" fmla="*/ 273607 h 815526"/>
                  <a:gd name="connsiteX697" fmla="*/ 706740 w 915678"/>
                  <a:gd name="connsiteY697" fmla="*/ 273604 h 815526"/>
                  <a:gd name="connsiteX698" fmla="*/ 742509 w 915678"/>
                  <a:gd name="connsiteY698" fmla="*/ 242127 h 815526"/>
                  <a:gd name="connsiteX699" fmla="*/ 735110 w 915678"/>
                  <a:gd name="connsiteY699" fmla="*/ 240984 h 815526"/>
                  <a:gd name="connsiteX700" fmla="*/ 733967 w 915678"/>
                  <a:gd name="connsiteY700" fmla="*/ 248383 h 815526"/>
                  <a:gd name="connsiteX701" fmla="*/ 734640 w 915678"/>
                  <a:gd name="connsiteY701" fmla="*/ 249138 h 815526"/>
                  <a:gd name="connsiteX702" fmla="*/ 742080 w 915678"/>
                  <a:gd name="connsiteY702" fmla="*/ 249138 h 815526"/>
                  <a:gd name="connsiteX703" fmla="*/ 742080 w 915678"/>
                  <a:gd name="connsiteY703" fmla="*/ 241698 h 815526"/>
                  <a:gd name="connsiteX704" fmla="*/ 779851 w 915678"/>
                  <a:gd name="connsiteY704" fmla="*/ 209792 h 815526"/>
                  <a:gd name="connsiteX705" fmla="*/ 773377 w 915678"/>
                  <a:gd name="connsiteY705" fmla="*/ 209685 h 815526"/>
                  <a:gd name="connsiteX706" fmla="*/ 773270 w 915678"/>
                  <a:gd name="connsiteY706" fmla="*/ 209792 h 815526"/>
                  <a:gd name="connsiteX707" fmla="*/ 773270 w 915678"/>
                  <a:gd name="connsiteY707" fmla="*/ 216374 h 815526"/>
                  <a:gd name="connsiteX708" fmla="*/ 779744 w 915678"/>
                  <a:gd name="connsiteY708" fmla="*/ 216481 h 815526"/>
                  <a:gd name="connsiteX709" fmla="*/ 779851 w 915678"/>
                  <a:gd name="connsiteY709" fmla="*/ 216374 h 815526"/>
                  <a:gd name="connsiteX710" fmla="*/ 779851 w 915678"/>
                  <a:gd name="connsiteY710" fmla="*/ 209792 h 815526"/>
                  <a:gd name="connsiteX711" fmla="*/ 816908 w 915678"/>
                  <a:gd name="connsiteY711" fmla="*/ 177028 h 815526"/>
                  <a:gd name="connsiteX712" fmla="*/ 811242 w 915678"/>
                  <a:gd name="connsiteY712" fmla="*/ 176971 h 815526"/>
                  <a:gd name="connsiteX713" fmla="*/ 811185 w 915678"/>
                  <a:gd name="connsiteY713" fmla="*/ 177028 h 815526"/>
                  <a:gd name="connsiteX714" fmla="*/ 811127 w 915678"/>
                  <a:gd name="connsiteY714" fmla="*/ 182694 h 815526"/>
                  <a:gd name="connsiteX715" fmla="*/ 811185 w 915678"/>
                  <a:gd name="connsiteY715" fmla="*/ 182751 h 815526"/>
                  <a:gd name="connsiteX716" fmla="*/ 816850 w 915678"/>
                  <a:gd name="connsiteY716" fmla="*/ 182808 h 815526"/>
                  <a:gd name="connsiteX717" fmla="*/ 816908 w 915678"/>
                  <a:gd name="connsiteY717" fmla="*/ 182751 h 815526"/>
                  <a:gd name="connsiteX718" fmla="*/ 816965 w 915678"/>
                  <a:gd name="connsiteY718" fmla="*/ 177085 h 815526"/>
                  <a:gd name="connsiteX719" fmla="*/ 816908 w 915678"/>
                  <a:gd name="connsiteY719" fmla="*/ 177028 h 815526"/>
                  <a:gd name="connsiteX720" fmla="*/ 853821 w 915678"/>
                  <a:gd name="connsiteY720" fmla="*/ 144264 h 815526"/>
                  <a:gd name="connsiteX721" fmla="*/ 848965 w 915678"/>
                  <a:gd name="connsiteY721" fmla="*/ 144273 h 815526"/>
                  <a:gd name="connsiteX722" fmla="*/ 848974 w 915678"/>
                  <a:gd name="connsiteY722" fmla="*/ 149129 h 815526"/>
                  <a:gd name="connsiteX723" fmla="*/ 853821 w 915678"/>
                  <a:gd name="connsiteY723" fmla="*/ 149129 h 815526"/>
                  <a:gd name="connsiteX724" fmla="*/ 853830 w 915678"/>
                  <a:gd name="connsiteY724" fmla="*/ 144273 h 815526"/>
                  <a:gd name="connsiteX725" fmla="*/ 853821 w 915678"/>
                  <a:gd name="connsiteY725" fmla="*/ 144264 h 815526"/>
                  <a:gd name="connsiteX726" fmla="*/ 890734 w 915678"/>
                  <a:gd name="connsiteY726" fmla="*/ 111500 h 815526"/>
                  <a:gd name="connsiteX727" fmla="*/ 886728 w 915678"/>
                  <a:gd name="connsiteY727" fmla="*/ 111500 h 815526"/>
                  <a:gd name="connsiteX728" fmla="*/ 886728 w 915678"/>
                  <a:gd name="connsiteY728" fmla="*/ 115649 h 815526"/>
                  <a:gd name="connsiteX729" fmla="*/ 890877 w 915678"/>
                  <a:gd name="connsiteY729" fmla="*/ 115649 h 815526"/>
                  <a:gd name="connsiteX730" fmla="*/ 891043 w 915678"/>
                  <a:gd name="connsiteY730" fmla="*/ 111808 h 815526"/>
                  <a:gd name="connsiteX731" fmla="*/ 890877 w 915678"/>
                  <a:gd name="connsiteY731" fmla="*/ 111643 h 815526"/>
                  <a:gd name="connsiteX732" fmla="*/ 500283 w 915678"/>
                  <a:gd name="connsiteY732" fmla="*/ 415105 h 815526"/>
                  <a:gd name="connsiteX733" fmla="*/ 487969 w 915678"/>
                  <a:gd name="connsiteY733" fmla="*/ 414271 h 815526"/>
                  <a:gd name="connsiteX734" fmla="*/ 487836 w 915678"/>
                  <a:gd name="connsiteY734" fmla="*/ 414389 h 815526"/>
                  <a:gd name="connsiteX735" fmla="*/ 486907 w 915678"/>
                  <a:gd name="connsiteY735" fmla="*/ 426900 h 815526"/>
                  <a:gd name="connsiteX736" fmla="*/ 486977 w 915678"/>
                  <a:gd name="connsiteY736" fmla="*/ 426980 h 815526"/>
                  <a:gd name="connsiteX737" fmla="*/ 499568 w 915678"/>
                  <a:gd name="connsiteY737" fmla="*/ 426980 h 815526"/>
                  <a:gd name="connsiteX738" fmla="*/ 499613 w 915678"/>
                  <a:gd name="connsiteY738" fmla="*/ 414435 h 815526"/>
                  <a:gd name="connsiteX739" fmla="*/ 499568 w 915678"/>
                  <a:gd name="connsiteY739" fmla="*/ 414389 h 815526"/>
                  <a:gd name="connsiteX740" fmla="*/ 536624 w 915678"/>
                  <a:gd name="connsiteY740" fmla="*/ 381625 h 815526"/>
                  <a:gd name="connsiteX741" fmla="*/ 524889 w 915678"/>
                  <a:gd name="connsiteY741" fmla="*/ 381622 h 815526"/>
                  <a:gd name="connsiteX742" fmla="*/ 524885 w 915678"/>
                  <a:gd name="connsiteY742" fmla="*/ 393357 h 815526"/>
                  <a:gd name="connsiteX743" fmla="*/ 536621 w 915678"/>
                  <a:gd name="connsiteY743" fmla="*/ 393360 h 815526"/>
                  <a:gd name="connsiteX744" fmla="*/ 536624 w 915678"/>
                  <a:gd name="connsiteY744" fmla="*/ 393357 h 815526"/>
                  <a:gd name="connsiteX745" fmla="*/ 536624 w 915678"/>
                  <a:gd name="connsiteY745" fmla="*/ 381625 h 815526"/>
                  <a:gd name="connsiteX746" fmla="*/ 573537 w 915678"/>
                  <a:gd name="connsiteY746" fmla="*/ 348861 h 815526"/>
                  <a:gd name="connsiteX747" fmla="*/ 562664 w 915678"/>
                  <a:gd name="connsiteY747" fmla="*/ 348861 h 815526"/>
                  <a:gd name="connsiteX748" fmla="*/ 562657 w 915678"/>
                  <a:gd name="connsiteY748" fmla="*/ 359585 h 815526"/>
                  <a:gd name="connsiteX749" fmla="*/ 562664 w 915678"/>
                  <a:gd name="connsiteY749" fmla="*/ 359592 h 815526"/>
                  <a:gd name="connsiteX750" fmla="*/ 573144 w 915678"/>
                  <a:gd name="connsiteY750" fmla="*/ 360526 h 815526"/>
                  <a:gd name="connsiteX751" fmla="*/ 573394 w 915678"/>
                  <a:gd name="connsiteY751" fmla="*/ 360307 h 815526"/>
                  <a:gd name="connsiteX752" fmla="*/ 574273 w 915678"/>
                  <a:gd name="connsiteY752" fmla="*/ 349619 h 815526"/>
                  <a:gd name="connsiteX753" fmla="*/ 574110 w 915678"/>
                  <a:gd name="connsiteY753" fmla="*/ 349433 h 815526"/>
                  <a:gd name="connsiteX754" fmla="*/ 611023 w 915678"/>
                  <a:gd name="connsiteY754" fmla="*/ 316669 h 815526"/>
                  <a:gd name="connsiteX755" fmla="*/ 600906 w 915678"/>
                  <a:gd name="connsiteY755" fmla="*/ 316568 h 815526"/>
                  <a:gd name="connsiteX756" fmla="*/ 600806 w 915678"/>
                  <a:gd name="connsiteY756" fmla="*/ 326684 h 815526"/>
                  <a:gd name="connsiteX757" fmla="*/ 610921 w 915678"/>
                  <a:gd name="connsiteY757" fmla="*/ 326786 h 815526"/>
                  <a:gd name="connsiteX758" fmla="*/ 611023 w 915678"/>
                  <a:gd name="connsiteY758" fmla="*/ 326684 h 815526"/>
                  <a:gd name="connsiteX759" fmla="*/ 611125 w 915678"/>
                  <a:gd name="connsiteY759" fmla="*/ 316771 h 815526"/>
                  <a:gd name="connsiteX760" fmla="*/ 611023 w 915678"/>
                  <a:gd name="connsiteY760" fmla="*/ 316669 h 815526"/>
                  <a:gd name="connsiteX761" fmla="*/ 648079 w 915678"/>
                  <a:gd name="connsiteY761" fmla="*/ 283905 h 815526"/>
                  <a:gd name="connsiteX762" fmla="*/ 638923 w 915678"/>
                  <a:gd name="connsiteY762" fmla="*/ 283905 h 815526"/>
                  <a:gd name="connsiteX763" fmla="*/ 638350 w 915678"/>
                  <a:gd name="connsiteY763" fmla="*/ 293062 h 815526"/>
                  <a:gd name="connsiteX764" fmla="*/ 647507 w 915678"/>
                  <a:gd name="connsiteY764" fmla="*/ 293634 h 815526"/>
                  <a:gd name="connsiteX765" fmla="*/ 647507 w 915678"/>
                  <a:gd name="connsiteY765" fmla="*/ 284477 h 815526"/>
                  <a:gd name="connsiteX766" fmla="*/ 685279 w 915678"/>
                  <a:gd name="connsiteY766" fmla="*/ 251284 h 815526"/>
                  <a:gd name="connsiteX767" fmla="*/ 676909 w 915678"/>
                  <a:gd name="connsiteY767" fmla="*/ 250783 h 815526"/>
                  <a:gd name="connsiteX768" fmla="*/ 676408 w 915678"/>
                  <a:gd name="connsiteY768" fmla="*/ 259153 h 815526"/>
                  <a:gd name="connsiteX769" fmla="*/ 684850 w 915678"/>
                  <a:gd name="connsiteY769" fmla="*/ 259153 h 815526"/>
                  <a:gd name="connsiteX770" fmla="*/ 684852 w 915678"/>
                  <a:gd name="connsiteY770" fmla="*/ 250858 h 815526"/>
                  <a:gd name="connsiteX771" fmla="*/ 684850 w 915678"/>
                  <a:gd name="connsiteY771" fmla="*/ 250855 h 815526"/>
                  <a:gd name="connsiteX772" fmla="*/ 721763 w 915678"/>
                  <a:gd name="connsiteY772" fmla="*/ 218091 h 815526"/>
                  <a:gd name="connsiteX773" fmla="*/ 714365 w 915678"/>
                  <a:gd name="connsiteY773" fmla="*/ 216948 h 815526"/>
                  <a:gd name="connsiteX774" fmla="*/ 713221 w 915678"/>
                  <a:gd name="connsiteY774" fmla="*/ 224346 h 815526"/>
                  <a:gd name="connsiteX775" fmla="*/ 713894 w 915678"/>
                  <a:gd name="connsiteY775" fmla="*/ 225101 h 815526"/>
                  <a:gd name="connsiteX776" fmla="*/ 721292 w 915678"/>
                  <a:gd name="connsiteY776" fmla="*/ 226245 h 815526"/>
                  <a:gd name="connsiteX777" fmla="*/ 722435 w 915678"/>
                  <a:gd name="connsiteY777" fmla="*/ 218846 h 815526"/>
                  <a:gd name="connsiteX778" fmla="*/ 721763 w 915678"/>
                  <a:gd name="connsiteY778" fmla="*/ 218091 h 815526"/>
                  <a:gd name="connsiteX779" fmla="*/ 758819 w 915678"/>
                  <a:gd name="connsiteY779" fmla="*/ 185327 h 815526"/>
                  <a:gd name="connsiteX780" fmla="*/ 752238 w 915678"/>
                  <a:gd name="connsiteY780" fmla="*/ 185327 h 815526"/>
                  <a:gd name="connsiteX781" fmla="*/ 752131 w 915678"/>
                  <a:gd name="connsiteY781" fmla="*/ 191801 h 815526"/>
                  <a:gd name="connsiteX782" fmla="*/ 752238 w 915678"/>
                  <a:gd name="connsiteY782" fmla="*/ 191908 h 815526"/>
                  <a:gd name="connsiteX783" fmla="*/ 758819 w 915678"/>
                  <a:gd name="connsiteY783" fmla="*/ 191908 h 815526"/>
                  <a:gd name="connsiteX784" fmla="*/ 758819 w 915678"/>
                  <a:gd name="connsiteY784" fmla="*/ 185184 h 815526"/>
                  <a:gd name="connsiteX785" fmla="*/ 796019 w 915678"/>
                  <a:gd name="connsiteY785" fmla="*/ 152562 h 815526"/>
                  <a:gd name="connsiteX786" fmla="*/ 790296 w 915678"/>
                  <a:gd name="connsiteY786" fmla="*/ 152133 h 815526"/>
                  <a:gd name="connsiteX787" fmla="*/ 789866 w 915678"/>
                  <a:gd name="connsiteY787" fmla="*/ 157856 h 815526"/>
                  <a:gd name="connsiteX788" fmla="*/ 795733 w 915678"/>
                  <a:gd name="connsiteY788" fmla="*/ 157856 h 815526"/>
                  <a:gd name="connsiteX789" fmla="*/ 795790 w 915678"/>
                  <a:gd name="connsiteY789" fmla="*/ 152190 h 815526"/>
                  <a:gd name="connsiteX790" fmla="*/ 795733 w 915678"/>
                  <a:gd name="connsiteY790" fmla="*/ 152133 h 815526"/>
                  <a:gd name="connsiteX791" fmla="*/ 832646 w 915678"/>
                  <a:gd name="connsiteY791" fmla="*/ 119369 h 815526"/>
                  <a:gd name="connsiteX792" fmla="*/ 827790 w 915678"/>
                  <a:gd name="connsiteY792" fmla="*/ 119378 h 815526"/>
                  <a:gd name="connsiteX793" fmla="*/ 827798 w 915678"/>
                  <a:gd name="connsiteY793" fmla="*/ 124234 h 815526"/>
                  <a:gd name="connsiteX794" fmla="*/ 832646 w 915678"/>
                  <a:gd name="connsiteY794" fmla="*/ 124234 h 815526"/>
                  <a:gd name="connsiteX795" fmla="*/ 832654 w 915678"/>
                  <a:gd name="connsiteY795" fmla="*/ 119378 h 815526"/>
                  <a:gd name="connsiteX796" fmla="*/ 832646 w 915678"/>
                  <a:gd name="connsiteY796" fmla="*/ 119369 h 815526"/>
                  <a:gd name="connsiteX797" fmla="*/ 869702 w 915678"/>
                  <a:gd name="connsiteY797" fmla="*/ 86605 h 815526"/>
                  <a:gd name="connsiteX798" fmla="*/ 865553 w 915678"/>
                  <a:gd name="connsiteY798" fmla="*/ 86605 h 815526"/>
                  <a:gd name="connsiteX799" fmla="*/ 865338 w 915678"/>
                  <a:gd name="connsiteY799" fmla="*/ 90683 h 815526"/>
                  <a:gd name="connsiteX800" fmla="*/ 869416 w 915678"/>
                  <a:gd name="connsiteY800" fmla="*/ 90897 h 815526"/>
                  <a:gd name="connsiteX801" fmla="*/ 869416 w 915678"/>
                  <a:gd name="connsiteY801" fmla="*/ 86891 h 8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Lst>
                <a:rect l="l" t="t" r="r" b="b"/>
                <a:pathLst>
                  <a:path w="915678" h="815526">
                    <a:moveTo>
                      <a:pt x="427744" y="436995"/>
                    </a:moveTo>
                    <a:cubicBezTo>
                      <a:pt x="424465" y="433321"/>
                      <a:pt x="424785" y="427684"/>
                      <a:pt x="428460" y="424405"/>
                    </a:cubicBezTo>
                    <a:cubicBezTo>
                      <a:pt x="432134" y="421125"/>
                      <a:pt x="437771" y="421446"/>
                      <a:pt x="441050" y="425120"/>
                    </a:cubicBezTo>
                    <a:cubicBezTo>
                      <a:pt x="444329" y="428794"/>
                      <a:pt x="444009" y="434431"/>
                      <a:pt x="440335" y="437711"/>
                    </a:cubicBezTo>
                    <a:cubicBezTo>
                      <a:pt x="436661" y="440990"/>
                      <a:pt x="431023" y="440669"/>
                      <a:pt x="427744" y="436995"/>
                    </a:cubicBezTo>
                    <a:moveTo>
                      <a:pt x="390688" y="469759"/>
                    </a:moveTo>
                    <a:cubicBezTo>
                      <a:pt x="393927" y="473001"/>
                      <a:pt x="399182" y="473003"/>
                      <a:pt x="402423" y="469762"/>
                    </a:cubicBezTo>
                    <a:cubicBezTo>
                      <a:pt x="405665" y="466523"/>
                      <a:pt x="405666" y="461269"/>
                      <a:pt x="402427" y="458027"/>
                    </a:cubicBezTo>
                    <a:cubicBezTo>
                      <a:pt x="399188" y="454785"/>
                      <a:pt x="393933" y="454784"/>
                      <a:pt x="390691" y="458024"/>
                    </a:cubicBezTo>
                    <a:cubicBezTo>
                      <a:pt x="390691" y="458024"/>
                      <a:pt x="390689" y="458026"/>
                      <a:pt x="390688" y="458027"/>
                    </a:cubicBezTo>
                    <a:cubicBezTo>
                      <a:pt x="387450" y="461268"/>
                      <a:pt x="387450" y="466519"/>
                      <a:pt x="390688" y="469759"/>
                    </a:cubicBezTo>
                    <a:moveTo>
                      <a:pt x="353774" y="502523"/>
                    </a:moveTo>
                    <a:cubicBezTo>
                      <a:pt x="356786" y="505505"/>
                      <a:pt x="361636" y="505505"/>
                      <a:pt x="364648" y="502523"/>
                    </a:cubicBezTo>
                    <a:cubicBezTo>
                      <a:pt x="367555" y="499482"/>
                      <a:pt x="367555" y="494692"/>
                      <a:pt x="364648" y="491650"/>
                    </a:cubicBezTo>
                    <a:cubicBezTo>
                      <a:pt x="361636" y="488668"/>
                      <a:pt x="356786" y="488668"/>
                      <a:pt x="353774" y="491650"/>
                    </a:cubicBezTo>
                    <a:cubicBezTo>
                      <a:pt x="350581" y="494358"/>
                      <a:pt x="350188" y="499144"/>
                      <a:pt x="352896" y="502337"/>
                    </a:cubicBezTo>
                    <a:cubicBezTo>
                      <a:pt x="352949" y="502400"/>
                      <a:pt x="353003" y="502462"/>
                      <a:pt x="353059" y="502523"/>
                    </a:cubicBezTo>
                    <a:moveTo>
                      <a:pt x="316146" y="535145"/>
                    </a:moveTo>
                    <a:cubicBezTo>
                      <a:pt x="318856" y="537910"/>
                      <a:pt x="323294" y="537956"/>
                      <a:pt x="326059" y="535246"/>
                    </a:cubicBezTo>
                    <a:cubicBezTo>
                      <a:pt x="326094" y="535212"/>
                      <a:pt x="326128" y="535179"/>
                      <a:pt x="326161" y="535145"/>
                    </a:cubicBezTo>
                    <a:cubicBezTo>
                      <a:pt x="328888" y="532363"/>
                      <a:pt x="328888" y="527911"/>
                      <a:pt x="326161" y="525129"/>
                    </a:cubicBezTo>
                    <a:cubicBezTo>
                      <a:pt x="323593" y="522206"/>
                      <a:pt x="319140" y="521917"/>
                      <a:pt x="316217" y="524485"/>
                    </a:cubicBezTo>
                    <a:cubicBezTo>
                      <a:pt x="313294" y="527054"/>
                      <a:pt x="313005" y="531506"/>
                      <a:pt x="315573" y="534429"/>
                    </a:cubicBezTo>
                    <a:moveTo>
                      <a:pt x="280377" y="567479"/>
                    </a:moveTo>
                    <a:cubicBezTo>
                      <a:pt x="282748" y="570166"/>
                      <a:pt x="286847" y="570422"/>
                      <a:pt x="289534" y="568052"/>
                    </a:cubicBezTo>
                    <a:cubicBezTo>
                      <a:pt x="292221" y="565681"/>
                      <a:pt x="292477" y="561582"/>
                      <a:pt x="290106" y="558895"/>
                    </a:cubicBezTo>
                    <a:cubicBezTo>
                      <a:pt x="287735" y="556208"/>
                      <a:pt x="283636" y="555952"/>
                      <a:pt x="280949" y="558323"/>
                    </a:cubicBezTo>
                    <a:cubicBezTo>
                      <a:pt x="278262" y="560693"/>
                      <a:pt x="278006" y="564792"/>
                      <a:pt x="280377" y="567479"/>
                    </a:cubicBezTo>
                    <a:moveTo>
                      <a:pt x="243464" y="600244"/>
                    </a:moveTo>
                    <a:cubicBezTo>
                      <a:pt x="245756" y="602534"/>
                      <a:pt x="249470" y="602533"/>
                      <a:pt x="251759" y="600241"/>
                    </a:cubicBezTo>
                    <a:cubicBezTo>
                      <a:pt x="254050" y="597950"/>
                      <a:pt x="254048" y="594236"/>
                      <a:pt x="251758" y="591945"/>
                    </a:cubicBezTo>
                    <a:cubicBezTo>
                      <a:pt x="249467" y="589656"/>
                      <a:pt x="245754" y="589656"/>
                      <a:pt x="243464" y="591945"/>
                    </a:cubicBezTo>
                    <a:cubicBezTo>
                      <a:pt x="241172" y="594236"/>
                      <a:pt x="241172" y="597950"/>
                      <a:pt x="243461" y="600241"/>
                    </a:cubicBezTo>
                    <a:cubicBezTo>
                      <a:pt x="243462" y="600242"/>
                      <a:pt x="243462" y="600242"/>
                      <a:pt x="243464" y="600244"/>
                    </a:cubicBezTo>
                    <a:moveTo>
                      <a:pt x="206551" y="633008"/>
                    </a:moveTo>
                    <a:cubicBezTo>
                      <a:pt x="208518" y="635062"/>
                      <a:pt x="211778" y="635132"/>
                      <a:pt x="213833" y="633165"/>
                    </a:cubicBezTo>
                    <a:cubicBezTo>
                      <a:pt x="213886" y="633114"/>
                      <a:pt x="213939" y="633061"/>
                      <a:pt x="213990" y="633008"/>
                    </a:cubicBezTo>
                    <a:cubicBezTo>
                      <a:pt x="216350" y="631281"/>
                      <a:pt x="216860" y="627967"/>
                      <a:pt x="215134" y="625609"/>
                    </a:cubicBezTo>
                    <a:cubicBezTo>
                      <a:pt x="213407" y="623250"/>
                      <a:pt x="210094" y="622738"/>
                      <a:pt x="207735" y="624466"/>
                    </a:cubicBezTo>
                    <a:cubicBezTo>
                      <a:pt x="207462" y="624665"/>
                      <a:pt x="207210" y="624891"/>
                      <a:pt x="206980" y="625139"/>
                    </a:cubicBezTo>
                    <a:cubicBezTo>
                      <a:pt x="204944" y="627200"/>
                      <a:pt x="204944" y="630517"/>
                      <a:pt x="206980" y="632578"/>
                    </a:cubicBezTo>
                    <a:moveTo>
                      <a:pt x="170209" y="666201"/>
                    </a:moveTo>
                    <a:cubicBezTo>
                      <a:pt x="172027" y="668071"/>
                      <a:pt x="175015" y="668114"/>
                      <a:pt x="176885" y="666295"/>
                    </a:cubicBezTo>
                    <a:cubicBezTo>
                      <a:pt x="178755" y="664478"/>
                      <a:pt x="178798" y="661490"/>
                      <a:pt x="176981" y="659620"/>
                    </a:cubicBezTo>
                    <a:cubicBezTo>
                      <a:pt x="175164" y="657750"/>
                      <a:pt x="172174" y="657707"/>
                      <a:pt x="170304" y="659525"/>
                    </a:cubicBezTo>
                    <a:cubicBezTo>
                      <a:pt x="170272" y="659555"/>
                      <a:pt x="170241" y="659588"/>
                      <a:pt x="170209" y="659620"/>
                    </a:cubicBezTo>
                    <a:cubicBezTo>
                      <a:pt x="168428" y="661452"/>
                      <a:pt x="168428" y="664368"/>
                      <a:pt x="170209" y="666201"/>
                    </a:cubicBezTo>
                    <a:moveTo>
                      <a:pt x="133296" y="698965"/>
                    </a:moveTo>
                    <a:cubicBezTo>
                      <a:pt x="134844" y="700546"/>
                      <a:pt x="137381" y="700572"/>
                      <a:pt x="138962" y="699022"/>
                    </a:cubicBezTo>
                    <a:cubicBezTo>
                      <a:pt x="138981" y="699004"/>
                      <a:pt x="139001" y="698985"/>
                      <a:pt x="139019" y="698965"/>
                    </a:cubicBezTo>
                    <a:cubicBezTo>
                      <a:pt x="140939" y="697713"/>
                      <a:pt x="141480" y="695142"/>
                      <a:pt x="140228" y="693224"/>
                    </a:cubicBezTo>
                    <a:cubicBezTo>
                      <a:pt x="138976" y="691304"/>
                      <a:pt x="136405" y="690763"/>
                      <a:pt x="134485" y="692015"/>
                    </a:cubicBezTo>
                    <a:cubicBezTo>
                      <a:pt x="134147" y="692235"/>
                      <a:pt x="133843" y="692504"/>
                      <a:pt x="133582" y="692813"/>
                    </a:cubicBezTo>
                    <a:cubicBezTo>
                      <a:pt x="132056" y="694415"/>
                      <a:pt x="132056" y="696933"/>
                      <a:pt x="133582" y="698536"/>
                    </a:cubicBezTo>
                    <a:moveTo>
                      <a:pt x="96669" y="731300"/>
                    </a:moveTo>
                    <a:cubicBezTo>
                      <a:pt x="98013" y="732639"/>
                      <a:pt x="100186" y="732635"/>
                      <a:pt x="101525" y="731291"/>
                    </a:cubicBezTo>
                    <a:cubicBezTo>
                      <a:pt x="102864" y="729948"/>
                      <a:pt x="102860" y="727775"/>
                      <a:pt x="101516" y="726436"/>
                    </a:cubicBezTo>
                    <a:cubicBezTo>
                      <a:pt x="100177" y="725101"/>
                      <a:pt x="98010" y="725101"/>
                      <a:pt x="96669" y="726436"/>
                    </a:cubicBezTo>
                    <a:cubicBezTo>
                      <a:pt x="95326" y="727775"/>
                      <a:pt x="95321" y="729948"/>
                      <a:pt x="96660" y="731291"/>
                    </a:cubicBezTo>
                    <a:cubicBezTo>
                      <a:pt x="96663" y="731294"/>
                      <a:pt x="96666" y="731297"/>
                      <a:pt x="96669" y="731300"/>
                    </a:cubicBezTo>
                    <a:moveTo>
                      <a:pt x="58611" y="764493"/>
                    </a:moveTo>
                    <a:cubicBezTo>
                      <a:pt x="59799" y="765534"/>
                      <a:pt x="61573" y="765534"/>
                      <a:pt x="62760" y="764493"/>
                    </a:cubicBezTo>
                    <a:cubicBezTo>
                      <a:pt x="63869" y="763333"/>
                      <a:pt x="63869" y="761505"/>
                      <a:pt x="62760" y="760344"/>
                    </a:cubicBezTo>
                    <a:cubicBezTo>
                      <a:pt x="61746" y="759238"/>
                      <a:pt x="60026" y="759164"/>
                      <a:pt x="58919" y="760178"/>
                    </a:cubicBezTo>
                    <a:cubicBezTo>
                      <a:pt x="58862" y="760231"/>
                      <a:pt x="58807" y="760287"/>
                      <a:pt x="58754" y="760344"/>
                    </a:cubicBezTo>
                    <a:cubicBezTo>
                      <a:pt x="57664" y="761457"/>
                      <a:pt x="57664" y="763237"/>
                      <a:pt x="58754" y="764350"/>
                    </a:cubicBezTo>
                    <a:moveTo>
                      <a:pt x="407428" y="413388"/>
                    </a:moveTo>
                    <a:cubicBezTo>
                      <a:pt x="410691" y="417055"/>
                      <a:pt x="416288" y="417435"/>
                      <a:pt x="420018" y="414246"/>
                    </a:cubicBezTo>
                    <a:cubicBezTo>
                      <a:pt x="423495" y="410795"/>
                      <a:pt x="423515" y="405178"/>
                      <a:pt x="420064" y="401701"/>
                    </a:cubicBezTo>
                    <a:cubicBezTo>
                      <a:pt x="420048" y="401686"/>
                      <a:pt x="420034" y="401671"/>
                      <a:pt x="420018" y="401656"/>
                    </a:cubicBezTo>
                    <a:cubicBezTo>
                      <a:pt x="416830" y="397936"/>
                      <a:pt x="411229" y="397505"/>
                      <a:pt x="407511" y="400694"/>
                    </a:cubicBezTo>
                    <a:cubicBezTo>
                      <a:pt x="403791" y="403882"/>
                      <a:pt x="403360" y="409482"/>
                      <a:pt x="406548" y="413202"/>
                    </a:cubicBezTo>
                    <a:cubicBezTo>
                      <a:pt x="406602" y="413265"/>
                      <a:pt x="406656" y="413326"/>
                      <a:pt x="406712" y="413388"/>
                    </a:cubicBezTo>
                    <a:moveTo>
                      <a:pt x="370514" y="446152"/>
                    </a:moveTo>
                    <a:cubicBezTo>
                      <a:pt x="373753" y="449394"/>
                      <a:pt x="379009" y="449395"/>
                      <a:pt x="382249" y="446155"/>
                    </a:cubicBezTo>
                    <a:cubicBezTo>
                      <a:pt x="385491" y="442916"/>
                      <a:pt x="385493" y="437662"/>
                      <a:pt x="382254" y="434420"/>
                    </a:cubicBezTo>
                    <a:cubicBezTo>
                      <a:pt x="379014" y="431178"/>
                      <a:pt x="373759" y="431176"/>
                      <a:pt x="370517" y="434417"/>
                    </a:cubicBezTo>
                    <a:cubicBezTo>
                      <a:pt x="370517" y="434417"/>
                      <a:pt x="370516" y="434418"/>
                      <a:pt x="370514" y="434420"/>
                    </a:cubicBezTo>
                    <a:cubicBezTo>
                      <a:pt x="367276" y="437660"/>
                      <a:pt x="367276" y="442911"/>
                      <a:pt x="370514" y="446152"/>
                    </a:cubicBezTo>
                    <a:moveTo>
                      <a:pt x="333458" y="478916"/>
                    </a:moveTo>
                    <a:cubicBezTo>
                      <a:pt x="336500" y="481823"/>
                      <a:pt x="341290" y="481823"/>
                      <a:pt x="344332" y="478916"/>
                    </a:cubicBezTo>
                    <a:cubicBezTo>
                      <a:pt x="347313" y="475904"/>
                      <a:pt x="347313" y="471054"/>
                      <a:pt x="344332" y="468042"/>
                    </a:cubicBezTo>
                    <a:cubicBezTo>
                      <a:pt x="341760" y="464637"/>
                      <a:pt x="336916" y="463961"/>
                      <a:pt x="333511" y="466532"/>
                    </a:cubicBezTo>
                    <a:cubicBezTo>
                      <a:pt x="330104" y="469104"/>
                      <a:pt x="329429" y="473949"/>
                      <a:pt x="332000" y="477354"/>
                    </a:cubicBezTo>
                    <a:cubicBezTo>
                      <a:pt x="332226" y="477654"/>
                      <a:pt x="332475" y="477937"/>
                      <a:pt x="332742" y="478201"/>
                    </a:cubicBezTo>
                    <a:moveTo>
                      <a:pt x="296545" y="511680"/>
                    </a:moveTo>
                    <a:cubicBezTo>
                      <a:pt x="299254" y="514446"/>
                      <a:pt x="303693" y="514492"/>
                      <a:pt x="306458" y="511782"/>
                    </a:cubicBezTo>
                    <a:cubicBezTo>
                      <a:pt x="306493" y="511747"/>
                      <a:pt x="306527" y="511715"/>
                      <a:pt x="306560" y="511680"/>
                    </a:cubicBezTo>
                    <a:cubicBezTo>
                      <a:pt x="309381" y="508915"/>
                      <a:pt x="309427" y="504385"/>
                      <a:pt x="306661" y="501563"/>
                    </a:cubicBezTo>
                    <a:cubicBezTo>
                      <a:pt x="303896" y="498742"/>
                      <a:pt x="299366" y="498698"/>
                      <a:pt x="296545" y="501463"/>
                    </a:cubicBezTo>
                    <a:cubicBezTo>
                      <a:pt x="293723" y="504229"/>
                      <a:pt x="293677" y="508757"/>
                      <a:pt x="296443" y="511579"/>
                    </a:cubicBezTo>
                    <a:cubicBezTo>
                      <a:pt x="296477" y="511613"/>
                      <a:pt x="296510" y="511647"/>
                      <a:pt x="296545" y="511680"/>
                    </a:cubicBezTo>
                    <a:moveTo>
                      <a:pt x="259631" y="544444"/>
                    </a:moveTo>
                    <a:cubicBezTo>
                      <a:pt x="262184" y="546915"/>
                      <a:pt x="266236" y="546915"/>
                      <a:pt x="268788" y="544444"/>
                    </a:cubicBezTo>
                    <a:cubicBezTo>
                      <a:pt x="271187" y="541863"/>
                      <a:pt x="271187" y="537869"/>
                      <a:pt x="268788" y="535288"/>
                    </a:cubicBezTo>
                    <a:cubicBezTo>
                      <a:pt x="266417" y="532601"/>
                      <a:pt x="262318" y="532345"/>
                      <a:pt x="259631" y="534715"/>
                    </a:cubicBezTo>
                    <a:cubicBezTo>
                      <a:pt x="256944" y="537086"/>
                      <a:pt x="256688" y="541185"/>
                      <a:pt x="259059" y="543872"/>
                    </a:cubicBezTo>
                    <a:moveTo>
                      <a:pt x="222003" y="576636"/>
                    </a:moveTo>
                    <a:cubicBezTo>
                      <a:pt x="224295" y="578927"/>
                      <a:pt x="228009" y="578925"/>
                      <a:pt x="230298" y="576633"/>
                    </a:cubicBezTo>
                    <a:cubicBezTo>
                      <a:pt x="232589" y="574343"/>
                      <a:pt x="232587" y="570628"/>
                      <a:pt x="230297" y="568338"/>
                    </a:cubicBezTo>
                    <a:cubicBezTo>
                      <a:pt x="228006" y="566049"/>
                      <a:pt x="224293" y="566049"/>
                      <a:pt x="222003" y="568338"/>
                    </a:cubicBezTo>
                    <a:cubicBezTo>
                      <a:pt x="219711" y="570628"/>
                      <a:pt x="219711" y="574343"/>
                      <a:pt x="222000" y="576633"/>
                    </a:cubicBezTo>
                    <a:cubicBezTo>
                      <a:pt x="222001" y="576635"/>
                      <a:pt x="222001" y="576635"/>
                      <a:pt x="222003" y="576636"/>
                    </a:cubicBezTo>
                    <a:moveTo>
                      <a:pt x="185662" y="610402"/>
                    </a:moveTo>
                    <a:cubicBezTo>
                      <a:pt x="187716" y="612482"/>
                      <a:pt x="191068" y="612502"/>
                      <a:pt x="193147" y="610449"/>
                    </a:cubicBezTo>
                    <a:cubicBezTo>
                      <a:pt x="195228" y="608394"/>
                      <a:pt x="195249" y="605042"/>
                      <a:pt x="193194" y="602962"/>
                    </a:cubicBezTo>
                    <a:cubicBezTo>
                      <a:pt x="191140" y="600882"/>
                      <a:pt x="187788" y="600862"/>
                      <a:pt x="185707" y="602915"/>
                    </a:cubicBezTo>
                    <a:cubicBezTo>
                      <a:pt x="185693" y="602930"/>
                      <a:pt x="185677" y="602946"/>
                      <a:pt x="185662" y="602962"/>
                    </a:cubicBezTo>
                    <a:cubicBezTo>
                      <a:pt x="183626" y="605024"/>
                      <a:pt x="183626" y="608340"/>
                      <a:pt x="185662" y="610402"/>
                    </a:cubicBezTo>
                    <a:moveTo>
                      <a:pt x="148748" y="642737"/>
                    </a:moveTo>
                    <a:cubicBezTo>
                      <a:pt x="150581" y="644518"/>
                      <a:pt x="153497" y="644518"/>
                      <a:pt x="155330" y="642737"/>
                    </a:cubicBezTo>
                    <a:cubicBezTo>
                      <a:pt x="157381" y="641127"/>
                      <a:pt x="157738" y="638158"/>
                      <a:pt x="156128" y="636108"/>
                    </a:cubicBezTo>
                    <a:cubicBezTo>
                      <a:pt x="154517" y="634056"/>
                      <a:pt x="151550" y="633699"/>
                      <a:pt x="149498" y="635310"/>
                    </a:cubicBezTo>
                    <a:cubicBezTo>
                      <a:pt x="149335" y="635439"/>
                      <a:pt x="149180" y="635577"/>
                      <a:pt x="149034" y="635726"/>
                    </a:cubicBezTo>
                    <a:cubicBezTo>
                      <a:pt x="147253" y="637559"/>
                      <a:pt x="147253" y="640475"/>
                      <a:pt x="149034" y="642308"/>
                    </a:cubicBezTo>
                    <a:moveTo>
                      <a:pt x="111978" y="675072"/>
                    </a:moveTo>
                    <a:cubicBezTo>
                      <a:pt x="113598" y="676691"/>
                      <a:pt x="116225" y="676691"/>
                      <a:pt x="117844" y="675072"/>
                    </a:cubicBezTo>
                    <a:cubicBezTo>
                      <a:pt x="119371" y="673469"/>
                      <a:pt x="119371" y="670951"/>
                      <a:pt x="117844" y="669349"/>
                    </a:cubicBezTo>
                    <a:cubicBezTo>
                      <a:pt x="116296" y="667768"/>
                      <a:pt x="113759" y="667742"/>
                      <a:pt x="112178" y="669291"/>
                    </a:cubicBezTo>
                    <a:cubicBezTo>
                      <a:pt x="112160" y="669310"/>
                      <a:pt x="112140" y="669329"/>
                      <a:pt x="112121" y="669349"/>
                    </a:cubicBezTo>
                    <a:cubicBezTo>
                      <a:pt x="110540" y="670897"/>
                      <a:pt x="110514" y="673433"/>
                      <a:pt x="112064" y="675014"/>
                    </a:cubicBezTo>
                    <a:cubicBezTo>
                      <a:pt x="112082" y="675033"/>
                      <a:pt x="112101" y="675053"/>
                      <a:pt x="112121" y="675072"/>
                    </a:cubicBezTo>
                    <a:moveTo>
                      <a:pt x="75208" y="707836"/>
                    </a:moveTo>
                    <a:cubicBezTo>
                      <a:pt x="76547" y="709179"/>
                      <a:pt x="78720" y="709184"/>
                      <a:pt x="80064" y="707844"/>
                    </a:cubicBezTo>
                    <a:cubicBezTo>
                      <a:pt x="80067" y="707842"/>
                      <a:pt x="80070" y="707839"/>
                      <a:pt x="80072" y="707836"/>
                    </a:cubicBezTo>
                    <a:cubicBezTo>
                      <a:pt x="81412" y="706492"/>
                      <a:pt x="81407" y="704318"/>
                      <a:pt x="80064" y="702980"/>
                    </a:cubicBezTo>
                    <a:cubicBezTo>
                      <a:pt x="78720" y="701641"/>
                      <a:pt x="76547" y="701645"/>
                      <a:pt x="75208" y="702988"/>
                    </a:cubicBezTo>
                    <a:cubicBezTo>
                      <a:pt x="73873" y="704328"/>
                      <a:pt x="73873" y="706495"/>
                      <a:pt x="75208" y="707836"/>
                    </a:cubicBezTo>
                    <a:moveTo>
                      <a:pt x="38295" y="740600"/>
                    </a:moveTo>
                    <a:cubicBezTo>
                      <a:pt x="39309" y="741706"/>
                      <a:pt x="41029" y="741780"/>
                      <a:pt x="42136" y="740765"/>
                    </a:cubicBezTo>
                    <a:cubicBezTo>
                      <a:pt x="42193" y="740713"/>
                      <a:pt x="42248" y="740657"/>
                      <a:pt x="42301" y="740600"/>
                    </a:cubicBezTo>
                    <a:cubicBezTo>
                      <a:pt x="43391" y="739487"/>
                      <a:pt x="43391" y="737707"/>
                      <a:pt x="42301" y="736594"/>
                    </a:cubicBezTo>
                    <a:cubicBezTo>
                      <a:pt x="41113" y="735554"/>
                      <a:pt x="39339" y="735554"/>
                      <a:pt x="38151" y="736594"/>
                    </a:cubicBezTo>
                    <a:cubicBezTo>
                      <a:pt x="37043" y="737754"/>
                      <a:pt x="37043" y="739583"/>
                      <a:pt x="38151" y="740743"/>
                    </a:cubicBezTo>
                    <a:moveTo>
                      <a:pt x="386539" y="389924"/>
                    </a:moveTo>
                    <a:cubicBezTo>
                      <a:pt x="389781" y="393596"/>
                      <a:pt x="395386" y="393944"/>
                      <a:pt x="399059" y="390702"/>
                    </a:cubicBezTo>
                    <a:cubicBezTo>
                      <a:pt x="402732" y="387460"/>
                      <a:pt x="403081" y="381854"/>
                      <a:pt x="399837" y="378181"/>
                    </a:cubicBezTo>
                    <a:cubicBezTo>
                      <a:pt x="396622" y="374540"/>
                      <a:pt x="391077" y="374161"/>
                      <a:pt x="387397" y="377333"/>
                    </a:cubicBezTo>
                    <a:cubicBezTo>
                      <a:pt x="383730" y="380597"/>
                      <a:pt x="383349" y="386194"/>
                      <a:pt x="386539" y="389924"/>
                    </a:cubicBezTo>
                    <a:moveTo>
                      <a:pt x="349625" y="422688"/>
                    </a:moveTo>
                    <a:cubicBezTo>
                      <a:pt x="352669" y="426114"/>
                      <a:pt x="357914" y="426426"/>
                      <a:pt x="361340" y="423383"/>
                    </a:cubicBezTo>
                    <a:cubicBezTo>
                      <a:pt x="364767" y="420341"/>
                      <a:pt x="365079" y="415096"/>
                      <a:pt x="362036" y="411668"/>
                    </a:cubicBezTo>
                    <a:cubicBezTo>
                      <a:pt x="359000" y="408249"/>
                      <a:pt x="353770" y="407930"/>
                      <a:pt x="350341" y="410956"/>
                    </a:cubicBezTo>
                    <a:cubicBezTo>
                      <a:pt x="346904" y="413987"/>
                      <a:pt x="346576" y="419231"/>
                      <a:pt x="349608" y="422668"/>
                    </a:cubicBezTo>
                    <a:cubicBezTo>
                      <a:pt x="349614" y="422675"/>
                      <a:pt x="349620" y="422682"/>
                      <a:pt x="349625" y="422688"/>
                    </a:cubicBezTo>
                    <a:moveTo>
                      <a:pt x="313284" y="455452"/>
                    </a:moveTo>
                    <a:cubicBezTo>
                      <a:pt x="316287" y="458484"/>
                      <a:pt x="321179" y="458506"/>
                      <a:pt x="324211" y="455505"/>
                    </a:cubicBezTo>
                    <a:cubicBezTo>
                      <a:pt x="327243" y="452502"/>
                      <a:pt x="327266" y="447610"/>
                      <a:pt x="324262" y="444578"/>
                    </a:cubicBezTo>
                    <a:cubicBezTo>
                      <a:pt x="321261" y="441546"/>
                      <a:pt x="316369" y="441523"/>
                      <a:pt x="313337" y="444525"/>
                    </a:cubicBezTo>
                    <a:cubicBezTo>
                      <a:pt x="313319" y="444542"/>
                      <a:pt x="313301" y="444561"/>
                      <a:pt x="313284" y="444578"/>
                    </a:cubicBezTo>
                    <a:cubicBezTo>
                      <a:pt x="310303" y="447590"/>
                      <a:pt x="310303" y="452440"/>
                      <a:pt x="313284" y="455452"/>
                    </a:cubicBezTo>
                    <a:moveTo>
                      <a:pt x="276228" y="488216"/>
                    </a:moveTo>
                    <a:cubicBezTo>
                      <a:pt x="279009" y="490943"/>
                      <a:pt x="283462" y="490943"/>
                      <a:pt x="286243" y="488216"/>
                    </a:cubicBezTo>
                    <a:cubicBezTo>
                      <a:pt x="288953" y="485450"/>
                      <a:pt x="288907" y="481012"/>
                      <a:pt x="286142" y="478302"/>
                    </a:cubicBezTo>
                    <a:cubicBezTo>
                      <a:pt x="283376" y="475592"/>
                      <a:pt x="278938" y="475637"/>
                      <a:pt x="276228" y="478402"/>
                    </a:cubicBezTo>
                    <a:cubicBezTo>
                      <a:pt x="273557" y="481129"/>
                      <a:pt x="273557" y="485490"/>
                      <a:pt x="276228" y="488216"/>
                    </a:cubicBezTo>
                    <a:moveTo>
                      <a:pt x="239315" y="520980"/>
                    </a:moveTo>
                    <a:cubicBezTo>
                      <a:pt x="241843" y="523591"/>
                      <a:pt x="246009" y="523658"/>
                      <a:pt x="248622" y="521130"/>
                    </a:cubicBezTo>
                    <a:cubicBezTo>
                      <a:pt x="251233" y="518601"/>
                      <a:pt x="251299" y="514434"/>
                      <a:pt x="248770" y="511823"/>
                    </a:cubicBezTo>
                    <a:cubicBezTo>
                      <a:pt x="246242" y="509212"/>
                      <a:pt x="242076" y="509145"/>
                      <a:pt x="239465" y="511673"/>
                    </a:cubicBezTo>
                    <a:cubicBezTo>
                      <a:pt x="239413" y="511723"/>
                      <a:pt x="239363" y="511773"/>
                      <a:pt x="239315" y="511823"/>
                    </a:cubicBezTo>
                    <a:cubicBezTo>
                      <a:pt x="236786" y="514323"/>
                      <a:pt x="236764" y="518400"/>
                      <a:pt x="239263" y="520929"/>
                    </a:cubicBezTo>
                    <a:cubicBezTo>
                      <a:pt x="239280" y="520946"/>
                      <a:pt x="239297" y="520963"/>
                      <a:pt x="239315" y="520980"/>
                    </a:cubicBezTo>
                    <a:moveTo>
                      <a:pt x="201829" y="553172"/>
                    </a:moveTo>
                    <a:cubicBezTo>
                      <a:pt x="204160" y="555422"/>
                      <a:pt x="207874" y="555357"/>
                      <a:pt x="210123" y="553025"/>
                    </a:cubicBezTo>
                    <a:cubicBezTo>
                      <a:pt x="212374" y="550694"/>
                      <a:pt x="212308" y="546981"/>
                      <a:pt x="209977" y="544731"/>
                    </a:cubicBezTo>
                    <a:cubicBezTo>
                      <a:pt x="207704" y="542537"/>
                      <a:pt x="204102" y="542537"/>
                      <a:pt x="201829" y="544731"/>
                    </a:cubicBezTo>
                    <a:cubicBezTo>
                      <a:pt x="199520" y="547071"/>
                      <a:pt x="199520" y="550831"/>
                      <a:pt x="201829" y="553172"/>
                    </a:cubicBezTo>
                    <a:moveTo>
                      <a:pt x="164773" y="585793"/>
                    </a:moveTo>
                    <a:cubicBezTo>
                      <a:pt x="166849" y="587852"/>
                      <a:pt x="170201" y="587836"/>
                      <a:pt x="172260" y="585760"/>
                    </a:cubicBezTo>
                    <a:cubicBezTo>
                      <a:pt x="174085" y="583919"/>
                      <a:pt x="174307" y="581024"/>
                      <a:pt x="172785" y="578925"/>
                    </a:cubicBezTo>
                    <a:cubicBezTo>
                      <a:pt x="171068" y="576559"/>
                      <a:pt x="167759" y="576031"/>
                      <a:pt x="165392" y="577748"/>
                    </a:cubicBezTo>
                    <a:cubicBezTo>
                      <a:pt x="163024" y="579465"/>
                      <a:pt x="162498" y="582774"/>
                      <a:pt x="164215" y="585141"/>
                    </a:cubicBezTo>
                    <a:cubicBezTo>
                      <a:pt x="164382" y="585374"/>
                      <a:pt x="164569" y="585591"/>
                      <a:pt x="164773" y="585793"/>
                    </a:cubicBezTo>
                    <a:moveTo>
                      <a:pt x="127287" y="619129"/>
                    </a:moveTo>
                    <a:cubicBezTo>
                      <a:pt x="129292" y="620798"/>
                      <a:pt x="132269" y="620524"/>
                      <a:pt x="133936" y="618520"/>
                    </a:cubicBezTo>
                    <a:cubicBezTo>
                      <a:pt x="135245" y="616946"/>
                      <a:pt x="135391" y="614707"/>
                      <a:pt x="134298" y="612977"/>
                    </a:cubicBezTo>
                    <a:cubicBezTo>
                      <a:pt x="132465" y="611196"/>
                      <a:pt x="129549" y="611196"/>
                      <a:pt x="127716" y="612977"/>
                    </a:cubicBezTo>
                    <a:cubicBezTo>
                      <a:pt x="125899" y="614736"/>
                      <a:pt x="125851" y="617634"/>
                      <a:pt x="127609" y="619451"/>
                    </a:cubicBezTo>
                    <a:cubicBezTo>
                      <a:pt x="127643" y="619487"/>
                      <a:pt x="127681" y="619523"/>
                      <a:pt x="127716" y="619559"/>
                    </a:cubicBezTo>
                    <a:moveTo>
                      <a:pt x="90946" y="651894"/>
                    </a:moveTo>
                    <a:cubicBezTo>
                      <a:pt x="92494" y="653474"/>
                      <a:pt x="95031" y="653500"/>
                      <a:pt x="96612" y="651951"/>
                    </a:cubicBezTo>
                    <a:cubicBezTo>
                      <a:pt x="96630" y="651932"/>
                      <a:pt x="96650" y="651914"/>
                      <a:pt x="96669" y="651894"/>
                    </a:cubicBezTo>
                    <a:cubicBezTo>
                      <a:pt x="98250" y="650345"/>
                      <a:pt x="98276" y="647809"/>
                      <a:pt x="96726" y="646228"/>
                    </a:cubicBezTo>
                    <a:cubicBezTo>
                      <a:pt x="96708" y="646209"/>
                      <a:pt x="96689" y="646189"/>
                      <a:pt x="96669" y="646171"/>
                    </a:cubicBezTo>
                    <a:cubicBezTo>
                      <a:pt x="95121" y="644590"/>
                      <a:pt x="92584" y="644564"/>
                      <a:pt x="91003" y="646113"/>
                    </a:cubicBezTo>
                    <a:cubicBezTo>
                      <a:pt x="90985" y="646132"/>
                      <a:pt x="90965" y="646151"/>
                      <a:pt x="90946" y="646171"/>
                    </a:cubicBezTo>
                    <a:cubicBezTo>
                      <a:pt x="89365" y="647719"/>
                      <a:pt x="89339" y="650255"/>
                      <a:pt x="90889" y="651836"/>
                    </a:cubicBezTo>
                    <a:cubicBezTo>
                      <a:pt x="90907" y="651855"/>
                      <a:pt x="90926" y="651875"/>
                      <a:pt x="90946" y="651894"/>
                    </a:cubicBezTo>
                    <a:moveTo>
                      <a:pt x="53890" y="684658"/>
                    </a:moveTo>
                    <a:cubicBezTo>
                      <a:pt x="55233" y="685997"/>
                      <a:pt x="57406" y="685993"/>
                      <a:pt x="58746" y="684649"/>
                    </a:cubicBezTo>
                    <a:cubicBezTo>
                      <a:pt x="60085" y="683306"/>
                      <a:pt x="60081" y="681132"/>
                      <a:pt x="58737" y="679793"/>
                    </a:cubicBezTo>
                    <a:cubicBezTo>
                      <a:pt x="57398" y="678458"/>
                      <a:pt x="55230" y="678458"/>
                      <a:pt x="53890" y="679793"/>
                    </a:cubicBezTo>
                    <a:cubicBezTo>
                      <a:pt x="52546" y="681132"/>
                      <a:pt x="52542" y="683306"/>
                      <a:pt x="53881" y="684649"/>
                    </a:cubicBezTo>
                    <a:cubicBezTo>
                      <a:pt x="53884" y="684652"/>
                      <a:pt x="53887" y="684655"/>
                      <a:pt x="53890" y="684658"/>
                    </a:cubicBezTo>
                    <a:moveTo>
                      <a:pt x="16976" y="717422"/>
                    </a:moveTo>
                    <a:cubicBezTo>
                      <a:pt x="18082" y="718551"/>
                      <a:pt x="19894" y="718569"/>
                      <a:pt x="21023" y="717462"/>
                    </a:cubicBezTo>
                    <a:cubicBezTo>
                      <a:pt x="22151" y="716356"/>
                      <a:pt x="22170" y="714545"/>
                      <a:pt x="21064" y="713416"/>
                    </a:cubicBezTo>
                    <a:cubicBezTo>
                      <a:pt x="19957" y="712287"/>
                      <a:pt x="18145" y="712270"/>
                      <a:pt x="17016" y="713376"/>
                    </a:cubicBezTo>
                    <a:cubicBezTo>
                      <a:pt x="17004" y="713388"/>
                      <a:pt x="16989" y="713403"/>
                      <a:pt x="16976" y="713416"/>
                    </a:cubicBezTo>
                    <a:cubicBezTo>
                      <a:pt x="15870" y="714432"/>
                      <a:pt x="15796" y="716150"/>
                      <a:pt x="16812" y="717257"/>
                    </a:cubicBezTo>
                    <a:cubicBezTo>
                      <a:pt x="16863" y="717315"/>
                      <a:pt x="16919" y="717369"/>
                      <a:pt x="16976" y="717422"/>
                    </a:cubicBezTo>
                    <a:moveTo>
                      <a:pt x="490840" y="507531"/>
                    </a:moveTo>
                    <a:cubicBezTo>
                      <a:pt x="494291" y="511008"/>
                      <a:pt x="499908" y="511028"/>
                      <a:pt x="503385" y="507577"/>
                    </a:cubicBezTo>
                    <a:cubicBezTo>
                      <a:pt x="503401" y="507561"/>
                      <a:pt x="503415" y="507547"/>
                      <a:pt x="503431" y="507531"/>
                    </a:cubicBezTo>
                    <a:cubicBezTo>
                      <a:pt x="506882" y="504054"/>
                      <a:pt x="506862" y="498437"/>
                      <a:pt x="503385" y="494986"/>
                    </a:cubicBezTo>
                    <a:cubicBezTo>
                      <a:pt x="499908" y="491535"/>
                      <a:pt x="494291" y="491555"/>
                      <a:pt x="490840" y="495032"/>
                    </a:cubicBezTo>
                    <a:cubicBezTo>
                      <a:pt x="487406" y="498490"/>
                      <a:pt x="487406" y="504071"/>
                      <a:pt x="490840" y="507531"/>
                    </a:cubicBezTo>
                    <a:moveTo>
                      <a:pt x="453927" y="540295"/>
                    </a:moveTo>
                    <a:cubicBezTo>
                      <a:pt x="456632" y="543995"/>
                      <a:pt x="461825" y="544801"/>
                      <a:pt x="465523" y="542095"/>
                    </a:cubicBezTo>
                    <a:cubicBezTo>
                      <a:pt x="469223" y="539390"/>
                      <a:pt x="470028" y="534197"/>
                      <a:pt x="467323" y="530499"/>
                    </a:cubicBezTo>
                    <a:cubicBezTo>
                      <a:pt x="467001" y="530057"/>
                      <a:pt x="466635" y="529648"/>
                      <a:pt x="466231" y="529278"/>
                    </a:cubicBezTo>
                    <a:cubicBezTo>
                      <a:pt x="463526" y="525579"/>
                      <a:pt x="458334" y="524773"/>
                      <a:pt x="454635" y="527479"/>
                    </a:cubicBezTo>
                    <a:cubicBezTo>
                      <a:pt x="450935" y="530184"/>
                      <a:pt x="450130" y="535376"/>
                      <a:pt x="452835" y="539075"/>
                    </a:cubicBezTo>
                    <a:cubicBezTo>
                      <a:pt x="453157" y="539517"/>
                      <a:pt x="453523" y="539926"/>
                      <a:pt x="453927" y="540295"/>
                    </a:cubicBezTo>
                    <a:moveTo>
                      <a:pt x="416870" y="573059"/>
                    </a:moveTo>
                    <a:cubicBezTo>
                      <a:pt x="419882" y="576041"/>
                      <a:pt x="424732" y="576041"/>
                      <a:pt x="427744" y="573059"/>
                    </a:cubicBezTo>
                    <a:cubicBezTo>
                      <a:pt x="430651" y="570018"/>
                      <a:pt x="430651" y="565227"/>
                      <a:pt x="427744" y="562186"/>
                    </a:cubicBezTo>
                    <a:cubicBezTo>
                      <a:pt x="424732" y="559204"/>
                      <a:pt x="419882" y="559204"/>
                      <a:pt x="416870" y="562186"/>
                    </a:cubicBezTo>
                    <a:cubicBezTo>
                      <a:pt x="413963" y="565227"/>
                      <a:pt x="413963" y="570018"/>
                      <a:pt x="416870" y="573059"/>
                    </a:cubicBezTo>
                    <a:moveTo>
                      <a:pt x="379957" y="605823"/>
                    </a:moveTo>
                    <a:cubicBezTo>
                      <a:pt x="382723" y="608645"/>
                      <a:pt x="387253" y="608691"/>
                      <a:pt x="390074" y="605925"/>
                    </a:cubicBezTo>
                    <a:cubicBezTo>
                      <a:pt x="392895" y="603159"/>
                      <a:pt x="392940" y="598630"/>
                      <a:pt x="390174" y="595808"/>
                    </a:cubicBezTo>
                    <a:cubicBezTo>
                      <a:pt x="387409" y="592987"/>
                      <a:pt x="382880" y="592941"/>
                      <a:pt x="380059" y="595707"/>
                    </a:cubicBezTo>
                    <a:cubicBezTo>
                      <a:pt x="380024" y="595741"/>
                      <a:pt x="379990" y="595774"/>
                      <a:pt x="379957" y="595808"/>
                    </a:cubicBezTo>
                    <a:cubicBezTo>
                      <a:pt x="377230" y="598590"/>
                      <a:pt x="377230" y="603042"/>
                      <a:pt x="379957" y="605823"/>
                    </a:cubicBezTo>
                    <a:moveTo>
                      <a:pt x="342901" y="639017"/>
                    </a:moveTo>
                    <a:cubicBezTo>
                      <a:pt x="345482" y="641416"/>
                      <a:pt x="349476" y="641416"/>
                      <a:pt x="352058" y="639017"/>
                    </a:cubicBezTo>
                    <a:cubicBezTo>
                      <a:pt x="354745" y="636646"/>
                      <a:pt x="355001" y="632547"/>
                      <a:pt x="352630" y="629860"/>
                    </a:cubicBezTo>
                    <a:cubicBezTo>
                      <a:pt x="350259" y="627173"/>
                      <a:pt x="346160" y="626917"/>
                      <a:pt x="343473" y="629288"/>
                    </a:cubicBezTo>
                    <a:cubicBezTo>
                      <a:pt x="341074" y="631869"/>
                      <a:pt x="341074" y="635863"/>
                      <a:pt x="343473" y="638444"/>
                    </a:cubicBezTo>
                    <a:moveTo>
                      <a:pt x="306560" y="671209"/>
                    </a:moveTo>
                    <a:cubicBezTo>
                      <a:pt x="308733" y="673658"/>
                      <a:pt x="312480" y="673883"/>
                      <a:pt x="314930" y="671709"/>
                    </a:cubicBezTo>
                    <a:cubicBezTo>
                      <a:pt x="317379" y="669536"/>
                      <a:pt x="317604" y="665789"/>
                      <a:pt x="315430" y="663339"/>
                    </a:cubicBezTo>
                    <a:cubicBezTo>
                      <a:pt x="313253" y="661048"/>
                      <a:pt x="309632" y="660954"/>
                      <a:pt x="307340" y="663132"/>
                    </a:cubicBezTo>
                    <a:cubicBezTo>
                      <a:pt x="307268" y="663199"/>
                      <a:pt x="307199" y="663268"/>
                      <a:pt x="307132" y="663339"/>
                    </a:cubicBezTo>
                    <a:cubicBezTo>
                      <a:pt x="304840" y="665630"/>
                      <a:pt x="304840" y="669344"/>
                      <a:pt x="307129" y="671635"/>
                    </a:cubicBezTo>
                    <a:cubicBezTo>
                      <a:pt x="307131" y="671636"/>
                      <a:pt x="307131" y="671636"/>
                      <a:pt x="307132" y="671638"/>
                    </a:cubicBezTo>
                    <a:moveTo>
                      <a:pt x="270219" y="704402"/>
                    </a:moveTo>
                    <a:cubicBezTo>
                      <a:pt x="272280" y="706438"/>
                      <a:pt x="275597" y="706438"/>
                      <a:pt x="277659" y="704402"/>
                    </a:cubicBezTo>
                    <a:cubicBezTo>
                      <a:pt x="279871" y="702466"/>
                      <a:pt x="280095" y="699103"/>
                      <a:pt x="278159" y="696891"/>
                    </a:cubicBezTo>
                    <a:cubicBezTo>
                      <a:pt x="276224" y="694679"/>
                      <a:pt x="272860" y="694454"/>
                      <a:pt x="270648" y="696390"/>
                    </a:cubicBezTo>
                    <a:cubicBezTo>
                      <a:pt x="268595" y="698500"/>
                      <a:pt x="268595" y="701862"/>
                      <a:pt x="270648" y="703973"/>
                    </a:cubicBezTo>
                    <a:moveTo>
                      <a:pt x="233592" y="736594"/>
                    </a:moveTo>
                    <a:cubicBezTo>
                      <a:pt x="235423" y="738451"/>
                      <a:pt x="238412" y="738472"/>
                      <a:pt x="240269" y="736641"/>
                    </a:cubicBezTo>
                    <a:cubicBezTo>
                      <a:pt x="240285" y="736625"/>
                      <a:pt x="240300" y="736610"/>
                      <a:pt x="240316" y="736594"/>
                    </a:cubicBezTo>
                    <a:cubicBezTo>
                      <a:pt x="242148" y="734737"/>
                      <a:pt x="242126" y="731748"/>
                      <a:pt x="240269" y="729917"/>
                    </a:cubicBezTo>
                    <a:cubicBezTo>
                      <a:pt x="238412" y="728087"/>
                      <a:pt x="235423" y="728108"/>
                      <a:pt x="233592" y="729964"/>
                    </a:cubicBezTo>
                    <a:cubicBezTo>
                      <a:pt x="231779" y="731802"/>
                      <a:pt x="231779" y="734755"/>
                      <a:pt x="233592" y="736594"/>
                    </a:cubicBezTo>
                    <a:moveTo>
                      <a:pt x="196678" y="769358"/>
                    </a:moveTo>
                    <a:cubicBezTo>
                      <a:pt x="198259" y="770906"/>
                      <a:pt x="200795" y="770880"/>
                      <a:pt x="202344" y="769301"/>
                    </a:cubicBezTo>
                    <a:cubicBezTo>
                      <a:pt x="203892" y="767720"/>
                      <a:pt x="203866" y="765183"/>
                      <a:pt x="202285" y="763635"/>
                    </a:cubicBezTo>
                    <a:cubicBezTo>
                      <a:pt x="200729" y="762108"/>
                      <a:pt x="198236" y="762108"/>
                      <a:pt x="196678" y="763635"/>
                    </a:cubicBezTo>
                    <a:cubicBezTo>
                      <a:pt x="195152" y="765237"/>
                      <a:pt x="195152" y="767756"/>
                      <a:pt x="196678" y="769358"/>
                    </a:cubicBezTo>
                    <a:moveTo>
                      <a:pt x="159765" y="802122"/>
                    </a:moveTo>
                    <a:cubicBezTo>
                      <a:pt x="161108" y="803461"/>
                      <a:pt x="163282" y="803457"/>
                      <a:pt x="164621" y="802113"/>
                    </a:cubicBezTo>
                    <a:cubicBezTo>
                      <a:pt x="165960" y="800770"/>
                      <a:pt x="165956" y="798597"/>
                      <a:pt x="164612" y="797258"/>
                    </a:cubicBezTo>
                    <a:cubicBezTo>
                      <a:pt x="163273" y="795923"/>
                      <a:pt x="161106" y="795923"/>
                      <a:pt x="159765" y="797258"/>
                    </a:cubicBezTo>
                    <a:cubicBezTo>
                      <a:pt x="158422" y="798597"/>
                      <a:pt x="158417" y="800770"/>
                      <a:pt x="159756" y="802113"/>
                    </a:cubicBezTo>
                    <a:cubicBezTo>
                      <a:pt x="159759" y="802116"/>
                      <a:pt x="159762" y="802119"/>
                      <a:pt x="159765" y="802122"/>
                    </a:cubicBezTo>
                    <a:moveTo>
                      <a:pt x="470667" y="483924"/>
                    </a:moveTo>
                    <a:cubicBezTo>
                      <a:pt x="473856" y="487644"/>
                      <a:pt x="479456" y="488074"/>
                      <a:pt x="483174" y="484885"/>
                    </a:cubicBezTo>
                    <a:cubicBezTo>
                      <a:pt x="486894" y="481697"/>
                      <a:pt x="487325" y="476098"/>
                      <a:pt x="484137" y="472378"/>
                    </a:cubicBezTo>
                    <a:cubicBezTo>
                      <a:pt x="484083" y="472315"/>
                      <a:pt x="484028" y="472253"/>
                      <a:pt x="483973" y="472192"/>
                    </a:cubicBezTo>
                    <a:cubicBezTo>
                      <a:pt x="480682" y="468562"/>
                      <a:pt x="475072" y="468288"/>
                      <a:pt x="471442" y="471579"/>
                    </a:cubicBezTo>
                    <a:cubicBezTo>
                      <a:pt x="467885" y="474806"/>
                      <a:pt x="467540" y="480277"/>
                      <a:pt x="470667" y="483924"/>
                    </a:cubicBezTo>
                    <a:moveTo>
                      <a:pt x="433753" y="516688"/>
                    </a:moveTo>
                    <a:cubicBezTo>
                      <a:pt x="436752" y="520155"/>
                      <a:pt x="441992" y="520532"/>
                      <a:pt x="445458" y="517535"/>
                    </a:cubicBezTo>
                    <a:cubicBezTo>
                      <a:pt x="448925" y="514536"/>
                      <a:pt x="449304" y="509295"/>
                      <a:pt x="446305" y="505830"/>
                    </a:cubicBezTo>
                    <a:cubicBezTo>
                      <a:pt x="443306" y="502363"/>
                      <a:pt x="438066" y="501984"/>
                      <a:pt x="434600" y="504983"/>
                    </a:cubicBezTo>
                    <a:cubicBezTo>
                      <a:pt x="434556" y="505022"/>
                      <a:pt x="434512" y="505060"/>
                      <a:pt x="434469" y="505099"/>
                    </a:cubicBezTo>
                    <a:cubicBezTo>
                      <a:pt x="431073" y="508059"/>
                      <a:pt x="430720" y="513210"/>
                      <a:pt x="433680" y="516605"/>
                    </a:cubicBezTo>
                    <a:cubicBezTo>
                      <a:pt x="433705" y="516633"/>
                      <a:pt x="433729" y="516661"/>
                      <a:pt x="433753" y="516688"/>
                    </a:cubicBezTo>
                    <a:moveTo>
                      <a:pt x="396840" y="549452"/>
                    </a:moveTo>
                    <a:cubicBezTo>
                      <a:pt x="399687" y="552415"/>
                      <a:pt x="404396" y="552510"/>
                      <a:pt x="407359" y="549664"/>
                    </a:cubicBezTo>
                    <a:cubicBezTo>
                      <a:pt x="407432" y="549594"/>
                      <a:pt x="407502" y="549524"/>
                      <a:pt x="407571" y="549452"/>
                    </a:cubicBezTo>
                    <a:cubicBezTo>
                      <a:pt x="410764" y="546744"/>
                      <a:pt x="411157" y="541958"/>
                      <a:pt x="408449" y="538764"/>
                    </a:cubicBezTo>
                    <a:cubicBezTo>
                      <a:pt x="408396" y="538701"/>
                      <a:pt x="408342" y="538640"/>
                      <a:pt x="408286" y="538578"/>
                    </a:cubicBezTo>
                    <a:cubicBezTo>
                      <a:pt x="405440" y="535462"/>
                      <a:pt x="400643" y="535147"/>
                      <a:pt x="397412" y="537863"/>
                    </a:cubicBezTo>
                    <a:cubicBezTo>
                      <a:pt x="394431" y="540875"/>
                      <a:pt x="394431" y="545725"/>
                      <a:pt x="397412" y="548737"/>
                    </a:cubicBezTo>
                    <a:moveTo>
                      <a:pt x="359068" y="581787"/>
                    </a:moveTo>
                    <a:cubicBezTo>
                      <a:pt x="361834" y="584497"/>
                      <a:pt x="366272" y="584451"/>
                      <a:pt x="368982" y="581685"/>
                    </a:cubicBezTo>
                    <a:cubicBezTo>
                      <a:pt x="371692" y="578920"/>
                      <a:pt x="371647" y="574481"/>
                      <a:pt x="368882" y="571772"/>
                    </a:cubicBezTo>
                    <a:cubicBezTo>
                      <a:pt x="366155" y="569100"/>
                      <a:pt x="361794" y="569100"/>
                      <a:pt x="359068" y="571772"/>
                    </a:cubicBezTo>
                    <a:cubicBezTo>
                      <a:pt x="356341" y="574553"/>
                      <a:pt x="356341" y="579006"/>
                      <a:pt x="359068" y="581787"/>
                    </a:cubicBezTo>
                    <a:moveTo>
                      <a:pt x="322155" y="614551"/>
                    </a:moveTo>
                    <a:cubicBezTo>
                      <a:pt x="324654" y="617079"/>
                      <a:pt x="328732" y="617102"/>
                      <a:pt x="331260" y="614602"/>
                    </a:cubicBezTo>
                    <a:cubicBezTo>
                      <a:pt x="331277" y="614585"/>
                      <a:pt x="331295" y="614568"/>
                      <a:pt x="331312" y="614551"/>
                    </a:cubicBezTo>
                    <a:cubicBezTo>
                      <a:pt x="333999" y="612180"/>
                      <a:pt x="334255" y="608081"/>
                      <a:pt x="331884" y="605394"/>
                    </a:cubicBezTo>
                    <a:cubicBezTo>
                      <a:pt x="329513" y="602707"/>
                      <a:pt x="325414" y="602451"/>
                      <a:pt x="322727" y="604822"/>
                    </a:cubicBezTo>
                    <a:cubicBezTo>
                      <a:pt x="320199" y="607321"/>
                      <a:pt x="320176" y="611399"/>
                      <a:pt x="322676" y="613927"/>
                    </a:cubicBezTo>
                    <a:cubicBezTo>
                      <a:pt x="322693" y="613944"/>
                      <a:pt x="322710" y="613962"/>
                      <a:pt x="322727" y="613979"/>
                    </a:cubicBezTo>
                    <a:moveTo>
                      <a:pt x="284669" y="647744"/>
                    </a:moveTo>
                    <a:cubicBezTo>
                      <a:pt x="286961" y="650035"/>
                      <a:pt x="290676" y="650034"/>
                      <a:pt x="292965" y="647741"/>
                    </a:cubicBezTo>
                    <a:cubicBezTo>
                      <a:pt x="295255" y="645451"/>
                      <a:pt x="295254" y="641737"/>
                      <a:pt x="292963" y="639446"/>
                    </a:cubicBezTo>
                    <a:cubicBezTo>
                      <a:pt x="290673" y="637157"/>
                      <a:pt x="286960" y="637157"/>
                      <a:pt x="284669" y="639446"/>
                    </a:cubicBezTo>
                    <a:cubicBezTo>
                      <a:pt x="282377" y="641737"/>
                      <a:pt x="282377" y="645451"/>
                      <a:pt x="284666" y="647741"/>
                    </a:cubicBezTo>
                    <a:cubicBezTo>
                      <a:pt x="284668" y="647743"/>
                      <a:pt x="284668" y="647743"/>
                      <a:pt x="284669" y="647744"/>
                    </a:cubicBezTo>
                    <a:moveTo>
                      <a:pt x="248185" y="680509"/>
                    </a:moveTo>
                    <a:cubicBezTo>
                      <a:pt x="250330" y="682496"/>
                      <a:pt x="253679" y="682368"/>
                      <a:pt x="255667" y="680224"/>
                    </a:cubicBezTo>
                    <a:cubicBezTo>
                      <a:pt x="257389" y="678364"/>
                      <a:pt x="257552" y="675544"/>
                      <a:pt x="256054" y="673498"/>
                    </a:cubicBezTo>
                    <a:cubicBezTo>
                      <a:pt x="254327" y="671139"/>
                      <a:pt x="251014" y="670628"/>
                      <a:pt x="248656" y="672355"/>
                    </a:cubicBezTo>
                    <a:cubicBezTo>
                      <a:pt x="246297" y="674082"/>
                      <a:pt x="245784" y="677394"/>
                      <a:pt x="247513" y="679753"/>
                    </a:cubicBezTo>
                    <a:cubicBezTo>
                      <a:pt x="247712" y="680026"/>
                      <a:pt x="247938" y="680278"/>
                      <a:pt x="248185" y="680509"/>
                    </a:cubicBezTo>
                    <a:moveTo>
                      <a:pt x="211272" y="713273"/>
                    </a:moveTo>
                    <a:cubicBezTo>
                      <a:pt x="213030" y="715090"/>
                      <a:pt x="215929" y="715138"/>
                      <a:pt x="217746" y="713380"/>
                    </a:cubicBezTo>
                    <a:cubicBezTo>
                      <a:pt x="217782" y="713346"/>
                      <a:pt x="217818" y="713310"/>
                      <a:pt x="217853" y="713273"/>
                    </a:cubicBezTo>
                    <a:cubicBezTo>
                      <a:pt x="219635" y="711440"/>
                      <a:pt x="219635" y="708524"/>
                      <a:pt x="217853" y="706691"/>
                    </a:cubicBezTo>
                    <a:cubicBezTo>
                      <a:pt x="216460" y="704486"/>
                      <a:pt x="213544" y="703830"/>
                      <a:pt x="211339" y="705223"/>
                    </a:cubicBezTo>
                    <a:cubicBezTo>
                      <a:pt x="209136" y="706615"/>
                      <a:pt x="208478" y="709533"/>
                      <a:pt x="209871" y="711736"/>
                    </a:cubicBezTo>
                    <a:cubicBezTo>
                      <a:pt x="210135" y="712154"/>
                      <a:pt x="210464" y="712527"/>
                      <a:pt x="210843" y="712843"/>
                    </a:cubicBezTo>
                    <a:moveTo>
                      <a:pt x="173786" y="745607"/>
                    </a:moveTo>
                    <a:cubicBezTo>
                      <a:pt x="175406" y="747227"/>
                      <a:pt x="178033" y="747227"/>
                      <a:pt x="179652" y="745607"/>
                    </a:cubicBezTo>
                    <a:cubicBezTo>
                      <a:pt x="181179" y="744005"/>
                      <a:pt x="181179" y="741487"/>
                      <a:pt x="179652" y="739885"/>
                    </a:cubicBezTo>
                    <a:cubicBezTo>
                      <a:pt x="178219" y="738304"/>
                      <a:pt x="175777" y="738185"/>
                      <a:pt x="174196" y="739618"/>
                    </a:cubicBezTo>
                    <a:cubicBezTo>
                      <a:pt x="174103" y="739703"/>
                      <a:pt x="174014" y="739792"/>
                      <a:pt x="173929" y="739885"/>
                    </a:cubicBezTo>
                    <a:cubicBezTo>
                      <a:pt x="172348" y="741433"/>
                      <a:pt x="172323" y="743969"/>
                      <a:pt x="173872" y="745550"/>
                    </a:cubicBezTo>
                    <a:cubicBezTo>
                      <a:pt x="173891" y="745569"/>
                      <a:pt x="173909" y="745589"/>
                      <a:pt x="173929" y="745607"/>
                    </a:cubicBezTo>
                    <a:moveTo>
                      <a:pt x="137302" y="778801"/>
                    </a:moveTo>
                    <a:cubicBezTo>
                      <a:pt x="138646" y="780140"/>
                      <a:pt x="140819" y="780136"/>
                      <a:pt x="142158" y="778792"/>
                    </a:cubicBezTo>
                    <a:cubicBezTo>
                      <a:pt x="143497" y="777449"/>
                      <a:pt x="143493" y="775275"/>
                      <a:pt x="142150" y="773936"/>
                    </a:cubicBezTo>
                    <a:cubicBezTo>
                      <a:pt x="140810" y="772601"/>
                      <a:pt x="138643" y="772601"/>
                      <a:pt x="137302" y="773936"/>
                    </a:cubicBezTo>
                    <a:cubicBezTo>
                      <a:pt x="135959" y="775275"/>
                      <a:pt x="135955" y="777449"/>
                      <a:pt x="137294" y="778792"/>
                    </a:cubicBezTo>
                    <a:cubicBezTo>
                      <a:pt x="137297" y="778795"/>
                      <a:pt x="137299" y="778798"/>
                      <a:pt x="137302" y="778801"/>
                    </a:cubicBezTo>
                    <a:moveTo>
                      <a:pt x="449205" y="460459"/>
                    </a:moveTo>
                    <a:cubicBezTo>
                      <a:pt x="452585" y="463896"/>
                      <a:pt x="458110" y="463943"/>
                      <a:pt x="461547" y="460565"/>
                    </a:cubicBezTo>
                    <a:cubicBezTo>
                      <a:pt x="461583" y="460530"/>
                      <a:pt x="461619" y="460495"/>
                      <a:pt x="461653" y="460459"/>
                    </a:cubicBezTo>
                    <a:cubicBezTo>
                      <a:pt x="465301" y="457246"/>
                      <a:pt x="465685" y="451695"/>
                      <a:pt x="462511" y="448012"/>
                    </a:cubicBezTo>
                    <a:cubicBezTo>
                      <a:pt x="459248" y="444345"/>
                      <a:pt x="453651" y="443964"/>
                      <a:pt x="449921" y="447153"/>
                    </a:cubicBezTo>
                    <a:cubicBezTo>
                      <a:pt x="446444" y="450604"/>
                      <a:pt x="446424" y="456222"/>
                      <a:pt x="449875" y="459698"/>
                    </a:cubicBezTo>
                    <a:cubicBezTo>
                      <a:pt x="449891" y="459714"/>
                      <a:pt x="449905" y="459728"/>
                      <a:pt x="449921" y="459744"/>
                    </a:cubicBezTo>
                    <a:moveTo>
                      <a:pt x="412864" y="492508"/>
                    </a:moveTo>
                    <a:cubicBezTo>
                      <a:pt x="415686" y="496121"/>
                      <a:pt x="420901" y="496762"/>
                      <a:pt x="424512" y="493940"/>
                    </a:cubicBezTo>
                    <a:cubicBezTo>
                      <a:pt x="428125" y="491120"/>
                      <a:pt x="428766" y="485905"/>
                      <a:pt x="425944" y="482293"/>
                    </a:cubicBezTo>
                    <a:cubicBezTo>
                      <a:pt x="423124" y="478681"/>
                      <a:pt x="417909" y="478039"/>
                      <a:pt x="414297" y="480860"/>
                    </a:cubicBezTo>
                    <a:cubicBezTo>
                      <a:pt x="413992" y="481098"/>
                      <a:pt x="413706" y="481357"/>
                      <a:pt x="413437" y="481635"/>
                    </a:cubicBezTo>
                    <a:cubicBezTo>
                      <a:pt x="410000" y="484666"/>
                      <a:pt x="409672" y="489910"/>
                      <a:pt x="412704" y="493347"/>
                    </a:cubicBezTo>
                    <a:cubicBezTo>
                      <a:pt x="412710" y="493354"/>
                      <a:pt x="412716" y="493359"/>
                      <a:pt x="412721" y="493367"/>
                    </a:cubicBezTo>
                    <a:moveTo>
                      <a:pt x="375236" y="525988"/>
                    </a:moveTo>
                    <a:cubicBezTo>
                      <a:pt x="378277" y="528895"/>
                      <a:pt x="383068" y="528895"/>
                      <a:pt x="386109" y="525988"/>
                    </a:cubicBezTo>
                    <a:cubicBezTo>
                      <a:pt x="389091" y="522976"/>
                      <a:pt x="389091" y="518126"/>
                      <a:pt x="386109" y="515114"/>
                    </a:cubicBezTo>
                    <a:cubicBezTo>
                      <a:pt x="383191" y="512111"/>
                      <a:pt x="378389" y="512044"/>
                      <a:pt x="375386" y="514964"/>
                    </a:cubicBezTo>
                    <a:cubicBezTo>
                      <a:pt x="375336" y="515012"/>
                      <a:pt x="375286" y="515062"/>
                      <a:pt x="375236" y="515114"/>
                    </a:cubicBezTo>
                    <a:cubicBezTo>
                      <a:pt x="372254" y="518126"/>
                      <a:pt x="372254" y="522976"/>
                      <a:pt x="375236" y="525988"/>
                    </a:cubicBezTo>
                    <a:moveTo>
                      <a:pt x="338179" y="558752"/>
                    </a:moveTo>
                    <a:cubicBezTo>
                      <a:pt x="340961" y="561479"/>
                      <a:pt x="345413" y="561479"/>
                      <a:pt x="348195" y="558752"/>
                    </a:cubicBezTo>
                    <a:cubicBezTo>
                      <a:pt x="351153" y="556254"/>
                      <a:pt x="351525" y="551830"/>
                      <a:pt x="349027" y="548873"/>
                    </a:cubicBezTo>
                    <a:cubicBezTo>
                      <a:pt x="348989" y="548827"/>
                      <a:pt x="348950" y="548781"/>
                      <a:pt x="348910" y="548737"/>
                    </a:cubicBezTo>
                    <a:cubicBezTo>
                      <a:pt x="346129" y="546010"/>
                      <a:pt x="341676" y="546010"/>
                      <a:pt x="338895" y="548737"/>
                    </a:cubicBezTo>
                    <a:cubicBezTo>
                      <a:pt x="336129" y="551446"/>
                      <a:pt x="336083" y="555885"/>
                      <a:pt x="338793" y="558650"/>
                    </a:cubicBezTo>
                    <a:cubicBezTo>
                      <a:pt x="338827" y="558685"/>
                      <a:pt x="338860" y="558719"/>
                      <a:pt x="338895" y="558752"/>
                    </a:cubicBezTo>
                    <a:moveTo>
                      <a:pt x="301981" y="591516"/>
                    </a:moveTo>
                    <a:cubicBezTo>
                      <a:pt x="304534" y="593987"/>
                      <a:pt x="308586" y="593987"/>
                      <a:pt x="311138" y="591516"/>
                    </a:cubicBezTo>
                    <a:cubicBezTo>
                      <a:pt x="313825" y="589145"/>
                      <a:pt x="314081" y="585046"/>
                      <a:pt x="311710" y="582359"/>
                    </a:cubicBezTo>
                    <a:cubicBezTo>
                      <a:pt x="309340" y="579672"/>
                      <a:pt x="305241" y="579416"/>
                      <a:pt x="302554" y="581787"/>
                    </a:cubicBezTo>
                    <a:cubicBezTo>
                      <a:pt x="300083" y="584339"/>
                      <a:pt x="300083" y="588391"/>
                      <a:pt x="302554" y="590944"/>
                    </a:cubicBezTo>
                    <a:moveTo>
                      <a:pt x="264353" y="624709"/>
                    </a:moveTo>
                    <a:cubicBezTo>
                      <a:pt x="266645" y="627000"/>
                      <a:pt x="270359" y="626999"/>
                      <a:pt x="272648" y="624706"/>
                    </a:cubicBezTo>
                    <a:cubicBezTo>
                      <a:pt x="274939" y="622416"/>
                      <a:pt x="274937" y="618702"/>
                      <a:pt x="272647" y="616411"/>
                    </a:cubicBezTo>
                    <a:cubicBezTo>
                      <a:pt x="270356" y="614122"/>
                      <a:pt x="266643" y="614122"/>
                      <a:pt x="264353" y="616411"/>
                    </a:cubicBezTo>
                    <a:cubicBezTo>
                      <a:pt x="262061" y="618702"/>
                      <a:pt x="262061" y="622416"/>
                      <a:pt x="264350" y="624706"/>
                    </a:cubicBezTo>
                    <a:cubicBezTo>
                      <a:pt x="264351" y="624708"/>
                      <a:pt x="264351" y="624708"/>
                      <a:pt x="264353" y="624709"/>
                    </a:cubicBezTo>
                    <a:moveTo>
                      <a:pt x="227439" y="657044"/>
                    </a:moveTo>
                    <a:cubicBezTo>
                      <a:pt x="229578" y="659026"/>
                      <a:pt x="232883" y="659026"/>
                      <a:pt x="235022" y="657044"/>
                    </a:cubicBezTo>
                    <a:cubicBezTo>
                      <a:pt x="236985" y="654952"/>
                      <a:pt x="236985" y="651696"/>
                      <a:pt x="235022" y="649604"/>
                    </a:cubicBezTo>
                    <a:cubicBezTo>
                      <a:pt x="233087" y="647392"/>
                      <a:pt x="229723" y="647168"/>
                      <a:pt x="227511" y="649104"/>
                    </a:cubicBezTo>
                    <a:cubicBezTo>
                      <a:pt x="225299" y="651039"/>
                      <a:pt x="225074" y="654403"/>
                      <a:pt x="227010" y="656615"/>
                    </a:cubicBezTo>
                    <a:moveTo>
                      <a:pt x="190097" y="689379"/>
                    </a:moveTo>
                    <a:cubicBezTo>
                      <a:pt x="191930" y="691160"/>
                      <a:pt x="194846" y="691160"/>
                      <a:pt x="196678" y="689379"/>
                    </a:cubicBezTo>
                    <a:cubicBezTo>
                      <a:pt x="198495" y="687621"/>
                      <a:pt x="198544" y="684722"/>
                      <a:pt x="196786" y="682905"/>
                    </a:cubicBezTo>
                    <a:cubicBezTo>
                      <a:pt x="196751" y="682869"/>
                      <a:pt x="196714" y="682833"/>
                      <a:pt x="196678" y="682798"/>
                    </a:cubicBezTo>
                    <a:cubicBezTo>
                      <a:pt x="194846" y="681016"/>
                      <a:pt x="191930" y="681016"/>
                      <a:pt x="190097" y="682798"/>
                    </a:cubicBezTo>
                    <a:cubicBezTo>
                      <a:pt x="188280" y="684556"/>
                      <a:pt x="188231" y="687455"/>
                      <a:pt x="189990" y="689272"/>
                    </a:cubicBezTo>
                    <a:cubicBezTo>
                      <a:pt x="190024" y="689308"/>
                      <a:pt x="190061" y="689343"/>
                      <a:pt x="190097" y="689379"/>
                    </a:cubicBezTo>
                    <a:moveTo>
                      <a:pt x="153184" y="722143"/>
                    </a:moveTo>
                    <a:cubicBezTo>
                      <a:pt x="154786" y="723670"/>
                      <a:pt x="157304" y="723670"/>
                      <a:pt x="158907" y="722143"/>
                    </a:cubicBezTo>
                    <a:cubicBezTo>
                      <a:pt x="160488" y="720710"/>
                      <a:pt x="160606" y="718267"/>
                      <a:pt x="159173" y="716686"/>
                    </a:cubicBezTo>
                    <a:cubicBezTo>
                      <a:pt x="159088" y="716593"/>
                      <a:pt x="159000" y="716505"/>
                      <a:pt x="158907" y="716420"/>
                    </a:cubicBezTo>
                    <a:cubicBezTo>
                      <a:pt x="157359" y="714839"/>
                      <a:pt x="154822" y="714814"/>
                      <a:pt x="153241" y="716363"/>
                    </a:cubicBezTo>
                    <a:cubicBezTo>
                      <a:pt x="153222" y="716382"/>
                      <a:pt x="153202" y="716400"/>
                      <a:pt x="153184" y="716420"/>
                    </a:cubicBezTo>
                    <a:cubicBezTo>
                      <a:pt x="151564" y="718040"/>
                      <a:pt x="151564" y="720667"/>
                      <a:pt x="153184" y="722286"/>
                    </a:cubicBezTo>
                    <a:moveTo>
                      <a:pt x="116127" y="755050"/>
                    </a:moveTo>
                    <a:cubicBezTo>
                      <a:pt x="117509" y="756461"/>
                      <a:pt x="119774" y="756484"/>
                      <a:pt x="121185" y="755101"/>
                    </a:cubicBezTo>
                    <a:cubicBezTo>
                      <a:pt x="122596" y="753718"/>
                      <a:pt x="122619" y="751454"/>
                      <a:pt x="121236" y="750043"/>
                    </a:cubicBezTo>
                    <a:cubicBezTo>
                      <a:pt x="119853" y="748632"/>
                      <a:pt x="117588" y="748609"/>
                      <a:pt x="116177" y="749993"/>
                    </a:cubicBezTo>
                    <a:cubicBezTo>
                      <a:pt x="116160" y="750008"/>
                      <a:pt x="116144" y="750026"/>
                      <a:pt x="116127" y="750043"/>
                    </a:cubicBezTo>
                    <a:cubicBezTo>
                      <a:pt x="114764" y="751434"/>
                      <a:pt x="114764" y="753660"/>
                      <a:pt x="116127" y="755050"/>
                    </a:cubicBezTo>
                    <a:moveTo>
                      <a:pt x="79214" y="787672"/>
                    </a:moveTo>
                    <a:cubicBezTo>
                      <a:pt x="80228" y="788777"/>
                      <a:pt x="81948" y="788852"/>
                      <a:pt x="83055" y="787838"/>
                    </a:cubicBezTo>
                    <a:cubicBezTo>
                      <a:pt x="83113" y="787785"/>
                      <a:pt x="83167" y="787729"/>
                      <a:pt x="83220" y="787672"/>
                    </a:cubicBezTo>
                    <a:cubicBezTo>
                      <a:pt x="84326" y="786657"/>
                      <a:pt x="84400" y="784937"/>
                      <a:pt x="83385" y="783830"/>
                    </a:cubicBezTo>
                    <a:cubicBezTo>
                      <a:pt x="83333" y="783773"/>
                      <a:pt x="83277" y="783718"/>
                      <a:pt x="83220" y="783665"/>
                    </a:cubicBezTo>
                    <a:cubicBezTo>
                      <a:pt x="82107" y="782575"/>
                      <a:pt x="80327" y="782575"/>
                      <a:pt x="79214" y="783665"/>
                    </a:cubicBezTo>
                    <a:cubicBezTo>
                      <a:pt x="78108" y="784680"/>
                      <a:pt x="78034" y="786400"/>
                      <a:pt x="79049" y="787506"/>
                    </a:cubicBezTo>
                    <a:cubicBezTo>
                      <a:pt x="79101" y="787564"/>
                      <a:pt x="79157" y="787619"/>
                      <a:pt x="79214" y="787672"/>
                    </a:cubicBezTo>
                    <a:moveTo>
                      <a:pt x="479823" y="391354"/>
                    </a:moveTo>
                    <a:cubicBezTo>
                      <a:pt x="476584" y="387640"/>
                      <a:pt x="470947" y="387257"/>
                      <a:pt x="467233" y="390496"/>
                    </a:cubicBezTo>
                    <a:cubicBezTo>
                      <a:pt x="463519" y="393735"/>
                      <a:pt x="463135" y="399372"/>
                      <a:pt x="466374" y="403086"/>
                    </a:cubicBezTo>
                    <a:cubicBezTo>
                      <a:pt x="469614" y="406801"/>
                      <a:pt x="475251" y="407184"/>
                      <a:pt x="478965" y="403945"/>
                    </a:cubicBezTo>
                    <a:cubicBezTo>
                      <a:pt x="482679" y="400706"/>
                      <a:pt x="483063" y="395069"/>
                      <a:pt x="479823" y="391354"/>
                    </a:cubicBezTo>
                    <a:moveTo>
                      <a:pt x="516737" y="358590"/>
                    </a:moveTo>
                    <a:cubicBezTo>
                      <a:pt x="513738" y="355123"/>
                      <a:pt x="508497" y="354746"/>
                      <a:pt x="505032" y="357743"/>
                    </a:cubicBezTo>
                    <a:cubicBezTo>
                      <a:pt x="501565" y="360742"/>
                      <a:pt x="501186" y="365983"/>
                      <a:pt x="504185" y="369448"/>
                    </a:cubicBezTo>
                    <a:cubicBezTo>
                      <a:pt x="507184" y="372915"/>
                      <a:pt x="512424" y="373294"/>
                      <a:pt x="515890" y="370295"/>
                    </a:cubicBezTo>
                    <a:cubicBezTo>
                      <a:pt x="515934" y="370257"/>
                      <a:pt x="515978" y="370218"/>
                      <a:pt x="516021" y="370179"/>
                    </a:cubicBezTo>
                    <a:cubicBezTo>
                      <a:pt x="519416" y="367219"/>
                      <a:pt x="519770" y="362068"/>
                      <a:pt x="516810" y="358673"/>
                    </a:cubicBezTo>
                    <a:cubicBezTo>
                      <a:pt x="516785" y="358646"/>
                      <a:pt x="516761" y="358617"/>
                      <a:pt x="516737" y="358590"/>
                    </a:cubicBezTo>
                    <a:moveTo>
                      <a:pt x="553650" y="325826"/>
                    </a:moveTo>
                    <a:cubicBezTo>
                      <a:pt x="550844" y="322666"/>
                      <a:pt x="546008" y="322377"/>
                      <a:pt x="542848" y="325182"/>
                    </a:cubicBezTo>
                    <a:cubicBezTo>
                      <a:pt x="539687" y="327988"/>
                      <a:pt x="539398" y="332824"/>
                      <a:pt x="542204" y="335984"/>
                    </a:cubicBezTo>
                    <a:cubicBezTo>
                      <a:pt x="545246" y="338892"/>
                      <a:pt x="550036" y="338892"/>
                      <a:pt x="553078" y="335984"/>
                    </a:cubicBezTo>
                    <a:cubicBezTo>
                      <a:pt x="556059" y="332973"/>
                      <a:pt x="556059" y="328122"/>
                      <a:pt x="553078" y="325111"/>
                    </a:cubicBezTo>
                    <a:moveTo>
                      <a:pt x="590134" y="292347"/>
                    </a:moveTo>
                    <a:cubicBezTo>
                      <a:pt x="587539" y="289581"/>
                      <a:pt x="583192" y="289444"/>
                      <a:pt x="580426" y="292039"/>
                    </a:cubicBezTo>
                    <a:cubicBezTo>
                      <a:pt x="580321" y="292138"/>
                      <a:pt x="580218" y="292241"/>
                      <a:pt x="580119" y="292347"/>
                    </a:cubicBezTo>
                    <a:cubicBezTo>
                      <a:pt x="577160" y="294845"/>
                      <a:pt x="576788" y="299269"/>
                      <a:pt x="579286" y="302226"/>
                    </a:cubicBezTo>
                    <a:cubicBezTo>
                      <a:pt x="579325" y="302272"/>
                      <a:pt x="579363" y="302317"/>
                      <a:pt x="579403" y="302362"/>
                    </a:cubicBezTo>
                    <a:cubicBezTo>
                      <a:pt x="582185" y="305089"/>
                      <a:pt x="586637" y="305089"/>
                      <a:pt x="589419" y="302362"/>
                    </a:cubicBezTo>
                    <a:cubicBezTo>
                      <a:pt x="592184" y="299652"/>
                      <a:pt x="592230" y="295214"/>
                      <a:pt x="589520" y="292448"/>
                    </a:cubicBezTo>
                    <a:cubicBezTo>
                      <a:pt x="589486" y="292414"/>
                      <a:pt x="589453" y="292379"/>
                      <a:pt x="589419" y="292347"/>
                    </a:cubicBezTo>
                    <a:moveTo>
                      <a:pt x="628049" y="260584"/>
                    </a:moveTo>
                    <a:cubicBezTo>
                      <a:pt x="625549" y="258056"/>
                      <a:pt x="621472" y="258033"/>
                      <a:pt x="618944" y="260532"/>
                    </a:cubicBezTo>
                    <a:cubicBezTo>
                      <a:pt x="618926" y="260550"/>
                      <a:pt x="618909" y="260567"/>
                      <a:pt x="618892" y="260584"/>
                    </a:cubicBezTo>
                    <a:cubicBezTo>
                      <a:pt x="616205" y="262955"/>
                      <a:pt x="615949" y="267054"/>
                      <a:pt x="618320" y="269741"/>
                    </a:cubicBezTo>
                    <a:cubicBezTo>
                      <a:pt x="620691" y="272428"/>
                      <a:pt x="624790" y="272684"/>
                      <a:pt x="627477" y="270313"/>
                    </a:cubicBezTo>
                    <a:cubicBezTo>
                      <a:pt x="630005" y="267814"/>
                      <a:pt x="630028" y="263736"/>
                      <a:pt x="627528" y="261208"/>
                    </a:cubicBezTo>
                    <a:cubicBezTo>
                      <a:pt x="627511" y="261191"/>
                      <a:pt x="627494" y="261173"/>
                      <a:pt x="627477" y="261156"/>
                    </a:cubicBezTo>
                    <a:moveTo>
                      <a:pt x="664390" y="228392"/>
                    </a:moveTo>
                    <a:cubicBezTo>
                      <a:pt x="662098" y="226101"/>
                      <a:pt x="658384" y="226103"/>
                      <a:pt x="656094" y="228395"/>
                    </a:cubicBezTo>
                    <a:cubicBezTo>
                      <a:pt x="653804" y="230686"/>
                      <a:pt x="653805" y="234400"/>
                      <a:pt x="656096" y="236690"/>
                    </a:cubicBezTo>
                    <a:cubicBezTo>
                      <a:pt x="658386" y="238980"/>
                      <a:pt x="662099" y="238980"/>
                      <a:pt x="664390" y="236690"/>
                    </a:cubicBezTo>
                    <a:cubicBezTo>
                      <a:pt x="666682" y="234400"/>
                      <a:pt x="666682" y="230686"/>
                      <a:pt x="664393" y="228395"/>
                    </a:cubicBezTo>
                    <a:cubicBezTo>
                      <a:pt x="664391" y="228394"/>
                      <a:pt x="664391" y="228394"/>
                      <a:pt x="664390" y="228392"/>
                    </a:cubicBezTo>
                    <a:moveTo>
                      <a:pt x="701303" y="195485"/>
                    </a:moveTo>
                    <a:cubicBezTo>
                      <a:pt x="699367" y="193273"/>
                      <a:pt x="696004" y="193048"/>
                      <a:pt x="693792" y="194984"/>
                    </a:cubicBezTo>
                    <a:cubicBezTo>
                      <a:pt x="691580" y="196920"/>
                      <a:pt x="691355" y="200284"/>
                      <a:pt x="693291" y="202496"/>
                    </a:cubicBezTo>
                    <a:cubicBezTo>
                      <a:pt x="695227" y="204708"/>
                      <a:pt x="698590" y="204932"/>
                      <a:pt x="700802" y="202996"/>
                    </a:cubicBezTo>
                    <a:cubicBezTo>
                      <a:pt x="703014" y="201061"/>
                      <a:pt x="703239" y="197697"/>
                      <a:pt x="701303" y="195485"/>
                    </a:cubicBezTo>
                    <a:moveTo>
                      <a:pt x="738216" y="162721"/>
                    </a:moveTo>
                    <a:cubicBezTo>
                      <a:pt x="736384" y="160940"/>
                      <a:pt x="733468" y="160940"/>
                      <a:pt x="731635" y="162721"/>
                    </a:cubicBezTo>
                    <a:cubicBezTo>
                      <a:pt x="729765" y="164538"/>
                      <a:pt x="729722" y="167527"/>
                      <a:pt x="731541" y="169397"/>
                    </a:cubicBezTo>
                    <a:cubicBezTo>
                      <a:pt x="733358" y="171267"/>
                      <a:pt x="736347" y="171310"/>
                      <a:pt x="738216" y="169493"/>
                    </a:cubicBezTo>
                    <a:cubicBezTo>
                      <a:pt x="740086" y="167675"/>
                      <a:pt x="740129" y="164685"/>
                      <a:pt x="738311" y="162815"/>
                    </a:cubicBezTo>
                    <a:cubicBezTo>
                      <a:pt x="738281" y="162784"/>
                      <a:pt x="738248" y="162752"/>
                      <a:pt x="738216" y="162721"/>
                    </a:cubicBezTo>
                    <a:moveTo>
                      <a:pt x="775130" y="129957"/>
                    </a:moveTo>
                    <a:cubicBezTo>
                      <a:pt x="773549" y="128409"/>
                      <a:pt x="771013" y="128434"/>
                      <a:pt x="769464" y="130014"/>
                    </a:cubicBezTo>
                    <a:cubicBezTo>
                      <a:pt x="767916" y="131595"/>
                      <a:pt x="767942" y="134132"/>
                      <a:pt x="769523" y="135680"/>
                    </a:cubicBezTo>
                    <a:cubicBezTo>
                      <a:pt x="771079" y="137206"/>
                      <a:pt x="773572" y="137206"/>
                      <a:pt x="775130" y="135680"/>
                    </a:cubicBezTo>
                    <a:cubicBezTo>
                      <a:pt x="776711" y="134246"/>
                      <a:pt x="776830" y="131804"/>
                      <a:pt x="775396" y="130223"/>
                    </a:cubicBezTo>
                    <a:cubicBezTo>
                      <a:pt x="775312" y="130130"/>
                      <a:pt x="775223" y="130041"/>
                      <a:pt x="775130" y="129957"/>
                    </a:cubicBezTo>
                    <a:moveTo>
                      <a:pt x="812186" y="97192"/>
                    </a:moveTo>
                    <a:cubicBezTo>
                      <a:pt x="810843" y="95853"/>
                      <a:pt x="808669" y="95858"/>
                      <a:pt x="807330" y="97201"/>
                    </a:cubicBezTo>
                    <a:cubicBezTo>
                      <a:pt x="805991" y="98545"/>
                      <a:pt x="805995" y="100718"/>
                      <a:pt x="807339" y="102057"/>
                    </a:cubicBezTo>
                    <a:cubicBezTo>
                      <a:pt x="808678" y="103392"/>
                      <a:pt x="810846" y="103392"/>
                      <a:pt x="812186" y="102057"/>
                    </a:cubicBezTo>
                    <a:cubicBezTo>
                      <a:pt x="813530" y="100718"/>
                      <a:pt x="813534" y="98545"/>
                      <a:pt x="812195" y="97201"/>
                    </a:cubicBezTo>
                    <a:cubicBezTo>
                      <a:pt x="812192" y="97198"/>
                      <a:pt x="812189" y="97195"/>
                      <a:pt x="812186" y="97192"/>
                    </a:cubicBezTo>
                    <a:moveTo>
                      <a:pt x="849099" y="64428"/>
                    </a:moveTo>
                    <a:cubicBezTo>
                      <a:pt x="848032" y="63244"/>
                      <a:pt x="846207" y="63146"/>
                      <a:pt x="845022" y="64214"/>
                    </a:cubicBezTo>
                    <a:cubicBezTo>
                      <a:pt x="843837" y="65281"/>
                      <a:pt x="843740" y="67107"/>
                      <a:pt x="844807" y="68291"/>
                    </a:cubicBezTo>
                    <a:cubicBezTo>
                      <a:pt x="845920" y="69382"/>
                      <a:pt x="847700" y="69382"/>
                      <a:pt x="848813" y="68291"/>
                    </a:cubicBezTo>
                    <a:cubicBezTo>
                      <a:pt x="849922" y="67131"/>
                      <a:pt x="849922" y="65303"/>
                      <a:pt x="848813" y="64142"/>
                    </a:cubicBezTo>
                    <a:moveTo>
                      <a:pt x="458648" y="368033"/>
                    </a:moveTo>
                    <a:cubicBezTo>
                      <a:pt x="455345" y="364410"/>
                      <a:pt x="449750" y="364091"/>
                      <a:pt x="446058" y="367318"/>
                    </a:cubicBezTo>
                    <a:cubicBezTo>
                      <a:pt x="442385" y="370561"/>
                      <a:pt x="442037" y="376167"/>
                      <a:pt x="445281" y="379838"/>
                    </a:cubicBezTo>
                    <a:cubicBezTo>
                      <a:pt x="445301" y="379863"/>
                      <a:pt x="445321" y="379885"/>
                      <a:pt x="445342" y="379908"/>
                    </a:cubicBezTo>
                    <a:cubicBezTo>
                      <a:pt x="448622" y="383583"/>
                      <a:pt x="454259" y="383903"/>
                      <a:pt x="457933" y="380624"/>
                    </a:cubicBezTo>
                    <a:cubicBezTo>
                      <a:pt x="461607" y="377344"/>
                      <a:pt x="461928" y="371707"/>
                      <a:pt x="458648" y="368033"/>
                    </a:cubicBezTo>
                    <a:moveTo>
                      <a:pt x="495562" y="335269"/>
                    </a:moveTo>
                    <a:cubicBezTo>
                      <a:pt x="492518" y="331842"/>
                      <a:pt x="487273" y="331530"/>
                      <a:pt x="483847" y="334574"/>
                    </a:cubicBezTo>
                    <a:cubicBezTo>
                      <a:pt x="480420" y="337615"/>
                      <a:pt x="480108" y="342861"/>
                      <a:pt x="483151" y="346289"/>
                    </a:cubicBezTo>
                    <a:cubicBezTo>
                      <a:pt x="486187" y="349708"/>
                      <a:pt x="491417" y="350027"/>
                      <a:pt x="494846" y="347001"/>
                    </a:cubicBezTo>
                    <a:cubicBezTo>
                      <a:pt x="498283" y="343969"/>
                      <a:pt x="498610" y="338726"/>
                      <a:pt x="495579" y="335289"/>
                    </a:cubicBezTo>
                    <a:cubicBezTo>
                      <a:pt x="495573" y="335282"/>
                      <a:pt x="495567" y="335276"/>
                      <a:pt x="495562" y="335269"/>
                    </a:cubicBezTo>
                    <a:moveTo>
                      <a:pt x="532618" y="302505"/>
                    </a:moveTo>
                    <a:cubicBezTo>
                      <a:pt x="529606" y="299523"/>
                      <a:pt x="524756" y="299523"/>
                      <a:pt x="521744" y="302505"/>
                    </a:cubicBezTo>
                    <a:cubicBezTo>
                      <a:pt x="518741" y="305424"/>
                      <a:pt x="518674" y="310225"/>
                      <a:pt x="521594" y="313228"/>
                    </a:cubicBezTo>
                    <a:cubicBezTo>
                      <a:pt x="521643" y="313278"/>
                      <a:pt x="521693" y="313328"/>
                      <a:pt x="521744" y="313379"/>
                    </a:cubicBezTo>
                    <a:cubicBezTo>
                      <a:pt x="524756" y="316360"/>
                      <a:pt x="529606" y="316360"/>
                      <a:pt x="532618" y="313379"/>
                    </a:cubicBezTo>
                    <a:cubicBezTo>
                      <a:pt x="535525" y="310337"/>
                      <a:pt x="535525" y="305547"/>
                      <a:pt x="532618" y="302505"/>
                    </a:cubicBezTo>
                    <a:moveTo>
                      <a:pt x="569531" y="269741"/>
                    </a:moveTo>
                    <a:cubicBezTo>
                      <a:pt x="566750" y="267014"/>
                      <a:pt x="562297" y="267014"/>
                      <a:pt x="559516" y="269741"/>
                    </a:cubicBezTo>
                    <a:cubicBezTo>
                      <a:pt x="556934" y="272731"/>
                      <a:pt x="557263" y="277248"/>
                      <a:pt x="560253" y="279830"/>
                    </a:cubicBezTo>
                    <a:cubicBezTo>
                      <a:pt x="562707" y="281951"/>
                      <a:pt x="566279" y="282155"/>
                      <a:pt x="568959" y="280328"/>
                    </a:cubicBezTo>
                    <a:cubicBezTo>
                      <a:pt x="571686" y="277547"/>
                      <a:pt x="571686" y="273094"/>
                      <a:pt x="568959" y="270313"/>
                    </a:cubicBezTo>
                    <a:moveTo>
                      <a:pt x="605872" y="237549"/>
                    </a:moveTo>
                    <a:cubicBezTo>
                      <a:pt x="603320" y="235078"/>
                      <a:pt x="599268" y="235078"/>
                      <a:pt x="596716" y="237549"/>
                    </a:cubicBezTo>
                    <a:cubicBezTo>
                      <a:pt x="594316" y="240130"/>
                      <a:pt x="594316" y="244125"/>
                      <a:pt x="596716" y="246706"/>
                    </a:cubicBezTo>
                    <a:cubicBezTo>
                      <a:pt x="599268" y="249177"/>
                      <a:pt x="603320" y="249177"/>
                      <a:pt x="605872" y="246706"/>
                    </a:cubicBezTo>
                    <a:cubicBezTo>
                      <a:pt x="608400" y="244206"/>
                      <a:pt x="608423" y="240129"/>
                      <a:pt x="605924" y="237600"/>
                    </a:cubicBezTo>
                    <a:cubicBezTo>
                      <a:pt x="605907" y="237583"/>
                      <a:pt x="605889" y="237566"/>
                      <a:pt x="605872" y="237549"/>
                    </a:cubicBezTo>
                    <a:moveTo>
                      <a:pt x="642929" y="204928"/>
                    </a:moveTo>
                    <a:cubicBezTo>
                      <a:pt x="640637" y="202637"/>
                      <a:pt x="636922" y="202639"/>
                      <a:pt x="634633" y="204931"/>
                    </a:cubicBezTo>
                    <a:cubicBezTo>
                      <a:pt x="632343" y="207221"/>
                      <a:pt x="632344" y="210936"/>
                      <a:pt x="634635" y="213226"/>
                    </a:cubicBezTo>
                    <a:cubicBezTo>
                      <a:pt x="636925" y="215515"/>
                      <a:pt x="640638" y="215515"/>
                      <a:pt x="642929" y="213226"/>
                    </a:cubicBezTo>
                    <a:cubicBezTo>
                      <a:pt x="645221" y="210936"/>
                      <a:pt x="645221" y="207221"/>
                      <a:pt x="642932" y="204931"/>
                    </a:cubicBezTo>
                    <a:cubicBezTo>
                      <a:pt x="642930" y="204929"/>
                      <a:pt x="642930" y="204929"/>
                      <a:pt x="642929" y="204928"/>
                    </a:cubicBezTo>
                    <a:moveTo>
                      <a:pt x="679842" y="172164"/>
                    </a:moveTo>
                    <a:cubicBezTo>
                      <a:pt x="677780" y="170128"/>
                      <a:pt x="674464" y="170128"/>
                      <a:pt x="672402" y="172164"/>
                    </a:cubicBezTo>
                    <a:cubicBezTo>
                      <a:pt x="670190" y="174100"/>
                      <a:pt x="669965" y="177463"/>
                      <a:pt x="671901" y="179675"/>
                    </a:cubicBezTo>
                    <a:cubicBezTo>
                      <a:pt x="673837" y="181887"/>
                      <a:pt x="677201" y="182112"/>
                      <a:pt x="679413" y="180176"/>
                    </a:cubicBezTo>
                    <a:cubicBezTo>
                      <a:pt x="681449" y="178114"/>
                      <a:pt x="681449" y="174798"/>
                      <a:pt x="679413" y="172736"/>
                    </a:cubicBezTo>
                    <a:moveTo>
                      <a:pt x="717328" y="138255"/>
                    </a:moveTo>
                    <a:cubicBezTo>
                      <a:pt x="715569" y="136438"/>
                      <a:pt x="712670" y="136389"/>
                      <a:pt x="710853" y="138148"/>
                    </a:cubicBezTo>
                    <a:cubicBezTo>
                      <a:pt x="710818" y="138182"/>
                      <a:pt x="710782" y="138219"/>
                      <a:pt x="710746" y="138255"/>
                    </a:cubicBezTo>
                    <a:cubicBezTo>
                      <a:pt x="708965" y="140088"/>
                      <a:pt x="708965" y="143004"/>
                      <a:pt x="710746" y="144836"/>
                    </a:cubicBezTo>
                    <a:cubicBezTo>
                      <a:pt x="712626" y="146635"/>
                      <a:pt x="715591" y="146635"/>
                      <a:pt x="717471" y="144836"/>
                    </a:cubicBezTo>
                    <a:cubicBezTo>
                      <a:pt x="719252" y="143004"/>
                      <a:pt x="719252" y="140088"/>
                      <a:pt x="717471" y="138255"/>
                    </a:cubicBezTo>
                    <a:moveTo>
                      <a:pt x="754527" y="105491"/>
                    </a:moveTo>
                    <a:cubicBezTo>
                      <a:pt x="752877" y="103946"/>
                      <a:pt x="750311" y="103946"/>
                      <a:pt x="748661" y="105491"/>
                    </a:cubicBezTo>
                    <a:cubicBezTo>
                      <a:pt x="747134" y="107093"/>
                      <a:pt x="747134" y="109611"/>
                      <a:pt x="748661" y="111214"/>
                    </a:cubicBezTo>
                    <a:cubicBezTo>
                      <a:pt x="750123" y="112912"/>
                      <a:pt x="752686" y="113105"/>
                      <a:pt x="754384" y="111643"/>
                    </a:cubicBezTo>
                    <a:cubicBezTo>
                      <a:pt x="756082" y="110181"/>
                      <a:pt x="756275" y="107618"/>
                      <a:pt x="754813" y="105920"/>
                    </a:cubicBezTo>
                    <a:moveTo>
                      <a:pt x="791726" y="73156"/>
                    </a:moveTo>
                    <a:cubicBezTo>
                      <a:pt x="790383" y="71817"/>
                      <a:pt x="788210" y="71821"/>
                      <a:pt x="786871" y="73165"/>
                    </a:cubicBezTo>
                    <a:cubicBezTo>
                      <a:pt x="785531" y="74508"/>
                      <a:pt x="785536" y="76681"/>
                      <a:pt x="786879" y="78021"/>
                    </a:cubicBezTo>
                    <a:cubicBezTo>
                      <a:pt x="788218" y="79355"/>
                      <a:pt x="790386" y="79355"/>
                      <a:pt x="791726" y="78021"/>
                    </a:cubicBezTo>
                    <a:cubicBezTo>
                      <a:pt x="793070" y="76681"/>
                      <a:pt x="793074" y="74508"/>
                      <a:pt x="791735" y="73165"/>
                    </a:cubicBezTo>
                    <a:cubicBezTo>
                      <a:pt x="791732" y="73162"/>
                      <a:pt x="791729" y="73159"/>
                      <a:pt x="791726" y="73156"/>
                    </a:cubicBezTo>
                    <a:moveTo>
                      <a:pt x="828354" y="40535"/>
                    </a:moveTo>
                    <a:cubicBezTo>
                      <a:pt x="827180" y="39476"/>
                      <a:pt x="825370" y="39569"/>
                      <a:pt x="824312" y="40744"/>
                    </a:cubicBezTo>
                    <a:cubicBezTo>
                      <a:pt x="823433" y="41718"/>
                      <a:pt x="823330" y="43165"/>
                      <a:pt x="824061" y="44255"/>
                    </a:cubicBezTo>
                    <a:cubicBezTo>
                      <a:pt x="825222" y="45364"/>
                      <a:pt x="827050" y="45364"/>
                      <a:pt x="828210" y="44255"/>
                    </a:cubicBezTo>
                    <a:cubicBezTo>
                      <a:pt x="829316" y="43240"/>
                      <a:pt x="829391" y="41521"/>
                      <a:pt x="828375" y="40413"/>
                    </a:cubicBezTo>
                    <a:cubicBezTo>
                      <a:pt x="828324" y="40356"/>
                      <a:pt x="828268" y="40302"/>
                      <a:pt x="828210" y="40249"/>
                    </a:cubicBezTo>
                    <a:moveTo>
                      <a:pt x="437759" y="344569"/>
                    </a:moveTo>
                    <a:cubicBezTo>
                      <a:pt x="434469" y="340939"/>
                      <a:pt x="428859" y="340666"/>
                      <a:pt x="425229" y="343957"/>
                    </a:cubicBezTo>
                    <a:cubicBezTo>
                      <a:pt x="421672" y="347183"/>
                      <a:pt x="421327" y="352654"/>
                      <a:pt x="424453" y="356301"/>
                    </a:cubicBezTo>
                    <a:cubicBezTo>
                      <a:pt x="427717" y="359968"/>
                      <a:pt x="433314" y="360349"/>
                      <a:pt x="437044" y="357159"/>
                    </a:cubicBezTo>
                    <a:cubicBezTo>
                      <a:pt x="440717" y="353916"/>
                      <a:pt x="441064" y="348310"/>
                      <a:pt x="437821" y="344639"/>
                    </a:cubicBezTo>
                    <a:cubicBezTo>
                      <a:pt x="437801" y="344615"/>
                      <a:pt x="437781" y="344592"/>
                      <a:pt x="437759" y="344569"/>
                    </a:cubicBezTo>
                    <a:moveTo>
                      <a:pt x="474816" y="311805"/>
                    </a:moveTo>
                    <a:cubicBezTo>
                      <a:pt x="471577" y="308563"/>
                      <a:pt x="466321" y="308561"/>
                      <a:pt x="463081" y="311802"/>
                    </a:cubicBezTo>
                    <a:cubicBezTo>
                      <a:pt x="459839" y="315041"/>
                      <a:pt x="459837" y="320295"/>
                      <a:pt x="463076" y="323537"/>
                    </a:cubicBezTo>
                    <a:cubicBezTo>
                      <a:pt x="466316" y="326779"/>
                      <a:pt x="471571" y="326780"/>
                      <a:pt x="474813" y="323540"/>
                    </a:cubicBezTo>
                    <a:cubicBezTo>
                      <a:pt x="474813" y="323540"/>
                      <a:pt x="474814" y="323538"/>
                      <a:pt x="474816" y="323537"/>
                    </a:cubicBezTo>
                    <a:cubicBezTo>
                      <a:pt x="478054" y="320296"/>
                      <a:pt x="478054" y="315045"/>
                      <a:pt x="474816" y="311805"/>
                    </a:cubicBezTo>
                    <a:moveTo>
                      <a:pt x="511729" y="279041"/>
                    </a:moveTo>
                    <a:cubicBezTo>
                      <a:pt x="508726" y="276009"/>
                      <a:pt x="503834" y="275986"/>
                      <a:pt x="500802" y="278988"/>
                    </a:cubicBezTo>
                    <a:cubicBezTo>
                      <a:pt x="497771" y="281991"/>
                      <a:pt x="497748" y="286883"/>
                      <a:pt x="500751" y="289914"/>
                    </a:cubicBezTo>
                    <a:cubicBezTo>
                      <a:pt x="503753" y="292946"/>
                      <a:pt x="508644" y="292969"/>
                      <a:pt x="511676" y="289967"/>
                    </a:cubicBezTo>
                    <a:cubicBezTo>
                      <a:pt x="511695" y="289950"/>
                      <a:pt x="511712" y="289931"/>
                      <a:pt x="511729" y="289914"/>
                    </a:cubicBezTo>
                    <a:cubicBezTo>
                      <a:pt x="514732" y="286996"/>
                      <a:pt x="514799" y="282194"/>
                      <a:pt x="511879" y="279191"/>
                    </a:cubicBezTo>
                    <a:cubicBezTo>
                      <a:pt x="511831" y="279141"/>
                      <a:pt x="511781" y="279091"/>
                      <a:pt x="511729" y="279041"/>
                    </a:cubicBezTo>
                    <a:moveTo>
                      <a:pt x="548642" y="246276"/>
                    </a:moveTo>
                    <a:cubicBezTo>
                      <a:pt x="545877" y="243455"/>
                      <a:pt x="541347" y="243409"/>
                      <a:pt x="538526" y="246175"/>
                    </a:cubicBezTo>
                    <a:cubicBezTo>
                      <a:pt x="535704" y="248940"/>
                      <a:pt x="535660" y="253470"/>
                      <a:pt x="538425" y="256292"/>
                    </a:cubicBezTo>
                    <a:cubicBezTo>
                      <a:pt x="541191" y="259113"/>
                      <a:pt x="545719" y="259159"/>
                      <a:pt x="548541" y="256393"/>
                    </a:cubicBezTo>
                    <a:cubicBezTo>
                      <a:pt x="548575" y="256359"/>
                      <a:pt x="548609" y="256326"/>
                      <a:pt x="548642" y="256292"/>
                    </a:cubicBezTo>
                    <a:cubicBezTo>
                      <a:pt x="551369" y="253510"/>
                      <a:pt x="551369" y="249058"/>
                      <a:pt x="548642" y="246276"/>
                    </a:cubicBezTo>
                    <a:moveTo>
                      <a:pt x="585126" y="213512"/>
                    </a:moveTo>
                    <a:cubicBezTo>
                      <a:pt x="582574" y="211041"/>
                      <a:pt x="578522" y="211041"/>
                      <a:pt x="575970" y="213512"/>
                    </a:cubicBezTo>
                    <a:cubicBezTo>
                      <a:pt x="573283" y="215883"/>
                      <a:pt x="573027" y="219982"/>
                      <a:pt x="575397" y="222669"/>
                    </a:cubicBezTo>
                    <a:cubicBezTo>
                      <a:pt x="577768" y="225356"/>
                      <a:pt x="581867" y="225612"/>
                      <a:pt x="584554" y="223241"/>
                    </a:cubicBezTo>
                    <a:cubicBezTo>
                      <a:pt x="586954" y="220660"/>
                      <a:pt x="586954" y="216666"/>
                      <a:pt x="584554" y="214085"/>
                    </a:cubicBezTo>
                    <a:moveTo>
                      <a:pt x="622612" y="181177"/>
                    </a:moveTo>
                    <a:cubicBezTo>
                      <a:pt x="620320" y="178887"/>
                      <a:pt x="616606" y="178888"/>
                      <a:pt x="614317" y="181180"/>
                    </a:cubicBezTo>
                    <a:cubicBezTo>
                      <a:pt x="612026" y="183471"/>
                      <a:pt x="612027" y="187185"/>
                      <a:pt x="614318" y="189476"/>
                    </a:cubicBezTo>
                    <a:cubicBezTo>
                      <a:pt x="616609" y="191765"/>
                      <a:pt x="620321" y="191765"/>
                      <a:pt x="622612" y="189476"/>
                    </a:cubicBezTo>
                    <a:cubicBezTo>
                      <a:pt x="624904" y="187185"/>
                      <a:pt x="624904" y="183471"/>
                      <a:pt x="622615" y="181180"/>
                    </a:cubicBezTo>
                    <a:cubicBezTo>
                      <a:pt x="622613" y="181179"/>
                      <a:pt x="622613" y="181179"/>
                      <a:pt x="622612" y="181177"/>
                    </a:cubicBezTo>
                    <a:moveTo>
                      <a:pt x="659525" y="148413"/>
                    </a:moveTo>
                    <a:cubicBezTo>
                      <a:pt x="657464" y="146377"/>
                      <a:pt x="654147" y="146377"/>
                      <a:pt x="652085" y="148413"/>
                    </a:cubicBezTo>
                    <a:cubicBezTo>
                      <a:pt x="650122" y="150505"/>
                      <a:pt x="650122" y="153761"/>
                      <a:pt x="652085" y="155853"/>
                    </a:cubicBezTo>
                    <a:cubicBezTo>
                      <a:pt x="654230" y="157840"/>
                      <a:pt x="657580" y="157713"/>
                      <a:pt x="659567" y="155568"/>
                    </a:cubicBezTo>
                    <a:cubicBezTo>
                      <a:pt x="661289" y="153708"/>
                      <a:pt x="661453" y="150888"/>
                      <a:pt x="659955" y="148843"/>
                    </a:cubicBezTo>
                    <a:moveTo>
                      <a:pt x="697011" y="116078"/>
                    </a:moveTo>
                    <a:cubicBezTo>
                      <a:pt x="695401" y="114027"/>
                      <a:pt x="692433" y="113670"/>
                      <a:pt x="690382" y="115280"/>
                    </a:cubicBezTo>
                    <a:cubicBezTo>
                      <a:pt x="688331" y="116891"/>
                      <a:pt x="687973" y="119858"/>
                      <a:pt x="689584" y="121910"/>
                    </a:cubicBezTo>
                    <a:cubicBezTo>
                      <a:pt x="689713" y="122073"/>
                      <a:pt x="689851" y="122228"/>
                      <a:pt x="690000" y="122374"/>
                    </a:cubicBezTo>
                    <a:cubicBezTo>
                      <a:pt x="691867" y="124195"/>
                      <a:pt x="694856" y="124158"/>
                      <a:pt x="696678" y="122291"/>
                    </a:cubicBezTo>
                    <a:cubicBezTo>
                      <a:pt x="698330" y="120597"/>
                      <a:pt x="698473" y="117940"/>
                      <a:pt x="697011" y="116078"/>
                    </a:cubicBezTo>
                    <a:moveTo>
                      <a:pt x="733924" y="83314"/>
                    </a:moveTo>
                    <a:cubicBezTo>
                      <a:pt x="732173" y="81836"/>
                      <a:pt x="729556" y="82057"/>
                      <a:pt x="728077" y="83808"/>
                    </a:cubicBezTo>
                    <a:cubicBezTo>
                      <a:pt x="726895" y="85207"/>
                      <a:pt x="726771" y="87216"/>
                      <a:pt x="727772" y="88751"/>
                    </a:cubicBezTo>
                    <a:cubicBezTo>
                      <a:pt x="729392" y="90371"/>
                      <a:pt x="732018" y="90371"/>
                      <a:pt x="733638" y="88751"/>
                    </a:cubicBezTo>
                    <a:cubicBezTo>
                      <a:pt x="735165" y="87149"/>
                      <a:pt x="735165" y="84631"/>
                      <a:pt x="733638" y="83028"/>
                    </a:cubicBezTo>
                    <a:moveTo>
                      <a:pt x="771124" y="49692"/>
                    </a:moveTo>
                    <a:cubicBezTo>
                      <a:pt x="769784" y="48348"/>
                      <a:pt x="767611" y="48344"/>
                      <a:pt x="766268" y="49683"/>
                    </a:cubicBezTo>
                    <a:cubicBezTo>
                      <a:pt x="766265" y="49686"/>
                      <a:pt x="766262" y="49689"/>
                      <a:pt x="766259" y="49692"/>
                    </a:cubicBezTo>
                    <a:cubicBezTo>
                      <a:pt x="764920" y="51035"/>
                      <a:pt x="764924" y="53208"/>
                      <a:pt x="766268" y="54548"/>
                    </a:cubicBezTo>
                    <a:cubicBezTo>
                      <a:pt x="767611" y="55887"/>
                      <a:pt x="769784" y="55883"/>
                      <a:pt x="771124" y="54539"/>
                    </a:cubicBezTo>
                    <a:cubicBezTo>
                      <a:pt x="772459" y="53200"/>
                      <a:pt x="772459" y="51032"/>
                      <a:pt x="771124" y="49692"/>
                    </a:cubicBezTo>
                    <a:moveTo>
                      <a:pt x="808180" y="16928"/>
                    </a:moveTo>
                    <a:cubicBezTo>
                      <a:pt x="807020" y="15819"/>
                      <a:pt x="805191" y="15819"/>
                      <a:pt x="804031" y="16928"/>
                    </a:cubicBezTo>
                    <a:cubicBezTo>
                      <a:pt x="802925" y="17942"/>
                      <a:pt x="802850" y="19662"/>
                      <a:pt x="803865" y="20769"/>
                    </a:cubicBezTo>
                    <a:cubicBezTo>
                      <a:pt x="803918" y="20826"/>
                      <a:pt x="803974" y="20881"/>
                      <a:pt x="804031" y="20934"/>
                    </a:cubicBezTo>
                    <a:cubicBezTo>
                      <a:pt x="805144" y="22024"/>
                      <a:pt x="806924" y="22024"/>
                      <a:pt x="808037" y="20934"/>
                    </a:cubicBezTo>
                    <a:cubicBezTo>
                      <a:pt x="809077" y="19746"/>
                      <a:pt x="809077" y="17972"/>
                      <a:pt x="808037" y="16784"/>
                    </a:cubicBezTo>
                    <a:moveTo>
                      <a:pt x="542204" y="462176"/>
                    </a:moveTo>
                    <a:cubicBezTo>
                      <a:pt x="538753" y="458700"/>
                      <a:pt x="533136" y="458680"/>
                      <a:pt x="529659" y="462131"/>
                    </a:cubicBezTo>
                    <a:cubicBezTo>
                      <a:pt x="529643" y="462146"/>
                      <a:pt x="529629" y="462161"/>
                      <a:pt x="529613" y="462176"/>
                    </a:cubicBezTo>
                    <a:cubicBezTo>
                      <a:pt x="526177" y="465556"/>
                      <a:pt x="526130" y="471081"/>
                      <a:pt x="529508" y="474518"/>
                    </a:cubicBezTo>
                    <a:cubicBezTo>
                      <a:pt x="529543" y="474554"/>
                      <a:pt x="529578" y="474589"/>
                      <a:pt x="529613" y="474624"/>
                    </a:cubicBezTo>
                    <a:cubicBezTo>
                      <a:pt x="532827" y="478272"/>
                      <a:pt x="538378" y="478656"/>
                      <a:pt x="542061" y="475482"/>
                    </a:cubicBezTo>
                    <a:cubicBezTo>
                      <a:pt x="545728" y="472219"/>
                      <a:pt x="546109" y="466622"/>
                      <a:pt x="542919" y="462892"/>
                    </a:cubicBezTo>
                    <a:moveTo>
                      <a:pt x="579833" y="430128"/>
                    </a:moveTo>
                    <a:cubicBezTo>
                      <a:pt x="576593" y="426886"/>
                      <a:pt x="571338" y="426884"/>
                      <a:pt x="568098" y="430125"/>
                    </a:cubicBezTo>
                    <a:cubicBezTo>
                      <a:pt x="564856" y="433364"/>
                      <a:pt x="564854" y="438618"/>
                      <a:pt x="568093" y="441860"/>
                    </a:cubicBezTo>
                    <a:cubicBezTo>
                      <a:pt x="571333" y="445102"/>
                      <a:pt x="576588" y="445103"/>
                      <a:pt x="579830" y="441863"/>
                    </a:cubicBezTo>
                    <a:cubicBezTo>
                      <a:pt x="579830" y="441863"/>
                      <a:pt x="579831" y="441861"/>
                      <a:pt x="579833" y="441860"/>
                    </a:cubicBezTo>
                    <a:cubicBezTo>
                      <a:pt x="583070" y="438619"/>
                      <a:pt x="583070" y="433368"/>
                      <a:pt x="579833" y="430128"/>
                    </a:cubicBezTo>
                    <a:moveTo>
                      <a:pt x="616746" y="397363"/>
                    </a:moveTo>
                    <a:cubicBezTo>
                      <a:pt x="613743" y="394445"/>
                      <a:pt x="608943" y="394512"/>
                      <a:pt x="606022" y="397514"/>
                    </a:cubicBezTo>
                    <a:cubicBezTo>
                      <a:pt x="603104" y="400517"/>
                      <a:pt x="603171" y="405318"/>
                      <a:pt x="606174" y="408237"/>
                    </a:cubicBezTo>
                    <a:cubicBezTo>
                      <a:pt x="609117" y="411099"/>
                      <a:pt x="613803" y="411099"/>
                      <a:pt x="616746" y="408237"/>
                    </a:cubicBezTo>
                    <a:cubicBezTo>
                      <a:pt x="619728" y="405225"/>
                      <a:pt x="619728" y="400375"/>
                      <a:pt x="616746" y="397363"/>
                    </a:cubicBezTo>
                    <a:moveTo>
                      <a:pt x="653802" y="364599"/>
                    </a:moveTo>
                    <a:cubicBezTo>
                      <a:pt x="651021" y="361872"/>
                      <a:pt x="646568" y="361872"/>
                      <a:pt x="643787" y="364599"/>
                    </a:cubicBezTo>
                    <a:cubicBezTo>
                      <a:pt x="641021" y="367195"/>
                      <a:pt x="640884" y="371541"/>
                      <a:pt x="643479" y="374307"/>
                    </a:cubicBezTo>
                    <a:cubicBezTo>
                      <a:pt x="643578" y="374413"/>
                      <a:pt x="643681" y="374516"/>
                      <a:pt x="643787" y="374615"/>
                    </a:cubicBezTo>
                    <a:cubicBezTo>
                      <a:pt x="646012" y="377880"/>
                      <a:pt x="650463" y="378721"/>
                      <a:pt x="653728" y="376496"/>
                    </a:cubicBezTo>
                    <a:cubicBezTo>
                      <a:pt x="656991" y="374271"/>
                      <a:pt x="657834" y="369820"/>
                      <a:pt x="655609" y="366555"/>
                    </a:cubicBezTo>
                    <a:cubicBezTo>
                      <a:pt x="655259" y="366043"/>
                      <a:pt x="654844" y="365578"/>
                      <a:pt x="654375" y="365172"/>
                    </a:cubicBezTo>
                    <a:moveTo>
                      <a:pt x="691288" y="332407"/>
                    </a:moveTo>
                    <a:cubicBezTo>
                      <a:pt x="688917" y="329721"/>
                      <a:pt x="684818" y="329464"/>
                      <a:pt x="682131" y="331835"/>
                    </a:cubicBezTo>
                    <a:cubicBezTo>
                      <a:pt x="679444" y="334206"/>
                      <a:pt x="679188" y="338305"/>
                      <a:pt x="681559" y="340992"/>
                    </a:cubicBezTo>
                    <a:cubicBezTo>
                      <a:pt x="683930" y="343679"/>
                      <a:pt x="688029" y="343935"/>
                      <a:pt x="690716" y="341564"/>
                    </a:cubicBezTo>
                    <a:cubicBezTo>
                      <a:pt x="693403" y="339194"/>
                      <a:pt x="693659" y="335094"/>
                      <a:pt x="691288" y="332407"/>
                    </a:cubicBezTo>
                    <a:moveTo>
                      <a:pt x="728201" y="299643"/>
                    </a:moveTo>
                    <a:cubicBezTo>
                      <a:pt x="725909" y="297353"/>
                      <a:pt x="722195" y="297354"/>
                      <a:pt x="719906" y="299646"/>
                    </a:cubicBezTo>
                    <a:cubicBezTo>
                      <a:pt x="717615" y="301937"/>
                      <a:pt x="717617" y="305651"/>
                      <a:pt x="719907" y="307942"/>
                    </a:cubicBezTo>
                    <a:cubicBezTo>
                      <a:pt x="722198" y="310231"/>
                      <a:pt x="725911" y="310231"/>
                      <a:pt x="728201" y="307942"/>
                    </a:cubicBezTo>
                    <a:cubicBezTo>
                      <a:pt x="730493" y="305651"/>
                      <a:pt x="730493" y="301937"/>
                      <a:pt x="728204" y="299646"/>
                    </a:cubicBezTo>
                    <a:cubicBezTo>
                      <a:pt x="728203" y="299645"/>
                      <a:pt x="728203" y="299645"/>
                      <a:pt x="728201" y="299643"/>
                    </a:cubicBezTo>
                    <a:moveTo>
                      <a:pt x="765258" y="266879"/>
                    </a:moveTo>
                    <a:cubicBezTo>
                      <a:pt x="763166" y="264916"/>
                      <a:pt x="759910" y="264916"/>
                      <a:pt x="757818" y="266879"/>
                    </a:cubicBezTo>
                    <a:cubicBezTo>
                      <a:pt x="755763" y="268846"/>
                      <a:pt x="755693" y="272107"/>
                      <a:pt x="757660" y="274162"/>
                    </a:cubicBezTo>
                    <a:cubicBezTo>
                      <a:pt x="757712" y="274215"/>
                      <a:pt x="757765" y="274268"/>
                      <a:pt x="757818" y="274319"/>
                    </a:cubicBezTo>
                    <a:cubicBezTo>
                      <a:pt x="759879" y="276355"/>
                      <a:pt x="763196" y="276355"/>
                      <a:pt x="765258" y="274319"/>
                    </a:cubicBezTo>
                    <a:cubicBezTo>
                      <a:pt x="767294" y="272257"/>
                      <a:pt x="767294" y="268941"/>
                      <a:pt x="765258" y="266879"/>
                    </a:cubicBezTo>
                    <a:moveTo>
                      <a:pt x="802171" y="234115"/>
                    </a:moveTo>
                    <a:cubicBezTo>
                      <a:pt x="800338" y="232334"/>
                      <a:pt x="797422" y="232334"/>
                      <a:pt x="795589" y="234115"/>
                    </a:cubicBezTo>
                    <a:cubicBezTo>
                      <a:pt x="793772" y="235873"/>
                      <a:pt x="793724" y="238772"/>
                      <a:pt x="795482" y="240589"/>
                    </a:cubicBezTo>
                    <a:cubicBezTo>
                      <a:pt x="795517" y="240625"/>
                      <a:pt x="795554" y="240661"/>
                      <a:pt x="795589" y="240697"/>
                    </a:cubicBezTo>
                    <a:cubicBezTo>
                      <a:pt x="797422" y="242478"/>
                      <a:pt x="800338" y="242478"/>
                      <a:pt x="802171" y="240697"/>
                    </a:cubicBezTo>
                    <a:cubicBezTo>
                      <a:pt x="803988" y="238938"/>
                      <a:pt x="804037" y="236039"/>
                      <a:pt x="802278" y="234222"/>
                    </a:cubicBezTo>
                    <a:cubicBezTo>
                      <a:pt x="802242" y="234187"/>
                      <a:pt x="802207" y="234151"/>
                      <a:pt x="802171" y="234115"/>
                    </a:cubicBezTo>
                    <a:moveTo>
                      <a:pt x="839084" y="201351"/>
                    </a:moveTo>
                    <a:cubicBezTo>
                      <a:pt x="837536" y="199770"/>
                      <a:pt x="834999" y="199744"/>
                      <a:pt x="833418" y="201294"/>
                    </a:cubicBezTo>
                    <a:cubicBezTo>
                      <a:pt x="833400" y="201312"/>
                      <a:pt x="833380" y="201331"/>
                      <a:pt x="833361" y="201351"/>
                    </a:cubicBezTo>
                    <a:cubicBezTo>
                      <a:pt x="831780" y="202785"/>
                      <a:pt x="831662" y="205227"/>
                      <a:pt x="833095" y="206808"/>
                    </a:cubicBezTo>
                    <a:cubicBezTo>
                      <a:pt x="833180" y="206901"/>
                      <a:pt x="833268" y="206990"/>
                      <a:pt x="833361" y="207074"/>
                    </a:cubicBezTo>
                    <a:cubicBezTo>
                      <a:pt x="834909" y="208655"/>
                      <a:pt x="837446" y="208681"/>
                      <a:pt x="839027" y="207131"/>
                    </a:cubicBezTo>
                    <a:cubicBezTo>
                      <a:pt x="839046" y="207113"/>
                      <a:pt x="839066" y="207094"/>
                      <a:pt x="839084" y="207074"/>
                    </a:cubicBezTo>
                    <a:cubicBezTo>
                      <a:pt x="840704" y="205454"/>
                      <a:pt x="840704" y="202827"/>
                      <a:pt x="839084" y="201208"/>
                    </a:cubicBezTo>
                    <a:moveTo>
                      <a:pt x="874710" y="166870"/>
                    </a:moveTo>
                    <a:cubicBezTo>
                      <a:pt x="873371" y="165526"/>
                      <a:pt x="871197" y="165522"/>
                      <a:pt x="869854" y="166861"/>
                    </a:cubicBezTo>
                    <a:cubicBezTo>
                      <a:pt x="869851" y="166864"/>
                      <a:pt x="869848" y="166867"/>
                      <a:pt x="869845" y="166870"/>
                    </a:cubicBezTo>
                    <a:cubicBezTo>
                      <a:pt x="868482" y="168261"/>
                      <a:pt x="868482" y="170487"/>
                      <a:pt x="869845" y="171878"/>
                    </a:cubicBezTo>
                    <a:cubicBezTo>
                      <a:pt x="871184" y="173221"/>
                      <a:pt x="873358" y="173225"/>
                      <a:pt x="874701" y="171886"/>
                    </a:cubicBezTo>
                    <a:cubicBezTo>
                      <a:pt x="874704" y="171883"/>
                      <a:pt x="874707" y="171880"/>
                      <a:pt x="874710" y="171878"/>
                    </a:cubicBezTo>
                    <a:cubicBezTo>
                      <a:pt x="876073" y="170487"/>
                      <a:pt x="876073" y="168261"/>
                      <a:pt x="874710" y="166870"/>
                    </a:cubicBezTo>
                    <a:moveTo>
                      <a:pt x="911623" y="134106"/>
                    </a:moveTo>
                    <a:cubicBezTo>
                      <a:pt x="910609" y="133000"/>
                      <a:pt x="908889" y="132925"/>
                      <a:pt x="907782" y="133941"/>
                    </a:cubicBezTo>
                    <a:cubicBezTo>
                      <a:pt x="907724" y="133993"/>
                      <a:pt x="907670" y="134049"/>
                      <a:pt x="907617" y="134106"/>
                    </a:cubicBezTo>
                    <a:cubicBezTo>
                      <a:pt x="906305" y="134987"/>
                      <a:pt x="905956" y="136764"/>
                      <a:pt x="906836" y="138076"/>
                    </a:cubicBezTo>
                    <a:cubicBezTo>
                      <a:pt x="907717" y="139388"/>
                      <a:pt x="909496" y="139739"/>
                      <a:pt x="910808" y="138857"/>
                    </a:cubicBezTo>
                    <a:cubicBezTo>
                      <a:pt x="911002" y="138726"/>
                      <a:pt x="911180" y="138573"/>
                      <a:pt x="911337" y="138398"/>
                    </a:cubicBezTo>
                    <a:cubicBezTo>
                      <a:pt x="912483" y="137309"/>
                      <a:pt x="912529" y="135498"/>
                      <a:pt x="911440" y="134352"/>
                    </a:cubicBezTo>
                    <a:cubicBezTo>
                      <a:pt x="911407" y="134318"/>
                      <a:pt x="911373" y="134283"/>
                      <a:pt x="911337" y="134249"/>
                    </a:cubicBezTo>
                    <a:moveTo>
                      <a:pt x="521172" y="438712"/>
                    </a:moveTo>
                    <a:cubicBezTo>
                      <a:pt x="517893" y="435038"/>
                      <a:pt x="512256" y="434717"/>
                      <a:pt x="508581" y="437997"/>
                    </a:cubicBezTo>
                    <a:cubicBezTo>
                      <a:pt x="504907" y="441276"/>
                      <a:pt x="504587" y="446913"/>
                      <a:pt x="507866" y="450587"/>
                    </a:cubicBezTo>
                    <a:cubicBezTo>
                      <a:pt x="511317" y="454064"/>
                      <a:pt x="516934" y="454084"/>
                      <a:pt x="520411" y="450633"/>
                    </a:cubicBezTo>
                    <a:cubicBezTo>
                      <a:pt x="520427" y="450617"/>
                      <a:pt x="520441" y="450603"/>
                      <a:pt x="520457" y="450587"/>
                    </a:cubicBezTo>
                    <a:cubicBezTo>
                      <a:pt x="524079" y="447284"/>
                      <a:pt x="524398" y="441689"/>
                      <a:pt x="521172" y="437997"/>
                    </a:cubicBezTo>
                    <a:moveTo>
                      <a:pt x="558085" y="405376"/>
                    </a:moveTo>
                    <a:cubicBezTo>
                      <a:pt x="554885" y="402207"/>
                      <a:pt x="549721" y="402231"/>
                      <a:pt x="546552" y="405431"/>
                    </a:cubicBezTo>
                    <a:cubicBezTo>
                      <a:pt x="543383" y="408632"/>
                      <a:pt x="543407" y="413796"/>
                      <a:pt x="546608" y="416965"/>
                    </a:cubicBezTo>
                    <a:cubicBezTo>
                      <a:pt x="549787" y="420112"/>
                      <a:pt x="554908" y="420112"/>
                      <a:pt x="558085" y="416965"/>
                    </a:cubicBezTo>
                    <a:cubicBezTo>
                      <a:pt x="561286" y="413909"/>
                      <a:pt x="561402" y="408837"/>
                      <a:pt x="558347" y="405636"/>
                    </a:cubicBezTo>
                    <a:cubicBezTo>
                      <a:pt x="558261" y="405547"/>
                      <a:pt x="558174" y="405460"/>
                      <a:pt x="558085" y="405376"/>
                    </a:cubicBezTo>
                    <a:moveTo>
                      <a:pt x="595142" y="372612"/>
                    </a:moveTo>
                    <a:cubicBezTo>
                      <a:pt x="592433" y="369418"/>
                      <a:pt x="587647" y="369025"/>
                      <a:pt x="584454" y="371733"/>
                    </a:cubicBezTo>
                    <a:cubicBezTo>
                      <a:pt x="584391" y="371786"/>
                      <a:pt x="584330" y="371840"/>
                      <a:pt x="584268" y="371896"/>
                    </a:cubicBezTo>
                    <a:cubicBezTo>
                      <a:pt x="581361" y="374938"/>
                      <a:pt x="581361" y="379728"/>
                      <a:pt x="584268" y="382770"/>
                    </a:cubicBezTo>
                    <a:cubicBezTo>
                      <a:pt x="587307" y="385764"/>
                      <a:pt x="592199" y="385730"/>
                      <a:pt x="595195" y="382690"/>
                    </a:cubicBezTo>
                    <a:cubicBezTo>
                      <a:pt x="597884" y="379960"/>
                      <a:pt x="598166" y="375670"/>
                      <a:pt x="595857" y="372612"/>
                    </a:cubicBezTo>
                    <a:moveTo>
                      <a:pt x="632770" y="339847"/>
                    </a:moveTo>
                    <a:cubicBezTo>
                      <a:pt x="630272" y="336889"/>
                      <a:pt x="625848" y="336517"/>
                      <a:pt x="622891" y="339015"/>
                    </a:cubicBezTo>
                    <a:cubicBezTo>
                      <a:pt x="622845" y="339053"/>
                      <a:pt x="622799" y="339092"/>
                      <a:pt x="622755" y="339132"/>
                    </a:cubicBezTo>
                    <a:cubicBezTo>
                      <a:pt x="620028" y="341913"/>
                      <a:pt x="620028" y="346366"/>
                      <a:pt x="622755" y="349147"/>
                    </a:cubicBezTo>
                    <a:cubicBezTo>
                      <a:pt x="625465" y="351913"/>
                      <a:pt x="629903" y="351959"/>
                      <a:pt x="632669" y="349249"/>
                    </a:cubicBezTo>
                    <a:cubicBezTo>
                      <a:pt x="632703" y="349215"/>
                      <a:pt x="632737" y="349182"/>
                      <a:pt x="632770" y="349147"/>
                    </a:cubicBezTo>
                    <a:cubicBezTo>
                      <a:pt x="635497" y="346366"/>
                      <a:pt x="635497" y="341913"/>
                      <a:pt x="632770" y="339132"/>
                    </a:cubicBezTo>
                    <a:moveTo>
                      <a:pt x="669684" y="306368"/>
                    </a:moveTo>
                    <a:cubicBezTo>
                      <a:pt x="667184" y="303840"/>
                      <a:pt x="663106" y="303817"/>
                      <a:pt x="660578" y="306316"/>
                    </a:cubicBezTo>
                    <a:cubicBezTo>
                      <a:pt x="660561" y="306334"/>
                      <a:pt x="660544" y="306351"/>
                      <a:pt x="660527" y="306368"/>
                    </a:cubicBezTo>
                    <a:cubicBezTo>
                      <a:pt x="657916" y="308896"/>
                      <a:pt x="657849" y="313062"/>
                      <a:pt x="660377" y="315675"/>
                    </a:cubicBezTo>
                    <a:cubicBezTo>
                      <a:pt x="662906" y="318286"/>
                      <a:pt x="667073" y="318352"/>
                      <a:pt x="669684" y="315824"/>
                    </a:cubicBezTo>
                    <a:cubicBezTo>
                      <a:pt x="672295" y="313296"/>
                      <a:pt x="672362" y="309129"/>
                      <a:pt x="669834" y="306518"/>
                    </a:cubicBezTo>
                    <a:cubicBezTo>
                      <a:pt x="669784" y="306467"/>
                      <a:pt x="669734" y="306417"/>
                      <a:pt x="669684" y="306368"/>
                    </a:cubicBezTo>
                    <a:moveTo>
                      <a:pt x="706740" y="273604"/>
                    </a:moveTo>
                    <a:cubicBezTo>
                      <a:pt x="704448" y="271313"/>
                      <a:pt x="700734" y="271315"/>
                      <a:pt x="698445" y="273607"/>
                    </a:cubicBezTo>
                    <a:cubicBezTo>
                      <a:pt x="696154" y="275897"/>
                      <a:pt x="696155" y="279611"/>
                      <a:pt x="698446" y="281902"/>
                    </a:cubicBezTo>
                    <a:cubicBezTo>
                      <a:pt x="700737" y="284191"/>
                      <a:pt x="704449" y="284191"/>
                      <a:pt x="706740" y="281902"/>
                    </a:cubicBezTo>
                    <a:cubicBezTo>
                      <a:pt x="709032" y="279611"/>
                      <a:pt x="709032" y="275897"/>
                      <a:pt x="706743" y="273607"/>
                    </a:cubicBezTo>
                    <a:cubicBezTo>
                      <a:pt x="706741" y="273605"/>
                      <a:pt x="706741" y="273605"/>
                      <a:pt x="706740" y="273604"/>
                    </a:cubicBezTo>
                    <a:moveTo>
                      <a:pt x="742509" y="242127"/>
                    </a:moveTo>
                    <a:cubicBezTo>
                      <a:pt x="740782" y="239768"/>
                      <a:pt x="737468" y="239257"/>
                      <a:pt x="735110" y="240984"/>
                    </a:cubicBezTo>
                    <a:cubicBezTo>
                      <a:pt x="732751" y="242711"/>
                      <a:pt x="732239" y="246023"/>
                      <a:pt x="733967" y="248383"/>
                    </a:cubicBezTo>
                    <a:cubicBezTo>
                      <a:pt x="734166" y="248656"/>
                      <a:pt x="734392" y="248908"/>
                      <a:pt x="734640" y="249138"/>
                    </a:cubicBezTo>
                    <a:cubicBezTo>
                      <a:pt x="736701" y="251174"/>
                      <a:pt x="740018" y="251174"/>
                      <a:pt x="742080" y="249138"/>
                    </a:cubicBezTo>
                    <a:cubicBezTo>
                      <a:pt x="744115" y="247076"/>
                      <a:pt x="744115" y="243760"/>
                      <a:pt x="742080" y="241698"/>
                    </a:cubicBezTo>
                    <a:moveTo>
                      <a:pt x="779851" y="209792"/>
                    </a:moveTo>
                    <a:cubicBezTo>
                      <a:pt x="778093" y="207975"/>
                      <a:pt x="775194" y="207927"/>
                      <a:pt x="773377" y="209685"/>
                    </a:cubicBezTo>
                    <a:cubicBezTo>
                      <a:pt x="773341" y="209719"/>
                      <a:pt x="773306" y="209757"/>
                      <a:pt x="773270" y="209792"/>
                    </a:cubicBezTo>
                    <a:cubicBezTo>
                      <a:pt x="771489" y="211625"/>
                      <a:pt x="771489" y="214541"/>
                      <a:pt x="773270" y="216374"/>
                    </a:cubicBezTo>
                    <a:cubicBezTo>
                      <a:pt x="775028" y="218191"/>
                      <a:pt x="777927" y="218240"/>
                      <a:pt x="779744" y="216481"/>
                    </a:cubicBezTo>
                    <a:cubicBezTo>
                      <a:pt x="779780" y="216445"/>
                      <a:pt x="779815" y="216410"/>
                      <a:pt x="779851" y="216374"/>
                    </a:cubicBezTo>
                    <a:cubicBezTo>
                      <a:pt x="781633" y="214541"/>
                      <a:pt x="781633" y="211625"/>
                      <a:pt x="779851" y="209792"/>
                    </a:cubicBezTo>
                    <a:moveTo>
                      <a:pt x="816908" y="177028"/>
                    </a:moveTo>
                    <a:cubicBezTo>
                      <a:pt x="815360" y="175447"/>
                      <a:pt x="812823" y="175422"/>
                      <a:pt x="811242" y="176971"/>
                    </a:cubicBezTo>
                    <a:cubicBezTo>
                      <a:pt x="811223" y="176990"/>
                      <a:pt x="811203" y="177008"/>
                      <a:pt x="811185" y="177028"/>
                    </a:cubicBezTo>
                    <a:cubicBezTo>
                      <a:pt x="809604" y="178576"/>
                      <a:pt x="809578" y="181113"/>
                      <a:pt x="811127" y="182694"/>
                    </a:cubicBezTo>
                    <a:cubicBezTo>
                      <a:pt x="811146" y="182713"/>
                      <a:pt x="811165" y="182733"/>
                      <a:pt x="811185" y="182751"/>
                    </a:cubicBezTo>
                    <a:cubicBezTo>
                      <a:pt x="812733" y="184332"/>
                      <a:pt x="815269" y="184358"/>
                      <a:pt x="816850" y="182808"/>
                    </a:cubicBezTo>
                    <a:cubicBezTo>
                      <a:pt x="816869" y="182790"/>
                      <a:pt x="816889" y="182771"/>
                      <a:pt x="816908" y="182751"/>
                    </a:cubicBezTo>
                    <a:cubicBezTo>
                      <a:pt x="818489" y="181203"/>
                      <a:pt x="818514" y="178666"/>
                      <a:pt x="816965" y="177085"/>
                    </a:cubicBezTo>
                    <a:cubicBezTo>
                      <a:pt x="816946" y="177067"/>
                      <a:pt x="816928" y="177047"/>
                      <a:pt x="816908" y="177028"/>
                    </a:cubicBezTo>
                    <a:moveTo>
                      <a:pt x="853821" y="144264"/>
                    </a:moveTo>
                    <a:cubicBezTo>
                      <a:pt x="852477" y="142925"/>
                      <a:pt x="850303" y="142929"/>
                      <a:pt x="848965" y="144273"/>
                    </a:cubicBezTo>
                    <a:cubicBezTo>
                      <a:pt x="847626" y="145616"/>
                      <a:pt x="847630" y="147790"/>
                      <a:pt x="848974" y="149129"/>
                    </a:cubicBezTo>
                    <a:cubicBezTo>
                      <a:pt x="850313" y="150464"/>
                      <a:pt x="852480" y="150464"/>
                      <a:pt x="853821" y="149129"/>
                    </a:cubicBezTo>
                    <a:cubicBezTo>
                      <a:pt x="855164" y="147790"/>
                      <a:pt x="855169" y="145616"/>
                      <a:pt x="853830" y="144273"/>
                    </a:cubicBezTo>
                    <a:cubicBezTo>
                      <a:pt x="853827" y="144270"/>
                      <a:pt x="853824" y="144267"/>
                      <a:pt x="853821" y="144264"/>
                    </a:cubicBezTo>
                    <a:moveTo>
                      <a:pt x="890734" y="111500"/>
                    </a:moveTo>
                    <a:cubicBezTo>
                      <a:pt x="889621" y="110410"/>
                      <a:pt x="887841" y="110410"/>
                      <a:pt x="886728" y="111500"/>
                    </a:cubicBezTo>
                    <a:cubicBezTo>
                      <a:pt x="885688" y="112688"/>
                      <a:pt x="885688" y="114462"/>
                      <a:pt x="886728" y="115649"/>
                    </a:cubicBezTo>
                    <a:cubicBezTo>
                      <a:pt x="887888" y="116758"/>
                      <a:pt x="889717" y="116758"/>
                      <a:pt x="890877" y="115649"/>
                    </a:cubicBezTo>
                    <a:cubicBezTo>
                      <a:pt x="891983" y="114635"/>
                      <a:pt x="892058" y="112915"/>
                      <a:pt x="891043" y="111808"/>
                    </a:cubicBezTo>
                    <a:cubicBezTo>
                      <a:pt x="890990" y="111750"/>
                      <a:pt x="890935" y="111696"/>
                      <a:pt x="890877" y="111643"/>
                    </a:cubicBezTo>
                    <a:moveTo>
                      <a:pt x="500283" y="415105"/>
                    </a:moveTo>
                    <a:cubicBezTo>
                      <a:pt x="497113" y="411473"/>
                      <a:pt x="491600" y="411100"/>
                      <a:pt x="487969" y="414271"/>
                    </a:cubicBezTo>
                    <a:cubicBezTo>
                      <a:pt x="487924" y="414309"/>
                      <a:pt x="487880" y="414349"/>
                      <a:pt x="487836" y="414389"/>
                    </a:cubicBezTo>
                    <a:cubicBezTo>
                      <a:pt x="484124" y="417587"/>
                      <a:pt x="483709" y="423188"/>
                      <a:pt x="486907" y="426900"/>
                    </a:cubicBezTo>
                    <a:cubicBezTo>
                      <a:pt x="486930" y="426927"/>
                      <a:pt x="486954" y="426953"/>
                      <a:pt x="486977" y="426980"/>
                    </a:cubicBezTo>
                    <a:cubicBezTo>
                      <a:pt x="490478" y="430397"/>
                      <a:pt x="496067" y="430397"/>
                      <a:pt x="499568" y="426980"/>
                    </a:cubicBezTo>
                    <a:cubicBezTo>
                      <a:pt x="503044" y="423529"/>
                      <a:pt x="503064" y="417912"/>
                      <a:pt x="499613" y="414435"/>
                    </a:cubicBezTo>
                    <a:cubicBezTo>
                      <a:pt x="499598" y="414419"/>
                      <a:pt x="499583" y="414405"/>
                      <a:pt x="499568" y="414389"/>
                    </a:cubicBezTo>
                    <a:moveTo>
                      <a:pt x="536624" y="381625"/>
                    </a:moveTo>
                    <a:cubicBezTo>
                      <a:pt x="533385" y="378383"/>
                      <a:pt x="528130" y="378382"/>
                      <a:pt x="524889" y="381622"/>
                    </a:cubicBezTo>
                    <a:cubicBezTo>
                      <a:pt x="521647" y="384862"/>
                      <a:pt x="521646" y="390115"/>
                      <a:pt x="524885" y="393357"/>
                    </a:cubicBezTo>
                    <a:cubicBezTo>
                      <a:pt x="528124" y="396599"/>
                      <a:pt x="533379" y="396601"/>
                      <a:pt x="536621" y="393360"/>
                    </a:cubicBezTo>
                    <a:cubicBezTo>
                      <a:pt x="536621" y="393360"/>
                      <a:pt x="536623" y="393359"/>
                      <a:pt x="536624" y="393357"/>
                    </a:cubicBezTo>
                    <a:cubicBezTo>
                      <a:pt x="539862" y="390117"/>
                      <a:pt x="539862" y="384866"/>
                      <a:pt x="536624" y="381625"/>
                    </a:cubicBezTo>
                    <a:moveTo>
                      <a:pt x="573537" y="348861"/>
                    </a:moveTo>
                    <a:cubicBezTo>
                      <a:pt x="570526" y="345879"/>
                      <a:pt x="565675" y="345879"/>
                      <a:pt x="562664" y="348861"/>
                    </a:cubicBezTo>
                    <a:cubicBezTo>
                      <a:pt x="559701" y="351820"/>
                      <a:pt x="559698" y="356621"/>
                      <a:pt x="562657" y="359585"/>
                    </a:cubicBezTo>
                    <a:cubicBezTo>
                      <a:pt x="562659" y="359587"/>
                      <a:pt x="562661" y="359589"/>
                      <a:pt x="562664" y="359592"/>
                    </a:cubicBezTo>
                    <a:cubicBezTo>
                      <a:pt x="565299" y="362744"/>
                      <a:pt x="569992" y="363163"/>
                      <a:pt x="573144" y="360526"/>
                    </a:cubicBezTo>
                    <a:cubicBezTo>
                      <a:pt x="573228" y="360454"/>
                      <a:pt x="573313" y="360381"/>
                      <a:pt x="573394" y="360307"/>
                    </a:cubicBezTo>
                    <a:cubicBezTo>
                      <a:pt x="576588" y="357599"/>
                      <a:pt x="576981" y="352813"/>
                      <a:pt x="574273" y="349619"/>
                    </a:cubicBezTo>
                    <a:cubicBezTo>
                      <a:pt x="574220" y="349556"/>
                      <a:pt x="574165" y="349495"/>
                      <a:pt x="574110" y="349433"/>
                    </a:cubicBezTo>
                    <a:moveTo>
                      <a:pt x="611023" y="316669"/>
                    </a:moveTo>
                    <a:cubicBezTo>
                      <a:pt x="608257" y="313848"/>
                      <a:pt x="603728" y="313802"/>
                      <a:pt x="600906" y="316568"/>
                    </a:cubicBezTo>
                    <a:cubicBezTo>
                      <a:pt x="598085" y="319333"/>
                      <a:pt x="598040" y="323863"/>
                      <a:pt x="600806" y="326684"/>
                    </a:cubicBezTo>
                    <a:cubicBezTo>
                      <a:pt x="603572" y="329506"/>
                      <a:pt x="608100" y="329552"/>
                      <a:pt x="610921" y="326786"/>
                    </a:cubicBezTo>
                    <a:cubicBezTo>
                      <a:pt x="610956" y="326752"/>
                      <a:pt x="610990" y="326719"/>
                      <a:pt x="611023" y="326684"/>
                    </a:cubicBezTo>
                    <a:cubicBezTo>
                      <a:pt x="613789" y="323975"/>
                      <a:pt x="613834" y="319536"/>
                      <a:pt x="611125" y="316771"/>
                    </a:cubicBezTo>
                    <a:cubicBezTo>
                      <a:pt x="611090" y="316737"/>
                      <a:pt x="611057" y="316702"/>
                      <a:pt x="611023" y="316669"/>
                    </a:cubicBezTo>
                    <a:moveTo>
                      <a:pt x="648079" y="283905"/>
                    </a:moveTo>
                    <a:cubicBezTo>
                      <a:pt x="645498" y="281506"/>
                      <a:pt x="641504" y="281506"/>
                      <a:pt x="638923" y="283905"/>
                    </a:cubicBezTo>
                    <a:cubicBezTo>
                      <a:pt x="636236" y="286276"/>
                      <a:pt x="635979" y="290375"/>
                      <a:pt x="638350" y="293062"/>
                    </a:cubicBezTo>
                    <a:cubicBezTo>
                      <a:pt x="640721" y="295749"/>
                      <a:pt x="644820" y="296005"/>
                      <a:pt x="647507" y="293634"/>
                    </a:cubicBezTo>
                    <a:cubicBezTo>
                      <a:pt x="649978" y="291082"/>
                      <a:pt x="649978" y="287030"/>
                      <a:pt x="647507" y="284477"/>
                    </a:cubicBezTo>
                    <a:moveTo>
                      <a:pt x="685279" y="251284"/>
                    </a:moveTo>
                    <a:cubicBezTo>
                      <a:pt x="683105" y="248835"/>
                      <a:pt x="679358" y="248610"/>
                      <a:pt x="676909" y="250783"/>
                    </a:cubicBezTo>
                    <a:cubicBezTo>
                      <a:pt x="674459" y="252957"/>
                      <a:pt x="674235" y="256704"/>
                      <a:pt x="676408" y="259153"/>
                    </a:cubicBezTo>
                    <a:cubicBezTo>
                      <a:pt x="678749" y="261462"/>
                      <a:pt x="682509" y="261462"/>
                      <a:pt x="684850" y="259153"/>
                    </a:cubicBezTo>
                    <a:cubicBezTo>
                      <a:pt x="687142" y="256863"/>
                      <a:pt x="687142" y="253148"/>
                      <a:pt x="684852" y="250858"/>
                    </a:cubicBezTo>
                    <a:cubicBezTo>
                      <a:pt x="684851" y="250856"/>
                      <a:pt x="684851" y="250856"/>
                      <a:pt x="684850" y="250855"/>
                    </a:cubicBezTo>
                    <a:moveTo>
                      <a:pt x="721763" y="218091"/>
                    </a:moveTo>
                    <a:cubicBezTo>
                      <a:pt x="720036" y="215731"/>
                      <a:pt x="716722" y="215221"/>
                      <a:pt x="714365" y="216948"/>
                    </a:cubicBezTo>
                    <a:cubicBezTo>
                      <a:pt x="712005" y="218674"/>
                      <a:pt x="711493" y="221987"/>
                      <a:pt x="713221" y="224346"/>
                    </a:cubicBezTo>
                    <a:cubicBezTo>
                      <a:pt x="713420" y="224619"/>
                      <a:pt x="713646" y="224871"/>
                      <a:pt x="713894" y="225101"/>
                    </a:cubicBezTo>
                    <a:cubicBezTo>
                      <a:pt x="715621" y="227461"/>
                      <a:pt x="718934" y="227971"/>
                      <a:pt x="721292" y="226245"/>
                    </a:cubicBezTo>
                    <a:cubicBezTo>
                      <a:pt x="723651" y="224518"/>
                      <a:pt x="724164" y="221205"/>
                      <a:pt x="722435" y="218846"/>
                    </a:cubicBezTo>
                    <a:cubicBezTo>
                      <a:pt x="722236" y="218573"/>
                      <a:pt x="722010" y="218321"/>
                      <a:pt x="721763" y="218091"/>
                    </a:cubicBezTo>
                    <a:moveTo>
                      <a:pt x="758819" y="185327"/>
                    </a:moveTo>
                    <a:cubicBezTo>
                      <a:pt x="756986" y="183545"/>
                      <a:pt x="754071" y="183545"/>
                      <a:pt x="752238" y="185327"/>
                    </a:cubicBezTo>
                    <a:cubicBezTo>
                      <a:pt x="750421" y="187085"/>
                      <a:pt x="750372" y="189984"/>
                      <a:pt x="752131" y="191801"/>
                    </a:cubicBezTo>
                    <a:cubicBezTo>
                      <a:pt x="752165" y="191837"/>
                      <a:pt x="752202" y="191872"/>
                      <a:pt x="752238" y="191908"/>
                    </a:cubicBezTo>
                    <a:cubicBezTo>
                      <a:pt x="754071" y="193689"/>
                      <a:pt x="756986" y="193689"/>
                      <a:pt x="758819" y="191908"/>
                    </a:cubicBezTo>
                    <a:cubicBezTo>
                      <a:pt x="760618" y="190028"/>
                      <a:pt x="760618" y="187064"/>
                      <a:pt x="758819" y="185184"/>
                    </a:cubicBezTo>
                    <a:moveTo>
                      <a:pt x="796019" y="152562"/>
                    </a:moveTo>
                    <a:cubicBezTo>
                      <a:pt x="794557" y="150864"/>
                      <a:pt x="791994" y="150671"/>
                      <a:pt x="790296" y="152133"/>
                    </a:cubicBezTo>
                    <a:cubicBezTo>
                      <a:pt x="788597" y="153595"/>
                      <a:pt x="788404" y="156158"/>
                      <a:pt x="789866" y="157856"/>
                    </a:cubicBezTo>
                    <a:cubicBezTo>
                      <a:pt x="791516" y="159401"/>
                      <a:pt x="794083" y="159401"/>
                      <a:pt x="795733" y="157856"/>
                    </a:cubicBezTo>
                    <a:cubicBezTo>
                      <a:pt x="797313" y="156308"/>
                      <a:pt x="797339" y="153771"/>
                      <a:pt x="795790" y="152190"/>
                    </a:cubicBezTo>
                    <a:cubicBezTo>
                      <a:pt x="795771" y="152172"/>
                      <a:pt x="795753" y="152152"/>
                      <a:pt x="795733" y="152133"/>
                    </a:cubicBezTo>
                    <a:moveTo>
                      <a:pt x="832646" y="119369"/>
                    </a:moveTo>
                    <a:cubicBezTo>
                      <a:pt x="831302" y="118030"/>
                      <a:pt x="829129" y="118034"/>
                      <a:pt x="827790" y="119378"/>
                    </a:cubicBezTo>
                    <a:cubicBezTo>
                      <a:pt x="826451" y="120721"/>
                      <a:pt x="826455" y="122894"/>
                      <a:pt x="827798" y="124234"/>
                    </a:cubicBezTo>
                    <a:cubicBezTo>
                      <a:pt x="829138" y="125569"/>
                      <a:pt x="831305" y="125569"/>
                      <a:pt x="832646" y="124234"/>
                    </a:cubicBezTo>
                    <a:cubicBezTo>
                      <a:pt x="833989" y="122894"/>
                      <a:pt x="833994" y="120721"/>
                      <a:pt x="832654" y="119378"/>
                    </a:cubicBezTo>
                    <a:cubicBezTo>
                      <a:pt x="832652" y="119375"/>
                      <a:pt x="832649" y="119372"/>
                      <a:pt x="832646" y="119369"/>
                    </a:cubicBezTo>
                    <a:moveTo>
                      <a:pt x="869702" y="86605"/>
                    </a:moveTo>
                    <a:cubicBezTo>
                      <a:pt x="868542" y="85496"/>
                      <a:pt x="866713" y="85496"/>
                      <a:pt x="865553" y="86605"/>
                    </a:cubicBezTo>
                    <a:cubicBezTo>
                      <a:pt x="864368" y="87672"/>
                      <a:pt x="864271" y="89498"/>
                      <a:pt x="865338" y="90683"/>
                    </a:cubicBezTo>
                    <a:cubicBezTo>
                      <a:pt x="866406" y="91867"/>
                      <a:pt x="868231" y="91965"/>
                      <a:pt x="869416" y="90897"/>
                    </a:cubicBezTo>
                    <a:cubicBezTo>
                      <a:pt x="870506" y="89784"/>
                      <a:pt x="870506" y="88004"/>
                      <a:pt x="869416" y="86891"/>
                    </a:cubicBezTo>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0" name="Freeform: Shape 169">
                <a:extLst>
                  <a:ext uri="{FF2B5EF4-FFF2-40B4-BE49-F238E27FC236}">
                    <a16:creationId xmlns:a16="http://schemas.microsoft.com/office/drawing/2014/main" id="{20D3AE48-EC16-4AD7-833E-C3ED0AD84204}"/>
                  </a:ext>
                </a:extLst>
              </p:cNvPr>
              <p:cNvSpPr/>
              <p:nvPr/>
            </p:nvSpPr>
            <p:spPr>
              <a:xfrm rot="8043926">
                <a:off x="7720650" y="4421757"/>
                <a:ext cx="1106638" cy="1006035"/>
              </a:xfrm>
              <a:custGeom>
                <a:avLst/>
                <a:gdLst>
                  <a:gd name="connsiteX0" fmla="*/ 412818 w 786911"/>
                  <a:gd name="connsiteY0" fmla="*/ 383011 h 715374"/>
                  <a:gd name="connsiteX1" fmla="*/ 412818 w 786911"/>
                  <a:gd name="connsiteY1" fmla="*/ 394457 h 715374"/>
                  <a:gd name="connsiteX2" fmla="*/ 401515 w 786911"/>
                  <a:gd name="connsiteY2" fmla="*/ 394457 h 715374"/>
                  <a:gd name="connsiteX3" fmla="*/ 401515 w 786911"/>
                  <a:gd name="connsiteY3" fmla="*/ 383154 h 715374"/>
                  <a:gd name="connsiteX4" fmla="*/ 412961 w 786911"/>
                  <a:gd name="connsiteY4" fmla="*/ 383154 h 715374"/>
                  <a:gd name="connsiteX5" fmla="*/ 445439 w 786911"/>
                  <a:gd name="connsiteY5" fmla="*/ 352679 h 715374"/>
                  <a:gd name="connsiteX6" fmla="*/ 434918 w 786911"/>
                  <a:gd name="connsiteY6" fmla="*/ 352745 h 715374"/>
                  <a:gd name="connsiteX7" fmla="*/ 434984 w 786911"/>
                  <a:gd name="connsiteY7" fmla="*/ 363267 h 715374"/>
                  <a:gd name="connsiteX8" fmla="*/ 445439 w 786911"/>
                  <a:gd name="connsiteY8" fmla="*/ 363267 h 715374"/>
                  <a:gd name="connsiteX9" fmla="*/ 445505 w 786911"/>
                  <a:gd name="connsiteY9" fmla="*/ 352745 h 715374"/>
                  <a:gd name="connsiteX10" fmla="*/ 445439 w 786911"/>
                  <a:gd name="connsiteY10" fmla="*/ 352679 h 715374"/>
                  <a:gd name="connsiteX11" fmla="*/ 477917 w 786911"/>
                  <a:gd name="connsiteY11" fmla="*/ 322205 h 715374"/>
                  <a:gd name="connsiteX12" fmla="*/ 468019 w 786911"/>
                  <a:gd name="connsiteY12" fmla="*/ 322788 h 715374"/>
                  <a:gd name="connsiteX13" fmla="*/ 467759 w 786911"/>
                  <a:gd name="connsiteY13" fmla="*/ 331791 h 715374"/>
                  <a:gd name="connsiteX14" fmla="*/ 477631 w 786911"/>
                  <a:gd name="connsiteY14" fmla="*/ 331791 h 715374"/>
                  <a:gd name="connsiteX15" fmla="*/ 477793 w 786911"/>
                  <a:gd name="connsiteY15" fmla="*/ 322080 h 715374"/>
                  <a:gd name="connsiteX16" fmla="*/ 477631 w 786911"/>
                  <a:gd name="connsiteY16" fmla="*/ 321918 h 715374"/>
                  <a:gd name="connsiteX17" fmla="*/ 510252 w 786911"/>
                  <a:gd name="connsiteY17" fmla="*/ 291587 h 715374"/>
                  <a:gd name="connsiteX18" fmla="*/ 501147 w 786911"/>
                  <a:gd name="connsiteY18" fmla="*/ 291495 h 715374"/>
                  <a:gd name="connsiteX19" fmla="*/ 501057 w 786911"/>
                  <a:gd name="connsiteY19" fmla="*/ 300600 h 715374"/>
                  <a:gd name="connsiteX20" fmla="*/ 510161 w 786911"/>
                  <a:gd name="connsiteY20" fmla="*/ 300692 h 715374"/>
                  <a:gd name="connsiteX21" fmla="*/ 510252 w 786911"/>
                  <a:gd name="connsiteY21" fmla="*/ 300600 h 715374"/>
                  <a:gd name="connsiteX22" fmla="*/ 510364 w 786911"/>
                  <a:gd name="connsiteY22" fmla="*/ 291698 h 715374"/>
                  <a:gd name="connsiteX23" fmla="*/ 510252 w 786911"/>
                  <a:gd name="connsiteY23" fmla="*/ 291587 h 715374"/>
                  <a:gd name="connsiteX24" fmla="*/ 542873 w 786911"/>
                  <a:gd name="connsiteY24" fmla="*/ 261112 h 715374"/>
                  <a:gd name="connsiteX25" fmla="*/ 534575 w 786911"/>
                  <a:gd name="connsiteY25" fmla="*/ 261112 h 715374"/>
                  <a:gd name="connsiteX26" fmla="*/ 534289 w 786911"/>
                  <a:gd name="connsiteY26" fmla="*/ 269410 h 715374"/>
                  <a:gd name="connsiteX27" fmla="*/ 542587 w 786911"/>
                  <a:gd name="connsiteY27" fmla="*/ 269696 h 715374"/>
                  <a:gd name="connsiteX28" fmla="*/ 542587 w 786911"/>
                  <a:gd name="connsiteY28" fmla="*/ 261398 h 715374"/>
                  <a:gd name="connsiteX29" fmla="*/ 575065 w 786911"/>
                  <a:gd name="connsiteY29" fmla="*/ 230923 h 715374"/>
                  <a:gd name="connsiteX30" fmla="*/ 567625 w 786911"/>
                  <a:gd name="connsiteY30" fmla="*/ 230923 h 715374"/>
                  <a:gd name="connsiteX31" fmla="*/ 567625 w 786911"/>
                  <a:gd name="connsiteY31" fmla="*/ 238506 h 715374"/>
                  <a:gd name="connsiteX32" fmla="*/ 575065 w 786911"/>
                  <a:gd name="connsiteY32" fmla="*/ 238506 h 715374"/>
                  <a:gd name="connsiteX33" fmla="*/ 575065 w 786911"/>
                  <a:gd name="connsiteY33" fmla="*/ 230923 h 715374"/>
                  <a:gd name="connsiteX34" fmla="*/ 607543 w 786911"/>
                  <a:gd name="connsiteY34" fmla="*/ 200162 h 715374"/>
                  <a:gd name="connsiteX35" fmla="*/ 600819 w 786911"/>
                  <a:gd name="connsiteY35" fmla="*/ 200019 h 715374"/>
                  <a:gd name="connsiteX36" fmla="*/ 600676 w 786911"/>
                  <a:gd name="connsiteY36" fmla="*/ 206743 h 715374"/>
                  <a:gd name="connsiteX37" fmla="*/ 607400 w 786911"/>
                  <a:gd name="connsiteY37" fmla="*/ 206886 h 715374"/>
                  <a:gd name="connsiteX38" fmla="*/ 607543 w 786911"/>
                  <a:gd name="connsiteY38" fmla="*/ 200162 h 715374"/>
                  <a:gd name="connsiteX39" fmla="*/ 640164 w 786911"/>
                  <a:gd name="connsiteY39" fmla="*/ 169687 h 715374"/>
                  <a:gd name="connsiteX40" fmla="*/ 634298 w 786911"/>
                  <a:gd name="connsiteY40" fmla="*/ 169544 h 715374"/>
                  <a:gd name="connsiteX41" fmla="*/ 634155 w 786911"/>
                  <a:gd name="connsiteY41" fmla="*/ 169687 h 715374"/>
                  <a:gd name="connsiteX42" fmla="*/ 633951 w 786911"/>
                  <a:gd name="connsiteY42" fmla="*/ 175348 h 715374"/>
                  <a:gd name="connsiteX43" fmla="*/ 634155 w 786911"/>
                  <a:gd name="connsiteY43" fmla="*/ 175553 h 715374"/>
                  <a:gd name="connsiteX44" fmla="*/ 640021 w 786911"/>
                  <a:gd name="connsiteY44" fmla="*/ 175553 h 715374"/>
                  <a:gd name="connsiteX45" fmla="*/ 640021 w 786911"/>
                  <a:gd name="connsiteY45" fmla="*/ 169544 h 715374"/>
                  <a:gd name="connsiteX46" fmla="*/ 672499 w 786911"/>
                  <a:gd name="connsiteY46" fmla="*/ 139069 h 715374"/>
                  <a:gd name="connsiteX47" fmla="*/ 667253 w 786911"/>
                  <a:gd name="connsiteY47" fmla="*/ 139452 h 715374"/>
                  <a:gd name="connsiteX48" fmla="*/ 667062 w 786911"/>
                  <a:gd name="connsiteY48" fmla="*/ 144076 h 715374"/>
                  <a:gd name="connsiteX49" fmla="*/ 672356 w 786911"/>
                  <a:gd name="connsiteY49" fmla="*/ 144076 h 715374"/>
                  <a:gd name="connsiteX50" fmla="*/ 672449 w 786911"/>
                  <a:gd name="connsiteY50" fmla="*/ 139019 h 715374"/>
                  <a:gd name="connsiteX51" fmla="*/ 672356 w 786911"/>
                  <a:gd name="connsiteY51" fmla="*/ 138926 h 715374"/>
                  <a:gd name="connsiteX52" fmla="*/ 704834 w 786911"/>
                  <a:gd name="connsiteY52" fmla="*/ 108451 h 715374"/>
                  <a:gd name="connsiteX53" fmla="*/ 700383 w 786911"/>
                  <a:gd name="connsiteY53" fmla="*/ 108435 h 715374"/>
                  <a:gd name="connsiteX54" fmla="*/ 700367 w 786911"/>
                  <a:gd name="connsiteY54" fmla="*/ 112886 h 715374"/>
                  <a:gd name="connsiteX55" fmla="*/ 704818 w 786911"/>
                  <a:gd name="connsiteY55" fmla="*/ 112902 h 715374"/>
                  <a:gd name="connsiteX56" fmla="*/ 704834 w 786911"/>
                  <a:gd name="connsiteY56" fmla="*/ 112886 h 715374"/>
                  <a:gd name="connsiteX57" fmla="*/ 704834 w 786911"/>
                  <a:gd name="connsiteY57" fmla="*/ 108451 h 715374"/>
                  <a:gd name="connsiteX58" fmla="*/ 737312 w 786911"/>
                  <a:gd name="connsiteY58" fmla="*/ 77976 h 715374"/>
                  <a:gd name="connsiteX59" fmla="*/ 733735 w 786911"/>
                  <a:gd name="connsiteY59" fmla="*/ 77976 h 715374"/>
                  <a:gd name="connsiteX60" fmla="*/ 733664 w 786911"/>
                  <a:gd name="connsiteY60" fmla="*/ 81624 h 715374"/>
                  <a:gd name="connsiteX61" fmla="*/ 737312 w 786911"/>
                  <a:gd name="connsiteY61" fmla="*/ 81696 h 715374"/>
                  <a:gd name="connsiteX62" fmla="*/ 737452 w 786911"/>
                  <a:gd name="connsiteY62" fmla="*/ 78259 h 715374"/>
                  <a:gd name="connsiteX63" fmla="*/ 737312 w 786911"/>
                  <a:gd name="connsiteY63" fmla="*/ 78119 h 715374"/>
                  <a:gd name="connsiteX64" fmla="*/ 432133 w 786911"/>
                  <a:gd name="connsiteY64" fmla="*/ 403185 h 715374"/>
                  <a:gd name="connsiteX65" fmla="*/ 421546 w 786911"/>
                  <a:gd name="connsiteY65" fmla="*/ 403185 h 715374"/>
                  <a:gd name="connsiteX66" fmla="*/ 421546 w 786911"/>
                  <a:gd name="connsiteY66" fmla="*/ 414631 h 715374"/>
                  <a:gd name="connsiteX67" fmla="*/ 432992 w 786911"/>
                  <a:gd name="connsiteY67" fmla="*/ 414631 h 715374"/>
                  <a:gd name="connsiteX68" fmla="*/ 432992 w 786911"/>
                  <a:gd name="connsiteY68" fmla="*/ 403328 h 715374"/>
                  <a:gd name="connsiteX69" fmla="*/ 464468 w 786911"/>
                  <a:gd name="connsiteY69" fmla="*/ 373282 h 715374"/>
                  <a:gd name="connsiteX70" fmla="*/ 453947 w 786911"/>
                  <a:gd name="connsiteY70" fmla="*/ 373216 h 715374"/>
                  <a:gd name="connsiteX71" fmla="*/ 453881 w 786911"/>
                  <a:gd name="connsiteY71" fmla="*/ 373282 h 715374"/>
                  <a:gd name="connsiteX72" fmla="*/ 453755 w 786911"/>
                  <a:gd name="connsiteY72" fmla="*/ 383601 h 715374"/>
                  <a:gd name="connsiteX73" fmla="*/ 453881 w 786911"/>
                  <a:gd name="connsiteY73" fmla="*/ 383727 h 715374"/>
                  <a:gd name="connsiteX74" fmla="*/ 464403 w 786911"/>
                  <a:gd name="connsiteY74" fmla="*/ 383793 h 715374"/>
                  <a:gd name="connsiteX75" fmla="*/ 464468 w 786911"/>
                  <a:gd name="connsiteY75" fmla="*/ 383727 h 715374"/>
                  <a:gd name="connsiteX76" fmla="*/ 464468 w 786911"/>
                  <a:gd name="connsiteY76" fmla="*/ 373139 h 715374"/>
                  <a:gd name="connsiteX77" fmla="*/ 496946 w 786911"/>
                  <a:gd name="connsiteY77" fmla="*/ 342664 h 715374"/>
                  <a:gd name="connsiteX78" fmla="*/ 487236 w 786911"/>
                  <a:gd name="connsiteY78" fmla="*/ 342503 h 715374"/>
                  <a:gd name="connsiteX79" fmla="*/ 487074 w 786911"/>
                  <a:gd name="connsiteY79" fmla="*/ 342664 h 715374"/>
                  <a:gd name="connsiteX80" fmla="*/ 487074 w 786911"/>
                  <a:gd name="connsiteY80" fmla="*/ 352393 h 715374"/>
                  <a:gd name="connsiteX81" fmla="*/ 496785 w 786911"/>
                  <a:gd name="connsiteY81" fmla="*/ 352555 h 715374"/>
                  <a:gd name="connsiteX82" fmla="*/ 496946 w 786911"/>
                  <a:gd name="connsiteY82" fmla="*/ 352393 h 715374"/>
                  <a:gd name="connsiteX83" fmla="*/ 496946 w 786911"/>
                  <a:gd name="connsiteY83" fmla="*/ 342664 h 715374"/>
                  <a:gd name="connsiteX84" fmla="*/ 529424 w 786911"/>
                  <a:gd name="connsiteY84" fmla="*/ 312189 h 715374"/>
                  <a:gd name="connsiteX85" fmla="*/ 520319 w 786911"/>
                  <a:gd name="connsiteY85" fmla="*/ 312098 h 715374"/>
                  <a:gd name="connsiteX86" fmla="*/ 520229 w 786911"/>
                  <a:gd name="connsiteY86" fmla="*/ 321203 h 715374"/>
                  <a:gd name="connsiteX87" fmla="*/ 529333 w 786911"/>
                  <a:gd name="connsiteY87" fmla="*/ 321295 h 715374"/>
                  <a:gd name="connsiteX88" fmla="*/ 529424 w 786911"/>
                  <a:gd name="connsiteY88" fmla="*/ 321203 h 715374"/>
                  <a:gd name="connsiteX89" fmla="*/ 529536 w 786911"/>
                  <a:gd name="connsiteY89" fmla="*/ 312301 h 715374"/>
                  <a:gd name="connsiteX90" fmla="*/ 529424 w 786911"/>
                  <a:gd name="connsiteY90" fmla="*/ 312189 h 715374"/>
                  <a:gd name="connsiteX91" fmla="*/ 561902 w 786911"/>
                  <a:gd name="connsiteY91" fmla="*/ 281714 h 715374"/>
                  <a:gd name="connsiteX92" fmla="*/ 554016 w 786911"/>
                  <a:gd name="connsiteY92" fmla="*/ 281445 h 715374"/>
                  <a:gd name="connsiteX93" fmla="*/ 553747 w 786911"/>
                  <a:gd name="connsiteY93" fmla="*/ 281714 h 715374"/>
                  <a:gd name="connsiteX94" fmla="*/ 553540 w 786911"/>
                  <a:gd name="connsiteY94" fmla="*/ 289805 h 715374"/>
                  <a:gd name="connsiteX95" fmla="*/ 553747 w 786911"/>
                  <a:gd name="connsiteY95" fmla="*/ 290013 h 715374"/>
                  <a:gd name="connsiteX96" fmla="*/ 561902 w 786911"/>
                  <a:gd name="connsiteY96" fmla="*/ 290013 h 715374"/>
                  <a:gd name="connsiteX97" fmla="*/ 562110 w 786911"/>
                  <a:gd name="connsiteY97" fmla="*/ 281922 h 715374"/>
                  <a:gd name="connsiteX98" fmla="*/ 561902 w 786911"/>
                  <a:gd name="connsiteY98" fmla="*/ 281714 h 715374"/>
                  <a:gd name="connsiteX99" fmla="*/ 594523 w 786911"/>
                  <a:gd name="connsiteY99" fmla="*/ 251239 h 715374"/>
                  <a:gd name="connsiteX100" fmla="*/ 586940 w 786911"/>
                  <a:gd name="connsiteY100" fmla="*/ 251239 h 715374"/>
                  <a:gd name="connsiteX101" fmla="*/ 586940 w 786911"/>
                  <a:gd name="connsiteY101" fmla="*/ 258679 h 715374"/>
                  <a:gd name="connsiteX102" fmla="*/ 594523 w 786911"/>
                  <a:gd name="connsiteY102" fmla="*/ 258679 h 715374"/>
                  <a:gd name="connsiteX103" fmla="*/ 594523 w 786911"/>
                  <a:gd name="connsiteY103" fmla="*/ 251239 h 715374"/>
                  <a:gd name="connsiteX104" fmla="*/ 627001 w 786911"/>
                  <a:gd name="connsiteY104" fmla="*/ 220764 h 715374"/>
                  <a:gd name="connsiteX105" fmla="*/ 620324 w 786911"/>
                  <a:gd name="connsiteY105" fmla="*/ 220812 h 715374"/>
                  <a:gd name="connsiteX106" fmla="*/ 620371 w 786911"/>
                  <a:gd name="connsiteY106" fmla="*/ 227489 h 715374"/>
                  <a:gd name="connsiteX107" fmla="*/ 627001 w 786911"/>
                  <a:gd name="connsiteY107" fmla="*/ 227489 h 715374"/>
                  <a:gd name="connsiteX108" fmla="*/ 627049 w 786911"/>
                  <a:gd name="connsiteY108" fmla="*/ 220812 h 715374"/>
                  <a:gd name="connsiteX109" fmla="*/ 627001 w 786911"/>
                  <a:gd name="connsiteY109" fmla="*/ 220764 h 715374"/>
                  <a:gd name="connsiteX110" fmla="*/ 659479 w 786911"/>
                  <a:gd name="connsiteY110" fmla="*/ 190290 h 715374"/>
                  <a:gd name="connsiteX111" fmla="*/ 653470 w 786911"/>
                  <a:gd name="connsiteY111" fmla="*/ 190290 h 715374"/>
                  <a:gd name="connsiteX112" fmla="*/ 653470 w 786911"/>
                  <a:gd name="connsiteY112" fmla="*/ 196299 h 715374"/>
                  <a:gd name="connsiteX113" fmla="*/ 659479 w 786911"/>
                  <a:gd name="connsiteY113" fmla="*/ 196299 h 715374"/>
                  <a:gd name="connsiteX114" fmla="*/ 659479 w 786911"/>
                  <a:gd name="connsiteY114" fmla="*/ 190433 h 715374"/>
                  <a:gd name="connsiteX115" fmla="*/ 692243 w 786911"/>
                  <a:gd name="connsiteY115" fmla="*/ 159958 h 715374"/>
                  <a:gd name="connsiteX116" fmla="*/ 687186 w 786911"/>
                  <a:gd name="connsiteY116" fmla="*/ 159865 h 715374"/>
                  <a:gd name="connsiteX117" fmla="*/ 687093 w 786911"/>
                  <a:gd name="connsiteY117" fmla="*/ 159958 h 715374"/>
                  <a:gd name="connsiteX118" fmla="*/ 687093 w 786911"/>
                  <a:gd name="connsiteY118" fmla="*/ 165251 h 715374"/>
                  <a:gd name="connsiteX119" fmla="*/ 692150 w 786911"/>
                  <a:gd name="connsiteY119" fmla="*/ 165344 h 715374"/>
                  <a:gd name="connsiteX120" fmla="*/ 692243 w 786911"/>
                  <a:gd name="connsiteY120" fmla="*/ 165251 h 715374"/>
                  <a:gd name="connsiteX121" fmla="*/ 692336 w 786911"/>
                  <a:gd name="connsiteY121" fmla="*/ 160194 h 715374"/>
                  <a:gd name="connsiteX122" fmla="*/ 692243 w 786911"/>
                  <a:gd name="connsiteY122" fmla="*/ 160101 h 715374"/>
                  <a:gd name="connsiteX123" fmla="*/ 724864 w 786911"/>
                  <a:gd name="connsiteY123" fmla="*/ 129483 h 715374"/>
                  <a:gd name="connsiteX124" fmla="*/ 720429 w 786911"/>
                  <a:gd name="connsiteY124" fmla="*/ 129483 h 715374"/>
                  <a:gd name="connsiteX125" fmla="*/ 720176 w 786911"/>
                  <a:gd name="connsiteY125" fmla="*/ 133522 h 715374"/>
                  <a:gd name="connsiteX126" fmla="*/ 720429 w 786911"/>
                  <a:gd name="connsiteY126" fmla="*/ 133775 h 715374"/>
                  <a:gd name="connsiteX127" fmla="*/ 724674 w 786911"/>
                  <a:gd name="connsiteY127" fmla="*/ 133965 h 715374"/>
                  <a:gd name="connsiteX128" fmla="*/ 724864 w 786911"/>
                  <a:gd name="connsiteY128" fmla="*/ 133775 h 715374"/>
                  <a:gd name="connsiteX129" fmla="*/ 724864 w 786911"/>
                  <a:gd name="connsiteY129" fmla="*/ 129340 h 715374"/>
                  <a:gd name="connsiteX130" fmla="*/ 757343 w 786911"/>
                  <a:gd name="connsiteY130" fmla="*/ 98865 h 715374"/>
                  <a:gd name="connsiteX131" fmla="*/ 753623 w 786911"/>
                  <a:gd name="connsiteY131" fmla="*/ 98865 h 715374"/>
                  <a:gd name="connsiteX132" fmla="*/ 753551 w 786911"/>
                  <a:gd name="connsiteY132" fmla="*/ 102513 h 715374"/>
                  <a:gd name="connsiteX133" fmla="*/ 757199 w 786911"/>
                  <a:gd name="connsiteY133" fmla="*/ 102585 h 715374"/>
                  <a:gd name="connsiteX134" fmla="*/ 757199 w 786911"/>
                  <a:gd name="connsiteY134" fmla="*/ 98865 h 715374"/>
                  <a:gd name="connsiteX135" fmla="*/ 451592 w 786911"/>
                  <a:gd name="connsiteY135" fmla="*/ 424503 h 715374"/>
                  <a:gd name="connsiteX136" fmla="*/ 440260 w 786911"/>
                  <a:gd name="connsiteY136" fmla="*/ 424474 h 715374"/>
                  <a:gd name="connsiteX137" fmla="*/ 440233 w 786911"/>
                  <a:gd name="connsiteY137" fmla="*/ 435806 h 715374"/>
                  <a:gd name="connsiteX138" fmla="*/ 451563 w 786911"/>
                  <a:gd name="connsiteY138" fmla="*/ 435835 h 715374"/>
                  <a:gd name="connsiteX139" fmla="*/ 451592 w 786911"/>
                  <a:gd name="connsiteY139" fmla="*/ 435806 h 715374"/>
                  <a:gd name="connsiteX140" fmla="*/ 451592 w 786911"/>
                  <a:gd name="connsiteY140" fmla="*/ 424503 h 715374"/>
                  <a:gd name="connsiteX141" fmla="*/ 484070 w 786911"/>
                  <a:gd name="connsiteY141" fmla="*/ 394028 h 715374"/>
                  <a:gd name="connsiteX142" fmla="*/ 473754 w 786911"/>
                  <a:gd name="connsiteY142" fmla="*/ 393756 h 715374"/>
                  <a:gd name="connsiteX143" fmla="*/ 473482 w 786911"/>
                  <a:gd name="connsiteY143" fmla="*/ 394028 h 715374"/>
                  <a:gd name="connsiteX144" fmla="*/ 473196 w 786911"/>
                  <a:gd name="connsiteY144" fmla="*/ 404616 h 715374"/>
                  <a:gd name="connsiteX145" fmla="*/ 483783 w 786911"/>
                  <a:gd name="connsiteY145" fmla="*/ 404902 h 715374"/>
                  <a:gd name="connsiteX146" fmla="*/ 483909 w 786911"/>
                  <a:gd name="connsiteY146" fmla="*/ 394583 h 715374"/>
                  <a:gd name="connsiteX147" fmla="*/ 483783 w 786911"/>
                  <a:gd name="connsiteY147" fmla="*/ 394457 h 715374"/>
                  <a:gd name="connsiteX148" fmla="*/ 516261 w 786911"/>
                  <a:gd name="connsiteY148" fmla="*/ 363839 h 715374"/>
                  <a:gd name="connsiteX149" fmla="*/ 506532 w 786911"/>
                  <a:gd name="connsiteY149" fmla="*/ 363839 h 715374"/>
                  <a:gd name="connsiteX150" fmla="*/ 506371 w 786911"/>
                  <a:gd name="connsiteY150" fmla="*/ 373550 h 715374"/>
                  <a:gd name="connsiteX151" fmla="*/ 506532 w 786911"/>
                  <a:gd name="connsiteY151" fmla="*/ 373711 h 715374"/>
                  <a:gd name="connsiteX152" fmla="*/ 516261 w 786911"/>
                  <a:gd name="connsiteY152" fmla="*/ 373711 h 715374"/>
                  <a:gd name="connsiteX153" fmla="*/ 516423 w 786911"/>
                  <a:gd name="connsiteY153" fmla="*/ 364001 h 715374"/>
                  <a:gd name="connsiteX154" fmla="*/ 516261 w 786911"/>
                  <a:gd name="connsiteY154" fmla="*/ 363839 h 715374"/>
                  <a:gd name="connsiteX155" fmla="*/ 548883 w 786911"/>
                  <a:gd name="connsiteY155" fmla="*/ 333364 h 715374"/>
                  <a:gd name="connsiteX156" fmla="*/ 539726 w 786911"/>
                  <a:gd name="connsiteY156" fmla="*/ 333364 h 715374"/>
                  <a:gd name="connsiteX157" fmla="*/ 539726 w 786911"/>
                  <a:gd name="connsiteY157" fmla="*/ 342521 h 715374"/>
                  <a:gd name="connsiteX158" fmla="*/ 548883 w 786911"/>
                  <a:gd name="connsiteY158" fmla="*/ 342521 h 715374"/>
                  <a:gd name="connsiteX159" fmla="*/ 548883 w 786911"/>
                  <a:gd name="connsiteY159" fmla="*/ 333364 h 715374"/>
                  <a:gd name="connsiteX160" fmla="*/ 581647 w 786911"/>
                  <a:gd name="connsiteY160" fmla="*/ 303033 h 715374"/>
                  <a:gd name="connsiteX161" fmla="*/ 573348 w 786911"/>
                  <a:gd name="connsiteY161" fmla="*/ 302746 h 715374"/>
                  <a:gd name="connsiteX162" fmla="*/ 573062 w 786911"/>
                  <a:gd name="connsiteY162" fmla="*/ 311045 h 715374"/>
                  <a:gd name="connsiteX163" fmla="*/ 581153 w 786911"/>
                  <a:gd name="connsiteY163" fmla="*/ 311252 h 715374"/>
                  <a:gd name="connsiteX164" fmla="*/ 581360 w 786911"/>
                  <a:gd name="connsiteY164" fmla="*/ 311045 h 715374"/>
                  <a:gd name="connsiteX165" fmla="*/ 581363 w 786911"/>
                  <a:gd name="connsiteY165" fmla="*/ 302749 h 715374"/>
                  <a:gd name="connsiteX166" fmla="*/ 581360 w 786911"/>
                  <a:gd name="connsiteY166" fmla="*/ 302746 h 715374"/>
                  <a:gd name="connsiteX167" fmla="*/ 613839 w 786911"/>
                  <a:gd name="connsiteY167" fmla="*/ 272271 h 715374"/>
                  <a:gd name="connsiteX168" fmla="*/ 606353 w 786911"/>
                  <a:gd name="connsiteY168" fmla="*/ 272369 h 715374"/>
                  <a:gd name="connsiteX169" fmla="*/ 606450 w 786911"/>
                  <a:gd name="connsiteY169" fmla="*/ 279854 h 715374"/>
                  <a:gd name="connsiteX170" fmla="*/ 613839 w 786911"/>
                  <a:gd name="connsiteY170" fmla="*/ 279854 h 715374"/>
                  <a:gd name="connsiteX171" fmla="*/ 613839 w 786911"/>
                  <a:gd name="connsiteY171" fmla="*/ 272271 h 715374"/>
                  <a:gd name="connsiteX172" fmla="*/ 646316 w 786911"/>
                  <a:gd name="connsiteY172" fmla="*/ 241797 h 715374"/>
                  <a:gd name="connsiteX173" fmla="*/ 639639 w 786911"/>
                  <a:gd name="connsiteY173" fmla="*/ 241844 h 715374"/>
                  <a:gd name="connsiteX174" fmla="*/ 639686 w 786911"/>
                  <a:gd name="connsiteY174" fmla="*/ 248521 h 715374"/>
                  <a:gd name="connsiteX175" fmla="*/ 646316 w 786911"/>
                  <a:gd name="connsiteY175" fmla="*/ 248521 h 715374"/>
                  <a:gd name="connsiteX176" fmla="*/ 646364 w 786911"/>
                  <a:gd name="connsiteY176" fmla="*/ 241844 h 715374"/>
                  <a:gd name="connsiteX177" fmla="*/ 646316 w 786911"/>
                  <a:gd name="connsiteY177" fmla="*/ 241797 h 715374"/>
                  <a:gd name="connsiteX178" fmla="*/ 679081 w 786911"/>
                  <a:gd name="connsiteY178" fmla="*/ 211035 h 715374"/>
                  <a:gd name="connsiteX179" fmla="*/ 673011 w 786911"/>
                  <a:gd name="connsiteY179" fmla="*/ 211118 h 715374"/>
                  <a:gd name="connsiteX180" fmla="*/ 673094 w 786911"/>
                  <a:gd name="connsiteY180" fmla="*/ 217188 h 715374"/>
                  <a:gd name="connsiteX181" fmla="*/ 679081 w 786911"/>
                  <a:gd name="connsiteY181" fmla="*/ 217188 h 715374"/>
                  <a:gd name="connsiteX182" fmla="*/ 679081 w 786911"/>
                  <a:gd name="connsiteY182" fmla="*/ 211179 h 715374"/>
                  <a:gd name="connsiteX183" fmla="*/ 711559 w 786911"/>
                  <a:gd name="connsiteY183" fmla="*/ 180704 h 715374"/>
                  <a:gd name="connsiteX184" fmla="*/ 706501 w 786911"/>
                  <a:gd name="connsiteY184" fmla="*/ 180611 h 715374"/>
                  <a:gd name="connsiteX185" fmla="*/ 706408 w 786911"/>
                  <a:gd name="connsiteY185" fmla="*/ 180704 h 715374"/>
                  <a:gd name="connsiteX186" fmla="*/ 706315 w 786911"/>
                  <a:gd name="connsiteY186" fmla="*/ 185761 h 715374"/>
                  <a:gd name="connsiteX187" fmla="*/ 706408 w 786911"/>
                  <a:gd name="connsiteY187" fmla="*/ 185854 h 715374"/>
                  <a:gd name="connsiteX188" fmla="*/ 711466 w 786911"/>
                  <a:gd name="connsiteY188" fmla="*/ 185947 h 715374"/>
                  <a:gd name="connsiteX189" fmla="*/ 711559 w 786911"/>
                  <a:gd name="connsiteY189" fmla="*/ 185854 h 715374"/>
                  <a:gd name="connsiteX190" fmla="*/ 711559 w 786911"/>
                  <a:gd name="connsiteY190" fmla="*/ 180560 h 715374"/>
                  <a:gd name="connsiteX191" fmla="*/ 744037 w 786911"/>
                  <a:gd name="connsiteY191" fmla="*/ 150086 h 715374"/>
                  <a:gd name="connsiteX192" fmla="*/ 739601 w 786911"/>
                  <a:gd name="connsiteY192" fmla="*/ 150086 h 715374"/>
                  <a:gd name="connsiteX193" fmla="*/ 739601 w 786911"/>
                  <a:gd name="connsiteY193" fmla="*/ 154521 h 715374"/>
                  <a:gd name="connsiteX194" fmla="*/ 744037 w 786911"/>
                  <a:gd name="connsiteY194" fmla="*/ 154521 h 715374"/>
                  <a:gd name="connsiteX195" fmla="*/ 744227 w 786911"/>
                  <a:gd name="connsiteY195" fmla="*/ 150276 h 715374"/>
                  <a:gd name="connsiteX196" fmla="*/ 744037 w 786911"/>
                  <a:gd name="connsiteY196" fmla="*/ 150086 h 715374"/>
                  <a:gd name="connsiteX197" fmla="*/ 776658 w 786911"/>
                  <a:gd name="connsiteY197" fmla="*/ 119611 h 715374"/>
                  <a:gd name="connsiteX198" fmla="*/ 773016 w 786911"/>
                  <a:gd name="connsiteY198" fmla="*/ 119689 h 715374"/>
                  <a:gd name="connsiteX199" fmla="*/ 773095 w 786911"/>
                  <a:gd name="connsiteY199" fmla="*/ 123331 h 715374"/>
                  <a:gd name="connsiteX200" fmla="*/ 776658 w 786911"/>
                  <a:gd name="connsiteY200" fmla="*/ 123331 h 715374"/>
                  <a:gd name="connsiteX201" fmla="*/ 776658 w 786911"/>
                  <a:gd name="connsiteY201" fmla="*/ 119611 h 715374"/>
                  <a:gd name="connsiteX202" fmla="*/ 354587 w 786911"/>
                  <a:gd name="connsiteY202" fmla="*/ 320917 h 715374"/>
                  <a:gd name="connsiteX203" fmla="*/ 343284 w 786911"/>
                  <a:gd name="connsiteY203" fmla="*/ 320917 h 715374"/>
                  <a:gd name="connsiteX204" fmla="*/ 343526 w 786911"/>
                  <a:gd name="connsiteY204" fmla="*/ 332246 h 715374"/>
                  <a:gd name="connsiteX205" fmla="*/ 354158 w 786911"/>
                  <a:gd name="connsiteY205" fmla="*/ 332649 h 715374"/>
                  <a:gd name="connsiteX206" fmla="*/ 354158 w 786911"/>
                  <a:gd name="connsiteY206" fmla="*/ 321203 h 715374"/>
                  <a:gd name="connsiteX207" fmla="*/ 386636 w 786911"/>
                  <a:gd name="connsiteY207" fmla="*/ 290728 h 715374"/>
                  <a:gd name="connsiteX208" fmla="*/ 376114 w 786911"/>
                  <a:gd name="connsiteY208" fmla="*/ 290794 h 715374"/>
                  <a:gd name="connsiteX209" fmla="*/ 376180 w 786911"/>
                  <a:gd name="connsiteY209" fmla="*/ 301316 h 715374"/>
                  <a:gd name="connsiteX210" fmla="*/ 386636 w 786911"/>
                  <a:gd name="connsiteY210" fmla="*/ 301316 h 715374"/>
                  <a:gd name="connsiteX211" fmla="*/ 386702 w 786911"/>
                  <a:gd name="connsiteY211" fmla="*/ 290794 h 715374"/>
                  <a:gd name="connsiteX212" fmla="*/ 386636 w 786911"/>
                  <a:gd name="connsiteY212" fmla="*/ 290728 h 715374"/>
                  <a:gd name="connsiteX213" fmla="*/ 419543 w 786911"/>
                  <a:gd name="connsiteY213" fmla="*/ 260110 h 715374"/>
                  <a:gd name="connsiteX214" fmla="*/ 409814 w 786911"/>
                  <a:gd name="connsiteY214" fmla="*/ 260110 h 715374"/>
                  <a:gd name="connsiteX215" fmla="*/ 409652 w 786911"/>
                  <a:gd name="connsiteY215" fmla="*/ 269821 h 715374"/>
                  <a:gd name="connsiteX216" fmla="*/ 409814 w 786911"/>
                  <a:gd name="connsiteY216" fmla="*/ 269982 h 715374"/>
                  <a:gd name="connsiteX217" fmla="*/ 419543 w 786911"/>
                  <a:gd name="connsiteY217" fmla="*/ 269982 h 715374"/>
                  <a:gd name="connsiteX218" fmla="*/ 419705 w 786911"/>
                  <a:gd name="connsiteY218" fmla="*/ 260272 h 715374"/>
                  <a:gd name="connsiteX219" fmla="*/ 419543 w 786911"/>
                  <a:gd name="connsiteY219" fmla="*/ 260110 h 715374"/>
                  <a:gd name="connsiteX220" fmla="*/ 452164 w 786911"/>
                  <a:gd name="connsiteY220" fmla="*/ 229635 h 715374"/>
                  <a:gd name="connsiteX221" fmla="*/ 443060 w 786911"/>
                  <a:gd name="connsiteY221" fmla="*/ 229762 h 715374"/>
                  <a:gd name="connsiteX222" fmla="*/ 442721 w 786911"/>
                  <a:gd name="connsiteY222" fmla="*/ 238363 h 715374"/>
                  <a:gd name="connsiteX223" fmla="*/ 451878 w 786911"/>
                  <a:gd name="connsiteY223" fmla="*/ 238363 h 715374"/>
                  <a:gd name="connsiteX224" fmla="*/ 451989 w 786911"/>
                  <a:gd name="connsiteY224" fmla="*/ 229461 h 715374"/>
                  <a:gd name="connsiteX225" fmla="*/ 451878 w 786911"/>
                  <a:gd name="connsiteY225" fmla="*/ 229349 h 715374"/>
                  <a:gd name="connsiteX226" fmla="*/ 484356 w 786911"/>
                  <a:gd name="connsiteY226" fmla="*/ 198874 h 715374"/>
                  <a:gd name="connsiteX227" fmla="*/ 476057 w 786911"/>
                  <a:gd name="connsiteY227" fmla="*/ 198588 h 715374"/>
                  <a:gd name="connsiteX228" fmla="*/ 475771 w 786911"/>
                  <a:gd name="connsiteY228" fmla="*/ 206886 h 715374"/>
                  <a:gd name="connsiteX229" fmla="*/ 484070 w 786911"/>
                  <a:gd name="connsiteY229" fmla="*/ 207172 h 715374"/>
                  <a:gd name="connsiteX230" fmla="*/ 484356 w 786911"/>
                  <a:gd name="connsiteY230" fmla="*/ 198874 h 715374"/>
                  <a:gd name="connsiteX231" fmla="*/ 516834 w 786911"/>
                  <a:gd name="connsiteY231" fmla="*/ 168399 h 715374"/>
                  <a:gd name="connsiteX232" fmla="*/ 509394 w 786911"/>
                  <a:gd name="connsiteY232" fmla="*/ 168399 h 715374"/>
                  <a:gd name="connsiteX233" fmla="*/ 509149 w 786911"/>
                  <a:gd name="connsiteY233" fmla="*/ 176084 h 715374"/>
                  <a:gd name="connsiteX234" fmla="*/ 516834 w 786911"/>
                  <a:gd name="connsiteY234" fmla="*/ 176330 h 715374"/>
                  <a:gd name="connsiteX235" fmla="*/ 517078 w 786911"/>
                  <a:gd name="connsiteY235" fmla="*/ 168644 h 715374"/>
                  <a:gd name="connsiteX236" fmla="*/ 516834 w 786911"/>
                  <a:gd name="connsiteY236" fmla="*/ 168399 h 715374"/>
                  <a:gd name="connsiteX237" fmla="*/ 550313 w 786911"/>
                  <a:gd name="connsiteY237" fmla="*/ 138067 h 715374"/>
                  <a:gd name="connsiteX238" fmla="*/ 543446 w 786911"/>
                  <a:gd name="connsiteY238" fmla="*/ 138067 h 715374"/>
                  <a:gd name="connsiteX239" fmla="*/ 543303 w 786911"/>
                  <a:gd name="connsiteY239" fmla="*/ 144792 h 715374"/>
                  <a:gd name="connsiteX240" fmla="*/ 550027 w 786911"/>
                  <a:gd name="connsiteY240" fmla="*/ 144935 h 715374"/>
                  <a:gd name="connsiteX241" fmla="*/ 550027 w 786911"/>
                  <a:gd name="connsiteY241" fmla="*/ 138210 h 715374"/>
                  <a:gd name="connsiteX242" fmla="*/ 582505 w 786911"/>
                  <a:gd name="connsiteY242" fmla="*/ 107735 h 715374"/>
                  <a:gd name="connsiteX243" fmla="*/ 576496 w 786911"/>
                  <a:gd name="connsiteY243" fmla="*/ 107735 h 715374"/>
                  <a:gd name="connsiteX244" fmla="*/ 576281 w 786911"/>
                  <a:gd name="connsiteY244" fmla="*/ 113673 h 715374"/>
                  <a:gd name="connsiteX245" fmla="*/ 582219 w 786911"/>
                  <a:gd name="connsiteY245" fmla="*/ 113888 h 715374"/>
                  <a:gd name="connsiteX246" fmla="*/ 582219 w 786911"/>
                  <a:gd name="connsiteY246" fmla="*/ 107878 h 715374"/>
                  <a:gd name="connsiteX247" fmla="*/ 614697 w 786911"/>
                  <a:gd name="connsiteY247" fmla="*/ 77404 h 715374"/>
                  <a:gd name="connsiteX248" fmla="*/ 609639 w 786911"/>
                  <a:gd name="connsiteY248" fmla="*/ 77311 h 715374"/>
                  <a:gd name="connsiteX249" fmla="*/ 609546 w 786911"/>
                  <a:gd name="connsiteY249" fmla="*/ 77404 h 715374"/>
                  <a:gd name="connsiteX250" fmla="*/ 609403 w 786911"/>
                  <a:gd name="connsiteY250" fmla="*/ 82554 h 715374"/>
                  <a:gd name="connsiteX251" fmla="*/ 614554 w 786911"/>
                  <a:gd name="connsiteY251" fmla="*/ 82697 h 715374"/>
                  <a:gd name="connsiteX252" fmla="*/ 614647 w 786911"/>
                  <a:gd name="connsiteY252" fmla="*/ 77640 h 715374"/>
                  <a:gd name="connsiteX253" fmla="*/ 614554 w 786911"/>
                  <a:gd name="connsiteY253" fmla="*/ 77547 h 715374"/>
                  <a:gd name="connsiteX254" fmla="*/ 647032 w 786911"/>
                  <a:gd name="connsiteY254" fmla="*/ 47072 h 715374"/>
                  <a:gd name="connsiteX255" fmla="*/ 642596 w 786911"/>
                  <a:gd name="connsiteY255" fmla="*/ 47072 h 715374"/>
                  <a:gd name="connsiteX256" fmla="*/ 642596 w 786911"/>
                  <a:gd name="connsiteY256" fmla="*/ 51507 h 715374"/>
                  <a:gd name="connsiteX257" fmla="*/ 647032 w 786911"/>
                  <a:gd name="connsiteY257" fmla="*/ 51507 h 715374"/>
                  <a:gd name="connsiteX258" fmla="*/ 647222 w 786911"/>
                  <a:gd name="connsiteY258" fmla="*/ 47262 h 715374"/>
                  <a:gd name="connsiteX259" fmla="*/ 647032 w 786911"/>
                  <a:gd name="connsiteY259" fmla="*/ 47072 h 715374"/>
                  <a:gd name="connsiteX260" fmla="*/ 679796 w 786911"/>
                  <a:gd name="connsiteY260" fmla="*/ 16883 h 715374"/>
                  <a:gd name="connsiteX261" fmla="*/ 676155 w 786911"/>
                  <a:gd name="connsiteY261" fmla="*/ 16819 h 715374"/>
                  <a:gd name="connsiteX262" fmla="*/ 676090 w 786911"/>
                  <a:gd name="connsiteY262" fmla="*/ 20460 h 715374"/>
                  <a:gd name="connsiteX263" fmla="*/ 679732 w 786911"/>
                  <a:gd name="connsiteY263" fmla="*/ 20524 h 715374"/>
                  <a:gd name="connsiteX264" fmla="*/ 679796 w 786911"/>
                  <a:gd name="connsiteY264" fmla="*/ 20460 h 715374"/>
                  <a:gd name="connsiteX265" fmla="*/ 679796 w 786911"/>
                  <a:gd name="connsiteY265" fmla="*/ 16883 h 715374"/>
                  <a:gd name="connsiteX266" fmla="*/ 373902 w 786911"/>
                  <a:gd name="connsiteY266" fmla="*/ 341663 h 715374"/>
                  <a:gd name="connsiteX267" fmla="*/ 362599 w 786911"/>
                  <a:gd name="connsiteY267" fmla="*/ 341663 h 715374"/>
                  <a:gd name="connsiteX268" fmla="*/ 362241 w 786911"/>
                  <a:gd name="connsiteY268" fmla="*/ 353037 h 715374"/>
                  <a:gd name="connsiteX269" fmla="*/ 373616 w 786911"/>
                  <a:gd name="connsiteY269" fmla="*/ 353395 h 715374"/>
                  <a:gd name="connsiteX270" fmla="*/ 373616 w 786911"/>
                  <a:gd name="connsiteY270" fmla="*/ 342092 h 715374"/>
                  <a:gd name="connsiteX271" fmla="*/ 407238 w 786911"/>
                  <a:gd name="connsiteY271" fmla="*/ 311188 h 715374"/>
                  <a:gd name="connsiteX272" fmla="*/ 396651 w 786911"/>
                  <a:gd name="connsiteY272" fmla="*/ 310759 h 715374"/>
                  <a:gd name="connsiteX273" fmla="*/ 396222 w 786911"/>
                  <a:gd name="connsiteY273" fmla="*/ 321346 h 715374"/>
                  <a:gd name="connsiteX274" fmla="*/ 406537 w 786911"/>
                  <a:gd name="connsiteY274" fmla="*/ 321618 h 715374"/>
                  <a:gd name="connsiteX275" fmla="*/ 406809 w 786911"/>
                  <a:gd name="connsiteY275" fmla="*/ 321346 h 715374"/>
                  <a:gd name="connsiteX276" fmla="*/ 406809 w 786911"/>
                  <a:gd name="connsiteY276" fmla="*/ 310759 h 715374"/>
                  <a:gd name="connsiteX277" fmla="*/ 439287 w 786911"/>
                  <a:gd name="connsiteY277" fmla="*/ 280284 h 715374"/>
                  <a:gd name="connsiteX278" fmla="*/ 429577 w 786911"/>
                  <a:gd name="connsiteY278" fmla="*/ 280122 h 715374"/>
                  <a:gd name="connsiteX279" fmla="*/ 429415 w 786911"/>
                  <a:gd name="connsiteY279" fmla="*/ 280284 h 715374"/>
                  <a:gd name="connsiteX280" fmla="*/ 429415 w 786911"/>
                  <a:gd name="connsiteY280" fmla="*/ 290013 h 715374"/>
                  <a:gd name="connsiteX281" fmla="*/ 439126 w 786911"/>
                  <a:gd name="connsiteY281" fmla="*/ 290174 h 715374"/>
                  <a:gd name="connsiteX282" fmla="*/ 439287 w 786911"/>
                  <a:gd name="connsiteY282" fmla="*/ 290013 h 715374"/>
                  <a:gd name="connsiteX283" fmla="*/ 439287 w 786911"/>
                  <a:gd name="connsiteY283" fmla="*/ 280284 h 715374"/>
                  <a:gd name="connsiteX284" fmla="*/ 471765 w 786911"/>
                  <a:gd name="connsiteY284" fmla="*/ 249809 h 715374"/>
                  <a:gd name="connsiteX285" fmla="*/ 462660 w 786911"/>
                  <a:gd name="connsiteY285" fmla="*/ 249717 h 715374"/>
                  <a:gd name="connsiteX286" fmla="*/ 462570 w 786911"/>
                  <a:gd name="connsiteY286" fmla="*/ 258822 h 715374"/>
                  <a:gd name="connsiteX287" fmla="*/ 471674 w 786911"/>
                  <a:gd name="connsiteY287" fmla="*/ 258914 h 715374"/>
                  <a:gd name="connsiteX288" fmla="*/ 471765 w 786911"/>
                  <a:gd name="connsiteY288" fmla="*/ 258822 h 715374"/>
                  <a:gd name="connsiteX289" fmla="*/ 471877 w 786911"/>
                  <a:gd name="connsiteY289" fmla="*/ 249920 h 715374"/>
                  <a:gd name="connsiteX290" fmla="*/ 471765 w 786911"/>
                  <a:gd name="connsiteY290" fmla="*/ 249809 h 715374"/>
                  <a:gd name="connsiteX291" fmla="*/ 504386 w 786911"/>
                  <a:gd name="connsiteY291" fmla="*/ 219334 h 715374"/>
                  <a:gd name="connsiteX292" fmla="*/ 496088 w 786911"/>
                  <a:gd name="connsiteY292" fmla="*/ 219048 h 715374"/>
                  <a:gd name="connsiteX293" fmla="*/ 495802 w 786911"/>
                  <a:gd name="connsiteY293" fmla="*/ 227346 h 715374"/>
                  <a:gd name="connsiteX294" fmla="*/ 504100 w 786911"/>
                  <a:gd name="connsiteY294" fmla="*/ 227632 h 715374"/>
                  <a:gd name="connsiteX295" fmla="*/ 504386 w 786911"/>
                  <a:gd name="connsiteY295" fmla="*/ 219334 h 715374"/>
                  <a:gd name="connsiteX296" fmla="*/ 536006 w 786911"/>
                  <a:gd name="connsiteY296" fmla="*/ 189288 h 715374"/>
                  <a:gd name="connsiteX297" fmla="*/ 528520 w 786911"/>
                  <a:gd name="connsiteY297" fmla="*/ 189241 h 715374"/>
                  <a:gd name="connsiteX298" fmla="*/ 528473 w 786911"/>
                  <a:gd name="connsiteY298" fmla="*/ 196728 h 715374"/>
                  <a:gd name="connsiteX299" fmla="*/ 535959 w 786911"/>
                  <a:gd name="connsiteY299" fmla="*/ 196774 h 715374"/>
                  <a:gd name="connsiteX300" fmla="*/ 536006 w 786911"/>
                  <a:gd name="connsiteY300" fmla="*/ 196728 h 715374"/>
                  <a:gd name="connsiteX301" fmla="*/ 536006 w 786911"/>
                  <a:gd name="connsiteY301" fmla="*/ 189288 h 715374"/>
                  <a:gd name="connsiteX302" fmla="*/ 568484 w 786911"/>
                  <a:gd name="connsiteY302" fmla="*/ 158813 h 715374"/>
                  <a:gd name="connsiteX303" fmla="*/ 561806 w 786911"/>
                  <a:gd name="connsiteY303" fmla="*/ 158860 h 715374"/>
                  <a:gd name="connsiteX304" fmla="*/ 561854 w 786911"/>
                  <a:gd name="connsiteY304" fmla="*/ 165538 h 715374"/>
                  <a:gd name="connsiteX305" fmla="*/ 568484 w 786911"/>
                  <a:gd name="connsiteY305" fmla="*/ 165538 h 715374"/>
                  <a:gd name="connsiteX306" fmla="*/ 568531 w 786911"/>
                  <a:gd name="connsiteY306" fmla="*/ 158860 h 715374"/>
                  <a:gd name="connsiteX307" fmla="*/ 568484 w 786911"/>
                  <a:gd name="connsiteY307" fmla="*/ 158813 h 715374"/>
                  <a:gd name="connsiteX308" fmla="*/ 600962 w 786911"/>
                  <a:gd name="connsiteY308" fmla="*/ 128338 h 715374"/>
                  <a:gd name="connsiteX309" fmla="*/ 595096 w 786911"/>
                  <a:gd name="connsiteY309" fmla="*/ 128338 h 715374"/>
                  <a:gd name="connsiteX310" fmla="*/ 595096 w 786911"/>
                  <a:gd name="connsiteY310" fmla="*/ 134347 h 715374"/>
                  <a:gd name="connsiteX311" fmla="*/ 600962 w 786911"/>
                  <a:gd name="connsiteY311" fmla="*/ 134490 h 715374"/>
                  <a:gd name="connsiteX312" fmla="*/ 601105 w 786911"/>
                  <a:gd name="connsiteY312" fmla="*/ 134347 h 715374"/>
                  <a:gd name="connsiteX313" fmla="*/ 601309 w 786911"/>
                  <a:gd name="connsiteY313" fmla="*/ 128686 h 715374"/>
                  <a:gd name="connsiteX314" fmla="*/ 601105 w 786911"/>
                  <a:gd name="connsiteY314" fmla="*/ 128481 h 715374"/>
                  <a:gd name="connsiteX315" fmla="*/ 633726 w 786911"/>
                  <a:gd name="connsiteY315" fmla="*/ 98006 h 715374"/>
                  <a:gd name="connsiteX316" fmla="*/ 628466 w 786911"/>
                  <a:gd name="connsiteY316" fmla="*/ 97898 h 715374"/>
                  <a:gd name="connsiteX317" fmla="*/ 628358 w 786911"/>
                  <a:gd name="connsiteY317" fmla="*/ 103157 h 715374"/>
                  <a:gd name="connsiteX318" fmla="*/ 633617 w 786911"/>
                  <a:gd name="connsiteY318" fmla="*/ 103266 h 715374"/>
                  <a:gd name="connsiteX319" fmla="*/ 633726 w 786911"/>
                  <a:gd name="connsiteY319" fmla="*/ 103157 h 715374"/>
                  <a:gd name="connsiteX320" fmla="*/ 633726 w 786911"/>
                  <a:gd name="connsiteY320" fmla="*/ 98006 h 715374"/>
                  <a:gd name="connsiteX321" fmla="*/ 666204 w 786911"/>
                  <a:gd name="connsiteY321" fmla="*/ 67531 h 715374"/>
                  <a:gd name="connsiteX322" fmla="*/ 661959 w 786911"/>
                  <a:gd name="connsiteY322" fmla="*/ 67341 h 715374"/>
                  <a:gd name="connsiteX323" fmla="*/ 661769 w 786911"/>
                  <a:gd name="connsiteY323" fmla="*/ 67531 h 715374"/>
                  <a:gd name="connsiteX324" fmla="*/ 661769 w 786911"/>
                  <a:gd name="connsiteY324" fmla="*/ 71967 h 715374"/>
                  <a:gd name="connsiteX325" fmla="*/ 666204 w 786911"/>
                  <a:gd name="connsiteY325" fmla="*/ 71967 h 715374"/>
                  <a:gd name="connsiteX326" fmla="*/ 666204 w 786911"/>
                  <a:gd name="connsiteY326" fmla="*/ 67531 h 715374"/>
                  <a:gd name="connsiteX327" fmla="*/ 699111 w 786911"/>
                  <a:gd name="connsiteY327" fmla="*/ 36913 h 715374"/>
                  <a:gd name="connsiteX328" fmla="*/ 695470 w 786911"/>
                  <a:gd name="connsiteY328" fmla="*/ 36849 h 715374"/>
                  <a:gd name="connsiteX329" fmla="*/ 695405 w 786911"/>
                  <a:gd name="connsiteY329" fmla="*/ 40490 h 715374"/>
                  <a:gd name="connsiteX330" fmla="*/ 699047 w 786911"/>
                  <a:gd name="connsiteY330" fmla="*/ 40555 h 715374"/>
                  <a:gd name="connsiteX331" fmla="*/ 699111 w 786911"/>
                  <a:gd name="connsiteY331" fmla="*/ 40490 h 715374"/>
                  <a:gd name="connsiteX332" fmla="*/ 699251 w 786911"/>
                  <a:gd name="connsiteY332" fmla="*/ 37054 h 715374"/>
                  <a:gd name="connsiteX333" fmla="*/ 699111 w 786911"/>
                  <a:gd name="connsiteY333" fmla="*/ 36913 h 715374"/>
                  <a:gd name="connsiteX334" fmla="*/ 392931 w 786911"/>
                  <a:gd name="connsiteY334" fmla="*/ 362409 h 715374"/>
                  <a:gd name="connsiteX335" fmla="*/ 381599 w 786911"/>
                  <a:gd name="connsiteY335" fmla="*/ 362380 h 715374"/>
                  <a:gd name="connsiteX336" fmla="*/ 381572 w 786911"/>
                  <a:gd name="connsiteY336" fmla="*/ 373711 h 715374"/>
                  <a:gd name="connsiteX337" fmla="*/ 392902 w 786911"/>
                  <a:gd name="connsiteY337" fmla="*/ 373740 h 715374"/>
                  <a:gd name="connsiteX338" fmla="*/ 392931 w 786911"/>
                  <a:gd name="connsiteY338" fmla="*/ 373711 h 715374"/>
                  <a:gd name="connsiteX339" fmla="*/ 392931 w 786911"/>
                  <a:gd name="connsiteY339" fmla="*/ 362409 h 715374"/>
                  <a:gd name="connsiteX340" fmla="*/ 425838 w 786911"/>
                  <a:gd name="connsiteY340" fmla="*/ 331647 h 715374"/>
                  <a:gd name="connsiteX341" fmla="*/ 415322 w 786911"/>
                  <a:gd name="connsiteY341" fmla="*/ 331290 h 715374"/>
                  <a:gd name="connsiteX342" fmla="*/ 414965 w 786911"/>
                  <a:gd name="connsiteY342" fmla="*/ 341806 h 715374"/>
                  <a:gd name="connsiteX343" fmla="*/ 425552 w 786911"/>
                  <a:gd name="connsiteY343" fmla="*/ 341806 h 715374"/>
                  <a:gd name="connsiteX344" fmla="*/ 425618 w 786911"/>
                  <a:gd name="connsiteY344" fmla="*/ 331284 h 715374"/>
                  <a:gd name="connsiteX345" fmla="*/ 425552 w 786911"/>
                  <a:gd name="connsiteY345" fmla="*/ 331218 h 715374"/>
                  <a:gd name="connsiteX346" fmla="*/ 458173 w 786911"/>
                  <a:gd name="connsiteY346" fmla="*/ 300743 h 715374"/>
                  <a:gd name="connsiteX347" fmla="*/ 448461 w 786911"/>
                  <a:gd name="connsiteY347" fmla="*/ 300761 h 715374"/>
                  <a:gd name="connsiteX348" fmla="*/ 448478 w 786911"/>
                  <a:gd name="connsiteY348" fmla="*/ 310472 h 715374"/>
                  <a:gd name="connsiteX349" fmla="*/ 458173 w 786911"/>
                  <a:gd name="connsiteY349" fmla="*/ 310472 h 715374"/>
                  <a:gd name="connsiteX350" fmla="*/ 458190 w 786911"/>
                  <a:gd name="connsiteY350" fmla="*/ 300761 h 715374"/>
                  <a:gd name="connsiteX351" fmla="*/ 458173 w 786911"/>
                  <a:gd name="connsiteY351" fmla="*/ 300743 h 715374"/>
                  <a:gd name="connsiteX352" fmla="*/ 490651 w 786911"/>
                  <a:gd name="connsiteY352" fmla="*/ 270268 h 715374"/>
                  <a:gd name="connsiteX353" fmla="*/ 481677 w 786911"/>
                  <a:gd name="connsiteY353" fmla="*/ 268727 h 715374"/>
                  <a:gd name="connsiteX354" fmla="*/ 480137 w 786911"/>
                  <a:gd name="connsiteY354" fmla="*/ 277701 h 715374"/>
                  <a:gd name="connsiteX355" fmla="*/ 481351 w 786911"/>
                  <a:gd name="connsiteY355" fmla="*/ 278996 h 715374"/>
                  <a:gd name="connsiteX356" fmla="*/ 490405 w 786911"/>
                  <a:gd name="connsiteY356" fmla="*/ 278027 h 715374"/>
                  <a:gd name="connsiteX357" fmla="*/ 490651 w 786911"/>
                  <a:gd name="connsiteY357" fmla="*/ 270268 h 715374"/>
                  <a:gd name="connsiteX358" fmla="*/ 523129 w 786911"/>
                  <a:gd name="connsiteY358" fmla="*/ 239650 h 715374"/>
                  <a:gd name="connsiteX359" fmla="*/ 514831 w 786911"/>
                  <a:gd name="connsiteY359" fmla="*/ 239364 h 715374"/>
                  <a:gd name="connsiteX360" fmla="*/ 514545 w 786911"/>
                  <a:gd name="connsiteY360" fmla="*/ 247663 h 715374"/>
                  <a:gd name="connsiteX361" fmla="*/ 522843 w 786911"/>
                  <a:gd name="connsiteY361" fmla="*/ 247949 h 715374"/>
                  <a:gd name="connsiteX362" fmla="*/ 523129 w 786911"/>
                  <a:gd name="connsiteY362" fmla="*/ 239650 h 715374"/>
                  <a:gd name="connsiteX363" fmla="*/ 555607 w 786911"/>
                  <a:gd name="connsiteY363" fmla="*/ 209175 h 715374"/>
                  <a:gd name="connsiteX364" fmla="*/ 548096 w 786911"/>
                  <a:gd name="connsiteY364" fmla="*/ 208961 h 715374"/>
                  <a:gd name="connsiteX365" fmla="*/ 547881 w 786911"/>
                  <a:gd name="connsiteY365" fmla="*/ 216472 h 715374"/>
                  <a:gd name="connsiteX366" fmla="*/ 555392 w 786911"/>
                  <a:gd name="connsiteY366" fmla="*/ 216687 h 715374"/>
                  <a:gd name="connsiteX367" fmla="*/ 555607 w 786911"/>
                  <a:gd name="connsiteY367" fmla="*/ 209175 h 715374"/>
                  <a:gd name="connsiteX368" fmla="*/ 588228 w 786911"/>
                  <a:gd name="connsiteY368" fmla="*/ 178701 h 715374"/>
                  <a:gd name="connsiteX369" fmla="*/ 581350 w 786911"/>
                  <a:gd name="connsiteY369" fmla="*/ 178547 h 715374"/>
                  <a:gd name="connsiteX370" fmla="*/ 581197 w 786911"/>
                  <a:gd name="connsiteY370" fmla="*/ 185425 h 715374"/>
                  <a:gd name="connsiteX371" fmla="*/ 588075 w 786911"/>
                  <a:gd name="connsiteY371" fmla="*/ 185578 h 715374"/>
                  <a:gd name="connsiteX372" fmla="*/ 588228 w 786911"/>
                  <a:gd name="connsiteY372" fmla="*/ 185425 h 715374"/>
                  <a:gd name="connsiteX373" fmla="*/ 588275 w 786911"/>
                  <a:gd name="connsiteY373" fmla="*/ 178748 h 715374"/>
                  <a:gd name="connsiteX374" fmla="*/ 588228 w 786911"/>
                  <a:gd name="connsiteY374" fmla="*/ 178701 h 715374"/>
                  <a:gd name="connsiteX375" fmla="*/ 620706 w 786911"/>
                  <a:gd name="connsiteY375" fmla="*/ 148226 h 715374"/>
                  <a:gd name="connsiteX376" fmla="*/ 614637 w 786911"/>
                  <a:gd name="connsiteY376" fmla="*/ 148165 h 715374"/>
                  <a:gd name="connsiteX377" fmla="*/ 614575 w 786911"/>
                  <a:gd name="connsiteY377" fmla="*/ 154235 h 715374"/>
                  <a:gd name="connsiteX378" fmla="*/ 620646 w 786911"/>
                  <a:gd name="connsiteY378" fmla="*/ 154295 h 715374"/>
                  <a:gd name="connsiteX379" fmla="*/ 620706 w 786911"/>
                  <a:gd name="connsiteY379" fmla="*/ 154235 h 715374"/>
                  <a:gd name="connsiteX380" fmla="*/ 620706 w 786911"/>
                  <a:gd name="connsiteY380" fmla="*/ 148226 h 715374"/>
                  <a:gd name="connsiteX381" fmla="*/ 653184 w 786911"/>
                  <a:gd name="connsiteY381" fmla="*/ 117751 h 715374"/>
                  <a:gd name="connsiteX382" fmla="*/ 648132 w 786911"/>
                  <a:gd name="connsiteY382" fmla="*/ 117991 h 715374"/>
                  <a:gd name="connsiteX383" fmla="*/ 648372 w 786911"/>
                  <a:gd name="connsiteY383" fmla="*/ 123044 h 715374"/>
                  <a:gd name="connsiteX384" fmla="*/ 653184 w 786911"/>
                  <a:gd name="connsiteY384" fmla="*/ 123044 h 715374"/>
                  <a:gd name="connsiteX385" fmla="*/ 653184 w 786911"/>
                  <a:gd name="connsiteY385" fmla="*/ 117751 h 715374"/>
                  <a:gd name="connsiteX386" fmla="*/ 686091 w 786911"/>
                  <a:gd name="connsiteY386" fmla="*/ 88420 h 715374"/>
                  <a:gd name="connsiteX387" fmla="*/ 681656 w 786911"/>
                  <a:gd name="connsiteY387" fmla="*/ 88420 h 715374"/>
                  <a:gd name="connsiteX388" fmla="*/ 681466 w 786911"/>
                  <a:gd name="connsiteY388" fmla="*/ 92665 h 715374"/>
                  <a:gd name="connsiteX389" fmla="*/ 681656 w 786911"/>
                  <a:gd name="connsiteY389" fmla="*/ 92856 h 715374"/>
                  <a:gd name="connsiteX390" fmla="*/ 686091 w 786911"/>
                  <a:gd name="connsiteY390" fmla="*/ 92856 h 715374"/>
                  <a:gd name="connsiteX391" fmla="*/ 686091 w 786911"/>
                  <a:gd name="connsiteY391" fmla="*/ 88420 h 715374"/>
                  <a:gd name="connsiteX392" fmla="*/ 718569 w 786911"/>
                  <a:gd name="connsiteY392" fmla="*/ 57945 h 715374"/>
                  <a:gd name="connsiteX393" fmla="*/ 714849 w 786911"/>
                  <a:gd name="connsiteY393" fmla="*/ 57945 h 715374"/>
                  <a:gd name="connsiteX394" fmla="*/ 714849 w 786911"/>
                  <a:gd name="connsiteY394" fmla="*/ 61665 h 715374"/>
                  <a:gd name="connsiteX395" fmla="*/ 718569 w 786911"/>
                  <a:gd name="connsiteY395" fmla="*/ 61808 h 715374"/>
                  <a:gd name="connsiteX396" fmla="*/ 718712 w 786911"/>
                  <a:gd name="connsiteY396" fmla="*/ 58088 h 715374"/>
                  <a:gd name="connsiteX397" fmla="*/ 367750 w 786911"/>
                  <a:gd name="connsiteY397" fmla="*/ 425218 h 715374"/>
                  <a:gd name="connsiteX398" fmla="*/ 379081 w 786911"/>
                  <a:gd name="connsiteY398" fmla="*/ 425247 h 715374"/>
                  <a:gd name="connsiteX399" fmla="*/ 379109 w 786911"/>
                  <a:gd name="connsiteY399" fmla="*/ 413915 h 715374"/>
                  <a:gd name="connsiteX400" fmla="*/ 367778 w 786911"/>
                  <a:gd name="connsiteY400" fmla="*/ 413887 h 715374"/>
                  <a:gd name="connsiteX401" fmla="*/ 367750 w 786911"/>
                  <a:gd name="connsiteY401" fmla="*/ 413915 h 715374"/>
                  <a:gd name="connsiteX402" fmla="*/ 367750 w 786911"/>
                  <a:gd name="connsiteY402" fmla="*/ 425218 h 715374"/>
                  <a:gd name="connsiteX403" fmla="*/ 335701 w 786911"/>
                  <a:gd name="connsiteY403" fmla="*/ 455693 h 715374"/>
                  <a:gd name="connsiteX404" fmla="*/ 346217 w 786911"/>
                  <a:gd name="connsiteY404" fmla="*/ 456051 h 715374"/>
                  <a:gd name="connsiteX405" fmla="*/ 346575 w 786911"/>
                  <a:gd name="connsiteY405" fmla="*/ 445535 h 715374"/>
                  <a:gd name="connsiteX406" fmla="*/ 335987 w 786911"/>
                  <a:gd name="connsiteY406" fmla="*/ 445535 h 715374"/>
                  <a:gd name="connsiteX407" fmla="*/ 335921 w 786911"/>
                  <a:gd name="connsiteY407" fmla="*/ 456057 h 715374"/>
                  <a:gd name="connsiteX408" fmla="*/ 335987 w 786911"/>
                  <a:gd name="connsiteY408" fmla="*/ 456123 h 715374"/>
                  <a:gd name="connsiteX409" fmla="*/ 302651 w 786911"/>
                  <a:gd name="connsiteY409" fmla="*/ 486168 h 715374"/>
                  <a:gd name="connsiteX410" fmla="*/ 312523 w 786911"/>
                  <a:gd name="connsiteY410" fmla="*/ 486168 h 715374"/>
                  <a:gd name="connsiteX411" fmla="*/ 312523 w 786911"/>
                  <a:gd name="connsiteY411" fmla="*/ 476296 h 715374"/>
                  <a:gd name="connsiteX412" fmla="*/ 302794 w 786911"/>
                  <a:gd name="connsiteY412" fmla="*/ 476296 h 715374"/>
                  <a:gd name="connsiteX413" fmla="*/ 302777 w 786911"/>
                  <a:gd name="connsiteY413" fmla="*/ 486008 h 715374"/>
                  <a:gd name="connsiteX414" fmla="*/ 302794 w 786911"/>
                  <a:gd name="connsiteY414" fmla="*/ 486025 h 715374"/>
                  <a:gd name="connsiteX415" fmla="*/ 270316 w 786911"/>
                  <a:gd name="connsiteY415" fmla="*/ 516500 h 715374"/>
                  <a:gd name="connsiteX416" fmla="*/ 279290 w 786911"/>
                  <a:gd name="connsiteY416" fmla="*/ 518041 h 715374"/>
                  <a:gd name="connsiteX417" fmla="*/ 280830 w 786911"/>
                  <a:gd name="connsiteY417" fmla="*/ 509067 h 715374"/>
                  <a:gd name="connsiteX418" fmla="*/ 279616 w 786911"/>
                  <a:gd name="connsiteY418" fmla="*/ 507773 h 715374"/>
                  <a:gd name="connsiteX419" fmla="*/ 270642 w 786911"/>
                  <a:gd name="connsiteY419" fmla="*/ 506232 h 715374"/>
                  <a:gd name="connsiteX420" fmla="*/ 269101 w 786911"/>
                  <a:gd name="connsiteY420" fmla="*/ 515205 h 715374"/>
                  <a:gd name="connsiteX421" fmla="*/ 270316 w 786911"/>
                  <a:gd name="connsiteY421" fmla="*/ 516500 h 715374"/>
                  <a:gd name="connsiteX422" fmla="*/ 237838 w 786911"/>
                  <a:gd name="connsiteY422" fmla="*/ 547118 h 715374"/>
                  <a:gd name="connsiteX423" fmla="*/ 246136 w 786911"/>
                  <a:gd name="connsiteY423" fmla="*/ 547404 h 715374"/>
                  <a:gd name="connsiteX424" fmla="*/ 246422 w 786911"/>
                  <a:gd name="connsiteY424" fmla="*/ 539106 h 715374"/>
                  <a:gd name="connsiteX425" fmla="*/ 238124 w 786911"/>
                  <a:gd name="connsiteY425" fmla="*/ 538820 h 715374"/>
                  <a:gd name="connsiteX426" fmla="*/ 237838 w 786911"/>
                  <a:gd name="connsiteY426" fmla="*/ 547118 h 715374"/>
                  <a:gd name="connsiteX427" fmla="*/ 205217 w 786911"/>
                  <a:gd name="connsiteY427" fmla="*/ 577736 h 715374"/>
                  <a:gd name="connsiteX428" fmla="*/ 212728 w 786911"/>
                  <a:gd name="connsiteY428" fmla="*/ 577951 h 715374"/>
                  <a:gd name="connsiteX429" fmla="*/ 212943 w 786911"/>
                  <a:gd name="connsiteY429" fmla="*/ 570439 h 715374"/>
                  <a:gd name="connsiteX430" fmla="*/ 205431 w 786911"/>
                  <a:gd name="connsiteY430" fmla="*/ 570225 h 715374"/>
                  <a:gd name="connsiteX431" fmla="*/ 205217 w 786911"/>
                  <a:gd name="connsiteY431" fmla="*/ 577736 h 715374"/>
                  <a:gd name="connsiteX432" fmla="*/ 172596 w 786911"/>
                  <a:gd name="connsiteY432" fmla="*/ 608211 h 715374"/>
                  <a:gd name="connsiteX433" fmla="*/ 179473 w 786911"/>
                  <a:gd name="connsiteY433" fmla="*/ 608364 h 715374"/>
                  <a:gd name="connsiteX434" fmla="*/ 179626 w 786911"/>
                  <a:gd name="connsiteY434" fmla="*/ 601487 h 715374"/>
                  <a:gd name="connsiteX435" fmla="*/ 172749 w 786911"/>
                  <a:gd name="connsiteY435" fmla="*/ 601333 h 715374"/>
                  <a:gd name="connsiteX436" fmla="*/ 172596 w 786911"/>
                  <a:gd name="connsiteY436" fmla="*/ 601487 h 715374"/>
                  <a:gd name="connsiteX437" fmla="*/ 172549 w 786911"/>
                  <a:gd name="connsiteY437" fmla="*/ 608164 h 715374"/>
                  <a:gd name="connsiteX438" fmla="*/ 172596 w 786911"/>
                  <a:gd name="connsiteY438" fmla="*/ 608211 h 715374"/>
                  <a:gd name="connsiteX439" fmla="*/ 140118 w 786911"/>
                  <a:gd name="connsiteY439" fmla="*/ 638686 h 715374"/>
                  <a:gd name="connsiteX440" fmla="*/ 146187 w 786911"/>
                  <a:gd name="connsiteY440" fmla="*/ 638746 h 715374"/>
                  <a:gd name="connsiteX441" fmla="*/ 146249 w 786911"/>
                  <a:gd name="connsiteY441" fmla="*/ 632677 h 715374"/>
                  <a:gd name="connsiteX442" fmla="*/ 140178 w 786911"/>
                  <a:gd name="connsiteY442" fmla="*/ 632617 h 715374"/>
                  <a:gd name="connsiteX443" fmla="*/ 140118 w 786911"/>
                  <a:gd name="connsiteY443" fmla="*/ 632677 h 715374"/>
                  <a:gd name="connsiteX444" fmla="*/ 140118 w 786911"/>
                  <a:gd name="connsiteY444" fmla="*/ 638686 h 715374"/>
                  <a:gd name="connsiteX445" fmla="*/ 107640 w 786911"/>
                  <a:gd name="connsiteY445" fmla="*/ 669161 h 715374"/>
                  <a:gd name="connsiteX446" fmla="*/ 112693 w 786911"/>
                  <a:gd name="connsiteY446" fmla="*/ 668921 h 715374"/>
                  <a:gd name="connsiteX447" fmla="*/ 112451 w 786911"/>
                  <a:gd name="connsiteY447" fmla="*/ 663867 h 715374"/>
                  <a:gd name="connsiteX448" fmla="*/ 107640 w 786911"/>
                  <a:gd name="connsiteY448" fmla="*/ 663867 h 715374"/>
                  <a:gd name="connsiteX449" fmla="*/ 107640 w 786911"/>
                  <a:gd name="connsiteY449" fmla="*/ 669161 h 715374"/>
                  <a:gd name="connsiteX450" fmla="*/ 387208 w 786911"/>
                  <a:gd name="connsiteY450" fmla="*/ 446107 h 715374"/>
                  <a:gd name="connsiteX451" fmla="*/ 398511 w 786911"/>
                  <a:gd name="connsiteY451" fmla="*/ 446107 h 715374"/>
                  <a:gd name="connsiteX452" fmla="*/ 398511 w 786911"/>
                  <a:gd name="connsiteY452" fmla="*/ 434661 h 715374"/>
                  <a:gd name="connsiteX453" fmla="*/ 387208 w 786911"/>
                  <a:gd name="connsiteY453" fmla="*/ 434661 h 715374"/>
                  <a:gd name="connsiteX454" fmla="*/ 387032 w 786911"/>
                  <a:gd name="connsiteY454" fmla="*/ 445788 h 715374"/>
                  <a:gd name="connsiteX455" fmla="*/ 387208 w 786911"/>
                  <a:gd name="connsiteY455" fmla="*/ 445964 h 715374"/>
                  <a:gd name="connsiteX456" fmla="*/ 354587 w 786911"/>
                  <a:gd name="connsiteY456" fmla="*/ 476439 h 715374"/>
                  <a:gd name="connsiteX457" fmla="*/ 365109 w 786911"/>
                  <a:gd name="connsiteY457" fmla="*/ 476505 h 715374"/>
                  <a:gd name="connsiteX458" fmla="*/ 365174 w 786911"/>
                  <a:gd name="connsiteY458" fmla="*/ 476439 h 715374"/>
                  <a:gd name="connsiteX459" fmla="*/ 365174 w 786911"/>
                  <a:gd name="connsiteY459" fmla="*/ 465852 h 715374"/>
                  <a:gd name="connsiteX460" fmla="*/ 354478 w 786911"/>
                  <a:gd name="connsiteY460" fmla="*/ 466616 h 715374"/>
                  <a:gd name="connsiteX461" fmla="*/ 354158 w 786911"/>
                  <a:gd name="connsiteY461" fmla="*/ 476153 h 715374"/>
                  <a:gd name="connsiteX462" fmla="*/ 321680 w 786911"/>
                  <a:gd name="connsiteY462" fmla="*/ 506628 h 715374"/>
                  <a:gd name="connsiteX463" fmla="*/ 331390 w 786911"/>
                  <a:gd name="connsiteY463" fmla="*/ 506790 h 715374"/>
                  <a:gd name="connsiteX464" fmla="*/ 331552 w 786911"/>
                  <a:gd name="connsiteY464" fmla="*/ 506628 h 715374"/>
                  <a:gd name="connsiteX465" fmla="*/ 330968 w 786911"/>
                  <a:gd name="connsiteY465" fmla="*/ 496730 h 715374"/>
                  <a:gd name="connsiteX466" fmla="*/ 321966 w 786911"/>
                  <a:gd name="connsiteY466" fmla="*/ 496470 h 715374"/>
                  <a:gd name="connsiteX467" fmla="*/ 321966 w 786911"/>
                  <a:gd name="connsiteY467" fmla="*/ 506342 h 715374"/>
                  <a:gd name="connsiteX468" fmla="*/ 289488 w 786911"/>
                  <a:gd name="connsiteY468" fmla="*/ 536817 h 715374"/>
                  <a:gd name="connsiteX469" fmla="*/ 298593 w 786911"/>
                  <a:gd name="connsiteY469" fmla="*/ 536908 h 715374"/>
                  <a:gd name="connsiteX470" fmla="*/ 298683 w 786911"/>
                  <a:gd name="connsiteY470" fmla="*/ 527803 h 715374"/>
                  <a:gd name="connsiteX471" fmla="*/ 289579 w 786911"/>
                  <a:gd name="connsiteY471" fmla="*/ 527711 h 715374"/>
                  <a:gd name="connsiteX472" fmla="*/ 289488 w 786911"/>
                  <a:gd name="connsiteY472" fmla="*/ 527803 h 715374"/>
                  <a:gd name="connsiteX473" fmla="*/ 289376 w 786911"/>
                  <a:gd name="connsiteY473" fmla="*/ 536705 h 715374"/>
                  <a:gd name="connsiteX474" fmla="*/ 289488 w 786911"/>
                  <a:gd name="connsiteY474" fmla="*/ 536817 h 715374"/>
                  <a:gd name="connsiteX475" fmla="*/ 257010 w 786911"/>
                  <a:gd name="connsiteY475" fmla="*/ 567864 h 715374"/>
                  <a:gd name="connsiteX476" fmla="*/ 265305 w 786911"/>
                  <a:gd name="connsiteY476" fmla="*/ 567867 h 715374"/>
                  <a:gd name="connsiteX477" fmla="*/ 265308 w 786911"/>
                  <a:gd name="connsiteY477" fmla="*/ 567864 h 715374"/>
                  <a:gd name="connsiteX478" fmla="*/ 265516 w 786911"/>
                  <a:gd name="connsiteY478" fmla="*/ 559773 h 715374"/>
                  <a:gd name="connsiteX479" fmla="*/ 265308 w 786911"/>
                  <a:gd name="connsiteY479" fmla="*/ 559566 h 715374"/>
                  <a:gd name="connsiteX480" fmla="*/ 257010 w 786911"/>
                  <a:gd name="connsiteY480" fmla="*/ 559279 h 715374"/>
                  <a:gd name="connsiteX481" fmla="*/ 256724 w 786911"/>
                  <a:gd name="connsiteY481" fmla="*/ 567578 h 715374"/>
                  <a:gd name="connsiteX482" fmla="*/ 224246 w 786911"/>
                  <a:gd name="connsiteY482" fmla="*/ 598053 h 715374"/>
                  <a:gd name="connsiteX483" fmla="*/ 231731 w 786911"/>
                  <a:gd name="connsiteY483" fmla="*/ 598100 h 715374"/>
                  <a:gd name="connsiteX484" fmla="*/ 231779 w 786911"/>
                  <a:gd name="connsiteY484" fmla="*/ 590613 h 715374"/>
                  <a:gd name="connsiteX485" fmla="*/ 224292 w 786911"/>
                  <a:gd name="connsiteY485" fmla="*/ 590567 h 715374"/>
                  <a:gd name="connsiteX486" fmla="*/ 224246 w 786911"/>
                  <a:gd name="connsiteY486" fmla="*/ 590613 h 715374"/>
                  <a:gd name="connsiteX487" fmla="*/ 224246 w 786911"/>
                  <a:gd name="connsiteY487" fmla="*/ 598053 h 715374"/>
                  <a:gd name="connsiteX488" fmla="*/ 192626 w 786911"/>
                  <a:gd name="connsiteY488" fmla="*/ 628814 h 715374"/>
                  <a:gd name="connsiteX489" fmla="*/ 199304 w 786911"/>
                  <a:gd name="connsiteY489" fmla="*/ 628767 h 715374"/>
                  <a:gd name="connsiteX490" fmla="*/ 199256 w 786911"/>
                  <a:gd name="connsiteY490" fmla="*/ 622089 h 715374"/>
                  <a:gd name="connsiteX491" fmla="*/ 192626 w 786911"/>
                  <a:gd name="connsiteY491" fmla="*/ 622089 h 715374"/>
                  <a:gd name="connsiteX492" fmla="*/ 192579 w 786911"/>
                  <a:gd name="connsiteY492" fmla="*/ 628767 h 715374"/>
                  <a:gd name="connsiteX493" fmla="*/ 192626 w 786911"/>
                  <a:gd name="connsiteY493" fmla="*/ 628814 h 715374"/>
                  <a:gd name="connsiteX494" fmla="*/ 159576 w 786911"/>
                  <a:gd name="connsiteY494" fmla="*/ 659289 h 715374"/>
                  <a:gd name="connsiteX495" fmla="*/ 165442 w 786911"/>
                  <a:gd name="connsiteY495" fmla="*/ 659289 h 715374"/>
                  <a:gd name="connsiteX496" fmla="*/ 165442 w 786911"/>
                  <a:gd name="connsiteY496" fmla="*/ 653280 h 715374"/>
                  <a:gd name="connsiteX497" fmla="*/ 159576 w 786911"/>
                  <a:gd name="connsiteY497" fmla="*/ 653137 h 715374"/>
                  <a:gd name="connsiteX498" fmla="*/ 159433 w 786911"/>
                  <a:gd name="connsiteY498" fmla="*/ 653280 h 715374"/>
                  <a:gd name="connsiteX499" fmla="*/ 159228 w 786911"/>
                  <a:gd name="connsiteY499" fmla="*/ 658941 h 715374"/>
                  <a:gd name="connsiteX500" fmla="*/ 159433 w 786911"/>
                  <a:gd name="connsiteY500" fmla="*/ 659146 h 715374"/>
                  <a:gd name="connsiteX501" fmla="*/ 126955 w 786911"/>
                  <a:gd name="connsiteY501" fmla="*/ 689334 h 715374"/>
                  <a:gd name="connsiteX502" fmla="*/ 132214 w 786911"/>
                  <a:gd name="connsiteY502" fmla="*/ 689443 h 715374"/>
                  <a:gd name="connsiteX503" fmla="*/ 132323 w 786911"/>
                  <a:gd name="connsiteY503" fmla="*/ 684184 h 715374"/>
                  <a:gd name="connsiteX504" fmla="*/ 127064 w 786911"/>
                  <a:gd name="connsiteY504" fmla="*/ 684075 h 715374"/>
                  <a:gd name="connsiteX505" fmla="*/ 126955 w 786911"/>
                  <a:gd name="connsiteY505" fmla="*/ 684184 h 715374"/>
                  <a:gd name="connsiteX506" fmla="*/ 126955 w 786911"/>
                  <a:gd name="connsiteY506" fmla="*/ 689334 h 715374"/>
                  <a:gd name="connsiteX507" fmla="*/ 407238 w 786911"/>
                  <a:gd name="connsiteY507" fmla="*/ 466710 h 715374"/>
                  <a:gd name="connsiteX508" fmla="*/ 418541 w 786911"/>
                  <a:gd name="connsiteY508" fmla="*/ 466710 h 715374"/>
                  <a:gd name="connsiteX509" fmla="*/ 418300 w 786911"/>
                  <a:gd name="connsiteY509" fmla="*/ 455381 h 715374"/>
                  <a:gd name="connsiteX510" fmla="*/ 407668 w 786911"/>
                  <a:gd name="connsiteY510" fmla="*/ 454978 h 715374"/>
                  <a:gd name="connsiteX511" fmla="*/ 407668 w 786911"/>
                  <a:gd name="connsiteY511" fmla="*/ 466424 h 715374"/>
                  <a:gd name="connsiteX512" fmla="*/ 375190 w 786911"/>
                  <a:gd name="connsiteY512" fmla="*/ 496899 h 715374"/>
                  <a:gd name="connsiteX513" fmla="*/ 385711 w 786911"/>
                  <a:gd name="connsiteY513" fmla="*/ 496833 h 715374"/>
                  <a:gd name="connsiteX514" fmla="*/ 385646 w 786911"/>
                  <a:gd name="connsiteY514" fmla="*/ 486311 h 715374"/>
                  <a:gd name="connsiteX515" fmla="*/ 375190 w 786911"/>
                  <a:gd name="connsiteY515" fmla="*/ 486311 h 715374"/>
                  <a:gd name="connsiteX516" fmla="*/ 375124 w 786911"/>
                  <a:gd name="connsiteY516" fmla="*/ 496833 h 715374"/>
                  <a:gd name="connsiteX517" fmla="*/ 375190 w 786911"/>
                  <a:gd name="connsiteY517" fmla="*/ 496899 h 715374"/>
                  <a:gd name="connsiteX518" fmla="*/ 341567 w 786911"/>
                  <a:gd name="connsiteY518" fmla="*/ 527660 h 715374"/>
                  <a:gd name="connsiteX519" fmla="*/ 351296 w 786911"/>
                  <a:gd name="connsiteY519" fmla="*/ 527660 h 715374"/>
                  <a:gd name="connsiteX520" fmla="*/ 351458 w 786911"/>
                  <a:gd name="connsiteY520" fmla="*/ 517949 h 715374"/>
                  <a:gd name="connsiteX521" fmla="*/ 351296 w 786911"/>
                  <a:gd name="connsiteY521" fmla="*/ 517788 h 715374"/>
                  <a:gd name="connsiteX522" fmla="*/ 341567 w 786911"/>
                  <a:gd name="connsiteY522" fmla="*/ 517788 h 715374"/>
                  <a:gd name="connsiteX523" fmla="*/ 341405 w 786911"/>
                  <a:gd name="connsiteY523" fmla="*/ 527498 h 715374"/>
                  <a:gd name="connsiteX524" fmla="*/ 341567 w 786911"/>
                  <a:gd name="connsiteY524" fmla="*/ 527660 h 715374"/>
                  <a:gd name="connsiteX525" fmla="*/ 308946 w 786911"/>
                  <a:gd name="connsiteY525" fmla="*/ 558135 h 715374"/>
                  <a:gd name="connsiteX526" fmla="*/ 317848 w 786911"/>
                  <a:gd name="connsiteY526" fmla="*/ 558246 h 715374"/>
                  <a:gd name="connsiteX527" fmla="*/ 317960 w 786911"/>
                  <a:gd name="connsiteY527" fmla="*/ 558135 h 715374"/>
                  <a:gd name="connsiteX528" fmla="*/ 319501 w 786911"/>
                  <a:gd name="connsiteY528" fmla="*/ 549161 h 715374"/>
                  <a:gd name="connsiteX529" fmla="*/ 310527 w 786911"/>
                  <a:gd name="connsiteY529" fmla="*/ 547620 h 715374"/>
                  <a:gd name="connsiteX530" fmla="*/ 309232 w 786911"/>
                  <a:gd name="connsiteY530" fmla="*/ 548835 h 715374"/>
                  <a:gd name="connsiteX531" fmla="*/ 309121 w 786911"/>
                  <a:gd name="connsiteY531" fmla="*/ 557737 h 715374"/>
                  <a:gd name="connsiteX532" fmla="*/ 309232 w 786911"/>
                  <a:gd name="connsiteY532" fmla="*/ 557849 h 715374"/>
                  <a:gd name="connsiteX533" fmla="*/ 276468 w 786911"/>
                  <a:gd name="connsiteY533" fmla="*/ 589182 h 715374"/>
                  <a:gd name="connsiteX534" fmla="*/ 284766 w 786911"/>
                  <a:gd name="connsiteY534" fmla="*/ 589468 h 715374"/>
                  <a:gd name="connsiteX535" fmla="*/ 285053 w 786911"/>
                  <a:gd name="connsiteY535" fmla="*/ 581170 h 715374"/>
                  <a:gd name="connsiteX536" fmla="*/ 276754 w 786911"/>
                  <a:gd name="connsiteY536" fmla="*/ 580884 h 715374"/>
                  <a:gd name="connsiteX537" fmla="*/ 276468 w 786911"/>
                  <a:gd name="connsiteY537" fmla="*/ 589182 h 715374"/>
                  <a:gd name="connsiteX538" fmla="*/ 243990 w 786911"/>
                  <a:gd name="connsiteY538" fmla="*/ 619657 h 715374"/>
                  <a:gd name="connsiteX539" fmla="*/ 251430 w 786911"/>
                  <a:gd name="connsiteY539" fmla="*/ 619657 h 715374"/>
                  <a:gd name="connsiteX540" fmla="*/ 251675 w 786911"/>
                  <a:gd name="connsiteY540" fmla="*/ 611973 h 715374"/>
                  <a:gd name="connsiteX541" fmla="*/ 243990 w 786911"/>
                  <a:gd name="connsiteY541" fmla="*/ 611726 h 715374"/>
                  <a:gd name="connsiteX542" fmla="*/ 243745 w 786911"/>
                  <a:gd name="connsiteY542" fmla="*/ 619412 h 715374"/>
                  <a:gd name="connsiteX543" fmla="*/ 243990 w 786911"/>
                  <a:gd name="connsiteY543" fmla="*/ 619657 h 715374"/>
                  <a:gd name="connsiteX544" fmla="*/ 211369 w 786911"/>
                  <a:gd name="connsiteY544" fmla="*/ 650132 h 715374"/>
                  <a:gd name="connsiteX545" fmla="*/ 218237 w 786911"/>
                  <a:gd name="connsiteY545" fmla="*/ 650132 h 715374"/>
                  <a:gd name="connsiteX546" fmla="*/ 218380 w 786911"/>
                  <a:gd name="connsiteY546" fmla="*/ 643407 h 715374"/>
                  <a:gd name="connsiteX547" fmla="*/ 211655 w 786911"/>
                  <a:gd name="connsiteY547" fmla="*/ 643264 h 715374"/>
                  <a:gd name="connsiteX548" fmla="*/ 211655 w 786911"/>
                  <a:gd name="connsiteY548" fmla="*/ 649989 h 715374"/>
                  <a:gd name="connsiteX549" fmla="*/ 178319 w 786911"/>
                  <a:gd name="connsiteY549" fmla="*/ 680035 h 715374"/>
                  <a:gd name="connsiteX550" fmla="*/ 184328 w 786911"/>
                  <a:gd name="connsiteY550" fmla="*/ 680035 h 715374"/>
                  <a:gd name="connsiteX551" fmla="*/ 184328 w 786911"/>
                  <a:gd name="connsiteY551" fmla="*/ 674169 h 715374"/>
                  <a:gd name="connsiteX552" fmla="*/ 178319 w 786911"/>
                  <a:gd name="connsiteY552" fmla="*/ 674169 h 715374"/>
                  <a:gd name="connsiteX553" fmla="*/ 178319 w 786911"/>
                  <a:gd name="connsiteY553" fmla="*/ 680178 h 715374"/>
                  <a:gd name="connsiteX554" fmla="*/ 145841 w 786911"/>
                  <a:gd name="connsiteY554" fmla="*/ 710653 h 715374"/>
                  <a:gd name="connsiteX555" fmla="*/ 150898 w 786911"/>
                  <a:gd name="connsiteY555" fmla="*/ 710746 h 715374"/>
                  <a:gd name="connsiteX556" fmla="*/ 150991 w 786911"/>
                  <a:gd name="connsiteY556" fmla="*/ 710653 h 715374"/>
                  <a:gd name="connsiteX557" fmla="*/ 151135 w 786911"/>
                  <a:gd name="connsiteY557" fmla="*/ 705502 h 715374"/>
                  <a:gd name="connsiteX558" fmla="*/ 145984 w 786911"/>
                  <a:gd name="connsiteY558" fmla="*/ 705359 h 715374"/>
                  <a:gd name="connsiteX559" fmla="*/ 145891 w 786911"/>
                  <a:gd name="connsiteY559" fmla="*/ 710417 h 715374"/>
                  <a:gd name="connsiteX560" fmla="*/ 145984 w 786911"/>
                  <a:gd name="connsiteY560" fmla="*/ 710510 h 715374"/>
                  <a:gd name="connsiteX561" fmla="*/ 309518 w 786911"/>
                  <a:gd name="connsiteY561" fmla="*/ 363124 h 715374"/>
                  <a:gd name="connsiteX562" fmla="*/ 320850 w 786911"/>
                  <a:gd name="connsiteY562" fmla="*/ 363153 h 715374"/>
                  <a:gd name="connsiteX563" fmla="*/ 320877 w 786911"/>
                  <a:gd name="connsiteY563" fmla="*/ 351821 h 715374"/>
                  <a:gd name="connsiteX564" fmla="*/ 309547 w 786911"/>
                  <a:gd name="connsiteY564" fmla="*/ 351792 h 715374"/>
                  <a:gd name="connsiteX565" fmla="*/ 309518 w 786911"/>
                  <a:gd name="connsiteY565" fmla="*/ 351821 h 715374"/>
                  <a:gd name="connsiteX566" fmla="*/ 309518 w 786911"/>
                  <a:gd name="connsiteY566" fmla="*/ 363124 h 715374"/>
                  <a:gd name="connsiteX567" fmla="*/ 277040 w 786911"/>
                  <a:gd name="connsiteY567" fmla="*/ 393599 h 715374"/>
                  <a:gd name="connsiteX568" fmla="*/ 287356 w 786911"/>
                  <a:gd name="connsiteY568" fmla="*/ 393871 h 715374"/>
                  <a:gd name="connsiteX569" fmla="*/ 287628 w 786911"/>
                  <a:gd name="connsiteY569" fmla="*/ 393599 h 715374"/>
                  <a:gd name="connsiteX570" fmla="*/ 287914 w 786911"/>
                  <a:gd name="connsiteY570" fmla="*/ 383011 h 715374"/>
                  <a:gd name="connsiteX571" fmla="*/ 277327 w 786911"/>
                  <a:gd name="connsiteY571" fmla="*/ 382725 h 715374"/>
                  <a:gd name="connsiteX572" fmla="*/ 277201 w 786911"/>
                  <a:gd name="connsiteY572" fmla="*/ 393044 h 715374"/>
                  <a:gd name="connsiteX573" fmla="*/ 277327 w 786911"/>
                  <a:gd name="connsiteY573" fmla="*/ 393170 h 715374"/>
                  <a:gd name="connsiteX574" fmla="*/ 244849 w 786911"/>
                  <a:gd name="connsiteY574" fmla="*/ 423788 h 715374"/>
                  <a:gd name="connsiteX575" fmla="*/ 254578 w 786911"/>
                  <a:gd name="connsiteY575" fmla="*/ 423788 h 715374"/>
                  <a:gd name="connsiteX576" fmla="*/ 254739 w 786911"/>
                  <a:gd name="connsiteY576" fmla="*/ 414077 h 715374"/>
                  <a:gd name="connsiteX577" fmla="*/ 254578 w 786911"/>
                  <a:gd name="connsiteY577" fmla="*/ 413915 h 715374"/>
                  <a:gd name="connsiteX578" fmla="*/ 244849 w 786911"/>
                  <a:gd name="connsiteY578" fmla="*/ 413915 h 715374"/>
                  <a:gd name="connsiteX579" fmla="*/ 244687 w 786911"/>
                  <a:gd name="connsiteY579" fmla="*/ 423626 h 715374"/>
                  <a:gd name="connsiteX580" fmla="*/ 244849 w 786911"/>
                  <a:gd name="connsiteY580" fmla="*/ 423788 h 715374"/>
                  <a:gd name="connsiteX581" fmla="*/ 211941 w 786911"/>
                  <a:gd name="connsiteY581" fmla="*/ 454692 h 715374"/>
                  <a:gd name="connsiteX582" fmla="*/ 220816 w 786911"/>
                  <a:gd name="connsiteY582" fmla="*/ 456726 h 715374"/>
                  <a:gd name="connsiteX583" fmla="*/ 222851 w 786911"/>
                  <a:gd name="connsiteY583" fmla="*/ 447851 h 715374"/>
                  <a:gd name="connsiteX584" fmla="*/ 221241 w 786911"/>
                  <a:gd name="connsiteY584" fmla="*/ 446107 h 715374"/>
                  <a:gd name="connsiteX585" fmla="*/ 212084 w 786911"/>
                  <a:gd name="connsiteY585" fmla="*/ 445821 h 715374"/>
                  <a:gd name="connsiteX586" fmla="*/ 211798 w 786911"/>
                  <a:gd name="connsiteY586" fmla="*/ 454978 h 715374"/>
                  <a:gd name="connsiteX587" fmla="*/ 179320 w 786911"/>
                  <a:gd name="connsiteY587" fmla="*/ 485453 h 715374"/>
                  <a:gd name="connsiteX588" fmla="*/ 187619 w 786911"/>
                  <a:gd name="connsiteY588" fmla="*/ 485739 h 715374"/>
                  <a:gd name="connsiteX589" fmla="*/ 187905 w 786911"/>
                  <a:gd name="connsiteY589" fmla="*/ 477441 h 715374"/>
                  <a:gd name="connsiteX590" fmla="*/ 179814 w 786911"/>
                  <a:gd name="connsiteY590" fmla="*/ 477233 h 715374"/>
                  <a:gd name="connsiteX591" fmla="*/ 179606 w 786911"/>
                  <a:gd name="connsiteY591" fmla="*/ 477441 h 715374"/>
                  <a:gd name="connsiteX592" fmla="*/ 179604 w 786911"/>
                  <a:gd name="connsiteY592" fmla="*/ 485736 h 715374"/>
                  <a:gd name="connsiteX593" fmla="*/ 179606 w 786911"/>
                  <a:gd name="connsiteY593" fmla="*/ 485739 h 715374"/>
                  <a:gd name="connsiteX594" fmla="*/ 147128 w 786911"/>
                  <a:gd name="connsiteY594" fmla="*/ 516214 h 715374"/>
                  <a:gd name="connsiteX595" fmla="*/ 154640 w 786911"/>
                  <a:gd name="connsiteY595" fmla="*/ 516429 h 715374"/>
                  <a:gd name="connsiteX596" fmla="*/ 154855 w 786911"/>
                  <a:gd name="connsiteY596" fmla="*/ 508917 h 715374"/>
                  <a:gd name="connsiteX597" fmla="*/ 147272 w 786911"/>
                  <a:gd name="connsiteY597" fmla="*/ 508917 h 715374"/>
                  <a:gd name="connsiteX598" fmla="*/ 147272 w 786911"/>
                  <a:gd name="connsiteY598" fmla="*/ 516500 h 715374"/>
                  <a:gd name="connsiteX599" fmla="*/ 114507 w 786911"/>
                  <a:gd name="connsiteY599" fmla="*/ 546260 h 715374"/>
                  <a:gd name="connsiteX600" fmla="*/ 121185 w 786911"/>
                  <a:gd name="connsiteY600" fmla="*/ 546212 h 715374"/>
                  <a:gd name="connsiteX601" fmla="*/ 121137 w 786911"/>
                  <a:gd name="connsiteY601" fmla="*/ 539535 h 715374"/>
                  <a:gd name="connsiteX602" fmla="*/ 114507 w 786911"/>
                  <a:gd name="connsiteY602" fmla="*/ 539535 h 715374"/>
                  <a:gd name="connsiteX603" fmla="*/ 114460 w 786911"/>
                  <a:gd name="connsiteY603" fmla="*/ 546212 h 715374"/>
                  <a:gd name="connsiteX604" fmla="*/ 114507 w 786911"/>
                  <a:gd name="connsiteY604" fmla="*/ 546260 h 715374"/>
                  <a:gd name="connsiteX605" fmla="*/ 81886 w 786911"/>
                  <a:gd name="connsiteY605" fmla="*/ 576735 h 715374"/>
                  <a:gd name="connsiteX606" fmla="*/ 87956 w 786911"/>
                  <a:gd name="connsiteY606" fmla="*/ 576795 h 715374"/>
                  <a:gd name="connsiteX607" fmla="*/ 88017 w 786911"/>
                  <a:gd name="connsiteY607" fmla="*/ 570725 h 715374"/>
                  <a:gd name="connsiteX608" fmla="*/ 81946 w 786911"/>
                  <a:gd name="connsiteY608" fmla="*/ 570665 h 715374"/>
                  <a:gd name="connsiteX609" fmla="*/ 81886 w 786911"/>
                  <a:gd name="connsiteY609" fmla="*/ 570725 h 715374"/>
                  <a:gd name="connsiteX610" fmla="*/ 81886 w 786911"/>
                  <a:gd name="connsiteY610" fmla="*/ 576735 h 715374"/>
                  <a:gd name="connsiteX611" fmla="*/ 49551 w 786911"/>
                  <a:gd name="connsiteY611" fmla="*/ 607066 h 715374"/>
                  <a:gd name="connsiteX612" fmla="*/ 54609 w 786911"/>
                  <a:gd name="connsiteY612" fmla="*/ 607159 h 715374"/>
                  <a:gd name="connsiteX613" fmla="*/ 54702 w 786911"/>
                  <a:gd name="connsiteY613" fmla="*/ 607066 h 715374"/>
                  <a:gd name="connsiteX614" fmla="*/ 54795 w 786911"/>
                  <a:gd name="connsiteY614" fmla="*/ 602009 h 715374"/>
                  <a:gd name="connsiteX615" fmla="*/ 54702 w 786911"/>
                  <a:gd name="connsiteY615" fmla="*/ 601916 h 715374"/>
                  <a:gd name="connsiteX616" fmla="*/ 49644 w 786911"/>
                  <a:gd name="connsiteY616" fmla="*/ 601823 h 715374"/>
                  <a:gd name="connsiteX617" fmla="*/ 49551 w 786911"/>
                  <a:gd name="connsiteY617" fmla="*/ 601916 h 715374"/>
                  <a:gd name="connsiteX618" fmla="*/ 49551 w 786911"/>
                  <a:gd name="connsiteY618" fmla="*/ 607210 h 715374"/>
                  <a:gd name="connsiteX619" fmla="*/ 17073 w 786911"/>
                  <a:gd name="connsiteY619" fmla="*/ 637684 h 715374"/>
                  <a:gd name="connsiteX620" fmla="*/ 21509 w 786911"/>
                  <a:gd name="connsiteY620" fmla="*/ 637684 h 715374"/>
                  <a:gd name="connsiteX621" fmla="*/ 21509 w 786911"/>
                  <a:gd name="connsiteY621" fmla="*/ 633249 h 715374"/>
                  <a:gd name="connsiteX622" fmla="*/ 17073 w 786911"/>
                  <a:gd name="connsiteY622" fmla="*/ 633249 h 715374"/>
                  <a:gd name="connsiteX623" fmla="*/ 16883 w 786911"/>
                  <a:gd name="connsiteY623" fmla="*/ 637494 h 715374"/>
                  <a:gd name="connsiteX624" fmla="*/ 17073 w 786911"/>
                  <a:gd name="connsiteY624" fmla="*/ 637684 h 715374"/>
                  <a:gd name="connsiteX625" fmla="*/ 328977 w 786911"/>
                  <a:gd name="connsiteY625" fmla="*/ 383870 h 715374"/>
                  <a:gd name="connsiteX626" fmla="*/ 340279 w 786911"/>
                  <a:gd name="connsiteY626" fmla="*/ 383870 h 715374"/>
                  <a:gd name="connsiteX627" fmla="*/ 340279 w 786911"/>
                  <a:gd name="connsiteY627" fmla="*/ 372424 h 715374"/>
                  <a:gd name="connsiteX628" fmla="*/ 328833 w 786911"/>
                  <a:gd name="connsiteY628" fmla="*/ 372424 h 715374"/>
                  <a:gd name="connsiteX629" fmla="*/ 328833 w 786911"/>
                  <a:gd name="connsiteY629" fmla="*/ 383727 h 715374"/>
                  <a:gd name="connsiteX630" fmla="*/ 296212 w 786911"/>
                  <a:gd name="connsiteY630" fmla="*/ 414202 h 715374"/>
                  <a:gd name="connsiteX631" fmla="*/ 306734 w 786911"/>
                  <a:gd name="connsiteY631" fmla="*/ 414267 h 715374"/>
                  <a:gd name="connsiteX632" fmla="*/ 306800 w 786911"/>
                  <a:gd name="connsiteY632" fmla="*/ 414202 h 715374"/>
                  <a:gd name="connsiteX633" fmla="*/ 307158 w 786911"/>
                  <a:gd name="connsiteY633" fmla="*/ 403686 h 715374"/>
                  <a:gd name="connsiteX634" fmla="*/ 296642 w 786911"/>
                  <a:gd name="connsiteY634" fmla="*/ 403328 h 715374"/>
                  <a:gd name="connsiteX635" fmla="*/ 296642 w 786911"/>
                  <a:gd name="connsiteY635" fmla="*/ 413915 h 715374"/>
                  <a:gd name="connsiteX636" fmla="*/ 264164 w 786911"/>
                  <a:gd name="connsiteY636" fmla="*/ 444820 h 715374"/>
                  <a:gd name="connsiteX637" fmla="*/ 273874 w 786911"/>
                  <a:gd name="connsiteY637" fmla="*/ 444981 h 715374"/>
                  <a:gd name="connsiteX638" fmla="*/ 274036 w 786911"/>
                  <a:gd name="connsiteY638" fmla="*/ 444820 h 715374"/>
                  <a:gd name="connsiteX639" fmla="*/ 274036 w 786911"/>
                  <a:gd name="connsiteY639" fmla="*/ 435091 h 715374"/>
                  <a:gd name="connsiteX640" fmla="*/ 264325 w 786911"/>
                  <a:gd name="connsiteY640" fmla="*/ 434929 h 715374"/>
                  <a:gd name="connsiteX641" fmla="*/ 264164 w 786911"/>
                  <a:gd name="connsiteY641" fmla="*/ 435091 h 715374"/>
                  <a:gd name="connsiteX642" fmla="*/ 264164 w 786911"/>
                  <a:gd name="connsiteY642" fmla="*/ 444820 h 715374"/>
                  <a:gd name="connsiteX643" fmla="*/ 231400 w 786911"/>
                  <a:gd name="connsiteY643" fmla="*/ 474722 h 715374"/>
                  <a:gd name="connsiteX644" fmla="*/ 240505 w 786911"/>
                  <a:gd name="connsiteY644" fmla="*/ 474814 h 715374"/>
                  <a:gd name="connsiteX645" fmla="*/ 240595 w 786911"/>
                  <a:gd name="connsiteY645" fmla="*/ 465709 h 715374"/>
                  <a:gd name="connsiteX646" fmla="*/ 231491 w 786911"/>
                  <a:gd name="connsiteY646" fmla="*/ 465617 h 715374"/>
                  <a:gd name="connsiteX647" fmla="*/ 231400 w 786911"/>
                  <a:gd name="connsiteY647" fmla="*/ 465709 h 715374"/>
                  <a:gd name="connsiteX648" fmla="*/ 231288 w 786911"/>
                  <a:gd name="connsiteY648" fmla="*/ 474611 h 715374"/>
                  <a:gd name="connsiteX649" fmla="*/ 231400 w 786911"/>
                  <a:gd name="connsiteY649" fmla="*/ 474722 h 715374"/>
                  <a:gd name="connsiteX650" fmla="*/ 198922 w 786911"/>
                  <a:gd name="connsiteY650" fmla="*/ 505197 h 715374"/>
                  <a:gd name="connsiteX651" fmla="*/ 206808 w 786911"/>
                  <a:gd name="connsiteY651" fmla="*/ 505466 h 715374"/>
                  <a:gd name="connsiteX652" fmla="*/ 207077 w 786911"/>
                  <a:gd name="connsiteY652" fmla="*/ 505197 h 715374"/>
                  <a:gd name="connsiteX653" fmla="*/ 207284 w 786911"/>
                  <a:gd name="connsiteY653" fmla="*/ 497106 h 715374"/>
                  <a:gd name="connsiteX654" fmla="*/ 207077 w 786911"/>
                  <a:gd name="connsiteY654" fmla="*/ 496899 h 715374"/>
                  <a:gd name="connsiteX655" fmla="*/ 198922 w 786911"/>
                  <a:gd name="connsiteY655" fmla="*/ 496899 h 715374"/>
                  <a:gd name="connsiteX656" fmla="*/ 198714 w 786911"/>
                  <a:gd name="connsiteY656" fmla="*/ 504990 h 715374"/>
                  <a:gd name="connsiteX657" fmla="*/ 198922 w 786911"/>
                  <a:gd name="connsiteY657" fmla="*/ 505197 h 715374"/>
                  <a:gd name="connsiteX658" fmla="*/ 166300 w 786911"/>
                  <a:gd name="connsiteY658" fmla="*/ 536244 h 715374"/>
                  <a:gd name="connsiteX659" fmla="*/ 173883 w 786911"/>
                  <a:gd name="connsiteY659" fmla="*/ 536244 h 715374"/>
                  <a:gd name="connsiteX660" fmla="*/ 173883 w 786911"/>
                  <a:gd name="connsiteY660" fmla="*/ 528805 h 715374"/>
                  <a:gd name="connsiteX661" fmla="*/ 166300 w 786911"/>
                  <a:gd name="connsiteY661" fmla="*/ 528805 h 715374"/>
                  <a:gd name="connsiteX662" fmla="*/ 166300 w 786911"/>
                  <a:gd name="connsiteY662" fmla="*/ 536244 h 715374"/>
                  <a:gd name="connsiteX663" fmla="*/ 133822 w 786911"/>
                  <a:gd name="connsiteY663" fmla="*/ 566719 h 715374"/>
                  <a:gd name="connsiteX664" fmla="*/ 140500 w 786911"/>
                  <a:gd name="connsiteY664" fmla="*/ 566672 h 715374"/>
                  <a:gd name="connsiteX665" fmla="*/ 140453 w 786911"/>
                  <a:gd name="connsiteY665" fmla="*/ 559995 h 715374"/>
                  <a:gd name="connsiteX666" fmla="*/ 133822 w 786911"/>
                  <a:gd name="connsiteY666" fmla="*/ 559995 h 715374"/>
                  <a:gd name="connsiteX667" fmla="*/ 133775 w 786911"/>
                  <a:gd name="connsiteY667" fmla="*/ 566672 h 715374"/>
                  <a:gd name="connsiteX668" fmla="*/ 133822 w 786911"/>
                  <a:gd name="connsiteY668" fmla="*/ 566719 h 715374"/>
                  <a:gd name="connsiteX669" fmla="*/ 101345 w 786911"/>
                  <a:gd name="connsiteY669" fmla="*/ 597194 h 715374"/>
                  <a:gd name="connsiteX670" fmla="*/ 107354 w 786911"/>
                  <a:gd name="connsiteY670" fmla="*/ 597194 h 715374"/>
                  <a:gd name="connsiteX671" fmla="*/ 107354 w 786911"/>
                  <a:gd name="connsiteY671" fmla="*/ 591185 h 715374"/>
                  <a:gd name="connsiteX672" fmla="*/ 101345 w 786911"/>
                  <a:gd name="connsiteY672" fmla="*/ 591185 h 715374"/>
                  <a:gd name="connsiteX673" fmla="*/ 101345 w 786911"/>
                  <a:gd name="connsiteY673" fmla="*/ 597051 h 715374"/>
                  <a:gd name="connsiteX674" fmla="*/ 68867 w 786911"/>
                  <a:gd name="connsiteY674" fmla="*/ 627526 h 715374"/>
                  <a:gd name="connsiteX675" fmla="*/ 73924 w 786911"/>
                  <a:gd name="connsiteY675" fmla="*/ 627619 h 715374"/>
                  <a:gd name="connsiteX676" fmla="*/ 74017 w 786911"/>
                  <a:gd name="connsiteY676" fmla="*/ 627526 h 715374"/>
                  <a:gd name="connsiteX677" fmla="*/ 74017 w 786911"/>
                  <a:gd name="connsiteY677" fmla="*/ 622232 h 715374"/>
                  <a:gd name="connsiteX678" fmla="*/ 68960 w 786911"/>
                  <a:gd name="connsiteY678" fmla="*/ 622139 h 715374"/>
                  <a:gd name="connsiteX679" fmla="*/ 68867 w 786911"/>
                  <a:gd name="connsiteY679" fmla="*/ 622232 h 715374"/>
                  <a:gd name="connsiteX680" fmla="*/ 68774 w 786911"/>
                  <a:gd name="connsiteY680" fmla="*/ 627290 h 715374"/>
                  <a:gd name="connsiteX681" fmla="*/ 68867 w 786911"/>
                  <a:gd name="connsiteY681" fmla="*/ 627383 h 715374"/>
                  <a:gd name="connsiteX682" fmla="*/ 36245 w 786911"/>
                  <a:gd name="connsiteY682" fmla="*/ 658001 h 715374"/>
                  <a:gd name="connsiteX683" fmla="*/ 40681 w 786911"/>
                  <a:gd name="connsiteY683" fmla="*/ 658001 h 715374"/>
                  <a:gd name="connsiteX684" fmla="*/ 40724 w 786911"/>
                  <a:gd name="connsiteY684" fmla="*/ 653752 h 715374"/>
                  <a:gd name="connsiteX685" fmla="*/ 40681 w 786911"/>
                  <a:gd name="connsiteY685" fmla="*/ 653709 h 715374"/>
                  <a:gd name="connsiteX686" fmla="*/ 36436 w 786911"/>
                  <a:gd name="connsiteY686" fmla="*/ 653519 h 715374"/>
                  <a:gd name="connsiteX687" fmla="*/ 36245 w 786911"/>
                  <a:gd name="connsiteY687" fmla="*/ 653709 h 715374"/>
                  <a:gd name="connsiteX688" fmla="*/ 36245 w 786911"/>
                  <a:gd name="connsiteY688" fmla="*/ 658144 h 715374"/>
                  <a:gd name="connsiteX689" fmla="*/ 348292 w 786911"/>
                  <a:gd name="connsiteY689" fmla="*/ 404616 h 715374"/>
                  <a:gd name="connsiteX690" fmla="*/ 359738 w 786911"/>
                  <a:gd name="connsiteY690" fmla="*/ 404616 h 715374"/>
                  <a:gd name="connsiteX691" fmla="*/ 359738 w 786911"/>
                  <a:gd name="connsiteY691" fmla="*/ 393313 h 715374"/>
                  <a:gd name="connsiteX692" fmla="*/ 348435 w 786911"/>
                  <a:gd name="connsiteY692" fmla="*/ 393313 h 715374"/>
                  <a:gd name="connsiteX693" fmla="*/ 348435 w 786911"/>
                  <a:gd name="connsiteY693" fmla="*/ 404759 h 715374"/>
                  <a:gd name="connsiteX694" fmla="*/ 315957 w 786911"/>
                  <a:gd name="connsiteY694" fmla="*/ 435234 h 715374"/>
                  <a:gd name="connsiteX695" fmla="*/ 326478 w 786911"/>
                  <a:gd name="connsiteY695" fmla="*/ 435168 h 715374"/>
                  <a:gd name="connsiteX696" fmla="*/ 326413 w 786911"/>
                  <a:gd name="connsiteY696" fmla="*/ 424646 h 715374"/>
                  <a:gd name="connsiteX697" fmla="*/ 315957 w 786911"/>
                  <a:gd name="connsiteY697" fmla="*/ 424646 h 715374"/>
                  <a:gd name="connsiteX698" fmla="*/ 315891 w 786911"/>
                  <a:gd name="connsiteY698" fmla="*/ 435168 h 715374"/>
                  <a:gd name="connsiteX699" fmla="*/ 315957 w 786911"/>
                  <a:gd name="connsiteY699" fmla="*/ 435234 h 715374"/>
                  <a:gd name="connsiteX700" fmla="*/ 283479 w 786911"/>
                  <a:gd name="connsiteY700" fmla="*/ 465709 h 715374"/>
                  <a:gd name="connsiteX701" fmla="*/ 293377 w 786911"/>
                  <a:gd name="connsiteY701" fmla="*/ 465125 h 715374"/>
                  <a:gd name="connsiteX702" fmla="*/ 293637 w 786911"/>
                  <a:gd name="connsiteY702" fmla="*/ 456123 h 715374"/>
                  <a:gd name="connsiteX703" fmla="*/ 283765 w 786911"/>
                  <a:gd name="connsiteY703" fmla="*/ 456123 h 715374"/>
                  <a:gd name="connsiteX704" fmla="*/ 283603 w 786911"/>
                  <a:gd name="connsiteY704" fmla="*/ 465833 h 715374"/>
                  <a:gd name="connsiteX705" fmla="*/ 283765 w 786911"/>
                  <a:gd name="connsiteY705" fmla="*/ 465995 h 715374"/>
                  <a:gd name="connsiteX706" fmla="*/ 251287 w 786911"/>
                  <a:gd name="connsiteY706" fmla="*/ 496470 h 715374"/>
                  <a:gd name="connsiteX707" fmla="*/ 260392 w 786911"/>
                  <a:gd name="connsiteY707" fmla="*/ 496561 h 715374"/>
                  <a:gd name="connsiteX708" fmla="*/ 260482 w 786911"/>
                  <a:gd name="connsiteY708" fmla="*/ 487456 h 715374"/>
                  <a:gd name="connsiteX709" fmla="*/ 251378 w 786911"/>
                  <a:gd name="connsiteY709" fmla="*/ 487364 h 715374"/>
                  <a:gd name="connsiteX710" fmla="*/ 251287 w 786911"/>
                  <a:gd name="connsiteY710" fmla="*/ 487456 h 715374"/>
                  <a:gd name="connsiteX711" fmla="*/ 251175 w 786911"/>
                  <a:gd name="connsiteY711" fmla="*/ 496358 h 715374"/>
                  <a:gd name="connsiteX712" fmla="*/ 251287 w 786911"/>
                  <a:gd name="connsiteY712" fmla="*/ 496470 h 715374"/>
                  <a:gd name="connsiteX713" fmla="*/ 218666 w 786911"/>
                  <a:gd name="connsiteY713" fmla="*/ 526945 h 715374"/>
                  <a:gd name="connsiteX714" fmla="*/ 226964 w 786911"/>
                  <a:gd name="connsiteY714" fmla="*/ 526945 h 715374"/>
                  <a:gd name="connsiteX715" fmla="*/ 227250 w 786911"/>
                  <a:gd name="connsiteY715" fmla="*/ 518646 h 715374"/>
                  <a:gd name="connsiteX716" fmla="*/ 218952 w 786911"/>
                  <a:gd name="connsiteY716" fmla="*/ 518360 h 715374"/>
                  <a:gd name="connsiteX717" fmla="*/ 218952 w 786911"/>
                  <a:gd name="connsiteY717" fmla="*/ 526658 h 715374"/>
                  <a:gd name="connsiteX718" fmla="*/ 186474 w 786911"/>
                  <a:gd name="connsiteY718" fmla="*/ 557133 h 715374"/>
                  <a:gd name="connsiteX719" fmla="*/ 193914 w 786911"/>
                  <a:gd name="connsiteY719" fmla="*/ 557133 h 715374"/>
                  <a:gd name="connsiteX720" fmla="*/ 193914 w 786911"/>
                  <a:gd name="connsiteY720" fmla="*/ 549550 h 715374"/>
                  <a:gd name="connsiteX721" fmla="*/ 186474 w 786911"/>
                  <a:gd name="connsiteY721" fmla="*/ 549550 h 715374"/>
                  <a:gd name="connsiteX722" fmla="*/ 186474 w 786911"/>
                  <a:gd name="connsiteY722" fmla="*/ 557133 h 715374"/>
                  <a:gd name="connsiteX723" fmla="*/ 153996 w 786911"/>
                  <a:gd name="connsiteY723" fmla="*/ 587608 h 715374"/>
                  <a:gd name="connsiteX724" fmla="*/ 160673 w 786911"/>
                  <a:gd name="connsiteY724" fmla="*/ 587561 h 715374"/>
                  <a:gd name="connsiteX725" fmla="*/ 160626 w 786911"/>
                  <a:gd name="connsiteY725" fmla="*/ 580884 h 715374"/>
                  <a:gd name="connsiteX726" fmla="*/ 153996 w 786911"/>
                  <a:gd name="connsiteY726" fmla="*/ 580884 h 715374"/>
                  <a:gd name="connsiteX727" fmla="*/ 153949 w 786911"/>
                  <a:gd name="connsiteY727" fmla="*/ 587561 h 715374"/>
                  <a:gd name="connsiteX728" fmla="*/ 153996 w 786911"/>
                  <a:gd name="connsiteY728" fmla="*/ 587608 h 715374"/>
                  <a:gd name="connsiteX729" fmla="*/ 121089 w 786911"/>
                  <a:gd name="connsiteY729" fmla="*/ 617797 h 715374"/>
                  <a:gd name="connsiteX730" fmla="*/ 126955 w 786911"/>
                  <a:gd name="connsiteY730" fmla="*/ 617940 h 715374"/>
                  <a:gd name="connsiteX731" fmla="*/ 127098 w 786911"/>
                  <a:gd name="connsiteY731" fmla="*/ 617797 h 715374"/>
                  <a:gd name="connsiteX732" fmla="*/ 127303 w 786911"/>
                  <a:gd name="connsiteY732" fmla="*/ 612136 h 715374"/>
                  <a:gd name="connsiteX733" fmla="*/ 127098 w 786911"/>
                  <a:gd name="connsiteY733" fmla="*/ 611931 h 715374"/>
                  <a:gd name="connsiteX734" fmla="*/ 121232 w 786911"/>
                  <a:gd name="connsiteY734" fmla="*/ 611931 h 715374"/>
                  <a:gd name="connsiteX735" fmla="*/ 121089 w 786911"/>
                  <a:gd name="connsiteY735" fmla="*/ 617797 h 715374"/>
                  <a:gd name="connsiteX736" fmla="*/ 88182 w 786911"/>
                  <a:gd name="connsiteY736" fmla="*/ 648415 h 715374"/>
                  <a:gd name="connsiteX737" fmla="*/ 93428 w 786911"/>
                  <a:gd name="connsiteY737" fmla="*/ 648032 h 715374"/>
                  <a:gd name="connsiteX738" fmla="*/ 93619 w 786911"/>
                  <a:gd name="connsiteY738" fmla="*/ 643407 h 715374"/>
                  <a:gd name="connsiteX739" fmla="*/ 88325 w 786911"/>
                  <a:gd name="connsiteY739" fmla="*/ 643407 h 715374"/>
                  <a:gd name="connsiteX740" fmla="*/ 88232 w 786911"/>
                  <a:gd name="connsiteY740" fmla="*/ 648465 h 715374"/>
                  <a:gd name="connsiteX741" fmla="*/ 88325 w 786911"/>
                  <a:gd name="connsiteY741" fmla="*/ 648558 h 7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Lst>
                <a:rect l="l" t="t" r="r" b="b"/>
                <a:pathLst>
                  <a:path w="786911" h="715374">
                    <a:moveTo>
                      <a:pt x="412818" y="383011"/>
                    </a:moveTo>
                    <a:cubicBezTo>
                      <a:pt x="415946" y="386186"/>
                      <a:pt x="415946" y="391282"/>
                      <a:pt x="412818" y="394457"/>
                    </a:cubicBezTo>
                    <a:cubicBezTo>
                      <a:pt x="409692" y="397568"/>
                      <a:pt x="404642" y="397568"/>
                      <a:pt x="401515" y="394457"/>
                    </a:cubicBezTo>
                    <a:cubicBezTo>
                      <a:pt x="398405" y="391331"/>
                      <a:pt x="398405" y="386281"/>
                      <a:pt x="401515" y="383154"/>
                    </a:cubicBezTo>
                    <a:cubicBezTo>
                      <a:pt x="404720" y="380103"/>
                      <a:pt x="409757" y="380103"/>
                      <a:pt x="412961" y="383154"/>
                    </a:cubicBezTo>
                    <a:moveTo>
                      <a:pt x="445439" y="352679"/>
                    </a:moveTo>
                    <a:cubicBezTo>
                      <a:pt x="442516" y="349792"/>
                      <a:pt x="437805" y="349822"/>
                      <a:pt x="434918" y="352745"/>
                    </a:cubicBezTo>
                    <a:cubicBezTo>
                      <a:pt x="432031" y="355670"/>
                      <a:pt x="432061" y="360380"/>
                      <a:pt x="434984" y="363267"/>
                    </a:cubicBezTo>
                    <a:cubicBezTo>
                      <a:pt x="437882" y="366128"/>
                      <a:pt x="442542" y="366128"/>
                      <a:pt x="445439" y="363267"/>
                    </a:cubicBezTo>
                    <a:cubicBezTo>
                      <a:pt x="448362" y="360380"/>
                      <a:pt x="448393" y="355670"/>
                      <a:pt x="445505" y="352745"/>
                    </a:cubicBezTo>
                    <a:cubicBezTo>
                      <a:pt x="445484" y="352724"/>
                      <a:pt x="445461" y="352701"/>
                      <a:pt x="445439" y="352679"/>
                    </a:cubicBezTo>
                    <a:moveTo>
                      <a:pt x="477917" y="322205"/>
                    </a:moveTo>
                    <a:cubicBezTo>
                      <a:pt x="475023" y="319632"/>
                      <a:pt x="470592" y="319894"/>
                      <a:pt x="468019" y="322788"/>
                    </a:cubicBezTo>
                    <a:cubicBezTo>
                      <a:pt x="465762" y="325329"/>
                      <a:pt x="465652" y="329124"/>
                      <a:pt x="467759" y="331791"/>
                    </a:cubicBezTo>
                    <a:cubicBezTo>
                      <a:pt x="470522" y="334425"/>
                      <a:pt x="474868" y="334425"/>
                      <a:pt x="477631" y="331791"/>
                    </a:cubicBezTo>
                    <a:cubicBezTo>
                      <a:pt x="480357" y="329154"/>
                      <a:pt x="480430" y="324806"/>
                      <a:pt x="477793" y="322080"/>
                    </a:cubicBezTo>
                    <a:cubicBezTo>
                      <a:pt x="477740" y="322024"/>
                      <a:pt x="477686" y="321971"/>
                      <a:pt x="477631" y="321918"/>
                    </a:cubicBezTo>
                    <a:moveTo>
                      <a:pt x="510252" y="291587"/>
                    </a:moveTo>
                    <a:cubicBezTo>
                      <a:pt x="507763" y="289047"/>
                      <a:pt x="503687" y="289007"/>
                      <a:pt x="501147" y="291495"/>
                    </a:cubicBezTo>
                    <a:cubicBezTo>
                      <a:pt x="498607" y="293984"/>
                      <a:pt x="498567" y="298061"/>
                      <a:pt x="501057" y="300600"/>
                    </a:cubicBezTo>
                    <a:cubicBezTo>
                      <a:pt x="503545" y="303140"/>
                      <a:pt x="507621" y="303180"/>
                      <a:pt x="510161" y="300692"/>
                    </a:cubicBezTo>
                    <a:cubicBezTo>
                      <a:pt x="510192" y="300662"/>
                      <a:pt x="510222" y="300630"/>
                      <a:pt x="510252" y="300600"/>
                    </a:cubicBezTo>
                    <a:cubicBezTo>
                      <a:pt x="512742" y="298172"/>
                      <a:pt x="512792" y="294188"/>
                      <a:pt x="510364" y="291698"/>
                    </a:cubicBezTo>
                    <a:cubicBezTo>
                      <a:pt x="510327" y="291661"/>
                      <a:pt x="510289" y="291624"/>
                      <a:pt x="510252" y="291587"/>
                    </a:cubicBezTo>
                    <a:moveTo>
                      <a:pt x="542873" y="261112"/>
                    </a:moveTo>
                    <a:cubicBezTo>
                      <a:pt x="540551" y="258895"/>
                      <a:pt x="536897" y="258895"/>
                      <a:pt x="534575" y="261112"/>
                    </a:cubicBezTo>
                    <a:cubicBezTo>
                      <a:pt x="532204" y="263324"/>
                      <a:pt x="532077" y="267039"/>
                      <a:pt x="534289" y="269410"/>
                    </a:cubicBezTo>
                    <a:cubicBezTo>
                      <a:pt x="536501" y="271781"/>
                      <a:pt x="540216" y="271908"/>
                      <a:pt x="542587" y="269696"/>
                    </a:cubicBezTo>
                    <a:cubicBezTo>
                      <a:pt x="544803" y="267374"/>
                      <a:pt x="544803" y="263720"/>
                      <a:pt x="542587" y="261398"/>
                    </a:cubicBezTo>
                    <a:moveTo>
                      <a:pt x="575065" y="230923"/>
                    </a:moveTo>
                    <a:cubicBezTo>
                      <a:pt x="573003" y="228887"/>
                      <a:pt x="569687" y="228887"/>
                      <a:pt x="567625" y="230923"/>
                    </a:cubicBezTo>
                    <a:cubicBezTo>
                      <a:pt x="565572" y="233033"/>
                      <a:pt x="565572" y="236395"/>
                      <a:pt x="567625" y="238506"/>
                    </a:cubicBezTo>
                    <a:cubicBezTo>
                      <a:pt x="569687" y="240542"/>
                      <a:pt x="573003" y="240542"/>
                      <a:pt x="575065" y="238506"/>
                    </a:cubicBezTo>
                    <a:cubicBezTo>
                      <a:pt x="577118" y="236395"/>
                      <a:pt x="577118" y="233033"/>
                      <a:pt x="575065" y="230923"/>
                    </a:cubicBezTo>
                    <a:moveTo>
                      <a:pt x="607543" y="200162"/>
                    </a:moveTo>
                    <a:cubicBezTo>
                      <a:pt x="605726" y="198266"/>
                      <a:pt x="602716" y="198202"/>
                      <a:pt x="600819" y="200019"/>
                    </a:cubicBezTo>
                    <a:cubicBezTo>
                      <a:pt x="598923" y="201836"/>
                      <a:pt x="598859" y="204847"/>
                      <a:pt x="600676" y="206743"/>
                    </a:cubicBezTo>
                    <a:cubicBezTo>
                      <a:pt x="602493" y="208640"/>
                      <a:pt x="605503" y="208703"/>
                      <a:pt x="607400" y="206886"/>
                    </a:cubicBezTo>
                    <a:cubicBezTo>
                      <a:pt x="609296" y="205069"/>
                      <a:pt x="609360" y="202059"/>
                      <a:pt x="607543" y="200162"/>
                    </a:cubicBezTo>
                    <a:moveTo>
                      <a:pt x="640164" y="169687"/>
                    </a:moveTo>
                    <a:cubicBezTo>
                      <a:pt x="638583" y="168027"/>
                      <a:pt x="635958" y="167963"/>
                      <a:pt x="634298" y="169544"/>
                    </a:cubicBezTo>
                    <a:cubicBezTo>
                      <a:pt x="634250" y="169591"/>
                      <a:pt x="634201" y="169638"/>
                      <a:pt x="634155" y="169687"/>
                    </a:cubicBezTo>
                    <a:cubicBezTo>
                      <a:pt x="632536" y="171193"/>
                      <a:pt x="632444" y="173729"/>
                      <a:pt x="633951" y="175348"/>
                    </a:cubicBezTo>
                    <a:cubicBezTo>
                      <a:pt x="634016" y="175420"/>
                      <a:pt x="634085" y="175487"/>
                      <a:pt x="634155" y="175553"/>
                    </a:cubicBezTo>
                    <a:cubicBezTo>
                      <a:pt x="635775" y="177172"/>
                      <a:pt x="638402" y="177172"/>
                      <a:pt x="640021" y="175553"/>
                    </a:cubicBezTo>
                    <a:cubicBezTo>
                      <a:pt x="641657" y="173883"/>
                      <a:pt x="641657" y="171213"/>
                      <a:pt x="640021" y="169544"/>
                    </a:cubicBezTo>
                    <a:moveTo>
                      <a:pt x="672499" y="139069"/>
                    </a:moveTo>
                    <a:cubicBezTo>
                      <a:pt x="670944" y="137725"/>
                      <a:pt x="668596" y="137897"/>
                      <a:pt x="667253" y="139452"/>
                    </a:cubicBezTo>
                    <a:cubicBezTo>
                      <a:pt x="666121" y="140761"/>
                      <a:pt x="666042" y="142679"/>
                      <a:pt x="667062" y="144076"/>
                    </a:cubicBezTo>
                    <a:cubicBezTo>
                      <a:pt x="668550" y="145476"/>
                      <a:pt x="670870" y="145476"/>
                      <a:pt x="672356" y="144076"/>
                    </a:cubicBezTo>
                    <a:cubicBezTo>
                      <a:pt x="673778" y="142706"/>
                      <a:pt x="673820" y="140441"/>
                      <a:pt x="672449" y="139019"/>
                    </a:cubicBezTo>
                    <a:cubicBezTo>
                      <a:pt x="672419" y="138987"/>
                      <a:pt x="672388" y="138956"/>
                      <a:pt x="672356" y="138926"/>
                    </a:cubicBezTo>
                    <a:moveTo>
                      <a:pt x="704834" y="108451"/>
                    </a:moveTo>
                    <a:cubicBezTo>
                      <a:pt x="703609" y="107217"/>
                      <a:pt x="701616" y="107210"/>
                      <a:pt x="700383" y="108435"/>
                    </a:cubicBezTo>
                    <a:cubicBezTo>
                      <a:pt x="699148" y="109660"/>
                      <a:pt x="699141" y="111653"/>
                      <a:pt x="700367" y="112886"/>
                    </a:cubicBezTo>
                    <a:cubicBezTo>
                      <a:pt x="701592" y="114119"/>
                      <a:pt x="703585" y="114127"/>
                      <a:pt x="704818" y="112902"/>
                    </a:cubicBezTo>
                    <a:cubicBezTo>
                      <a:pt x="704824" y="112898"/>
                      <a:pt x="704828" y="112892"/>
                      <a:pt x="704834" y="112886"/>
                    </a:cubicBezTo>
                    <a:cubicBezTo>
                      <a:pt x="706053" y="111659"/>
                      <a:pt x="706053" y="109678"/>
                      <a:pt x="704834" y="108451"/>
                    </a:cubicBezTo>
                    <a:moveTo>
                      <a:pt x="737312" y="77976"/>
                    </a:moveTo>
                    <a:cubicBezTo>
                      <a:pt x="736315" y="77013"/>
                      <a:pt x="734732" y="77013"/>
                      <a:pt x="733735" y="77976"/>
                    </a:cubicBezTo>
                    <a:cubicBezTo>
                      <a:pt x="732708" y="78963"/>
                      <a:pt x="732676" y="80597"/>
                      <a:pt x="733664" y="81624"/>
                    </a:cubicBezTo>
                    <a:cubicBezTo>
                      <a:pt x="734651" y="82652"/>
                      <a:pt x="736285" y="82683"/>
                      <a:pt x="737312" y="81696"/>
                    </a:cubicBezTo>
                    <a:cubicBezTo>
                      <a:pt x="738299" y="80786"/>
                      <a:pt x="738362" y="79246"/>
                      <a:pt x="737452" y="78259"/>
                    </a:cubicBezTo>
                    <a:cubicBezTo>
                      <a:pt x="737408" y="78210"/>
                      <a:pt x="737361" y="78163"/>
                      <a:pt x="737312" y="78119"/>
                    </a:cubicBezTo>
                    <a:moveTo>
                      <a:pt x="432133" y="403185"/>
                    </a:moveTo>
                    <a:cubicBezTo>
                      <a:pt x="429107" y="400521"/>
                      <a:pt x="424572" y="400521"/>
                      <a:pt x="421546" y="403185"/>
                    </a:cubicBezTo>
                    <a:cubicBezTo>
                      <a:pt x="418418" y="406360"/>
                      <a:pt x="418418" y="411456"/>
                      <a:pt x="421546" y="414631"/>
                    </a:cubicBezTo>
                    <a:cubicBezTo>
                      <a:pt x="424751" y="417683"/>
                      <a:pt x="429787" y="417683"/>
                      <a:pt x="432992" y="414631"/>
                    </a:cubicBezTo>
                    <a:cubicBezTo>
                      <a:pt x="436102" y="411505"/>
                      <a:pt x="436102" y="406454"/>
                      <a:pt x="432992" y="403328"/>
                    </a:cubicBezTo>
                    <a:moveTo>
                      <a:pt x="464468" y="373282"/>
                    </a:moveTo>
                    <a:cubicBezTo>
                      <a:pt x="461581" y="370359"/>
                      <a:pt x="456871" y="370329"/>
                      <a:pt x="453947" y="373216"/>
                    </a:cubicBezTo>
                    <a:cubicBezTo>
                      <a:pt x="453925" y="373238"/>
                      <a:pt x="453902" y="373259"/>
                      <a:pt x="453881" y="373282"/>
                    </a:cubicBezTo>
                    <a:cubicBezTo>
                      <a:pt x="450996" y="376097"/>
                      <a:pt x="450941" y="380716"/>
                      <a:pt x="453755" y="383601"/>
                    </a:cubicBezTo>
                    <a:cubicBezTo>
                      <a:pt x="453796" y="383644"/>
                      <a:pt x="453838" y="383685"/>
                      <a:pt x="453881" y="383727"/>
                    </a:cubicBezTo>
                    <a:cubicBezTo>
                      <a:pt x="456768" y="386650"/>
                      <a:pt x="461478" y="386680"/>
                      <a:pt x="464403" y="383793"/>
                    </a:cubicBezTo>
                    <a:cubicBezTo>
                      <a:pt x="464424" y="383771"/>
                      <a:pt x="464447" y="383750"/>
                      <a:pt x="464468" y="383727"/>
                    </a:cubicBezTo>
                    <a:cubicBezTo>
                      <a:pt x="467340" y="380782"/>
                      <a:pt x="467340" y="376084"/>
                      <a:pt x="464468" y="373139"/>
                    </a:cubicBezTo>
                    <a:moveTo>
                      <a:pt x="496946" y="342664"/>
                    </a:moveTo>
                    <a:cubicBezTo>
                      <a:pt x="494310" y="339939"/>
                      <a:pt x="489961" y="339866"/>
                      <a:pt x="487236" y="342503"/>
                    </a:cubicBezTo>
                    <a:cubicBezTo>
                      <a:pt x="487180" y="342556"/>
                      <a:pt x="487127" y="342610"/>
                      <a:pt x="487074" y="342664"/>
                    </a:cubicBezTo>
                    <a:cubicBezTo>
                      <a:pt x="484457" y="345380"/>
                      <a:pt x="484457" y="349678"/>
                      <a:pt x="487074" y="352393"/>
                    </a:cubicBezTo>
                    <a:cubicBezTo>
                      <a:pt x="489711" y="355119"/>
                      <a:pt x="494059" y="355192"/>
                      <a:pt x="496785" y="352555"/>
                    </a:cubicBezTo>
                    <a:cubicBezTo>
                      <a:pt x="496841" y="352502"/>
                      <a:pt x="496893" y="352448"/>
                      <a:pt x="496946" y="352393"/>
                    </a:cubicBezTo>
                    <a:cubicBezTo>
                      <a:pt x="499563" y="349678"/>
                      <a:pt x="499563" y="345380"/>
                      <a:pt x="496946" y="342664"/>
                    </a:cubicBezTo>
                    <a:moveTo>
                      <a:pt x="529424" y="312189"/>
                    </a:moveTo>
                    <a:cubicBezTo>
                      <a:pt x="526935" y="309650"/>
                      <a:pt x="522859" y="309610"/>
                      <a:pt x="520319" y="312098"/>
                    </a:cubicBezTo>
                    <a:cubicBezTo>
                      <a:pt x="517781" y="314587"/>
                      <a:pt x="517739" y="318663"/>
                      <a:pt x="520229" y="321203"/>
                    </a:cubicBezTo>
                    <a:cubicBezTo>
                      <a:pt x="522717" y="323743"/>
                      <a:pt x="526793" y="323783"/>
                      <a:pt x="529333" y="321295"/>
                    </a:cubicBezTo>
                    <a:cubicBezTo>
                      <a:pt x="529364" y="321265"/>
                      <a:pt x="529394" y="321233"/>
                      <a:pt x="529424" y="321203"/>
                    </a:cubicBezTo>
                    <a:cubicBezTo>
                      <a:pt x="531914" y="318775"/>
                      <a:pt x="531964" y="314790"/>
                      <a:pt x="529536" y="312301"/>
                    </a:cubicBezTo>
                    <a:cubicBezTo>
                      <a:pt x="529499" y="312264"/>
                      <a:pt x="529462" y="312227"/>
                      <a:pt x="529424" y="312189"/>
                    </a:cubicBezTo>
                    <a:moveTo>
                      <a:pt x="561902" y="281714"/>
                    </a:moveTo>
                    <a:cubicBezTo>
                      <a:pt x="559799" y="279462"/>
                      <a:pt x="556268" y="279342"/>
                      <a:pt x="554016" y="281445"/>
                    </a:cubicBezTo>
                    <a:cubicBezTo>
                      <a:pt x="553923" y="281533"/>
                      <a:pt x="553833" y="281621"/>
                      <a:pt x="553747" y="281714"/>
                    </a:cubicBezTo>
                    <a:cubicBezTo>
                      <a:pt x="551455" y="283892"/>
                      <a:pt x="551362" y="287513"/>
                      <a:pt x="553540" y="289805"/>
                    </a:cubicBezTo>
                    <a:cubicBezTo>
                      <a:pt x="553607" y="289877"/>
                      <a:pt x="553676" y="289945"/>
                      <a:pt x="553747" y="290013"/>
                    </a:cubicBezTo>
                    <a:cubicBezTo>
                      <a:pt x="556021" y="292212"/>
                      <a:pt x="559629" y="292212"/>
                      <a:pt x="561902" y="290013"/>
                    </a:cubicBezTo>
                    <a:cubicBezTo>
                      <a:pt x="564194" y="287835"/>
                      <a:pt x="564287" y="284214"/>
                      <a:pt x="562110" y="281922"/>
                    </a:cubicBezTo>
                    <a:cubicBezTo>
                      <a:pt x="562043" y="281850"/>
                      <a:pt x="561974" y="281782"/>
                      <a:pt x="561902" y="281714"/>
                    </a:cubicBezTo>
                    <a:moveTo>
                      <a:pt x="594523" y="251239"/>
                    </a:moveTo>
                    <a:cubicBezTo>
                      <a:pt x="592413" y="249186"/>
                      <a:pt x="589051" y="249186"/>
                      <a:pt x="586940" y="251239"/>
                    </a:cubicBezTo>
                    <a:cubicBezTo>
                      <a:pt x="584904" y="253301"/>
                      <a:pt x="584904" y="256618"/>
                      <a:pt x="586940" y="258679"/>
                    </a:cubicBezTo>
                    <a:cubicBezTo>
                      <a:pt x="589051" y="260732"/>
                      <a:pt x="592413" y="260732"/>
                      <a:pt x="594523" y="258679"/>
                    </a:cubicBezTo>
                    <a:cubicBezTo>
                      <a:pt x="596559" y="256618"/>
                      <a:pt x="596559" y="253301"/>
                      <a:pt x="594523" y="251239"/>
                    </a:cubicBezTo>
                    <a:moveTo>
                      <a:pt x="627001" y="220764"/>
                    </a:moveTo>
                    <a:cubicBezTo>
                      <a:pt x="625144" y="218933"/>
                      <a:pt x="622155" y="218955"/>
                      <a:pt x="620324" y="220812"/>
                    </a:cubicBezTo>
                    <a:cubicBezTo>
                      <a:pt x="618494" y="222669"/>
                      <a:pt x="618516" y="225658"/>
                      <a:pt x="620371" y="227489"/>
                    </a:cubicBezTo>
                    <a:cubicBezTo>
                      <a:pt x="622210" y="229302"/>
                      <a:pt x="625163" y="229302"/>
                      <a:pt x="627001" y="227489"/>
                    </a:cubicBezTo>
                    <a:cubicBezTo>
                      <a:pt x="628858" y="225658"/>
                      <a:pt x="628880" y="222669"/>
                      <a:pt x="627049" y="220812"/>
                    </a:cubicBezTo>
                    <a:cubicBezTo>
                      <a:pt x="627033" y="220796"/>
                      <a:pt x="627017" y="220780"/>
                      <a:pt x="627001" y="220764"/>
                    </a:cubicBezTo>
                    <a:moveTo>
                      <a:pt x="659479" y="190290"/>
                    </a:moveTo>
                    <a:cubicBezTo>
                      <a:pt x="657810" y="188654"/>
                      <a:pt x="655140" y="188654"/>
                      <a:pt x="653470" y="190290"/>
                    </a:cubicBezTo>
                    <a:cubicBezTo>
                      <a:pt x="651906" y="191988"/>
                      <a:pt x="651906" y="194600"/>
                      <a:pt x="653470" y="196299"/>
                    </a:cubicBezTo>
                    <a:cubicBezTo>
                      <a:pt x="655140" y="197934"/>
                      <a:pt x="657810" y="197934"/>
                      <a:pt x="659479" y="196299"/>
                    </a:cubicBezTo>
                    <a:cubicBezTo>
                      <a:pt x="661099" y="194679"/>
                      <a:pt x="661099" y="192052"/>
                      <a:pt x="659479" y="190433"/>
                    </a:cubicBezTo>
                    <a:moveTo>
                      <a:pt x="692243" y="159958"/>
                    </a:moveTo>
                    <a:cubicBezTo>
                      <a:pt x="690873" y="158536"/>
                      <a:pt x="688608" y="158494"/>
                      <a:pt x="687186" y="159865"/>
                    </a:cubicBezTo>
                    <a:cubicBezTo>
                      <a:pt x="687154" y="159895"/>
                      <a:pt x="687123" y="159926"/>
                      <a:pt x="687093" y="159958"/>
                    </a:cubicBezTo>
                    <a:cubicBezTo>
                      <a:pt x="685693" y="161446"/>
                      <a:pt x="685693" y="163763"/>
                      <a:pt x="687093" y="165251"/>
                    </a:cubicBezTo>
                    <a:cubicBezTo>
                      <a:pt x="688463" y="166674"/>
                      <a:pt x="690728" y="166715"/>
                      <a:pt x="692150" y="165344"/>
                    </a:cubicBezTo>
                    <a:cubicBezTo>
                      <a:pt x="692182" y="165314"/>
                      <a:pt x="692213" y="165283"/>
                      <a:pt x="692243" y="165251"/>
                    </a:cubicBezTo>
                    <a:cubicBezTo>
                      <a:pt x="693666" y="163881"/>
                      <a:pt x="693707" y="161616"/>
                      <a:pt x="692336" y="160194"/>
                    </a:cubicBezTo>
                    <a:cubicBezTo>
                      <a:pt x="692306" y="160162"/>
                      <a:pt x="692275" y="160131"/>
                      <a:pt x="692243" y="160101"/>
                    </a:cubicBezTo>
                    <a:moveTo>
                      <a:pt x="724864" y="129483"/>
                    </a:moveTo>
                    <a:cubicBezTo>
                      <a:pt x="723637" y="128264"/>
                      <a:pt x="721657" y="128264"/>
                      <a:pt x="720429" y="129483"/>
                    </a:cubicBezTo>
                    <a:cubicBezTo>
                      <a:pt x="719245" y="130529"/>
                      <a:pt x="719130" y="132336"/>
                      <a:pt x="720176" y="133522"/>
                    </a:cubicBezTo>
                    <a:cubicBezTo>
                      <a:pt x="720255" y="133612"/>
                      <a:pt x="720339" y="133696"/>
                      <a:pt x="720429" y="133775"/>
                    </a:cubicBezTo>
                    <a:cubicBezTo>
                      <a:pt x="721549" y="135000"/>
                      <a:pt x="723449" y="135086"/>
                      <a:pt x="724674" y="133965"/>
                    </a:cubicBezTo>
                    <a:cubicBezTo>
                      <a:pt x="724740" y="133905"/>
                      <a:pt x="724804" y="133841"/>
                      <a:pt x="724864" y="133775"/>
                    </a:cubicBezTo>
                    <a:cubicBezTo>
                      <a:pt x="726084" y="132547"/>
                      <a:pt x="726084" y="130567"/>
                      <a:pt x="724864" y="129340"/>
                    </a:cubicBezTo>
                    <a:moveTo>
                      <a:pt x="757343" y="98865"/>
                    </a:moveTo>
                    <a:cubicBezTo>
                      <a:pt x="756297" y="97883"/>
                      <a:pt x="754668" y="97883"/>
                      <a:pt x="753623" y="98865"/>
                    </a:cubicBezTo>
                    <a:cubicBezTo>
                      <a:pt x="752595" y="99852"/>
                      <a:pt x="752564" y="101486"/>
                      <a:pt x="753551" y="102513"/>
                    </a:cubicBezTo>
                    <a:cubicBezTo>
                      <a:pt x="754538" y="103540"/>
                      <a:pt x="756172" y="103572"/>
                      <a:pt x="757199" y="102585"/>
                    </a:cubicBezTo>
                    <a:cubicBezTo>
                      <a:pt x="758181" y="101539"/>
                      <a:pt x="758181" y="99911"/>
                      <a:pt x="757199" y="98865"/>
                    </a:cubicBezTo>
                    <a:moveTo>
                      <a:pt x="451592" y="424503"/>
                    </a:moveTo>
                    <a:cubicBezTo>
                      <a:pt x="448470" y="421367"/>
                      <a:pt x="443398" y="421354"/>
                      <a:pt x="440260" y="424474"/>
                    </a:cubicBezTo>
                    <a:cubicBezTo>
                      <a:pt x="437124" y="427596"/>
                      <a:pt x="437111" y="432670"/>
                      <a:pt x="440233" y="435806"/>
                    </a:cubicBezTo>
                    <a:cubicBezTo>
                      <a:pt x="443353" y="438942"/>
                      <a:pt x="448427" y="438955"/>
                      <a:pt x="451563" y="435835"/>
                    </a:cubicBezTo>
                    <a:cubicBezTo>
                      <a:pt x="451573" y="435825"/>
                      <a:pt x="451582" y="435816"/>
                      <a:pt x="451592" y="435806"/>
                    </a:cubicBezTo>
                    <a:cubicBezTo>
                      <a:pt x="454702" y="432680"/>
                      <a:pt x="454702" y="427629"/>
                      <a:pt x="451592" y="424503"/>
                    </a:cubicBezTo>
                    <a:moveTo>
                      <a:pt x="484070" y="394028"/>
                    </a:moveTo>
                    <a:cubicBezTo>
                      <a:pt x="481297" y="391105"/>
                      <a:pt x="476677" y="390982"/>
                      <a:pt x="473754" y="393756"/>
                    </a:cubicBezTo>
                    <a:cubicBezTo>
                      <a:pt x="473661" y="393845"/>
                      <a:pt x="473571" y="393935"/>
                      <a:pt x="473482" y="394028"/>
                    </a:cubicBezTo>
                    <a:cubicBezTo>
                      <a:pt x="470479" y="396872"/>
                      <a:pt x="470352" y="401612"/>
                      <a:pt x="473196" y="404616"/>
                    </a:cubicBezTo>
                    <a:cubicBezTo>
                      <a:pt x="476040" y="407619"/>
                      <a:pt x="480780" y="407746"/>
                      <a:pt x="483783" y="404902"/>
                    </a:cubicBezTo>
                    <a:cubicBezTo>
                      <a:pt x="486668" y="402088"/>
                      <a:pt x="486724" y="397468"/>
                      <a:pt x="483909" y="394583"/>
                    </a:cubicBezTo>
                    <a:cubicBezTo>
                      <a:pt x="483868" y="394540"/>
                      <a:pt x="483826" y="394499"/>
                      <a:pt x="483783" y="394457"/>
                    </a:cubicBezTo>
                    <a:moveTo>
                      <a:pt x="516261" y="363839"/>
                    </a:moveTo>
                    <a:cubicBezTo>
                      <a:pt x="513546" y="361222"/>
                      <a:pt x="509248" y="361222"/>
                      <a:pt x="506532" y="363839"/>
                    </a:cubicBezTo>
                    <a:cubicBezTo>
                      <a:pt x="503807" y="366476"/>
                      <a:pt x="503734" y="370824"/>
                      <a:pt x="506371" y="373550"/>
                    </a:cubicBezTo>
                    <a:cubicBezTo>
                      <a:pt x="506424" y="373604"/>
                      <a:pt x="506478" y="373658"/>
                      <a:pt x="506532" y="373711"/>
                    </a:cubicBezTo>
                    <a:cubicBezTo>
                      <a:pt x="509248" y="376328"/>
                      <a:pt x="513546" y="376328"/>
                      <a:pt x="516261" y="373711"/>
                    </a:cubicBezTo>
                    <a:cubicBezTo>
                      <a:pt x="518987" y="371075"/>
                      <a:pt x="519060" y="366727"/>
                      <a:pt x="516423" y="364001"/>
                    </a:cubicBezTo>
                    <a:cubicBezTo>
                      <a:pt x="516370" y="363947"/>
                      <a:pt x="516316" y="363892"/>
                      <a:pt x="516261" y="363839"/>
                    </a:cubicBezTo>
                    <a:moveTo>
                      <a:pt x="548883" y="333364"/>
                    </a:moveTo>
                    <a:cubicBezTo>
                      <a:pt x="546330" y="330893"/>
                      <a:pt x="542278" y="330893"/>
                      <a:pt x="539726" y="333364"/>
                    </a:cubicBezTo>
                    <a:cubicBezTo>
                      <a:pt x="537326" y="335945"/>
                      <a:pt x="537326" y="339940"/>
                      <a:pt x="539726" y="342521"/>
                    </a:cubicBezTo>
                    <a:cubicBezTo>
                      <a:pt x="542278" y="344992"/>
                      <a:pt x="546330" y="344992"/>
                      <a:pt x="548883" y="342521"/>
                    </a:cubicBezTo>
                    <a:cubicBezTo>
                      <a:pt x="551282" y="339940"/>
                      <a:pt x="551282" y="335945"/>
                      <a:pt x="548883" y="333364"/>
                    </a:cubicBezTo>
                    <a:moveTo>
                      <a:pt x="581647" y="303033"/>
                    </a:moveTo>
                    <a:cubicBezTo>
                      <a:pt x="579435" y="300662"/>
                      <a:pt x="575719" y="300534"/>
                      <a:pt x="573348" y="302746"/>
                    </a:cubicBezTo>
                    <a:cubicBezTo>
                      <a:pt x="570978" y="304958"/>
                      <a:pt x="570850" y="308674"/>
                      <a:pt x="573062" y="311045"/>
                    </a:cubicBezTo>
                    <a:cubicBezTo>
                      <a:pt x="575240" y="313337"/>
                      <a:pt x="578861" y="313430"/>
                      <a:pt x="581153" y="311252"/>
                    </a:cubicBezTo>
                    <a:cubicBezTo>
                      <a:pt x="581225" y="311185"/>
                      <a:pt x="581293" y="311116"/>
                      <a:pt x="581360" y="311045"/>
                    </a:cubicBezTo>
                    <a:cubicBezTo>
                      <a:pt x="583653" y="308754"/>
                      <a:pt x="583653" y="305040"/>
                      <a:pt x="581363" y="302749"/>
                    </a:cubicBezTo>
                    <a:cubicBezTo>
                      <a:pt x="581362" y="302748"/>
                      <a:pt x="581362" y="302748"/>
                      <a:pt x="581360" y="302746"/>
                    </a:cubicBezTo>
                    <a:moveTo>
                      <a:pt x="613839" y="272271"/>
                    </a:moveTo>
                    <a:cubicBezTo>
                      <a:pt x="611744" y="270231"/>
                      <a:pt x="608393" y="270274"/>
                      <a:pt x="606353" y="272369"/>
                    </a:cubicBezTo>
                    <a:cubicBezTo>
                      <a:pt x="604313" y="274462"/>
                      <a:pt x="604355" y="277814"/>
                      <a:pt x="606450" y="279854"/>
                    </a:cubicBezTo>
                    <a:cubicBezTo>
                      <a:pt x="608505" y="281857"/>
                      <a:pt x="611783" y="281857"/>
                      <a:pt x="613839" y="279854"/>
                    </a:cubicBezTo>
                    <a:cubicBezTo>
                      <a:pt x="615892" y="277744"/>
                      <a:pt x="615892" y="274382"/>
                      <a:pt x="613839" y="272271"/>
                    </a:cubicBezTo>
                    <a:moveTo>
                      <a:pt x="646316" y="241797"/>
                    </a:moveTo>
                    <a:cubicBezTo>
                      <a:pt x="644459" y="239965"/>
                      <a:pt x="641471" y="239987"/>
                      <a:pt x="639639" y="241844"/>
                    </a:cubicBezTo>
                    <a:cubicBezTo>
                      <a:pt x="637809" y="243701"/>
                      <a:pt x="637831" y="246690"/>
                      <a:pt x="639686" y="248521"/>
                    </a:cubicBezTo>
                    <a:cubicBezTo>
                      <a:pt x="641525" y="250334"/>
                      <a:pt x="644478" y="250334"/>
                      <a:pt x="646316" y="248521"/>
                    </a:cubicBezTo>
                    <a:cubicBezTo>
                      <a:pt x="648174" y="246690"/>
                      <a:pt x="648195" y="243701"/>
                      <a:pt x="646364" y="241844"/>
                    </a:cubicBezTo>
                    <a:cubicBezTo>
                      <a:pt x="646348" y="241828"/>
                      <a:pt x="646332" y="241812"/>
                      <a:pt x="646316" y="241797"/>
                    </a:cubicBezTo>
                    <a:moveTo>
                      <a:pt x="679081" y="211035"/>
                    </a:moveTo>
                    <a:cubicBezTo>
                      <a:pt x="677382" y="209381"/>
                      <a:pt x="674664" y="209419"/>
                      <a:pt x="673011" y="211118"/>
                    </a:cubicBezTo>
                    <a:cubicBezTo>
                      <a:pt x="671357" y="212817"/>
                      <a:pt x="671395" y="215534"/>
                      <a:pt x="673094" y="217188"/>
                    </a:cubicBezTo>
                    <a:cubicBezTo>
                      <a:pt x="674760" y="218809"/>
                      <a:pt x="677414" y="218809"/>
                      <a:pt x="679081" y="217188"/>
                    </a:cubicBezTo>
                    <a:cubicBezTo>
                      <a:pt x="680716" y="215518"/>
                      <a:pt x="680716" y="212848"/>
                      <a:pt x="679081" y="211179"/>
                    </a:cubicBezTo>
                    <a:moveTo>
                      <a:pt x="711559" y="180704"/>
                    </a:moveTo>
                    <a:cubicBezTo>
                      <a:pt x="710188" y="179281"/>
                      <a:pt x="707923" y="179240"/>
                      <a:pt x="706501" y="180611"/>
                    </a:cubicBezTo>
                    <a:cubicBezTo>
                      <a:pt x="706469" y="180641"/>
                      <a:pt x="706438" y="180672"/>
                      <a:pt x="706408" y="180704"/>
                    </a:cubicBezTo>
                    <a:cubicBezTo>
                      <a:pt x="704986" y="182074"/>
                      <a:pt x="704944" y="184339"/>
                      <a:pt x="706315" y="185761"/>
                    </a:cubicBezTo>
                    <a:cubicBezTo>
                      <a:pt x="706345" y="185793"/>
                      <a:pt x="706376" y="185824"/>
                      <a:pt x="706408" y="185854"/>
                    </a:cubicBezTo>
                    <a:cubicBezTo>
                      <a:pt x="707779" y="187276"/>
                      <a:pt x="710043" y="187318"/>
                      <a:pt x="711466" y="185947"/>
                    </a:cubicBezTo>
                    <a:cubicBezTo>
                      <a:pt x="711497" y="185917"/>
                      <a:pt x="711529" y="185886"/>
                      <a:pt x="711559" y="185854"/>
                    </a:cubicBezTo>
                    <a:cubicBezTo>
                      <a:pt x="712958" y="184368"/>
                      <a:pt x="712958" y="182048"/>
                      <a:pt x="711559" y="180560"/>
                    </a:cubicBezTo>
                    <a:moveTo>
                      <a:pt x="744037" y="150086"/>
                    </a:moveTo>
                    <a:cubicBezTo>
                      <a:pt x="742809" y="148867"/>
                      <a:pt x="740829" y="148867"/>
                      <a:pt x="739601" y="150086"/>
                    </a:cubicBezTo>
                    <a:cubicBezTo>
                      <a:pt x="738455" y="151342"/>
                      <a:pt x="738455" y="153265"/>
                      <a:pt x="739601" y="154521"/>
                    </a:cubicBezTo>
                    <a:cubicBezTo>
                      <a:pt x="740829" y="155740"/>
                      <a:pt x="742809" y="155740"/>
                      <a:pt x="744037" y="154521"/>
                    </a:cubicBezTo>
                    <a:cubicBezTo>
                      <a:pt x="745261" y="153402"/>
                      <a:pt x="745347" y="151501"/>
                      <a:pt x="744227" y="150276"/>
                    </a:cubicBezTo>
                    <a:cubicBezTo>
                      <a:pt x="744167" y="150210"/>
                      <a:pt x="744102" y="150146"/>
                      <a:pt x="744037" y="150086"/>
                    </a:cubicBezTo>
                    <a:moveTo>
                      <a:pt x="776658" y="119611"/>
                    </a:moveTo>
                    <a:cubicBezTo>
                      <a:pt x="775630" y="118626"/>
                      <a:pt x="774001" y="118662"/>
                      <a:pt x="773016" y="119689"/>
                    </a:cubicBezTo>
                    <a:cubicBezTo>
                      <a:pt x="772032" y="120717"/>
                      <a:pt x="772068" y="122346"/>
                      <a:pt x="773095" y="123331"/>
                    </a:cubicBezTo>
                    <a:cubicBezTo>
                      <a:pt x="774091" y="124285"/>
                      <a:pt x="775662" y="124285"/>
                      <a:pt x="776658" y="123331"/>
                    </a:cubicBezTo>
                    <a:cubicBezTo>
                      <a:pt x="777573" y="122260"/>
                      <a:pt x="777573" y="120681"/>
                      <a:pt x="776658" y="119611"/>
                    </a:cubicBezTo>
                    <a:moveTo>
                      <a:pt x="354587" y="320917"/>
                    </a:moveTo>
                    <a:cubicBezTo>
                      <a:pt x="351461" y="317806"/>
                      <a:pt x="346410" y="317806"/>
                      <a:pt x="343284" y="320917"/>
                    </a:cubicBezTo>
                    <a:cubicBezTo>
                      <a:pt x="340222" y="324112"/>
                      <a:pt x="340331" y="329184"/>
                      <a:pt x="343526" y="332246"/>
                    </a:cubicBezTo>
                    <a:cubicBezTo>
                      <a:pt x="346456" y="335053"/>
                      <a:pt x="351023" y="335227"/>
                      <a:pt x="354158" y="332649"/>
                    </a:cubicBezTo>
                    <a:cubicBezTo>
                      <a:pt x="357285" y="329474"/>
                      <a:pt x="357285" y="324378"/>
                      <a:pt x="354158" y="321203"/>
                    </a:cubicBezTo>
                    <a:moveTo>
                      <a:pt x="386636" y="290728"/>
                    </a:moveTo>
                    <a:cubicBezTo>
                      <a:pt x="383713" y="287841"/>
                      <a:pt x="379001" y="287871"/>
                      <a:pt x="376114" y="290794"/>
                    </a:cubicBezTo>
                    <a:cubicBezTo>
                      <a:pt x="373227" y="293718"/>
                      <a:pt x="373257" y="298428"/>
                      <a:pt x="376180" y="301316"/>
                    </a:cubicBezTo>
                    <a:cubicBezTo>
                      <a:pt x="379078" y="304177"/>
                      <a:pt x="383738" y="304177"/>
                      <a:pt x="386636" y="301316"/>
                    </a:cubicBezTo>
                    <a:cubicBezTo>
                      <a:pt x="389559" y="298428"/>
                      <a:pt x="389589" y="293718"/>
                      <a:pt x="386702" y="290794"/>
                    </a:cubicBezTo>
                    <a:cubicBezTo>
                      <a:pt x="386680" y="290772"/>
                      <a:pt x="386659" y="290750"/>
                      <a:pt x="386636" y="290728"/>
                    </a:cubicBezTo>
                    <a:moveTo>
                      <a:pt x="419543" y="260110"/>
                    </a:moveTo>
                    <a:cubicBezTo>
                      <a:pt x="416827" y="257493"/>
                      <a:pt x="412529" y="257493"/>
                      <a:pt x="409814" y="260110"/>
                    </a:cubicBezTo>
                    <a:cubicBezTo>
                      <a:pt x="407088" y="262747"/>
                      <a:pt x="407015" y="267095"/>
                      <a:pt x="409652" y="269821"/>
                    </a:cubicBezTo>
                    <a:cubicBezTo>
                      <a:pt x="409705" y="269875"/>
                      <a:pt x="409759" y="269929"/>
                      <a:pt x="409814" y="269982"/>
                    </a:cubicBezTo>
                    <a:cubicBezTo>
                      <a:pt x="412529" y="272599"/>
                      <a:pt x="416827" y="272599"/>
                      <a:pt x="419543" y="269982"/>
                    </a:cubicBezTo>
                    <a:cubicBezTo>
                      <a:pt x="422268" y="267345"/>
                      <a:pt x="422341" y="262997"/>
                      <a:pt x="419705" y="260272"/>
                    </a:cubicBezTo>
                    <a:cubicBezTo>
                      <a:pt x="419652" y="260217"/>
                      <a:pt x="419597" y="260163"/>
                      <a:pt x="419543" y="260110"/>
                    </a:cubicBezTo>
                    <a:moveTo>
                      <a:pt x="452164" y="229635"/>
                    </a:moveTo>
                    <a:cubicBezTo>
                      <a:pt x="449614" y="227156"/>
                      <a:pt x="445538" y="227213"/>
                      <a:pt x="443060" y="229762"/>
                    </a:cubicBezTo>
                    <a:cubicBezTo>
                      <a:pt x="440765" y="232122"/>
                      <a:pt x="440619" y="235830"/>
                      <a:pt x="442721" y="238363"/>
                    </a:cubicBezTo>
                    <a:cubicBezTo>
                      <a:pt x="445273" y="240834"/>
                      <a:pt x="449325" y="240834"/>
                      <a:pt x="451878" y="238363"/>
                    </a:cubicBezTo>
                    <a:cubicBezTo>
                      <a:pt x="454367" y="235935"/>
                      <a:pt x="454417" y="231950"/>
                      <a:pt x="451989" y="229461"/>
                    </a:cubicBezTo>
                    <a:cubicBezTo>
                      <a:pt x="451952" y="229423"/>
                      <a:pt x="451915" y="229386"/>
                      <a:pt x="451878" y="229349"/>
                    </a:cubicBezTo>
                    <a:moveTo>
                      <a:pt x="484356" y="198874"/>
                    </a:moveTo>
                    <a:cubicBezTo>
                      <a:pt x="482144" y="196503"/>
                      <a:pt x="478428" y="196376"/>
                      <a:pt x="476057" y="198588"/>
                    </a:cubicBezTo>
                    <a:cubicBezTo>
                      <a:pt x="473687" y="200800"/>
                      <a:pt x="473559" y="204515"/>
                      <a:pt x="475771" y="206886"/>
                    </a:cubicBezTo>
                    <a:cubicBezTo>
                      <a:pt x="477983" y="209257"/>
                      <a:pt x="481699" y="209384"/>
                      <a:pt x="484070" y="207172"/>
                    </a:cubicBezTo>
                    <a:cubicBezTo>
                      <a:pt x="486440" y="204960"/>
                      <a:pt x="486568" y="201245"/>
                      <a:pt x="484356" y="198874"/>
                    </a:cubicBezTo>
                    <a:moveTo>
                      <a:pt x="516834" y="168399"/>
                    </a:moveTo>
                    <a:cubicBezTo>
                      <a:pt x="514772" y="166363"/>
                      <a:pt x="511456" y="166363"/>
                      <a:pt x="509394" y="168399"/>
                    </a:cubicBezTo>
                    <a:cubicBezTo>
                      <a:pt x="507205" y="170454"/>
                      <a:pt x="507095" y="173895"/>
                      <a:pt x="509149" y="176084"/>
                    </a:cubicBezTo>
                    <a:cubicBezTo>
                      <a:pt x="511204" y="178274"/>
                      <a:pt x="514645" y="178383"/>
                      <a:pt x="516834" y="176330"/>
                    </a:cubicBezTo>
                    <a:cubicBezTo>
                      <a:pt x="519024" y="174275"/>
                      <a:pt x="519133" y="170834"/>
                      <a:pt x="517078" y="168644"/>
                    </a:cubicBezTo>
                    <a:cubicBezTo>
                      <a:pt x="517000" y="168559"/>
                      <a:pt x="516918" y="168478"/>
                      <a:pt x="516834" y="168399"/>
                    </a:cubicBezTo>
                    <a:moveTo>
                      <a:pt x="550313" y="138067"/>
                    </a:moveTo>
                    <a:cubicBezTo>
                      <a:pt x="548415" y="136176"/>
                      <a:pt x="545344" y="136176"/>
                      <a:pt x="543446" y="138067"/>
                    </a:cubicBezTo>
                    <a:cubicBezTo>
                      <a:pt x="541550" y="139884"/>
                      <a:pt x="541486" y="142896"/>
                      <a:pt x="543303" y="144792"/>
                    </a:cubicBezTo>
                    <a:cubicBezTo>
                      <a:pt x="545120" y="146689"/>
                      <a:pt x="548130" y="146752"/>
                      <a:pt x="550027" y="144935"/>
                    </a:cubicBezTo>
                    <a:cubicBezTo>
                      <a:pt x="551826" y="143055"/>
                      <a:pt x="551826" y="140090"/>
                      <a:pt x="550027" y="138210"/>
                    </a:cubicBezTo>
                    <a:moveTo>
                      <a:pt x="582505" y="107735"/>
                    </a:moveTo>
                    <a:cubicBezTo>
                      <a:pt x="580835" y="106100"/>
                      <a:pt x="578166" y="106100"/>
                      <a:pt x="576496" y="107735"/>
                    </a:cubicBezTo>
                    <a:cubicBezTo>
                      <a:pt x="574798" y="109316"/>
                      <a:pt x="574700" y="111975"/>
                      <a:pt x="576281" y="113673"/>
                    </a:cubicBezTo>
                    <a:cubicBezTo>
                      <a:pt x="577862" y="115371"/>
                      <a:pt x="580521" y="115469"/>
                      <a:pt x="582219" y="113888"/>
                    </a:cubicBezTo>
                    <a:cubicBezTo>
                      <a:pt x="583854" y="112218"/>
                      <a:pt x="583854" y="109548"/>
                      <a:pt x="582219" y="107878"/>
                    </a:cubicBezTo>
                    <a:moveTo>
                      <a:pt x="614697" y="77404"/>
                    </a:moveTo>
                    <a:cubicBezTo>
                      <a:pt x="613326" y="75981"/>
                      <a:pt x="611061" y="75940"/>
                      <a:pt x="609639" y="77311"/>
                    </a:cubicBezTo>
                    <a:cubicBezTo>
                      <a:pt x="609608" y="77341"/>
                      <a:pt x="609576" y="77372"/>
                      <a:pt x="609546" y="77404"/>
                    </a:cubicBezTo>
                    <a:cubicBezTo>
                      <a:pt x="608084" y="78786"/>
                      <a:pt x="608020" y="81092"/>
                      <a:pt x="609403" y="82554"/>
                    </a:cubicBezTo>
                    <a:cubicBezTo>
                      <a:pt x="610785" y="84016"/>
                      <a:pt x="613092" y="84079"/>
                      <a:pt x="614554" y="82697"/>
                    </a:cubicBezTo>
                    <a:cubicBezTo>
                      <a:pt x="615976" y="81327"/>
                      <a:pt x="616018" y="79062"/>
                      <a:pt x="614647" y="77640"/>
                    </a:cubicBezTo>
                    <a:cubicBezTo>
                      <a:pt x="614617" y="77608"/>
                      <a:pt x="614585" y="77577"/>
                      <a:pt x="614554" y="77547"/>
                    </a:cubicBezTo>
                    <a:moveTo>
                      <a:pt x="647032" y="47072"/>
                    </a:moveTo>
                    <a:cubicBezTo>
                      <a:pt x="645804" y="45853"/>
                      <a:pt x="643824" y="45853"/>
                      <a:pt x="642596" y="47072"/>
                    </a:cubicBezTo>
                    <a:cubicBezTo>
                      <a:pt x="641451" y="48328"/>
                      <a:pt x="641451" y="50251"/>
                      <a:pt x="642596" y="51507"/>
                    </a:cubicBezTo>
                    <a:cubicBezTo>
                      <a:pt x="643824" y="52726"/>
                      <a:pt x="645804" y="52726"/>
                      <a:pt x="647032" y="51507"/>
                    </a:cubicBezTo>
                    <a:cubicBezTo>
                      <a:pt x="648257" y="50387"/>
                      <a:pt x="648342" y="48487"/>
                      <a:pt x="647222" y="47262"/>
                    </a:cubicBezTo>
                    <a:cubicBezTo>
                      <a:pt x="647162" y="47196"/>
                      <a:pt x="647098" y="47132"/>
                      <a:pt x="647032" y="47072"/>
                    </a:cubicBezTo>
                    <a:moveTo>
                      <a:pt x="679796" y="16883"/>
                    </a:moveTo>
                    <a:cubicBezTo>
                      <a:pt x="678809" y="15860"/>
                      <a:pt x="677178" y="15830"/>
                      <a:pt x="676155" y="16819"/>
                    </a:cubicBezTo>
                    <a:cubicBezTo>
                      <a:pt x="675132" y="17806"/>
                      <a:pt x="675102" y="19437"/>
                      <a:pt x="676090" y="20460"/>
                    </a:cubicBezTo>
                    <a:cubicBezTo>
                      <a:pt x="677078" y="21483"/>
                      <a:pt x="678709" y="21513"/>
                      <a:pt x="679732" y="20524"/>
                    </a:cubicBezTo>
                    <a:cubicBezTo>
                      <a:pt x="679753" y="20503"/>
                      <a:pt x="679775" y="20481"/>
                      <a:pt x="679796" y="20460"/>
                    </a:cubicBezTo>
                    <a:cubicBezTo>
                      <a:pt x="680759" y="19463"/>
                      <a:pt x="680759" y="17880"/>
                      <a:pt x="679796" y="16883"/>
                    </a:cubicBezTo>
                    <a:moveTo>
                      <a:pt x="373902" y="341663"/>
                    </a:moveTo>
                    <a:cubicBezTo>
                      <a:pt x="370776" y="338552"/>
                      <a:pt x="365725" y="338552"/>
                      <a:pt x="362599" y="341663"/>
                    </a:cubicBezTo>
                    <a:cubicBezTo>
                      <a:pt x="359360" y="344704"/>
                      <a:pt x="359200" y="349798"/>
                      <a:pt x="362241" y="353037"/>
                    </a:cubicBezTo>
                    <a:cubicBezTo>
                      <a:pt x="365283" y="356276"/>
                      <a:pt x="370377" y="356437"/>
                      <a:pt x="373616" y="353395"/>
                    </a:cubicBezTo>
                    <a:cubicBezTo>
                      <a:pt x="376726" y="350269"/>
                      <a:pt x="376726" y="345218"/>
                      <a:pt x="373616" y="342092"/>
                    </a:cubicBezTo>
                    <a:moveTo>
                      <a:pt x="407238" y="311188"/>
                    </a:moveTo>
                    <a:cubicBezTo>
                      <a:pt x="404433" y="308146"/>
                      <a:pt x="399693" y="307953"/>
                      <a:pt x="396651" y="310759"/>
                    </a:cubicBezTo>
                    <a:cubicBezTo>
                      <a:pt x="393609" y="313564"/>
                      <a:pt x="393416" y="318304"/>
                      <a:pt x="396222" y="321346"/>
                    </a:cubicBezTo>
                    <a:cubicBezTo>
                      <a:pt x="398996" y="324269"/>
                      <a:pt x="403614" y="324392"/>
                      <a:pt x="406537" y="321618"/>
                    </a:cubicBezTo>
                    <a:cubicBezTo>
                      <a:pt x="406630" y="321529"/>
                      <a:pt x="406721" y="321439"/>
                      <a:pt x="406809" y="321346"/>
                    </a:cubicBezTo>
                    <a:cubicBezTo>
                      <a:pt x="409681" y="318402"/>
                      <a:pt x="409681" y="313703"/>
                      <a:pt x="406809" y="310759"/>
                    </a:cubicBezTo>
                    <a:moveTo>
                      <a:pt x="439287" y="280284"/>
                    </a:moveTo>
                    <a:cubicBezTo>
                      <a:pt x="436650" y="277558"/>
                      <a:pt x="432302" y="277485"/>
                      <a:pt x="429577" y="280122"/>
                    </a:cubicBezTo>
                    <a:cubicBezTo>
                      <a:pt x="429521" y="280175"/>
                      <a:pt x="429468" y="280229"/>
                      <a:pt x="429415" y="280284"/>
                    </a:cubicBezTo>
                    <a:cubicBezTo>
                      <a:pt x="426798" y="282999"/>
                      <a:pt x="426798" y="287297"/>
                      <a:pt x="429415" y="290013"/>
                    </a:cubicBezTo>
                    <a:cubicBezTo>
                      <a:pt x="432052" y="292738"/>
                      <a:pt x="436400" y="292811"/>
                      <a:pt x="439126" y="290174"/>
                    </a:cubicBezTo>
                    <a:cubicBezTo>
                      <a:pt x="439181" y="290121"/>
                      <a:pt x="439234" y="290067"/>
                      <a:pt x="439287" y="290013"/>
                    </a:cubicBezTo>
                    <a:cubicBezTo>
                      <a:pt x="441904" y="287297"/>
                      <a:pt x="441904" y="282999"/>
                      <a:pt x="439287" y="280284"/>
                    </a:cubicBezTo>
                    <a:moveTo>
                      <a:pt x="471765" y="249809"/>
                    </a:moveTo>
                    <a:cubicBezTo>
                      <a:pt x="469276" y="247269"/>
                      <a:pt x="465200" y="247229"/>
                      <a:pt x="462660" y="249717"/>
                    </a:cubicBezTo>
                    <a:cubicBezTo>
                      <a:pt x="460122" y="252207"/>
                      <a:pt x="460080" y="256283"/>
                      <a:pt x="462570" y="258822"/>
                    </a:cubicBezTo>
                    <a:cubicBezTo>
                      <a:pt x="465058" y="261362"/>
                      <a:pt x="469134" y="261402"/>
                      <a:pt x="471674" y="258914"/>
                    </a:cubicBezTo>
                    <a:cubicBezTo>
                      <a:pt x="471705" y="258884"/>
                      <a:pt x="471735" y="258852"/>
                      <a:pt x="471765" y="258822"/>
                    </a:cubicBezTo>
                    <a:cubicBezTo>
                      <a:pt x="474255" y="256394"/>
                      <a:pt x="474305" y="252410"/>
                      <a:pt x="471877" y="249920"/>
                    </a:cubicBezTo>
                    <a:cubicBezTo>
                      <a:pt x="471840" y="249883"/>
                      <a:pt x="471802" y="249846"/>
                      <a:pt x="471765" y="249809"/>
                    </a:cubicBezTo>
                    <a:moveTo>
                      <a:pt x="504386" y="219334"/>
                    </a:moveTo>
                    <a:cubicBezTo>
                      <a:pt x="502174" y="216963"/>
                      <a:pt x="498459" y="216836"/>
                      <a:pt x="496088" y="219048"/>
                    </a:cubicBezTo>
                    <a:cubicBezTo>
                      <a:pt x="493717" y="221260"/>
                      <a:pt x="493590" y="224975"/>
                      <a:pt x="495802" y="227346"/>
                    </a:cubicBezTo>
                    <a:cubicBezTo>
                      <a:pt x="498014" y="229717"/>
                      <a:pt x="501729" y="229844"/>
                      <a:pt x="504100" y="227632"/>
                    </a:cubicBezTo>
                    <a:cubicBezTo>
                      <a:pt x="506471" y="225420"/>
                      <a:pt x="506598" y="221704"/>
                      <a:pt x="504386" y="219334"/>
                    </a:cubicBezTo>
                    <a:moveTo>
                      <a:pt x="536006" y="189288"/>
                    </a:moveTo>
                    <a:cubicBezTo>
                      <a:pt x="533951" y="187208"/>
                      <a:pt x="530599" y="187188"/>
                      <a:pt x="528520" y="189241"/>
                    </a:cubicBezTo>
                    <a:cubicBezTo>
                      <a:pt x="526440" y="191295"/>
                      <a:pt x="526418" y="194648"/>
                      <a:pt x="528473" y="196728"/>
                    </a:cubicBezTo>
                    <a:cubicBezTo>
                      <a:pt x="530528" y="198808"/>
                      <a:pt x="533880" y="198828"/>
                      <a:pt x="535959" y="196774"/>
                    </a:cubicBezTo>
                    <a:cubicBezTo>
                      <a:pt x="535974" y="196759"/>
                      <a:pt x="535990" y="196744"/>
                      <a:pt x="536006" y="196728"/>
                    </a:cubicBezTo>
                    <a:cubicBezTo>
                      <a:pt x="538042" y="194666"/>
                      <a:pt x="538042" y="191350"/>
                      <a:pt x="536006" y="189288"/>
                    </a:cubicBezTo>
                    <a:moveTo>
                      <a:pt x="568484" y="158813"/>
                    </a:moveTo>
                    <a:cubicBezTo>
                      <a:pt x="566627" y="156982"/>
                      <a:pt x="563638" y="157003"/>
                      <a:pt x="561806" y="158860"/>
                    </a:cubicBezTo>
                    <a:cubicBezTo>
                      <a:pt x="559977" y="160717"/>
                      <a:pt x="559997" y="163706"/>
                      <a:pt x="561854" y="165538"/>
                    </a:cubicBezTo>
                    <a:cubicBezTo>
                      <a:pt x="563692" y="167350"/>
                      <a:pt x="566645" y="167350"/>
                      <a:pt x="568484" y="165538"/>
                    </a:cubicBezTo>
                    <a:cubicBezTo>
                      <a:pt x="570341" y="163706"/>
                      <a:pt x="570362" y="160717"/>
                      <a:pt x="568531" y="158860"/>
                    </a:cubicBezTo>
                    <a:cubicBezTo>
                      <a:pt x="568515" y="158845"/>
                      <a:pt x="568500" y="158829"/>
                      <a:pt x="568484" y="158813"/>
                    </a:cubicBezTo>
                    <a:moveTo>
                      <a:pt x="600962" y="128338"/>
                    </a:moveTo>
                    <a:cubicBezTo>
                      <a:pt x="599342" y="126719"/>
                      <a:pt x="596715" y="126719"/>
                      <a:pt x="595096" y="128338"/>
                    </a:cubicBezTo>
                    <a:cubicBezTo>
                      <a:pt x="593460" y="130008"/>
                      <a:pt x="593460" y="132678"/>
                      <a:pt x="595096" y="134347"/>
                    </a:cubicBezTo>
                    <a:cubicBezTo>
                      <a:pt x="596677" y="136007"/>
                      <a:pt x="599302" y="136071"/>
                      <a:pt x="600962" y="134490"/>
                    </a:cubicBezTo>
                    <a:cubicBezTo>
                      <a:pt x="601010" y="134443"/>
                      <a:pt x="601059" y="134396"/>
                      <a:pt x="601105" y="134347"/>
                    </a:cubicBezTo>
                    <a:cubicBezTo>
                      <a:pt x="602724" y="132841"/>
                      <a:pt x="602816" y="130305"/>
                      <a:pt x="601309" y="128686"/>
                    </a:cubicBezTo>
                    <a:cubicBezTo>
                      <a:pt x="601244" y="128614"/>
                      <a:pt x="601175" y="128547"/>
                      <a:pt x="601105" y="128481"/>
                    </a:cubicBezTo>
                    <a:moveTo>
                      <a:pt x="633726" y="98006"/>
                    </a:moveTo>
                    <a:cubicBezTo>
                      <a:pt x="632304" y="96524"/>
                      <a:pt x="629949" y="96475"/>
                      <a:pt x="628466" y="97898"/>
                    </a:cubicBezTo>
                    <a:cubicBezTo>
                      <a:pt x="626984" y="99320"/>
                      <a:pt x="626936" y="101675"/>
                      <a:pt x="628358" y="103157"/>
                    </a:cubicBezTo>
                    <a:cubicBezTo>
                      <a:pt x="629780" y="104639"/>
                      <a:pt x="632135" y="104688"/>
                      <a:pt x="633617" y="103266"/>
                    </a:cubicBezTo>
                    <a:cubicBezTo>
                      <a:pt x="633654" y="103230"/>
                      <a:pt x="633690" y="103194"/>
                      <a:pt x="633726" y="103157"/>
                    </a:cubicBezTo>
                    <a:cubicBezTo>
                      <a:pt x="635107" y="101718"/>
                      <a:pt x="635107" y="99446"/>
                      <a:pt x="633726" y="98006"/>
                    </a:cubicBezTo>
                    <a:moveTo>
                      <a:pt x="666204" y="67531"/>
                    </a:moveTo>
                    <a:cubicBezTo>
                      <a:pt x="665084" y="66307"/>
                      <a:pt x="663184" y="66221"/>
                      <a:pt x="661959" y="67341"/>
                    </a:cubicBezTo>
                    <a:cubicBezTo>
                      <a:pt x="661893" y="67401"/>
                      <a:pt x="661829" y="67466"/>
                      <a:pt x="661769" y="67531"/>
                    </a:cubicBezTo>
                    <a:cubicBezTo>
                      <a:pt x="660550" y="68759"/>
                      <a:pt x="660550" y="70739"/>
                      <a:pt x="661769" y="71967"/>
                    </a:cubicBezTo>
                    <a:cubicBezTo>
                      <a:pt x="663025" y="73113"/>
                      <a:pt x="664948" y="73113"/>
                      <a:pt x="666204" y="71967"/>
                    </a:cubicBezTo>
                    <a:cubicBezTo>
                      <a:pt x="667423" y="70739"/>
                      <a:pt x="667423" y="68759"/>
                      <a:pt x="666204" y="67531"/>
                    </a:cubicBezTo>
                    <a:moveTo>
                      <a:pt x="699111" y="36913"/>
                    </a:moveTo>
                    <a:cubicBezTo>
                      <a:pt x="698124" y="35890"/>
                      <a:pt x="696493" y="35860"/>
                      <a:pt x="695470" y="36849"/>
                    </a:cubicBezTo>
                    <a:cubicBezTo>
                      <a:pt x="694447" y="37836"/>
                      <a:pt x="694417" y="39467"/>
                      <a:pt x="695405" y="40490"/>
                    </a:cubicBezTo>
                    <a:cubicBezTo>
                      <a:pt x="696393" y="41513"/>
                      <a:pt x="698024" y="41543"/>
                      <a:pt x="699047" y="40555"/>
                    </a:cubicBezTo>
                    <a:cubicBezTo>
                      <a:pt x="699068" y="40533"/>
                      <a:pt x="699090" y="40512"/>
                      <a:pt x="699111" y="40490"/>
                    </a:cubicBezTo>
                    <a:cubicBezTo>
                      <a:pt x="700098" y="39580"/>
                      <a:pt x="700161" y="38041"/>
                      <a:pt x="699251" y="37054"/>
                    </a:cubicBezTo>
                    <a:cubicBezTo>
                      <a:pt x="699207" y="37005"/>
                      <a:pt x="699160" y="36958"/>
                      <a:pt x="699111" y="36913"/>
                    </a:cubicBezTo>
                    <a:moveTo>
                      <a:pt x="392931" y="362409"/>
                    </a:moveTo>
                    <a:cubicBezTo>
                      <a:pt x="389809" y="359272"/>
                      <a:pt x="384737" y="359259"/>
                      <a:pt x="381599" y="362380"/>
                    </a:cubicBezTo>
                    <a:cubicBezTo>
                      <a:pt x="378463" y="365502"/>
                      <a:pt x="378450" y="370575"/>
                      <a:pt x="381572" y="373711"/>
                    </a:cubicBezTo>
                    <a:cubicBezTo>
                      <a:pt x="384693" y="376848"/>
                      <a:pt x="389766" y="376861"/>
                      <a:pt x="392902" y="373740"/>
                    </a:cubicBezTo>
                    <a:cubicBezTo>
                      <a:pt x="392912" y="373730"/>
                      <a:pt x="392921" y="373721"/>
                      <a:pt x="392931" y="373711"/>
                    </a:cubicBezTo>
                    <a:cubicBezTo>
                      <a:pt x="396041" y="370585"/>
                      <a:pt x="396041" y="365535"/>
                      <a:pt x="392931" y="362409"/>
                    </a:cubicBezTo>
                    <a:moveTo>
                      <a:pt x="425838" y="331647"/>
                    </a:moveTo>
                    <a:cubicBezTo>
                      <a:pt x="423032" y="328644"/>
                      <a:pt x="418325" y="328484"/>
                      <a:pt x="415322" y="331290"/>
                    </a:cubicBezTo>
                    <a:cubicBezTo>
                      <a:pt x="412319" y="334095"/>
                      <a:pt x="412159" y="338803"/>
                      <a:pt x="414965" y="341806"/>
                    </a:cubicBezTo>
                    <a:cubicBezTo>
                      <a:pt x="417909" y="344677"/>
                      <a:pt x="422608" y="344677"/>
                      <a:pt x="425552" y="341806"/>
                    </a:cubicBezTo>
                    <a:cubicBezTo>
                      <a:pt x="428475" y="338919"/>
                      <a:pt x="428505" y="334209"/>
                      <a:pt x="425618" y="331284"/>
                    </a:cubicBezTo>
                    <a:cubicBezTo>
                      <a:pt x="425596" y="331263"/>
                      <a:pt x="425574" y="331240"/>
                      <a:pt x="425552" y="331218"/>
                    </a:cubicBezTo>
                    <a:moveTo>
                      <a:pt x="458173" y="300743"/>
                    </a:moveTo>
                    <a:cubicBezTo>
                      <a:pt x="455486" y="298066"/>
                      <a:pt x="451138" y="298074"/>
                      <a:pt x="448461" y="300761"/>
                    </a:cubicBezTo>
                    <a:cubicBezTo>
                      <a:pt x="445784" y="303447"/>
                      <a:pt x="445791" y="307795"/>
                      <a:pt x="448478" y="310472"/>
                    </a:cubicBezTo>
                    <a:cubicBezTo>
                      <a:pt x="451158" y="313144"/>
                      <a:pt x="455493" y="313144"/>
                      <a:pt x="458173" y="310472"/>
                    </a:cubicBezTo>
                    <a:cubicBezTo>
                      <a:pt x="460860" y="307795"/>
                      <a:pt x="460867" y="303447"/>
                      <a:pt x="458190" y="300761"/>
                    </a:cubicBezTo>
                    <a:cubicBezTo>
                      <a:pt x="458185" y="300755"/>
                      <a:pt x="458179" y="300749"/>
                      <a:pt x="458173" y="300743"/>
                    </a:cubicBezTo>
                    <a:moveTo>
                      <a:pt x="490651" y="270268"/>
                    </a:moveTo>
                    <a:cubicBezTo>
                      <a:pt x="488598" y="267365"/>
                      <a:pt x="484580" y="266674"/>
                      <a:pt x="481677" y="268727"/>
                    </a:cubicBezTo>
                    <a:cubicBezTo>
                      <a:pt x="478773" y="270781"/>
                      <a:pt x="478083" y="274798"/>
                      <a:pt x="480137" y="277701"/>
                    </a:cubicBezTo>
                    <a:cubicBezTo>
                      <a:pt x="480480" y="278188"/>
                      <a:pt x="480889" y="278623"/>
                      <a:pt x="481351" y="278996"/>
                    </a:cubicBezTo>
                    <a:cubicBezTo>
                      <a:pt x="484118" y="281228"/>
                      <a:pt x="488173" y="280794"/>
                      <a:pt x="490405" y="278027"/>
                    </a:cubicBezTo>
                    <a:cubicBezTo>
                      <a:pt x="492212" y="275787"/>
                      <a:pt x="492312" y="272619"/>
                      <a:pt x="490651" y="270268"/>
                    </a:cubicBezTo>
                    <a:moveTo>
                      <a:pt x="523129" y="239650"/>
                    </a:moveTo>
                    <a:cubicBezTo>
                      <a:pt x="520917" y="237280"/>
                      <a:pt x="517201" y="237152"/>
                      <a:pt x="514831" y="239364"/>
                    </a:cubicBezTo>
                    <a:cubicBezTo>
                      <a:pt x="512460" y="241576"/>
                      <a:pt x="512333" y="245292"/>
                      <a:pt x="514545" y="247663"/>
                    </a:cubicBezTo>
                    <a:cubicBezTo>
                      <a:pt x="516757" y="250033"/>
                      <a:pt x="520472" y="250161"/>
                      <a:pt x="522843" y="247949"/>
                    </a:cubicBezTo>
                    <a:cubicBezTo>
                      <a:pt x="525214" y="245737"/>
                      <a:pt x="525341" y="242021"/>
                      <a:pt x="523129" y="239650"/>
                    </a:cubicBezTo>
                    <a:moveTo>
                      <a:pt x="555607" y="209175"/>
                    </a:moveTo>
                    <a:cubicBezTo>
                      <a:pt x="553593" y="207042"/>
                      <a:pt x="550229" y="206946"/>
                      <a:pt x="548096" y="208961"/>
                    </a:cubicBezTo>
                    <a:cubicBezTo>
                      <a:pt x="545962" y="210975"/>
                      <a:pt x="545867" y="214339"/>
                      <a:pt x="547881" y="216472"/>
                    </a:cubicBezTo>
                    <a:cubicBezTo>
                      <a:pt x="549896" y="218605"/>
                      <a:pt x="553259" y="218701"/>
                      <a:pt x="555392" y="216687"/>
                    </a:cubicBezTo>
                    <a:cubicBezTo>
                      <a:pt x="557526" y="214672"/>
                      <a:pt x="557622" y="211309"/>
                      <a:pt x="555607" y="209175"/>
                    </a:cubicBezTo>
                    <a:moveTo>
                      <a:pt x="588228" y="178701"/>
                    </a:moveTo>
                    <a:cubicBezTo>
                      <a:pt x="586371" y="176759"/>
                      <a:pt x="583292" y="176690"/>
                      <a:pt x="581350" y="178547"/>
                    </a:cubicBezTo>
                    <a:cubicBezTo>
                      <a:pt x="579409" y="180405"/>
                      <a:pt x="579340" y="183483"/>
                      <a:pt x="581197" y="185425"/>
                    </a:cubicBezTo>
                    <a:cubicBezTo>
                      <a:pt x="583054" y="187367"/>
                      <a:pt x="586133" y="187435"/>
                      <a:pt x="588075" y="185578"/>
                    </a:cubicBezTo>
                    <a:cubicBezTo>
                      <a:pt x="588126" y="185528"/>
                      <a:pt x="588178" y="185477"/>
                      <a:pt x="588228" y="185425"/>
                    </a:cubicBezTo>
                    <a:cubicBezTo>
                      <a:pt x="590085" y="183595"/>
                      <a:pt x="590107" y="180605"/>
                      <a:pt x="588275" y="178748"/>
                    </a:cubicBezTo>
                    <a:cubicBezTo>
                      <a:pt x="588260" y="178732"/>
                      <a:pt x="588244" y="178716"/>
                      <a:pt x="588228" y="178701"/>
                    </a:cubicBezTo>
                    <a:moveTo>
                      <a:pt x="620706" y="148226"/>
                    </a:moveTo>
                    <a:cubicBezTo>
                      <a:pt x="619046" y="146533"/>
                      <a:pt x="616329" y="146506"/>
                      <a:pt x="614637" y="148165"/>
                    </a:cubicBezTo>
                    <a:cubicBezTo>
                      <a:pt x="612943" y="149824"/>
                      <a:pt x="612916" y="152542"/>
                      <a:pt x="614575" y="154235"/>
                    </a:cubicBezTo>
                    <a:cubicBezTo>
                      <a:pt x="616235" y="155927"/>
                      <a:pt x="618952" y="155954"/>
                      <a:pt x="620646" y="154295"/>
                    </a:cubicBezTo>
                    <a:cubicBezTo>
                      <a:pt x="620666" y="154275"/>
                      <a:pt x="620686" y="154255"/>
                      <a:pt x="620706" y="154235"/>
                    </a:cubicBezTo>
                    <a:cubicBezTo>
                      <a:pt x="622341" y="152565"/>
                      <a:pt x="622341" y="149895"/>
                      <a:pt x="620706" y="148226"/>
                    </a:cubicBezTo>
                    <a:moveTo>
                      <a:pt x="653184" y="117751"/>
                    </a:moveTo>
                    <a:cubicBezTo>
                      <a:pt x="651722" y="116421"/>
                      <a:pt x="649460" y="116530"/>
                      <a:pt x="648132" y="117991"/>
                    </a:cubicBezTo>
                    <a:cubicBezTo>
                      <a:pt x="646803" y="119453"/>
                      <a:pt x="646910" y="121715"/>
                      <a:pt x="648372" y="123044"/>
                    </a:cubicBezTo>
                    <a:cubicBezTo>
                      <a:pt x="649737" y="124285"/>
                      <a:pt x="651821" y="124285"/>
                      <a:pt x="653184" y="123044"/>
                    </a:cubicBezTo>
                    <a:cubicBezTo>
                      <a:pt x="654583" y="121558"/>
                      <a:pt x="654583" y="119239"/>
                      <a:pt x="653184" y="117751"/>
                    </a:cubicBezTo>
                    <a:moveTo>
                      <a:pt x="686091" y="88420"/>
                    </a:moveTo>
                    <a:cubicBezTo>
                      <a:pt x="684864" y="87201"/>
                      <a:pt x="682884" y="87201"/>
                      <a:pt x="681656" y="88420"/>
                    </a:cubicBezTo>
                    <a:cubicBezTo>
                      <a:pt x="680431" y="89541"/>
                      <a:pt x="680345" y="91441"/>
                      <a:pt x="681466" y="92665"/>
                    </a:cubicBezTo>
                    <a:cubicBezTo>
                      <a:pt x="681526" y="92731"/>
                      <a:pt x="681590" y="92796"/>
                      <a:pt x="681656" y="92856"/>
                    </a:cubicBezTo>
                    <a:cubicBezTo>
                      <a:pt x="682884" y="94075"/>
                      <a:pt x="684864" y="94075"/>
                      <a:pt x="686091" y="92856"/>
                    </a:cubicBezTo>
                    <a:cubicBezTo>
                      <a:pt x="687237" y="91599"/>
                      <a:pt x="687237" y="89676"/>
                      <a:pt x="686091" y="88420"/>
                    </a:cubicBezTo>
                    <a:moveTo>
                      <a:pt x="718569" y="57945"/>
                    </a:moveTo>
                    <a:cubicBezTo>
                      <a:pt x="717523" y="56964"/>
                      <a:pt x="715895" y="56964"/>
                      <a:pt x="714849" y="57945"/>
                    </a:cubicBezTo>
                    <a:cubicBezTo>
                      <a:pt x="713934" y="59016"/>
                      <a:pt x="713934" y="60595"/>
                      <a:pt x="714849" y="61665"/>
                    </a:cubicBezTo>
                    <a:cubicBezTo>
                      <a:pt x="715837" y="62733"/>
                      <a:pt x="717502" y="62796"/>
                      <a:pt x="718569" y="61808"/>
                    </a:cubicBezTo>
                    <a:cubicBezTo>
                      <a:pt x="719637" y="60821"/>
                      <a:pt x="719699" y="59156"/>
                      <a:pt x="718712" y="58088"/>
                    </a:cubicBezTo>
                    <a:moveTo>
                      <a:pt x="367750" y="425218"/>
                    </a:moveTo>
                    <a:cubicBezTo>
                      <a:pt x="370872" y="428355"/>
                      <a:pt x="375944" y="428367"/>
                      <a:pt x="379081" y="425247"/>
                    </a:cubicBezTo>
                    <a:cubicBezTo>
                      <a:pt x="382218" y="422125"/>
                      <a:pt x="382230" y="417052"/>
                      <a:pt x="379109" y="413915"/>
                    </a:cubicBezTo>
                    <a:cubicBezTo>
                      <a:pt x="375988" y="410779"/>
                      <a:pt x="370915" y="410766"/>
                      <a:pt x="367778" y="413887"/>
                    </a:cubicBezTo>
                    <a:cubicBezTo>
                      <a:pt x="367768" y="413897"/>
                      <a:pt x="367760" y="413905"/>
                      <a:pt x="367750" y="413915"/>
                    </a:cubicBezTo>
                    <a:cubicBezTo>
                      <a:pt x="364639" y="417042"/>
                      <a:pt x="364639" y="422092"/>
                      <a:pt x="367750" y="425218"/>
                    </a:cubicBezTo>
                    <a:moveTo>
                      <a:pt x="335701" y="455693"/>
                    </a:moveTo>
                    <a:cubicBezTo>
                      <a:pt x="338507" y="458696"/>
                      <a:pt x="343214" y="458857"/>
                      <a:pt x="346217" y="456051"/>
                    </a:cubicBezTo>
                    <a:cubicBezTo>
                      <a:pt x="349220" y="453245"/>
                      <a:pt x="349380" y="448538"/>
                      <a:pt x="346575" y="445535"/>
                    </a:cubicBezTo>
                    <a:cubicBezTo>
                      <a:pt x="343630" y="442663"/>
                      <a:pt x="338932" y="442663"/>
                      <a:pt x="335987" y="445535"/>
                    </a:cubicBezTo>
                    <a:cubicBezTo>
                      <a:pt x="333064" y="448422"/>
                      <a:pt x="333034" y="453132"/>
                      <a:pt x="335921" y="456057"/>
                    </a:cubicBezTo>
                    <a:cubicBezTo>
                      <a:pt x="335943" y="456078"/>
                      <a:pt x="335964" y="456101"/>
                      <a:pt x="335987" y="456123"/>
                    </a:cubicBezTo>
                    <a:moveTo>
                      <a:pt x="302651" y="486168"/>
                    </a:moveTo>
                    <a:cubicBezTo>
                      <a:pt x="305384" y="488878"/>
                      <a:pt x="309790" y="488878"/>
                      <a:pt x="312523" y="486168"/>
                    </a:cubicBezTo>
                    <a:cubicBezTo>
                      <a:pt x="315157" y="483404"/>
                      <a:pt x="315157" y="479060"/>
                      <a:pt x="312523" y="476296"/>
                    </a:cubicBezTo>
                    <a:cubicBezTo>
                      <a:pt x="309807" y="473679"/>
                      <a:pt x="305509" y="473679"/>
                      <a:pt x="302794" y="476296"/>
                    </a:cubicBezTo>
                    <a:cubicBezTo>
                      <a:pt x="300107" y="478973"/>
                      <a:pt x="300100" y="483321"/>
                      <a:pt x="302777" y="486008"/>
                    </a:cubicBezTo>
                    <a:cubicBezTo>
                      <a:pt x="302782" y="486014"/>
                      <a:pt x="302788" y="486019"/>
                      <a:pt x="302794" y="486025"/>
                    </a:cubicBezTo>
                    <a:moveTo>
                      <a:pt x="270316" y="516500"/>
                    </a:moveTo>
                    <a:cubicBezTo>
                      <a:pt x="272369" y="519403"/>
                      <a:pt x="276387" y="520094"/>
                      <a:pt x="279290" y="518041"/>
                    </a:cubicBezTo>
                    <a:cubicBezTo>
                      <a:pt x="282194" y="515988"/>
                      <a:pt x="282884" y="511970"/>
                      <a:pt x="280830" y="509067"/>
                    </a:cubicBezTo>
                    <a:cubicBezTo>
                      <a:pt x="280487" y="508581"/>
                      <a:pt x="280079" y="508146"/>
                      <a:pt x="279616" y="507773"/>
                    </a:cubicBezTo>
                    <a:cubicBezTo>
                      <a:pt x="277563" y="504870"/>
                      <a:pt x="273545" y="504179"/>
                      <a:pt x="270642" y="506232"/>
                    </a:cubicBezTo>
                    <a:cubicBezTo>
                      <a:pt x="267738" y="508285"/>
                      <a:pt x="267048" y="512302"/>
                      <a:pt x="269101" y="515205"/>
                    </a:cubicBezTo>
                    <a:cubicBezTo>
                      <a:pt x="269445" y="515690"/>
                      <a:pt x="269852" y="516127"/>
                      <a:pt x="270316" y="516500"/>
                    </a:cubicBezTo>
                    <a:moveTo>
                      <a:pt x="237838" y="547118"/>
                    </a:moveTo>
                    <a:cubicBezTo>
                      <a:pt x="240050" y="549489"/>
                      <a:pt x="243765" y="549616"/>
                      <a:pt x="246136" y="547404"/>
                    </a:cubicBezTo>
                    <a:cubicBezTo>
                      <a:pt x="248507" y="545192"/>
                      <a:pt x="248634" y="541477"/>
                      <a:pt x="246422" y="539106"/>
                    </a:cubicBezTo>
                    <a:cubicBezTo>
                      <a:pt x="244210" y="536735"/>
                      <a:pt x="240495" y="536608"/>
                      <a:pt x="238124" y="538820"/>
                    </a:cubicBezTo>
                    <a:cubicBezTo>
                      <a:pt x="235753" y="541032"/>
                      <a:pt x="235626" y="544747"/>
                      <a:pt x="237838" y="547118"/>
                    </a:cubicBezTo>
                    <a:moveTo>
                      <a:pt x="205217" y="577736"/>
                    </a:moveTo>
                    <a:cubicBezTo>
                      <a:pt x="207231" y="579869"/>
                      <a:pt x="210595" y="579965"/>
                      <a:pt x="212728" y="577951"/>
                    </a:cubicBezTo>
                    <a:cubicBezTo>
                      <a:pt x="214862" y="575936"/>
                      <a:pt x="214957" y="572573"/>
                      <a:pt x="212943" y="570439"/>
                    </a:cubicBezTo>
                    <a:cubicBezTo>
                      <a:pt x="210928" y="568306"/>
                      <a:pt x="207565" y="568210"/>
                      <a:pt x="205431" y="570225"/>
                    </a:cubicBezTo>
                    <a:cubicBezTo>
                      <a:pt x="203298" y="572239"/>
                      <a:pt x="203202" y="575603"/>
                      <a:pt x="205217" y="577736"/>
                    </a:cubicBezTo>
                    <a:moveTo>
                      <a:pt x="172596" y="608211"/>
                    </a:moveTo>
                    <a:cubicBezTo>
                      <a:pt x="174453" y="610153"/>
                      <a:pt x="177532" y="610221"/>
                      <a:pt x="179473" y="608364"/>
                    </a:cubicBezTo>
                    <a:cubicBezTo>
                      <a:pt x="181415" y="606507"/>
                      <a:pt x="181484" y="603428"/>
                      <a:pt x="179626" y="601487"/>
                    </a:cubicBezTo>
                    <a:cubicBezTo>
                      <a:pt x="177769" y="599545"/>
                      <a:pt x="174690" y="599476"/>
                      <a:pt x="172749" y="601333"/>
                    </a:cubicBezTo>
                    <a:cubicBezTo>
                      <a:pt x="172697" y="601384"/>
                      <a:pt x="172646" y="601435"/>
                      <a:pt x="172596" y="601487"/>
                    </a:cubicBezTo>
                    <a:cubicBezTo>
                      <a:pt x="170739" y="603318"/>
                      <a:pt x="170717" y="606307"/>
                      <a:pt x="172549" y="608164"/>
                    </a:cubicBezTo>
                    <a:cubicBezTo>
                      <a:pt x="172564" y="608180"/>
                      <a:pt x="172580" y="608195"/>
                      <a:pt x="172596" y="608211"/>
                    </a:cubicBezTo>
                    <a:moveTo>
                      <a:pt x="140118" y="638686"/>
                    </a:moveTo>
                    <a:cubicBezTo>
                      <a:pt x="141777" y="640379"/>
                      <a:pt x="144494" y="640406"/>
                      <a:pt x="146187" y="638746"/>
                    </a:cubicBezTo>
                    <a:cubicBezTo>
                      <a:pt x="147881" y="637088"/>
                      <a:pt x="147908" y="634369"/>
                      <a:pt x="146249" y="632677"/>
                    </a:cubicBezTo>
                    <a:cubicBezTo>
                      <a:pt x="144589" y="630984"/>
                      <a:pt x="141872" y="630957"/>
                      <a:pt x="140178" y="632617"/>
                    </a:cubicBezTo>
                    <a:cubicBezTo>
                      <a:pt x="140158" y="632637"/>
                      <a:pt x="140138" y="632657"/>
                      <a:pt x="140118" y="632677"/>
                    </a:cubicBezTo>
                    <a:cubicBezTo>
                      <a:pt x="138482" y="634347"/>
                      <a:pt x="138482" y="637016"/>
                      <a:pt x="140118" y="638686"/>
                    </a:cubicBezTo>
                    <a:moveTo>
                      <a:pt x="107640" y="669161"/>
                    </a:moveTo>
                    <a:cubicBezTo>
                      <a:pt x="109102" y="670490"/>
                      <a:pt x="111364" y="670381"/>
                      <a:pt x="112693" y="668921"/>
                    </a:cubicBezTo>
                    <a:cubicBezTo>
                      <a:pt x="114021" y="667458"/>
                      <a:pt x="113914" y="665196"/>
                      <a:pt x="112451" y="663867"/>
                    </a:cubicBezTo>
                    <a:cubicBezTo>
                      <a:pt x="111088" y="662627"/>
                      <a:pt x="109005" y="662627"/>
                      <a:pt x="107640" y="663867"/>
                    </a:cubicBezTo>
                    <a:cubicBezTo>
                      <a:pt x="106241" y="665355"/>
                      <a:pt x="106241" y="667674"/>
                      <a:pt x="107640" y="669161"/>
                    </a:cubicBezTo>
                    <a:moveTo>
                      <a:pt x="387208" y="446107"/>
                    </a:moveTo>
                    <a:cubicBezTo>
                      <a:pt x="390334" y="449218"/>
                      <a:pt x="395385" y="449218"/>
                      <a:pt x="398511" y="446107"/>
                    </a:cubicBezTo>
                    <a:cubicBezTo>
                      <a:pt x="401638" y="442932"/>
                      <a:pt x="401638" y="437836"/>
                      <a:pt x="398511" y="434661"/>
                    </a:cubicBezTo>
                    <a:cubicBezTo>
                      <a:pt x="395385" y="431551"/>
                      <a:pt x="390334" y="431551"/>
                      <a:pt x="387208" y="434661"/>
                    </a:cubicBezTo>
                    <a:cubicBezTo>
                      <a:pt x="384086" y="437686"/>
                      <a:pt x="384007" y="442668"/>
                      <a:pt x="387032" y="445788"/>
                    </a:cubicBezTo>
                    <a:cubicBezTo>
                      <a:pt x="387089" y="445848"/>
                      <a:pt x="387148" y="445907"/>
                      <a:pt x="387208" y="445964"/>
                    </a:cubicBezTo>
                    <a:moveTo>
                      <a:pt x="354587" y="476439"/>
                    </a:moveTo>
                    <a:cubicBezTo>
                      <a:pt x="357474" y="479362"/>
                      <a:pt x="362184" y="479392"/>
                      <a:pt x="365109" y="476505"/>
                    </a:cubicBezTo>
                    <a:cubicBezTo>
                      <a:pt x="365130" y="476484"/>
                      <a:pt x="365153" y="476462"/>
                      <a:pt x="365174" y="476439"/>
                    </a:cubicBezTo>
                    <a:cubicBezTo>
                      <a:pt x="368046" y="473495"/>
                      <a:pt x="368046" y="468796"/>
                      <a:pt x="365174" y="465852"/>
                    </a:cubicBezTo>
                    <a:cubicBezTo>
                      <a:pt x="362010" y="463109"/>
                      <a:pt x="357221" y="463451"/>
                      <a:pt x="354478" y="466616"/>
                    </a:cubicBezTo>
                    <a:cubicBezTo>
                      <a:pt x="352133" y="469320"/>
                      <a:pt x="352000" y="473297"/>
                      <a:pt x="354158" y="476153"/>
                    </a:cubicBezTo>
                    <a:moveTo>
                      <a:pt x="321680" y="506628"/>
                    </a:moveTo>
                    <a:cubicBezTo>
                      <a:pt x="324317" y="509354"/>
                      <a:pt x="328665" y="509426"/>
                      <a:pt x="331390" y="506790"/>
                    </a:cubicBezTo>
                    <a:cubicBezTo>
                      <a:pt x="331445" y="506737"/>
                      <a:pt x="331499" y="506682"/>
                      <a:pt x="331552" y="506628"/>
                    </a:cubicBezTo>
                    <a:cubicBezTo>
                      <a:pt x="334124" y="503734"/>
                      <a:pt x="333863" y="499302"/>
                      <a:pt x="330968" y="496730"/>
                    </a:cubicBezTo>
                    <a:cubicBezTo>
                      <a:pt x="328427" y="494472"/>
                      <a:pt x="324633" y="494364"/>
                      <a:pt x="321966" y="496470"/>
                    </a:cubicBezTo>
                    <a:cubicBezTo>
                      <a:pt x="319332" y="499234"/>
                      <a:pt x="319332" y="503578"/>
                      <a:pt x="321966" y="506342"/>
                    </a:cubicBezTo>
                    <a:moveTo>
                      <a:pt x="289488" y="536817"/>
                    </a:moveTo>
                    <a:cubicBezTo>
                      <a:pt x="291977" y="539356"/>
                      <a:pt x="296054" y="539396"/>
                      <a:pt x="298593" y="536908"/>
                    </a:cubicBezTo>
                    <a:cubicBezTo>
                      <a:pt x="301133" y="534419"/>
                      <a:pt x="301173" y="530343"/>
                      <a:pt x="298683" y="527803"/>
                    </a:cubicBezTo>
                    <a:cubicBezTo>
                      <a:pt x="296195" y="525263"/>
                      <a:pt x="292118" y="525223"/>
                      <a:pt x="289579" y="527711"/>
                    </a:cubicBezTo>
                    <a:cubicBezTo>
                      <a:pt x="289548" y="527742"/>
                      <a:pt x="289518" y="527773"/>
                      <a:pt x="289488" y="527803"/>
                    </a:cubicBezTo>
                    <a:cubicBezTo>
                      <a:pt x="286998" y="530231"/>
                      <a:pt x="286948" y="534216"/>
                      <a:pt x="289376" y="536705"/>
                    </a:cubicBezTo>
                    <a:cubicBezTo>
                      <a:pt x="289414" y="536742"/>
                      <a:pt x="289451" y="536780"/>
                      <a:pt x="289488" y="536817"/>
                    </a:cubicBezTo>
                    <a:moveTo>
                      <a:pt x="257010" y="567864"/>
                    </a:moveTo>
                    <a:cubicBezTo>
                      <a:pt x="259301" y="570156"/>
                      <a:pt x="263015" y="570156"/>
                      <a:pt x="265305" y="567867"/>
                    </a:cubicBezTo>
                    <a:cubicBezTo>
                      <a:pt x="265307" y="567865"/>
                      <a:pt x="265307" y="567865"/>
                      <a:pt x="265308" y="567864"/>
                    </a:cubicBezTo>
                    <a:cubicBezTo>
                      <a:pt x="267600" y="565686"/>
                      <a:pt x="267693" y="562065"/>
                      <a:pt x="265516" y="559773"/>
                    </a:cubicBezTo>
                    <a:cubicBezTo>
                      <a:pt x="265448" y="559702"/>
                      <a:pt x="265380" y="559633"/>
                      <a:pt x="265308" y="559566"/>
                    </a:cubicBezTo>
                    <a:cubicBezTo>
                      <a:pt x="263096" y="557195"/>
                      <a:pt x="259381" y="557068"/>
                      <a:pt x="257010" y="559279"/>
                    </a:cubicBezTo>
                    <a:cubicBezTo>
                      <a:pt x="254639" y="561491"/>
                      <a:pt x="254512" y="565207"/>
                      <a:pt x="256724" y="567578"/>
                    </a:cubicBezTo>
                    <a:moveTo>
                      <a:pt x="224246" y="598053"/>
                    </a:moveTo>
                    <a:cubicBezTo>
                      <a:pt x="226300" y="600133"/>
                      <a:pt x="229653" y="600153"/>
                      <a:pt x="231731" y="598100"/>
                    </a:cubicBezTo>
                    <a:cubicBezTo>
                      <a:pt x="233812" y="596045"/>
                      <a:pt x="233833" y="592693"/>
                      <a:pt x="231779" y="590613"/>
                    </a:cubicBezTo>
                    <a:cubicBezTo>
                      <a:pt x="229724" y="588533"/>
                      <a:pt x="226372" y="588513"/>
                      <a:pt x="224292" y="590567"/>
                    </a:cubicBezTo>
                    <a:cubicBezTo>
                      <a:pt x="224277" y="590581"/>
                      <a:pt x="224262" y="590597"/>
                      <a:pt x="224246" y="590613"/>
                    </a:cubicBezTo>
                    <a:cubicBezTo>
                      <a:pt x="222210" y="592675"/>
                      <a:pt x="222210" y="595991"/>
                      <a:pt x="224246" y="598053"/>
                    </a:cubicBezTo>
                    <a:moveTo>
                      <a:pt x="192626" y="628814"/>
                    </a:moveTo>
                    <a:cubicBezTo>
                      <a:pt x="194483" y="630644"/>
                      <a:pt x="197472" y="630624"/>
                      <a:pt x="199304" y="628767"/>
                    </a:cubicBezTo>
                    <a:cubicBezTo>
                      <a:pt x="201133" y="626910"/>
                      <a:pt x="201112" y="623919"/>
                      <a:pt x="199256" y="622089"/>
                    </a:cubicBezTo>
                    <a:cubicBezTo>
                      <a:pt x="197418" y="620277"/>
                      <a:pt x="194465" y="620277"/>
                      <a:pt x="192626" y="622089"/>
                    </a:cubicBezTo>
                    <a:cubicBezTo>
                      <a:pt x="190769" y="623919"/>
                      <a:pt x="190748" y="626910"/>
                      <a:pt x="192579" y="628767"/>
                    </a:cubicBezTo>
                    <a:cubicBezTo>
                      <a:pt x="192595" y="628782"/>
                      <a:pt x="192611" y="628798"/>
                      <a:pt x="192626" y="628814"/>
                    </a:cubicBezTo>
                    <a:moveTo>
                      <a:pt x="159576" y="659289"/>
                    </a:moveTo>
                    <a:cubicBezTo>
                      <a:pt x="161196" y="660908"/>
                      <a:pt x="163822" y="660908"/>
                      <a:pt x="165442" y="659289"/>
                    </a:cubicBezTo>
                    <a:cubicBezTo>
                      <a:pt x="167077" y="657619"/>
                      <a:pt x="167077" y="654949"/>
                      <a:pt x="165442" y="653280"/>
                    </a:cubicBezTo>
                    <a:cubicBezTo>
                      <a:pt x="163861" y="651620"/>
                      <a:pt x="161236" y="651556"/>
                      <a:pt x="159576" y="653137"/>
                    </a:cubicBezTo>
                    <a:cubicBezTo>
                      <a:pt x="159527" y="653184"/>
                      <a:pt x="159480" y="653231"/>
                      <a:pt x="159433" y="653280"/>
                    </a:cubicBezTo>
                    <a:cubicBezTo>
                      <a:pt x="157813" y="654786"/>
                      <a:pt x="157722" y="657321"/>
                      <a:pt x="159228" y="658941"/>
                    </a:cubicBezTo>
                    <a:cubicBezTo>
                      <a:pt x="159294" y="659013"/>
                      <a:pt x="159363" y="659080"/>
                      <a:pt x="159433" y="659146"/>
                    </a:cubicBezTo>
                    <a:moveTo>
                      <a:pt x="126955" y="689334"/>
                    </a:moveTo>
                    <a:cubicBezTo>
                      <a:pt x="128377" y="690817"/>
                      <a:pt x="130732" y="690865"/>
                      <a:pt x="132214" y="689443"/>
                    </a:cubicBezTo>
                    <a:cubicBezTo>
                      <a:pt x="133697" y="688021"/>
                      <a:pt x="133745" y="685666"/>
                      <a:pt x="132323" y="684184"/>
                    </a:cubicBezTo>
                    <a:cubicBezTo>
                      <a:pt x="130901" y="682702"/>
                      <a:pt x="128546" y="682653"/>
                      <a:pt x="127064" y="684075"/>
                    </a:cubicBezTo>
                    <a:cubicBezTo>
                      <a:pt x="127026" y="684111"/>
                      <a:pt x="126991" y="684147"/>
                      <a:pt x="126955" y="684184"/>
                    </a:cubicBezTo>
                    <a:cubicBezTo>
                      <a:pt x="125574" y="685623"/>
                      <a:pt x="125574" y="687895"/>
                      <a:pt x="126955" y="689334"/>
                    </a:cubicBezTo>
                    <a:moveTo>
                      <a:pt x="407238" y="466710"/>
                    </a:moveTo>
                    <a:cubicBezTo>
                      <a:pt x="410365" y="469820"/>
                      <a:pt x="415415" y="469820"/>
                      <a:pt x="418541" y="466710"/>
                    </a:cubicBezTo>
                    <a:cubicBezTo>
                      <a:pt x="421603" y="463515"/>
                      <a:pt x="421494" y="458443"/>
                      <a:pt x="418300" y="455381"/>
                    </a:cubicBezTo>
                    <a:cubicBezTo>
                      <a:pt x="415369" y="452574"/>
                      <a:pt x="410802" y="452400"/>
                      <a:pt x="407668" y="454978"/>
                    </a:cubicBezTo>
                    <a:cubicBezTo>
                      <a:pt x="404540" y="458153"/>
                      <a:pt x="404540" y="463249"/>
                      <a:pt x="407668" y="466424"/>
                    </a:cubicBezTo>
                    <a:moveTo>
                      <a:pt x="375190" y="496899"/>
                    </a:moveTo>
                    <a:cubicBezTo>
                      <a:pt x="378113" y="499786"/>
                      <a:pt x="382824" y="499756"/>
                      <a:pt x="385711" y="496833"/>
                    </a:cubicBezTo>
                    <a:cubicBezTo>
                      <a:pt x="388599" y="493909"/>
                      <a:pt x="388569" y="489199"/>
                      <a:pt x="385646" y="486311"/>
                    </a:cubicBezTo>
                    <a:cubicBezTo>
                      <a:pt x="382747" y="483450"/>
                      <a:pt x="378087" y="483450"/>
                      <a:pt x="375190" y="486311"/>
                    </a:cubicBezTo>
                    <a:cubicBezTo>
                      <a:pt x="372267" y="489199"/>
                      <a:pt x="372237" y="493909"/>
                      <a:pt x="375124" y="496833"/>
                    </a:cubicBezTo>
                    <a:cubicBezTo>
                      <a:pt x="375145" y="496855"/>
                      <a:pt x="375167" y="496877"/>
                      <a:pt x="375190" y="496899"/>
                    </a:cubicBezTo>
                    <a:moveTo>
                      <a:pt x="341567" y="527660"/>
                    </a:moveTo>
                    <a:cubicBezTo>
                      <a:pt x="344283" y="530277"/>
                      <a:pt x="348581" y="530277"/>
                      <a:pt x="351296" y="527660"/>
                    </a:cubicBezTo>
                    <a:cubicBezTo>
                      <a:pt x="354022" y="525023"/>
                      <a:pt x="354095" y="520675"/>
                      <a:pt x="351458" y="517949"/>
                    </a:cubicBezTo>
                    <a:cubicBezTo>
                      <a:pt x="351405" y="517895"/>
                      <a:pt x="351351" y="517841"/>
                      <a:pt x="351296" y="517788"/>
                    </a:cubicBezTo>
                    <a:cubicBezTo>
                      <a:pt x="348581" y="515171"/>
                      <a:pt x="344283" y="515171"/>
                      <a:pt x="341567" y="517788"/>
                    </a:cubicBezTo>
                    <a:cubicBezTo>
                      <a:pt x="338842" y="520425"/>
                      <a:pt x="338769" y="524773"/>
                      <a:pt x="341405" y="527498"/>
                    </a:cubicBezTo>
                    <a:cubicBezTo>
                      <a:pt x="341458" y="527553"/>
                      <a:pt x="341513" y="527607"/>
                      <a:pt x="341567" y="527660"/>
                    </a:cubicBezTo>
                    <a:moveTo>
                      <a:pt x="308946" y="558135"/>
                    </a:moveTo>
                    <a:cubicBezTo>
                      <a:pt x="311374" y="560624"/>
                      <a:pt x="315359" y="560674"/>
                      <a:pt x="317848" y="558246"/>
                    </a:cubicBezTo>
                    <a:cubicBezTo>
                      <a:pt x="317885" y="558209"/>
                      <a:pt x="317923" y="558172"/>
                      <a:pt x="317960" y="558135"/>
                    </a:cubicBezTo>
                    <a:cubicBezTo>
                      <a:pt x="320863" y="556082"/>
                      <a:pt x="321554" y="552064"/>
                      <a:pt x="319501" y="549161"/>
                    </a:cubicBezTo>
                    <a:cubicBezTo>
                      <a:pt x="317448" y="546257"/>
                      <a:pt x="313430" y="545567"/>
                      <a:pt x="310527" y="547620"/>
                    </a:cubicBezTo>
                    <a:cubicBezTo>
                      <a:pt x="310041" y="547964"/>
                      <a:pt x="309606" y="548373"/>
                      <a:pt x="309232" y="548835"/>
                    </a:cubicBezTo>
                    <a:cubicBezTo>
                      <a:pt x="306743" y="551263"/>
                      <a:pt x="306693" y="555248"/>
                      <a:pt x="309121" y="557737"/>
                    </a:cubicBezTo>
                    <a:cubicBezTo>
                      <a:pt x="309158" y="557774"/>
                      <a:pt x="309195" y="557812"/>
                      <a:pt x="309232" y="557849"/>
                    </a:cubicBezTo>
                    <a:moveTo>
                      <a:pt x="276468" y="589182"/>
                    </a:moveTo>
                    <a:cubicBezTo>
                      <a:pt x="278680" y="591553"/>
                      <a:pt x="282396" y="591680"/>
                      <a:pt x="284766" y="589468"/>
                    </a:cubicBezTo>
                    <a:cubicBezTo>
                      <a:pt x="287137" y="587256"/>
                      <a:pt x="287265" y="583541"/>
                      <a:pt x="285053" y="581170"/>
                    </a:cubicBezTo>
                    <a:cubicBezTo>
                      <a:pt x="282841" y="578799"/>
                      <a:pt x="279125" y="578672"/>
                      <a:pt x="276754" y="580884"/>
                    </a:cubicBezTo>
                    <a:cubicBezTo>
                      <a:pt x="274383" y="583096"/>
                      <a:pt x="274256" y="586811"/>
                      <a:pt x="276468" y="589182"/>
                    </a:cubicBezTo>
                    <a:moveTo>
                      <a:pt x="243990" y="619657"/>
                    </a:moveTo>
                    <a:cubicBezTo>
                      <a:pt x="246052" y="621693"/>
                      <a:pt x="249368" y="621693"/>
                      <a:pt x="251430" y="619657"/>
                    </a:cubicBezTo>
                    <a:cubicBezTo>
                      <a:pt x="253620" y="617602"/>
                      <a:pt x="253729" y="614162"/>
                      <a:pt x="251675" y="611973"/>
                    </a:cubicBezTo>
                    <a:cubicBezTo>
                      <a:pt x="249620" y="609782"/>
                      <a:pt x="246181" y="609673"/>
                      <a:pt x="243990" y="611726"/>
                    </a:cubicBezTo>
                    <a:cubicBezTo>
                      <a:pt x="241800" y="613781"/>
                      <a:pt x="241691" y="617222"/>
                      <a:pt x="243745" y="619412"/>
                    </a:cubicBezTo>
                    <a:cubicBezTo>
                      <a:pt x="243824" y="619497"/>
                      <a:pt x="243906" y="619578"/>
                      <a:pt x="243990" y="619657"/>
                    </a:cubicBezTo>
                    <a:moveTo>
                      <a:pt x="211369" y="650132"/>
                    </a:moveTo>
                    <a:cubicBezTo>
                      <a:pt x="213268" y="652023"/>
                      <a:pt x="216338" y="652023"/>
                      <a:pt x="218237" y="650132"/>
                    </a:cubicBezTo>
                    <a:cubicBezTo>
                      <a:pt x="220134" y="648315"/>
                      <a:pt x="220197" y="645305"/>
                      <a:pt x="218380" y="643407"/>
                    </a:cubicBezTo>
                    <a:cubicBezTo>
                      <a:pt x="216563" y="641512"/>
                      <a:pt x="213551" y="641447"/>
                      <a:pt x="211655" y="643264"/>
                    </a:cubicBezTo>
                    <a:cubicBezTo>
                      <a:pt x="209857" y="645144"/>
                      <a:pt x="209857" y="648109"/>
                      <a:pt x="211655" y="649989"/>
                    </a:cubicBezTo>
                    <a:moveTo>
                      <a:pt x="178319" y="680035"/>
                    </a:moveTo>
                    <a:cubicBezTo>
                      <a:pt x="179988" y="681670"/>
                      <a:pt x="182658" y="681670"/>
                      <a:pt x="184328" y="680035"/>
                    </a:cubicBezTo>
                    <a:cubicBezTo>
                      <a:pt x="185948" y="678415"/>
                      <a:pt x="185948" y="675788"/>
                      <a:pt x="184328" y="674169"/>
                    </a:cubicBezTo>
                    <a:cubicBezTo>
                      <a:pt x="182658" y="672533"/>
                      <a:pt x="179987" y="672533"/>
                      <a:pt x="178319" y="674169"/>
                    </a:cubicBezTo>
                    <a:cubicBezTo>
                      <a:pt x="176755" y="675867"/>
                      <a:pt x="176755" y="678479"/>
                      <a:pt x="178319" y="680178"/>
                    </a:cubicBezTo>
                    <a:moveTo>
                      <a:pt x="145841" y="710653"/>
                    </a:moveTo>
                    <a:cubicBezTo>
                      <a:pt x="147211" y="712075"/>
                      <a:pt x="149476" y="712116"/>
                      <a:pt x="150898" y="710746"/>
                    </a:cubicBezTo>
                    <a:cubicBezTo>
                      <a:pt x="150930" y="710716"/>
                      <a:pt x="150961" y="710684"/>
                      <a:pt x="150991" y="710653"/>
                    </a:cubicBezTo>
                    <a:cubicBezTo>
                      <a:pt x="152454" y="709269"/>
                      <a:pt x="152518" y="706964"/>
                      <a:pt x="151135" y="705502"/>
                    </a:cubicBezTo>
                    <a:cubicBezTo>
                      <a:pt x="149751" y="704040"/>
                      <a:pt x="147446" y="703975"/>
                      <a:pt x="145984" y="705359"/>
                    </a:cubicBezTo>
                    <a:cubicBezTo>
                      <a:pt x="144562" y="706729"/>
                      <a:pt x="144520" y="708994"/>
                      <a:pt x="145891" y="710417"/>
                    </a:cubicBezTo>
                    <a:cubicBezTo>
                      <a:pt x="145921" y="710448"/>
                      <a:pt x="145952" y="710479"/>
                      <a:pt x="145984" y="710510"/>
                    </a:cubicBezTo>
                    <a:moveTo>
                      <a:pt x="309518" y="363124"/>
                    </a:moveTo>
                    <a:cubicBezTo>
                      <a:pt x="312639" y="366260"/>
                      <a:pt x="317712" y="366273"/>
                      <a:pt x="320850" y="363153"/>
                    </a:cubicBezTo>
                    <a:cubicBezTo>
                      <a:pt x="323986" y="360031"/>
                      <a:pt x="323999" y="354957"/>
                      <a:pt x="320877" y="351821"/>
                    </a:cubicBezTo>
                    <a:cubicBezTo>
                      <a:pt x="317757" y="348685"/>
                      <a:pt x="312683" y="348672"/>
                      <a:pt x="309547" y="351792"/>
                    </a:cubicBezTo>
                    <a:cubicBezTo>
                      <a:pt x="309537" y="351802"/>
                      <a:pt x="309528" y="351811"/>
                      <a:pt x="309518" y="351821"/>
                    </a:cubicBezTo>
                    <a:cubicBezTo>
                      <a:pt x="306408" y="354947"/>
                      <a:pt x="306408" y="359998"/>
                      <a:pt x="309518" y="363124"/>
                    </a:cubicBezTo>
                    <a:moveTo>
                      <a:pt x="277040" y="393599"/>
                    </a:moveTo>
                    <a:cubicBezTo>
                      <a:pt x="279815" y="396522"/>
                      <a:pt x="284433" y="396645"/>
                      <a:pt x="287356" y="393871"/>
                    </a:cubicBezTo>
                    <a:cubicBezTo>
                      <a:pt x="287449" y="393782"/>
                      <a:pt x="287539" y="393692"/>
                      <a:pt x="287628" y="393599"/>
                    </a:cubicBezTo>
                    <a:cubicBezTo>
                      <a:pt x="290631" y="390755"/>
                      <a:pt x="290758" y="386014"/>
                      <a:pt x="287914" y="383011"/>
                    </a:cubicBezTo>
                    <a:cubicBezTo>
                      <a:pt x="285070" y="380008"/>
                      <a:pt x="280330" y="379881"/>
                      <a:pt x="277327" y="382725"/>
                    </a:cubicBezTo>
                    <a:cubicBezTo>
                      <a:pt x="274442" y="385539"/>
                      <a:pt x="274386" y="390159"/>
                      <a:pt x="277201" y="393044"/>
                    </a:cubicBezTo>
                    <a:cubicBezTo>
                      <a:pt x="277242" y="393087"/>
                      <a:pt x="277284" y="393128"/>
                      <a:pt x="277327" y="393170"/>
                    </a:cubicBezTo>
                    <a:moveTo>
                      <a:pt x="244849" y="423788"/>
                    </a:moveTo>
                    <a:cubicBezTo>
                      <a:pt x="247564" y="426404"/>
                      <a:pt x="251862" y="426404"/>
                      <a:pt x="254578" y="423788"/>
                    </a:cubicBezTo>
                    <a:cubicBezTo>
                      <a:pt x="257303" y="421151"/>
                      <a:pt x="257376" y="416803"/>
                      <a:pt x="254739" y="414077"/>
                    </a:cubicBezTo>
                    <a:cubicBezTo>
                      <a:pt x="254686" y="414023"/>
                      <a:pt x="254632" y="413968"/>
                      <a:pt x="254578" y="413915"/>
                    </a:cubicBezTo>
                    <a:cubicBezTo>
                      <a:pt x="251862" y="411299"/>
                      <a:pt x="247564" y="411299"/>
                      <a:pt x="244849" y="413915"/>
                    </a:cubicBezTo>
                    <a:cubicBezTo>
                      <a:pt x="242123" y="416552"/>
                      <a:pt x="242050" y="420900"/>
                      <a:pt x="244687" y="423626"/>
                    </a:cubicBezTo>
                    <a:cubicBezTo>
                      <a:pt x="244740" y="423680"/>
                      <a:pt x="244794" y="423735"/>
                      <a:pt x="244849" y="423788"/>
                    </a:cubicBezTo>
                    <a:moveTo>
                      <a:pt x="211941" y="454692"/>
                    </a:moveTo>
                    <a:cubicBezTo>
                      <a:pt x="213830" y="457705"/>
                      <a:pt x="217805" y="458615"/>
                      <a:pt x="220816" y="456726"/>
                    </a:cubicBezTo>
                    <a:cubicBezTo>
                      <a:pt x="223829" y="454836"/>
                      <a:pt x="224739" y="450863"/>
                      <a:pt x="222851" y="447851"/>
                    </a:cubicBezTo>
                    <a:cubicBezTo>
                      <a:pt x="222427" y="447175"/>
                      <a:pt x="221881" y="446584"/>
                      <a:pt x="221241" y="446107"/>
                    </a:cubicBezTo>
                    <a:cubicBezTo>
                      <a:pt x="218792" y="443499"/>
                      <a:pt x="214693" y="443372"/>
                      <a:pt x="212084" y="445821"/>
                    </a:cubicBezTo>
                    <a:cubicBezTo>
                      <a:pt x="209476" y="448271"/>
                      <a:pt x="209349" y="452370"/>
                      <a:pt x="211798" y="454978"/>
                    </a:cubicBezTo>
                    <a:moveTo>
                      <a:pt x="179320" y="485453"/>
                    </a:moveTo>
                    <a:cubicBezTo>
                      <a:pt x="181532" y="487824"/>
                      <a:pt x="185248" y="487951"/>
                      <a:pt x="187619" y="485739"/>
                    </a:cubicBezTo>
                    <a:cubicBezTo>
                      <a:pt x="189989" y="483527"/>
                      <a:pt x="190117" y="479811"/>
                      <a:pt x="187905" y="477441"/>
                    </a:cubicBezTo>
                    <a:cubicBezTo>
                      <a:pt x="185727" y="475149"/>
                      <a:pt x="182106" y="475056"/>
                      <a:pt x="179814" y="477233"/>
                    </a:cubicBezTo>
                    <a:cubicBezTo>
                      <a:pt x="179742" y="477300"/>
                      <a:pt x="179674" y="477369"/>
                      <a:pt x="179606" y="477441"/>
                    </a:cubicBezTo>
                    <a:cubicBezTo>
                      <a:pt x="177314" y="479731"/>
                      <a:pt x="177314" y="483446"/>
                      <a:pt x="179604" y="485736"/>
                    </a:cubicBezTo>
                    <a:cubicBezTo>
                      <a:pt x="179605" y="485738"/>
                      <a:pt x="179605" y="485738"/>
                      <a:pt x="179606" y="485739"/>
                    </a:cubicBezTo>
                    <a:moveTo>
                      <a:pt x="147128" y="516214"/>
                    </a:moveTo>
                    <a:cubicBezTo>
                      <a:pt x="149143" y="518347"/>
                      <a:pt x="152507" y="518443"/>
                      <a:pt x="154640" y="516429"/>
                    </a:cubicBezTo>
                    <a:cubicBezTo>
                      <a:pt x="156773" y="514414"/>
                      <a:pt x="156869" y="511050"/>
                      <a:pt x="154855" y="508917"/>
                    </a:cubicBezTo>
                    <a:cubicBezTo>
                      <a:pt x="152744" y="506864"/>
                      <a:pt x="149382" y="506864"/>
                      <a:pt x="147272" y="508917"/>
                    </a:cubicBezTo>
                    <a:cubicBezTo>
                      <a:pt x="145290" y="511056"/>
                      <a:pt x="145290" y="514361"/>
                      <a:pt x="147272" y="516500"/>
                    </a:cubicBezTo>
                    <a:moveTo>
                      <a:pt x="114507" y="546260"/>
                    </a:moveTo>
                    <a:cubicBezTo>
                      <a:pt x="116365" y="548091"/>
                      <a:pt x="119353" y="548070"/>
                      <a:pt x="121185" y="546212"/>
                    </a:cubicBezTo>
                    <a:cubicBezTo>
                      <a:pt x="123015" y="544355"/>
                      <a:pt x="122993" y="541367"/>
                      <a:pt x="121137" y="539535"/>
                    </a:cubicBezTo>
                    <a:cubicBezTo>
                      <a:pt x="119299" y="537722"/>
                      <a:pt x="116346" y="537722"/>
                      <a:pt x="114507" y="539535"/>
                    </a:cubicBezTo>
                    <a:cubicBezTo>
                      <a:pt x="112650" y="541367"/>
                      <a:pt x="112629" y="544355"/>
                      <a:pt x="114460" y="546212"/>
                    </a:cubicBezTo>
                    <a:cubicBezTo>
                      <a:pt x="114476" y="546228"/>
                      <a:pt x="114492" y="546244"/>
                      <a:pt x="114507" y="546260"/>
                    </a:cubicBezTo>
                    <a:moveTo>
                      <a:pt x="81886" y="576735"/>
                    </a:moveTo>
                    <a:cubicBezTo>
                      <a:pt x="83546" y="578427"/>
                      <a:pt x="86263" y="578454"/>
                      <a:pt x="87956" y="576795"/>
                    </a:cubicBezTo>
                    <a:cubicBezTo>
                      <a:pt x="89650" y="575137"/>
                      <a:pt x="89677" y="572418"/>
                      <a:pt x="88017" y="570725"/>
                    </a:cubicBezTo>
                    <a:cubicBezTo>
                      <a:pt x="86357" y="569033"/>
                      <a:pt x="83640" y="569006"/>
                      <a:pt x="81946" y="570665"/>
                    </a:cubicBezTo>
                    <a:cubicBezTo>
                      <a:pt x="81926" y="570685"/>
                      <a:pt x="81906" y="570705"/>
                      <a:pt x="81886" y="570725"/>
                    </a:cubicBezTo>
                    <a:cubicBezTo>
                      <a:pt x="80251" y="572394"/>
                      <a:pt x="80251" y="575065"/>
                      <a:pt x="81886" y="576735"/>
                    </a:cubicBezTo>
                    <a:moveTo>
                      <a:pt x="49551" y="607066"/>
                    </a:moveTo>
                    <a:cubicBezTo>
                      <a:pt x="50922" y="608489"/>
                      <a:pt x="53187" y="608530"/>
                      <a:pt x="54609" y="607159"/>
                    </a:cubicBezTo>
                    <a:cubicBezTo>
                      <a:pt x="54641" y="607129"/>
                      <a:pt x="54672" y="607098"/>
                      <a:pt x="54702" y="607066"/>
                    </a:cubicBezTo>
                    <a:cubicBezTo>
                      <a:pt x="56124" y="605696"/>
                      <a:pt x="56166" y="603431"/>
                      <a:pt x="54795" y="602009"/>
                    </a:cubicBezTo>
                    <a:cubicBezTo>
                      <a:pt x="54765" y="601977"/>
                      <a:pt x="54734" y="601946"/>
                      <a:pt x="54702" y="601916"/>
                    </a:cubicBezTo>
                    <a:cubicBezTo>
                      <a:pt x="53331" y="600494"/>
                      <a:pt x="51067" y="600452"/>
                      <a:pt x="49644" y="601823"/>
                    </a:cubicBezTo>
                    <a:cubicBezTo>
                      <a:pt x="49613" y="601853"/>
                      <a:pt x="49582" y="601884"/>
                      <a:pt x="49551" y="601916"/>
                    </a:cubicBezTo>
                    <a:cubicBezTo>
                      <a:pt x="48152" y="603402"/>
                      <a:pt x="48152" y="605723"/>
                      <a:pt x="49551" y="607210"/>
                    </a:cubicBezTo>
                    <a:moveTo>
                      <a:pt x="17073" y="637684"/>
                    </a:moveTo>
                    <a:cubicBezTo>
                      <a:pt x="18301" y="638903"/>
                      <a:pt x="20281" y="638903"/>
                      <a:pt x="21509" y="637684"/>
                    </a:cubicBezTo>
                    <a:cubicBezTo>
                      <a:pt x="22655" y="636428"/>
                      <a:pt x="22655" y="634505"/>
                      <a:pt x="21509" y="633249"/>
                    </a:cubicBezTo>
                    <a:cubicBezTo>
                      <a:pt x="20281" y="632030"/>
                      <a:pt x="18301" y="632030"/>
                      <a:pt x="17073" y="633249"/>
                    </a:cubicBezTo>
                    <a:cubicBezTo>
                      <a:pt x="15849" y="634369"/>
                      <a:pt x="15763" y="636269"/>
                      <a:pt x="16883" y="637494"/>
                    </a:cubicBezTo>
                    <a:cubicBezTo>
                      <a:pt x="16943" y="637560"/>
                      <a:pt x="17008" y="637624"/>
                      <a:pt x="17073" y="637684"/>
                    </a:cubicBezTo>
                    <a:moveTo>
                      <a:pt x="328977" y="383870"/>
                    </a:moveTo>
                    <a:cubicBezTo>
                      <a:pt x="332103" y="386980"/>
                      <a:pt x="337153" y="386980"/>
                      <a:pt x="340279" y="383870"/>
                    </a:cubicBezTo>
                    <a:cubicBezTo>
                      <a:pt x="343407" y="380695"/>
                      <a:pt x="343407" y="375599"/>
                      <a:pt x="340279" y="372424"/>
                    </a:cubicBezTo>
                    <a:cubicBezTo>
                      <a:pt x="337075" y="369372"/>
                      <a:pt x="332038" y="369372"/>
                      <a:pt x="328833" y="372424"/>
                    </a:cubicBezTo>
                    <a:cubicBezTo>
                      <a:pt x="325723" y="375550"/>
                      <a:pt x="325723" y="380601"/>
                      <a:pt x="328833" y="383727"/>
                    </a:cubicBezTo>
                    <a:moveTo>
                      <a:pt x="296212" y="414202"/>
                    </a:moveTo>
                    <a:cubicBezTo>
                      <a:pt x="299100" y="417125"/>
                      <a:pt x="303810" y="417155"/>
                      <a:pt x="306734" y="414267"/>
                    </a:cubicBezTo>
                    <a:cubicBezTo>
                      <a:pt x="306756" y="414246"/>
                      <a:pt x="306778" y="414225"/>
                      <a:pt x="306800" y="414202"/>
                    </a:cubicBezTo>
                    <a:cubicBezTo>
                      <a:pt x="309803" y="411396"/>
                      <a:pt x="309963" y="406689"/>
                      <a:pt x="307158" y="403686"/>
                    </a:cubicBezTo>
                    <a:cubicBezTo>
                      <a:pt x="304352" y="400682"/>
                      <a:pt x="299645" y="400522"/>
                      <a:pt x="296642" y="403328"/>
                    </a:cubicBezTo>
                    <a:cubicBezTo>
                      <a:pt x="293770" y="406272"/>
                      <a:pt x="293770" y="410971"/>
                      <a:pt x="296642" y="413915"/>
                    </a:cubicBezTo>
                    <a:moveTo>
                      <a:pt x="264164" y="444820"/>
                    </a:moveTo>
                    <a:cubicBezTo>
                      <a:pt x="266801" y="447545"/>
                      <a:pt x="271149" y="447618"/>
                      <a:pt x="273874" y="444981"/>
                    </a:cubicBezTo>
                    <a:cubicBezTo>
                      <a:pt x="273928" y="444928"/>
                      <a:pt x="273983" y="444874"/>
                      <a:pt x="274036" y="444820"/>
                    </a:cubicBezTo>
                    <a:cubicBezTo>
                      <a:pt x="276653" y="442104"/>
                      <a:pt x="276653" y="437806"/>
                      <a:pt x="274036" y="435091"/>
                    </a:cubicBezTo>
                    <a:cubicBezTo>
                      <a:pt x="271399" y="432365"/>
                      <a:pt x="267051" y="432292"/>
                      <a:pt x="264325" y="434929"/>
                    </a:cubicBezTo>
                    <a:cubicBezTo>
                      <a:pt x="264271" y="434982"/>
                      <a:pt x="264217" y="435036"/>
                      <a:pt x="264164" y="435091"/>
                    </a:cubicBezTo>
                    <a:cubicBezTo>
                      <a:pt x="261547" y="437806"/>
                      <a:pt x="261547" y="442104"/>
                      <a:pt x="264164" y="444820"/>
                    </a:cubicBezTo>
                    <a:moveTo>
                      <a:pt x="231400" y="474722"/>
                    </a:moveTo>
                    <a:cubicBezTo>
                      <a:pt x="233889" y="477262"/>
                      <a:pt x="237965" y="477302"/>
                      <a:pt x="240505" y="474814"/>
                    </a:cubicBezTo>
                    <a:cubicBezTo>
                      <a:pt x="243043" y="472324"/>
                      <a:pt x="243084" y="468248"/>
                      <a:pt x="240595" y="465709"/>
                    </a:cubicBezTo>
                    <a:cubicBezTo>
                      <a:pt x="238107" y="463169"/>
                      <a:pt x="234029" y="463129"/>
                      <a:pt x="231491" y="465617"/>
                    </a:cubicBezTo>
                    <a:cubicBezTo>
                      <a:pt x="231460" y="465647"/>
                      <a:pt x="231430" y="465679"/>
                      <a:pt x="231400" y="465709"/>
                    </a:cubicBezTo>
                    <a:cubicBezTo>
                      <a:pt x="228910" y="468137"/>
                      <a:pt x="228860" y="472121"/>
                      <a:pt x="231288" y="474611"/>
                    </a:cubicBezTo>
                    <a:cubicBezTo>
                      <a:pt x="231325" y="474648"/>
                      <a:pt x="231362" y="474685"/>
                      <a:pt x="231400" y="474722"/>
                    </a:cubicBezTo>
                    <a:moveTo>
                      <a:pt x="198922" y="505197"/>
                    </a:moveTo>
                    <a:cubicBezTo>
                      <a:pt x="201025" y="507449"/>
                      <a:pt x="204556" y="507569"/>
                      <a:pt x="206808" y="505466"/>
                    </a:cubicBezTo>
                    <a:cubicBezTo>
                      <a:pt x="206901" y="505379"/>
                      <a:pt x="206991" y="505290"/>
                      <a:pt x="207077" y="505197"/>
                    </a:cubicBezTo>
                    <a:cubicBezTo>
                      <a:pt x="209369" y="503020"/>
                      <a:pt x="209462" y="499398"/>
                      <a:pt x="207284" y="497106"/>
                    </a:cubicBezTo>
                    <a:cubicBezTo>
                      <a:pt x="207217" y="497035"/>
                      <a:pt x="207148" y="496966"/>
                      <a:pt x="207077" y="496899"/>
                    </a:cubicBezTo>
                    <a:cubicBezTo>
                      <a:pt x="204803" y="494700"/>
                      <a:pt x="201195" y="494700"/>
                      <a:pt x="198922" y="496899"/>
                    </a:cubicBezTo>
                    <a:cubicBezTo>
                      <a:pt x="196629" y="499076"/>
                      <a:pt x="196536" y="502698"/>
                      <a:pt x="198714" y="504990"/>
                    </a:cubicBezTo>
                    <a:cubicBezTo>
                      <a:pt x="198781" y="505061"/>
                      <a:pt x="198850" y="505130"/>
                      <a:pt x="198922" y="505197"/>
                    </a:cubicBezTo>
                    <a:moveTo>
                      <a:pt x="166300" y="536244"/>
                    </a:moveTo>
                    <a:cubicBezTo>
                      <a:pt x="168411" y="538298"/>
                      <a:pt x="171773" y="538298"/>
                      <a:pt x="173883" y="536244"/>
                    </a:cubicBezTo>
                    <a:cubicBezTo>
                      <a:pt x="175919" y="534183"/>
                      <a:pt x="175919" y="530866"/>
                      <a:pt x="173883" y="528805"/>
                    </a:cubicBezTo>
                    <a:cubicBezTo>
                      <a:pt x="171773" y="526751"/>
                      <a:pt x="168411" y="526751"/>
                      <a:pt x="166300" y="528805"/>
                    </a:cubicBezTo>
                    <a:cubicBezTo>
                      <a:pt x="164265" y="530866"/>
                      <a:pt x="164265" y="534183"/>
                      <a:pt x="166300" y="536244"/>
                    </a:cubicBezTo>
                    <a:moveTo>
                      <a:pt x="133822" y="566719"/>
                    </a:moveTo>
                    <a:cubicBezTo>
                      <a:pt x="135680" y="568551"/>
                      <a:pt x="138668" y="568529"/>
                      <a:pt x="140500" y="566672"/>
                    </a:cubicBezTo>
                    <a:cubicBezTo>
                      <a:pt x="142330" y="564815"/>
                      <a:pt x="142308" y="561826"/>
                      <a:pt x="140453" y="559995"/>
                    </a:cubicBezTo>
                    <a:cubicBezTo>
                      <a:pt x="138614" y="558182"/>
                      <a:pt x="135661" y="558182"/>
                      <a:pt x="133822" y="559995"/>
                    </a:cubicBezTo>
                    <a:cubicBezTo>
                      <a:pt x="131965" y="561826"/>
                      <a:pt x="131944" y="564815"/>
                      <a:pt x="133775" y="566672"/>
                    </a:cubicBezTo>
                    <a:cubicBezTo>
                      <a:pt x="133791" y="566688"/>
                      <a:pt x="133807" y="566704"/>
                      <a:pt x="133822" y="566719"/>
                    </a:cubicBezTo>
                    <a:moveTo>
                      <a:pt x="101345" y="597194"/>
                    </a:moveTo>
                    <a:cubicBezTo>
                      <a:pt x="103014" y="598830"/>
                      <a:pt x="105684" y="598830"/>
                      <a:pt x="107354" y="597194"/>
                    </a:cubicBezTo>
                    <a:cubicBezTo>
                      <a:pt x="108917" y="595496"/>
                      <a:pt x="108917" y="592883"/>
                      <a:pt x="107354" y="591185"/>
                    </a:cubicBezTo>
                    <a:cubicBezTo>
                      <a:pt x="105684" y="589550"/>
                      <a:pt x="103013" y="589550"/>
                      <a:pt x="101345" y="591185"/>
                    </a:cubicBezTo>
                    <a:cubicBezTo>
                      <a:pt x="99725" y="592805"/>
                      <a:pt x="99725" y="595432"/>
                      <a:pt x="101345" y="597051"/>
                    </a:cubicBezTo>
                    <a:moveTo>
                      <a:pt x="68867" y="627526"/>
                    </a:moveTo>
                    <a:cubicBezTo>
                      <a:pt x="70237" y="628948"/>
                      <a:pt x="72502" y="628990"/>
                      <a:pt x="73924" y="627619"/>
                    </a:cubicBezTo>
                    <a:cubicBezTo>
                      <a:pt x="73956" y="627589"/>
                      <a:pt x="73987" y="627558"/>
                      <a:pt x="74017" y="627526"/>
                    </a:cubicBezTo>
                    <a:cubicBezTo>
                      <a:pt x="75417" y="626038"/>
                      <a:pt x="75417" y="623719"/>
                      <a:pt x="74017" y="622232"/>
                    </a:cubicBezTo>
                    <a:cubicBezTo>
                      <a:pt x="72647" y="620810"/>
                      <a:pt x="70382" y="620769"/>
                      <a:pt x="68960" y="622139"/>
                    </a:cubicBezTo>
                    <a:cubicBezTo>
                      <a:pt x="68928" y="622169"/>
                      <a:pt x="68897" y="622201"/>
                      <a:pt x="68867" y="622232"/>
                    </a:cubicBezTo>
                    <a:cubicBezTo>
                      <a:pt x="67444" y="623603"/>
                      <a:pt x="67403" y="625868"/>
                      <a:pt x="68774" y="627290"/>
                    </a:cubicBezTo>
                    <a:cubicBezTo>
                      <a:pt x="68804" y="627322"/>
                      <a:pt x="68835" y="627353"/>
                      <a:pt x="68867" y="627383"/>
                    </a:cubicBezTo>
                    <a:moveTo>
                      <a:pt x="36245" y="658001"/>
                    </a:moveTo>
                    <a:cubicBezTo>
                      <a:pt x="37473" y="659220"/>
                      <a:pt x="39453" y="659220"/>
                      <a:pt x="40681" y="658001"/>
                    </a:cubicBezTo>
                    <a:cubicBezTo>
                      <a:pt x="41865" y="656839"/>
                      <a:pt x="41885" y="654938"/>
                      <a:pt x="40724" y="653752"/>
                    </a:cubicBezTo>
                    <a:cubicBezTo>
                      <a:pt x="40709" y="653737"/>
                      <a:pt x="40695" y="653723"/>
                      <a:pt x="40681" y="653709"/>
                    </a:cubicBezTo>
                    <a:cubicBezTo>
                      <a:pt x="39562" y="652484"/>
                      <a:pt x="37660" y="652398"/>
                      <a:pt x="36436" y="653519"/>
                    </a:cubicBezTo>
                    <a:cubicBezTo>
                      <a:pt x="36370" y="653579"/>
                      <a:pt x="36306" y="653643"/>
                      <a:pt x="36245" y="653709"/>
                    </a:cubicBezTo>
                    <a:cubicBezTo>
                      <a:pt x="35026" y="654936"/>
                      <a:pt x="35026" y="656917"/>
                      <a:pt x="36245" y="658144"/>
                    </a:cubicBezTo>
                    <a:moveTo>
                      <a:pt x="348292" y="404616"/>
                    </a:moveTo>
                    <a:cubicBezTo>
                      <a:pt x="351497" y="407667"/>
                      <a:pt x="356533" y="407667"/>
                      <a:pt x="359738" y="404616"/>
                    </a:cubicBezTo>
                    <a:cubicBezTo>
                      <a:pt x="362848" y="401489"/>
                      <a:pt x="362848" y="396439"/>
                      <a:pt x="359738" y="393313"/>
                    </a:cubicBezTo>
                    <a:cubicBezTo>
                      <a:pt x="356611" y="390202"/>
                      <a:pt x="351561" y="390202"/>
                      <a:pt x="348435" y="393313"/>
                    </a:cubicBezTo>
                    <a:cubicBezTo>
                      <a:pt x="345307" y="396488"/>
                      <a:pt x="345307" y="401584"/>
                      <a:pt x="348435" y="404759"/>
                    </a:cubicBezTo>
                    <a:moveTo>
                      <a:pt x="315957" y="435234"/>
                    </a:moveTo>
                    <a:cubicBezTo>
                      <a:pt x="318880" y="438121"/>
                      <a:pt x="323591" y="438091"/>
                      <a:pt x="326478" y="435168"/>
                    </a:cubicBezTo>
                    <a:cubicBezTo>
                      <a:pt x="329366" y="432243"/>
                      <a:pt x="329336" y="427533"/>
                      <a:pt x="326413" y="424646"/>
                    </a:cubicBezTo>
                    <a:cubicBezTo>
                      <a:pt x="323514" y="421785"/>
                      <a:pt x="318854" y="421785"/>
                      <a:pt x="315957" y="424646"/>
                    </a:cubicBezTo>
                    <a:cubicBezTo>
                      <a:pt x="313034" y="427533"/>
                      <a:pt x="313004" y="432243"/>
                      <a:pt x="315891" y="435168"/>
                    </a:cubicBezTo>
                    <a:cubicBezTo>
                      <a:pt x="315912" y="435189"/>
                      <a:pt x="315934" y="435212"/>
                      <a:pt x="315957" y="435234"/>
                    </a:cubicBezTo>
                    <a:moveTo>
                      <a:pt x="283479" y="465709"/>
                    </a:moveTo>
                    <a:cubicBezTo>
                      <a:pt x="286373" y="468281"/>
                      <a:pt x="290804" y="468019"/>
                      <a:pt x="293377" y="465125"/>
                    </a:cubicBezTo>
                    <a:cubicBezTo>
                      <a:pt x="295634" y="462584"/>
                      <a:pt x="295743" y="458789"/>
                      <a:pt x="293637" y="456123"/>
                    </a:cubicBezTo>
                    <a:cubicBezTo>
                      <a:pt x="290873" y="453489"/>
                      <a:pt x="286528" y="453489"/>
                      <a:pt x="283765" y="456123"/>
                    </a:cubicBezTo>
                    <a:cubicBezTo>
                      <a:pt x="281039" y="458759"/>
                      <a:pt x="280966" y="463107"/>
                      <a:pt x="283603" y="465833"/>
                    </a:cubicBezTo>
                    <a:cubicBezTo>
                      <a:pt x="283656" y="465887"/>
                      <a:pt x="283711" y="465942"/>
                      <a:pt x="283765" y="465995"/>
                    </a:cubicBezTo>
                    <a:moveTo>
                      <a:pt x="251287" y="496470"/>
                    </a:moveTo>
                    <a:cubicBezTo>
                      <a:pt x="253776" y="499009"/>
                      <a:pt x="257853" y="499049"/>
                      <a:pt x="260392" y="496561"/>
                    </a:cubicBezTo>
                    <a:cubicBezTo>
                      <a:pt x="262930" y="494072"/>
                      <a:pt x="262972" y="489996"/>
                      <a:pt x="260482" y="487456"/>
                    </a:cubicBezTo>
                    <a:cubicBezTo>
                      <a:pt x="257994" y="484916"/>
                      <a:pt x="253917" y="484876"/>
                      <a:pt x="251378" y="487364"/>
                    </a:cubicBezTo>
                    <a:cubicBezTo>
                      <a:pt x="251347" y="487394"/>
                      <a:pt x="251317" y="487426"/>
                      <a:pt x="251287" y="487456"/>
                    </a:cubicBezTo>
                    <a:cubicBezTo>
                      <a:pt x="248797" y="489884"/>
                      <a:pt x="248747" y="493869"/>
                      <a:pt x="251175" y="496358"/>
                    </a:cubicBezTo>
                    <a:cubicBezTo>
                      <a:pt x="251213" y="496395"/>
                      <a:pt x="251250" y="496432"/>
                      <a:pt x="251287" y="496470"/>
                    </a:cubicBezTo>
                    <a:moveTo>
                      <a:pt x="218666" y="526945"/>
                    </a:moveTo>
                    <a:cubicBezTo>
                      <a:pt x="220988" y="529161"/>
                      <a:pt x="224642" y="529161"/>
                      <a:pt x="226964" y="526945"/>
                    </a:cubicBezTo>
                    <a:cubicBezTo>
                      <a:pt x="229335" y="524733"/>
                      <a:pt x="229462" y="521017"/>
                      <a:pt x="227250" y="518646"/>
                    </a:cubicBezTo>
                    <a:cubicBezTo>
                      <a:pt x="225038" y="516275"/>
                      <a:pt x="221323" y="516148"/>
                      <a:pt x="218952" y="518360"/>
                    </a:cubicBezTo>
                    <a:cubicBezTo>
                      <a:pt x="216736" y="520682"/>
                      <a:pt x="216736" y="524336"/>
                      <a:pt x="218952" y="526658"/>
                    </a:cubicBezTo>
                    <a:moveTo>
                      <a:pt x="186474" y="557133"/>
                    </a:moveTo>
                    <a:cubicBezTo>
                      <a:pt x="188536" y="559169"/>
                      <a:pt x="191852" y="559169"/>
                      <a:pt x="193914" y="557133"/>
                    </a:cubicBezTo>
                    <a:cubicBezTo>
                      <a:pt x="195967" y="555023"/>
                      <a:pt x="195967" y="551661"/>
                      <a:pt x="193914" y="549550"/>
                    </a:cubicBezTo>
                    <a:cubicBezTo>
                      <a:pt x="191852" y="547514"/>
                      <a:pt x="188536" y="547514"/>
                      <a:pt x="186474" y="549550"/>
                    </a:cubicBezTo>
                    <a:cubicBezTo>
                      <a:pt x="184421" y="551661"/>
                      <a:pt x="184421" y="555023"/>
                      <a:pt x="186474" y="557133"/>
                    </a:cubicBezTo>
                    <a:moveTo>
                      <a:pt x="153996" y="587608"/>
                    </a:moveTo>
                    <a:cubicBezTo>
                      <a:pt x="155853" y="589440"/>
                      <a:pt x="158842" y="589418"/>
                      <a:pt x="160673" y="587561"/>
                    </a:cubicBezTo>
                    <a:cubicBezTo>
                      <a:pt x="162503" y="585704"/>
                      <a:pt x="162482" y="582715"/>
                      <a:pt x="160626" y="580884"/>
                    </a:cubicBezTo>
                    <a:cubicBezTo>
                      <a:pt x="158788" y="579071"/>
                      <a:pt x="155835" y="579071"/>
                      <a:pt x="153996" y="580884"/>
                    </a:cubicBezTo>
                    <a:cubicBezTo>
                      <a:pt x="152139" y="582715"/>
                      <a:pt x="152117" y="585704"/>
                      <a:pt x="153949" y="587561"/>
                    </a:cubicBezTo>
                    <a:cubicBezTo>
                      <a:pt x="153965" y="587577"/>
                      <a:pt x="153980" y="587593"/>
                      <a:pt x="153996" y="587608"/>
                    </a:cubicBezTo>
                    <a:moveTo>
                      <a:pt x="121089" y="617797"/>
                    </a:moveTo>
                    <a:cubicBezTo>
                      <a:pt x="122670" y="619457"/>
                      <a:pt x="125295" y="619521"/>
                      <a:pt x="126955" y="617940"/>
                    </a:cubicBezTo>
                    <a:cubicBezTo>
                      <a:pt x="127004" y="617894"/>
                      <a:pt x="127051" y="617846"/>
                      <a:pt x="127098" y="617797"/>
                    </a:cubicBezTo>
                    <a:cubicBezTo>
                      <a:pt x="128718" y="616290"/>
                      <a:pt x="128809" y="613755"/>
                      <a:pt x="127303" y="612136"/>
                    </a:cubicBezTo>
                    <a:cubicBezTo>
                      <a:pt x="127237" y="612064"/>
                      <a:pt x="127168" y="611997"/>
                      <a:pt x="127098" y="611931"/>
                    </a:cubicBezTo>
                    <a:cubicBezTo>
                      <a:pt x="125478" y="610311"/>
                      <a:pt x="122852" y="610311"/>
                      <a:pt x="121232" y="611931"/>
                    </a:cubicBezTo>
                    <a:cubicBezTo>
                      <a:pt x="119647" y="613543"/>
                      <a:pt x="119584" y="616109"/>
                      <a:pt x="121089" y="617797"/>
                    </a:cubicBezTo>
                    <a:moveTo>
                      <a:pt x="88182" y="648415"/>
                    </a:moveTo>
                    <a:cubicBezTo>
                      <a:pt x="89737" y="649759"/>
                      <a:pt x="92086" y="649587"/>
                      <a:pt x="93428" y="648032"/>
                    </a:cubicBezTo>
                    <a:cubicBezTo>
                      <a:pt x="94560" y="646722"/>
                      <a:pt x="94639" y="644805"/>
                      <a:pt x="93619" y="643407"/>
                    </a:cubicBezTo>
                    <a:cubicBezTo>
                      <a:pt x="92132" y="642008"/>
                      <a:pt x="89813" y="642008"/>
                      <a:pt x="88325" y="643407"/>
                    </a:cubicBezTo>
                    <a:cubicBezTo>
                      <a:pt x="86903" y="644778"/>
                      <a:pt x="86861" y="647043"/>
                      <a:pt x="88232" y="648465"/>
                    </a:cubicBezTo>
                    <a:cubicBezTo>
                      <a:pt x="88262" y="648497"/>
                      <a:pt x="88293" y="648528"/>
                      <a:pt x="88325" y="648558"/>
                    </a:cubicBezTo>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31" name="Group 130">
              <a:extLst>
                <a:ext uri="{FF2B5EF4-FFF2-40B4-BE49-F238E27FC236}">
                  <a16:creationId xmlns:a16="http://schemas.microsoft.com/office/drawing/2014/main" id="{D8A3F5DF-C14C-4A27-85F8-5689C0093511}"/>
                </a:ext>
              </a:extLst>
            </p:cNvPr>
            <p:cNvGrpSpPr/>
            <p:nvPr/>
          </p:nvGrpSpPr>
          <p:grpSpPr>
            <a:xfrm>
              <a:off x="4920252" y="4617286"/>
              <a:ext cx="2244758" cy="840924"/>
              <a:chOff x="4832317" y="4492648"/>
              <a:chExt cx="2424911" cy="908412"/>
            </a:xfrm>
          </p:grpSpPr>
          <p:grpSp>
            <p:nvGrpSpPr>
              <p:cNvPr id="132" name="Group 131">
                <a:extLst>
                  <a:ext uri="{FF2B5EF4-FFF2-40B4-BE49-F238E27FC236}">
                    <a16:creationId xmlns:a16="http://schemas.microsoft.com/office/drawing/2014/main" id="{38202856-6B23-4ACB-BCA7-577F26A16A2E}"/>
                  </a:ext>
                </a:extLst>
              </p:cNvPr>
              <p:cNvGrpSpPr/>
              <p:nvPr/>
            </p:nvGrpSpPr>
            <p:grpSpPr>
              <a:xfrm flipH="1">
                <a:off x="4875721" y="4652916"/>
                <a:ext cx="1955997" cy="740542"/>
                <a:chOff x="3440113" y="5662613"/>
                <a:chExt cx="769938" cy="292100"/>
              </a:xfrm>
            </p:grpSpPr>
            <p:sp>
              <p:nvSpPr>
                <p:cNvPr id="166" name="Freeform 84">
                  <a:extLst>
                    <a:ext uri="{FF2B5EF4-FFF2-40B4-BE49-F238E27FC236}">
                      <a16:creationId xmlns:a16="http://schemas.microsoft.com/office/drawing/2014/main" id="{40F17EF5-1871-41D8-BD20-6EF333416C86}"/>
                    </a:ext>
                  </a:extLst>
                </p:cNvPr>
                <p:cNvSpPr>
                  <a:spLocks/>
                </p:cNvSpPr>
                <p:nvPr/>
              </p:nvSpPr>
              <p:spPr bwMode="auto">
                <a:xfrm>
                  <a:off x="3440113" y="566261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4 h 46"/>
                    <a:gd name="T46" fmla="*/ 355 w 358"/>
                    <a:gd name="T47" fmla="*/ 41 h 46"/>
                    <a:gd name="T48" fmla="*/ 342 w 358"/>
                    <a:gd name="T49" fmla="*/ 36 h 46"/>
                    <a:gd name="T50" fmla="*/ 327 w 358"/>
                    <a:gd name="T51" fmla="*/ 14 h 46"/>
                    <a:gd name="T52" fmla="*/ 305 w 358"/>
                    <a:gd name="T53" fmla="*/ 1 h 46"/>
                    <a:gd name="T54" fmla="*/ 288 w 358"/>
                    <a:gd name="T55" fmla="*/ 8 h 46"/>
                    <a:gd name="T56" fmla="*/ 273 w 358"/>
                    <a:gd name="T57" fmla="*/ 30 h 46"/>
                    <a:gd name="T58" fmla="*/ 254 w 358"/>
                    <a:gd name="T59" fmla="*/ 41 h 46"/>
                    <a:gd name="T60" fmla="*/ 241 w 358"/>
                    <a:gd name="T61" fmla="*/ 36 h 46"/>
                    <a:gd name="T62" fmla="*/ 226 w 358"/>
                    <a:gd name="T63" fmla="*/ 14 h 46"/>
                    <a:gd name="T64" fmla="*/ 204 w 358"/>
                    <a:gd name="T65" fmla="*/ 1 h 46"/>
                    <a:gd name="T66" fmla="*/ 187 w 358"/>
                    <a:gd name="T67" fmla="*/ 8 h 46"/>
                    <a:gd name="T68" fmla="*/ 172 w 358"/>
                    <a:gd name="T69" fmla="*/ 30 h 46"/>
                    <a:gd name="T70" fmla="*/ 154 w 358"/>
                    <a:gd name="T71" fmla="*/ 41 h 46"/>
                    <a:gd name="T72" fmla="*/ 140 w 358"/>
                    <a:gd name="T73" fmla="*/ 36 h 46"/>
                    <a:gd name="T74" fmla="*/ 126 w 358"/>
                    <a:gd name="T75" fmla="*/ 14 h 46"/>
                    <a:gd name="T76" fmla="*/ 103 w 358"/>
                    <a:gd name="T77" fmla="*/ 1 h 46"/>
                    <a:gd name="T78" fmla="*/ 87 w 358"/>
                    <a:gd name="T79" fmla="*/ 8 h 46"/>
                    <a:gd name="T80" fmla="*/ 72 w 358"/>
                    <a:gd name="T81" fmla="*/ 30 h 46"/>
                    <a:gd name="T82" fmla="*/ 53 w 358"/>
                    <a:gd name="T83" fmla="*/ 41 h 46"/>
                    <a:gd name="T84" fmla="*/ 40 w 358"/>
                    <a:gd name="T85" fmla="*/ 36 h 46"/>
                    <a:gd name="T86" fmla="*/ 25 w 358"/>
                    <a:gd name="T87" fmla="*/ 14 h 46"/>
                    <a:gd name="T88" fmla="*/ 3 w 358"/>
                    <a:gd name="T89" fmla="*/ 1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5"/>
                        <a:pt x="31" y="32"/>
                      </a:cubicBezTo>
                      <a:cubicBezTo>
                        <a:pt x="36" y="40"/>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5"/>
                        <a:pt x="131" y="32"/>
                      </a:cubicBezTo>
                      <a:cubicBezTo>
                        <a:pt x="137" y="40"/>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5"/>
                        <a:pt x="232" y="32"/>
                      </a:cubicBezTo>
                      <a:cubicBezTo>
                        <a:pt x="237" y="40"/>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5"/>
                        <a:pt x="333" y="32"/>
                      </a:cubicBezTo>
                      <a:cubicBezTo>
                        <a:pt x="338" y="40"/>
                        <a:pt x="345" y="46"/>
                        <a:pt x="355" y="46"/>
                      </a:cubicBezTo>
                      <a:cubicBezTo>
                        <a:pt x="356" y="46"/>
                        <a:pt x="358" y="45"/>
                        <a:pt x="358" y="44"/>
                      </a:cubicBezTo>
                      <a:cubicBezTo>
                        <a:pt x="358" y="43"/>
                        <a:pt x="356" y="41"/>
                        <a:pt x="355" y="41"/>
                      </a:cubicBezTo>
                      <a:cubicBezTo>
                        <a:pt x="350" y="41"/>
                        <a:pt x="346" y="39"/>
                        <a:pt x="342" y="36"/>
                      </a:cubicBezTo>
                      <a:cubicBezTo>
                        <a:pt x="336" y="30"/>
                        <a:pt x="332" y="22"/>
                        <a:pt x="327" y="14"/>
                      </a:cubicBezTo>
                      <a:cubicBezTo>
                        <a:pt x="322" y="7"/>
                        <a:pt x="315" y="0"/>
                        <a:pt x="305" y="1"/>
                      </a:cubicBezTo>
                      <a:cubicBezTo>
                        <a:pt x="298" y="0"/>
                        <a:pt x="292" y="3"/>
                        <a:pt x="288" y="8"/>
                      </a:cubicBezTo>
                      <a:cubicBezTo>
                        <a:pt x="282" y="14"/>
                        <a:pt x="278" y="23"/>
                        <a:pt x="273" y="30"/>
                      </a:cubicBezTo>
                      <a:cubicBezTo>
                        <a:pt x="268" y="37"/>
                        <a:pt x="263" y="41"/>
                        <a:pt x="254" y="41"/>
                      </a:cubicBezTo>
                      <a:cubicBezTo>
                        <a:pt x="249" y="41"/>
                        <a:pt x="245" y="39"/>
                        <a:pt x="241" y="36"/>
                      </a:cubicBezTo>
                      <a:cubicBezTo>
                        <a:pt x="236" y="30"/>
                        <a:pt x="232" y="22"/>
                        <a:pt x="226" y="14"/>
                      </a:cubicBezTo>
                      <a:cubicBezTo>
                        <a:pt x="221" y="7"/>
                        <a:pt x="215" y="0"/>
                        <a:pt x="204" y="1"/>
                      </a:cubicBezTo>
                      <a:cubicBezTo>
                        <a:pt x="197" y="0"/>
                        <a:pt x="192" y="3"/>
                        <a:pt x="187" y="8"/>
                      </a:cubicBezTo>
                      <a:cubicBezTo>
                        <a:pt x="181" y="14"/>
                        <a:pt x="177" y="23"/>
                        <a:pt x="172" y="30"/>
                      </a:cubicBezTo>
                      <a:cubicBezTo>
                        <a:pt x="167" y="37"/>
                        <a:pt x="162" y="41"/>
                        <a:pt x="154" y="41"/>
                      </a:cubicBezTo>
                      <a:cubicBezTo>
                        <a:pt x="148" y="41"/>
                        <a:pt x="144" y="39"/>
                        <a:pt x="140" y="36"/>
                      </a:cubicBezTo>
                      <a:cubicBezTo>
                        <a:pt x="135" y="30"/>
                        <a:pt x="131" y="22"/>
                        <a:pt x="126" y="14"/>
                      </a:cubicBezTo>
                      <a:cubicBezTo>
                        <a:pt x="121" y="7"/>
                        <a:pt x="114" y="0"/>
                        <a:pt x="103" y="1"/>
                      </a:cubicBezTo>
                      <a:cubicBezTo>
                        <a:pt x="96" y="0"/>
                        <a:pt x="91" y="3"/>
                        <a:pt x="87" y="8"/>
                      </a:cubicBezTo>
                      <a:cubicBezTo>
                        <a:pt x="81" y="14"/>
                        <a:pt x="76" y="23"/>
                        <a:pt x="72" y="30"/>
                      </a:cubicBezTo>
                      <a:cubicBezTo>
                        <a:pt x="67" y="37"/>
                        <a:pt x="61" y="41"/>
                        <a:pt x="53" y="41"/>
                      </a:cubicBezTo>
                      <a:cubicBezTo>
                        <a:pt x="48" y="41"/>
                        <a:pt x="44" y="39"/>
                        <a:pt x="40" y="36"/>
                      </a:cubicBezTo>
                      <a:cubicBezTo>
                        <a:pt x="34" y="30"/>
                        <a:pt x="30" y="22"/>
                        <a:pt x="25" y="14"/>
                      </a:cubicBezTo>
                      <a:cubicBezTo>
                        <a:pt x="20" y="7"/>
                        <a:pt x="13" y="0"/>
                        <a:pt x="3" y="1"/>
                      </a:cubicBezTo>
                      <a:cubicBezTo>
                        <a:pt x="2" y="1"/>
                        <a:pt x="0" y="2"/>
                        <a:pt x="0" y="3"/>
                      </a:cubicBezTo>
                      <a:cubicBezTo>
                        <a:pt x="0" y="4"/>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85">
                  <a:extLst>
                    <a:ext uri="{FF2B5EF4-FFF2-40B4-BE49-F238E27FC236}">
                      <a16:creationId xmlns:a16="http://schemas.microsoft.com/office/drawing/2014/main" id="{25AFE7FC-1E79-4265-A9F8-FFFAD377F749}"/>
                    </a:ext>
                  </a:extLst>
                </p:cNvPr>
                <p:cNvSpPr>
                  <a:spLocks/>
                </p:cNvSpPr>
                <p:nvPr/>
              </p:nvSpPr>
              <p:spPr bwMode="auto">
                <a:xfrm>
                  <a:off x="3440113" y="575786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4"/>
                        <a:pt x="31" y="32"/>
                      </a:cubicBezTo>
                      <a:cubicBezTo>
                        <a:pt x="36" y="39"/>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4"/>
                        <a:pt x="131" y="32"/>
                      </a:cubicBezTo>
                      <a:cubicBezTo>
                        <a:pt x="137" y="39"/>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4"/>
                        <a:pt x="232" y="32"/>
                      </a:cubicBezTo>
                      <a:cubicBezTo>
                        <a:pt x="237" y="39"/>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4"/>
                        <a:pt x="333" y="32"/>
                      </a:cubicBezTo>
                      <a:cubicBezTo>
                        <a:pt x="338" y="39"/>
                        <a:pt x="345" y="46"/>
                        <a:pt x="355" y="46"/>
                      </a:cubicBezTo>
                      <a:cubicBezTo>
                        <a:pt x="356" y="46"/>
                        <a:pt x="358" y="45"/>
                        <a:pt x="358" y="43"/>
                      </a:cubicBezTo>
                      <a:cubicBezTo>
                        <a:pt x="358" y="42"/>
                        <a:pt x="356" y="41"/>
                        <a:pt x="355" y="41"/>
                      </a:cubicBezTo>
                      <a:cubicBezTo>
                        <a:pt x="350" y="41"/>
                        <a:pt x="346" y="39"/>
                        <a:pt x="342" y="35"/>
                      </a:cubicBezTo>
                      <a:cubicBezTo>
                        <a:pt x="336" y="30"/>
                        <a:pt x="332" y="22"/>
                        <a:pt x="327" y="14"/>
                      </a:cubicBezTo>
                      <a:cubicBezTo>
                        <a:pt x="322" y="7"/>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2"/>
                        <a:pt x="226" y="14"/>
                      </a:cubicBezTo>
                      <a:cubicBezTo>
                        <a:pt x="221" y="7"/>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2"/>
                        <a:pt x="126" y="14"/>
                      </a:cubicBezTo>
                      <a:cubicBezTo>
                        <a:pt x="121" y="7"/>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2"/>
                        <a:pt x="25" y="14"/>
                      </a:cubicBezTo>
                      <a:cubicBezTo>
                        <a:pt x="20" y="7"/>
                        <a:pt x="13" y="0"/>
                        <a:pt x="3" y="0"/>
                      </a:cubicBezTo>
                      <a:cubicBezTo>
                        <a:pt x="2" y="0"/>
                        <a:pt x="0" y="1"/>
                        <a:pt x="0" y="3"/>
                      </a:cubicBezTo>
                      <a:cubicBezTo>
                        <a:pt x="0" y="4"/>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86">
                  <a:extLst>
                    <a:ext uri="{FF2B5EF4-FFF2-40B4-BE49-F238E27FC236}">
                      <a16:creationId xmlns:a16="http://schemas.microsoft.com/office/drawing/2014/main" id="{4F6E817C-18DC-4718-8921-49C32F6039DD}"/>
                    </a:ext>
                  </a:extLst>
                </p:cNvPr>
                <p:cNvSpPr>
                  <a:spLocks/>
                </p:cNvSpPr>
                <p:nvPr/>
              </p:nvSpPr>
              <p:spPr bwMode="auto">
                <a:xfrm>
                  <a:off x="3440113" y="5853113"/>
                  <a:ext cx="769938" cy="101600"/>
                </a:xfrm>
                <a:custGeom>
                  <a:avLst/>
                  <a:gdLst>
                    <a:gd name="T0" fmla="*/ 3 w 358"/>
                    <a:gd name="T1" fmla="*/ 5 h 46"/>
                    <a:gd name="T2" fmla="*/ 16 w 358"/>
                    <a:gd name="T3" fmla="*/ 10 h 46"/>
                    <a:gd name="T4" fmla="*/ 31 w 358"/>
                    <a:gd name="T5" fmla="*/ 32 h 46"/>
                    <a:gd name="T6" fmla="*/ 53 w 358"/>
                    <a:gd name="T7" fmla="*/ 45 h 46"/>
                    <a:gd name="T8" fmla="*/ 70 w 358"/>
                    <a:gd name="T9" fmla="*/ 38 h 46"/>
                    <a:gd name="T10" fmla="*/ 85 w 358"/>
                    <a:gd name="T11" fmla="*/ 16 h 46"/>
                    <a:gd name="T12" fmla="*/ 103 w 358"/>
                    <a:gd name="T13" fmla="*/ 5 h 46"/>
                    <a:gd name="T14" fmla="*/ 117 w 358"/>
                    <a:gd name="T15" fmla="*/ 10 h 46"/>
                    <a:gd name="T16" fmla="*/ 131 w 358"/>
                    <a:gd name="T17" fmla="*/ 32 h 46"/>
                    <a:gd name="T18" fmla="*/ 154 w 358"/>
                    <a:gd name="T19" fmla="*/ 45 h 46"/>
                    <a:gd name="T20" fmla="*/ 170 w 358"/>
                    <a:gd name="T21" fmla="*/ 38 h 46"/>
                    <a:gd name="T22" fmla="*/ 186 w 358"/>
                    <a:gd name="T23" fmla="*/ 16 h 46"/>
                    <a:gd name="T24" fmla="*/ 204 w 358"/>
                    <a:gd name="T25" fmla="*/ 5 h 46"/>
                    <a:gd name="T26" fmla="*/ 217 w 358"/>
                    <a:gd name="T27" fmla="*/ 10 h 46"/>
                    <a:gd name="T28" fmla="*/ 232 w 358"/>
                    <a:gd name="T29" fmla="*/ 32 h 46"/>
                    <a:gd name="T30" fmla="*/ 254 w 358"/>
                    <a:gd name="T31" fmla="*/ 45 h 46"/>
                    <a:gd name="T32" fmla="*/ 271 w 358"/>
                    <a:gd name="T33" fmla="*/ 38 h 46"/>
                    <a:gd name="T34" fmla="*/ 286 w 358"/>
                    <a:gd name="T35" fmla="*/ 16 h 46"/>
                    <a:gd name="T36" fmla="*/ 305 w 358"/>
                    <a:gd name="T37" fmla="*/ 5 h 46"/>
                    <a:gd name="T38" fmla="*/ 318 w 358"/>
                    <a:gd name="T39" fmla="*/ 10 h 46"/>
                    <a:gd name="T40" fmla="*/ 333 w 358"/>
                    <a:gd name="T41" fmla="*/ 32 h 46"/>
                    <a:gd name="T42" fmla="*/ 355 w 358"/>
                    <a:gd name="T43" fmla="*/ 45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2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0"/>
                      </a:cubicBezTo>
                      <a:cubicBezTo>
                        <a:pt x="22" y="16"/>
                        <a:pt x="26" y="24"/>
                        <a:pt x="31" y="32"/>
                      </a:cubicBezTo>
                      <a:cubicBezTo>
                        <a:pt x="36" y="39"/>
                        <a:pt x="43" y="46"/>
                        <a:pt x="53" y="45"/>
                      </a:cubicBezTo>
                      <a:cubicBezTo>
                        <a:pt x="60" y="46"/>
                        <a:pt x="66" y="43"/>
                        <a:pt x="70" y="38"/>
                      </a:cubicBezTo>
                      <a:cubicBezTo>
                        <a:pt x="76" y="32"/>
                        <a:pt x="80" y="23"/>
                        <a:pt x="85" y="16"/>
                      </a:cubicBezTo>
                      <a:cubicBezTo>
                        <a:pt x="90" y="9"/>
                        <a:pt x="95" y="5"/>
                        <a:pt x="103" y="5"/>
                      </a:cubicBezTo>
                      <a:cubicBezTo>
                        <a:pt x="109" y="5"/>
                        <a:pt x="113" y="7"/>
                        <a:pt x="117" y="10"/>
                      </a:cubicBezTo>
                      <a:cubicBezTo>
                        <a:pt x="122" y="16"/>
                        <a:pt x="126" y="24"/>
                        <a:pt x="131" y="32"/>
                      </a:cubicBezTo>
                      <a:cubicBezTo>
                        <a:pt x="137" y="39"/>
                        <a:pt x="143" y="46"/>
                        <a:pt x="154" y="45"/>
                      </a:cubicBezTo>
                      <a:cubicBezTo>
                        <a:pt x="161" y="46"/>
                        <a:pt x="166" y="43"/>
                        <a:pt x="170" y="38"/>
                      </a:cubicBezTo>
                      <a:cubicBezTo>
                        <a:pt x="177" y="32"/>
                        <a:pt x="181" y="23"/>
                        <a:pt x="186" y="16"/>
                      </a:cubicBezTo>
                      <a:cubicBezTo>
                        <a:pt x="191" y="9"/>
                        <a:pt x="196" y="5"/>
                        <a:pt x="204" y="5"/>
                      </a:cubicBezTo>
                      <a:cubicBezTo>
                        <a:pt x="210" y="5"/>
                        <a:pt x="214" y="7"/>
                        <a:pt x="217" y="10"/>
                      </a:cubicBezTo>
                      <a:cubicBezTo>
                        <a:pt x="223" y="16"/>
                        <a:pt x="227" y="24"/>
                        <a:pt x="232" y="32"/>
                      </a:cubicBezTo>
                      <a:cubicBezTo>
                        <a:pt x="237" y="39"/>
                        <a:pt x="244" y="46"/>
                        <a:pt x="254" y="45"/>
                      </a:cubicBezTo>
                      <a:cubicBezTo>
                        <a:pt x="261" y="46"/>
                        <a:pt x="267" y="43"/>
                        <a:pt x="271" y="38"/>
                      </a:cubicBezTo>
                      <a:cubicBezTo>
                        <a:pt x="277" y="32"/>
                        <a:pt x="281" y="23"/>
                        <a:pt x="286" y="16"/>
                      </a:cubicBezTo>
                      <a:cubicBezTo>
                        <a:pt x="291" y="9"/>
                        <a:pt x="296" y="5"/>
                        <a:pt x="305" y="5"/>
                      </a:cubicBezTo>
                      <a:cubicBezTo>
                        <a:pt x="310" y="5"/>
                        <a:pt x="314" y="7"/>
                        <a:pt x="318" y="10"/>
                      </a:cubicBezTo>
                      <a:cubicBezTo>
                        <a:pt x="324" y="16"/>
                        <a:pt x="328" y="24"/>
                        <a:pt x="333" y="32"/>
                      </a:cubicBezTo>
                      <a:cubicBezTo>
                        <a:pt x="338" y="39"/>
                        <a:pt x="345" y="46"/>
                        <a:pt x="355" y="45"/>
                      </a:cubicBezTo>
                      <a:cubicBezTo>
                        <a:pt x="356" y="45"/>
                        <a:pt x="358" y="44"/>
                        <a:pt x="358" y="43"/>
                      </a:cubicBezTo>
                      <a:cubicBezTo>
                        <a:pt x="358" y="42"/>
                        <a:pt x="356" y="41"/>
                        <a:pt x="355" y="41"/>
                      </a:cubicBezTo>
                      <a:cubicBezTo>
                        <a:pt x="350" y="41"/>
                        <a:pt x="346" y="39"/>
                        <a:pt x="342" y="35"/>
                      </a:cubicBezTo>
                      <a:cubicBezTo>
                        <a:pt x="336" y="30"/>
                        <a:pt x="332" y="21"/>
                        <a:pt x="327" y="14"/>
                      </a:cubicBezTo>
                      <a:cubicBezTo>
                        <a:pt x="322" y="6"/>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1"/>
                        <a:pt x="226" y="14"/>
                      </a:cubicBezTo>
                      <a:cubicBezTo>
                        <a:pt x="221" y="6"/>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1"/>
                        <a:pt x="126" y="14"/>
                      </a:cubicBezTo>
                      <a:cubicBezTo>
                        <a:pt x="121" y="6"/>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1"/>
                        <a:pt x="25" y="14"/>
                      </a:cubicBezTo>
                      <a:cubicBezTo>
                        <a:pt x="20" y="6"/>
                        <a:pt x="13" y="0"/>
                        <a:pt x="3" y="0"/>
                      </a:cubicBezTo>
                      <a:cubicBezTo>
                        <a:pt x="2" y="0"/>
                        <a:pt x="0" y="1"/>
                        <a:pt x="0" y="2"/>
                      </a:cubicBezTo>
                      <a:cubicBezTo>
                        <a:pt x="0" y="3"/>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3" name="Freeform: Shape 132">
                <a:extLst>
                  <a:ext uri="{FF2B5EF4-FFF2-40B4-BE49-F238E27FC236}">
                    <a16:creationId xmlns:a16="http://schemas.microsoft.com/office/drawing/2014/main" id="{473D42CE-03DA-476F-9A8B-8295DFABEF1C}"/>
                  </a:ext>
                </a:extLst>
              </p:cNvPr>
              <p:cNvSpPr/>
              <p:nvPr/>
            </p:nvSpPr>
            <p:spPr>
              <a:xfrm flipH="1">
                <a:off x="4832317" y="4517997"/>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chemeClr val="accent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4" name="Freeform: Shape 133">
                <a:extLst>
                  <a:ext uri="{FF2B5EF4-FFF2-40B4-BE49-F238E27FC236}">
                    <a16:creationId xmlns:a16="http://schemas.microsoft.com/office/drawing/2014/main" id="{697BE3D4-8B43-431B-ADDA-70D55AC2B3A4}"/>
                  </a:ext>
                </a:extLst>
              </p:cNvPr>
              <p:cNvSpPr/>
              <p:nvPr/>
            </p:nvSpPr>
            <p:spPr>
              <a:xfrm flipH="1">
                <a:off x="4886241" y="4492648"/>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5" name="Freeform: Shape 134">
                <a:extLst>
                  <a:ext uri="{FF2B5EF4-FFF2-40B4-BE49-F238E27FC236}">
                    <a16:creationId xmlns:a16="http://schemas.microsoft.com/office/drawing/2014/main" id="{F82294A3-3096-49D1-88EC-069D48CAACD6}"/>
                  </a:ext>
                </a:extLst>
              </p:cNvPr>
              <p:cNvSpPr/>
              <p:nvPr/>
            </p:nvSpPr>
            <p:spPr>
              <a:xfrm flipH="1">
                <a:off x="6680167" y="4877923"/>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5" name="Freeform: Shape 164">
                <a:extLst>
                  <a:ext uri="{FF2B5EF4-FFF2-40B4-BE49-F238E27FC236}">
                    <a16:creationId xmlns:a16="http://schemas.microsoft.com/office/drawing/2014/main" id="{42055CFA-B4E3-46DD-B907-0528AC06B976}"/>
                  </a:ext>
                </a:extLst>
              </p:cNvPr>
              <p:cNvSpPr/>
              <p:nvPr/>
            </p:nvSpPr>
            <p:spPr>
              <a:xfrm flipH="1">
                <a:off x="6734091" y="4852574"/>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chemeClr val="accent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sp>
        <p:nvSpPr>
          <p:cNvPr id="171" name="Rectangle 170">
            <a:extLst>
              <a:ext uri="{FF2B5EF4-FFF2-40B4-BE49-F238E27FC236}">
                <a16:creationId xmlns:a16="http://schemas.microsoft.com/office/drawing/2014/main" id="{F32AEC95-AF0C-4AB9-A266-ED5415E07A0A}"/>
              </a:ext>
            </a:extLst>
          </p:cNvPr>
          <p:cNvSpPr/>
          <p:nvPr/>
        </p:nvSpPr>
        <p:spPr>
          <a:xfrm>
            <a:off x="6780155" y="4524770"/>
            <a:ext cx="3100593" cy="18466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dirty="0">
                <a:solidFill>
                  <a:schemeClr val="accent1"/>
                </a:solidFill>
              </a:rPr>
              <a:t>001101 001101 10010101010100 1001</a:t>
            </a:r>
          </a:p>
        </p:txBody>
      </p:sp>
      <p:sp>
        <p:nvSpPr>
          <p:cNvPr id="173" name="Google Shape;2115;p430">
            <a:extLst>
              <a:ext uri="{FF2B5EF4-FFF2-40B4-BE49-F238E27FC236}">
                <a16:creationId xmlns:a16="http://schemas.microsoft.com/office/drawing/2014/main" id="{FA30FC22-F572-4732-A259-F88E2690AA8C}"/>
              </a:ext>
            </a:extLst>
          </p:cNvPr>
          <p:cNvSpPr txBox="1"/>
          <p:nvPr/>
        </p:nvSpPr>
        <p:spPr>
          <a:xfrm>
            <a:off x="4687997" y="5818583"/>
            <a:ext cx="2450246" cy="246221"/>
          </a:xfrm>
          <a:prstGeom prst="rect">
            <a:avLst/>
          </a:prstGeom>
          <a:noFill/>
          <a:ln>
            <a:noFill/>
          </a:ln>
        </p:spPr>
        <p:txBody>
          <a:bodyPr spcFirstLastPara="1" wrap="square" lIns="0" tIns="0" rIns="0" bIns="0" anchor="t" anchorCtr="0">
            <a:spAutoFit/>
          </a:bodyPr>
          <a:lstStyle/>
          <a:p>
            <a:pPr marR="0" indent="0" algn="ctr">
              <a:lnSpc>
                <a:spcPct val="100000"/>
              </a:lnSpc>
              <a:spcBef>
                <a:spcPts val="0"/>
              </a:spcBef>
              <a:spcAft>
                <a:spcPts val="0"/>
              </a:spcAft>
              <a:buClr>
                <a:srgbClr val="000000"/>
              </a:buClr>
              <a:buSzPts val="1400"/>
              <a:buFont typeface="Arial"/>
              <a:buNone/>
            </a:pPr>
            <a:r>
              <a:rPr lang="en" sz="1600" dirty="0">
                <a:solidFill>
                  <a:schemeClr val="tx2"/>
                </a:solidFill>
                <a:sym typeface="Helvetica Neue"/>
              </a:rPr>
              <a:t>Remote </a:t>
            </a:r>
            <a:r>
              <a:rPr lang="en-US" sz="1600" dirty="0">
                <a:solidFill>
                  <a:schemeClr val="tx2"/>
                </a:solidFill>
                <a:sym typeface="Helvetica Neue"/>
              </a:rPr>
              <a:t>workers</a:t>
            </a:r>
            <a:endParaRPr sz="1600" dirty="0">
              <a:solidFill>
                <a:schemeClr val="tx2"/>
              </a:solidFill>
              <a:sym typeface="Helvetica Neue"/>
            </a:endParaRPr>
          </a:p>
        </p:txBody>
      </p:sp>
      <p:grpSp>
        <p:nvGrpSpPr>
          <p:cNvPr id="174" name="Group 173">
            <a:extLst>
              <a:ext uri="{FF2B5EF4-FFF2-40B4-BE49-F238E27FC236}">
                <a16:creationId xmlns:a16="http://schemas.microsoft.com/office/drawing/2014/main" id="{B460E4BD-88DF-4135-840B-F3A3F47640C7}"/>
              </a:ext>
            </a:extLst>
          </p:cNvPr>
          <p:cNvGrpSpPr/>
          <p:nvPr/>
        </p:nvGrpSpPr>
        <p:grpSpPr>
          <a:xfrm>
            <a:off x="5244929" y="1180151"/>
            <a:ext cx="1336383" cy="1086594"/>
            <a:chOff x="5427809" y="1327217"/>
            <a:chExt cx="1336383" cy="1086594"/>
          </a:xfrm>
        </p:grpSpPr>
        <p:grpSp>
          <p:nvGrpSpPr>
            <p:cNvPr id="175" name="Group 174">
              <a:extLst>
                <a:ext uri="{FF2B5EF4-FFF2-40B4-BE49-F238E27FC236}">
                  <a16:creationId xmlns:a16="http://schemas.microsoft.com/office/drawing/2014/main" id="{DE77F5AE-2E35-4B3F-A8C6-1AED4699FE49}"/>
                </a:ext>
              </a:extLst>
            </p:cNvPr>
            <p:cNvGrpSpPr/>
            <p:nvPr/>
          </p:nvGrpSpPr>
          <p:grpSpPr>
            <a:xfrm>
              <a:off x="5427809" y="1327217"/>
              <a:ext cx="1336383" cy="1086594"/>
              <a:chOff x="3759440" y="1151356"/>
              <a:chExt cx="1568209" cy="1275088"/>
            </a:xfrm>
          </p:grpSpPr>
          <p:grpSp>
            <p:nvGrpSpPr>
              <p:cNvPr id="177" name="Group 176">
                <a:extLst>
                  <a:ext uri="{FF2B5EF4-FFF2-40B4-BE49-F238E27FC236}">
                    <a16:creationId xmlns:a16="http://schemas.microsoft.com/office/drawing/2014/main" id="{0A63D123-11EC-488F-AC43-0AF1D48253B5}"/>
                  </a:ext>
                </a:extLst>
              </p:cNvPr>
              <p:cNvGrpSpPr/>
              <p:nvPr/>
            </p:nvGrpSpPr>
            <p:grpSpPr>
              <a:xfrm>
                <a:off x="3759440" y="1276552"/>
                <a:ext cx="1517617" cy="1065498"/>
                <a:chOff x="4152412" y="1648888"/>
                <a:chExt cx="1015503" cy="712971"/>
              </a:xfrm>
            </p:grpSpPr>
            <p:sp>
              <p:nvSpPr>
                <p:cNvPr id="181" name="Freeform: Shape 180">
                  <a:extLst>
                    <a:ext uri="{FF2B5EF4-FFF2-40B4-BE49-F238E27FC236}">
                      <a16:creationId xmlns:a16="http://schemas.microsoft.com/office/drawing/2014/main" id="{A1F028A4-5740-4C1C-BFE3-A0CEEC1B6E6E}"/>
                    </a:ext>
                  </a:extLst>
                </p:cNvPr>
                <p:cNvSpPr/>
                <p:nvPr/>
              </p:nvSpPr>
              <p:spPr>
                <a:xfrm>
                  <a:off x="4215997" y="1684114"/>
                  <a:ext cx="951918" cy="677745"/>
                </a:xfrm>
                <a:custGeom>
                  <a:avLst/>
                  <a:gdLst>
                    <a:gd name="connsiteX0" fmla="*/ 520466 w 951918"/>
                    <a:gd name="connsiteY0" fmla="*/ 0 h 677745"/>
                    <a:gd name="connsiteX1" fmla="*/ 761261 w 951918"/>
                    <a:gd name="connsiteY1" fmla="*/ 160530 h 677745"/>
                    <a:gd name="connsiteX2" fmla="*/ 761261 w 951918"/>
                    <a:gd name="connsiteY2" fmla="*/ 162676 h 677745"/>
                    <a:gd name="connsiteX3" fmla="*/ 791020 w 951918"/>
                    <a:gd name="connsiteY3" fmla="*/ 171976 h 677745"/>
                    <a:gd name="connsiteX4" fmla="*/ 931106 w 951918"/>
                    <a:gd name="connsiteY4" fmla="*/ 516918 h 677745"/>
                    <a:gd name="connsiteX5" fmla="*/ 689723 w 951918"/>
                    <a:gd name="connsiteY5" fmla="*/ 677745 h 677745"/>
                    <a:gd name="connsiteX6" fmla="*/ 489419 w 951918"/>
                    <a:gd name="connsiteY6" fmla="*/ 582171 h 677745"/>
                    <a:gd name="connsiteX7" fmla="*/ 476828 w 951918"/>
                    <a:gd name="connsiteY7" fmla="*/ 561426 h 677745"/>
                    <a:gd name="connsiteX8" fmla="*/ 476828 w 951918"/>
                    <a:gd name="connsiteY8" fmla="*/ 561426 h 677745"/>
                    <a:gd name="connsiteX9" fmla="*/ 113338 w 951918"/>
                    <a:gd name="connsiteY9" fmla="*/ 628748 h 677745"/>
                    <a:gd name="connsiteX10" fmla="*/ 46016 w 951918"/>
                    <a:gd name="connsiteY10" fmla="*/ 265258 h 677745"/>
                    <a:gd name="connsiteX11" fmla="*/ 260499 w 951918"/>
                    <a:gd name="connsiteY11" fmla="*/ 151946 h 677745"/>
                    <a:gd name="connsiteX12" fmla="*/ 284249 w 951918"/>
                    <a:gd name="connsiteY12" fmla="*/ 154378 h 677745"/>
                    <a:gd name="connsiteX13" fmla="*/ 304995 w 951918"/>
                    <a:gd name="connsiteY13" fmla="*/ 115891 h 677745"/>
                    <a:gd name="connsiteX14" fmla="*/ 520466 w 951918"/>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918" h="677745">
                      <a:moveTo>
                        <a:pt x="520466" y="0"/>
                      </a:moveTo>
                      <a:cubicBezTo>
                        <a:pt x="625802" y="-87"/>
                        <a:pt x="720826" y="63263"/>
                        <a:pt x="761261" y="160530"/>
                      </a:cubicBezTo>
                      <a:lnTo>
                        <a:pt x="761261" y="162676"/>
                      </a:lnTo>
                      <a:lnTo>
                        <a:pt x="791020" y="171976"/>
                      </a:lnTo>
                      <a:cubicBezTo>
                        <a:pt x="924957" y="228545"/>
                        <a:pt x="987677" y="382981"/>
                        <a:pt x="931106" y="516918"/>
                      </a:cubicBezTo>
                      <a:cubicBezTo>
                        <a:pt x="890097" y="614016"/>
                        <a:pt x="795125" y="677293"/>
                        <a:pt x="689723" y="677745"/>
                      </a:cubicBezTo>
                      <a:cubicBezTo>
                        <a:pt x="612000" y="677542"/>
                        <a:pt x="538473" y="642459"/>
                        <a:pt x="489419" y="582171"/>
                      </a:cubicBezTo>
                      <a:lnTo>
                        <a:pt x="476828" y="561426"/>
                      </a:lnTo>
                      <a:lnTo>
                        <a:pt x="476828" y="561426"/>
                      </a:lnTo>
                      <a:cubicBezTo>
                        <a:pt x="395044" y="680391"/>
                        <a:pt x="232303" y="710532"/>
                        <a:pt x="113338" y="628748"/>
                      </a:cubicBezTo>
                      <a:cubicBezTo>
                        <a:pt x="-5627" y="546964"/>
                        <a:pt x="-35769" y="384223"/>
                        <a:pt x="46016" y="265258"/>
                      </a:cubicBezTo>
                      <a:cubicBezTo>
                        <a:pt x="94595" y="194592"/>
                        <a:pt x="174746" y="152249"/>
                        <a:pt x="260499" y="151946"/>
                      </a:cubicBezTo>
                      <a:lnTo>
                        <a:pt x="284249" y="154378"/>
                      </a:lnTo>
                      <a:lnTo>
                        <a:pt x="304995" y="115891"/>
                      </a:lnTo>
                      <a:cubicBezTo>
                        <a:pt x="353000" y="43745"/>
                        <a:pt x="433810" y="282"/>
                        <a:pt x="520466" y="0"/>
                      </a:cubicBezTo>
                      <a:close/>
                    </a:path>
                  </a:pathLst>
                </a:custGeom>
                <a:solidFill>
                  <a:srgbClr val="B8B8BB"/>
                </a:solidFill>
                <a:ln w="14288" cap="flat">
                  <a:noFill/>
                  <a:prstDash val="solid"/>
                  <a:miter/>
                </a:ln>
              </p:spPr>
              <p:txBody>
                <a:bodyPr rtlCol="0" anchor="ctr"/>
                <a:lstStyle/>
                <a:p>
                  <a:endParaRPr lang="en-IN" dirty="0"/>
                </a:p>
              </p:txBody>
            </p:sp>
            <p:sp>
              <p:nvSpPr>
                <p:cNvPr id="182" name="Freeform: Shape 181">
                  <a:extLst>
                    <a:ext uri="{FF2B5EF4-FFF2-40B4-BE49-F238E27FC236}">
                      <a16:creationId xmlns:a16="http://schemas.microsoft.com/office/drawing/2014/main" id="{8C99318F-AA1C-4DCB-A7AB-9C613828E3C4}"/>
                    </a:ext>
                  </a:extLst>
                </p:cNvPr>
                <p:cNvSpPr/>
                <p:nvPr/>
              </p:nvSpPr>
              <p:spPr>
                <a:xfrm>
                  <a:off x="4152412" y="1648888"/>
                  <a:ext cx="951307" cy="677745"/>
                </a:xfrm>
                <a:custGeom>
                  <a:avLst/>
                  <a:gdLst>
                    <a:gd name="connsiteX0" fmla="*/ 520664 w 951307"/>
                    <a:gd name="connsiteY0" fmla="*/ 0 h 677745"/>
                    <a:gd name="connsiteX1" fmla="*/ 761459 w 951307"/>
                    <a:gd name="connsiteY1" fmla="*/ 160530 h 677745"/>
                    <a:gd name="connsiteX2" fmla="*/ 762317 w 951307"/>
                    <a:gd name="connsiteY2" fmla="*/ 163391 h 677745"/>
                    <a:gd name="connsiteX3" fmla="*/ 792077 w 951307"/>
                    <a:gd name="connsiteY3" fmla="*/ 172691 h 677745"/>
                    <a:gd name="connsiteX4" fmla="*/ 929786 w 951307"/>
                    <a:gd name="connsiteY4" fmla="*/ 518589 h 677745"/>
                    <a:gd name="connsiteX5" fmla="*/ 689921 w 951307"/>
                    <a:gd name="connsiteY5" fmla="*/ 677745 h 677745"/>
                    <a:gd name="connsiteX6" fmla="*/ 489616 w 951307"/>
                    <a:gd name="connsiteY6" fmla="*/ 582028 h 677745"/>
                    <a:gd name="connsiteX7" fmla="*/ 477026 w 951307"/>
                    <a:gd name="connsiteY7" fmla="*/ 561282 h 677745"/>
                    <a:gd name="connsiteX8" fmla="*/ 477026 w 951307"/>
                    <a:gd name="connsiteY8" fmla="*/ 561282 h 677745"/>
                    <a:gd name="connsiteX9" fmla="*/ 113626 w 951307"/>
                    <a:gd name="connsiteY9" fmla="*/ 629089 h 677745"/>
                    <a:gd name="connsiteX10" fmla="*/ 45820 w 951307"/>
                    <a:gd name="connsiteY10" fmla="*/ 265688 h 677745"/>
                    <a:gd name="connsiteX11" fmla="*/ 260697 w 951307"/>
                    <a:gd name="connsiteY11" fmla="*/ 152089 h 677745"/>
                    <a:gd name="connsiteX12" fmla="*/ 284447 w 951307"/>
                    <a:gd name="connsiteY12" fmla="*/ 154521 h 677745"/>
                    <a:gd name="connsiteX13" fmla="*/ 305193 w 951307"/>
                    <a:gd name="connsiteY13" fmla="*/ 115891 h 677745"/>
                    <a:gd name="connsiteX14" fmla="*/ 520664 w 951307"/>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307" h="677745">
                      <a:moveTo>
                        <a:pt x="520664" y="0"/>
                      </a:moveTo>
                      <a:cubicBezTo>
                        <a:pt x="625977" y="-10"/>
                        <a:pt x="720963" y="63314"/>
                        <a:pt x="761459" y="160530"/>
                      </a:cubicBezTo>
                      <a:lnTo>
                        <a:pt x="762317" y="163391"/>
                      </a:lnTo>
                      <a:lnTo>
                        <a:pt x="792077" y="172691"/>
                      </a:lnTo>
                      <a:cubicBezTo>
                        <a:pt x="925621" y="230182"/>
                        <a:pt x="987275" y="385044"/>
                        <a:pt x="929786" y="518589"/>
                      </a:cubicBezTo>
                      <a:cubicBezTo>
                        <a:pt x="888485" y="614528"/>
                        <a:pt x="794370" y="676976"/>
                        <a:pt x="689921" y="677745"/>
                      </a:cubicBezTo>
                      <a:cubicBezTo>
                        <a:pt x="612179" y="677486"/>
                        <a:pt x="538655" y="642353"/>
                        <a:pt x="489616" y="582028"/>
                      </a:cubicBezTo>
                      <a:lnTo>
                        <a:pt x="477026" y="561282"/>
                      </a:lnTo>
                      <a:lnTo>
                        <a:pt x="477026" y="561282"/>
                      </a:lnTo>
                      <a:cubicBezTo>
                        <a:pt x="395400" y="680356"/>
                        <a:pt x="232700" y="710714"/>
                        <a:pt x="113626" y="629089"/>
                      </a:cubicBezTo>
                      <a:cubicBezTo>
                        <a:pt x="-5450" y="547463"/>
                        <a:pt x="-35807" y="384762"/>
                        <a:pt x="45820" y="265688"/>
                      </a:cubicBezTo>
                      <a:cubicBezTo>
                        <a:pt x="94414" y="194799"/>
                        <a:pt x="174752" y="152327"/>
                        <a:pt x="260697" y="152089"/>
                      </a:cubicBezTo>
                      <a:lnTo>
                        <a:pt x="284447" y="154521"/>
                      </a:lnTo>
                      <a:lnTo>
                        <a:pt x="305193" y="115891"/>
                      </a:lnTo>
                      <a:cubicBezTo>
                        <a:pt x="353250" y="43804"/>
                        <a:pt x="434028" y="358"/>
                        <a:pt x="520664" y="0"/>
                      </a:cubicBezTo>
                      <a:close/>
                    </a:path>
                  </a:pathLst>
                </a:custGeom>
                <a:solidFill>
                  <a:srgbClr val="0D274D"/>
                </a:solidFill>
                <a:ln w="14288" cap="flat">
                  <a:noFill/>
                  <a:prstDash val="solid"/>
                  <a:miter/>
                </a:ln>
              </p:spPr>
              <p:txBody>
                <a:bodyPr rtlCol="0" anchor="ctr"/>
                <a:lstStyle/>
                <a:p>
                  <a:endParaRPr lang="en-IN" dirty="0"/>
                </a:p>
              </p:txBody>
            </p:sp>
          </p:grpSp>
          <p:sp>
            <p:nvSpPr>
              <p:cNvPr id="178" name="Freeform: Shape 177">
                <a:extLst>
                  <a:ext uri="{FF2B5EF4-FFF2-40B4-BE49-F238E27FC236}">
                    <a16:creationId xmlns:a16="http://schemas.microsoft.com/office/drawing/2014/main" id="{B4E531E8-8A86-4351-9B3D-538F22C0571F}"/>
                  </a:ext>
                </a:extLst>
              </p:cNvPr>
              <p:cNvSpPr/>
              <p:nvPr/>
            </p:nvSpPr>
            <p:spPr>
              <a:xfrm>
                <a:off x="4351709" y="1151356"/>
                <a:ext cx="245802" cy="245802"/>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179" name="Freeform: Shape 178">
                <a:extLst>
                  <a:ext uri="{FF2B5EF4-FFF2-40B4-BE49-F238E27FC236}">
                    <a16:creationId xmlns:a16="http://schemas.microsoft.com/office/drawing/2014/main" id="{DFE11510-6D4D-44D8-8550-81A5922836FB}"/>
                  </a:ext>
                </a:extLst>
              </p:cNvPr>
              <p:cNvSpPr/>
              <p:nvPr/>
            </p:nvSpPr>
            <p:spPr>
              <a:xfrm>
                <a:off x="3771600" y="2018825"/>
                <a:ext cx="178275" cy="178275"/>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180" name="Freeform: Shape 179">
                <a:extLst>
                  <a:ext uri="{FF2B5EF4-FFF2-40B4-BE49-F238E27FC236}">
                    <a16:creationId xmlns:a16="http://schemas.microsoft.com/office/drawing/2014/main" id="{C127B0D4-07EF-44DE-8B1D-5B8A485765FB}"/>
                  </a:ext>
                </a:extLst>
              </p:cNvPr>
              <p:cNvSpPr/>
              <p:nvPr/>
            </p:nvSpPr>
            <p:spPr>
              <a:xfrm>
                <a:off x="5025218" y="2124013"/>
                <a:ext cx="302431" cy="302431"/>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grpSp>
        <p:sp>
          <p:nvSpPr>
            <p:cNvPr id="176" name="Freeform 752">
              <a:extLst>
                <a:ext uri="{FF2B5EF4-FFF2-40B4-BE49-F238E27FC236}">
                  <a16:creationId xmlns:a16="http://schemas.microsoft.com/office/drawing/2014/main" id="{834F6396-3862-439E-AB8D-0FFB70873425}"/>
                </a:ext>
              </a:extLst>
            </p:cNvPr>
            <p:cNvSpPr>
              <a:spLocks/>
            </p:cNvSpPr>
            <p:nvPr/>
          </p:nvSpPr>
          <p:spPr bwMode="auto">
            <a:xfrm>
              <a:off x="5559471" y="1746035"/>
              <a:ext cx="949094" cy="287453"/>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noFill/>
            <a:ln>
              <a:noFill/>
            </a:ln>
          </p:spPr>
          <p:txBody>
            <a:bodyPr vert="horz" wrap="square" lIns="91440" tIns="45720" rIns="91440" bIns="45720" numCol="1" anchor="t" anchorCtr="0" compatLnSpc="1">
              <a:prstTxWarp prst="textNoShape">
                <a:avLst/>
              </a:prstTxWarp>
            </a:bodyPr>
            <a:lstStyle/>
            <a:p>
              <a:pPr algn="ctr"/>
              <a:r>
                <a:rPr lang="en-US" sz="1400" dirty="0">
                  <a:solidFill>
                    <a:schemeClr val="bg2"/>
                  </a:solidFill>
                </a:rPr>
                <a:t>Internet</a:t>
              </a:r>
              <a:endParaRPr lang="en-US" sz="1600" dirty="0">
                <a:solidFill>
                  <a:schemeClr val="bg2"/>
                </a:solidFill>
              </a:endParaRPr>
            </a:p>
          </p:txBody>
        </p:sp>
      </p:grpSp>
      <p:grpSp>
        <p:nvGrpSpPr>
          <p:cNvPr id="183" name="Group 182">
            <a:extLst>
              <a:ext uri="{FF2B5EF4-FFF2-40B4-BE49-F238E27FC236}">
                <a16:creationId xmlns:a16="http://schemas.microsoft.com/office/drawing/2014/main" id="{F275FB81-048A-4BA8-88AD-04B97D81D542}"/>
              </a:ext>
            </a:extLst>
          </p:cNvPr>
          <p:cNvGrpSpPr/>
          <p:nvPr/>
        </p:nvGrpSpPr>
        <p:grpSpPr>
          <a:xfrm>
            <a:off x="1023811" y="1389617"/>
            <a:ext cx="1336383" cy="1086594"/>
            <a:chOff x="1109937" y="1612791"/>
            <a:chExt cx="1336383" cy="1086594"/>
          </a:xfrm>
        </p:grpSpPr>
        <p:grpSp>
          <p:nvGrpSpPr>
            <p:cNvPr id="184" name="Group 183">
              <a:extLst>
                <a:ext uri="{FF2B5EF4-FFF2-40B4-BE49-F238E27FC236}">
                  <a16:creationId xmlns:a16="http://schemas.microsoft.com/office/drawing/2014/main" id="{4A28DFC9-8516-46C5-A82E-FF0E4E5DFEB0}"/>
                </a:ext>
              </a:extLst>
            </p:cNvPr>
            <p:cNvGrpSpPr/>
            <p:nvPr/>
          </p:nvGrpSpPr>
          <p:grpSpPr>
            <a:xfrm>
              <a:off x="1109937" y="1612791"/>
              <a:ext cx="1336383" cy="1086594"/>
              <a:chOff x="3759440" y="1151356"/>
              <a:chExt cx="1568209" cy="1275088"/>
            </a:xfrm>
          </p:grpSpPr>
          <p:grpSp>
            <p:nvGrpSpPr>
              <p:cNvPr id="186" name="Group 185">
                <a:extLst>
                  <a:ext uri="{FF2B5EF4-FFF2-40B4-BE49-F238E27FC236}">
                    <a16:creationId xmlns:a16="http://schemas.microsoft.com/office/drawing/2014/main" id="{A697CCF2-CD1A-4FA8-B8B3-10772979FC69}"/>
                  </a:ext>
                </a:extLst>
              </p:cNvPr>
              <p:cNvGrpSpPr/>
              <p:nvPr/>
            </p:nvGrpSpPr>
            <p:grpSpPr>
              <a:xfrm>
                <a:off x="3759440" y="1276552"/>
                <a:ext cx="1517617" cy="1065498"/>
                <a:chOff x="4152412" y="1648888"/>
                <a:chExt cx="1015503" cy="712971"/>
              </a:xfrm>
            </p:grpSpPr>
            <p:sp>
              <p:nvSpPr>
                <p:cNvPr id="190" name="Freeform: Shape 189">
                  <a:extLst>
                    <a:ext uri="{FF2B5EF4-FFF2-40B4-BE49-F238E27FC236}">
                      <a16:creationId xmlns:a16="http://schemas.microsoft.com/office/drawing/2014/main" id="{9E784329-8B74-4A63-8B7A-45F104EB93E2}"/>
                    </a:ext>
                  </a:extLst>
                </p:cNvPr>
                <p:cNvSpPr/>
                <p:nvPr/>
              </p:nvSpPr>
              <p:spPr>
                <a:xfrm>
                  <a:off x="4215997" y="1684114"/>
                  <a:ext cx="951918" cy="677745"/>
                </a:xfrm>
                <a:custGeom>
                  <a:avLst/>
                  <a:gdLst>
                    <a:gd name="connsiteX0" fmla="*/ 520466 w 951918"/>
                    <a:gd name="connsiteY0" fmla="*/ 0 h 677745"/>
                    <a:gd name="connsiteX1" fmla="*/ 761261 w 951918"/>
                    <a:gd name="connsiteY1" fmla="*/ 160530 h 677745"/>
                    <a:gd name="connsiteX2" fmla="*/ 761261 w 951918"/>
                    <a:gd name="connsiteY2" fmla="*/ 162676 h 677745"/>
                    <a:gd name="connsiteX3" fmla="*/ 791020 w 951918"/>
                    <a:gd name="connsiteY3" fmla="*/ 171976 h 677745"/>
                    <a:gd name="connsiteX4" fmla="*/ 931106 w 951918"/>
                    <a:gd name="connsiteY4" fmla="*/ 516918 h 677745"/>
                    <a:gd name="connsiteX5" fmla="*/ 689723 w 951918"/>
                    <a:gd name="connsiteY5" fmla="*/ 677745 h 677745"/>
                    <a:gd name="connsiteX6" fmla="*/ 489419 w 951918"/>
                    <a:gd name="connsiteY6" fmla="*/ 582171 h 677745"/>
                    <a:gd name="connsiteX7" fmla="*/ 476828 w 951918"/>
                    <a:gd name="connsiteY7" fmla="*/ 561426 h 677745"/>
                    <a:gd name="connsiteX8" fmla="*/ 476828 w 951918"/>
                    <a:gd name="connsiteY8" fmla="*/ 561426 h 677745"/>
                    <a:gd name="connsiteX9" fmla="*/ 113338 w 951918"/>
                    <a:gd name="connsiteY9" fmla="*/ 628748 h 677745"/>
                    <a:gd name="connsiteX10" fmla="*/ 46016 w 951918"/>
                    <a:gd name="connsiteY10" fmla="*/ 265258 h 677745"/>
                    <a:gd name="connsiteX11" fmla="*/ 260499 w 951918"/>
                    <a:gd name="connsiteY11" fmla="*/ 151946 h 677745"/>
                    <a:gd name="connsiteX12" fmla="*/ 284249 w 951918"/>
                    <a:gd name="connsiteY12" fmla="*/ 154378 h 677745"/>
                    <a:gd name="connsiteX13" fmla="*/ 304995 w 951918"/>
                    <a:gd name="connsiteY13" fmla="*/ 115891 h 677745"/>
                    <a:gd name="connsiteX14" fmla="*/ 520466 w 951918"/>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918" h="677745">
                      <a:moveTo>
                        <a:pt x="520466" y="0"/>
                      </a:moveTo>
                      <a:cubicBezTo>
                        <a:pt x="625802" y="-87"/>
                        <a:pt x="720826" y="63263"/>
                        <a:pt x="761261" y="160530"/>
                      </a:cubicBezTo>
                      <a:lnTo>
                        <a:pt x="761261" y="162676"/>
                      </a:lnTo>
                      <a:lnTo>
                        <a:pt x="791020" y="171976"/>
                      </a:lnTo>
                      <a:cubicBezTo>
                        <a:pt x="924957" y="228545"/>
                        <a:pt x="987677" y="382981"/>
                        <a:pt x="931106" y="516918"/>
                      </a:cubicBezTo>
                      <a:cubicBezTo>
                        <a:pt x="890097" y="614016"/>
                        <a:pt x="795125" y="677293"/>
                        <a:pt x="689723" y="677745"/>
                      </a:cubicBezTo>
                      <a:cubicBezTo>
                        <a:pt x="612000" y="677542"/>
                        <a:pt x="538473" y="642459"/>
                        <a:pt x="489419" y="582171"/>
                      </a:cubicBezTo>
                      <a:lnTo>
                        <a:pt x="476828" y="561426"/>
                      </a:lnTo>
                      <a:lnTo>
                        <a:pt x="476828" y="561426"/>
                      </a:lnTo>
                      <a:cubicBezTo>
                        <a:pt x="395044" y="680391"/>
                        <a:pt x="232303" y="710532"/>
                        <a:pt x="113338" y="628748"/>
                      </a:cubicBezTo>
                      <a:cubicBezTo>
                        <a:pt x="-5627" y="546964"/>
                        <a:pt x="-35769" y="384223"/>
                        <a:pt x="46016" y="265258"/>
                      </a:cubicBezTo>
                      <a:cubicBezTo>
                        <a:pt x="94595" y="194592"/>
                        <a:pt x="174746" y="152249"/>
                        <a:pt x="260499" y="151946"/>
                      </a:cubicBezTo>
                      <a:lnTo>
                        <a:pt x="284249" y="154378"/>
                      </a:lnTo>
                      <a:lnTo>
                        <a:pt x="304995" y="115891"/>
                      </a:lnTo>
                      <a:cubicBezTo>
                        <a:pt x="353000" y="43745"/>
                        <a:pt x="433810" y="282"/>
                        <a:pt x="520466" y="0"/>
                      </a:cubicBezTo>
                      <a:close/>
                    </a:path>
                  </a:pathLst>
                </a:custGeom>
                <a:solidFill>
                  <a:srgbClr val="B8B8BB"/>
                </a:solidFill>
                <a:ln w="14288" cap="flat">
                  <a:noFill/>
                  <a:prstDash val="solid"/>
                  <a:miter/>
                </a:ln>
              </p:spPr>
              <p:txBody>
                <a:bodyPr rtlCol="0" anchor="ctr"/>
                <a:lstStyle/>
                <a:p>
                  <a:endParaRPr lang="en-IN" dirty="0"/>
                </a:p>
              </p:txBody>
            </p:sp>
            <p:sp>
              <p:nvSpPr>
                <p:cNvPr id="191" name="Freeform: Shape 190">
                  <a:extLst>
                    <a:ext uri="{FF2B5EF4-FFF2-40B4-BE49-F238E27FC236}">
                      <a16:creationId xmlns:a16="http://schemas.microsoft.com/office/drawing/2014/main" id="{8C7CF778-7F84-4789-9FDB-0EACE63E4388}"/>
                    </a:ext>
                  </a:extLst>
                </p:cNvPr>
                <p:cNvSpPr/>
                <p:nvPr/>
              </p:nvSpPr>
              <p:spPr>
                <a:xfrm>
                  <a:off x="4152412" y="1648888"/>
                  <a:ext cx="951307" cy="677745"/>
                </a:xfrm>
                <a:custGeom>
                  <a:avLst/>
                  <a:gdLst>
                    <a:gd name="connsiteX0" fmla="*/ 520664 w 951307"/>
                    <a:gd name="connsiteY0" fmla="*/ 0 h 677745"/>
                    <a:gd name="connsiteX1" fmla="*/ 761459 w 951307"/>
                    <a:gd name="connsiteY1" fmla="*/ 160530 h 677745"/>
                    <a:gd name="connsiteX2" fmla="*/ 762317 w 951307"/>
                    <a:gd name="connsiteY2" fmla="*/ 163391 h 677745"/>
                    <a:gd name="connsiteX3" fmla="*/ 792077 w 951307"/>
                    <a:gd name="connsiteY3" fmla="*/ 172691 h 677745"/>
                    <a:gd name="connsiteX4" fmla="*/ 929786 w 951307"/>
                    <a:gd name="connsiteY4" fmla="*/ 518589 h 677745"/>
                    <a:gd name="connsiteX5" fmla="*/ 689921 w 951307"/>
                    <a:gd name="connsiteY5" fmla="*/ 677745 h 677745"/>
                    <a:gd name="connsiteX6" fmla="*/ 489616 w 951307"/>
                    <a:gd name="connsiteY6" fmla="*/ 582028 h 677745"/>
                    <a:gd name="connsiteX7" fmla="*/ 477026 w 951307"/>
                    <a:gd name="connsiteY7" fmla="*/ 561282 h 677745"/>
                    <a:gd name="connsiteX8" fmla="*/ 477026 w 951307"/>
                    <a:gd name="connsiteY8" fmla="*/ 561282 h 677745"/>
                    <a:gd name="connsiteX9" fmla="*/ 113626 w 951307"/>
                    <a:gd name="connsiteY9" fmla="*/ 629089 h 677745"/>
                    <a:gd name="connsiteX10" fmla="*/ 45820 w 951307"/>
                    <a:gd name="connsiteY10" fmla="*/ 265688 h 677745"/>
                    <a:gd name="connsiteX11" fmla="*/ 260697 w 951307"/>
                    <a:gd name="connsiteY11" fmla="*/ 152089 h 677745"/>
                    <a:gd name="connsiteX12" fmla="*/ 284447 w 951307"/>
                    <a:gd name="connsiteY12" fmla="*/ 154521 h 677745"/>
                    <a:gd name="connsiteX13" fmla="*/ 305193 w 951307"/>
                    <a:gd name="connsiteY13" fmla="*/ 115891 h 677745"/>
                    <a:gd name="connsiteX14" fmla="*/ 520664 w 951307"/>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307" h="677745">
                      <a:moveTo>
                        <a:pt x="520664" y="0"/>
                      </a:moveTo>
                      <a:cubicBezTo>
                        <a:pt x="625977" y="-10"/>
                        <a:pt x="720963" y="63314"/>
                        <a:pt x="761459" y="160530"/>
                      </a:cubicBezTo>
                      <a:lnTo>
                        <a:pt x="762317" y="163391"/>
                      </a:lnTo>
                      <a:lnTo>
                        <a:pt x="792077" y="172691"/>
                      </a:lnTo>
                      <a:cubicBezTo>
                        <a:pt x="925621" y="230182"/>
                        <a:pt x="987275" y="385044"/>
                        <a:pt x="929786" y="518589"/>
                      </a:cubicBezTo>
                      <a:cubicBezTo>
                        <a:pt x="888485" y="614528"/>
                        <a:pt x="794370" y="676976"/>
                        <a:pt x="689921" y="677745"/>
                      </a:cubicBezTo>
                      <a:cubicBezTo>
                        <a:pt x="612179" y="677486"/>
                        <a:pt x="538655" y="642353"/>
                        <a:pt x="489616" y="582028"/>
                      </a:cubicBezTo>
                      <a:lnTo>
                        <a:pt x="477026" y="561282"/>
                      </a:lnTo>
                      <a:lnTo>
                        <a:pt x="477026" y="561282"/>
                      </a:lnTo>
                      <a:cubicBezTo>
                        <a:pt x="395400" y="680356"/>
                        <a:pt x="232700" y="710714"/>
                        <a:pt x="113626" y="629089"/>
                      </a:cubicBezTo>
                      <a:cubicBezTo>
                        <a:pt x="-5450" y="547463"/>
                        <a:pt x="-35807" y="384762"/>
                        <a:pt x="45820" y="265688"/>
                      </a:cubicBezTo>
                      <a:cubicBezTo>
                        <a:pt x="94414" y="194799"/>
                        <a:pt x="174752" y="152327"/>
                        <a:pt x="260697" y="152089"/>
                      </a:cubicBezTo>
                      <a:lnTo>
                        <a:pt x="284447" y="154521"/>
                      </a:lnTo>
                      <a:lnTo>
                        <a:pt x="305193" y="115891"/>
                      </a:lnTo>
                      <a:cubicBezTo>
                        <a:pt x="353250" y="43804"/>
                        <a:pt x="434028" y="358"/>
                        <a:pt x="520664" y="0"/>
                      </a:cubicBezTo>
                      <a:close/>
                    </a:path>
                  </a:pathLst>
                </a:custGeom>
                <a:solidFill>
                  <a:srgbClr val="0D274D"/>
                </a:solidFill>
                <a:ln w="14288" cap="flat">
                  <a:noFill/>
                  <a:prstDash val="solid"/>
                  <a:miter/>
                </a:ln>
              </p:spPr>
              <p:txBody>
                <a:bodyPr rtlCol="0" anchor="ctr"/>
                <a:lstStyle/>
                <a:p>
                  <a:endParaRPr lang="en-IN" dirty="0"/>
                </a:p>
              </p:txBody>
            </p:sp>
          </p:grpSp>
          <p:sp>
            <p:nvSpPr>
              <p:cNvPr id="187" name="Freeform: Shape 186">
                <a:extLst>
                  <a:ext uri="{FF2B5EF4-FFF2-40B4-BE49-F238E27FC236}">
                    <a16:creationId xmlns:a16="http://schemas.microsoft.com/office/drawing/2014/main" id="{5F1D8851-DD2C-438F-A526-B872E8EC060E}"/>
                  </a:ext>
                </a:extLst>
              </p:cNvPr>
              <p:cNvSpPr/>
              <p:nvPr/>
            </p:nvSpPr>
            <p:spPr>
              <a:xfrm>
                <a:off x="4351709" y="1151356"/>
                <a:ext cx="245802" cy="245802"/>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188" name="Freeform: Shape 187">
                <a:extLst>
                  <a:ext uri="{FF2B5EF4-FFF2-40B4-BE49-F238E27FC236}">
                    <a16:creationId xmlns:a16="http://schemas.microsoft.com/office/drawing/2014/main" id="{53F98653-2583-485F-A543-A1915CC36551}"/>
                  </a:ext>
                </a:extLst>
              </p:cNvPr>
              <p:cNvSpPr/>
              <p:nvPr/>
            </p:nvSpPr>
            <p:spPr>
              <a:xfrm>
                <a:off x="3771600" y="2018825"/>
                <a:ext cx="178275" cy="178275"/>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189" name="Freeform: Shape 188">
                <a:extLst>
                  <a:ext uri="{FF2B5EF4-FFF2-40B4-BE49-F238E27FC236}">
                    <a16:creationId xmlns:a16="http://schemas.microsoft.com/office/drawing/2014/main" id="{A915F763-FA4B-4FC8-B055-E2D4109D25B2}"/>
                  </a:ext>
                </a:extLst>
              </p:cNvPr>
              <p:cNvSpPr/>
              <p:nvPr/>
            </p:nvSpPr>
            <p:spPr>
              <a:xfrm>
                <a:off x="5025218" y="2124013"/>
                <a:ext cx="302431" cy="302431"/>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grpSp>
        <p:sp>
          <p:nvSpPr>
            <p:cNvPr id="185" name="Freeform 752">
              <a:extLst>
                <a:ext uri="{FF2B5EF4-FFF2-40B4-BE49-F238E27FC236}">
                  <a16:creationId xmlns:a16="http://schemas.microsoft.com/office/drawing/2014/main" id="{6271221D-E543-4DE3-93CF-B2D5893AFE25}"/>
                </a:ext>
              </a:extLst>
            </p:cNvPr>
            <p:cNvSpPr>
              <a:spLocks/>
            </p:cNvSpPr>
            <p:nvPr/>
          </p:nvSpPr>
          <p:spPr bwMode="auto">
            <a:xfrm>
              <a:off x="1132004" y="2031609"/>
              <a:ext cx="1168284" cy="287453"/>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noFill/>
            <a:ln>
              <a:noFill/>
            </a:ln>
          </p:spPr>
          <p:txBody>
            <a:bodyPr vert="horz" wrap="square" lIns="91440" tIns="45720" rIns="91440" bIns="45720" numCol="1" anchor="t" anchorCtr="0" compatLnSpc="1">
              <a:prstTxWarp prst="textNoShape">
                <a:avLst/>
              </a:prstTxWarp>
            </a:bodyPr>
            <a:lstStyle/>
            <a:p>
              <a:pPr algn="ctr"/>
              <a:r>
                <a:rPr lang="en-US" sz="1400" dirty="0">
                  <a:solidFill>
                    <a:schemeClr val="bg2"/>
                  </a:solidFill>
                </a:rPr>
                <a:t>Cloud Apps</a:t>
              </a:r>
            </a:p>
          </p:txBody>
        </p:sp>
      </p:grpSp>
      <p:sp>
        <p:nvSpPr>
          <p:cNvPr id="192" name="Rectangle 191">
            <a:extLst>
              <a:ext uri="{FF2B5EF4-FFF2-40B4-BE49-F238E27FC236}">
                <a16:creationId xmlns:a16="http://schemas.microsoft.com/office/drawing/2014/main" id="{A4677784-945D-40A7-9647-79B59835B530}"/>
              </a:ext>
            </a:extLst>
          </p:cNvPr>
          <p:cNvSpPr/>
          <p:nvPr/>
        </p:nvSpPr>
        <p:spPr>
          <a:xfrm rot="5400000">
            <a:off x="5163213" y="2716472"/>
            <a:ext cx="1499815" cy="3693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dirty="0">
                <a:solidFill>
                  <a:schemeClr val="accent1"/>
                </a:solidFill>
              </a:rPr>
              <a:t>00101 001 1011 1010 </a:t>
            </a:r>
          </a:p>
        </p:txBody>
      </p:sp>
      <p:sp>
        <p:nvSpPr>
          <p:cNvPr id="193" name="Freeform: Shape 192">
            <a:extLst>
              <a:ext uri="{FF2B5EF4-FFF2-40B4-BE49-F238E27FC236}">
                <a16:creationId xmlns:a16="http://schemas.microsoft.com/office/drawing/2014/main" id="{FB397AE1-D5D9-421F-B889-F49C62AE0B00}"/>
              </a:ext>
            </a:extLst>
          </p:cNvPr>
          <p:cNvSpPr/>
          <p:nvPr/>
        </p:nvSpPr>
        <p:spPr>
          <a:xfrm>
            <a:off x="7013805" y="2972431"/>
            <a:ext cx="353279" cy="921994"/>
          </a:xfrm>
          <a:custGeom>
            <a:avLst/>
            <a:gdLst>
              <a:gd name="connsiteX0" fmla="*/ 255 w 859512"/>
              <a:gd name="connsiteY0" fmla="*/ 0 h 2243174"/>
              <a:gd name="connsiteX1" fmla="*/ 78812 w 859512"/>
              <a:gd name="connsiteY1" fmla="*/ 22637 h 2243174"/>
              <a:gd name="connsiteX2" fmla="*/ 722687 w 859512"/>
              <a:gd name="connsiteY2" fmla="*/ 282200 h 2243174"/>
              <a:gd name="connsiteX3" fmla="*/ 859512 w 859512"/>
              <a:gd name="connsiteY3" fmla="*/ 443170 h 2243174"/>
              <a:gd name="connsiteX4" fmla="*/ 859512 w 859512"/>
              <a:gd name="connsiteY4" fmla="*/ 1180273 h 2243174"/>
              <a:gd name="connsiteX5" fmla="*/ 677080 w 859512"/>
              <a:gd name="connsiteY5" fmla="*/ 1665864 h 2243174"/>
              <a:gd name="connsiteX6" fmla="*/ 141856 w 859512"/>
              <a:gd name="connsiteY6" fmla="*/ 2190358 h 2243174"/>
              <a:gd name="connsiteX7" fmla="*/ 3 w 859512"/>
              <a:gd name="connsiteY7" fmla="*/ 2243174 h 2243174"/>
              <a:gd name="connsiteX8" fmla="*/ 0 w 859512"/>
              <a:gd name="connsiteY8" fmla="*/ 2243174 h 2243174"/>
              <a:gd name="connsiteX9" fmla="*/ 0 w 859512"/>
              <a:gd name="connsiteY9" fmla="*/ 36 h 2243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9512" h="2243174">
                <a:moveTo>
                  <a:pt x="255" y="0"/>
                </a:moveTo>
                <a:cubicBezTo>
                  <a:pt x="27670" y="0"/>
                  <a:pt x="55001" y="7546"/>
                  <a:pt x="78812" y="22637"/>
                </a:cubicBezTo>
                <a:cubicBezTo>
                  <a:pt x="278010" y="150742"/>
                  <a:pt x="491964" y="239944"/>
                  <a:pt x="722687" y="282200"/>
                </a:cubicBezTo>
                <a:cubicBezTo>
                  <a:pt x="801160" y="296956"/>
                  <a:pt x="859512" y="363354"/>
                  <a:pt x="859512" y="443170"/>
                </a:cubicBezTo>
                <a:lnTo>
                  <a:pt x="859512" y="1180273"/>
                </a:lnTo>
                <a:cubicBezTo>
                  <a:pt x="859512" y="1359351"/>
                  <a:pt x="795122" y="1531723"/>
                  <a:pt x="677080" y="1665864"/>
                </a:cubicBezTo>
                <a:cubicBezTo>
                  <a:pt x="521475" y="1842932"/>
                  <a:pt x="341057" y="2017314"/>
                  <a:pt x="141856" y="2190358"/>
                </a:cubicBezTo>
                <a:cubicBezTo>
                  <a:pt x="101280" y="2225569"/>
                  <a:pt x="50642" y="2243174"/>
                  <a:pt x="3" y="2243174"/>
                </a:cubicBezTo>
                <a:lnTo>
                  <a:pt x="0" y="2243174"/>
                </a:lnTo>
                <a:lnTo>
                  <a:pt x="0" y="36"/>
                </a:lnTo>
                <a:close/>
              </a:path>
            </a:pathLst>
          </a:custGeom>
          <a:noFill/>
          <a:ln w="7144" cap="flat">
            <a:solidFill>
              <a:srgbClr val="0D274D"/>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82828"/>
              </a:solidFill>
              <a:effectLst/>
              <a:uLnTx/>
              <a:uFillTx/>
            </a:endParaRPr>
          </a:p>
        </p:txBody>
      </p:sp>
      <p:sp>
        <p:nvSpPr>
          <p:cNvPr id="194" name="Freeform: Shape 193">
            <a:extLst>
              <a:ext uri="{FF2B5EF4-FFF2-40B4-BE49-F238E27FC236}">
                <a16:creationId xmlns:a16="http://schemas.microsoft.com/office/drawing/2014/main" id="{2915CBC5-5B91-41CB-9F56-129DEEFC4FC3}"/>
              </a:ext>
            </a:extLst>
          </p:cNvPr>
          <p:cNvSpPr/>
          <p:nvPr/>
        </p:nvSpPr>
        <p:spPr>
          <a:xfrm>
            <a:off x="6732452" y="3064496"/>
            <a:ext cx="565446" cy="737863"/>
          </a:xfrm>
          <a:custGeom>
            <a:avLst/>
            <a:gdLst>
              <a:gd name="connsiteX0" fmla="*/ 565726 w 614648"/>
              <a:gd name="connsiteY0" fmla="*/ 100903 h 802065"/>
              <a:gd name="connsiteX1" fmla="*/ 335503 w 614648"/>
              <a:gd name="connsiteY1" fmla="*/ 8094 h 802065"/>
              <a:gd name="connsiteX2" fmla="*/ 279146 w 614648"/>
              <a:gd name="connsiteY2" fmla="*/ 8094 h 802065"/>
              <a:gd name="connsiteX3" fmla="*/ 48922 w 614648"/>
              <a:gd name="connsiteY3" fmla="*/ 100903 h 802065"/>
              <a:gd name="connsiteX4" fmla="*/ 0 w 614648"/>
              <a:gd name="connsiteY4" fmla="*/ 158459 h 802065"/>
              <a:gd name="connsiteX5" fmla="*/ 0 w 614648"/>
              <a:gd name="connsiteY5" fmla="*/ 422016 h 802065"/>
              <a:gd name="connsiteX6" fmla="*/ 65230 w 614648"/>
              <a:gd name="connsiteY6" fmla="*/ 595643 h 802065"/>
              <a:gd name="connsiteX7" fmla="*/ 256603 w 614648"/>
              <a:gd name="connsiteY7" fmla="*/ 783180 h 802065"/>
              <a:gd name="connsiteX8" fmla="*/ 358045 w 614648"/>
              <a:gd name="connsiteY8" fmla="*/ 783180 h 802065"/>
              <a:gd name="connsiteX9" fmla="*/ 549419 w 614648"/>
              <a:gd name="connsiteY9" fmla="*/ 595643 h 802065"/>
              <a:gd name="connsiteX10" fmla="*/ 614649 w 614648"/>
              <a:gd name="connsiteY10" fmla="*/ 422016 h 802065"/>
              <a:gd name="connsiteX11" fmla="*/ 614649 w 614648"/>
              <a:gd name="connsiteY11" fmla="*/ 158459 h 802065"/>
              <a:gd name="connsiteX12" fmla="*/ 565726 w 614648"/>
              <a:gd name="connsiteY12" fmla="*/ 100903 h 802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4648" h="802065">
                <a:moveTo>
                  <a:pt x="565726" y="100903"/>
                </a:moveTo>
                <a:cubicBezTo>
                  <a:pt x="483229" y="85794"/>
                  <a:pt x="406728" y="53899"/>
                  <a:pt x="335503" y="8094"/>
                </a:cubicBezTo>
                <a:cubicBezTo>
                  <a:pt x="318476" y="-2698"/>
                  <a:pt x="296413" y="-2698"/>
                  <a:pt x="279146" y="8094"/>
                </a:cubicBezTo>
                <a:cubicBezTo>
                  <a:pt x="207921" y="53659"/>
                  <a:pt x="131419" y="85794"/>
                  <a:pt x="48922" y="100903"/>
                </a:cubicBezTo>
                <a:cubicBezTo>
                  <a:pt x="20864" y="105939"/>
                  <a:pt x="0" y="129920"/>
                  <a:pt x="0" y="158459"/>
                </a:cubicBezTo>
                <a:lnTo>
                  <a:pt x="0" y="422016"/>
                </a:lnTo>
                <a:cubicBezTo>
                  <a:pt x="0" y="485807"/>
                  <a:pt x="23022" y="547680"/>
                  <a:pt x="65230" y="595643"/>
                </a:cubicBezTo>
                <a:cubicBezTo>
                  <a:pt x="120867" y="658715"/>
                  <a:pt x="185378" y="721067"/>
                  <a:pt x="256603" y="783180"/>
                </a:cubicBezTo>
                <a:cubicBezTo>
                  <a:pt x="285621" y="808360"/>
                  <a:pt x="329028" y="808360"/>
                  <a:pt x="358045" y="783180"/>
                </a:cubicBezTo>
                <a:cubicBezTo>
                  <a:pt x="429271" y="721307"/>
                  <a:pt x="493781" y="658955"/>
                  <a:pt x="549419" y="595643"/>
                </a:cubicBezTo>
                <a:cubicBezTo>
                  <a:pt x="591626" y="547680"/>
                  <a:pt x="614649" y="486047"/>
                  <a:pt x="614649" y="422016"/>
                </a:cubicBezTo>
                <a:lnTo>
                  <a:pt x="614649" y="158459"/>
                </a:lnTo>
                <a:cubicBezTo>
                  <a:pt x="614649" y="129920"/>
                  <a:pt x="593785" y="106179"/>
                  <a:pt x="565726" y="100903"/>
                </a:cubicBezTo>
                <a:close/>
              </a:path>
            </a:pathLst>
          </a:custGeom>
          <a:solidFill>
            <a:srgbClr val="1E4471"/>
          </a:solidFill>
          <a:ln w="1428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82828"/>
              </a:solidFill>
              <a:effectLst/>
              <a:uLnTx/>
              <a:uFillTx/>
            </a:endParaRPr>
          </a:p>
        </p:txBody>
      </p:sp>
      <p:sp>
        <p:nvSpPr>
          <p:cNvPr id="195" name="Freeform: Shape 194">
            <a:extLst>
              <a:ext uri="{FF2B5EF4-FFF2-40B4-BE49-F238E27FC236}">
                <a16:creationId xmlns:a16="http://schemas.microsoft.com/office/drawing/2014/main" id="{07F683C0-8712-41AB-891F-FE117F8F4824}"/>
              </a:ext>
            </a:extLst>
          </p:cNvPr>
          <p:cNvSpPr/>
          <p:nvPr/>
        </p:nvSpPr>
        <p:spPr>
          <a:xfrm rot="5400000">
            <a:off x="6784818" y="3605220"/>
            <a:ext cx="268729" cy="238928"/>
          </a:xfrm>
          <a:custGeom>
            <a:avLst/>
            <a:gdLst>
              <a:gd name="connsiteX0" fmla="*/ 93595 w 929392"/>
              <a:gd name="connsiteY0" fmla="*/ 826261 h 826323"/>
              <a:gd name="connsiteX1" fmla="*/ 20197 w 929392"/>
              <a:gd name="connsiteY1" fmla="*/ 712946 h 826323"/>
              <a:gd name="connsiteX2" fmla="*/ 395769 w 929392"/>
              <a:gd name="connsiteY2" fmla="*/ 69109 h 826323"/>
              <a:gd name="connsiteX3" fmla="*/ 539845 w 929392"/>
              <a:gd name="connsiteY3" fmla="*/ 69109 h 826323"/>
              <a:gd name="connsiteX4" fmla="*/ 904257 w 929392"/>
              <a:gd name="connsiteY4" fmla="*/ 704361 h 826323"/>
              <a:gd name="connsiteX5" fmla="*/ 847027 w 929392"/>
              <a:gd name="connsiteY5" fmla="*/ 823543 h 826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9392" h="826323">
                <a:moveTo>
                  <a:pt x="93595" y="826261"/>
                </a:moveTo>
                <a:cubicBezTo>
                  <a:pt x="4173" y="828264"/>
                  <a:pt x="-23154" y="781908"/>
                  <a:pt x="20197" y="712946"/>
                </a:cubicBezTo>
                <a:lnTo>
                  <a:pt x="395769" y="69109"/>
                </a:lnTo>
                <a:cubicBezTo>
                  <a:pt x="443842" y="-24462"/>
                  <a:pt x="494633" y="-21600"/>
                  <a:pt x="539845" y="69109"/>
                </a:cubicBezTo>
                <a:lnTo>
                  <a:pt x="904257" y="704361"/>
                </a:lnTo>
                <a:cubicBezTo>
                  <a:pt x="958911" y="772465"/>
                  <a:pt x="917420" y="823543"/>
                  <a:pt x="847027" y="823543"/>
                </a:cubicBezTo>
                <a:close/>
              </a:path>
            </a:pathLst>
          </a:custGeom>
          <a:solidFill>
            <a:srgbClr val="00BCE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nvGrpSpPr>
          <p:cNvPr id="196" name="Group 195">
            <a:extLst>
              <a:ext uri="{FF2B5EF4-FFF2-40B4-BE49-F238E27FC236}">
                <a16:creationId xmlns:a16="http://schemas.microsoft.com/office/drawing/2014/main" id="{B38C6F86-2946-432A-BA44-EF9A60CA483B}"/>
              </a:ext>
            </a:extLst>
          </p:cNvPr>
          <p:cNvGrpSpPr/>
          <p:nvPr/>
        </p:nvGrpSpPr>
        <p:grpSpPr>
          <a:xfrm>
            <a:off x="6511505" y="3620426"/>
            <a:ext cx="270655" cy="208516"/>
            <a:chOff x="3442578" y="3133255"/>
            <a:chExt cx="406928" cy="313502"/>
          </a:xfrm>
          <a:solidFill>
            <a:srgbClr val="00BCEB"/>
          </a:solidFill>
        </p:grpSpPr>
        <p:grpSp>
          <p:nvGrpSpPr>
            <p:cNvPr id="197" name="Graphic 3">
              <a:extLst>
                <a:ext uri="{FF2B5EF4-FFF2-40B4-BE49-F238E27FC236}">
                  <a16:creationId xmlns:a16="http://schemas.microsoft.com/office/drawing/2014/main" id="{FAF0D470-155C-4A0E-BBEA-4176F34329DC}"/>
                </a:ext>
              </a:extLst>
            </p:cNvPr>
            <p:cNvGrpSpPr/>
            <p:nvPr/>
          </p:nvGrpSpPr>
          <p:grpSpPr>
            <a:xfrm>
              <a:off x="3442578" y="3133255"/>
              <a:ext cx="406928" cy="26971"/>
              <a:chOff x="9280892" y="2080036"/>
              <a:chExt cx="2259045" cy="149726"/>
            </a:xfrm>
            <a:grpFill/>
          </p:grpSpPr>
          <p:sp>
            <p:nvSpPr>
              <p:cNvPr id="253" name="Freeform: Shape 252">
                <a:extLst>
                  <a:ext uri="{FF2B5EF4-FFF2-40B4-BE49-F238E27FC236}">
                    <a16:creationId xmlns:a16="http://schemas.microsoft.com/office/drawing/2014/main" id="{32EC6CA1-440C-4923-BB89-389E9D197D71}"/>
                  </a:ext>
                </a:extLst>
              </p:cNvPr>
              <p:cNvSpPr/>
              <p:nvPr/>
            </p:nvSpPr>
            <p:spPr>
              <a:xfrm>
                <a:off x="11390211" y="2080036"/>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54" name="Freeform: Shape 253">
                <a:extLst>
                  <a:ext uri="{FF2B5EF4-FFF2-40B4-BE49-F238E27FC236}">
                    <a16:creationId xmlns:a16="http://schemas.microsoft.com/office/drawing/2014/main" id="{00D8D89B-5A2A-46AB-A6E6-AF5B748D6C71}"/>
                  </a:ext>
                </a:extLst>
              </p:cNvPr>
              <p:cNvSpPr/>
              <p:nvPr/>
            </p:nvSpPr>
            <p:spPr>
              <a:xfrm>
                <a:off x="11155798" y="2084948"/>
                <a:ext cx="139903" cy="139902"/>
              </a:xfrm>
              <a:custGeom>
                <a:avLst/>
                <a:gdLst>
                  <a:gd name="connsiteX0" fmla="*/ 139903 w 139903"/>
                  <a:gd name="connsiteY0" fmla="*/ 69951 h 139902"/>
                  <a:gd name="connsiteX1" fmla="*/ 69952 w 139903"/>
                  <a:gd name="connsiteY1" fmla="*/ 139903 h 139902"/>
                  <a:gd name="connsiteX2" fmla="*/ 1 w 139903"/>
                  <a:gd name="connsiteY2" fmla="*/ 69951 h 139902"/>
                  <a:gd name="connsiteX3" fmla="*/ 69952 w 139903"/>
                  <a:gd name="connsiteY3" fmla="*/ 0 h 139902"/>
                  <a:gd name="connsiteX4" fmla="*/ 139903 w 139903"/>
                  <a:gd name="connsiteY4" fmla="*/ 69951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1"/>
                    </a:moveTo>
                    <a:cubicBezTo>
                      <a:pt x="139903" y="108585"/>
                      <a:pt x="108584" y="139903"/>
                      <a:pt x="69952" y="139903"/>
                    </a:cubicBezTo>
                    <a:cubicBezTo>
                      <a:pt x="31318" y="139903"/>
                      <a:pt x="1" y="108585"/>
                      <a:pt x="1" y="69951"/>
                    </a:cubicBezTo>
                    <a:cubicBezTo>
                      <a:pt x="1" y="31318"/>
                      <a:pt x="31319" y="0"/>
                      <a:pt x="69952" y="0"/>
                    </a:cubicBezTo>
                    <a:cubicBezTo>
                      <a:pt x="108585" y="0"/>
                      <a:pt x="139903" y="31318"/>
                      <a:pt x="139903" y="6995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55" name="Freeform: Shape 254">
                <a:extLst>
                  <a:ext uri="{FF2B5EF4-FFF2-40B4-BE49-F238E27FC236}">
                    <a16:creationId xmlns:a16="http://schemas.microsoft.com/office/drawing/2014/main" id="{A0FCE003-084F-4962-B0FD-ABD7B39531E3}"/>
                  </a:ext>
                </a:extLst>
              </p:cNvPr>
              <p:cNvSpPr/>
              <p:nvPr/>
            </p:nvSpPr>
            <p:spPr>
              <a:xfrm>
                <a:off x="10920989" y="2089384"/>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56" name="Freeform: Shape 255">
                <a:extLst>
                  <a:ext uri="{FF2B5EF4-FFF2-40B4-BE49-F238E27FC236}">
                    <a16:creationId xmlns:a16="http://schemas.microsoft.com/office/drawing/2014/main" id="{504364F8-963A-4716-95CC-8B1C3E400DA2}"/>
                  </a:ext>
                </a:extLst>
              </p:cNvPr>
              <p:cNvSpPr/>
              <p:nvPr/>
            </p:nvSpPr>
            <p:spPr>
              <a:xfrm>
                <a:off x="10686894" y="2094613"/>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57" name="Freeform: Shape 256">
                <a:extLst>
                  <a:ext uri="{FF2B5EF4-FFF2-40B4-BE49-F238E27FC236}">
                    <a16:creationId xmlns:a16="http://schemas.microsoft.com/office/drawing/2014/main" id="{5BD43F80-A4CC-4E8C-9B9F-0E72144853A0}"/>
                  </a:ext>
                </a:extLst>
              </p:cNvPr>
              <p:cNvSpPr/>
              <p:nvPr/>
            </p:nvSpPr>
            <p:spPr>
              <a:xfrm>
                <a:off x="10452005" y="2099049"/>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58" name="Freeform: Shape 257">
                <a:extLst>
                  <a:ext uri="{FF2B5EF4-FFF2-40B4-BE49-F238E27FC236}">
                    <a16:creationId xmlns:a16="http://schemas.microsoft.com/office/drawing/2014/main" id="{DF9CC14A-1862-4D16-B5E4-1831C3BE40C1}"/>
                  </a:ext>
                </a:extLst>
              </p:cNvPr>
              <p:cNvSpPr/>
              <p:nvPr/>
            </p:nvSpPr>
            <p:spPr>
              <a:xfrm>
                <a:off x="10217513" y="2103882"/>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59" name="Freeform: Shape 258">
                <a:extLst>
                  <a:ext uri="{FF2B5EF4-FFF2-40B4-BE49-F238E27FC236}">
                    <a16:creationId xmlns:a16="http://schemas.microsoft.com/office/drawing/2014/main" id="{8831D311-83C2-4259-9DA7-5B96A903D3A2}"/>
                  </a:ext>
                </a:extLst>
              </p:cNvPr>
              <p:cNvSpPr/>
              <p:nvPr/>
            </p:nvSpPr>
            <p:spPr>
              <a:xfrm>
                <a:off x="9983021" y="2108714"/>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60" name="Freeform: Shape 259">
                <a:extLst>
                  <a:ext uri="{FF2B5EF4-FFF2-40B4-BE49-F238E27FC236}">
                    <a16:creationId xmlns:a16="http://schemas.microsoft.com/office/drawing/2014/main" id="{40B36591-C4E0-43CC-ADC2-6743E12E64F1}"/>
                  </a:ext>
                </a:extLst>
              </p:cNvPr>
              <p:cNvSpPr/>
              <p:nvPr/>
            </p:nvSpPr>
            <p:spPr>
              <a:xfrm>
                <a:off x="9749401" y="2114339"/>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61" name="Freeform: Shape 260">
                <a:extLst>
                  <a:ext uri="{FF2B5EF4-FFF2-40B4-BE49-F238E27FC236}">
                    <a16:creationId xmlns:a16="http://schemas.microsoft.com/office/drawing/2014/main" id="{9D9F2FCB-FC59-49AC-8C5B-9C3559E4EEB2}"/>
                  </a:ext>
                </a:extLst>
              </p:cNvPr>
              <p:cNvSpPr/>
              <p:nvPr/>
            </p:nvSpPr>
            <p:spPr>
              <a:xfrm>
                <a:off x="9514830" y="2119092"/>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62" name="Freeform: Shape 261">
                <a:extLst>
                  <a:ext uri="{FF2B5EF4-FFF2-40B4-BE49-F238E27FC236}">
                    <a16:creationId xmlns:a16="http://schemas.microsoft.com/office/drawing/2014/main" id="{8BDF1873-0C2C-48A9-8EDD-F41D068E9AC0}"/>
                  </a:ext>
                </a:extLst>
              </p:cNvPr>
              <p:cNvSpPr/>
              <p:nvPr/>
            </p:nvSpPr>
            <p:spPr>
              <a:xfrm>
                <a:off x="9280892" y="2124479"/>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198" name="Graphic 3">
              <a:extLst>
                <a:ext uri="{FF2B5EF4-FFF2-40B4-BE49-F238E27FC236}">
                  <a16:creationId xmlns:a16="http://schemas.microsoft.com/office/drawing/2014/main" id="{C0F31EE9-28B7-4A99-A38F-0C056EF31888}"/>
                </a:ext>
              </a:extLst>
            </p:cNvPr>
            <p:cNvGrpSpPr/>
            <p:nvPr/>
          </p:nvGrpSpPr>
          <p:grpSpPr>
            <a:xfrm>
              <a:off x="3442578" y="3190564"/>
              <a:ext cx="406928" cy="26971"/>
              <a:chOff x="9280892" y="2398185"/>
              <a:chExt cx="2259045" cy="149726"/>
            </a:xfrm>
            <a:grpFill/>
          </p:grpSpPr>
          <p:sp>
            <p:nvSpPr>
              <p:cNvPr id="243" name="Freeform: Shape 242">
                <a:extLst>
                  <a:ext uri="{FF2B5EF4-FFF2-40B4-BE49-F238E27FC236}">
                    <a16:creationId xmlns:a16="http://schemas.microsoft.com/office/drawing/2014/main" id="{625878D5-8763-4870-BACD-DF85C51652BE}"/>
                  </a:ext>
                </a:extLst>
              </p:cNvPr>
              <p:cNvSpPr/>
              <p:nvPr/>
            </p:nvSpPr>
            <p:spPr>
              <a:xfrm>
                <a:off x="11390211" y="2398185"/>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44" name="Freeform: Shape 243">
                <a:extLst>
                  <a:ext uri="{FF2B5EF4-FFF2-40B4-BE49-F238E27FC236}">
                    <a16:creationId xmlns:a16="http://schemas.microsoft.com/office/drawing/2014/main" id="{F91AF5DE-B126-4BCD-8D74-C3D8D21B2DD8}"/>
                  </a:ext>
                </a:extLst>
              </p:cNvPr>
              <p:cNvSpPr/>
              <p:nvPr/>
            </p:nvSpPr>
            <p:spPr>
              <a:xfrm>
                <a:off x="11155798" y="2403097"/>
                <a:ext cx="139903" cy="139902"/>
              </a:xfrm>
              <a:custGeom>
                <a:avLst/>
                <a:gdLst>
                  <a:gd name="connsiteX0" fmla="*/ 139903 w 139903"/>
                  <a:gd name="connsiteY0" fmla="*/ 69952 h 139902"/>
                  <a:gd name="connsiteX1" fmla="*/ 69952 w 139903"/>
                  <a:gd name="connsiteY1" fmla="*/ 139903 h 139902"/>
                  <a:gd name="connsiteX2" fmla="*/ 1 w 139903"/>
                  <a:gd name="connsiteY2" fmla="*/ 69952 h 139902"/>
                  <a:gd name="connsiteX3" fmla="*/ 69952 w 139903"/>
                  <a:gd name="connsiteY3" fmla="*/ 0 h 139902"/>
                  <a:gd name="connsiteX4" fmla="*/ 139903 w 139903"/>
                  <a:gd name="connsiteY4" fmla="*/ 69952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2"/>
                    </a:moveTo>
                    <a:cubicBezTo>
                      <a:pt x="139903" y="108585"/>
                      <a:pt x="108584" y="139903"/>
                      <a:pt x="69952" y="139903"/>
                    </a:cubicBezTo>
                    <a:cubicBezTo>
                      <a:pt x="31318" y="139903"/>
                      <a:pt x="1" y="108585"/>
                      <a:pt x="1" y="69952"/>
                    </a:cubicBezTo>
                    <a:cubicBezTo>
                      <a:pt x="1" y="31318"/>
                      <a:pt x="31319" y="0"/>
                      <a:pt x="69952" y="0"/>
                    </a:cubicBezTo>
                    <a:cubicBezTo>
                      <a:pt x="108585" y="0"/>
                      <a:pt x="139903" y="31318"/>
                      <a:pt x="139903" y="69952"/>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45" name="Freeform: Shape 244">
                <a:extLst>
                  <a:ext uri="{FF2B5EF4-FFF2-40B4-BE49-F238E27FC236}">
                    <a16:creationId xmlns:a16="http://schemas.microsoft.com/office/drawing/2014/main" id="{32804E06-4DF8-469B-862B-33A728B869EC}"/>
                  </a:ext>
                </a:extLst>
              </p:cNvPr>
              <p:cNvSpPr/>
              <p:nvPr/>
            </p:nvSpPr>
            <p:spPr>
              <a:xfrm>
                <a:off x="10920989" y="2407533"/>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46" name="Freeform: Shape 245">
                <a:extLst>
                  <a:ext uri="{FF2B5EF4-FFF2-40B4-BE49-F238E27FC236}">
                    <a16:creationId xmlns:a16="http://schemas.microsoft.com/office/drawing/2014/main" id="{9F6B3899-A8EA-4940-B2BD-DD0A4862388D}"/>
                  </a:ext>
                </a:extLst>
              </p:cNvPr>
              <p:cNvSpPr/>
              <p:nvPr/>
            </p:nvSpPr>
            <p:spPr>
              <a:xfrm>
                <a:off x="10686894" y="2412761"/>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47" name="Freeform: Shape 246">
                <a:extLst>
                  <a:ext uri="{FF2B5EF4-FFF2-40B4-BE49-F238E27FC236}">
                    <a16:creationId xmlns:a16="http://schemas.microsoft.com/office/drawing/2014/main" id="{535F8F10-162D-4609-8DBB-A4AB856EF9B1}"/>
                  </a:ext>
                </a:extLst>
              </p:cNvPr>
              <p:cNvSpPr/>
              <p:nvPr/>
            </p:nvSpPr>
            <p:spPr>
              <a:xfrm>
                <a:off x="10452005" y="2417198"/>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48" name="Freeform: Shape 247">
                <a:extLst>
                  <a:ext uri="{FF2B5EF4-FFF2-40B4-BE49-F238E27FC236}">
                    <a16:creationId xmlns:a16="http://schemas.microsoft.com/office/drawing/2014/main" id="{F68E29EB-0863-424A-9274-F720CD64DAFD}"/>
                  </a:ext>
                </a:extLst>
              </p:cNvPr>
              <p:cNvSpPr/>
              <p:nvPr/>
            </p:nvSpPr>
            <p:spPr>
              <a:xfrm>
                <a:off x="10217513" y="2422030"/>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49" name="Freeform: Shape 248">
                <a:extLst>
                  <a:ext uri="{FF2B5EF4-FFF2-40B4-BE49-F238E27FC236}">
                    <a16:creationId xmlns:a16="http://schemas.microsoft.com/office/drawing/2014/main" id="{7BFDD545-7CA1-45B9-85CB-7108E018EBDE}"/>
                  </a:ext>
                </a:extLst>
              </p:cNvPr>
              <p:cNvSpPr/>
              <p:nvPr/>
            </p:nvSpPr>
            <p:spPr>
              <a:xfrm>
                <a:off x="9983021" y="2426863"/>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50" name="Freeform: Shape 249">
                <a:extLst>
                  <a:ext uri="{FF2B5EF4-FFF2-40B4-BE49-F238E27FC236}">
                    <a16:creationId xmlns:a16="http://schemas.microsoft.com/office/drawing/2014/main" id="{2889500B-A964-4866-BE5D-5FBF839BE89E}"/>
                  </a:ext>
                </a:extLst>
              </p:cNvPr>
              <p:cNvSpPr/>
              <p:nvPr/>
            </p:nvSpPr>
            <p:spPr>
              <a:xfrm>
                <a:off x="9749401" y="2432487"/>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51" name="Freeform: Shape 250">
                <a:extLst>
                  <a:ext uri="{FF2B5EF4-FFF2-40B4-BE49-F238E27FC236}">
                    <a16:creationId xmlns:a16="http://schemas.microsoft.com/office/drawing/2014/main" id="{96A6E6C5-3862-4C09-8F01-73417BDCD367}"/>
                  </a:ext>
                </a:extLst>
              </p:cNvPr>
              <p:cNvSpPr/>
              <p:nvPr/>
            </p:nvSpPr>
            <p:spPr>
              <a:xfrm>
                <a:off x="9514830" y="2437241"/>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52" name="Freeform: Shape 251">
                <a:extLst>
                  <a:ext uri="{FF2B5EF4-FFF2-40B4-BE49-F238E27FC236}">
                    <a16:creationId xmlns:a16="http://schemas.microsoft.com/office/drawing/2014/main" id="{EEDAAE8F-0D98-40C8-8C85-4211508BA001}"/>
                  </a:ext>
                </a:extLst>
              </p:cNvPr>
              <p:cNvSpPr/>
              <p:nvPr/>
            </p:nvSpPr>
            <p:spPr>
              <a:xfrm>
                <a:off x="9280892" y="2442627"/>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199" name="Graphic 3">
              <a:extLst>
                <a:ext uri="{FF2B5EF4-FFF2-40B4-BE49-F238E27FC236}">
                  <a16:creationId xmlns:a16="http://schemas.microsoft.com/office/drawing/2014/main" id="{8DAA3475-B201-41A0-B74D-B6DD5746A99A}"/>
                </a:ext>
              </a:extLst>
            </p:cNvPr>
            <p:cNvGrpSpPr/>
            <p:nvPr/>
          </p:nvGrpSpPr>
          <p:grpSpPr>
            <a:xfrm>
              <a:off x="3442578" y="3247873"/>
              <a:ext cx="406928" cy="26971"/>
              <a:chOff x="9280892" y="2716333"/>
              <a:chExt cx="2259045" cy="149726"/>
            </a:xfrm>
            <a:grpFill/>
          </p:grpSpPr>
          <p:sp>
            <p:nvSpPr>
              <p:cNvPr id="233" name="Freeform: Shape 232">
                <a:extLst>
                  <a:ext uri="{FF2B5EF4-FFF2-40B4-BE49-F238E27FC236}">
                    <a16:creationId xmlns:a16="http://schemas.microsoft.com/office/drawing/2014/main" id="{6F2AA1B0-02F1-457A-B892-E12A6DC643C8}"/>
                  </a:ext>
                </a:extLst>
              </p:cNvPr>
              <p:cNvSpPr/>
              <p:nvPr/>
            </p:nvSpPr>
            <p:spPr>
              <a:xfrm>
                <a:off x="11390211" y="2716333"/>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34" name="Freeform: Shape 233">
                <a:extLst>
                  <a:ext uri="{FF2B5EF4-FFF2-40B4-BE49-F238E27FC236}">
                    <a16:creationId xmlns:a16="http://schemas.microsoft.com/office/drawing/2014/main" id="{137A0FE3-3382-4C1C-93FF-C2BE56B8E30C}"/>
                  </a:ext>
                </a:extLst>
              </p:cNvPr>
              <p:cNvSpPr/>
              <p:nvPr/>
            </p:nvSpPr>
            <p:spPr>
              <a:xfrm>
                <a:off x="11155798" y="2721245"/>
                <a:ext cx="139903" cy="139902"/>
              </a:xfrm>
              <a:custGeom>
                <a:avLst/>
                <a:gdLst>
                  <a:gd name="connsiteX0" fmla="*/ 139903 w 139903"/>
                  <a:gd name="connsiteY0" fmla="*/ 69951 h 139902"/>
                  <a:gd name="connsiteX1" fmla="*/ 69952 w 139903"/>
                  <a:gd name="connsiteY1" fmla="*/ 139903 h 139902"/>
                  <a:gd name="connsiteX2" fmla="*/ 1 w 139903"/>
                  <a:gd name="connsiteY2" fmla="*/ 69951 h 139902"/>
                  <a:gd name="connsiteX3" fmla="*/ 69952 w 139903"/>
                  <a:gd name="connsiteY3" fmla="*/ 0 h 139902"/>
                  <a:gd name="connsiteX4" fmla="*/ 139903 w 139903"/>
                  <a:gd name="connsiteY4" fmla="*/ 69951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1"/>
                    </a:moveTo>
                    <a:cubicBezTo>
                      <a:pt x="139903" y="108585"/>
                      <a:pt x="108584" y="139903"/>
                      <a:pt x="69952" y="139903"/>
                    </a:cubicBezTo>
                    <a:cubicBezTo>
                      <a:pt x="31318" y="139903"/>
                      <a:pt x="1" y="108585"/>
                      <a:pt x="1" y="69951"/>
                    </a:cubicBezTo>
                    <a:cubicBezTo>
                      <a:pt x="1" y="31318"/>
                      <a:pt x="31319" y="0"/>
                      <a:pt x="69952" y="0"/>
                    </a:cubicBezTo>
                    <a:cubicBezTo>
                      <a:pt x="108585" y="0"/>
                      <a:pt x="139903" y="31318"/>
                      <a:pt x="139903" y="6995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35" name="Freeform: Shape 234">
                <a:extLst>
                  <a:ext uri="{FF2B5EF4-FFF2-40B4-BE49-F238E27FC236}">
                    <a16:creationId xmlns:a16="http://schemas.microsoft.com/office/drawing/2014/main" id="{8C1B8599-BC81-4AA0-8F24-FA71F96A7D02}"/>
                  </a:ext>
                </a:extLst>
              </p:cNvPr>
              <p:cNvSpPr/>
              <p:nvPr/>
            </p:nvSpPr>
            <p:spPr>
              <a:xfrm>
                <a:off x="10920989" y="2725681"/>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36" name="Freeform: Shape 235">
                <a:extLst>
                  <a:ext uri="{FF2B5EF4-FFF2-40B4-BE49-F238E27FC236}">
                    <a16:creationId xmlns:a16="http://schemas.microsoft.com/office/drawing/2014/main" id="{CD988670-1A81-4254-914D-6ABE8A244684}"/>
                  </a:ext>
                </a:extLst>
              </p:cNvPr>
              <p:cNvSpPr/>
              <p:nvPr/>
            </p:nvSpPr>
            <p:spPr>
              <a:xfrm>
                <a:off x="10686894" y="2730910"/>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37" name="Freeform: Shape 236">
                <a:extLst>
                  <a:ext uri="{FF2B5EF4-FFF2-40B4-BE49-F238E27FC236}">
                    <a16:creationId xmlns:a16="http://schemas.microsoft.com/office/drawing/2014/main" id="{0FAC5431-EB55-432C-AA2C-064F51CCDC99}"/>
                  </a:ext>
                </a:extLst>
              </p:cNvPr>
              <p:cNvSpPr/>
              <p:nvPr/>
            </p:nvSpPr>
            <p:spPr>
              <a:xfrm>
                <a:off x="10452005" y="2735346"/>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38" name="Freeform: Shape 237">
                <a:extLst>
                  <a:ext uri="{FF2B5EF4-FFF2-40B4-BE49-F238E27FC236}">
                    <a16:creationId xmlns:a16="http://schemas.microsoft.com/office/drawing/2014/main" id="{A5644854-8AC1-4F07-AC63-2A777D3475AE}"/>
                  </a:ext>
                </a:extLst>
              </p:cNvPr>
              <p:cNvSpPr/>
              <p:nvPr/>
            </p:nvSpPr>
            <p:spPr>
              <a:xfrm>
                <a:off x="10217513" y="2740179"/>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39" name="Freeform: Shape 238">
                <a:extLst>
                  <a:ext uri="{FF2B5EF4-FFF2-40B4-BE49-F238E27FC236}">
                    <a16:creationId xmlns:a16="http://schemas.microsoft.com/office/drawing/2014/main" id="{0C2F45CC-CF9F-4966-B482-0A22D68AFE6D}"/>
                  </a:ext>
                </a:extLst>
              </p:cNvPr>
              <p:cNvSpPr/>
              <p:nvPr/>
            </p:nvSpPr>
            <p:spPr>
              <a:xfrm>
                <a:off x="9983021" y="2745011"/>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40" name="Freeform: Shape 239">
                <a:extLst>
                  <a:ext uri="{FF2B5EF4-FFF2-40B4-BE49-F238E27FC236}">
                    <a16:creationId xmlns:a16="http://schemas.microsoft.com/office/drawing/2014/main" id="{4071BB51-B530-453B-922B-CB16CDB4EEE3}"/>
                  </a:ext>
                </a:extLst>
              </p:cNvPr>
              <p:cNvSpPr/>
              <p:nvPr/>
            </p:nvSpPr>
            <p:spPr>
              <a:xfrm>
                <a:off x="9749401" y="2750636"/>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41" name="Freeform: Shape 240">
                <a:extLst>
                  <a:ext uri="{FF2B5EF4-FFF2-40B4-BE49-F238E27FC236}">
                    <a16:creationId xmlns:a16="http://schemas.microsoft.com/office/drawing/2014/main" id="{F95BB446-9815-47F0-B450-F2384334A5E9}"/>
                  </a:ext>
                </a:extLst>
              </p:cNvPr>
              <p:cNvSpPr/>
              <p:nvPr/>
            </p:nvSpPr>
            <p:spPr>
              <a:xfrm>
                <a:off x="9514830" y="2755389"/>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42" name="Freeform: Shape 241">
                <a:extLst>
                  <a:ext uri="{FF2B5EF4-FFF2-40B4-BE49-F238E27FC236}">
                    <a16:creationId xmlns:a16="http://schemas.microsoft.com/office/drawing/2014/main" id="{41937CA2-31EC-4BEC-90DA-17545BA296E7}"/>
                  </a:ext>
                </a:extLst>
              </p:cNvPr>
              <p:cNvSpPr/>
              <p:nvPr/>
            </p:nvSpPr>
            <p:spPr>
              <a:xfrm>
                <a:off x="9280892" y="2760776"/>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200" name="Graphic 3">
              <a:extLst>
                <a:ext uri="{FF2B5EF4-FFF2-40B4-BE49-F238E27FC236}">
                  <a16:creationId xmlns:a16="http://schemas.microsoft.com/office/drawing/2014/main" id="{F721FEDA-01D9-4834-B4F3-3FD5F6831FA6}"/>
                </a:ext>
              </a:extLst>
            </p:cNvPr>
            <p:cNvGrpSpPr/>
            <p:nvPr/>
          </p:nvGrpSpPr>
          <p:grpSpPr>
            <a:xfrm>
              <a:off x="3442578" y="3305168"/>
              <a:ext cx="406928" cy="26971"/>
              <a:chOff x="9280892" y="3034403"/>
              <a:chExt cx="2259045" cy="149726"/>
            </a:xfrm>
            <a:grpFill/>
          </p:grpSpPr>
          <p:sp>
            <p:nvSpPr>
              <p:cNvPr id="223" name="Freeform: Shape 222">
                <a:extLst>
                  <a:ext uri="{FF2B5EF4-FFF2-40B4-BE49-F238E27FC236}">
                    <a16:creationId xmlns:a16="http://schemas.microsoft.com/office/drawing/2014/main" id="{8464E4E3-CBF5-4478-8052-474AEFC776CF}"/>
                  </a:ext>
                </a:extLst>
              </p:cNvPr>
              <p:cNvSpPr/>
              <p:nvPr/>
            </p:nvSpPr>
            <p:spPr>
              <a:xfrm>
                <a:off x="11390211" y="3034403"/>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4" name="Freeform: Shape 223">
                <a:extLst>
                  <a:ext uri="{FF2B5EF4-FFF2-40B4-BE49-F238E27FC236}">
                    <a16:creationId xmlns:a16="http://schemas.microsoft.com/office/drawing/2014/main" id="{DE1A1B7A-80FC-4F26-95B5-0EDD046A9CCD}"/>
                  </a:ext>
                </a:extLst>
              </p:cNvPr>
              <p:cNvSpPr/>
              <p:nvPr/>
            </p:nvSpPr>
            <p:spPr>
              <a:xfrm>
                <a:off x="11155798" y="3039315"/>
                <a:ext cx="139903" cy="139902"/>
              </a:xfrm>
              <a:custGeom>
                <a:avLst/>
                <a:gdLst>
                  <a:gd name="connsiteX0" fmla="*/ 139903 w 139903"/>
                  <a:gd name="connsiteY0" fmla="*/ 69951 h 139902"/>
                  <a:gd name="connsiteX1" fmla="*/ 69952 w 139903"/>
                  <a:gd name="connsiteY1" fmla="*/ 139903 h 139902"/>
                  <a:gd name="connsiteX2" fmla="*/ 1 w 139903"/>
                  <a:gd name="connsiteY2" fmla="*/ 69951 h 139902"/>
                  <a:gd name="connsiteX3" fmla="*/ 69952 w 139903"/>
                  <a:gd name="connsiteY3" fmla="*/ 0 h 139902"/>
                  <a:gd name="connsiteX4" fmla="*/ 139903 w 139903"/>
                  <a:gd name="connsiteY4" fmla="*/ 69951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1"/>
                    </a:moveTo>
                    <a:cubicBezTo>
                      <a:pt x="139903" y="108585"/>
                      <a:pt x="108584" y="139903"/>
                      <a:pt x="69952" y="139903"/>
                    </a:cubicBezTo>
                    <a:cubicBezTo>
                      <a:pt x="31318" y="139903"/>
                      <a:pt x="1" y="108585"/>
                      <a:pt x="1" y="69951"/>
                    </a:cubicBezTo>
                    <a:cubicBezTo>
                      <a:pt x="1" y="31318"/>
                      <a:pt x="31319" y="0"/>
                      <a:pt x="69952" y="0"/>
                    </a:cubicBezTo>
                    <a:cubicBezTo>
                      <a:pt x="108585" y="0"/>
                      <a:pt x="139903" y="31318"/>
                      <a:pt x="139903" y="6995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5" name="Freeform: Shape 224">
                <a:extLst>
                  <a:ext uri="{FF2B5EF4-FFF2-40B4-BE49-F238E27FC236}">
                    <a16:creationId xmlns:a16="http://schemas.microsoft.com/office/drawing/2014/main" id="{B48C4C90-EDF3-4666-8DCA-DBBC463093B3}"/>
                  </a:ext>
                </a:extLst>
              </p:cNvPr>
              <p:cNvSpPr/>
              <p:nvPr/>
            </p:nvSpPr>
            <p:spPr>
              <a:xfrm>
                <a:off x="10920989" y="3043751"/>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6" name="Freeform: Shape 225">
                <a:extLst>
                  <a:ext uri="{FF2B5EF4-FFF2-40B4-BE49-F238E27FC236}">
                    <a16:creationId xmlns:a16="http://schemas.microsoft.com/office/drawing/2014/main" id="{8C1BCB56-6CB4-45B3-A308-A476F328AF86}"/>
                  </a:ext>
                </a:extLst>
              </p:cNvPr>
              <p:cNvSpPr/>
              <p:nvPr/>
            </p:nvSpPr>
            <p:spPr>
              <a:xfrm>
                <a:off x="10686894" y="3048979"/>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7" name="Freeform: Shape 226">
                <a:extLst>
                  <a:ext uri="{FF2B5EF4-FFF2-40B4-BE49-F238E27FC236}">
                    <a16:creationId xmlns:a16="http://schemas.microsoft.com/office/drawing/2014/main" id="{02327B11-60EA-465E-A73B-0C45AE23E337}"/>
                  </a:ext>
                </a:extLst>
              </p:cNvPr>
              <p:cNvSpPr/>
              <p:nvPr/>
            </p:nvSpPr>
            <p:spPr>
              <a:xfrm>
                <a:off x="10452005" y="3053416"/>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5"/>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8" name="Freeform: Shape 227">
                <a:extLst>
                  <a:ext uri="{FF2B5EF4-FFF2-40B4-BE49-F238E27FC236}">
                    <a16:creationId xmlns:a16="http://schemas.microsoft.com/office/drawing/2014/main" id="{F7E914EF-3A00-403C-ADBD-D0A80AF7045D}"/>
                  </a:ext>
                </a:extLst>
              </p:cNvPr>
              <p:cNvSpPr/>
              <p:nvPr/>
            </p:nvSpPr>
            <p:spPr>
              <a:xfrm>
                <a:off x="10217513" y="3058248"/>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9" name="Freeform: Shape 228">
                <a:extLst>
                  <a:ext uri="{FF2B5EF4-FFF2-40B4-BE49-F238E27FC236}">
                    <a16:creationId xmlns:a16="http://schemas.microsoft.com/office/drawing/2014/main" id="{AF642A40-F681-4FF4-89D9-771FA708F4CF}"/>
                  </a:ext>
                </a:extLst>
              </p:cNvPr>
              <p:cNvSpPr/>
              <p:nvPr/>
            </p:nvSpPr>
            <p:spPr>
              <a:xfrm>
                <a:off x="9983021" y="3063081"/>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30" name="Freeform: Shape 229">
                <a:extLst>
                  <a:ext uri="{FF2B5EF4-FFF2-40B4-BE49-F238E27FC236}">
                    <a16:creationId xmlns:a16="http://schemas.microsoft.com/office/drawing/2014/main" id="{B6BEE98F-9CC8-4CEC-810F-7B26E36B494E}"/>
                  </a:ext>
                </a:extLst>
              </p:cNvPr>
              <p:cNvSpPr/>
              <p:nvPr/>
            </p:nvSpPr>
            <p:spPr>
              <a:xfrm>
                <a:off x="9749401" y="3068705"/>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31" name="Freeform: Shape 230">
                <a:extLst>
                  <a:ext uri="{FF2B5EF4-FFF2-40B4-BE49-F238E27FC236}">
                    <a16:creationId xmlns:a16="http://schemas.microsoft.com/office/drawing/2014/main" id="{C086B762-8A25-4C0A-8520-42B05099A7E5}"/>
                  </a:ext>
                </a:extLst>
              </p:cNvPr>
              <p:cNvSpPr/>
              <p:nvPr/>
            </p:nvSpPr>
            <p:spPr>
              <a:xfrm>
                <a:off x="9514830" y="3073458"/>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3"/>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32" name="Freeform: Shape 231">
                <a:extLst>
                  <a:ext uri="{FF2B5EF4-FFF2-40B4-BE49-F238E27FC236}">
                    <a16:creationId xmlns:a16="http://schemas.microsoft.com/office/drawing/2014/main" id="{551F9213-C5D5-42BB-A862-6A12650CF0F9}"/>
                  </a:ext>
                </a:extLst>
              </p:cNvPr>
              <p:cNvSpPr/>
              <p:nvPr/>
            </p:nvSpPr>
            <p:spPr>
              <a:xfrm>
                <a:off x="9280892" y="3078845"/>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201" name="Graphic 3">
              <a:extLst>
                <a:ext uri="{FF2B5EF4-FFF2-40B4-BE49-F238E27FC236}">
                  <a16:creationId xmlns:a16="http://schemas.microsoft.com/office/drawing/2014/main" id="{FF45C77C-76EC-4AA3-AB84-B34B5B1D5C6A}"/>
                </a:ext>
              </a:extLst>
            </p:cNvPr>
            <p:cNvGrpSpPr/>
            <p:nvPr/>
          </p:nvGrpSpPr>
          <p:grpSpPr>
            <a:xfrm>
              <a:off x="3442578" y="3362477"/>
              <a:ext cx="406928" cy="26971"/>
              <a:chOff x="9280892" y="3352551"/>
              <a:chExt cx="2259045" cy="149726"/>
            </a:xfrm>
            <a:grpFill/>
          </p:grpSpPr>
          <p:sp>
            <p:nvSpPr>
              <p:cNvPr id="213" name="Freeform: Shape 212">
                <a:extLst>
                  <a:ext uri="{FF2B5EF4-FFF2-40B4-BE49-F238E27FC236}">
                    <a16:creationId xmlns:a16="http://schemas.microsoft.com/office/drawing/2014/main" id="{C8FF9A73-C393-44C2-83C8-76AA3F4D3274}"/>
                  </a:ext>
                </a:extLst>
              </p:cNvPr>
              <p:cNvSpPr/>
              <p:nvPr/>
            </p:nvSpPr>
            <p:spPr>
              <a:xfrm>
                <a:off x="11390211" y="3352551"/>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4" name="Freeform: Shape 213">
                <a:extLst>
                  <a:ext uri="{FF2B5EF4-FFF2-40B4-BE49-F238E27FC236}">
                    <a16:creationId xmlns:a16="http://schemas.microsoft.com/office/drawing/2014/main" id="{CF6F66EA-3E6B-4373-82D2-E87160C18492}"/>
                  </a:ext>
                </a:extLst>
              </p:cNvPr>
              <p:cNvSpPr/>
              <p:nvPr/>
            </p:nvSpPr>
            <p:spPr>
              <a:xfrm>
                <a:off x="11155798" y="3357463"/>
                <a:ext cx="139903" cy="139902"/>
              </a:xfrm>
              <a:custGeom>
                <a:avLst/>
                <a:gdLst>
                  <a:gd name="connsiteX0" fmla="*/ 139903 w 139903"/>
                  <a:gd name="connsiteY0" fmla="*/ 69952 h 139902"/>
                  <a:gd name="connsiteX1" fmla="*/ 69952 w 139903"/>
                  <a:gd name="connsiteY1" fmla="*/ 139903 h 139902"/>
                  <a:gd name="connsiteX2" fmla="*/ 1 w 139903"/>
                  <a:gd name="connsiteY2" fmla="*/ 69952 h 139902"/>
                  <a:gd name="connsiteX3" fmla="*/ 69952 w 139903"/>
                  <a:gd name="connsiteY3" fmla="*/ 0 h 139902"/>
                  <a:gd name="connsiteX4" fmla="*/ 139903 w 139903"/>
                  <a:gd name="connsiteY4" fmla="*/ 69952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2"/>
                    </a:moveTo>
                    <a:cubicBezTo>
                      <a:pt x="139903" y="108585"/>
                      <a:pt x="108584" y="139903"/>
                      <a:pt x="69952" y="139903"/>
                    </a:cubicBezTo>
                    <a:cubicBezTo>
                      <a:pt x="31318" y="139903"/>
                      <a:pt x="1" y="108585"/>
                      <a:pt x="1" y="69952"/>
                    </a:cubicBezTo>
                    <a:cubicBezTo>
                      <a:pt x="1" y="31318"/>
                      <a:pt x="31319" y="0"/>
                      <a:pt x="69952" y="0"/>
                    </a:cubicBezTo>
                    <a:cubicBezTo>
                      <a:pt x="108585" y="0"/>
                      <a:pt x="139903" y="31318"/>
                      <a:pt x="139903" y="69952"/>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5" name="Freeform: Shape 214">
                <a:extLst>
                  <a:ext uri="{FF2B5EF4-FFF2-40B4-BE49-F238E27FC236}">
                    <a16:creationId xmlns:a16="http://schemas.microsoft.com/office/drawing/2014/main" id="{C2F6B3E3-29CF-4EC5-BF92-DDA34DF953BB}"/>
                  </a:ext>
                </a:extLst>
              </p:cNvPr>
              <p:cNvSpPr/>
              <p:nvPr/>
            </p:nvSpPr>
            <p:spPr>
              <a:xfrm>
                <a:off x="10920989" y="3361899"/>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6" name="Freeform: Shape 215">
                <a:extLst>
                  <a:ext uri="{FF2B5EF4-FFF2-40B4-BE49-F238E27FC236}">
                    <a16:creationId xmlns:a16="http://schemas.microsoft.com/office/drawing/2014/main" id="{F4B39434-DFE9-45BF-989F-A3484194F9AA}"/>
                  </a:ext>
                </a:extLst>
              </p:cNvPr>
              <p:cNvSpPr/>
              <p:nvPr/>
            </p:nvSpPr>
            <p:spPr>
              <a:xfrm>
                <a:off x="10686894" y="3367128"/>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7" name="Freeform: Shape 216">
                <a:extLst>
                  <a:ext uri="{FF2B5EF4-FFF2-40B4-BE49-F238E27FC236}">
                    <a16:creationId xmlns:a16="http://schemas.microsoft.com/office/drawing/2014/main" id="{0B9ED117-26D7-4B25-A169-A4096A31C52F}"/>
                  </a:ext>
                </a:extLst>
              </p:cNvPr>
              <p:cNvSpPr/>
              <p:nvPr/>
            </p:nvSpPr>
            <p:spPr>
              <a:xfrm>
                <a:off x="10452005" y="3371564"/>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8" name="Freeform: Shape 217">
                <a:extLst>
                  <a:ext uri="{FF2B5EF4-FFF2-40B4-BE49-F238E27FC236}">
                    <a16:creationId xmlns:a16="http://schemas.microsoft.com/office/drawing/2014/main" id="{8295BF34-5411-4C5B-A97D-06602A798586}"/>
                  </a:ext>
                </a:extLst>
              </p:cNvPr>
              <p:cNvSpPr/>
              <p:nvPr/>
            </p:nvSpPr>
            <p:spPr>
              <a:xfrm>
                <a:off x="10217513" y="3376397"/>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9" name="Freeform: Shape 218">
                <a:extLst>
                  <a:ext uri="{FF2B5EF4-FFF2-40B4-BE49-F238E27FC236}">
                    <a16:creationId xmlns:a16="http://schemas.microsoft.com/office/drawing/2014/main" id="{E679720D-4109-4AF8-8FC6-E1FCCFF04213}"/>
                  </a:ext>
                </a:extLst>
              </p:cNvPr>
              <p:cNvSpPr/>
              <p:nvPr/>
            </p:nvSpPr>
            <p:spPr>
              <a:xfrm>
                <a:off x="9983021" y="3381229"/>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0" name="Freeform: Shape 219">
                <a:extLst>
                  <a:ext uri="{FF2B5EF4-FFF2-40B4-BE49-F238E27FC236}">
                    <a16:creationId xmlns:a16="http://schemas.microsoft.com/office/drawing/2014/main" id="{A8CF2C24-9ECB-47C2-B719-81313985EB6C}"/>
                  </a:ext>
                </a:extLst>
              </p:cNvPr>
              <p:cNvSpPr/>
              <p:nvPr/>
            </p:nvSpPr>
            <p:spPr>
              <a:xfrm>
                <a:off x="9749401" y="3386854"/>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1" name="Freeform: Shape 220">
                <a:extLst>
                  <a:ext uri="{FF2B5EF4-FFF2-40B4-BE49-F238E27FC236}">
                    <a16:creationId xmlns:a16="http://schemas.microsoft.com/office/drawing/2014/main" id="{D9DCC5D4-8886-44CC-B16D-B2B8E879B8A8}"/>
                  </a:ext>
                </a:extLst>
              </p:cNvPr>
              <p:cNvSpPr/>
              <p:nvPr/>
            </p:nvSpPr>
            <p:spPr>
              <a:xfrm>
                <a:off x="9514830" y="3391607"/>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2" name="Freeform: Shape 221">
                <a:extLst>
                  <a:ext uri="{FF2B5EF4-FFF2-40B4-BE49-F238E27FC236}">
                    <a16:creationId xmlns:a16="http://schemas.microsoft.com/office/drawing/2014/main" id="{5FD0EC40-8675-4DB4-BE0B-52A6CF7ED419}"/>
                  </a:ext>
                </a:extLst>
              </p:cNvPr>
              <p:cNvSpPr/>
              <p:nvPr/>
            </p:nvSpPr>
            <p:spPr>
              <a:xfrm>
                <a:off x="9280892" y="3396994"/>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202" name="Graphic 3">
              <a:extLst>
                <a:ext uri="{FF2B5EF4-FFF2-40B4-BE49-F238E27FC236}">
                  <a16:creationId xmlns:a16="http://schemas.microsoft.com/office/drawing/2014/main" id="{BCFBDB99-CAB0-41B8-86DA-E1DE153D7020}"/>
                </a:ext>
              </a:extLst>
            </p:cNvPr>
            <p:cNvGrpSpPr/>
            <p:nvPr/>
          </p:nvGrpSpPr>
          <p:grpSpPr>
            <a:xfrm>
              <a:off x="3442578" y="3419786"/>
              <a:ext cx="406928" cy="26971"/>
              <a:chOff x="9280892" y="3670700"/>
              <a:chExt cx="2259045" cy="149726"/>
            </a:xfrm>
            <a:grpFill/>
          </p:grpSpPr>
          <p:sp>
            <p:nvSpPr>
              <p:cNvPr id="203" name="Freeform: Shape 202">
                <a:extLst>
                  <a:ext uri="{FF2B5EF4-FFF2-40B4-BE49-F238E27FC236}">
                    <a16:creationId xmlns:a16="http://schemas.microsoft.com/office/drawing/2014/main" id="{4AC0CBC2-CEAF-4537-84D9-49D9B0697180}"/>
                  </a:ext>
                </a:extLst>
              </p:cNvPr>
              <p:cNvSpPr/>
              <p:nvPr/>
            </p:nvSpPr>
            <p:spPr>
              <a:xfrm>
                <a:off x="11390211" y="3670700"/>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4" name="Freeform: Shape 203">
                <a:extLst>
                  <a:ext uri="{FF2B5EF4-FFF2-40B4-BE49-F238E27FC236}">
                    <a16:creationId xmlns:a16="http://schemas.microsoft.com/office/drawing/2014/main" id="{75615636-4C06-4CDB-A2C9-65107D243DCF}"/>
                  </a:ext>
                </a:extLst>
              </p:cNvPr>
              <p:cNvSpPr/>
              <p:nvPr/>
            </p:nvSpPr>
            <p:spPr>
              <a:xfrm>
                <a:off x="11155798" y="3675612"/>
                <a:ext cx="139903" cy="139902"/>
              </a:xfrm>
              <a:custGeom>
                <a:avLst/>
                <a:gdLst>
                  <a:gd name="connsiteX0" fmla="*/ 139903 w 139903"/>
                  <a:gd name="connsiteY0" fmla="*/ 69952 h 139902"/>
                  <a:gd name="connsiteX1" fmla="*/ 69952 w 139903"/>
                  <a:gd name="connsiteY1" fmla="*/ 139903 h 139902"/>
                  <a:gd name="connsiteX2" fmla="*/ 1 w 139903"/>
                  <a:gd name="connsiteY2" fmla="*/ 69952 h 139902"/>
                  <a:gd name="connsiteX3" fmla="*/ 69952 w 139903"/>
                  <a:gd name="connsiteY3" fmla="*/ 0 h 139902"/>
                  <a:gd name="connsiteX4" fmla="*/ 139903 w 139903"/>
                  <a:gd name="connsiteY4" fmla="*/ 69952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2"/>
                    </a:moveTo>
                    <a:cubicBezTo>
                      <a:pt x="139903" y="108585"/>
                      <a:pt x="108584" y="139903"/>
                      <a:pt x="69952" y="139903"/>
                    </a:cubicBezTo>
                    <a:cubicBezTo>
                      <a:pt x="31318" y="139903"/>
                      <a:pt x="1" y="108585"/>
                      <a:pt x="1" y="69952"/>
                    </a:cubicBezTo>
                    <a:cubicBezTo>
                      <a:pt x="1" y="31318"/>
                      <a:pt x="31319" y="0"/>
                      <a:pt x="69952" y="0"/>
                    </a:cubicBezTo>
                    <a:cubicBezTo>
                      <a:pt x="108585" y="0"/>
                      <a:pt x="139903" y="31318"/>
                      <a:pt x="139903" y="69952"/>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5" name="Freeform: Shape 204">
                <a:extLst>
                  <a:ext uri="{FF2B5EF4-FFF2-40B4-BE49-F238E27FC236}">
                    <a16:creationId xmlns:a16="http://schemas.microsoft.com/office/drawing/2014/main" id="{0E6F2686-F5A1-4209-8FEA-8F4B092A8684}"/>
                  </a:ext>
                </a:extLst>
              </p:cNvPr>
              <p:cNvSpPr/>
              <p:nvPr/>
            </p:nvSpPr>
            <p:spPr>
              <a:xfrm>
                <a:off x="10920989" y="3680048"/>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6" name="Freeform: Shape 205">
                <a:extLst>
                  <a:ext uri="{FF2B5EF4-FFF2-40B4-BE49-F238E27FC236}">
                    <a16:creationId xmlns:a16="http://schemas.microsoft.com/office/drawing/2014/main" id="{E5E43796-1F5C-406B-B3FD-2FE12D696686}"/>
                  </a:ext>
                </a:extLst>
              </p:cNvPr>
              <p:cNvSpPr/>
              <p:nvPr/>
            </p:nvSpPr>
            <p:spPr>
              <a:xfrm>
                <a:off x="10686894" y="3685277"/>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7" name="Freeform: Shape 206">
                <a:extLst>
                  <a:ext uri="{FF2B5EF4-FFF2-40B4-BE49-F238E27FC236}">
                    <a16:creationId xmlns:a16="http://schemas.microsoft.com/office/drawing/2014/main" id="{661473AA-A621-436B-8285-CD3BCBE07EA9}"/>
                  </a:ext>
                </a:extLst>
              </p:cNvPr>
              <p:cNvSpPr/>
              <p:nvPr/>
            </p:nvSpPr>
            <p:spPr>
              <a:xfrm>
                <a:off x="10452005" y="3689713"/>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8" name="Freeform: Shape 207">
                <a:extLst>
                  <a:ext uri="{FF2B5EF4-FFF2-40B4-BE49-F238E27FC236}">
                    <a16:creationId xmlns:a16="http://schemas.microsoft.com/office/drawing/2014/main" id="{19A4B5D3-8119-4C85-A1F7-2693900E74F1}"/>
                  </a:ext>
                </a:extLst>
              </p:cNvPr>
              <p:cNvSpPr/>
              <p:nvPr/>
            </p:nvSpPr>
            <p:spPr>
              <a:xfrm>
                <a:off x="10217513" y="3694545"/>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9" name="Freeform: Shape 208">
                <a:extLst>
                  <a:ext uri="{FF2B5EF4-FFF2-40B4-BE49-F238E27FC236}">
                    <a16:creationId xmlns:a16="http://schemas.microsoft.com/office/drawing/2014/main" id="{5F37782A-2C40-41A8-8538-EC24C56DF836}"/>
                  </a:ext>
                </a:extLst>
              </p:cNvPr>
              <p:cNvSpPr/>
              <p:nvPr/>
            </p:nvSpPr>
            <p:spPr>
              <a:xfrm>
                <a:off x="9983021" y="3699378"/>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0" name="Freeform: Shape 209">
                <a:extLst>
                  <a:ext uri="{FF2B5EF4-FFF2-40B4-BE49-F238E27FC236}">
                    <a16:creationId xmlns:a16="http://schemas.microsoft.com/office/drawing/2014/main" id="{0B9B93AA-C39B-44D2-9D79-760CB579A0BB}"/>
                  </a:ext>
                </a:extLst>
              </p:cNvPr>
              <p:cNvSpPr/>
              <p:nvPr/>
            </p:nvSpPr>
            <p:spPr>
              <a:xfrm>
                <a:off x="9749401" y="3705002"/>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1" name="Freeform: Shape 210">
                <a:extLst>
                  <a:ext uri="{FF2B5EF4-FFF2-40B4-BE49-F238E27FC236}">
                    <a16:creationId xmlns:a16="http://schemas.microsoft.com/office/drawing/2014/main" id="{8B9441E1-58E2-4A31-82B6-D432E4EEC593}"/>
                  </a:ext>
                </a:extLst>
              </p:cNvPr>
              <p:cNvSpPr/>
              <p:nvPr/>
            </p:nvSpPr>
            <p:spPr>
              <a:xfrm>
                <a:off x="9514830" y="3709756"/>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2" name="Freeform: Shape 211">
                <a:extLst>
                  <a:ext uri="{FF2B5EF4-FFF2-40B4-BE49-F238E27FC236}">
                    <a16:creationId xmlns:a16="http://schemas.microsoft.com/office/drawing/2014/main" id="{1BD74FAD-7E1E-4B80-B2F7-946E7FDFF5B1}"/>
                  </a:ext>
                </a:extLst>
              </p:cNvPr>
              <p:cNvSpPr/>
              <p:nvPr/>
            </p:nvSpPr>
            <p:spPr>
              <a:xfrm>
                <a:off x="9280892" y="3715143"/>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sp>
        <p:nvSpPr>
          <p:cNvPr id="263" name="Freeform: Shape 262">
            <a:extLst>
              <a:ext uri="{FF2B5EF4-FFF2-40B4-BE49-F238E27FC236}">
                <a16:creationId xmlns:a16="http://schemas.microsoft.com/office/drawing/2014/main" id="{5A9E6BB0-6EE7-4D16-A98A-1B619C66201F}"/>
              </a:ext>
            </a:extLst>
          </p:cNvPr>
          <p:cNvSpPr/>
          <p:nvPr/>
        </p:nvSpPr>
        <p:spPr>
          <a:xfrm>
            <a:off x="7177000" y="3603383"/>
            <a:ext cx="164023" cy="163975"/>
          </a:xfrm>
          <a:custGeom>
            <a:avLst/>
            <a:gdLst>
              <a:gd name="connsiteX0" fmla="*/ 0 w 4948808"/>
              <a:gd name="connsiteY0" fmla="*/ 412242 h 3203828"/>
              <a:gd name="connsiteX1" fmla="*/ 413385 w 4948808"/>
              <a:gd name="connsiteY1" fmla="*/ 0 h 3203828"/>
              <a:gd name="connsiteX2" fmla="*/ 4535519 w 4948808"/>
              <a:gd name="connsiteY2" fmla="*/ 0 h 3203828"/>
              <a:gd name="connsiteX3" fmla="*/ 4948809 w 4948808"/>
              <a:gd name="connsiteY3" fmla="*/ 412242 h 3203828"/>
              <a:gd name="connsiteX4" fmla="*/ 4948809 w 4948808"/>
              <a:gd name="connsiteY4" fmla="*/ 2791587 h 3203828"/>
              <a:gd name="connsiteX5" fmla="*/ 4535519 w 4948808"/>
              <a:gd name="connsiteY5" fmla="*/ 3203829 h 3203828"/>
              <a:gd name="connsiteX6" fmla="*/ 413385 w 4948808"/>
              <a:gd name="connsiteY6" fmla="*/ 3203829 h 3203828"/>
              <a:gd name="connsiteX7" fmla="*/ 95 w 4948808"/>
              <a:gd name="connsiteY7" fmla="*/ 2791587 h 3203828"/>
              <a:gd name="connsiteX8" fmla="*/ 95 w 4948808"/>
              <a:gd name="connsiteY8" fmla="*/ 412242 h 320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8808" h="3203828">
                <a:moveTo>
                  <a:pt x="0" y="412242"/>
                </a:moveTo>
                <a:cubicBezTo>
                  <a:pt x="0" y="184594"/>
                  <a:pt x="185071" y="0"/>
                  <a:pt x="413385" y="0"/>
                </a:cubicBezTo>
                <a:lnTo>
                  <a:pt x="4535519" y="0"/>
                </a:lnTo>
                <a:cubicBezTo>
                  <a:pt x="4763738" y="0"/>
                  <a:pt x="4948809" y="184594"/>
                  <a:pt x="4948809" y="412242"/>
                </a:cubicBezTo>
                <a:lnTo>
                  <a:pt x="4948809" y="2791587"/>
                </a:lnTo>
                <a:cubicBezTo>
                  <a:pt x="4948809" y="3019235"/>
                  <a:pt x="4763738" y="3203829"/>
                  <a:pt x="4535519" y="3203829"/>
                </a:cubicBezTo>
                <a:lnTo>
                  <a:pt x="413385" y="3203829"/>
                </a:lnTo>
                <a:cubicBezTo>
                  <a:pt x="185166" y="3203829"/>
                  <a:pt x="95" y="3019235"/>
                  <a:pt x="95" y="2791587"/>
                </a:cubicBezTo>
                <a:lnTo>
                  <a:pt x="95" y="412242"/>
                </a:lnTo>
                <a:close/>
              </a:path>
            </a:pathLst>
          </a:custGeom>
          <a:noFill/>
          <a:ln w="7144" cap="flat">
            <a:solidFill>
              <a:srgbClr val="6EBE4A"/>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64" name="Freeform: Shape 263">
            <a:extLst>
              <a:ext uri="{FF2B5EF4-FFF2-40B4-BE49-F238E27FC236}">
                <a16:creationId xmlns:a16="http://schemas.microsoft.com/office/drawing/2014/main" id="{B32CF2C7-21BF-4676-ADD0-4C4A1B167B68}"/>
              </a:ext>
            </a:extLst>
          </p:cNvPr>
          <p:cNvSpPr/>
          <p:nvPr/>
        </p:nvSpPr>
        <p:spPr>
          <a:xfrm>
            <a:off x="7273825" y="3676480"/>
            <a:ext cx="139342" cy="139303"/>
          </a:xfrm>
          <a:custGeom>
            <a:avLst/>
            <a:gdLst>
              <a:gd name="connsiteX0" fmla="*/ 0 w 4948808"/>
              <a:gd name="connsiteY0" fmla="*/ 412242 h 3203828"/>
              <a:gd name="connsiteX1" fmla="*/ 413385 w 4948808"/>
              <a:gd name="connsiteY1" fmla="*/ 0 h 3203828"/>
              <a:gd name="connsiteX2" fmla="*/ 4535519 w 4948808"/>
              <a:gd name="connsiteY2" fmla="*/ 0 h 3203828"/>
              <a:gd name="connsiteX3" fmla="*/ 4948809 w 4948808"/>
              <a:gd name="connsiteY3" fmla="*/ 412242 h 3203828"/>
              <a:gd name="connsiteX4" fmla="*/ 4948809 w 4948808"/>
              <a:gd name="connsiteY4" fmla="*/ 2791587 h 3203828"/>
              <a:gd name="connsiteX5" fmla="*/ 4535519 w 4948808"/>
              <a:gd name="connsiteY5" fmla="*/ 3203829 h 3203828"/>
              <a:gd name="connsiteX6" fmla="*/ 413385 w 4948808"/>
              <a:gd name="connsiteY6" fmla="*/ 3203829 h 3203828"/>
              <a:gd name="connsiteX7" fmla="*/ 95 w 4948808"/>
              <a:gd name="connsiteY7" fmla="*/ 2791587 h 3203828"/>
              <a:gd name="connsiteX8" fmla="*/ 95 w 4948808"/>
              <a:gd name="connsiteY8" fmla="*/ 412242 h 320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8808" h="3203828">
                <a:moveTo>
                  <a:pt x="0" y="412242"/>
                </a:moveTo>
                <a:cubicBezTo>
                  <a:pt x="0" y="184594"/>
                  <a:pt x="185071" y="0"/>
                  <a:pt x="413385" y="0"/>
                </a:cubicBezTo>
                <a:lnTo>
                  <a:pt x="4535519" y="0"/>
                </a:lnTo>
                <a:cubicBezTo>
                  <a:pt x="4763738" y="0"/>
                  <a:pt x="4948809" y="184594"/>
                  <a:pt x="4948809" y="412242"/>
                </a:cubicBezTo>
                <a:lnTo>
                  <a:pt x="4948809" y="2791587"/>
                </a:lnTo>
                <a:cubicBezTo>
                  <a:pt x="4948809" y="3019235"/>
                  <a:pt x="4763738" y="3203829"/>
                  <a:pt x="4535519" y="3203829"/>
                </a:cubicBezTo>
                <a:lnTo>
                  <a:pt x="413385" y="3203829"/>
                </a:lnTo>
                <a:cubicBezTo>
                  <a:pt x="185166" y="3203829"/>
                  <a:pt x="95" y="3019235"/>
                  <a:pt x="95" y="2791587"/>
                </a:cubicBezTo>
                <a:lnTo>
                  <a:pt x="95" y="412242"/>
                </a:lnTo>
                <a:close/>
              </a:path>
            </a:pathLst>
          </a:custGeom>
          <a:noFill/>
          <a:ln w="7144" cap="flat">
            <a:solidFill>
              <a:srgbClr val="6EBE4A"/>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nvGrpSpPr>
          <p:cNvPr id="265" name="Group 264">
            <a:extLst>
              <a:ext uri="{FF2B5EF4-FFF2-40B4-BE49-F238E27FC236}">
                <a16:creationId xmlns:a16="http://schemas.microsoft.com/office/drawing/2014/main" id="{A8FCFD32-6AEE-42C3-8AA9-8C2DACDCBC43}"/>
              </a:ext>
            </a:extLst>
          </p:cNvPr>
          <p:cNvGrpSpPr/>
          <p:nvPr/>
        </p:nvGrpSpPr>
        <p:grpSpPr>
          <a:xfrm rot="2678579">
            <a:off x="6976596" y="3002530"/>
            <a:ext cx="322553" cy="571727"/>
            <a:chOff x="8288242" y="2488354"/>
            <a:chExt cx="1927860" cy="3417146"/>
          </a:xfrm>
          <a:solidFill>
            <a:srgbClr val="6EBE4A"/>
          </a:solidFill>
        </p:grpSpPr>
        <p:sp>
          <p:nvSpPr>
            <p:cNvPr id="266" name="Oval 265">
              <a:extLst>
                <a:ext uri="{FF2B5EF4-FFF2-40B4-BE49-F238E27FC236}">
                  <a16:creationId xmlns:a16="http://schemas.microsoft.com/office/drawing/2014/main" id="{81700BBF-0A59-4FB5-AC88-73F55988CA7C}"/>
                </a:ext>
              </a:extLst>
            </p:cNvPr>
            <p:cNvSpPr/>
            <p:nvPr/>
          </p:nvSpPr>
          <p:spPr>
            <a:xfrm>
              <a:off x="879116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7" name="Oval 266">
              <a:extLst>
                <a:ext uri="{FF2B5EF4-FFF2-40B4-BE49-F238E27FC236}">
                  <a16:creationId xmlns:a16="http://schemas.microsoft.com/office/drawing/2014/main" id="{957EB68B-216C-4058-905B-FFEFBC9E175E}"/>
                </a:ext>
              </a:extLst>
            </p:cNvPr>
            <p:cNvSpPr/>
            <p:nvPr/>
          </p:nvSpPr>
          <p:spPr>
            <a:xfrm>
              <a:off x="904262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8" name="Oval 267">
              <a:extLst>
                <a:ext uri="{FF2B5EF4-FFF2-40B4-BE49-F238E27FC236}">
                  <a16:creationId xmlns:a16="http://schemas.microsoft.com/office/drawing/2014/main" id="{03198D9E-444A-485B-A478-8AB4FA61FA80}"/>
                </a:ext>
              </a:extLst>
            </p:cNvPr>
            <p:cNvSpPr/>
            <p:nvPr/>
          </p:nvSpPr>
          <p:spPr>
            <a:xfrm>
              <a:off x="929408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9" name="Oval 268">
              <a:extLst>
                <a:ext uri="{FF2B5EF4-FFF2-40B4-BE49-F238E27FC236}">
                  <a16:creationId xmlns:a16="http://schemas.microsoft.com/office/drawing/2014/main" id="{B468C6CE-80A0-424F-8BA2-B4CCA4512D56}"/>
                </a:ext>
              </a:extLst>
            </p:cNvPr>
            <p:cNvSpPr/>
            <p:nvPr/>
          </p:nvSpPr>
          <p:spPr>
            <a:xfrm>
              <a:off x="879116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0" name="Oval 269">
              <a:extLst>
                <a:ext uri="{FF2B5EF4-FFF2-40B4-BE49-F238E27FC236}">
                  <a16:creationId xmlns:a16="http://schemas.microsoft.com/office/drawing/2014/main" id="{919B24BF-6E07-49B0-8F86-40195357060A}"/>
                </a:ext>
              </a:extLst>
            </p:cNvPr>
            <p:cNvSpPr/>
            <p:nvPr/>
          </p:nvSpPr>
          <p:spPr>
            <a:xfrm>
              <a:off x="904262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1" name="Oval 270">
              <a:extLst>
                <a:ext uri="{FF2B5EF4-FFF2-40B4-BE49-F238E27FC236}">
                  <a16:creationId xmlns:a16="http://schemas.microsoft.com/office/drawing/2014/main" id="{166FF9CE-3F69-43B6-BE97-8CEE53383491}"/>
                </a:ext>
              </a:extLst>
            </p:cNvPr>
            <p:cNvSpPr/>
            <p:nvPr/>
          </p:nvSpPr>
          <p:spPr>
            <a:xfrm>
              <a:off x="929408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2" name="Oval 271">
              <a:extLst>
                <a:ext uri="{FF2B5EF4-FFF2-40B4-BE49-F238E27FC236}">
                  <a16:creationId xmlns:a16="http://schemas.microsoft.com/office/drawing/2014/main" id="{8EC92811-8758-4862-A3F1-1269ECFD47F7}"/>
                </a:ext>
              </a:extLst>
            </p:cNvPr>
            <p:cNvSpPr/>
            <p:nvPr/>
          </p:nvSpPr>
          <p:spPr>
            <a:xfrm>
              <a:off x="879116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3" name="Oval 272">
              <a:extLst>
                <a:ext uri="{FF2B5EF4-FFF2-40B4-BE49-F238E27FC236}">
                  <a16:creationId xmlns:a16="http://schemas.microsoft.com/office/drawing/2014/main" id="{B6685668-88D6-4608-9D8F-F94408D06544}"/>
                </a:ext>
              </a:extLst>
            </p:cNvPr>
            <p:cNvSpPr/>
            <p:nvPr/>
          </p:nvSpPr>
          <p:spPr>
            <a:xfrm>
              <a:off x="904262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4" name="Oval 273">
              <a:extLst>
                <a:ext uri="{FF2B5EF4-FFF2-40B4-BE49-F238E27FC236}">
                  <a16:creationId xmlns:a16="http://schemas.microsoft.com/office/drawing/2014/main" id="{22BFEEB6-893F-4CDE-97A0-B131E8E74AEA}"/>
                </a:ext>
              </a:extLst>
            </p:cNvPr>
            <p:cNvSpPr/>
            <p:nvPr/>
          </p:nvSpPr>
          <p:spPr>
            <a:xfrm>
              <a:off x="929408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nvGrpSpPr>
            <p:cNvPr id="275" name="Group 274">
              <a:extLst>
                <a:ext uri="{FF2B5EF4-FFF2-40B4-BE49-F238E27FC236}">
                  <a16:creationId xmlns:a16="http://schemas.microsoft.com/office/drawing/2014/main" id="{8B0FF9B4-66BD-4186-B19A-9CF7598B5931}"/>
                </a:ext>
              </a:extLst>
            </p:cNvPr>
            <p:cNvGrpSpPr/>
            <p:nvPr/>
          </p:nvGrpSpPr>
          <p:grpSpPr>
            <a:xfrm>
              <a:off x="9545542" y="5234940"/>
              <a:ext cx="670560" cy="670560"/>
              <a:chOff x="3208242" y="4511040"/>
              <a:chExt cx="670560" cy="670560"/>
            </a:xfrm>
            <a:grpFill/>
          </p:grpSpPr>
          <p:sp>
            <p:nvSpPr>
              <p:cNvPr id="317" name="Oval 316">
                <a:extLst>
                  <a:ext uri="{FF2B5EF4-FFF2-40B4-BE49-F238E27FC236}">
                    <a16:creationId xmlns:a16="http://schemas.microsoft.com/office/drawing/2014/main" id="{C3D77112-5B33-4A34-8D4B-4E441B79CC44}"/>
                  </a:ext>
                </a:extLst>
              </p:cNvPr>
              <p:cNvSpPr/>
              <p:nvPr/>
            </p:nvSpPr>
            <p:spPr>
              <a:xfrm>
                <a:off x="320824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18" name="Oval 317">
                <a:extLst>
                  <a:ext uri="{FF2B5EF4-FFF2-40B4-BE49-F238E27FC236}">
                    <a16:creationId xmlns:a16="http://schemas.microsoft.com/office/drawing/2014/main" id="{2375212C-BC29-43D6-9229-D02782A94426}"/>
                  </a:ext>
                </a:extLst>
              </p:cNvPr>
              <p:cNvSpPr/>
              <p:nvPr/>
            </p:nvSpPr>
            <p:spPr>
              <a:xfrm>
                <a:off x="345970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19" name="Oval 318">
                <a:extLst>
                  <a:ext uri="{FF2B5EF4-FFF2-40B4-BE49-F238E27FC236}">
                    <a16:creationId xmlns:a16="http://schemas.microsoft.com/office/drawing/2014/main" id="{CD54C777-5928-4A24-877D-E5029790E39B}"/>
                  </a:ext>
                </a:extLst>
              </p:cNvPr>
              <p:cNvSpPr/>
              <p:nvPr/>
            </p:nvSpPr>
            <p:spPr>
              <a:xfrm>
                <a:off x="371116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20" name="Oval 319">
                <a:extLst>
                  <a:ext uri="{FF2B5EF4-FFF2-40B4-BE49-F238E27FC236}">
                    <a16:creationId xmlns:a16="http://schemas.microsoft.com/office/drawing/2014/main" id="{8844B540-1B09-4629-B51D-3C0DB8B2B9B5}"/>
                  </a:ext>
                </a:extLst>
              </p:cNvPr>
              <p:cNvSpPr/>
              <p:nvPr/>
            </p:nvSpPr>
            <p:spPr>
              <a:xfrm>
                <a:off x="320824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21" name="Oval 320">
                <a:extLst>
                  <a:ext uri="{FF2B5EF4-FFF2-40B4-BE49-F238E27FC236}">
                    <a16:creationId xmlns:a16="http://schemas.microsoft.com/office/drawing/2014/main" id="{82853BDF-62B7-456B-8A4A-02229DF51D53}"/>
                  </a:ext>
                </a:extLst>
              </p:cNvPr>
              <p:cNvSpPr/>
              <p:nvPr/>
            </p:nvSpPr>
            <p:spPr>
              <a:xfrm>
                <a:off x="345970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22" name="Oval 321">
                <a:extLst>
                  <a:ext uri="{FF2B5EF4-FFF2-40B4-BE49-F238E27FC236}">
                    <a16:creationId xmlns:a16="http://schemas.microsoft.com/office/drawing/2014/main" id="{9AE6D89F-52E4-4104-AE13-CFEBDC5E8878}"/>
                  </a:ext>
                </a:extLst>
              </p:cNvPr>
              <p:cNvSpPr/>
              <p:nvPr/>
            </p:nvSpPr>
            <p:spPr>
              <a:xfrm>
                <a:off x="371116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23" name="Oval 322">
                <a:extLst>
                  <a:ext uri="{FF2B5EF4-FFF2-40B4-BE49-F238E27FC236}">
                    <a16:creationId xmlns:a16="http://schemas.microsoft.com/office/drawing/2014/main" id="{FC8D7FE9-7847-4B5D-8530-6B78C7725A51}"/>
                  </a:ext>
                </a:extLst>
              </p:cNvPr>
              <p:cNvSpPr/>
              <p:nvPr/>
            </p:nvSpPr>
            <p:spPr>
              <a:xfrm>
                <a:off x="320824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24" name="Oval 323">
                <a:extLst>
                  <a:ext uri="{FF2B5EF4-FFF2-40B4-BE49-F238E27FC236}">
                    <a16:creationId xmlns:a16="http://schemas.microsoft.com/office/drawing/2014/main" id="{C45EF12B-E29B-4308-BBBC-E1BE70A455D1}"/>
                  </a:ext>
                </a:extLst>
              </p:cNvPr>
              <p:cNvSpPr/>
              <p:nvPr/>
            </p:nvSpPr>
            <p:spPr>
              <a:xfrm>
                <a:off x="345970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25" name="Oval 324">
                <a:extLst>
                  <a:ext uri="{FF2B5EF4-FFF2-40B4-BE49-F238E27FC236}">
                    <a16:creationId xmlns:a16="http://schemas.microsoft.com/office/drawing/2014/main" id="{94CBBAAB-6E46-4D46-9BB0-CF53CC43AC64}"/>
                  </a:ext>
                </a:extLst>
              </p:cNvPr>
              <p:cNvSpPr/>
              <p:nvPr/>
            </p:nvSpPr>
            <p:spPr>
              <a:xfrm>
                <a:off x="371116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grpSp>
          <p:nvGrpSpPr>
            <p:cNvPr id="276" name="Group 275">
              <a:extLst>
                <a:ext uri="{FF2B5EF4-FFF2-40B4-BE49-F238E27FC236}">
                  <a16:creationId xmlns:a16="http://schemas.microsoft.com/office/drawing/2014/main" id="{9D55FC51-B317-48A7-991E-78A999E68F01}"/>
                </a:ext>
              </a:extLst>
            </p:cNvPr>
            <p:cNvGrpSpPr/>
            <p:nvPr/>
          </p:nvGrpSpPr>
          <p:grpSpPr>
            <a:xfrm>
              <a:off x="9545542" y="4485640"/>
              <a:ext cx="670560" cy="670560"/>
              <a:chOff x="3208242" y="4511040"/>
              <a:chExt cx="670560" cy="670560"/>
            </a:xfrm>
            <a:grpFill/>
          </p:grpSpPr>
          <p:sp>
            <p:nvSpPr>
              <p:cNvPr id="308" name="Oval 307">
                <a:extLst>
                  <a:ext uri="{FF2B5EF4-FFF2-40B4-BE49-F238E27FC236}">
                    <a16:creationId xmlns:a16="http://schemas.microsoft.com/office/drawing/2014/main" id="{FB9729E9-0C30-42FC-886D-8FFEF9ABB1E7}"/>
                  </a:ext>
                </a:extLst>
              </p:cNvPr>
              <p:cNvSpPr/>
              <p:nvPr/>
            </p:nvSpPr>
            <p:spPr>
              <a:xfrm>
                <a:off x="320824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09" name="Oval 308">
                <a:extLst>
                  <a:ext uri="{FF2B5EF4-FFF2-40B4-BE49-F238E27FC236}">
                    <a16:creationId xmlns:a16="http://schemas.microsoft.com/office/drawing/2014/main" id="{10CCDB4C-EE9B-410C-A6B0-F8D283BCC4B3}"/>
                  </a:ext>
                </a:extLst>
              </p:cNvPr>
              <p:cNvSpPr/>
              <p:nvPr/>
            </p:nvSpPr>
            <p:spPr>
              <a:xfrm>
                <a:off x="345970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10" name="Oval 309">
                <a:extLst>
                  <a:ext uri="{FF2B5EF4-FFF2-40B4-BE49-F238E27FC236}">
                    <a16:creationId xmlns:a16="http://schemas.microsoft.com/office/drawing/2014/main" id="{A4D693F8-5289-4DA6-B2E8-7387D75F1CD1}"/>
                  </a:ext>
                </a:extLst>
              </p:cNvPr>
              <p:cNvSpPr/>
              <p:nvPr/>
            </p:nvSpPr>
            <p:spPr>
              <a:xfrm>
                <a:off x="371116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11" name="Oval 310">
                <a:extLst>
                  <a:ext uri="{FF2B5EF4-FFF2-40B4-BE49-F238E27FC236}">
                    <a16:creationId xmlns:a16="http://schemas.microsoft.com/office/drawing/2014/main" id="{86FA1111-4937-460E-9CFF-E159C24B70A2}"/>
                  </a:ext>
                </a:extLst>
              </p:cNvPr>
              <p:cNvSpPr/>
              <p:nvPr/>
            </p:nvSpPr>
            <p:spPr>
              <a:xfrm>
                <a:off x="320824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12" name="Oval 311">
                <a:extLst>
                  <a:ext uri="{FF2B5EF4-FFF2-40B4-BE49-F238E27FC236}">
                    <a16:creationId xmlns:a16="http://schemas.microsoft.com/office/drawing/2014/main" id="{7C2353C2-DBE8-4566-8CE0-EFACEC83D648}"/>
                  </a:ext>
                </a:extLst>
              </p:cNvPr>
              <p:cNvSpPr/>
              <p:nvPr/>
            </p:nvSpPr>
            <p:spPr>
              <a:xfrm>
                <a:off x="345970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13" name="Oval 312">
                <a:extLst>
                  <a:ext uri="{FF2B5EF4-FFF2-40B4-BE49-F238E27FC236}">
                    <a16:creationId xmlns:a16="http://schemas.microsoft.com/office/drawing/2014/main" id="{59E998CD-180A-4D53-A9AE-138FAD7252AA}"/>
                  </a:ext>
                </a:extLst>
              </p:cNvPr>
              <p:cNvSpPr/>
              <p:nvPr/>
            </p:nvSpPr>
            <p:spPr>
              <a:xfrm>
                <a:off x="371116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14" name="Oval 313">
                <a:extLst>
                  <a:ext uri="{FF2B5EF4-FFF2-40B4-BE49-F238E27FC236}">
                    <a16:creationId xmlns:a16="http://schemas.microsoft.com/office/drawing/2014/main" id="{2D317C38-0F17-4EFA-BDF8-0933BBCA8012}"/>
                  </a:ext>
                </a:extLst>
              </p:cNvPr>
              <p:cNvSpPr/>
              <p:nvPr/>
            </p:nvSpPr>
            <p:spPr>
              <a:xfrm>
                <a:off x="320824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15" name="Oval 314">
                <a:extLst>
                  <a:ext uri="{FF2B5EF4-FFF2-40B4-BE49-F238E27FC236}">
                    <a16:creationId xmlns:a16="http://schemas.microsoft.com/office/drawing/2014/main" id="{0B068274-DB17-4FF4-9AA1-27378677E2D2}"/>
                  </a:ext>
                </a:extLst>
              </p:cNvPr>
              <p:cNvSpPr/>
              <p:nvPr/>
            </p:nvSpPr>
            <p:spPr>
              <a:xfrm>
                <a:off x="345970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16" name="Oval 315">
                <a:extLst>
                  <a:ext uri="{FF2B5EF4-FFF2-40B4-BE49-F238E27FC236}">
                    <a16:creationId xmlns:a16="http://schemas.microsoft.com/office/drawing/2014/main" id="{E686BEF8-8720-406D-875D-2A269E534C78}"/>
                  </a:ext>
                </a:extLst>
              </p:cNvPr>
              <p:cNvSpPr/>
              <p:nvPr/>
            </p:nvSpPr>
            <p:spPr>
              <a:xfrm>
                <a:off x="371116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grpSp>
          <p:nvGrpSpPr>
            <p:cNvPr id="277" name="Group 276">
              <a:extLst>
                <a:ext uri="{FF2B5EF4-FFF2-40B4-BE49-F238E27FC236}">
                  <a16:creationId xmlns:a16="http://schemas.microsoft.com/office/drawing/2014/main" id="{75C640D0-2A6D-4467-A45B-B0E4124ABA44}"/>
                </a:ext>
              </a:extLst>
            </p:cNvPr>
            <p:cNvGrpSpPr/>
            <p:nvPr/>
          </p:nvGrpSpPr>
          <p:grpSpPr>
            <a:xfrm>
              <a:off x="9545542" y="3736340"/>
              <a:ext cx="670560" cy="670560"/>
              <a:chOff x="3208242" y="4511040"/>
              <a:chExt cx="670560" cy="670560"/>
            </a:xfrm>
            <a:grpFill/>
          </p:grpSpPr>
          <p:sp>
            <p:nvSpPr>
              <p:cNvPr id="299" name="Oval 298">
                <a:extLst>
                  <a:ext uri="{FF2B5EF4-FFF2-40B4-BE49-F238E27FC236}">
                    <a16:creationId xmlns:a16="http://schemas.microsoft.com/office/drawing/2014/main" id="{680E32C6-4EDD-48D2-91CB-90E1BE92FB31}"/>
                  </a:ext>
                </a:extLst>
              </p:cNvPr>
              <p:cNvSpPr/>
              <p:nvPr/>
            </p:nvSpPr>
            <p:spPr>
              <a:xfrm>
                <a:off x="320824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00" name="Oval 299">
                <a:extLst>
                  <a:ext uri="{FF2B5EF4-FFF2-40B4-BE49-F238E27FC236}">
                    <a16:creationId xmlns:a16="http://schemas.microsoft.com/office/drawing/2014/main" id="{BDAC622F-445D-45D9-A128-D4D952A67796}"/>
                  </a:ext>
                </a:extLst>
              </p:cNvPr>
              <p:cNvSpPr/>
              <p:nvPr/>
            </p:nvSpPr>
            <p:spPr>
              <a:xfrm>
                <a:off x="345970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01" name="Oval 300">
                <a:extLst>
                  <a:ext uri="{FF2B5EF4-FFF2-40B4-BE49-F238E27FC236}">
                    <a16:creationId xmlns:a16="http://schemas.microsoft.com/office/drawing/2014/main" id="{92009842-0F08-4EE1-AB04-D376AC25C530}"/>
                  </a:ext>
                </a:extLst>
              </p:cNvPr>
              <p:cNvSpPr/>
              <p:nvPr/>
            </p:nvSpPr>
            <p:spPr>
              <a:xfrm>
                <a:off x="371116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02" name="Oval 301">
                <a:extLst>
                  <a:ext uri="{FF2B5EF4-FFF2-40B4-BE49-F238E27FC236}">
                    <a16:creationId xmlns:a16="http://schemas.microsoft.com/office/drawing/2014/main" id="{58F286F3-E07E-45F1-832F-2CCF31EB5FE2}"/>
                  </a:ext>
                </a:extLst>
              </p:cNvPr>
              <p:cNvSpPr/>
              <p:nvPr/>
            </p:nvSpPr>
            <p:spPr>
              <a:xfrm>
                <a:off x="320824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03" name="Oval 302">
                <a:extLst>
                  <a:ext uri="{FF2B5EF4-FFF2-40B4-BE49-F238E27FC236}">
                    <a16:creationId xmlns:a16="http://schemas.microsoft.com/office/drawing/2014/main" id="{3BC53FE5-A454-4603-B814-FC4519883822}"/>
                  </a:ext>
                </a:extLst>
              </p:cNvPr>
              <p:cNvSpPr/>
              <p:nvPr/>
            </p:nvSpPr>
            <p:spPr>
              <a:xfrm>
                <a:off x="345970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04" name="Oval 303">
                <a:extLst>
                  <a:ext uri="{FF2B5EF4-FFF2-40B4-BE49-F238E27FC236}">
                    <a16:creationId xmlns:a16="http://schemas.microsoft.com/office/drawing/2014/main" id="{6B00C914-6B41-48CD-8F6C-982F32C8665F}"/>
                  </a:ext>
                </a:extLst>
              </p:cNvPr>
              <p:cNvSpPr/>
              <p:nvPr/>
            </p:nvSpPr>
            <p:spPr>
              <a:xfrm>
                <a:off x="371116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05" name="Oval 304">
                <a:extLst>
                  <a:ext uri="{FF2B5EF4-FFF2-40B4-BE49-F238E27FC236}">
                    <a16:creationId xmlns:a16="http://schemas.microsoft.com/office/drawing/2014/main" id="{07EF1A82-78CF-400A-B5B3-62CB69295038}"/>
                  </a:ext>
                </a:extLst>
              </p:cNvPr>
              <p:cNvSpPr/>
              <p:nvPr/>
            </p:nvSpPr>
            <p:spPr>
              <a:xfrm>
                <a:off x="320824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06" name="Oval 305">
                <a:extLst>
                  <a:ext uri="{FF2B5EF4-FFF2-40B4-BE49-F238E27FC236}">
                    <a16:creationId xmlns:a16="http://schemas.microsoft.com/office/drawing/2014/main" id="{52B83376-E34C-4018-AA87-567032AC9A91}"/>
                  </a:ext>
                </a:extLst>
              </p:cNvPr>
              <p:cNvSpPr/>
              <p:nvPr/>
            </p:nvSpPr>
            <p:spPr>
              <a:xfrm>
                <a:off x="345970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307" name="Oval 306">
                <a:extLst>
                  <a:ext uri="{FF2B5EF4-FFF2-40B4-BE49-F238E27FC236}">
                    <a16:creationId xmlns:a16="http://schemas.microsoft.com/office/drawing/2014/main" id="{219A2D09-08CE-40C6-9ADD-3EF403B702AD}"/>
                  </a:ext>
                </a:extLst>
              </p:cNvPr>
              <p:cNvSpPr/>
              <p:nvPr/>
            </p:nvSpPr>
            <p:spPr>
              <a:xfrm>
                <a:off x="371116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sp>
          <p:nvSpPr>
            <p:cNvPr id="278" name="Oval 277">
              <a:extLst>
                <a:ext uri="{FF2B5EF4-FFF2-40B4-BE49-F238E27FC236}">
                  <a16:creationId xmlns:a16="http://schemas.microsoft.com/office/drawing/2014/main" id="{344495AA-8480-41CF-8AED-BF484B4F20BC}"/>
                </a:ext>
              </a:extLst>
            </p:cNvPr>
            <p:cNvSpPr/>
            <p:nvPr/>
          </p:nvSpPr>
          <p:spPr>
            <a:xfrm>
              <a:off x="9545542" y="2987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9" name="Oval 278">
              <a:extLst>
                <a:ext uri="{FF2B5EF4-FFF2-40B4-BE49-F238E27FC236}">
                  <a16:creationId xmlns:a16="http://schemas.microsoft.com/office/drawing/2014/main" id="{9BBB51F9-2F97-46AE-A222-8CCB46F27328}"/>
                </a:ext>
              </a:extLst>
            </p:cNvPr>
            <p:cNvSpPr/>
            <p:nvPr/>
          </p:nvSpPr>
          <p:spPr>
            <a:xfrm>
              <a:off x="9797002" y="2987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0" name="Oval 279">
              <a:extLst>
                <a:ext uri="{FF2B5EF4-FFF2-40B4-BE49-F238E27FC236}">
                  <a16:creationId xmlns:a16="http://schemas.microsoft.com/office/drawing/2014/main" id="{075D8BD9-85E7-40DE-86C5-4D2705B14044}"/>
                </a:ext>
              </a:extLst>
            </p:cNvPr>
            <p:cNvSpPr/>
            <p:nvPr/>
          </p:nvSpPr>
          <p:spPr>
            <a:xfrm>
              <a:off x="10048462" y="2987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1" name="Oval 280">
              <a:extLst>
                <a:ext uri="{FF2B5EF4-FFF2-40B4-BE49-F238E27FC236}">
                  <a16:creationId xmlns:a16="http://schemas.microsoft.com/office/drawing/2014/main" id="{BE711BD3-6ABE-423B-A51D-5DEFEEC09AB6}"/>
                </a:ext>
              </a:extLst>
            </p:cNvPr>
            <p:cNvSpPr/>
            <p:nvPr/>
          </p:nvSpPr>
          <p:spPr>
            <a:xfrm>
              <a:off x="9545542" y="3238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2" name="Oval 281">
              <a:extLst>
                <a:ext uri="{FF2B5EF4-FFF2-40B4-BE49-F238E27FC236}">
                  <a16:creationId xmlns:a16="http://schemas.microsoft.com/office/drawing/2014/main" id="{51C308D8-7B7A-4684-A13C-F44FB3502B94}"/>
                </a:ext>
              </a:extLst>
            </p:cNvPr>
            <p:cNvSpPr/>
            <p:nvPr/>
          </p:nvSpPr>
          <p:spPr>
            <a:xfrm>
              <a:off x="9797002" y="3238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3" name="Oval 282">
              <a:extLst>
                <a:ext uri="{FF2B5EF4-FFF2-40B4-BE49-F238E27FC236}">
                  <a16:creationId xmlns:a16="http://schemas.microsoft.com/office/drawing/2014/main" id="{4079515D-5994-43B1-AA1B-4E4EA76AD9D2}"/>
                </a:ext>
              </a:extLst>
            </p:cNvPr>
            <p:cNvSpPr/>
            <p:nvPr/>
          </p:nvSpPr>
          <p:spPr>
            <a:xfrm>
              <a:off x="10048462" y="3238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4" name="Oval 283">
              <a:extLst>
                <a:ext uri="{FF2B5EF4-FFF2-40B4-BE49-F238E27FC236}">
                  <a16:creationId xmlns:a16="http://schemas.microsoft.com/office/drawing/2014/main" id="{66C6E544-BABF-4A23-8429-4C05D2D99341}"/>
                </a:ext>
              </a:extLst>
            </p:cNvPr>
            <p:cNvSpPr/>
            <p:nvPr/>
          </p:nvSpPr>
          <p:spPr>
            <a:xfrm>
              <a:off x="9545542" y="3489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5" name="Oval 284">
              <a:extLst>
                <a:ext uri="{FF2B5EF4-FFF2-40B4-BE49-F238E27FC236}">
                  <a16:creationId xmlns:a16="http://schemas.microsoft.com/office/drawing/2014/main" id="{A27F2937-6CB4-4CBA-80FA-FB72BD03AACB}"/>
                </a:ext>
              </a:extLst>
            </p:cNvPr>
            <p:cNvSpPr/>
            <p:nvPr/>
          </p:nvSpPr>
          <p:spPr>
            <a:xfrm>
              <a:off x="9797002" y="3489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6" name="Oval 285">
              <a:extLst>
                <a:ext uri="{FF2B5EF4-FFF2-40B4-BE49-F238E27FC236}">
                  <a16:creationId xmlns:a16="http://schemas.microsoft.com/office/drawing/2014/main" id="{3499CF1C-DE0B-4998-9F8F-F9BBB6CFDABC}"/>
                </a:ext>
              </a:extLst>
            </p:cNvPr>
            <p:cNvSpPr/>
            <p:nvPr/>
          </p:nvSpPr>
          <p:spPr>
            <a:xfrm>
              <a:off x="10048462" y="3489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7" name="Oval 286">
              <a:extLst>
                <a:ext uri="{FF2B5EF4-FFF2-40B4-BE49-F238E27FC236}">
                  <a16:creationId xmlns:a16="http://schemas.microsoft.com/office/drawing/2014/main" id="{85EFFCB1-5153-404B-92A0-58FBE3581192}"/>
                </a:ext>
              </a:extLst>
            </p:cNvPr>
            <p:cNvSpPr/>
            <p:nvPr/>
          </p:nvSpPr>
          <p:spPr>
            <a:xfrm>
              <a:off x="853970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8" name="Oval 287">
              <a:extLst>
                <a:ext uri="{FF2B5EF4-FFF2-40B4-BE49-F238E27FC236}">
                  <a16:creationId xmlns:a16="http://schemas.microsoft.com/office/drawing/2014/main" id="{B9F6CAB5-9D76-4802-9855-55F8F043D13E}"/>
                </a:ext>
              </a:extLst>
            </p:cNvPr>
            <p:cNvSpPr/>
            <p:nvPr/>
          </p:nvSpPr>
          <p:spPr>
            <a:xfrm>
              <a:off x="853970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9" name="Oval 288">
              <a:extLst>
                <a:ext uri="{FF2B5EF4-FFF2-40B4-BE49-F238E27FC236}">
                  <a16:creationId xmlns:a16="http://schemas.microsoft.com/office/drawing/2014/main" id="{28832E73-1B95-4A06-A02D-CBE59D009E3D}"/>
                </a:ext>
              </a:extLst>
            </p:cNvPr>
            <p:cNvSpPr/>
            <p:nvPr/>
          </p:nvSpPr>
          <p:spPr>
            <a:xfrm>
              <a:off x="853970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0" name="Oval 289">
              <a:extLst>
                <a:ext uri="{FF2B5EF4-FFF2-40B4-BE49-F238E27FC236}">
                  <a16:creationId xmlns:a16="http://schemas.microsoft.com/office/drawing/2014/main" id="{978D538B-0090-4A09-9DAC-A79198E96971}"/>
                </a:ext>
              </a:extLst>
            </p:cNvPr>
            <p:cNvSpPr/>
            <p:nvPr/>
          </p:nvSpPr>
          <p:spPr>
            <a:xfrm>
              <a:off x="828824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1" name="Oval 290">
              <a:extLst>
                <a:ext uri="{FF2B5EF4-FFF2-40B4-BE49-F238E27FC236}">
                  <a16:creationId xmlns:a16="http://schemas.microsoft.com/office/drawing/2014/main" id="{F7B6F361-32B5-47EC-8E02-5D0821CC2E9A}"/>
                </a:ext>
              </a:extLst>
            </p:cNvPr>
            <p:cNvSpPr/>
            <p:nvPr/>
          </p:nvSpPr>
          <p:spPr>
            <a:xfrm>
              <a:off x="828824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2" name="Oval 291">
              <a:extLst>
                <a:ext uri="{FF2B5EF4-FFF2-40B4-BE49-F238E27FC236}">
                  <a16:creationId xmlns:a16="http://schemas.microsoft.com/office/drawing/2014/main" id="{CE9CFA2C-6EBB-4B01-9385-2FE890A0429D}"/>
                </a:ext>
              </a:extLst>
            </p:cNvPr>
            <p:cNvSpPr/>
            <p:nvPr/>
          </p:nvSpPr>
          <p:spPr>
            <a:xfrm>
              <a:off x="828824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3" name="Oval 292">
              <a:extLst>
                <a:ext uri="{FF2B5EF4-FFF2-40B4-BE49-F238E27FC236}">
                  <a16:creationId xmlns:a16="http://schemas.microsoft.com/office/drawing/2014/main" id="{87CA9D4F-BB99-4D09-BF96-011FDB75DBEE}"/>
                </a:ext>
              </a:extLst>
            </p:cNvPr>
            <p:cNvSpPr/>
            <p:nvPr/>
          </p:nvSpPr>
          <p:spPr>
            <a:xfrm>
              <a:off x="9545542" y="248835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4" name="Oval 293">
              <a:extLst>
                <a:ext uri="{FF2B5EF4-FFF2-40B4-BE49-F238E27FC236}">
                  <a16:creationId xmlns:a16="http://schemas.microsoft.com/office/drawing/2014/main" id="{5121F16F-0FD8-4FAD-897F-0B3B280DB3A8}"/>
                </a:ext>
              </a:extLst>
            </p:cNvPr>
            <p:cNvSpPr/>
            <p:nvPr/>
          </p:nvSpPr>
          <p:spPr>
            <a:xfrm>
              <a:off x="9797002" y="248835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5" name="Oval 294">
              <a:extLst>
                <a:ext uri="{FF2B5EF4-FFF2-40B4-BE49-F238E27FC236}">
                  <a16:creationId xmlns:a16="http://schemas.microsoft.com/office/drawing/2014/main" id="{A64D9C3A-6308-4CD2-9CD0-8A90FA1108BC}"/>
                </a:ext>
              </a:extLst>
            </p:cNvPr>
            <p:cNvSpPr/>
            <p:nvPr/>
          </p:nvSpPr>
          <p:spPr>
            <a:xfrm>
              <a:off x="10048462" y="248835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6" name="Oval 295">
              <a:extLst>
                <a:ext uri="{FF2B5EF4-FFF2-40B4-BE49-F238E27FC236}">
                  <a16:creationId xmlns:a16="http://schemas.microsoft.com/office/drawing/2014/main" id="{100BD4A2-1635-4468-BAC4-402817442529}"/>
                </a:ext>
              </a:extLst>
            </p:cNvPr>
            <p:cNvSpPr/>
            <p:nvPr/>
          </p:nvSpPr>
          <p:spPr>
            <a:xfrm>
              <a:off x="9545542" y="273981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7" name="Oval 296">
              <a:extLst>
                <a:ext uri="{FF2B5EF4-FFF2-40B4-BE49-F238E27FC236}">
                  <a16:creationId xmlns:a16="http://schemas.microsoft.com/office/drawing/2014/main" id="{A7B4B6B3-A1AC-4877-B1A7-69D76B55B8D1}"/>
                </a:ext>
              </a:extLst>
            </p:cNvPr>
            <p:cNvSpPr/>
            <p:nvPr/>
          </p:nvSpPr>
          <p:spPr>
            <a:xfrm>
              <a:off x="9797002" y="273981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8" name="Oval 297">
              <a:extLst>
                <a:ext uri="{FF2B5EF4-FFF2-40B4-BE49-F238E27FC236}">
                  <a16:creationId xmlns:a16="http://schemas.microsoft.com/office/drawing/2014/main" id="{B2DD2D77-49A5-4462-9681-55C5B2A7B7A7}"/>
                </a:ext>
              </a:extLst>
            </p:cNvPr>
            <p:cNvSpPr/>
            <p:nvPr/>
          </p:nvSpPr>
          <p:spPr>
            <a:xfrm>
              <a:off x="10048462" y="273981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sp>
        <p:nvSpPr>
          <p:cNvPr id="326" name="Freeform: Shape 325">
            <a:extLst>
              <a:ext uri="{FF2B5EF4-FFF2-40B4-BE49-F238E27FC236}">
                <a16:creationId xmlns:a16="http://schemas.microsoft.com/office/drawing/2014/main" id="{F6625537-35F9-4BC5-9A63-FE668601E622}"/>
              </a:ext>
            </a:extLst>
          </p:cNvPr>
          <p:cNvSpPr/>
          <p:nvPr/>
        </p:nvSpPr>
        <p:spPr>
          <a:xfrm>
            <a:off x="6706683" y="3061097"/>
            <a:ext cx="200764" cy="200586"/>
          </a:xfrm>
          <a:custGeom>
            <a:avLst/>
            <a:gdLst>
              <a:gd name="connsiteX0" fmla="*/ 0 w 401324"/>
              <a:gd name="connsiteY0" fmla="*/ 200662 h 400967"/>
              <a:gd name="connsiteX1" fmla="*/ 200662 w 401324"/>
              <a:gd name="connsiteY1" fmla="*/ 0 h 400967"/>
              <a:gd name="connsiteX2" fmla="*/ 401325 w 401324"/>
              <a:gd name="connsiteY2" fmla="*/ 200662 h 400967"/>
              <a:gd name="connsiteX3" fmla="*/ 201020 w 401324"/>
              <a:gd name="connsiteY3" fmla="*/ 400967 h 400967"/>
              <a:gd name="connsiteX4" fmla="*/ 715 w 401324"/>
              <a:gd name="connsiteY4" fmla="*/ 200662 h 400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324" h="400967">
                <a:moveTo>
                  <a:pt x="0" y="200662"/>
                </a:moveTo>
                <a:cubicBezTo>
                  <a:pt x="0" y="89840"/>
                  <a:pt x="89840" y="0"/>
                  <a:pt x="200662" y="0"/>
                </a:cubicBezTo>
                <a:cubicBezTo>
                  <a:pt x="311485" y="0"/>
                  <a:pt x="401325" y="89840"/>
                  <a:pt x="401325" y="200662"/>
                </a:cubicBezTo>
                <a:cubicBezTo>
                  <a:pt x="401325" y="311288"/>
                  <a:pt x="311646" y="400967"/>
                  <a:pt x="201020" y="400967"/>
                </a:cubicBezTo>
                <a:cubicBezTo>
                  <a:pt x="90395" y="400967"/>
                  <a:pt x="715" y="311288"/>
                  <a:pt x="715" y="200662"/>
                </a:cubicBezTo>
                <a:close/>
              </a:path>
            </a:pathLst>
          </a:custGeom>
          <a:solidFill>
            <a:srgbClr val="00BCE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327" name="Freeform: Shape 326">
            <a:extLst>
              <a:ext uri="{FF2B5EF4-FFF2-40B4-BE49-F238E27FC236}">
                <a16:creationId xmlns:a16="http://schemas.microsoft.com/office/drawing/2014/main" id="{3A9665C3-07BB-458C-9008-43AD76AC59FA}"/>
              </a:ext>
            </a:extLst>
          </p:cNvPr>
          <p:cNvSpPr/>
          <p:nvPr/>
        </p:nvSpPr>
        <p:spPr>
          <a:xfrm>
            <a:off x="6641678" y="3047214"/>
            <a:ext cx="200406" cy="200406"/>
          </a:xfrm>
          <a:custGeom>
            <a:avLst/>
            <a:gdLst>
              <a:gd name="connsiteX0" fmla="*/ 0 w 400609"/>
              <a:gd name="connsiteY0" fmla="*/ 200305 h 400609"/>
              <a:gd name="connsiteX1" fmla="*/ 200305 w 400609"/>
              <a:gd name="connsiteY1" fmla="*/ 0 h 400609"/>
              <a:gd name="connsiteX2" fmla="*/ 400609 w 400609"/>
              <a:gd name="connsiteY2" fmla="*/ 200305 h 400609"/>
              <a:gd name="connsiteX3" fmla="*/ 200305 w 400609"/>
              <a:gd name="connsiteY3" fmla="*/ 400609 h 400609"/>
              <a:gd name="connsiteX4" fmla="*/ 0 w 400609"/>
              <a:gd name="connsiteY4" fmla="*/ 200305 h 400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09" h="400609">
                <a:moveTo>
                  <a:pt x="0" y="200305"/>
                </a:moveTo>
                <a:cubicBezTo>
                  <a:pt x="0" y="89679"/>
                  <a:pt x="89679" y="0"/>
                  <a:pt x="200305" y="0"/>
                </a:cubicBezTo>
                <a:cubicBezTo>
                  <a:pt x="310930" y="0"/>
                  <a:pt x="400609" y="89679"/>
                  <a:pt x="400609" y="200305"/>
                </a:cubicBezTo>
                <a:cubicBezTo>
                  <a:pt x="400609" y="310930"/>
                  <a:pt x="310930" y="400609"/>
                  <a:pt x="200305" y="400609"/>
                </a:cubicBezTo>
                <a:cubicBezTo>
                  <a:pt x="89679" y="400609"/>
                  <a:pt x="0" y="310930"/>
                  <a:pt x="0" y="200305"/>
                </a:cubicBezTo>
                <a:close/>
              </a:path>
            </a:pathLst>
          </a:custGeom>
          <a:noFill/>
          <a:ln w="7144" cap="flat">
            <a:solidFill>
              <a:srgbClr val="0D274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329" name="Oval 328">
            <a:extLst>
              <a:ext uri="{FF2B5EF4-FFF2-40B4-BE49-F238E27FC236}">
                <a16:creationId xmlns:a16="http://schemas.microsoft.com/office/drawing/2014/main" id="{ACF7EF2D-4923-4629-A746-8DC1EFFBCB30}"/>
              </a:ext>
            </a:extLst>
          </p:cNvPr>
          <p:cNvSpPr/>
          <p:nvPr/>
        </p:nvSpPr>
        <p:spPr>
          <a:xfrm>
            <a:off x="2926892" y="1836421"/>
            <a:ext cx="1453896" cy="1453896"/>
          </a:xfrm>
          <a:prstGeom prst="ellipse">
            <a:avLst/>
          </a:prstGeom>
          <a:noFill/>
          <a:ln w="9525" cap="rnd">
            <a:solidFill>
              <a:schemeClr val="accent3"/>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0" name="Oval 329">
            <a:extLst>
              <a:ext uri="{FF2B5EF4-FFF2-40B4-BE49-F238E27FC236}">
                <a16:creationId xmlns:a16="http://schemas.microsoft.com/office/drawing/2014/main" id="{8C554165-CFFA-4692-8FF9-8D87D6F1540A}"/>
              </a:ext>
            </a:extLst>
          </p:cNvPr>
          <p:cNvSpPr/>
          <p:nvPr/>
        </p:nvSpPr>
        <p:spPr>
          <a:xfrm>
            <a:off x="7674024" y="3852863"/>
            <a:ext cx="1528480" cy="1528480"/>
          </a:xfrm>
          <a:prstGeom prst="ellipse">
            <a:avLst/>
          </a:prstGeom>
          <a:solidFill>
            <a:schemeClr val="bg2"/>
          </a:solidFill>
          <a:ln w="9525" cap="rnd">
            <a:solidFill>
              <a:schemeClr val="accent3"/>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endParaRPr lang="en-US" sz="1200" dirty="0"/>
          </a:p>
        </p:txBody>
      </p:sp>
      <p:grpSp>
        <p:nvGrpSpPr>
          <p:cNvPr id="342" name="Group 341">
            <a:extLst>
              <a:ext uri="{FF2B5EF4-FFF2-40B4-BE49-F238E27FC236}">
                <a16:creationId xmlns:a16="http://schemas.microsoft.com/office/drawing/2014/main" id="{80E7E37E-1DAF-42EB-90FF-180DF8D871D3}"/>
              </a:ext>
            </a:extLst>
          </p:cNvPr>
          <p:cNvGrpSpPr/>
          <p:nvPr/>
        </p:nvGrpSpPr>
        <p:grpSpPr>
          <a:xfrm>
            <a:off x="9558528" y="3602439"/>
            <a:ext cx="2337045" cy="2272680"/>
            <a:chOff x="9765771" y="3773889"/>
            <a:chExt cx="2129802" cy="2071145"/>
          </a:xfrm>
        </p:grpSpPr>
        <p:sp>
          <p:nvSpPr>
            <p:cNvPr id="343" name="Google Shape;2115;p430">
              <a:extLst>
                <a:ext uri="{FF2B5EF4-FFF2-40B4-BE49-F238E27FC236}">
                  <a16:creationId xmlns:a16="http://schemas.microsoft.com/office/drawing/2014/main" id="{34AA91FE-BCA8-4F30-A53D-61366190A8E6}"/>
                </a:ext>
              </a:extLst>
            </p:cNvPr>
            <p:cNvSpPr txBox="1"/>
            <p:nvPr/>
          </p:nvSpPr>
          <p:spPr>
            <a:xfrm>
              <a:off x="9765771" y="5620647"/>
              <a:ext cx="1872316" cy="224387"/>
            </a:xfrm>
            <a:prstGeom prst="rect">
              <a:avLst/>
            </a:prstGeom>
            <a:noFill/>
            <a:ln>
              <a:noFill/>
            </a:ln>
          </p:spPr>
          <p:txBody>
            <a:bodyPr spcFirstLastPara="1" wrap="square" lIns="0" tIns="0" rIns="0" bIns="0" anchor="t" anchorCtr="0">
              <a:spAutoFit/>
            </a:bodyPr>
            <a:lstStyle/>
            <a:p>
              <a:pPr lvl="0" algn="ctr">
                <a:buClr>
                  <a:srgbClr val="000000"/>
                </a:buClr>
                <a:buSzPts val="1400"/>
              </a:pPr>
              <a:r>
                <a:rPr lang="en-IN" sz="1600" dirty="0">
                  <a:solidFill>
                    <a:schemeClr val="tx2"/>
                  </a:solidFill>
                  <a:sym typeface="Helvetica Neue"/>
                </a:rPr>
                <a:t>Corporate Network</a:t>
              </a:r>
            </a:p>
          </p:txBody>
        </p:sp>
        <p:grpSp>
          <p:nvGrpSpPr>
            <p:cNvPr id="344" name="Group 343">
              <a:extLst>
                <a:ext uri="{FF2B5EF4-FFF2-40B4-BE49-F238E27FC236}">
                  <a16:creationId xmlns:a16="http://schemas.microsoft.com/office/drawing/2014/main" id="{B6358970-599B-486B-B5A2-13B0DD2C545D}"/>
                </a:ext>
              </a:extLst>
            </p:cNvPr>
            <p:cNvGrpSpPr/>
            <p:nvPr/>
          </p:nvGrpSpPr>
          <p:grpSpPr>
            <a:xfrm>
              <a:off x="9789030" y="3773889"/>
              <a:ext cx="2106543" cy="1807488"/>
              <a:chOff x="9789030" y="3558266"/>
              <a:chExt cx="2106543" cy="1807488"/>
            </a:xfrm>
          </p:grpSpPr>
          <p:sp>
            <p:nvSpPr>
              <p:cNvPr id="345" name="Rectangle: Rounded Corners 344">
                <a:extLst>
                  <a:ext uri="{FF2B5EF4-FFF2-40B4-BE49-F238E27FC236}">
                    <a16:creationId xmlns:a16="http://schemas.microsoft.com/office/drawing/2014/main" id="{C5AFA2EB-FD2F-4A2D-8CF3-BD604AF4FF91}"/>
                  </a:ext>
                </a:extLst>
              </p:cNvPr>
              <p:cNvSpPr/>
              <p:nvPr/>
            </p:nvSpPr>
            <p:spPr>
              <a:xfrm>
                <a:off x="10801350" y="3558266"/>
                <a:ext cx="843087" cy="856743"/>
              </a:xfrm>
              <a:prstGeom prst="roundRect">
                <a:avLst>
                  <a:gd name="adj" fmla="val 5623"/>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46" name="Group 345">
                <a:extLst>
                  <a:ext uri="{FF2B5EF4-FFF2-40B4-BE49-F238E27FC236}">
                    <a16:creationId xmlns:a16="http://schemas.microsoft.com/office/drawing/2014/main" id="{064BBF23-149A-4E94-8B06-0CE5D92F8975}"/>
                  </a:ext>
                </a:extLst>
              </p:cNvPr>
              <p:cNvGrpSpPr/>
              <p:nvPr/>
            </p:nvGrpSpPr>
            <p:grpSpPr>
              <a:xfrm>
                <a:off x="9789030" y="5161319"/>
                <a:ext cx="1743734" cy="204435"/>
                <a:chOff x="3500791" y="3888237"/>
                <a:chExt cx="1743734" cy="204435"/>
              </a:xfrm>
            </p:grpSpPr>
            <p:sp>
              <p:nvSpPr>
                <p:cNvPr id="353" name="Freeform: Shape 352">
                  <a:extLst>
                    <a:ext uri="{FF2B5EF4-FFF2-40B4-BE49-F238E27FC236}">
                      <a16:creationId xmlns:a16="http://schemas.microsoft.com/office/drawing/2014/main" id="{A7CF8E8C-1E89-4CB7-96D6-467363C33B4C}"/>
                    </a:ext>
                  </a:extLst>
                </p:cNvPr>
                <p:cNvSpPr/>
                <p:nvPr/>
              </p:nvSpPr>
              <p:spPr>
                <a:xfrm rot="1833945">
                  <a:off x="3538962"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54" name="Freeform: Shape 353">
                  <a:extLst>
                    <a:ext uri="{FF2B5EF4-FFF2-40B4-BE49-F238E27FC236}">
                      <a16:creationId xmlns:a16="http://schemas.microsoft.com/office/drawing/2014/main" id="{1BFB0FA9-5077-4486-B401-2AA3BBB7A87D}"/>
                    </a:ext>
                  </a:extLst>
                </p:cNvPr>
                <p:cNvSpPr/>
                <p:nvPr/>
              </p:nvSpPr>
              <p:spPr>
                <a:xfrm rot="1833945">
                  <a:off x="3618096"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55" name="Freeform: Shape 354">
                  <a:extLst>
                    <a:ext uri="{FF2B5EF4-FFF2-40B4-BE49-F238E27FC236}">
                      <a16:creationId xmlns:a16="http://schemas.microsoft.com/office/drawing/2014/main" id="{5EC075EE-672C-4024-898E-278D2DB7DEEC}"/>
                    </a:ext>
                  </a:extLst>
                </p:cNvPr>
                <p:cNvSpPr/>
                <p:nvPr/>
              </p:nvSpPr>
              <p:spPr>
                <a:xfrm rot="1833945">
                  <a:off x="3697233" y="3982514"/>
                  <a:ext cx="443847" cy="5492"/>
                </a:xfrm>
                <a:custGeom>
                  <a:avLst/>
                  <a:gdLst>
                    <a:gd name="connsiteX0" fmla="*/ 0 w 443847"/>
                    <a:gd name="connsiteY0" fmla="*/ 5492 h 5492"/>
                    <a:gd name="connsiteX1" fmla="*/ 9298 w 443847"/>
                    <a:gd name="connsiteY1" fmla="*/ 0 h 5492"/>
                    <a:gd name="connsiteX2" fmla="*/ 443847 w 443847"/>
                    <a:gd name="connsiteY2" fmla="*/ 1 h 5492"/>
                    <a:gd name="connsiteX3" fmla="*/ 434549 w 443847"/>
                    <a:gd name="connsiteY3" fmla="*/ 5492 h 5492"/>
                    <a:gd name="connsiteX4" fmla="*/ 0 w 443847"/>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2">
                      <a:moveTo>
                        <a:pt x="0" y="5492"/>
                      </a:moveTo>
                      <a:lnTo>
                        <a:pt x="9298" y="0"/>
                      </a:lnTo>
                      <a:lnTo>
                        <a:pt x="443847" y="1"/>
                      </a:lnTo>
                      <a:lnTo>
                        <a:pt x="434549" y="5492"/>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56" name="Freeform: Shape 355">
                  <a:extLst>
                    <a:ext uri="{FF2B5EF4-FFF2-40B4-BE49-F238E27FC236}">
                      <a16:creationId xmlns:a16="http://schemas.microsoft.com/office/drawing/2014/main" id="{0504BD2D-B212-4991-B3E9-22499935BB5F}"/>
                    </a:ext>
                  </a:extLst>
                </p:cNvPr>
                <p:cNvSpPr/>
                <p:nvPr/>
              </p:nvSpPr>
              <p:spPr>
                <a:xfrm rot="1833945">
                  <a:off x="3776364"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50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50"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57" name="Freeform: Shape 356">
                  <a:extLst>
                    <a:ext uri="{FF2B5EF4-FFF2-40B4-BE49-F238E27FC236}">
                      <a16:creationId xmlns:a16="http://schemas.microsoft.com/office/drawing/2014/main" id="{45E103AF-282F-41AA-A0F6-5B5E17F74022}"/>
                    </a:ext>
                  </a:extLst>
                </p:cNvPr>
                <p:cNvSpPr/>
                <p:nvPr/>
              </p:nvSpPr>
              <p:spPr>
                <a:xfrm rot="1833945">
                  <a:off x="3855500"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58" name="Freeform: Shape 357">
                  <a:extLst>
                    <a:ext uri="{FF2B5EF4-FFF2-40B4-BE49-F238E27FC236}">
                      <a16:creationId xmlns:a16="http://schemas.microsoft.com/office/drawing/2014/main" id="{EF87CEFB-F53A-4726-A10D-E09512422F0A}"/>
                    </a:ext>
                  </a:extLst>
                </p:cNvPr>
                <p:cNvSpPr/>
                <p:nvPr/>
              </p:nvSpPr>
              <p:spPr>
                <a:xfrm rot="1833945">
                  <a:off x="3934634" y="3982514"/>
                  <a:ext cx="443847" cy="5492"/>
                </a:xfrm>
                <a:custGeom>
                  <a:avLst/>
                  <a:gdLst>
                    <a:gd name="connsiteX0" fmla="*/ 0 w 443847"/>
                    <a:gd name="connsiteY0" fmla="*/ 5492 h 5492"/>
                    <a:gd name="connsiteX1" fmla="*/ 9298 w 443847"/>
                    <a:gd name="connsiteY1" fmla="*/ 0 h 5492"/>
                    <a:gd name="connsiteX2" fmla="*/ 443847 w 443847"/>
                    <a:gd name="connsiteY2" fmla="*/ 0 h 5492"/>
                    <a:gd name="connsiteX3" fmla="*/ 434549 w 443847"/>
                    <a:gd name="connsiteY3" fmla="*/ 5491 h 5492"/>
                    <a:gd name="connsiteX4" fmla="*/ 0 w 443847"/>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2">
                      <a:moveTo>
                        <a:pt x="0" y="5492"/>
                      </a:moveTo>
                      <a:lnTo>
                        <a:pt x="9298" y="0"/>
                      </a:lnTo>
                      <a:lnTo>
                        <a:pt x="443847" y="0"/>
                      </a:lnTo>
                      <a:lnTo>
                        <a:pt x="434549"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59" name="Freeform: Shape 358">
                  <a:extLst>
                    <a:ext uri="{FF2B5EF4-FFF2-40B4-BE49-F238E27FC236}">
                      <a16:creationId xmlns:a16="http://schemas.microsoft.com/office/drawing/2014/main" id="{3DF8DC10-89C6-4FE5-BD68-5E32E8FF0F51}"/>
                    </a:ext>
                  </a:extLst>
                </p:cNvPr>
                <p:cNvSpPr/>
                <p:nvPr/>
              </p:nvSpPr>
              <p:spPr>
                <a:xfrm rot="1833945">
                  <a:off x="4013769"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60" name="Freeform: Shape 359">
                  <a:extLst>
                    <a:ext uri="{FF2B5EF4-FFF2-40B4-BE49-F238E27FC236}">
                      <a16:creationId xmlns:a16="http://schemas.microsoft.com/office/drawing/2014/main" id="{666BE88B-0354-419D-8B93-2C4F18A4ED4A}"/>
                    </a:ext>
                  </a:extLst>
                </p:cNvPr>
                <p:cNvSpPr/>
                <p:nvPr/>
              </p:nvSpPr>
              <p:spPr>
                <a:xfrm rot="1833945">
                  <a:off x="4092903"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61" name="Freeform: Shape 360">
                  <a:extLst>
                    <a:ext uri="{FF2B5EF4-FFF2-40B4-BE49-F238E27FC236}">
                      <a16:creationId xmlns:a16="http://schemas.microsoft.com/office/drawing/2014/main" id="{7160FBD1-BA5A-46D7-83FB-16467BF56F1B}"/>
                    </a:ext>
                  </a:extLst>
                </p:cNvPr>
                <p:cNvSpPr/>
                <p:nvPr/>
              </p:nvSpPr>
              <p:spPr>
                <a:xfrm rot="1833945">
                  <a:off x="4172038" y="3982513"/>
                  <a:ext cx="443848" cy="5492"/>
                </a:xfrm>
                <a:custGeom>
                  <a:avLst/>
                  <a:gdLst>
                    <a:gd name="connsiteX0" fmla="*/ 0 w 443848"/>
                    <a:gd name="connsiteY0" fmla="*/ 5492 h 5492"/>
                    <a:gd name="connsiteX1" fmla="*/ 9298 w 443848"/>
                    <a:gd name="connsiteY1" fmla="*/ 0 h 5492"/>
                    <a:gd name="connsiteX2" fmla="*/ 443848 w 443848"/>
                    <a:gd name="connsiteY2" fmla="*/ 0 h 5492"/>
                    <a:gd name="connsiteX3" fmla="*/ 434550 w 443848"/>
                    <a:gd name="connsiteY3" fmla="*/ 5491 h 5492"/>
                    <a:gd name="connsiteX4" fmla="*/ 0 w 443848"/>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2">
                      <a:moveTo>
                        <a:pt x="0" y="5492"/>
                      </a:moveTo>
                      <a:lnTo>
                        <a:pt x="9298" y="0"/>
                      </a:lnTo>
                      <a:lnTo>
                        <a:pt x="443848" y="0"/>
                      </a:lnTo>
                      <a:lnTo>
                        <a:pt x="434550"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62" name="Freeform: Shape 361">
                  <a:extLst>
                    <a:ext uri="{FF2B5EF4-FFF2-40B4-BE49-F238E27FC236}">
                      <a16:creationId xmlns:a16="http://schemas.microsoft.com/office/drawing/2014/main" id="{600B5F55-BEA4-4AB2-9B81-27FBA599E0D1}"/>
                    </a:ext>
                  </a:extLst>
                </p:cNvPr>
                <p:cNvSpPr/>
                <p:nvPr/>
              </p:nvSpPr>
              <p:spPr>
                <a:xfrm rot="1833945">
                  <a:off x="4251171" y="3982513"/>
                  <a:ext cx="443848" cy="5492"/>
                </a:xfrm>
                <a:custGeom>
                  <a:avLst/>
                  <a:gdLst>
                    <a:gd name="connsiteX0" fmla="*/ 0 w 443848"/>
                    <a:gd name="connsiteY0" fmla="*/ 5492 h 5492"/>
                    <a:gd name="connsiteX1" fmla="*/ 9298 w 443848"/>
                    <a:gd name="connsiteY1" fmla="*/ 0 h 5492"/>
                    <a:gd name="connsiteX2" fmla="*/ 443848 w 443848"/>
                    <a:gd name="connsiteY2" fmla="*/ 0 h 5492"/>
                    <a:gd name="connsiteX3" fmla="*/ 434550 w 443848"/>
                    <a:gd name="connsiteY3" fmla="*/ 5492 h 5492"/>
                    <a:gd name="connsiteX4" fmla="*/ 0 w 443848"/>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2">
                      <a:moveTo>
                        <a:pt x="0" y="5492"/>
                      </a:moveTo>
                      <a:lnTo>
                        <a:pt x="9298" y="0"/>
                      </a:lnTo>
                      <a:lnTo>
                        <a:pt x="443848" y="0"/>
                      </a:lnTo>
                      <a:lnTo>
                        <a:pt x="434550" y="5492"/>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63" name="Freeform: Shape 362">
                  <a:extLst>
                    <a:ext uri="{FF2B5EF4-FFF2-40B4-BE49-F238E27FC236}">
                      <a16:creationId xmlns:a16="http://schemas.microsoft.com/office/drawing/2014/main" id="{3A076BEF-6539-44E2-B2DC-20F06570517B}"/>
                    </a:ext>
                  </a:extLst>
                </p:cNvPr>
                <p:cNvSpPr/>
                <p:nvPr/>
              </p:nvSpPr>
              <p:spPr>
                <a:xfrm rot="1833945">
                  <a:off x="4330307"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64" name="Freeform: Shape 363">
                  <a:extLst>
                    <a:ext uri="{FF2B5EF4-FFF2-40B4-BE49-F238E27FC236}">
                      <a16:creationId xmlns:a16="http://schemas.microsoft.com/office/drawing/2014/main" id="{153613F5-A936-41E8-A27D-7358F738B96B}"/>
                    </a:ext>
                  </a:extLst>
                </p:cNvPr>
                <p:cNvSpPr/>
                <p:nvPr/>
              </p:nvSpPr>
              <p:spPr>
                <a:xfrm rot="1833945">
                  <a:off x="4409438" y="3982515"/>
                  <a:ext cx="443848" cy="5491"/>
                </a:xfrm>
                <a:custGeom>
                  <a:avLst/>
                  <a:gdLst>
                    <a:gd name="connsiteX0" fmla="*/ 0 w 443848"/>
                    <a:gd name="connsiteY0" fmla="*/ 5491 h 5491"/>
                    <a:gd name="connsiteX1" fmla="*/ 9298 w 443848"/>
                    <a:gd name="connsiteY1" fmla="*/ 0 h 5491"/>
                    <a:gd name="connsiteX2" fmla="*/ 443848 w 443848"/>
                    <a:gd name="connsiteY2" fmla="*/ 0 h 5491"/>
                    <a:gd name="connsiteX3" fmla="*/ 434550 w 443848"/>
                    <a:gd name="connsiteY3" fmla="*/ 5491 h 5491"/>
                    <a:gd name="connsiteX4" fmla="*/ 0 w 443848"/>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1">
                      <a:moveTo>
                        <a:pt x="0" y="5491"/>
                      </a:moveTo>
                      <a:lnTo>
                        <a:pt x="9298" y="0"/>
                      </a:lnTo>
                      <a:lnTo>
                        <a:pt x="443848" y="0"/>
                      </a:lnTo>
                      <a:lnTo>
                        <a:pt x="434550"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65" name="Freeform: Shape 364">
                  <a:extLst>
                    <a:ext uri="{FF2B5EF4-FFF2-40B4-BE49-F238E27FC236}">
                      <a16:creationId xmlns:a16="http://schemas.microsoft.com/office/drawing/2014/main" id="{9B66F7F5-64CB-4885-9F44-DD255BDF39E9}"/>
                    </a:ext>
                  </a:extLst>
                </p:cNvPr>
                <p:cNvSpPr/>
                <p:nvPr/>
              </p:nvSpPr>
              <p:spPr>
                <a:xfrm rot="1833945">
                  <a:off x="4488576" y="3982514"/>
                  <a:ext cx="443847" cy="5492"/>
                </a:xfrm>
                <a:custGeom>
                  <a:avLst/>
                  <a:gdLst>
                    <a:gd name="connsiteX0" fmla="*/ 0 w 443847"/>
                    <a:gd name="connsiteY0" fmla="*/ 5492 h 5492"/>
                    <a:gd name="connsiteX1" fmla="*/ 9298 w 443847"/>
                    <a:gd name="connsiteY1" fmla="*/ 0 h 5492"/>
                    <a:gd name="connsiteX2" fmla="*/ 443847 w 443847"/>
                    <a:gd name="connsiteY2" fmla="*/ 0 h 5492"/>
                    <a:gd name="connsiteX3" fmla="*/ 434549 w 443847"/>
                    <a:gd name="connsiteY3" fmla="*/ 5491 h 5492"/>
                    <a:gd name="connsiteX4" fmla="*/ 0 w 443847"/>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2">
                      <a:moveTo>
                        <a:pt x="0" y="5492"/>
                      </a:moveTo>
                      <a:lnTo>
                        <a:pt x="9298" y="0"/>
                      </a:lnTo>
                      <a:lnTo>
                        <a:pt x="443847" y="0"/>
                      </a:lnTo>
                      <a:lnTo>
                        <a:pt x="434549"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66" name="Freeform: Shape 365">
                  <a:extLst>
                    <a:ext uri="{FF2B5EF4-FFF2-40B4-BE49-F238E27FC236}">
                      <a16:creationId xmlns:a16="http://schemas.microsoft.com/office/drawing/2014/main" id="{7B187BD4-8735-4812-9667-A75E84F2D837}"/>
                    </a:ext>
                  </a:extLst>
                </p:cNvPr>
                <p:cNvSpPr/>
                <p:nvPr/>
              </p:nvSpPr>
              <p:spPr>
                <a:xfrm rot="1833945">
                  <a:off x="4567706" y="3982513"/>
                  <a:ext cx="443848" cy="5492"/>
                </a:xfrm>
                <a:custGeom>
                  <a:avLst/>
                  <a:gdLst>
                    <a:gd name="connsiteX0" fmla="*/ 0 w 443848"/>
                    <a:gd name="connsiteY0" fmla="*/ 5492 h 5492"/>
                    <a:gd name="connsiteX1" fmla="*/ 9298 w 443848"/>
                    <a:gd name="connsiteY1" fmla="*/ 0 h 5492"/>
                    <a:gd name="connsiteX2" fmla="*/ 443848 w 443848"/>
                    <a:gd name="connsiteY2" fmla="*/ 0 h 5492"/>
                    <a:gd name="connsiteX3" fmla="*/ 434550 w 443848"/>
                    <a:gd name="connsiteY3" fmla="*/ 5492 h 5492"/>
                    <a:gd name="connsiteX4" fmla="*/ 0 w 443848"/>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2">
                      <a:moveTo>
                        <a:pt x="0" y="5492"/>
                      </a:moveTo>
                      <a:lnTo>
                        <a:pt x="9298" y="0"/>
                      </a:lnTo>
                      <a:lnTo>
                        <a:pt x="443848" y="0"/>
                      </a:lnTo>
                      <a:lnTo>
                        <a:pt x="434550" y="5492"/>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67" name="Freeform: Shape 366">
                  <a:extLst>
                    <a:ext uri="{FF2B5EF4-FFF2-40B4-BE49-F238E27FC236}">
                      <a16:creationId xmlns:a16="http://schemas.microsoft.com/office/drawing/2014/main" id="{0738916E-B4BA-4A6C-8610-B2BAF5245A46}"/>
                    </a:ext>
                  </a:extLst>
                </p:cNvPr>
                <p:cNvSpPr/>
                <p:nvPr/>
              </p:nvSpPr>
              <p:spPr>
                <a:xfrm rot="1833945">
                  <a:off x="4646843"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68" name="Freeform: Shape 367">
                  <a:extLst>
                    <a:ext uri="{FF2B5EF4-FFF2-40B4-BE49-F238E27FC236}">
                      <a16:creationId xmlns:a16="http://schemas.microsoft.com/office/drawing/2014/main" id="{AD56A763-CA84-4FA7-AE53-E833E3C6F273}"/>
                    </a:ext>
                  </a:extLst>
                </p:cNvPr>
                <p:cNvSpPr/>
                <p:nvPr/>
              </p:nvSpPr>
              <p:spPr>
                <a:xfrm rot="1833945">
                  <a:off x="4725974" y="3982515"/>
                  <a:ext cx="443848" cy="5491"/>
                </a:xfrm>
                <a:custGeom>
                  <a:avLst/>
                  <a:gdLst>
                    <a:gd name="connsiteX0" fmla="*/ 0 w 443848"/>
                    <a:gd name="connsiteY0" fmla="*/ 5491 h 5491"/>
                    <a:gd name="connsiteX1" fmla="*/ 9298 w 443848"/>
                    <a:gd name="connsiteY1" fmla="*/ 0 h 5491"/>
                    <a:gd name="connsiteX2" fmla="*/ 443848 w 443848"/>
                    <a:gd name="connsiteY2" fmla="*/ 0 h 5491"/>
                    <a:gd name="connsiteX3" fmla="*/ 434550 w 443848"/>
                    <a:gd name="connsiteY3" fmla="*/ 5491 h 5491"/>
                    <a:gd name="connsiteX4" fmla="*/ 0 w 443848"/>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1">
                      <a:moveTo>
                        <a:pt x="0" y="5491"/>
                      </a:moveTo>
                      <a:lnTo>
                        <a:pt x="9298" y="0"/>
                      </a:lnTo>
                      <a:lnTo>
                        <a:pt x="443848" y="0"/>
                      </a:lnTo>
                      <a:lnTo>
                        <a:pt x="434550"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69" name="Freeform: Shape 368">
                  <a:extLst>
                    <a:ext uri="{FF2B5EF4-FFF2-40B4-BE49-F238E27FC236}">
                      <a16:creationId xmlns:a16="http://schemas.microsoft.com/office/drawing/2014/main" id="{D3C2D849-43E5-4056-828F-4D3D34D16800}"/>
                    </a:ext>
                  </a:extLst>
                </p:cNvPr>
                <p:cNvSpPr/>
                <p:nvPr/>
              </p:nvSpPr>
              <p:spPr>
                <a:xfrm rot="1833945">
                  <a:off x="4805441" y="3981302"/>
                  <a:ext cx="439084" cy="5492"/>
                </a:xfrm>
                <a:custGeom>
                  <a:avLst/>
                  <a:gdLst>
                    <a:gd name="connsiteX0" fmla="*/ 0 w 439084"/>
                    <a:gd name="connsiteY0" fmla="*/ 5492 h 5492"/>
                    <a:gd name="connsiteX1" fmla="*/ 9298 w 439084"/>
                    <a:gd name="connsiteY1" fmla="*/ 0 h 5492"/>
                    <a:gd name="connsiteX2" fmla="*/ 437423 w 439084"/>
                    <a:gd name="connsiteY2" fmla="*/ 0 h 5492"/>
                    <a:gd name="connsiteX3" fmla="*/ 439084 w 439084"/>
                    <a:gd name="connsiteY3" fmla="*/ 2813 h 5492"/>
                    <a:gd name="connsiteX4" fmla="*/ 434549 w 439084"/>
                    <a:gd name="connsiteY4" fmla="*/ 5491 h 5492"/>
                    <a:gd name="connsiteX5" fmla="*/ 0 w 439084"/>
                    <a:gd name="connsiteY5" fmla="*/ 5492 h 5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084" h="5492">
                      <a:moveTo>
                        <a:pt x="0" y="5492"/>
                      </a:moveTo>
                      <a:lnTo>
                        <a:pt x="9298" y="0"/>
                      </a:lnTo>
                      <a:lnTo>
                        <a:pt x="437423" y="0"/>
                      </a:lnTo>
                      <a:lnTo>
                        <a:pt x="439084" y="2813"/>
                      </a:lnTo>
                      <a:lnTo>
                        <a:pt x="434549"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70" name="Freeform: Shape 369">
                  <a:extLst>
                    <a:ext uri="{FF2B5EF4-FFF2-40B4-BE49-F238E27FC236}">
                      <a16:creationId xmlns:a16="http://schemas.microsoft.com/office/drawing/2014/main" id="{F85A2630-F501-4146-9EFF-CAADA9C3DCE6}"/>
                    </a:ext>
                  </a:extLst>
                </p:cNvPr>
                <p:cNvSpPr/>
                <p:nvPr/>
              </p:nvSpPr>
              <p:spPr>
                <a:xfrm rot="1833945">
                  <a:off x="4890848" y="3958336"/>
                  <a:ext cx="348764" cy="5492"/>
                </a:xfrm>
                <a:custGeom>
                  <a:avLst/>
                  <a:gdLst>
                    <a:gd name="connsiteX0" fmla="*/ 0 w 348764"/>
                    <a:gd name="connsiteY0" fmla="*/ 5492 h 5492"/>
                    <a:gd name="connsiteX1" fmla="*/ 9298 w 348764"/>
                    <a:gd name="connsiteY1" fmla="*/ 0 h 5492"/>
                    <a:gd name="connsiteX2" fmla="*/ 345521 w 348764"/>
                    <a:gd name="connsiteY2" fmla="*/ 0 h 5492"/>
                    <a:gd name="connsiteX3" fmla="*/ 348764 w 348764"/>
                    <a:gd name="connsiteY3" fmla="*/ 5491 h 5492"/>
                    <a:gd name="connsiteX4" fmla="*/ 0 w 348764"/>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64" h="5492">
                      <a:moveTo>
                        <a:pt x="0" y="5492"/>
                      </a:moveTo>
                      <a:lnTo>
                        <a:pt x="9298" y="0"/>
                      </a:lnTo>
                      <a:lnTo>
                        <a:pt x="345521" y="0"/>
                      </a:lnTo>
                      <a:lnTo>
                        <a:pt x="348764"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71" name="Freeform: Shape 370">
                  <a:extLst>
                    <a:ext uri="{FF2B5EF4-FFF2-40B4-BE49-F238E27FC236}">
                      <a16:creationId xmlns:a16="http://schemas.microsoft.com/office/drawing/2014/main" id="{6F699CA6-4A1D-463F-AC4F-46E77FB568EA}"/>
                    </a:ext>
                  </a:extLst>
                </p:cNvPr>
                <p:cNvSpPr/>
                <p:nvPr/>
              </p:nvSpPr>
              <p:spPr>
                <a:xfrm rot="1833945">
                  <a:off x="4976371" y="3934970"/>
                  <a:ext cx="256857" cy="5491"/>
                </a:xfrm>
                <a:custGeom>
                  <a:avLst/>
                  <a:gdLst>
                    <a:gd name="connsiteX0" fmla="*/ 0 w 256857"/>
                    <a:gd name="connsiteY0" fmla="*/ 5491 h 5491"/>
                    <a:gd name="connsiteX1" fmla="*/ 9298 w 256857"/>
                    <a:gd name="connsiteY1" fmla="*/ 0 h 5491"/>
                    <a:gd name="connsiteX2" fmla="*/ 253614 w 256857"/>
                    <a:gd name="connsiteY2" fmla="*/ 0 h 5491"/>
                    <a:gd name="connsiteX3" fmla="*/ 256857 w 256857"/>
                    <a:gd name="connsiteY3" fmla="*/ 5491 h 5491"/>
                    <a:gd name="connsiteX4" fmla="*/ 0 w 25685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7" h="5491">
                      <a:moveTo>
                        <a:pt x="0" y="5491"/>
                      </a:moveTo>
                      <a:lnTo>
                        <a:pt x="9298" y="0"/>
                      </a:lnTo>
                      <a:lnTo>
                        <a:pt x="253614" y="0"/>
                      </a:lnTo>
                      <a:lnTo>
                        <a:pt x="256857"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72" name="Freeform: Shape 371">
                  <a:extLst>
                    <a:ext uri="{FF2B5EF4-FFF2-40B4-BE49-F238E27FC236}">
                      <a16:creationId xmlns:a16="http://schemas.microsoft.com/office/drawing/2014/main" id="{8CA809B4-F5CC-4084-ADDE-0ECCE997998D}"/>
                    </a:ext>
                  </a:extLst>
                </p:cNvPr>
                <p:cNvSpPr/>
                <p:nvPr/>
              </p:nvSpPr>
              <p:spPr>
                <a:xfrm rot="1833945">
                  <a:off x="5061888" y="3911603"/>
                  <a:ext cx="164955" cy="5491"/>
                </a:xfrm>
                <a:custGeom>
                  <a:avLst/>
                  <a:gdLst>
                    <a:gd name="connsiteX0" fmla="*/ 0 w 164955"/>
                    <a:gd name="connsiteY0" fmla="*/ 5491 h 5491"/>
                    <a:gd name="connsiteX1" fmla="*/ 9298 w 164955"/>
                    <a:gd name="connsiteY1" fmla="*/ 0 h 5491"/>
                    <a:gd name="connsiteX2" fmla="*/ 161712 w 164955"/>
                    <a:gd name="connsiteY2" fmla="*/ 0 h 5491"/>
                    <a:gd name="connsiteX3" fmla="*/ 164955 w 164955"/>
                    <a:gd name="connsiteY3" fmla="*/ 5491 h 5491"/>
                    <a:gd name="connsiteX4" fmla="*/ 0 w 164955"/>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955" h="5491">
                      <a:moveTo>
                        <a:pt x="0" y="5491"/>
                      </a:moveTo>
                      <a:lnTo>
                        <a:pt x="9298" y="0"/>
                      </a:lnTo>
                      <a:lnTo>
                        <a:pt x="161712" y="0"/>
                      </a:lnTo>
                      <a:lnTo>
                        <a:pt x="164955"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73" name="Freeform: Shape 372">
                  <a:extLst>
                    <a:ext uri="{FF2B5EF4-FFF2-40B4-BE49-F238E27FC236}">
                      <a16:creationId xmlns:a16="http://schemas.microsoft.com/office/drawing/2014/main" id="{557648D3-6F4E-4E9B-92DC-5066BA9FBF1D}"/>
                    </a:ext>
                  </a:extLst>
                </p:cNvPr>
                <p:cNvSpPr/>
                <p:nvPr/>
              </p:nvSpPr>
              <p:spPr>
                <a:xfrm rot="1833945">
                  <a:off x="5147399" y="3888237"/>
                  <a:ext cx="73059" cy="5491"/>
                </a:xfrm>
                <a:custGeom>
                  <a:avLst/>
                  <a:gdLst>
                    <a:gd name="connsiteX0" fmla="*/ 0 w 73059"/>
                    <a:gd name="connsiteY0" fmla="*/ 5491 h 5491"/>
                    <a:gd name="connsiteX1" fmla="*/ 9298 w 73059"/>
                    <a:gd name="connsiteY1" fmla="*/ 0 h 5491"/>
                    <a:gd name="connsiteX2" fmla="*/ 69816 w 73059"/>
                    <a:gd name="connsiteY2" fmla="*/ 0 h 5491"/>
                    <a:gd name="connsiteX3" fmla="*/ 73059 w 73059"/>
                    <a:gd name="connsiteY3" fmla="*/ 5491 h 5491"/>
                    <a:gd name="connsiteX4" fmla="*/ 0 w 73059"/>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059" h="5491">
                      <a:moveTo>
                        <a:pt x="0" y="5491"/>
                      </a:moveTo>
                      <a:lnTo>
                        <a:pt x="9298" y="0"/>
                      </a:lnTo>
                      <a:lnTo>
                        <a:pt x="69816" y="0"/>
                      </a:lnTo>
                      <a:lnTo>
                        <a:pt x="7305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74" name="Freeform: Shape 373">
                  <a:extLst>
                    <a:ext uri="{FF2B5EF4-FFF2-40B4-BE49-F238E27FC236}">
                      <a16:creationId xmlns:a16="http://schemas.microsoft.com/office/drawing/2014/main" id="{3422BFF3-2769-4274-A9DE-D6138FB8688F}"/>
                    </a:ext>
                  </a:extLst>
                </p:cNvPr>
                <p:cNvSpPr/>
                <p:nvPr/>
              </p:nvSpPr>
              <p:spPr>
                <a:xfrm rot="1833945">
                  <a:off x="3500791" y="3993706"/>
                  <a:ext cx="399824" cy="5492"/>
                </a:xfrm>
                <a:custGeom>
                  <a:avLst/>
                  <a:gdLst>
                    <a:gd name="connsiteX0" fmla="*/ 0 w 399824"/>
                    <a:gd name="connsiteY0" fmla="*/ 0 h 5492"/>
                    <a:gd name="connsiteX1" fmla="*/ 399824 w 399824"/>
                    <a:gd name="connsiteY1" fmla="*/ 1 h 5492"/>
                    <a:gd name="connsiteX2" fmla="*/ 390526 w 399824"/>
                    <a:gd name="connsiteY2" fmla="*/ 5492 h 5492"/>
                    <a:gd name="connsiteX3" fmla="*/ 3243 w 399824"/>
                    <a:gd name="connsiteY3" fmla="*/ 5492 h 5492"/>
                    <a:gd name="connsiteX4" fmla="*/ 0 w 399824"/>
                    <a:gd name="connsiteY4" fmla="*/ 0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824" h="5492">
                      <a:moveTo>
                        <a:pt x="0" y="0"/>
                      </a:moveTo>
                      <a:lnTo>
                        <a:pt x="399824" y="1"/>
                      </a:lnTo>
                      <a:lnTo>
                        <a:pt x="390526" y="5492"/>
                      </a:lnTo>
                      <a:lnTo>
                        <a:pt x="3243" y="5492"/>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75" name="Freeform: Shape 374">
                  <a:extLst>
                    <a:ext uri="{FF2B5EF4-FFF2-40B4-BE49-F238E27FC236}">
                      <a16:creationId xmlns:a16="http://schemas.microsoft.com/office/drawing/2014/main" id="{63BE2384-D6DD-482E-A788-E9E00D60D143}"/>
                    </a:ext>
                  </a:extLst>
                </p:cNvPr>
                <p:cNvSpPr/>
                <p:nvPr/>
              </p:nvSpPr>
              <p:spPr>
                <a:xfrm rot="1833945">
                  <a:off x="3507177" y="4017074"/>
                  <a:ext cx="307921" cy="5492"/>
                </a:xfrm>
                <a:custGeom>
                  <a:avLst/>
                  <a:gdLst>
                    <a:gd name="connsiteX0" fmla="*/ 0 w 307921"/>
                    <a:gd name="connsiteY0" fmla="*/ 0 h 5492"/>
                    <a:gd name="connsiteX1" fmla="*/ 307921 w 307921"/>
                    <a:gd name="connsiteY1" fmla="*/ 0 h 5492"/>
                    <a:gd name="connsiteX2" fmla="*/ 298623 w 307921"/>
                    <a:gd name="connsiteY2" fmla="*/ 5492 h 5492"/>
                    <a:gd name="connsiteX3" fmla="*/ 3243 w 307921"/>
                    <a:gd name="connsiteY3" fmla="*/ 5492 h 5492"/>
                    <a:gd name="connsiteX4" fmla="*/ 0 w 307921"/>
                    <a:gd name="connsiteY4" fmla="*/ 0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21" h="5492">
                      <a:moveTo>
                        <a:pt x="0" y="0"/>
                      </a:moveTo>
                      <a:lnTo>
                        <a:pt x="307921" y="0"/>
                      </a:lnTo>
                      <a:lnTo>
                        <a:pt x="298623" y="5492"/>
                      </a:lnTo>
                      <a:lnTo>
                        <a:pt x="3243" y="5492"/>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76" name="Freeform: Shape 375">
                  <a:extLst>
                    <a:ext uri="{FF2B5EF4-FFF2-40B4-BE49-F238E27FC236}">
                      <a16:creationId xmlns:a16="http://schemas.microsoft.com/office/drawing/2014/main" id="{2BCE0F48-2C9C-4C21-9E37-FC5D5FA70D6E}"/>
                    </a:ext>
                  </a:extLst>
                </p:cNvPr>
                <p:cNvSpPr/>
                <p:nvPr/>
              </p:nvSpPr>
              <p:spPr>
                <a:xfrm rot="1833945">
                  <a:off x="3513562" y="4040444"/>
                  <a:ext cx="216015" cy="5491"/>
                </a:xfrm>
                <a:custGeom>
                  <a:avLst/>
                  <a:gdLst>
                    <a:gd name="connsiteX0" fmla="*/ 0 w 216015"/>
                    <a:gd name="connsiteY0" fmla="*/ 0 h 5491"/>
                    <a:gd name="connsiteX1" fmla="*/ 216015 w 216015"/>
                    <a:gd name="connsiteY1" fmla="*/ 0 h 5491"/>
                    <a:gd name="connsiteX2" fmla="*/ 206717 w 216015"/>
                    <a:gd name="connsiteY2" fmla="*/ 5491 h 5491"/>
                    <a:gd name="connsiteX3" fmla="*/ 3243 w 216015"/>
                    <a:gd name="connsiteY3" fmla="*/ 5491 h 5491"/>
                    <a:gd name="connsiteX4" fmla="*/ 0 w 216015"/>
                    <a:gd name="connsiteY4" fmla="*/ 0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15" h="5491">
                      <a:moveTo>
                        <a:pt x="0" y="0"/>
                      </a:moveTo>
                      <a:lnTo>
                        <a:pt x="216015" y="0"/>
                      </a:lnTo>
                      <a:lnTo>
                        <a:pt x="206717" y="5491"/>
                      </a:lnTo>
                      <a:lnTo>
                        <a:pt x="3243" y="5491"/>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77" name="Freeform: Shape 376">
                  <a:extLst>
                    <a:ext uri="{FF2B5EF4-FFF2-40B4-BE49-F238E27FC236}">
                      <a16:creationId xmlns:a16="http://schemas.microsoft.com/office/drawing/2014/main" id="{EE799C82-7C87-414B-8FB0-0A25294B68B6}"/>
                    </a:ext>
                  </a:extLst>
                </p:cNvPr>
                <p:cNvSpPr/>
                <p:nvPr/>
              </p:nvSpPr>
              <p:spPr>
                <a:xfrm rot="1833945">
                  <a:off x="3519946" y="4063813"/>
                  <a:ext cx="124111" cy="5491"/>
                </a:xfrm>
                <a:custGeom>
                  <a:avLst/>
                  <a:gdLst>
                    <a:gd name="connsiteX0" fmla="*/ 0 w 124111"/>
                    <a:gd name="connsiteY0" fmla="*/ 0 h 5491"/>
                    <a:gd name="connsiteX1" fmla="*/ 124111 w 124111"/>
                    <a:gd name="connsiteY1" fmla="*/ 0 h 5491"/>
                    <a:gd name="connsiteX2" fmla="*/ 114813 w 124111"/>
                    <a:gd name="connsiteY2" fmla="*/ 5491 h 5491"/>
                    <a:gd name="connsiteX3" fmla="*/ 3243 w 124111"/>
                    <a:gd name="connsiteY3" fmla="*/ 5491 h 5491"/>
                    <a:gd name="connsiteX4" fmla="*/ 0 w 124111"/>
                    <a:gd name="connsiteY4" fmla="*/ 0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11" h="5491">
                      <a:moveTo>
                        <a:pt x="0" y="0"/>
                      </a:moveTo>
                      <a:lnTo>
                        <a:pt x="124111" y="0"/>
                      </a:lnTo>
                      <a:lnTo>
                        <a:pt x="114813" y="5491"/>
                      </a:lnTo>
                      <a:lnTo>
                        <a:pt x="3243" y="5491"/>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78" name="Freeform: Shape 377">
                  <a:extLst>
                    <a:ext uri="{FF2B5EF4-FFF2-40B4-BE49-F238E27FC236}">
                      <a16:creationId xmlns:a16="http://schemas.microsoft.com/office/drawing/2014/main" id="{7D3F41A6-AD09-43BB-977C-38B1E5045BCC}"/>
                    </a:ext>
                  </a:extLst>
                </p:cNvPr>
                <p:cNvSpPr/>
                <p:nvPr/>
              </p:nvSpPr>
              <p:spPr>
                <a:xfrm rot="1833945">
                  <a:off x="3526331" y="4087181"/>
                  <a:ext cx="32204" cy="5491"/>
                </a:xfrm>
                <a:custGeom>
                  <a:avLst/>
                  <a:gdLst>
                    <a:gd name="connsiteX0" fmla="*/ 0 w 32204"/>
                    <a:gd name="connsiteY0" fmla="*/ 0 h 5491"/>
                    <a:gd name="connsiteX1" fmla="*/ 32204 w 32204"/>
                    <a:gd name="connsiteY1" fmla="*/ 0 h 5491"/>
                    <a:gd name="connsiteX2" fmla="*/ 22906 w 32204"/>
                    <a:gd name="connsiteY2" fmla="*/ 5491 h 5491"/>
                    <a:gd name="connsiteX3" fmla="*/ 3243 w 32204"/>
                    <a:gd name="connsiteY3" fmla="*/ 5491 h 5491"/>
                    <a:gd name="connsiteX4" fmla="*/ 0 w 32204"/>
                    <a:gd name="connsiteY4" fmla="*/ 0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4" h="5491">
                      <a:moveTo>
                        <a:pt x="0" y="0"/>
                      </a:moveTo>
                      <a:lnTo>
                        <a:pt x="32204" y="0"/>
                      </a:lnTo>
                      <a:lnTo>
                        <a:pt x="22906" y="5491"/>
                      </a:lnTo>
                      <a:lnTo>
                        <a:pt x="3243" y="5491"/>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sp>
            <p:nvSpPr>
              <p:cNvPr id="347" name="Oval 294">
                <a:extLst>
                  <a:ext uri="{FF2B5EF4-FFF2-40B4-BE49-F238E27FC236}">
                    <a16:creationId xmlns:a16="http://schemas.microsoft.com/office/drawing/2014/main" id="{487E437C-E7C3-406E-94D3-2294A08A2D71}"/>
                  </a:ext>
                </a:extLst>
              </p:cNvPr>
              <p:cNvSpPr/>
              <p:nvPr/>
            </p:nvSpPr>
            <p:spPr>
              <a:xfrm>
                <a:off x="9849356" y="3707987"/>
                <a:ext cx="1552005" cy="1551998"/>
              </a:xfrm>
              <a:prstGeom prst="ellipse">
                <a:avLst/>
              </a:prstGeom>
              <a:solidFill>
                <a:schemeClr val="accent1">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48" name="Picture 347" descr="A picture containing tower, black, white, clock&#10;&#10;Description automatically generated">
                <a:extLst>
                  <a:ext uri="{FF2B5EF4-FFF2-40B4-BE49-F238E27FC236}">
                    <a16:creationId xmlns:a16="http://schemas.microsoft.com/office/drawing/2014/main" id="{8E8865C7-FC18-4E02-987B-11A675FE806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968690" y="3834787"/>
                <a:ext cx="1384414" cy="1423013"/>
              </a:xfrm>
              <a:prstGeom prst="rect">
                <a:avLst/>
              </a:prstGeom>
            </p:spPr>
          </p:pic>
          <p:grpSp>
            <p:nvGrpSpPr>
              <p:cNvPr id="349" name="Group 348">
                <a:extLst>
                  <a:ext uri="{FF2B5EF4-FFF2-40B4-BE49-F238E27FC236}">
                    <a16:creationId xmlns:a16="http://schemas.microsoft.com/office/drawing/2014/main" id="{2418D438-2678-4AEB-AEBC-49CEDCA683F5}"/>
                  </a:ext>
                </a:extLst>
              </p:cNvPr>
              <p:cNvGrpSpPr/>
              <p:nvPr/>
            </p:nvGrpSpPr>
            <p:grpSpPr>
              <a:xfrm>
                <a:off x="11425861" y="4653427"/>
                <a:ext cx="469712" cy="442001"/>
                <a:chOff x="11417488" y="4500476"/>
                <a:chExt cx="776502" cy="730692"/>
              </a:xfrm>
            </p:grpSpPr>
            <p:sp>
              <p:nvSpPr>
                <p:cNvPr id="350" name="Freeform 25">
                  <a:extLst>
                    <a:ext uri="{FF2B5EF4-FFF2-40B4-BE49-F238E27FC236}">
                      <a16:creationId xmlns:a16="http://schemas.microsoft.com/office/drawing/2014/main" id="{FB13C9B9-352E-4F24-B866-E3CC249B5786}"/>
                    </a:ext>
                  </a:extLst>
                </p:cNvPr>
                <p:cNvSpPr>
                  <a:spLocks noEditPoints="1"/>
                </p:cNvSpPr>
                <p:nvPr/>
              </p:nvSpPr>
              <p:spPr bwMode="auto">
                <a:xfrm>
                  <a:off x="11480492" y="4910496"/>
                  <a:ext cx="325231" cy="320672"/>
                </a:xfrm>
                <a:custGeom>
                  <a:avLst/>
                  <a:gdLst>
                    <a:gd name="T0" fmla="*/ 72 w 88"/>
                    <a:gd name="T1" fmla="*/ 91 h 91"/>
                    <a:gd name="T2" fmla="*/ 15 w 88"/>
                    <a:gd name="T3" fmla="*/ 91 h 91"/>
                    <a:gd name="T4" fmla="*/ 0 w 88"/>
                    <a:gd name="T5" fmla="*/ 75 h 91"/>
                    <a:gd name="T6" fmla="*/ 0 w 88"/>
                    <a:gd name="T7" fmla="*/ 16 h 91"/>
                    <a:gd name="T8" fmla="*/ 15 w 88"/>
                    <a:gd name="T9" fmla="*/ 0 h 91"/>
                    <a:gd name="T10" fmla="*/ 72 w 88"/>
                    <a:gd name="T11" fmla="*/ 0 h 91"/>
                    <a:gd name="T12" fmla="*/ 88 w 88"/>
                    <a:gd name="T13" fmla="*/ 16 h 91"/>
                    <a:gd name="T14" fmla="*/ 88 w 88"/>
                    <a:gd name="T15" fmla="*/ 75 h 91"/>
                    <a:gd name="T16" fmla="*/ 72 w 88"/>
                    <a:gd name="T17" fmla="*/ 91 h 91"/>
                    <a:gd name="T18" fmla="*/ 15 w 88"/>
                    <a:gd name="T19" fmla="*/ 3 h 91"/>
                    <a:gd name="T20" fmla="*/ 3 w 88"/>
                    <a:gd name="T21" fmla="*/ 16 h 91"/>
                    <a:gd name="T22" fmla="*/ 3 w 88"/>
                    <a:gd name="T23" fmla="*/ 75 h 91"/>
                    <a:gd name="T24" fmla="*/ 15 w 88"/>
                    <a:gd name="T25" fmla="*/ 88 h 91"/>
                    <a:gd name="T26" fmla="*/ 72 w 88"/>
                    <a:gd name="T27" fmla="*/ 88 h 91"/>
                    <a:gd name="T28" fmla="*/ 85 w 88"/>
                    <a:gd name="T29" fmla="*/ 75 h 91"/>
                    <a:gd name="T30" fmla="*/ 85 w 88"/>
                    <a:gd name="T31" fmla="*/ 16 h 91"/>
                    <a:gd name="T32" fmla="*/ 72 w 88"/>
                    <a:gd name="T33" fmla="*/ 3 h 91"/>
                    <a:gd name="T34" fmla="*/ 15 w 88"/>
                    <a:gd name="T35" fmla="*/ 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91">
                      <a:moveTo>
                        <a:pt x="72" y="91"/>
                      </a:moveTo>
                      <a:cubicBezTo>
                        <a:pt x="15" y="91"/>
                        <a:pt x="15" y="91"/>
                        <a:pt x="15" y="91"/>
                      </a:cubicBezTo>
                      <a:cubicBezTo>
                        <a:pt x="7" y="91"/>
                        <a:pt x="0" y="84"/>
                        <a:pt x="0" y="75"/>
                      </a:cubicBezTo>
                      <a:cubicBezTo>
                        <a:pt x="0" y="16"/>
                        <a:pt x="0" y="16"/>
                        <a:pt x="0" y="16"/>
                      </a:cubicBezTo>
                      <a:cubicBezTo>
                        <a:pt x="0" y="7"/>
                        <a:pt x="7" y="0"/>
                        <a:pt x="15" y="0"/>
                      </a:cubicBezTo>
                      <a:cubicBezTo>
                        <a:pt x="72" y="0"/>
                        <a:pt x="72" y="0"/>
                        <a:pt x="72" y="0"/>
                      </a:cubicBezTo>
                      <a:cubicBezTo>
                        <a:pt x="81" y="0"/>
                        <a:pt x="88" y="7"/>
                        <a:pt x="88" y="16"/>
                      </a:cubicBezTo>
                      <a:cubicBezTo>
                        <a:pt x="88" y="75"/>
                        <a:pt x="88" y="75"/>
                        <a:pt x="88" y="75"/>
                      </a:cubicBezTo>
                      <a:cubicBezTo>
                        <a:pt x="88" y="84"/>
                        <a:pt x="81" y="91"/>
                        <a:pt x="72" y="91"/>
                      </a:cubicBezTo>
                      <a:close/>
                      <a:moveTo>
                        <a:pt x="15" y="3"/>
                      </a:moveTo>
                      <a:cubicBezTo>
                        <a:pt x="8" y="3"/>
                        <a:pt x="3" y="9"/>
                        <a:pt x="3" y="16"/>
                      </a:cubicBezTo>
                      <a:cubicBezTo>
                        <a:pt x="3" y="75"/>
                        <a:pt x="3" y="75"/>
                        <a:pt x="3" y="75"/>
                      </a:cubicBezTo>
                      <a:cubicBezTo>
                        <a:pt x="3" y="83"/>
                        <a:pt x="8" y="88"/>
                        <a:pt x="15" y="88"/>
                      </a:cubicBezTo>
                      <a:cubicBezTo>
                        <a:pt x="72" y="88"/>
                        <a:pt x="72" y="88"/>
                        <a:pt x="72" y="88"/>
                      </a:cubicBezTo>
                      <a:cubicBezTo>
                        <a:pt x="79" y="88"/>
                        <a:pt x="85" y="83"/>
                        <a:pt x="85" y="75"/>
                      </a:cubicBezTo>
                      <a:cubicBezTo>
                        <a:pt x="85" y="16"/>
                        <a:pt x="85" y="16"/>
                        <a:pt x="85" y="16"/>
                      </a:cubicBezTo>
                      <a:cubicBezTo>
                        <a:pt x="85" y="9"/>
                        <a:pt x="79" y="3"/>
                        <a:pt x="72" y="3"/>
                      </a:cubicBezTo>
                      <a:lnTo>
                        <a:pt x="15" y="3"/>
                      </a:lnTo>
                      <a:close/>
                    </a:path>
                  </a:pathLst>
                </a:custGeom>
                <a:solidFill>
                  <a:srgbClr val="0D274D"/>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ＭＳ Ｐゴシック" charset="0"/>
                  </a:endParaRPr>
                </a:p>
              </p:txBody>
            </p:sp>
            <p:sp>
              <p:nvSpPr>
                <p:cNvPr id="351" name="Freeform 17">
                  <a:extLst>
                    <a:ext uri="{FF2B5EF4-FFF2-40B4-BE49-F238E27FC236}">
                      <a16:creationId xmlns:a16="http://schemas.microsoft.com/office/drawing/2014/main" id="{0371F698-5ECA-4B17-BB21-6EAEEC30CCB4}"/>
                    </a:ext>
                  </a:extLst>
                </p:cNvPr>
                <p:cNvSpPr>
                  <a:spLocks/>
                </p:cNvSpPr>
                <p:nvPr/>
              </p:nvSpPr>
              <p:spPr bwMode="auto">
                <a:xfrm>
                  <a:off x="11750863" y="4837469"/>
                  <a:ext cx="443127" cy="233363"/>
                </a:xfrm>
                <a:custGeom>
                  <a:avLst/>
                  <a:gdLst>
                    <a:gd name="T0" fmla="*/ 61 w 122"/>
                    <a:gd name="T1" fmla="*/ 0 h 62"/>
                    <a:gd name="T2" fmla="*/ 53 w 122"/>
                    <a:gd name="T3" fmla="*/ 3 h 62"/>
                    <a:gd name="T4" fmla="*/ 4 w 122"/>
                    <a:gd name="T5" fmla="*/ 54 h 62"/>
                    <a:gd name="T6" fmla="*/ 8 w 122"/>
                    <a:gd name="T7" fmla="*/ 62 h 62"/>
                    <a:gd name="T8" fmla="*/ 114 w 122"/>
                    <a:gd name="T9" fmla="*/ 62 h 62"/>
                    <a:gd name="T10" fmla="*/ 118 w 122"/>
                    <a:gd name="T11" fmla="*/ 54 h 62"/>
                    <a:gd name="T12" fmla="*/ 69 w 122"/>
                    <a:gd name="T13" fmla="*/ 3 h 62"/>
                    <a:gd name="T14" fmla="*/ 61 w 122"/>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62">
                      <a:moveTo>
                        <a:pt x="61" y="0"/>
                      </a:moveTo>
                      <a:cubicBezTo>
                        <a:pt x="58" y="0"/>
                        <a:pt x="55" y="1"/>
                        <a:pt x="53" y="3"/>
                      </a:cubicBezTo>
                      <a:cubicBezTo>
                        <a:pt x="4" y="54"/>
                        <a:pt x="4" y="54"/>
                        <a:pt x="4" y="54"/>
                      </a:cubicBezTo>
                      <a:cubicBezTo>
                        <a:pt x="0" y="59"/>
                        <a:pt x="1" y="62"/>
                        <a:pt x="8" y="62"/>
                      </a:cubicBezTo>
                      <a:cubicBezTo>
                        <a:pt x="114" y="62"/>
                        <a:pt x="114" y="62"/>
                        <a:pt x="114" y="62"/>
                      </a:cubicBezTo>
                      <a:cubicBezTo>
                        <a:pt x="121" y="62"/>
                        <a:pt x="122" y="59"/>
                        <a:pt x="118" y="54"/>
                      </a:cubicBezTo>
                      <a:cubicBezTo>
                        <a:pt x="69" y="3"/>
                        <a:pt x="69" y="3"/>
                        <a:pt x="69" y="3"/>
                      </a:cubicBezTo>
                      <a:cubicBezTo>
                        <a:pt x="67" y="1"/>
                        <a:pt x="64" y="0"/>
                        <a:pt x="61" y="0"/>
                      </a:cubicBezTo>
                    </a:path>
                  </a:pathLst>
                </a:custGeom>
                <a:solidFill>
                  <a:srgbClr val="0D274D"/>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ＭＳ Ｐゴシック" charset="0"/>
                  </a:endParaRPr>
                </a:p>
              </p:txBody>
            </p:sp>
            <p:sp>
              <p:nvSpPr>
                <p:cNvPr id="352" name="Freeform 17">
                  <a:extLst>
                    <a:ext uri="{FF2B5EF4-FFF2-40B4-BE49-F238E27FC236}">
                      <a16:creationId xmlns:a16="http://schemas.microsoft.com/office/drawing/2014/main" id="{E09D9898-4B0E-49B5-A625-C46647EE2CA9}"/>
                    </a:ext>
                  </a:extLst>
                </p:cNvPr>
                <p:cNvSpPr>
                  <a:spLocks/>
                </p:cNvSpPr>
                <p:nvPr/>
              </p:nvSpPr>
              <p:spPr bwMode="auto">
                <a:xfrm>
                  <a:off x="11417488" y="4500476"/>
                  <a:ext cx="443127" cy="233363"/>
                </a:xfrm>
                <a:custGeom>
                  <a:avLst/>
                  <a:gdLst>
                    <a:gd name="T0" fmla="*/ 61 w 122"/>
                    <a:gd name="T1" fmla="*/ 0 h 62"/>
                    <a:gd name="T2" fmla="*/ 53 w 122"/>
                    <a:gd name="T3" fmla="*/ 3 h 62"/>
                    <a:gd name="T4" fmla="*/ 4 w 122"/>
                    <a:gd name="T5" fmla="*/ 54 h 62"/>
                    <a:gd name="T6" fmla="*/ 8 w 122"/>
                    <a:gd name="T7" fmla="*/ 62 h 62"/>
                    <a:gd name="T8" fmla="*/ 114 w 122"/>
                    <a:gd name="T9" fmla="*/ 62 h 62"/>
                    <a:gd name="T10" fmla="*/ 118 w 122"/>
                    <a:gd name="T11" fmla="*/ 54 h 62"/>
                    <a:gd name="T12" fmla="*/ 69 w 122"/>
                    <a:gd name="T13" fmla="*/ 3 h 62"/>
                    <a:gd name="T14" fmla="*/ 61 w 122"/>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62">
                      <a:moveTo>
                        <a:pt x="61" y="0"/>
                      </a:moveTo>
                      <a:cubicBezTo>
                        <a:pt x="58" y="0"/>
                        <a:pt x="55" y="1"/>
                        <a:pt x="53" y="3"/>
                      </a:cubicBezTo>
                      <a:cubicBezTo>
                        <a:pt x="4" y="54"/>
                        <a:pt x="4" y="54"/>
                        <a:pt x="4" y="54"/>
                      </a:cubicBezTo>
                      <a:cubicBezTo>
                        <a:pt x="0" y="59"/>
                        <a:pt x="1" y="62"/>
                        <a:pt x="8" y="62"/>
                      </a:cubicBezTo>
                      <a:cubicBezTo>
                        <a:pt x="114" y="62"/>
                        <a:pt x="114" y="62"/>
                        <a:pt x="114" y="62"/>
                      </a:cubicBezTo>
                      <a:cubicBezTo>
                        <a:pt x="121" y="62"/>
                        <a:pt x="122" y="59"/>
                        <a:pt x="118" y="54"/>
                      </a:cubicBezTo>
                      <a:cubicBezTo>
                        <a:pt x="69" y="3"/>
                        <a:pt x="69" y="3"/>
                        <a:pt x="69" y="3"/>
                      </a:cubicBezTo>
                      <a:cubicBezTo>
                        <a:pt x="67" y="1"/>
                        <a:pt x="64" y="0"/>
                        <a:pt x="61" y="0"/>
                      </a:cubicBezTo>
                    </a:path>
                  </a:pathLst>
                </a:custGeom>
                <a:solidFill>
                  <a:srgbClr val="00BCEB"/>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ＭＳ Ｐゴシック" charset="0"/>
                  </a:endParaRPr>
                </a:p>
              </p:txBody>
            </p:sp>
          </p:grpSp>
        </p:grpSp>
      </p:grpSp>
      <p:grpSp>
        <p:nvGrpSpPr>
          <p:cNvPr id="384" name="Group 383">
            <a:extLst>
              <a:ext uri="{FF2B5EF4-FFF2-40B4-BE49-F238E27FC236}">
                <a16:creationId xmlns:a16="http://schemas.microsoft.com/office/drawing/2014/main" id="{D21A4812-EE32-4434-9907-B4FE15BFB98E}"/>
              </a:ext>
            </a:extLst>
          </p:cNvPr>
          <p:cNvGrpSpPr/>
          <p:nvPr/>
        </p:nvGrpSpPr>
        <p:grpSpPr>
          <a:xfrm>
            <a:off x="7892548" y="4071387"/>
            <a:ext cx="1091432" cy="1091432"/>
            <a:chOff x="7613238" y="4001212"/>
            <a:chExt cx="1224145" cy="1224145"/>
          </a:xfrm>
        </p:grpSpPr>
        <p:sp>
          <p:nvSpPr>
            <p:cNvPr id="385" name="Oval 384">
              <a:extLst>
                <a:ext uri="{FF2B5EF4-FFF2-40B4-BE49-F238E27FC236}">
                  <a16:creationId xmlns:a16="http://schemas.microsoft.com/office/drawing/2014/main" id="{3D267380-44AB-437B-933E-5DC826A9AF18}"/>
                </a:ext>
              </a:extLst>
            </p:cNvPr>
            <p:cNvSpPr/>
            <p:nvPr/>
          </p:nvSpPr>
          <p:spPr>
            <a:xfrm>
              <a:off x="7613238" y="4001212"/>
              <a:ext cx="1224145" cy="1224145"/>
            </a:xfrm>
            <a:prstGeom prst="ellipse">
              <a:avLst/>
            </a:prstGeom>
            <a:solidFill>
              <a:schemeClr val="accent2">
                <a:alpha val="7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86" name="Group 385">
              <a:extLst>
                <a:ext uri="{FF2B5EF4-FFF2-40B4-BE49-F238E27FC236}">
                  <a16:creationId xmlns:a16="http://schemas.microsoft.com/office/drawing/2014/main" id="{7213B5D6-C3D4-459E-AE70-FE102E577BC0}"/>
                </a:ext>
              </a:extLst>
            </p:cNvPr>
            <p:cNvGrpSpPr/>
            <p:nvPr/>
          </p:nvGrpSpPr>
          <p:grpSpPr>
            <a:xfrm>
              <a:off x="7955911" y="4304546"/>
              <a:ext cx="538799" cy="617477"/>
              <a:chOff x="4736130" y="-2038349"/>
              <a:chExt cx="1070499" cy="1226818"/>
            </a:xfrm>
            <a:solidFill>
              <a:schemeClr val="bg2"/>
            </a:solidFill>
          </p:grpSpPr>
          <p:sp>
            <p:nvSpPr>
              <p:cNvPr id="387" name="Freeform: Shape 386">
                <a:extLst>
                  <a:ext uri="{FF2B5EF4-FFF2-40B4-BE49-F238E27FC236}">
                    <a16:creationId xmlns:a16="http://schemas.microsoft.com/office/drawing/2014/main" id="{03019E5D-67C6-48C9-A755-3CCA3480261B}"/>
                  </a:ext>
                </a:extLst>
              </p:cNvPr>
              <p:cNvSpPr/>
              <p:nvPr/>
            </p:nvSpPr>
            <p:spPr>
              <a:xfrm>
                <a:off x="4964427" y="-2000249"/>
                <a:ext cx="609601" cy="1188718"/>
              </a:xfrm>
              <a:custGeom>
                <a:avLst/>
                <a:gdLst>
                  <a:gd name="connsiteX0" fmla="*/ 304801 w 609601"/>
                  <a:gd name="connsiteY0" fmla="*/ 1188718 h 1188718"/>
                  <a:gd name="connsiteX1" fmla="*/ 0 w 609601"/>
                  <a:gd name="connsiteY1" fmla="*/ 594359 h 1188718"/>
                  <a:gd name="connsiteX2" fmla="*/ 304801 w 609601"/>
                  <a:gd name="connsiteY2" fmla="*/ 0 h 1188718"/>
                  <a:gd name="connsiteX3" fmla="*/ 609601 w 609601"/>
                  <a:gd name="connsiteY3" fmla="*/ 594359 h 1188718"/>
                  <a:gd name="connsiteX4" fmla="*/ 304801 w 609601"/>
                  <a:gd name="connsiteY4" fmla="*/ 1188718 h 1188718"/>
                  <a:gd name="connsiteX5" fmla="*/ 304801 w 609601"/>
                  <a:gd name="connsiteY5" fmla="*/ 41910 h 1188718"/>
                  <a:gd name="connsiteX6" fmla="*/ 38100 w 609601"/>
                  <a:gd name="connsiteY6" fmla="*/ 598169 h 1188718"/>
                  <a:gd name="connsiteX7" fmla="*/ 304801 w 609601"/>
                  <a:gd name="connsiteY7" fmla="*/ 1154428 h 1188718"/>
                  <a:gd name="connsiteX8" fmla="*/ 571501 w 609601"/>
                  <a:gd name="connsiteY8" fmla="*/ 598169 h 1188718"/>
                  <a:gd name="connsiteX9" fmla="*/ 304801 w 609601"/>
                  <a:gd name="connsiteY9" fmla="*/ 41910 h 118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1" h="1188718">
                    <a:moveTo>
                      <a:pt x="304801" y="1188718"/>
                    </a:moveTo>
                    <a:cubicBezTo>
                      <a:pt x="133350" y="1188718"/>
                      <a:pt x="0" y="929639"/>
                      <a:pt x="0" y="594359"/>
                    </a:cubicBezTo>
                    <a:cubicBezTo>
                      <a:pt x="0" y="259080"/>
                      <a:pt x="133350" y="0"/>
                      <a:pt x="304801" y="0"/>
                    </a:cubicBezTo>
                    <a:cubicBezTo>
                      <a:pt x="476251" y="0"/>
                      <a:pt x="609601" y="259080"/>
                      <a:pt x="609601" y="594359"/>
                    </a:cubicBezTo>
                    <a:cubicBezTo>
                      <a:pt x="609601" y="929639"/>
                      <a:pt x="476251" y="1188718"/>
                      <a:pt x="304801" y="1188718"/>
                    </a:cubicBezTo>
                    <a:close/>
                    <a:moveTo>
                      <a:pt x="304801" y="41910"/>
                    </a:moveTo>
                    <a:cubicBezTo>
                      <a:pt x="160020" y="41910"/>
                      <a:pt x="38100" y="297180"/>
                      <a:pt x="38100" y="598169"/>
                    </a:cubicBezTo>
                    <a:cubicBezTo>
                      <a:pt x="38100" y="899159"/>
                      <a:pt x="160020" y="1154428"/>
                      <a:pt x="304801" y="1154428"/>
                    </a:cubicBezTo>
                    <a:cubicBezTo>
                      <a:pt x="449581" y="1154428"/>
                      <a:pt x="571501" y="899159"/>
                      <a:pt x="571501" y="598169"/>
                    </a:cubicBezTo>
                    <a:cubicBezTo>
                      <a:pt x="571501" y="297180"/>
                      <a:pt x="449581" y="41910"/>
                      <a:pt x="304801" y="41910"/>
                    </a:cubicBezTo>
                    <a:close/>
                  </a:path>
                </a:pathLst>
              </a:custGeom>
              <a:grpFill/>
              <a:ln w="38100" cap="flat">
                <a:noFill/>
                <a:prstDash val="solid"/>
                <a:miter/>
              </a:ln>
            </p:spPr>
            <p:txBody>
              <a:bodyPr rtlCol="0" anchor="ctr"/>
              <a:lstStyle/>
              <a:p>
                <a:endParaRPr lang="en-IN" dirty="0"/>
              </a:p>
            </p:txBody>
          </p:sp>
          <p:sp>
            <p:nvSpPr>
              <p:cNvPr id="388" name="Freeform: Shape 387">
                <a:extLst>
                  <a:ext uri="{FF2B5EF4-FFF2-40B4-BE49-F238E27FC236}">
                    <a16:creationId xmlns:a16="http://schemas.microsoft.com/office/drawing/2014/main" id="{0FD1FFAA-E727-48E5-9A97-425446EB8FF2}"/>
                  </a:ext>
                </a:extLst>
              </p:cNvPr>
              <p:cNvSpPr/>
              <p:nvPr/>
            </p:nvSpPr>
            <p:spPr>
              <a:xfrm>
                <a:off x="4736130" y="-1803088"/>
                <a:ext cx="1070499" cy="797247"/>
              </a:xfrm>
              <a:custGeom>
                <a:avLst/>
                <a:gdLst>
                  <a:gd name="connsiteX0" fmla="*/ 251157 w 1070499"/>
                  <a:gd name="connsiteY0" fmla="*/ 797248 h 797247"/>
                  <a:gd name="connsiteX1" fmla="*/ 22557 w 1070499"/>
                  <a:gd name="connsiteY1" fmla="*/ 694378 h 797247"/>
                  <a:gd name="connsiteX2" fmla="*/ 384507 w 1070499"/>
                  <a:gd name="connsiteY2" fmla="*/ 134309 h 797247"/>
                  <a:gd name="connsiteX3" fmla="*/ 384507 w 1070499"/>
                  <a:gd name="connsiteY3" fmla="*/ 134309 h 797247"/>
                  <a:gd name="connsiteX4" fmla="*/ 784558 w 1070499"/>
                  <a:gd name="connsiteY4" fmla="*/ 959 h 797247"/>
                  <a:gd name="connsiteX5" fmla="*/ 1047449 w 1070499"/>
                  <a:gd name="connsiteY5" fmla="*/ 103829 h 797247"/>
                  <a:gd name="connsiteX6" fmla="*/ 1001729 w 1070499"/>
                  <a:gd name="connsiteY6" fmla="*/ 381959 h 797247"/>
                  <a:gd name="connsiteX7" fmla="*/ 685498 w 1070499"/>
                  <a:gd name="connsiteY7" fmla="*/ 663898 h 797247"/>
                  <a:gd name="connsiteX8" fmla="*/ 285447 w 1070499"/>
                  <a:gd name="connsiteY8" fmla="*/ 797248 h 797247"/>
                  <a:gd name="connsiteX9" fmla="*/ 251157 w 1070499"/>
                  <a:gd name="connsiteY9" fmla="*/ 797248 h 797247"/>
                  <a:gd name="connsiteX10" fmla="*/ 399747 w 1070499"/>
                  <a:gd name="connsiteY10" fmla="*/ 168599 h 797247"/>
                  <a:gd name="connsiteX11" fmla="*/ 53037 w 1070499"/>
                  <a:gd name="connsiteY11" fmla="*/ 675328 h 797247"/>
                  <a:gd name="connsiteX12" fmla="*/ 281637 w 1070499"/>
                  <a:gd name="connsiteY12" fmla="*/ 755338 h 797247"/>
                  <a:gd name="connsiteX13" fmla="*/ 666448 w 1070499"/>
                  <a:gd name="connsiteY13" fmla="*/ 625798 h 797247"/>
                  <a:gd name="connsiteX14" fmla="*/ 971249 w 1070499"/>
                  <a:gd name="connsiteY14" fmla="*/ 355289 h 797247"/>
                  <a:gd name="connsiteX15" fmla="*/ 1016969 w 1070499"/>
                  <a:gd name="connsiteY15" fmla="*/ 115259 h 797247"/>
                  <a:gd name="connsiteX16" fmla="*/ 788368 w 1070499"/>
                  <a:gd name="connsiteY16" fmla="*/ 35249 h 797247"/>
                  <a:gd name="connsiteX17" fmla="*/ 399747 w 1070499"/>
                  <a:gd name="connsiteY17" fmla="*/ 168599 h 797247"/>
                  <a:gd name="connsiteX18" fmla="*/ 399747 w 1070499"/>
                  <a:gd name="connsiteY18" fmla="*/ 168599 h 79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0499" h="797247">
                    <a:moveTo>
                      <a:pt x="251157" y="797248"/>
                    </a:moveTo>
                    <a:cubicBezTo>
                      <a:pt x="140667" y="797248"/>
                      <a:pt x="60657" y="762958"/>
                      <a:pt x="22557" y="694378"/>
                    </a:cubicBezTo>
                    <a:cubicBezTo>
                      <a:pt x="-61264" y="545788"/>
                      <a:pt x="94947" y="301949"/>
                      <a:pt x="384507" y="134309"/>
                    </a:cubicBezTo>
                    <a:lnTo>
                      <a:pt x="384507" y="134309"/>
                    </a:lnTo>
                    <a:cubicBezTo>
                      <a:pt x="521668" y="54299"/>
                      <a:pt x="662638" y="8579"/>
                      <a:pt x="784558" y="959"/>
                    </a:cubicBezTo>
                    <a:cubicBezTo>
                      <a:pt x="910288" y="-6661"/>
                      <a:pt x="1005539" y="31439"/>
                      <a:pt x="1047449" y="103829"/>
                    </a:cubicBezTo>
                    <a:cubicBezTo>
                      <a:pt x="1089359" y="176219"/>
                      <a:pt x="1074119" y="275279"/>
                      <a:pt x="1001729" y="381959"/>
                    </a:cubicBezTo>
                    <a:cubicBezTo>
                      <a:pt x="933149" y="484828"/>
                      <a:pt x="822658" y="583888"/>
                      <a:pt x="685498" y="663898"/>
                    </a:cubicBezTo>
                    <a:cubicBezTo>
                      <a:pt x="548338" y="743908"/>
                      <a:pt x="407367" y="789628"/>
                      <a:pt x="285447" y="797248"/>
                    </a:cubicBezTo>
                    <a:cubicBezTo>
                      <a:pt x="274017" y="797248"/>
                      <a:pt x="262587" y="797248"/>
                      <a:pt x="251157" y="797248"/>
                    </a:cubicBezTo>
                    <a:close/>
                    <a:moveTo>
                      <a:pt x="399747" y="168599"/>
                    </a:moveTo>
                    <a:cubicBezTo>
                      <a:pt x="140667" y="320999"/>
                      <a:pt x="-19354" y="553408"/>
                      <a:pt x="53037" y="675328"/>
                    </a:cubicBezTo>
                    <a:cubicBezTo>
                      <a:pt x="87327" y="736288"/>
                      <a:pt x="167337" y="762958"/>
                      <a:pt x="281637" y="755338"/>
                    </a:cubicBezTo>
                    <a:cubicBezTo>
                      <a:pt x="399747" y="747718"/>
                      <a:pt x="536908" y="701998"/>
                      <a:pt x="666448" y="625798"/>
                    </a:cubicBezTo>
                    <a:cubicBezTo>
                      <a:pt x="795988" y="549598"/>
                      <a:pt x="906478" y="454349"/>
                      <a:pt x="971249" y="355289"/>
                    </a:cubicBezTo>
                    <a:cubicBezTo>
                      <a:pt x="1032209" y="260039"/>
                      <a:pt x="1051259" y="176219"/>
                      <a:pt x="1016969" y="115259"/>
                    </a:cubicBezTo>
                    <a:cubicBezTo>
                      <a:pt x="982679" y="54299"/>
                      <a:pt x="902668" y="27629"/>
                      <a:pt x="788368" y="35249"/>
                    </a:cubicBezTo>
                    <a:cubicBezTo>
                      <a:pt x="666448" y="46679"/>
                      <a:pt x="529288" y="92399"/>
                      <a:pt x="399747" y="168599"/>
                    </a:cubicBezTo>
                    <a:lnTo>
                      <a:pt x="399747" y="168599"/>
                    </a:lnTo>
                    <a:close/>
                  </a:path>
                </a:pathLst>
              </a:custGeom>
              <a:grpFill/>
              <a:ln w="38100" cap="flat">
                <a:noFill/>
                <a:prstDash val="solid"/>
                <a:miter/>
              </a:ln>
            </p:spPr>
            <p:txBody>
              <a:bodyPr rtlCol="0" anchor="ctr"/>
              <a:lstStyle/>
              <a:p>
                <a:endParaRPr lang="en-IN" dirty="0"/>
              </a:p>
            </p:txBody>
          </p:sp>
          <p:sp>
            <p:nvSpPr>
              <p:cNvPr id="389" name="Freeform: Shape 388">
                <a:extLst>
                  <a:ext uri="{FF2B5EF4-FFF2-40B4-BE49-F238E27FC236}">
                    <a16:creationId xmlns:a16="http://schemas.microsoft.com/office/drawing/2014/main" id="{3F9C46BB-1945-45D0-B623-D20FC8AF4A53}"/>
                  </a:ext>
                </a:extLst>
              </p:cNvPr>
              <p:cNvSpPr/>
              <p:nvPr/>
            </p:nvSpPr>
            <p:spPr>
              <a:xfrm>
                <a:off x="4736130" y="-1803088"/>
                <a:ext cx="1070499" cy="797247"/>
              </a:xfrm>
              <a:custGeom>
                <a:avLst/>
                <a:gdLst>
                  <a:gd name="connsiteX0" fmla="*/ 818848 w 1070499"/>
                  <a:gd name="connsiteY0" fmla="*/ 797248 h 797247"/>
                  <a:gd name="connsiteX1" fmla="*/ 784558 w 1070499"/>
                  <a:gd name="connsiteY1" fmla="*/ 797248 h 797247"/>
                  <a:gd name="connsiteX2" fmla="*/ 384507 w 1070499"/>
                  <a:gd name="connsiteY2" fmla="*/ 663898 h 797247"/>
                  <a:gd name="connsiteX3" fmla="*/ 22557 w 1070499"/>
                  <a:gd name="connsiteY3" fmla="*/ 103829 h 797247"/>
                  <a:gd name="connsiteX4" fmla="*/ 285447 w 1070499"/>
                  <a:gd name="connsiteY4" fmla="*/ 959 h 797247"/>
                  <a:gd name="connsiteX5" fmla="*/ 685498 w 1070499"/>
                  <a:gd name="connsiteY5" fmla="*/ 134309 h 797247"/>
                  <a:gd name="connsiteX6" fmla="*/ 1001729 w 1070499"/>
                  <a:gd name="connsiteY6" fmla="*/ 416249 h 797247"/>
                  <a:gd name="connsiteX7" fmla="*/ 1047449 w 1070499"/>
                  <a:gd name="connsiteY7" fmla="*/ 694378 h 797247"/>
                  <a:gd name="connsiteX8" fmla="*/ 818848 w 1070499"/>
                  <a:gd name="connsiteY8" fmla="*/ 797248 h 797247"/>
                  <a:gd name="connsiteX9" fmla="*/ 251157 w 1070499"/>
                  <a:gd name="connsiteY9" fmla="*/ 39059 h 797247"/>
                  <a:gd name="connsiteX10" fmla="*/ 53037 w 1070499"/>
                  <a:gd name="connsiteY10" fmla="*/ 122879 h 797247"/>
                  <a:gd name="connsiteX11" fmla="*/ 399747 w 1070499"/>
                  <a:gd name="connsiteY11" fmla="*/ 629608 h 797247"/>
                  <a:gd name="connsiteX12" fmla="*/ 784558 w 1070499"/>
                  <a:gd name="connsiteY12" fmla="*/ 759148 h 797247"/>
                  <a:gd name="connsiteX13" fmla="*/ 1013159 w 1070499"/>
                  <a:gd name="connsiteY13" fmla="*/ 679138 h 797247"/>
                  <a:gd name="connsiteX14" fmla="*/ 967438 w 1070499"/>
                  <a:gd name="connsiteY14" fmla="*/ 439109 h 797247"/>
                  <a:gd name="connsiteX15" fmla="*/ 662638 w 1070499"/>
                  <a:gd name="connsiteY15" fmla="*/ 168599 h 797247"/>
                  <a:gd name="connsiteX16" fmla="*/ 277827 w 1070499"/>
                  <a:gd name="connsiteY16" fmla="*/ 39059 h 797247"/>
                  <a:gd name="connsiteX17" fmla="*/ 251157 w 1070499"/>
                  <a:gd name="connsiteY17" fmla="*/ 39059 h 79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0499" h="797247">
                    <a:moveTo>
                      <a:pt x="818848" y="797248"/>
                    </a:moveTo>
                    <a:cubicBezTo>
                      <a:pt x="807418" y="797248"/>
                      <a:pt x="795988" y="797248"/>
                      <a:pt x="784558" y="797248"/>
                    </a:cubicBezTo>
                    <a:cubicBezTo>
                      <a:pt x="662638" y="789628"/>
                      <a:pt x="517858" y="743908"/>
                      <a:pt x="384507" y="663898"/>
                    </a:cubicBezTo>
                    <a:cubicBezTo>
                      <a:pt x="94947" y="496258"/>
                      <a:pt x="-61264" y="252419"/>
                      <a:pt x="22557" y="103829"/>
                    </a:cubicBezTo>
                    <a:cubicBezTo>
                      <a:pt x="60657" y="31439"/>
                      <a:pt x="155907" y="-6661"/>
                      <a:pt x="285447" y="959"/>
                    </a:cubicBezTo>
                    <a:cubicBezTo>
                      <a:pt x="407367" y="8579"/>
                      <a:pt x="552148" y="54299"/>
                      <a:pt x="685498" y="134309"/>
                    </a:cubicBezTo>
                    <a:cubicBezTo>
                      <a:pt x="822658" y="214319"/>
                      <a:pt x="933149" y="313379"/>
                      <a:pt x="1001729" y="416249"/>
                    </a:cubicBezTo>
                    <a:cubicBezTo>
                      <a:pt x="1074119" y="522928"/>
                      <a:pt x="1089359" y="621988"/>
                      <a:pt x="1047449" y="694378"/>
                    </a:cubicBezTo>
                    <a:cubicBezTo>
                      <a:pt x="1009349" y="762958"/>
                      <a:pt x="929338" y="797248"/>
                      <a:pt x="818848" y="797248"/>
                    </a:cubicBezTo>
                    <a:close/>
                    <a:moveTo>
                      <a:pt x="251157" y="39059"/>
                    </a:moveTo>
                    <a:cubicBezTo>
                      <a:pt x="155907" y="39059"/>
                      <a:pt x="87327" y="69539"/>
                      <a:pt x="53037" y="122879"/>
                    </a:cubicBezTo>
                    <a:cubicBezTo>
                      <a:pt x="-19354" y="248609"/>
                      <a:pt x="140667" y="481018"/>
                      <a:pt x="399747" y="629608"/>
                    </a:cubicBezTo>
                    <a:cubicBezTo>
                      <a:pt x="529288" y="705808"/>
                      <a:pt x="666448" y="751528"/>
                      <a:pt x="784558" y="759148"/>
                    </a:cubicBezTo>
                    <a:cubicBezTo>
                      <a:pt x="898858" y="766768"/>
                      <a:pt x="978869" y="736288"/>
                      <a:pt x="1013159" y="679138"/>
                    </a:cubicBezTo>
                    <a:cubicBezTo>
                      <a:pt x="1047449" y="618178"/>
                      <a:pt x="1032209" y="534358"/>
                      <a:pt x="967438" y="439109"/>
                    </a:cubicBezTo>
                    <a:cubicBezTo>
                      <a:pt x="902668" y="340049"/>
                      <a:pt x="795988" y="244799"/>
                      <a:pt x="662638" y="168599"/>
                    </a:cubicBezTo>
                    <a:cubicBezTo>
                      <a:pt x="529288" y="92399"/>
                      <a:pt x="395937" y="46679"/>
                      <a:pt x="277827" y="39059"/>
                    </a:cubicBezTo>
                    <a:cubicBezTo>
                      <a:pt x="270207" y="39059"/>
                      <a:pt x="258777" y="39059"/>
                      <a:pt x="251157" y="39059"/>
                    </a:cubicBezTo>
                    <a:close/>
                  </a:path>
                </a:pathLst>
              </a:custGeom>
              <a:grpFill/>
              <a:ln w="38100" cap="flat">
                <a:noFill/>
                <a:prstDash val="solid"/>
                <a:miter/>
              </a:ln>
            </p:spPr>
            <p:txBody>
              <a:bodyPr rtlCol="0" anchor="ctr"/>
              <a:lstStyle/>
              <a:p>
                <a:endParaRPr lang="en-IN" dirty="0"/>
              </a:p>
            </p:txBody>
          </p:sp>
          <p:sp>
            <p:nvSpPr>
              <p:cNvPr id="390" name="Freeform: Shape 389">
                <a:extLst>
                  <a:ext uri="{FF2B5EF4-FFF2-40B4-BE49-F238E27FC236}">
                    <a16:creationId xmlns:a16="http://schemas.microsoft.com/office/drawing/2014/main" id="{4904F3AB-D7EB-4D7C-8C69-D548F1FE520F}"/>
                  </a:ext>
                </a:extLst>
              </p:cNvPr>
              <p:cNvSpPr/>
              <p:nvPr/>
            </p:nvSpPr>
            <p:spPr>
              <a:xfrm>
                <a:off x="4777737" y="-1463039"/>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7" y="0"/>
                      <a:pt x="121920" y="27293"/>
                      <a:pt x="121920" y="60960"/>
                    </a:cubicBezTo>
                    <a:close/>
                  </a:path>
                </a:pathLst>
              </a:custGeom>
              <a:grpFill/>
              <a:ln w="38100" cap="flat">
                <a:noFill/>
                <a:prstDash val="solid"/>
                <a:miter/>
              </a:ln>
            </p:spPr>
            <p:txBody>
              <a:bodyPr rtlCol="0" anchor="ctr"/>
              <a:lstStyle/>
              <a:p>
                <a:endParaRPr lang="en-IN" dirty="0"/>
              </a:p>
            </p:txBody>
          </p:sp>
          <p:sp>
            <p:nvSpPr>
              <p:cNvPr id="391" name="Freeform: Shape 390">
                <a:extLst>
                  <a:ext uri="{FF2B5EF4-FFF2-40B4-BE49-F238E27FC236}">
                    <a16:creationId xmlns:a16="http://schemas.microsoft.com/office/drawing/2014/main" id="{F08CA3BA-31A7-44BE-A1F2-255D93556E32}"/>
                  </a:ext>
                </a:extLst>
              </p:cNvPr>
              <p:cNvSpPr/>
              <p:nvPr/>
            </p:nvSpPr>
            <p:spPr>
              <a:xfrm>
                <a:off x="5208268" y="-1146810"/>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8" y="0"/>
                      <a:pt x="121920" y="27293"/>
                      <a:pt x="121920" y="60960"/>
                    </a:cubicBezTo>
                    <a:close/>
                  </a:path>
                </a:pathLst>
              </a:custGeom>
              <a:grpFill/>
              <a:ln w="38100" cap="flat">
                <a:noFill/>
                <a:prstDash val="solid"/>
                <a:miter/>
              </a:ln>
            </p:spPr>
            <p:txBody>
              <a:bodyPr rtlCol="0" anchor="ctr"/>
              <a:lstStyle/>
              <a:p>
                <a:endParaRPr lang="en-IN" dirty="0"/>
              </a:p>
            </p:txBody>
          </p:sp>
          <p:sp>
            <p:nvSpPr>
              <p:cNvPr id="392" name="Freeform: Shape 391">
                <a:extLst>
                  <a:ext uri="{FF2B5EF4-FFF2-40B4-BE49-F238E27FC236}">
                    <a16:creationId xmlns:a16="http://schemas.microsoft.com/office/drawing/2014/main" id="{F4A780BC-7CFF-4911-9AAB-2900911308A2}"/>
                  </a:ext>
                </a:extLst>
              </p:cNvPr>
              <p:cNvSpPr/>
              <p:nvPr/>
            </p:nvSpPr>
            <p:spPr>
              <a:xfrm>
                <a:off x="5208268" y="-2038349"/>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8" y="0"/>
                      <a:pt x="121920" y="27293"/>
                      <a:pt x="121920" y="60960"/>
                    </a:cubicBezTo>
                    <a:close/>
                  </a:path>
                </a:pathLst>
              </a:custGeom>
              <a:grpFill/>
              <a:ln w="38100" cap="flat">
                <a:noFill/>
                <a:prstDash val="solid"/>
                <a:miter/>
              </a:ln>
            </p:spPr>
            <p:txBody>
              <a:bodyPr rtlCol="0" anchor="ctr"/>
              <a:lstStyle/>
              <a:p>
                <a:endParaRPr lang="en-IN" dirty="0"/>
              </a:p>
            </p:txBody>
          </p:sp>
        </p:grpSp>
      </p:grpSp>
      <p:sp>
        <p:nvSpPr>
          <p:cNvPr id="393" name="Rectangle 392">
            <a:extLst>
              <a:ext uri="{FF2B5EF4-FFF2-40B4-BE49-F238E27FC236}">
                <a16:creationId xmlns:a16="http://schemas.microsoft.com/office/drawing/2014/main" id="{A42AA0AB-45A9-47EA-AE54-3BDADA98F183}"/>
              </a:ext>
            </a:extLst>
          </p:cNvPr>
          <p:cNvSpPr/>
          <p:nvPr/>
        </p:nvSpPr>
        <p:spPr>
          <a:xfrm>
            <a:off x="3124881" y="1491247"/>
            <a:ext cx="1067254" cy="215444"/>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Duo</a:t>
            </a:r>
          </a:p>
        </p:txBody>
      </p:sp>
      <p:sp>
        <p:nvSpPr>
          <p:cNvPr id="414" name="Rectangle 413">
            <a:extLst>
              <a:ext uri="{FF2B5EF4-FFF2-40B4-BE49-F238E27FC236}">
                <a16:creationId xmlns:a16="http://schemas.microsoft.com/office/drawing/2014/main" id="{40F78AD8-1F20-407A-B8CB-2CFE94790DD9}"/>
              </a:ext>
            </a:extLst>
          </p:cNvPr>
          <p:cNvSpPr/>
          <p:nvPr/>
        </p:nvSpPr>
        <p:spPr>
          <a:xfrm>
            <a:off x="0" y="1180151"/>
            <a:ext cx="12192000" cy="4914965"/>
          </a:xfrm>
          <a:prstGeom prst="rect">
            <a:avLst/>
          </a:prstGeom>
          <a:solidFill>
            <a:schemeClr val="bg2">
              <a:alpha val="8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661" name="Group 660">
            <a:extLst>
              <a:ext uri="{FF2B5EF4-FFF2-40B4-BE49-F238E27FC236}">
                <a16:creationId xmlns:a16="http://schemas.microsoft.com/office/drawing/2014/main" id="{0F82967A-6904-45B6-A9C4-C7E0CC5CFEA9}"/>
              </a:ext>
            </a:extLst>
          </p:cNvPr>
          <p:cNvGrpSpPr/>
          <p:nvPr/>
        </p:nvGrpSpPr>
        <p:grpSpPr>
          <a:xfrm rot="1041438">
            <a:off x="2646444" y="3284452"/>
            <a:ext cx="6507495" cy="355372"/>
            <a:chOff x="3100847" y="3415313"/>
            <a:chExt cx="6507495" cy="355372"/>
          </a:xfrm>
          <a:gradFill flip="none" rotWithShape="1">
            <a:gsLst>
              <a:gs pos="52000">
                <a:srgbClr val="64D8F5">
                  <a:alpha val="0"/>
                </a:srgbClr>
              </a:gs>
              <a:gs pos="76000">
                <a:schemeClr val="accent1"/>
              </a:gs>
              <a:gs pos="24000">
                <a:schemeClr val="accent1"/>
              </a:gs>
              <a:gs pos="0">
                <a:schemeClr val="accent1">
                  <a:lumMod val="75000"/>
                </a:schemeClr>
              </a:gs>
              <a:gs pos="100000">
                <a:schemeClr val="accent1">
                  <a:lumMod val="75000"/>
                </a:schemeClr>
              </a:gs>
            </a:gsLst>
            <a:lin ang="0" scaled="1"/>
            <a:tileRect/>
          </a:gradFill>
        </p:grpSpPr>
        <p:grpSp>
          <p:nvGrpSpPr>
            <p:cNvPr id="662" name="Group 661">
              <a:extLst>
                <a:ext uri="{FF2B5EF4-FFF2-40B4-BE49-F238E27FC236}">
                  <a16:creationId xmlns:a16="http://schemas.microsoft.com/office/drawing/2014/main" id="{A156B514-27DF-4D04-9020-9F429D9C5888}"/>
                </a:ext>
              </a:extLst>
            </p:cNvPr>
            <p:cNvGrpSpPr/>
            <p:nvPr/>
          </p:nvGrpSpPr>
          <p:grpSpPr>
            <a:xfrm>
              <a:off x="3100847" y="3415313"/>
              <a:ext cx="923658" cy="353047"/>
              <a:chOff x="3100847" y="3415313"/>
              <a:chExt cx="923658" cy="353047"/>
            </a:xfrm>
            <a:grpFill/>
          </p:grpSpPr>
          <p:sp>
            <p:nvSpPr>
              <p:cNvPr id="847" name="Freeform: Shape 846">
                <a:extLst>
                  <a:ext uri="{FF2B5EF4-FFF2-40B4-BE49-F238E27FC236}">
                    <a16:creationId xmlns:a16="http://schemas.microsoft.com/office/drawing/2014/main" id="{1C1EF64C-79AE-4362-89CF-35AC221EBD42}"/>
                  </a:ext>
                </a:extLst>
              </p:cNvPr>
              <p:cNvSpPr/>
              <p:nvPr/>
            </p:nvSpPr>
            <p:spPr>
              <a:xfrm flipH="1" flipV="1">
                <a:off x="3245913" y="3528651"/>
                <a:ext cx="51717" cy="51717"/>
              </a:xfrm>
              <a:custGeom>
                <a:avLst/>
                <a:gdLst>
                  <a:gd name="connsiteX0" fmla="*/ 19172 w 28614"/>
                  <a:gd name="connsiteY0" fmla="*/ 10731 h 28614"/>
                  <a:gd name="connsiteX1" fmla="*/ 10731 w 28614"/>
                  <a:gd name="connsiteY1" fmla="*/ 19172 h 28614"/>
                  <a:gd name="connsiteX2" fmla="*/ 19172 w 28614"/>
                  <a:gd name="connsiteY2" fmla="*/ 27613 h 28614"/>
                  <a:gd name="connsiteX3" fmla="*/ 19172 w 28614"/>
                  <a:gd name="connsiteY3" fmla="*/ 27613 h 28614"/>
                  <a:gd name="connsiteX4" fmla="*/ 27327 w 28614"/>
                  <a:gd name="connsiteY4" fmla="*/ 19458 h 28614"/>
                  <a:gd name="connsiteX5" fmla="*/ 19182 w 28614"/>
                  <a:gd name="connsiteY5" fmla="*/ 10731 h 28614"/>
                  <a:gd name="connsiteX6" fmla="*/ 19172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172" y="10731"/>
                    </a:moveTo>
                    <a:cubicBezTo>
                      <a:pt x="14509" y="10731"/>
                      <a:pt x="10731" y="14511"/>
                      <a:pt x="10731" y="19172"/>
                    </a:cubicBezTo>
                    <a:cubicBezTo>
                      <a:pt x="10731" y="23833"/>
                      <a:pt x="14511" y="27613"/>
                      <a:pt x="19172" y="27613"/>
                    </a:cubicBezTo>
                    <a:lnTo>
                      <a:pt x="19172" y="27613"/>
                    </a:lnTo>
                    <a:cubicBezTo>
                      <a:pt x="23676" y="27613"/>
                      <a:pt x="27327" y="23962"/>
                      <a:pt x="27327" y="19458"/>
                    </a:cubicBezTo>
                    <a:cubicBezTo>
                      <a:pt x="27487" y="14798"/>
                      <a:pt x="23841" y="10891"/>
                      <a:pt x="19182" y="10731"/>
                    </a:cubicBezTo>
                    <a:cubicBezTo>
                      <a:pt x="19178" y="10731"/>
                      <a:pt x="19175" y="10731"/>
                      <a:pt x="19172" y="10731"/>
                    </a:cubicBezTo>
                    <a:close/>
                  </a:path>
                </a:pathLst>
              </a:custGeom>
              <a:grpFill/>
              <a:ln w="9525" cap="flat">
                <a:noFill/>
                <a:prstDash val="solid"/>
                <a:miter/>
              </a:ln>
            </p:spPr>
            <p:txBody>
              <a:bodyPr rtlCol="0" anchor="ctr"/>
              <a:lstStyle/>
              <a:p>
                <a:endParaRPr lang="en-US" dirty="0"/>
              </a:p>
            </p:txBody>
          </p:sp>
          <p:sp>
            <p:nvSpPr>
              <p:cNvPr id="848" name="Freeform: Shape 847">
                <a:extLst>
                  <a:ext uri="{FF2B5EF4-FFF2-40B4-BE49-F238E27FC236}">
                    <a16:creationId xmlns:a16="http://schemas.microsoft.com/office/drawing/2014/main" id="{5C611431-EFEE-4A70-A3BE-F4BB83C46536}"/>
                  </a:ext>
                </a:extLst>
              </p:cNvPr>
              <p:cNvSpPr/>
              <p:nvPr/>
            </p:nvSpPr>
            <p:spPr>
              <a:xfrm flipH="1" flipV="1">
                <a:off x="3101368" y="3707849"/>
                <a:ext cx="51717" cy="51717"/>
              </a:xfrm>
              <a:custGeom>
                <a:avLst/>
                <a:gdLst>
                  <a:gd name="connsiteX0" fmla="*/ 18459 w 28614"/>
                  <a:gd name="connsiteY0" fmla="*/ 10731 h 28614"/>
                  <a:gd name="connsiteX1" fmla="*/ 11019 w 28614"/>
                  <a:gd name="connsiteY1" fmla="*/ 18171 h 28614"/>
                  <a:gd name="connsiteX2" fmla="*/ 16129 w 28614"/>
                  <a:gd name="connsiteY2" fmla="*/ 27367 h 28614"/>
                  <a:gd name="connsiteX3" fmla="*/ 25326 w 28614"/>
                  <a:gd name="connsiteY3" fmla="*/ 22258 h 28614"/>
                  <a:gd name="connsiteX4" fmla="*/ 25326 w 28614"/>
                  <a:gd name="connsiteY4" fmla="*/ 18171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1"/>
                    </a:cubicBezTo>
                    <a:cubicBezTo>
                      <a:pt x="9890" y="22121"/>
                      <a:pt x="12178" y="26238"/>
                      <a:pt x="16129" y="27367"/>
                    </a:cubicBezTo>
                    <a:cubicBezTo>
                      <a:pt x="20080" y="28496"/>
                      <a:pt x="24197" y="26208"/>
                      <a:pt x="25326" y="22258"/>
                    </a:cubicBezTo>
                    <a:cubicBezTo>
                      <a:pt x="25708" y="20922"/>
                      <a:pt x="25708" y="19507"/>
                      <a:pt x="25326" y="18171"/>
                    </a:cubicBezTo>
                    <a:cubicBezTo>
                      <a:pt x="25338" y="14275"/>
                      <a:pt x="22343" y="11030"/>
                      <a:pt x="18459" y="10731"/>
                    </a:cubicBezTo>
                    <a:close/>
                  </a:path>
                </a:pathLst>
              </a:custGeom>
              <a:grpFill/>
              <a:ln w="9525" cap="flat">
                <a:noFill/>
                <a:prstDash val="solid"/>
                <a:miter/>
              </a:ln>
            </p:spPr>
            <p:txBody>
              <a:bodyPr rtlCol="0" anchor="ctr"/>
              <a:lstStyle/>
              <a:p>
                <a:endParaRPr lang="en-US" dirty="0"/>
              </a:p>
            </p:txBody>
          </p:sp>
          <p:sp>
            <p:nvSpPr>
              <p:cNvPr id="849" name="Freeform: Shape 848">
                <a:extLst>
                  <a:ext uri="{FF2B5EF4-FFF2-40B4-BE49-F238E27FC236}">
                    <a16:creationId xmlns:a16="http://schemas.microsoft.com/office/drawing/2014/main" id="{B1C77DFE-1C9D-4D43-A29D-8992288C9B71}"/>
                  </a:ext>
                </a:extLst>
              </p:cNvPr>
              <p:cNvSpPr/>
              <p:nvPr/>
            </p:nvSpPr>
            <p:spPr>
              <a:xfrm flipH="1" flipV="1">
                <a:off x="3246411" y="3437541"/>
                <a:ext cx="51717" cy="51717"/>
              </a:xfrm>
              <a:custGeom>
                <a:avLst/>
                <a:gdLst>
                  <a:gd name="connsiteX0" fmla="*/ 18018 w 28614"/>
                  <a:gd name="connsiteY0" fmla="*/ 10825 h 28614"/>
                  <a:gd name="connsiteX1" fmla="*/ 11007 w 28614"/>
                  <a:gd name="connsiteY1" fmla="*/ 17836 h 28614"/>
                  <a:gd name="connsiteX2" fmla="*/ 17038 w 28614"/>
                  <a:gd name="connsiteY2" fmla="*/ 28138 h 28614"/>
                  <a:gd name="connsiteX3" fmla="*/ 27340 w 28614"/>
                  <a:gd name="connsiteY3" fmla="*/ 22108 h 28614"/>
                  <a:gd name="connsiteX4" fmla="*/ 27604 w 28614"/>
                  <a:gd name="connsiteY4" fmla="*/ 20411 h 28614"/>
                  <a:gd name="connsiteX5" fmla="*/ 27604 w 28614"/>
                  <a:gd name="connsiteY5" fmla="*/ 17836 h 28614"/>
                  <a:gd name="connsiteX6" fmla="*/ 18018 w 28614"/>
                  <a:gd name="connsiteY6"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018" y="10825"/>
                    </a:moveTo>
                    <a:cubicBezTo>
                      <a:pt x="14409" y="11399"/>
                      <a:pt x="11581" y="14227"/>
                      <a:pt x="11007" y="17836"/>
                    </a:cubicBezTo>
                    <a:cubicBezTo>
                      <a:pt x="9828" y="22345"/>
                      <a:pt x="12528" y="26958"/>
                      <a:pt x="17038" y="28138"/>
                    </a:cubicBezTo>
                    <a:cubicBezTo>
                      <a:pt x="21549" y="29317"/>
                      <a:pt x="26162" y="26617"/>
                      <a:pt x="27340" y="22108"/>
                    </a:cubicBezTo>
                    <a:cubicBezTo>
                      <a:pt x="27486" y="21553"/>
                      <a:pt x="27574" y="20983"/>
                      <a:pt x="27604" y="20411"/>
                    </a:cubicBezTo>
                    <a:cubicBezTo>
                      <a:pt x="27748" y="19558"/>
                      <a:pt x="27748" y="18688"/>
                      <a:pt x="27604" y="17836"/>
                    </a:cubicBezTo>
                    <a:cubicBezTo>
                      <a:pt x="26871" y="13266"/>
                      <a:pt x="22595" y="10140"/>
                      <a:pt x="18018" y="10825"/>
                    </a:cubicBezTo>
                    <a:close/>
                  </a:path>
                </a:pathLst>
              </a:custGeom>
              <a:grpFill/>
              <a:ln w="9525" cap="flat">
                <a:noFill/>
                <a:prstDash val="solid"/>
                <a:miter/>
              </a:ln>
            </p:spPr>
            <p:txBody>
              <a:bodyPr rtlCol="0" anchor="ctr"/>
              <a:lstStyle/>
              <a:p>
                <a:endParaRPr lang="en-US" dirty="0"/>
              </a:p>
            </p:txBody>
          </p:sp>
          <p:sp>
            <p:nvSpPr>
              <p:cNvPr id="850" name="Freeform: Shape 849">
                <a:extLst>
                  <a:ext uri="{FF2B5EF4-FFF2-40B4-BE49-F238E27FC236}">
                    <a16:creationId xmlns:a16="http://schemas.microsoft.com/office/drawing/2014/main" id="{F2D5EFE3-FE02-4E84-8E35-E5B41FC79C59}"/>
                  </a:ext>
                </a:extLst>
              </p:cNvPr>
              <p:cNvSpPr/>
              <p:nvPr/>
            </p:nvSpPr>
            <p:spPr>
              <a:xfrm flipH="1" flipV="1">
                <a:off x="3245913" y="3709919"/>
                <a:ext cx="51717" cy="51717"/>
              </a:xfrm>
              <a:custGeom>
                <a:avLst/>
                <a:gdLst>
                  <a:gd name="connsiteX0" fmla="*/ 19172 w 28614"/>
                  <a:gd name="connsiteY0" fmla="*/ 10731 h 28614"/>
                  <a:gd name="connsiteX1" fmla="*/ 10731 w 28614"/>
                  <a:gd name="connsiteY1" fmla="*/ 19172 h 28614"/>
                  <a:gd name="connsiteX2" fmla="*/ 19172 w 28614"/>
                  <a:gd name="connsiteY2" fmla="*/ 27613 h 28614"/>
                  <a:gd name="connsiteX3" fmla="*/ 19172 w 28614"/>
                  <a:gd name="connsiteY3" fmla="*/ 27613 h 28614"/>
                  <a:gd name="connsiteX4" fmla="*/ 27327 w 28614"/>
                  <a:gd name="connsiteY4" fmla="*/ 19458 h 28614"/>
                  <a:gd name="connsiteX5" fmla="*/ 19182 w 28614"/>
                  <a:gd name="connsiteY5" fmla="*/ 10731 h 28614"/>
                  <a:gd name="connsiteX6" fmla="*/ 19172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172" y="10731"/>
                    </a:moveTo>
                    <a:cubicBezTo>
                      <a:pt x="14509" y="10731"/>
                      <a:pt x="10731" y="14511"/>
                      <a:pt x="10731" y="19172"/>
                    </a:cubicBezTo>
                    <a:cubicBezTo>
                      <a:pt x="10731" y="23833"/>
                      <a:pt x="14511" y="27613"/>
                      <a:pt x="19172" y="27613"/>
                    </a:cubicBezTo>
                    <a:lnTo>
                      <a:pt x="19172" y="27613"/>
                    </a:lnTo>
                    <a:cubicBezTo>
                      <a:pt x="23676" y="27613"/>
                      <a:pt x="27327" y="23962"/>
                      <a:pt x="27327" y="19458"/>
                    </a:cubicBezTo>
                    <a:cubicBezTo>
                      <a:pt x="27487" y="14798"/>
                      <a:pt x="23841" y="10891"/>
                      <a:pt x="19182" y="10731"/>
                    </a:cubicBezTo>
                    <a:cubicBezTo>
                      <a:pt x="19178" y="10731"/>
                      <a:pt x="19175" y="10731"/>
                      <a:pt x="19172" y="10731"/>
                    </a:cubicBezTo>
                    <a:close/>
                  </a:path>
                </a:pathLst>
              </a:custGeom>
              <a:grpFill/>
              <a:ln w="9525" cap="flat">
                <a:noFill/>
                <a:prstDash val="solid"/>
                <a:miter/>
              </a:ln>
            </p:spPr>
            <p:txBody>
              <a:bodyPr rtlCol="0" anchor="ctr"/>
              <a:lstStyle/>
              <a:p>
                <a:endParaRPr lang="en-US" dirty="0"/>
              </a:p>
            </p:txBody>
          </p:sp>
          <p:sp>
            <p:nvSpPr>
              <p:cNvPr id="851" name="Freeform: Shape 850">
                <a:extLst>
                  <a:ext uri="{FF2B5EF4-FFF2-40B4-BE49-F238E27FC236}">
                    <a16:creationId xmlns:a16="http://schemas.microsoft.com/office/drawing/2014/main" id="{93FA85C7-9E29-48DF-8B4C-F033690C1A5B}"/>
                  </a:ext>
                </a:extLst>
              </p:cNvPr>
              <p:cNvSpPr/>
              <p:nvPr/>
            </p:nvSpPr>
            <p:spPr>
              <a:xfrm flipH="1" flipV="1">
                <a:off x="3101364" y="3526844"/>
                <a:ext cx="51717" cy="51717"/>
              </a:xfrm>
              <a:custGeom>
                <a:avLst/>
                <a:gdLst>
                  <a:gd name="connsiteX0" fmla="*/ 18457 w 28614"/>
                  <a:gd name="connsiteY0" fmla="*/ 10732 h 28614"/>
                  <a:gd name="connsiteX1" fmla="*/ 10732 w 28614"/>
                  <a:gd name="connsiteY1" fmla="*/ 18170 h 28614"/>
                  <a:gd name="connsiteX2" fmla="*/ 18171 w 28614"/>
                  <a:gd name="connsiteY2" fmla="*/ 25895 h 28614"/>
                  <a:gd name="connsiteX3" fmla="*/ 25895 w 28614"/>
                  <a:gd name="connsiteY3" fmla="*/ 18457 h 28614"/>
                  <a:gd name="connsiteX4" fmla="*/ 25896 w 28614"/>
                  <a:gd name="connsiteY4" fmla="*/ 18315 h 28614"/>
                  <a:gd name="connsiteX5" fmla="*/ 18601 w 28614"/>
                  <a:gd name="connsiteY5" fmla="*/ 10733 h 28614"/>
                  <a:gd name="connsiteX6" fmla="*/ 18457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57" y="10732"/>
                    </a:moveTo>
                    <a:cubicBezTo>
                      <a:pt x="14269" y="10653"/>
                      <a:pt x="10811" y="13983"/>
                      <a:pt x="10732" y="18170"/>
                    </a:cubicBezTo>
                    <a:cubicBezTo>
                      <a:pt x="10653" y="22358"/>
                      <a:pt x="13983" y="25816"/>
                      <a:pt x="18171" y="25895"/>
                    </a:cubicBezTo>
                    <a:cubicBezTo>
                      <a:pt x="22358" y="25974"/>
                      <a:pt x="25816" y="22644"/>
                      <a:pt x="25895" y="18457"/>
                    </a:cubicBezTo>
                    <a:cubicBezTo>
                      <a:pt x="25896" y="18409"/>
                      <a:pt x="25896" y="18362"/>
                      <a:pt x="25896" y="18315"/>
                    </a:cubicBezTo>
                    <a:cubicBezTo>
                      <a:pt x="25975" y="14207"/>
                      <a:pt x="22709" y="10812"/>
                      <a:pt x="18601" y="10733"/>
                    </a:cubicBezTo>
                    <a:cubicBezTo>
                      <a:pt x="18552" y="10732"/>
                      <a:pt x="18505" y="10732"/>
                      <a:pt x="18457" y="10732"/>
                    </a:cubicBezTo>
                    <a:close/>
                  </a:path>
                </a:pathLst>
              </a:custGeom>
              <a:grpFill/>
              <a:ln w="9525" cap="flat">
                <a:noFill/>
                <a:prstDash val="solid"/>
                <a:miter/>
              </a:ln>
            </p:spPr>
            <p:txBody>
              <a:bodyPr rtlCol="0" anchor="ctr"/>
              <a:lstStyle/>
              <a:p>
                <a:endParaRPr lang="en-US" dirty="0"/>
              </a:p>
            </p:txBody>
          </p:sp>
          <p:sp>
            <p:nvSpPr>
              <p:cNvPr id="852" name="Freeform: Shape 851">
                <a:extLst>
                  <a:ext uri="{FF2B5EF4-FFF2-40B4-BE49-F238E27FC236}">
                    <a16:creationId xmlns:a16="http://schemas.microsoft.com/office/drawing/2014/main" id="{13C7B76F-AFAE-467F-88F5-8215F29C9C58}"/>
                  </a:ext>
                </a:extLst>
              </p:cNvPr>
              <p:cNvSpPr/>
              <p:nvPr/>
            </p:nvSpPr>
            <p:spPr>
              <a:xfrm flipH="1" flipV="1">
                <a:off x="3245932" y="3615965"/>
                <a:ext cx="51717" cy="51717"/>
              </a:xfrm>
              <a:custGeom>
                <a:avLst/>
                <a:gdLst>
                  <a:gd name="connsiteX0" fmla="*/ 17753 w 28614"/>
                  <a:gd name="connsiteY0" fmla="*/ 10825 h 28614"/>
                  <a:gd name="connsiteX1" fmla="*/ 10742 w 28614"/>
                  <a:gd name="connsiteY1" fmla="*/ 17835 h 28614"/>
                  <a:gd name="connsiteX2" fmla="*/ 18733 w 28614"/>
                  <a:gd name="connsiteY2" fmla="*/ 26705 h 28614"/>
                  <a:gd name="connsiteX3" fmla="*/ 27339 w 28614"/>
                  <a:gd name="connsiteY3" fmla="*/ 20411 h 28614"/>
                  <a:gd name="connsiteX4" fmla="*/ 27339 w 28614"/>
                  <a:gd name="connsiteY4" fmla="*/ 17835 h 28614"/>
                  <a:gd name="connsiteX5" fmla="*/ 17753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753" y="10825"/>
                    </a:moveTo>
                    <a:cubicBezTo>
                      <a:pt x="14145" y="11399"/>
                      <a:pt x="11316" y="14229"/>
                      <a:pt x="10742" y="17835"/>
                    </a:cubicBezTo>
                    <a:cubicBezTo>
                      <a:pt x="10499" y="22491"/>
                      <a:pt x="14077" y="26463"/>
                      <a:pt x="18733" y="26705"/>
                    </a:cubicBezTo>
                    <a:cubicBezTo>
                      <a:pt x="22731" y="26914"/>
                      <a:pt x="26326" y="24284"/>
                      <a:pt x="27339" y="20411"/>
                    </a:cubicBezTo>
                    <a:cubicBezTo>
                      <a:pt x="27483" y="19558"/>
                      <a:pt x="27483" y="18688"/>
                      <a:pt x="27339" y="17835"/>
                    </a:cubicBezTo>
                    <a:cubicBezTo>
                      <a:pt x="26605" y="13266"/>
                      <a:pt x="22330" y="10139"/>
                      <a:pt x="17753" y="10825"/>
                    </a:cubicBezTo>
                    <a:close/>
                  </a:path>
                </a:pathLst>
              </a:custGeom>
              <a:grpFill/>
              <a:ln w="9525" cap="flat">
                <a:noFill/>
                <a:prstDash val="solid"/>
                <a:miter/>
              </a:ln>
            </p:spPr>
            <p:txBody>
              <a:bodyPr rtlCol="0" anchor="ctr"/>
              <a:lstStyle/>
              <a:p>
                <a:endParaRPr lang="en-US" dirty="0"/>
              </a:p>
            </p:txBody>
          </p:sp>
          <p:sp>
            <p:nvSpPr>
              <p:cNvPr id="853" name="Freeform: Shape 852">
                <a:extLst>
                  <a:ext uri="{FF2B5EF4-FFF2-40B4-BE49-F238E27FC236}">
                    <a16:creationId xmlns:a16="http://schemas.microsoft.com/office/drawing/2014/main" id="{BB51B227-4377-454D-A0C2-28CFBCED7974}"/>
                  </a:ext>
                </a:extLst>
              </p:cNvPr>
              <p:cNvSpPr/>
              <p:nvPr/>
            </p:nvSpPr>
            <p:spPr>
              <a:xfrm flipH="1" flipV="1">
                <a:off x="3100847" y="3616570"/>
                <a:ext cx="51717" cy="51717"/>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grpFill/>
              <a:ln w="9525" cap="flat">
                <a:noFill/>
                <a:prstDash val="solid"/>
                <a:miter/>
              </a:ln>
            </p:spPr>
            <p:txBody>
              <a:bodyPr rtlCol="0" anchor="ctr"/>
              <a:lstStyle/>
              <a:p>
                <a:endParaRPr lang="en-US" dirty="0"/>
              </a:p>
            </p:txBody>
          </p:sp>
          <p:sp>
            <p:nvSpPr>
              <p:cNvPr id="854" name="Freeform: Shape 853">
                <a:extLst>
                  <a:ext uri="{FF2B5EF4-FFF2-40B4-BE49-F238E27FC236}">
                    <a16:creationId xmlns:a16="http://schemas.microsoft.com/office/drawing/2014/main" id="{330E61B3-9A19-4F1D-BB21-DB14BBBB688B}"/>
                  </a:ext>
                </a:extLst>
              </p:cNvPr>
              <p:cNvSpPr/>
              <p:nvPr/>
            </p:nvSpPr>
            <p:spPr>
              <a:xfrm flipH="1" flipV="1">
                <a:off x="3100848" y="3438147"/>
                <a:ext cx="51717" cy="51717"/>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grpFill/>
              <a:ln w="9525" cap="flat">
                <a:noFill/>
                <a:prstDash val="solid"/>
                <a:miter/>
              </a:ln>
            </p:spPr>
            <p:txBody>
              <a:bodyPr rtlCol="0" anchor="ctr"/>
              <a:lstStyle/>
              <a:p>
                <a:endParaRPr lang="en-US" dirty="0"/>
              </a:p>
            </p:txBody>
          </p:sp>
          <p:grpSp>
            <p:nvGrpSpPr>
              <p:cNvPr id="855" name="Group 854">
                <a:extLst>
                  <a:ext uri="{FF2B5EF4-FFF2-40B4-BE49-F238E27FC236}">
                    <a16:creationId xmlns:a16="http://schemas.microsoft.com/office/drawing/2014/main" id="{D8252BED-3BF7-4798-AB97-2D4758BE2AC0}"/>
                  </a:ext>
                </a:extLst>
              </p:cNvPr>
              <p:cNvGrpSpPr/>
              <p:nvPr/>
            </p:nvGrpSpPr>
            <p:grpSpPr>
              <a:xfrm>
                <a:off x="3946930" y="3421083"/>
                <a:ext cx="77575" cy="347277"/>
                <a:chOff x="3946930" y="3421083"/>
                <a:chExt cx="77575" cy="347277"/>
              </a:xfrm>
              <a:grpFill/>
            </p:grpSpPr>
            <p:sp>
              <p:nvSpPr>
                <p:cNvPr id="874" name="Freeform: Shape 873">
                  <a:extLst>
                    <a:ext uri="{FF2B5EF4-FFF2-40B4-BE49-F238E27FC236}">
                      <a16:creationId xmlns:a16="http://schemas.microsoft.com/office/drawing/2014/main" id="{992FDDB3-FA9C-4C0D-8D5A-D4A4F11DC18F}"/>
                    </a:ext>
                  </a:extLst>
                </p:cNvPr>
                <p:cNvSpPr/>
                <p:nvPr/>
              </p:nvSpPr>
              <p:spPr>
                <a:xfrm flipH="1" flipV="1">
                  <a:off x="3946930" y="3510811"/>
                  <a:ext cx="77575" cy="77575"/>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endParaRPr lang="en-US" dirty="0"/>
                </a:p>
              </p:txBody>
            </p:sp>
            <p:sp>
              <p:nvSpPr>
                <p:cNvPr id="875" name="Freeform: Shape 874">
                  <a:extLst>
                    <a:ext uri="{FF2B5EF4-FFF2-40B4-BE49-F238E27FC236}">
                      <a16:creationId xmlns:a16="http://schemas.microsoft.com/office/drawing/2014/main" id="{11AC2280-32ED-4926-99E3-65B7105C4FFD}"/>
                    </a:ext>
                  </a:extLst>
                </p:cNvPr>
                <p:cNvSpPr/>
                <p:nvPr/>
              </p:nvSpPr>
              <p:spPr>
                <a:xfrm flipH="1" flipV="1">
                  <a:off x="3946930" y="3601056"/>
                  <a:ext cx="77575" cy="77575"/>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grpFill/>
                <a:ln w="9525" cap="flat">
                  <a:noFill/>
                  <a:prstDash val="solid"/>
                  <a:miter/>
                </a:ln>
              </p:spPr>
              <p:txBody>
                <a:bodyPr rtlCol="0" anchor="ctr"/>
                <a:lstStyle/>
                <a:p>
                  <a:endParaRPr lang="en-US" dirty="0"/>
                </a:p>
              </p:txBody>
            </p:sp>
            <p:sp>
              <p:nvSpPr>
                <p:cNvPr id="876" name="Freeform: Shape 875">
                  <a:extLst>
                    <a:ext uri="{FF2B5EF4-FFF2-40B4-BE49-F238E27FC236}">
                      <a16:creationId xmlns:a16="http://schemas.microsoft.com/office/drawing/2014/main" id="{9EA6813D-0C14-4B97-903A-BCB50C28F1B0}"/>
                    </a:ext>
                  </a:extLst>
                </p:cNvPr>
                <p:cNvSpPr/>
                <p:nvPr/>
              </p:nvSpPr>
              <p:spPr>
                <a:xfrm flipH="1" flipV="1">
                  <a:off x="3946930" y="3421083"/>
                  <a:ext cx="77575" cy="77575"/>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endParaRPr lang="en-US" dirty="0"/>
                </a:p>
              </p:txBody>
            </p:sp>
            <p:sp>
              <p:nvSpPr>
                <p:cNvPr id="877" name="Freeform: Shape 876">
                  <a:extLst>
                    <a:ext uri="{FF2B5EF4-FFF2-40B4-BE49-F238E27FC236}">
                      <a16:creationId xmlns:a16="http://schemas.microsoft.com/office/drawing/2014/main" id="{1C6C209F-BF83-4336-A3D4-B7E593930B3A}"/>
                    </a:ext>
                  </a:extLst>
                </p:cNvPr>
                <p:cNvSpPr/>
                <p:nvPr/>
              </p:nvSpPr>
              <p:spPr>
                <a:xfrm flipH="1" flipV="1">
                  <a:off x="3946930" y="3690785"/>
                  <a:ext cx="77575" cy="77575"/>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endParaRPr lang="en-US" dirty="0"/>
                </a:p>
              </p:txBody>
            </p:sp>
          </p:grpSp>
          <p:sp>
            <p:nvSpPr>
              <p:cNvPr id="856" name="Freeform: Shape 855">
                <a:extLst>
                  <a:ext uri="{FF2B5EF4-FFF2-40B4-BE49-F238E27FC236}">
                    <a16:creationId xmlns:a16="http://schemas.microsoft.com/office/drawing/2014/main" id="{31B886CD-6456-41DB-A5AA-25C524B735AB}"/>
                  </a:ext>
                </a:extLst>
              </p:cNvPr>
              <p:cNvSpPr/>
              <p:nvPr/>
            </p:nvSpPr>
            <p:spPr>
              <a:xfrm flipH="1" flipV="1">
                <a:off x="3536818" y="3531754"/>
                <a:ext cx="51717" cy="51717"/>
              </a:xfrm>
              <a:custGeom>
                <a:avLst/>
                <a:gdLst>
                  <a:gd name="connsiteX0" fmla="*/ 21175 w 28614"/>
                  <a:gd name="connsiteY0" fmla="*/ 31333 h 28614"/>
                  <a:gd name="connsiteX1" fmla="*/ 31476 w 28614"/>
                  <a:gd name="connsiteY1" fmla="*/ 21032 h 28614"/>
                  <a:gd name="connsiteX2" fmla="*/ 21175 w 28614"/>
                  <a:gd name="connsiteY2" fmla="*/ 10731 h 28614"/>
                  <a:gd name="connsiteX3" fmla="*/ 21175 w 28614"/>
                  <a:gd name="connsiteY3" fmla="*/ 10731 h 28614"/>
                  <a:gd name="connsiteX4" fmla="*/ 10731 w 28614"/>
                  <a:gd name="connsiteY4" fmla="*/ 21175 h 28614"/>
                  <a:gd name="connsiteX5" fmla="*/ 20889 w 28614"/>
                  <a:gd name="connsiteY5"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1175" y="31333"/>
                    </a:moveTo>
                    <a:cubicBezTo>
                      <a:pt x="26864" y="31333"/>
                      <a:pt x="31476" y="26721"/>
                      <a:pt x="31476" y="21032"/>
                    </a:cubicBezTo>
                    <a:cubicBezTo>
                      <a:pt x="31476" y="15343"/>
                      <a:pt x="26864" y="10731"/>
                      <a:pt x="21175" y="10731"/>
                    </a:cubicBezTo>
                    <a:lnTo>
                      <a:pt x="21175" y="10731"/>
                    </a:lnTo>
                    <a:cubicBezTo>
                      <a:pt x="15406" y="10731"/>
                      <a:pt x="10731" y="15406"/>
                      <a:pt x="10731" y="21175"/>
                    </a:cubicBezTo>
                    <a:cubicBezTo>
                      <a:pt x="10731" y="26785"/>
                      <a:pt x="15279" y="31333"/>
                      <a:pt x="20889" y="31333"/>
                    </a:cubicBezTo>
                    <a:close/>
                  </a:path>
                </a:pathLst>
              </a:custGeom>
              <a:grpFill/>
              <a:ln w="9525" cap="flat">
                <a:noFill/>
                <a:prstDash val="solid"/>
                <a:miter/>
              </a:ln>
            </p:spPr>
            <p:txBody>
              <a:bodyPr rtlCol="0" anchor="ctr"/>
              <a:lstStyle/>
              <a:p>
                <a:endParaRPr lang="en-US" dirty="0"/>
              </a:p>
            </p:txBody>
          </p:sp>
          <p:sp>
            <p:nvSpPr>
              <p:cNvPr id="857" name="Freeform: Shape 856">
                <a:extLst>
                  <a:ext uri="{FF2B5EF4-FFF2-40B4-BE49-F238E27FC236}">
                    <a16:creationId xmlns:a16="http://schemas.microsoft.com/office/drawing/2014/main" id="{DB4E762D-9B24-41C5-AEF9-744E5A9C2698}"/>
                  </a:ext>
                </a:extLst>
              </p:cNvPr>
              <p:cNvSpPr/>
              <p:nvPr/>
            </p:nvSpPr>
            <p:spPr>
              <a:xfrm flipH="1" flipV="1">
                <a:off x="3516322" y="3711920"/>
                <a:ext cx="77575" cy="51717"/>
              </a:xfrm>
              <a:custGeom>
                <a:avLst/>
                <a:gdLst>
                  <a:gd name="connsiteX0" fmla="*/ 18133 w 42922"/>
                  <a:gd name="connsiteY0" fmla="*/ 30724 h 28614"/>
                  <a:gd name="connsiteX1" fmla="*/ 23713 w 42922"/>
                  <a:gd name="connsiteY1" fmla="*/ 30724 h 28614"/>
                  <a:gd name="connsiteX2" fmla="*/ 33871 w 42922"/>
                  <a:gd name="connsiteY2" fmla="*/ 20852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83" y="30652"/>
                      <a:pt x="33644" y="26317"/>
                      <a:pt x="33871" y="20852"/>
                    </a:cubicBezTo>
                    <a:cubicBezTo>
                      <a:pt x="33641" y="15409"/>
                      <a:pt x="29160" y="11118"/>
                      <a:pt x="23713" y="11123"/>
                    </a:cubicBezTo>
                    <a:cubicBezTo>
                      <a:pt x="18301" y="9582"/>
                      <a:pt x="12664" y="12721"/>
                      <a:pt x="11123" y="18133"/>
                    </a:cubicBezTo>
                    <a:cubicBezTo>
                      <a:pt x="9582" y="23546"/>
                      <a:pt x="12721" y="29183"/>
                      <a:pt x="18133" y="30724"/>
                    </a:cubicBezTo>
                    <a:close/>
                  </a:path>
                </a:pathLst>
              </a:custGeom>
              <a:grpFill/>
              <a:ln w="9525" cap="flat">
                <a:noFill/>
                <a:prstDash val="solid"/>
                <a:miter/>
              </a:ln>
            </p:spPr>
            <p:txBody>
              <a:bodyPr rtlCol="0" anchor="ctr"/>
              <a:lstStyle/>
              <a:p>
                <a:endParaRPr lang="en-US" dirty="0"/>
              </a:p>
            </p:txBody>
          </p:sp>
          <p:sp>
            <p:nvSpPr>
              <p:cNvPr id="858" name="Freeform: Shape 857">
                <a:extLst>
                  <a:ext uri="{FF2B5EF4-FFF2-40B4-BE49-F238E27FC236}">
                    <a16:creationId xmlns:a16="http://schemas.microsoft.com/office/drawing/2014/main" id="{61C54BBD-C899-43AF-8A7F-CF0619F93024}"/>
                  </a:ext>
                </a:extLst>
              </p:cNvPr>
              <p:cNvSpPr/>
              <p:nvPr/>
            </p:nvSpPr>
            <p:spPr>
              <a:xfrm flipH="1" flipV="1">
                <a:off x="3525441" y="3449268"/>
                <a:ext cx="25858" cy="25858"/>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grpFill/>
              <a:ln w="9525" cap="flat">
                <a:noFill/>
                <a:prstDash val="solid"/>
                <a:miter/>
              </a:ln>
            </p:spPr>
            <p:txBody>
              <a:bodyPr rtlCol="0" anchor="ctr"/>
              <a:lstStyle/>
              <a:p>
                <a:endParaRPr lang="en-US" dirty="0"/>
              </a:p>
            </p:txBody>
          </p:sp>
          <p:sp>
            <p:nvSpPr>
              <p:cNvPr id="859" name="Freeform: Shape 858">
                <a:extLst>
                  <a:ext uri="{FF2B5EF4-FFF2-40B4-BE49-F238E27FC236}">
                    <a16:creationId xmlns:a16="http://schemas.microsoft.com/office/drawing/2014/main" id="{90BB716F-59F0-4C69-9A6C-A515DD0C516D}"/>
                  </a:ext>
                </a:extLst>
              </p:cNvPr>
              <p:cNvSpPr/>
              <p:nvPr/>
            </p:nvSpPr>
            <p:spPr>
              <a:xfrm flipH="1" flipV="1">
                <a:off x="3516322" y="3442476"/>
                <a:ext cx="77575" cy="51717"/>
              </a:xfrm>
              <a:custGeom>
                <a:avLst/>
                <a:gdLst>
                  <a:gd name="connsiteX0" fmla="*/ 18133 w 42922"/>
                  <a:gd name="connsiteY0" fmla="*/ 30724 h 28614"/>
                  <a:gd name="connsiteX1" fmla="*/ 23713 w 42922"/>
                  <a:gd name="connsiteY1" fmla="*/ 30724 h 28614"/>
                  <a:gd name="connsiteX2" fmla="*/ 33871 w 42922"/>
                  <a:gd name="connsiteY2" fmla="*/ 20995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60" y="30728"/>
                      <a:pt x="33641" y="26437"/>
                      <a:pt x="33871" y="20995"/>
                    </a:cubicBezTo>
                    <a:cubicBezTo>
                      <a:pt x="33644" y="15529"/>
                      <a:pt x="29183" y="11194"/>
                      <a:pt x="23713" y="11123"/>
                    </a:cubicBezTo>
                    <a:cubicBezTo>
                      <a:pt x="18301" y="9582"/>
                      <a:pt x="12664" y="12721"/>
                      <a:pt x="11123" y="18133"/>
                    </a:cubicBezTo>
                    <a:cubicBezTo>
                      <a:pt x="9582" y="23546"/>
                      <a:pt x="12721" y="29183"/>
                      <a:pt x="18133" y="30724"/>
                    </a:cubicBezTo>
                    <a:close/>
                  </a:path>
                </a:pathLst>
              </a:custGeom>
              <a:grpFill/>
              <a:ln w="9525" cap="flat">
                <a:noFill/>
                <a:prstDash val="solid"/>
                <a:miter/>
              </a:ln>
            </p:spPr>
            <p:txBody>
              <a:bodyPr rtlCol="0" anchor="ctr"/>
              <a:lstStyle/>
              <a:p>
                <a:endParaRPr lang="en-US" dirty="0"/>
              </a:p>
            </p:txBody>
          </p:sp>
          <p:sp>
            <p:nvSpPr>
              <p:cNvPr id="860" name="Freeform: Shape 859">
                <a:extLst>
                  <a:ext uri="{FF2B5EF4-FFF2-40B4-BE49-F238E27FC236}">
                    <a16:creationId xmlns:a16="http://schemas.microsoft.com/office/drawing/2014/main" id="{963EB243-502F-4D02-B59E-71820FC10D5A}"/>
                  </a:ext>
                </a:extLst>
              </p:cNvPr>
              <p:cNvSpPr/>
              <p:nvPr/>
            </p:nvSpPr>
            <p:spPr>
              <a:xfrm flipH="1" flipV="1">
                <a:off x="3536818" y="3621490"/>
                <a:ext cx="51717" cy="51717"/>
              </a:xfrm>
              <a:custGeom>
                <a:avLst/>
                <a:gdLst>
                  <a:gd name="connsiteX0" fmla="*/ 21175 w 28614"/>
                  <a:gd name="connsiteY0" fmla="*/ 10735 h 28614"/>
                  <a:gd name="connsiteX1" fmla="*/ 10733 w 28614"/>
                  <a:gd name="connsiteY1" fmla="*/ 20603 h 28614"/>
                  <a:gd name="connsiteX2" fmla="*/ 10731 w 28614"/>
                  <a:gd name="connsiteY2" fmla="*/ 20750 h 28614"/>
                  <a:gd name="connsiteX3" fmla="*/ 10731 w 28614"/>
                  <a:gd name="connsiteY3" fmla="*/ 20750 h 28614"/>
                  <a:gd name="connsiteX4" fmla="*/ 21175 w 28614"/>
                  <a:gd name="connsiteY4" fmla="*/ 31194 h 28614"/>
                  <a:gd name="connsiteX5" fmla="*/ 31333 w 28614"/>
                  <a:gd name="connsiteY5" fmla="*/ 21036 h 28614"/>
                  <a:gd name="connsiteX6" fmla="*/ 31333 w 28614"/>
                  <a:gd name="connsiteY6" fmla="*/ 21036 h 28614"/>
                  <a:gd name="connsiteX7" fmla="*/ 21320 w 28614"/>
                  <a:gd name="connsiteY7" fmla="*/ 10736 h 28614"/>
                  <a:gd name="connsiteX8" fmla="*/ 21175 w 28614"/>
                  <a:gd name="connsiteY8"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175" y="10735"/>
                    </a:moveTo>
                    <a:cubicBezTo>
                      <a:pt x="15567" y="10576"/>
                      <a:pt x="10892" y="14994"/>
                      <a:pt x="10733" y="20603"/>
                    </a:cubicBezTo>
                    <a:cubicBezTo>
                      <a:pt x="10732" y="20651"/>
                      <a:pt x="10731" y="20701"/>
                      <a:pt x="10731" y="20750"/>
                    </a:cubicBezTo>
                    <a:lnTo>
                      <a:pt x="10731" y="20750"/>
                    </a:lnTo>
                    <a:cubicBezTo>
                      <a:pt x="10731" y="26519"/>
                      <a:pt x="15406" y="31194"/>
                      <a:pt x="21175" y="31194"/>
                    </a:cubicBezTo>
                    <a:cubicBezTo>
                      <a:pt x="26785" y="31194"/>
                      <a:pt x="31333" y="26646"/>
                      <a:pt x="31333" y="21036"/>
                    </a:cubicBezTo>
                    <a:lnTo>
                      <a:pt x="31333" y="21036"/>
                    </a:lnTo>
                    <a:cubicBezTo>
                      <a:pt x="31412" y="15426"/>
                      <a:pt x="26929" y="10815"/>
                      <a:pt x="21320" y="10736"/>
                    </a:cubicBezTo>
                    <a:cubicBezTo>
                      <a:pt x="21271" y="10735"/>
                      <a:pt x="21224" y="10735"/>
                      <a:pt x="21175" y="10735"/>
                    </a:cubicBezTo>
                    <a:close/>
                  </a:path>
                </a:pathLst>
              </a:custGeom>
              <a:grpFill/>
              <a:ln w="9525" cap="flat">
                <a:noFill/>
                <a:prstDash val="solid"/>
                <a:miter/>
              </a:ln>
            </p:spPr>
            <p:txBody>
              <a:bodyPr rtlCol="0" anchor="ctr"/>
              <a:lstStyle/>
              <a:p>
                <a:endParaRPr lang="en-US" dirty="0"/>
              </a:p>
            </p:txBody>
          </p:sp>
          <p:sp>
            <p:nvSpPr>
              <p:cNvPr id="861" name="Freeform: Shape 860">
                <a:extLst>
                  <a:ext uri="{FF2B5EF4-FFF2-40B4-BE49-F238E27FC236}">
                    <a16:creationId xmlns:a16="http://schemas.microsoft.com/office/drawing/2014/main" id="{58E8BB15-25FF-4081-B894-3E0DFB388093}"/>
                  </a:ext>
                </a:extLst>
              </p:cNvPr>
              <p:cNvSpPr/>
              <p:nvPr/>
            </p:nvSpPr>
            <p:spPr>
              <a:xfrm flipH="1" flipV="1">
                <a:off x="3656800" y="3507972"/>
                <a:ext cx="77575" cy="77575"/>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grpFill/>
              <a:ln w="9525" cap="flat">
                <a:noFill/>
                <a:prstDash val="solid"/>
                <a:miter/>
              </a:ln>
            </p:spPr>
            <p:txBody>
              <a:bodyPr rtlCol="0" anchor="ctr"/>
              <a:lstStyle/>
              <a:p>
                <a:endParaRPr lang="en-US" dirty="0"/>
              </a:p>
            </p:txBody>
          </p:sp>
          <p:sp>
            <p:nvSpPr>
              <p:cNvPr id="862" name="Freeform: Shape 861">
                <a:extLst>
                  <a:ext uri="{FF2B5EF4-FFF2-40B4-BE49-F238E27FC236}">
                    <a16:creationId xmlns:a16="http://schemas.microsoft.com/office/drawing/2014/main" id="{2D05EA84-0510-41CD-AD40-67CDEFBEE1EF}"/>
                  </a:ext>
                </a:extLst>
              </p:cNvPr>
              <p:cNvSpPr/>
              <p:nvPr/>
            </p:nvSpPr>
            <p:spPr>
              <a:xfrm flipH="1" flipV="1">
                <a:off x="3801348" y="3688974"/>
                <a:ext cx="77575" cy="77575"/>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endParaRPr lang="en-US" dirty="0"/>
              </a:p>
            </p:txBody>
          </p:sp>
          <p:sp>
            <p:nvSpPr>
              <p:cNvPr id="863" name="Freeform: Shape 862">
                <a:extLst>
                  <a:ext uri="{FF2B5EF4-FFF2-40B4-BE49-F238E27FC236}">
                    <a16:creationId xmlns:a16="http://schemas.microsoft.com/office/drawing/2014/main" id="{DA7ACA6B-7F0D-4147-839A-E111AF3CB50B}"/>
                  </a:ext>
                </a:extLst>
              </p:cNvPr>
              <p:cNvSpPr/>
              <p:nvPr/>
            </p:nvSpPr>
            <p:spPr>
              <a:xfrm flipH="1" flipV="1">
                <a:off x="3656460" y="3595023"/>
                <a:ext cx="77575" cy="77575"/>
              </a:xfrm>
              <a:custGeom>
                <a:avLst/>
                <a:gdLst>
                  <a:gd name="connsiteX0" fmla="*/ 20558 w 42922"/>
                  <a:gd name="connsiteY0" fmla="*/ 10827 h 42922"/>
                  <a:gd name="connsiteX1" fmla="*/ 10829 w 42922"/>
                  <a:gd name="connsiteY1" fmla="*/ 20556 h 42922"/>
                  <a:gd name="connsiteX2" fmla="*/ 20558 w 42922"/>
                  <a:gd name="connsiteY2" fmla="*/ 33240 h 42922"/>
                  <a:gd name="connsiteX3" fmla="*/ 33241 w 42922"/>
                  <a:gd name="connsiteY3" fmla="*/ 23511 h 42922"/>
                  <a:gd name="connsiteX4" fmla="*/ 23512 w 42922"/>
                  <a:gd name="connsiteY4" fmla="*/ 10827 h 42922"/>
                  <a:gd name="connsiteX5" fmla="*/ 20558 w 42922"/>
                  <a:gd name="connsiteY5" fmla="*/ 1082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58" y="10827"/>
                    </a:moveTo>
                    <a:cubicBezTo>
                      <a:pt x="15463" y="11448"/>
                      <a:pt x="11450" y="15461"/>
                      <a:pt x="10829" y="20556"/>
                    </a:cubicBezTo>
                    <a:cubicBezTo>
                      <a:pt x="10013" y="26746"/>
                      <a:pt x="14368" y="32423"/>
                      <a:pt x="20558" y="33240"/>
                    </a:cubicBezTo>
                    <a:cubicBezTo>
                      <a:pt x="26747" y="34055"/>
                      <a:pt x="32424" y="29699"/>
                      <a:pt x="33241" y="23511"/>
                    </a:cubicBezTo>
                    <a:cubicBezTo>
                      <a:pt x="34057" y="17321"/>
                      <a:pt x="29700" y="11643"/>
                      <a:pt x="23512" y="10827"/>
                    </a:cubicBezTo>
                    <a:cubicBezTo>
                      <a:pt x="22531" y="10698"/>
                      <a:pt x="21538" y="10698"/>
                      <a:pt x="20558" y="10827"/>
                    </a:cubicBezTo>
                    <a:close/>
                  </a:path>
                </a:pathLst>
              </a:custGeom>
              <a:grpFill/>
              <a:ln w="9525" cap="flat">
                <a:noFill/>
                <a:prstDash val="solid"/>
                <a:miter/>
              </a:ln>
            </p:spPr>
            <p:txBody>
              <a:bodyPr rtlCol="0" anchor="ctr"/>
              <a:lstStyle/>
              <a:p>
                <a:endParaRPr lang="en-US" dirty="0"/>
              </a:p>
            </p:txBody>
          </p:sp>
          <p:sp>
            <p:nvSpPr>
              <p:cNvPr id="864" name="Freeform: Shape 863">
                <a:extLst>
                  <a:ext uri="{FF2B5EF4-FFF2-40B4-BE49-F238E27FC236}">
                    <a16:creationId xmlns:a16="http://schemas.microsoft.com/office/drawing/2014/main" id="{D7CBDA1F-D9CD-47A3-ADF0-3BFF625CD4A6}"/>
                  </a:ext>
                </a:extLst>
              </p:cNvPr>
              <p:cNvSpPr/>
              <p:nvPr/>
            </p:nvSpPr>
            <p:spPr>
              <a:xfrm flipH="1" flipV="1">
                <a:off x="3656428" y="3415313"/>
                <a:ext cx="77575" cy="77575"/>
              </a:xfrm>
              <a:custGeom>
                <a:avLst/>
                <a:gdLst>
                  <a:gd name="connsiteX0" fmla="*/ 20540 w 42922"/>
                  <a:gd name="connsiteY0" fmla="*/ 10829 h 42922"/>
                  <a:gd name="connsiteX1" fmla="*/ 10810 w 42922"/>
                  <a:gd name="connsiteY1" fmla="*/ 20702 h 42922"/>
                  <a:gd name="connsiteX2" fmla="*/ 20703 w 42922"/>
                  <a:gd name="connsiteY2" fmla="*/ 33258 h 42922"/>
                  <a:gd name="connsiteX3" fmla="*/ 33259 w 42922"/>
                  <a:gd name="connsiteY3" fmla="*/ 23364 h 42922"/>
                  <a:gd name="connsiteX4" fmla="*/ 23367 w 42922"/>
                  <a:gd name="connsiteY4" fmla="*/ 10809 h 42922"/>
                  <a:gd name="connsiteX5" fmla="*/ 20540 w 42922"/>
                  <a:gd name="connsiteY5" fmla="*/ 1082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40" y="10829"/>
                    </a:moveTo>
                    <a:cubicBezTo>
                      <a:pt x="15446" y="11559"/>
                      <a:pt x="11466" y="15598"/>
                      <a:pt x="10810" y="20702"/>
                    </a:cubicBezTo>
                    <a:cubicBezTo>
                      <a:pt x="10075" y="26901"/>
                      <a:pt x="14505" y="32522"/>
                      <a:pt x="20703" y="33258"/>
                    </a:cubicBezTo>
                    <a:cubicBezTo>
                      <a:pt x="26902" y="33993"/>
                      <a:pt x="32523" y="29564"/>
                      <a:pt x="33259" y="23364"/>
                    </a:cubicBezTo>
                    <a:cubicBezTo>
                      <a:pt x="33994" y="17166"/>
                      <a:pt x="29565" y="11545"/>
                      <a:pt x="23367" y="10809"/>
                    </a:cubicBezTo>
                    <a:cubicBezTo>
                      <a:pt x="22427" y="10698"/>
                      <a:pt x="21477" y="10705"/>
                      <a:pt x="20540" y="10829"/>
                    </a:cubicBezTo>
                    <a:close/>
                  </a:path>
                </a:pathLst>
              </a:custGeom>
              <a:grpFill/>
              <a:ln w="9525" cap="flat">
                <a:noFill/>
                <a:prstDash val="solid"/>
                <a:miter/>
              </a:ln>
            </p:spPr>
            <p:txBody>
              <a:bodyPr rtlCol="0" anchor="ctr"/>
              <a:lstStyle/>
              <a:p>
                <a:endParaRPr lang="en-US" dirty="0"/>
              </a:p>
            </p:txBody>
          </p:sp>
          <p:sp>
            <p:nvSpPr>
              <p:cNvPr id="865" name="Freeform: Shape 864">
                <a:extLst>
                  <a:ext uri="{FF2B5EF4-FFF2-40B4-BE49-F238E27FC236}">
                    <a16:creationId xmlns:a16="http://schemas.microsoft.com/office/drawing/2014/main" id="{A61F3F80-62B1-49D3-A255-CFDF6DE50E63}"/>
                  </a:ext>
                </a:extLst>
              </p:cNvPr>
              <p:cNvSpPr/>
              <p:nvPr/>
            </p:nvSpPr>
            <p:spPr>
              <a:xfrm flipH="1" flipV="1">
                <a:off x="3801864" y="3419532"/>
                <a:ext cx="77575" cy="77575"/>
              </a:xfrm>
              <a:custGeom>
                <a:avLst/>
                <a:gdLst>
                  <a:gd name="connsiteX0" fmla="*/ 23178 w 42922"/>
                  <a:gd name="connsiteY0" fmla="*/ 10731 h 42922"/>
                  <a:gd name="connsiteX1" fmla="*/ 10731 w 42922"/>
                  <a:gd name="connsiteY1" fmla="*/ 22891 h 42922"/>
                  <a:gd name="connsiteX2" fmla="*/ 22891 w 42922"/>
                  <a:gd name="connsiteY2" fmla="*/ 35339 h 42922"/>
                  <a:gd name="connsiteX3" fmla="*/ 35337 w 42922"/>
                  <a:gd name="connsiteY3" fmla="*/ 23178 h 42922"/>
                  <a:gd name="connsiteX4" fmla="*/ 35339 w 42922"/>
                  <a:gd name="connsiteY4" fmla="*/ 23036 h 42922"/>
                  <a:gd name="connsiteX5" fmla="*/ 2317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178" y="10731"/>
                    </a:moveTo>
                    <a:cubicBezTo>
                      <a:pt x="16383" y="10653"/>
                      <a:pt x="10810" y="16097"/>
                      <a:pt x="10731" y="22891"/>
                    </a:cubicBezTo>
                    <a:cubicBezTo>
                      <a:pt x="10651" y="29687"/>
                      <a:pt x="16097" y="35260"/>
                      <a:pt x="22891" y="35339"/>
                    </a:cubicBezTo>
                    <a:cubicBezTo>
                      <a:pt x="29686" y="35418"/>
                      <a:pt x="35259" y="29974"/>
                      <a:pt x="35337" y="23178"/>
                    </a:cubicBezTo>
                    <a:cubicBezTo>
                      <a:pt x="35339" y="23130"/>
                      <a:pt x="35339" y="23083"/>
                      <a:pt x="35339" y="23036"/>
                    </a:cubicBezTo>
                    <a:cubicBezTo>
                      <a:pt x="35339" y="16296"/>
                      <a:pt x="29918" y="10810"/>
                      <a:pt x="23178" y="10731"/>
                    </a:cubicBezTo>
                    <a:close/>
                  </a:path>
                </a:pathLst>
              </a:custGeom>
              <a:grpFill/>
              <a:ln w="9525" cap="flat">
                <a:noFill/>
                <a:prstDash val="solid"/>
                <a:miter/>
              </a:ln>
            </p:spPr>
            <p:txBody>
              <a:bodyPr rtlCol="0" anchor="ctr"/>
              <a:lstStyle/>
              <a:p>
                <a:endParaRPr lang="en-US" dirty="0"/>
              </a:p>
            </p:txBody>
          </p:sp>
          <p:sp>
            <p:nvSpPr>
              <p:cNvPr id="866" name="Freeform: Shape 865">
                <a:extLst>
                  <a:ext uri="{FF2B5EF4-FFF2-40B4-BE49-F238E27FC236}">
                    <a16:creationId xmlns:a16="http://schemas.microsoft.com/office/drawing/2014/main" id="{E47D40B7-865D-4737-B17D-2C53D5592738}"/>
                  </a:ext>
                </a:extLst>
              </p:cNvPr>
              <p:cNvSpPr/>
              <p:nvPr/>
            </p:nvSpPr>
            <p:spPr>
              <a:xfrm flipH="1" flipV="1">
                <a:off x="3656802" y="3687945"/>
                <a:ext cx="77575" cy="77575"/>
              </a:xfrm>
              <a:custGeom>
                <a:avLst/>
                <a:gdLst>
                  <a:gd name="connsiteX0" fmla="*/ 22321 w 42922"/>
                  <a:gd name="connsiteY0" fmla="*/ 10734 h 42922"/>
                  <a:gd name="connsiteX1" fmla="*/ 10734 w 42922"/>
                  <a:gd name="connsiteY1" fmla="*/ 21747 h 42922"/>
                  <a:gd name="connsiteX2" fmla="*/ 10732 w 42922"/>
                  <a:gd name="connsiteY2" fmla="*/ 21894 h 42922"/>
                  <a:gd name="connsiteX3" fmla="*/ 22033 w 42922"/>
                  <a:gd name="connsiteY3" fmla="*/ 33483 h 42922"/>
                  <a:gd name="connsiteX4" fmla="*/ 22034 w 42922"/>
                  <a:gd name="connsiteY4" fmla="*/ 33483 h 42922"/>
                  <a:gd name="connsiteX5" fmla="*/ 22034 w 42922"/>
                  <a:gd name="connsiteY5" fmla="*/ 33483 h 42922"/>
                  <a:gd name="connsiteX6" fmla="*/ 33336 w 42922"/>
                  <a:gd name="connsiteY6" fmla="*/ 22468 h 42922"/>
                  <a:gd name="connsiteX7" fmla="*/ 33337 w 42922"/>
                  <a:gd name="connsiteY7" fmla="*/ 22323 h 42922"/>
                  <a:gd name="connsiteX8" fmla="*/ 22328 w 42922"/>
                  <a:gd name="connsiteY8" fmla="*/ 10734 h 42922"/>
                  <a:gd name="connsiteX9" fmla="*/ 22321 w 42922"/>
                  <a:gd name="connsiteY9"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2321" y="10734"/>
                    </a:moveTo>
                    <a:cubicBezTo>
                      <a:pt x="16080" y="10576"/>
                      <a:pt x="10893" y="15506"/>
                      <a:pt x="10734" y="21747"/>
                    </a:cubicBezTo>
                    <a:cubicBezTo>
                      <a:pt x="10733" y="21795"/>
                      <a:pt x="10732" y="21846"/>
                      <a:pt x="10732" y="21894"/>
                    </a:cubicBezTo>
                    <a:cubicBezTo>
                      <a:pt x="10651" y="28215"/>
                      <a:pt x="15712" y="33403"/>
                      <a:pt x="22033" y="33483"/>
                    </a:cubicBezTo>
                    <a:cubicBezTo>
                      <a:pt x="22033" y="33483"/>
                      <a:pt x="22034" y="33483"/>
                      <a:pt x="22034" y="33483"/>
                    </a:cubicBezTo>
                    <a:lnTo>
                      <a:pt x="22034" y="33483"/>
                    </a:lnTo>
                    <a:cubicBezTo>
                      <a:pt x="28197" y="33562"/>
                      <a:pt x="33257" y="28630"/>
                      <a:pt x="33336" y="22468"/>
                    </a:cubicBezTo>
                    <a:cubicBezTo>
                      <a:pt x="33337" y="22419"/>
                      <a:pt x="33337" y="22372"/>
                      <a:pt x="33337" y="22323"/>
                    </a:cubicBezTo>
                    <a:cubicBezTo>
                      <a:pt x="33498" y="16082"/>
                      <a:pt x="28569" y="10895"/>
                      <a:pt x="22328" y="10734"/>
                    </a:cubicBezTo>
                    <a:cubicBezTo>
                      <a:pt x="22325" y="10734"/>
                      <a:pt x="22323" y="10734"/>
                      <a:pt x="22321" y="10734"/>
                    </a:cubicBezTo>
                    <a:close/>
                  </a:path>
                </a:pathLst>
              </a:custGeom>
              <a:grpFill/>
              <a:ln w="9525" cap="flat">
                <a:noFill/>
                <a:prstDash val="solid"/>
                <a:miter/>
              </a:ln>
            </p:spPr>
            <p:txBody>
              <a:bodyPr rtlCol="0" anchor="ctr"/>
              <a:lstStyle/>
              <a:p>
                <a:endParaRPr lang="en-US" dirty="0"/>
              </a:p>
            </p:txBody>
          </p:sp>
          <p:sp>
            <p:nvSpPr>
              <p:cNvPr id="867" name="Freeform: Shape 866">
                <a:extLst>
                  <a:ext uri="{FF2B5EF4-FFF2-40B4-BE49-F238E27FC236}">
                    <a16:creationId xmlns:a16="http://schemas.microsoft.com/office/drawing/2014/main" id="{C45E900F-876C-4317-A0B9-1CAFC5DC5FC6}"/>
                  </a:ext>
                </a:extLst>
              </p:cNvPr>
              <p:cNvSpPr/>
              <p:nvPr/>
            </p:nvSpPr>
            <p:spPr>
              <a:xfrm flipH="1" flipV="1">
                <a:off x="3801348" y="3599245"/>
                <a:ext cx="77575" cy="77575"/>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3321 h 42922"/>
                  <a:gd name="connsiteX4" fmla="*/ 35053 w 42922"/>
                  <a:gd name="connsiteY4" fmla="*/ 23321 h 42922"/>
                  <a:gd name="connsiteX5" fmla="*/ 23328 w 42922"/>
                  <a:gd name="connsiteY5" fmla="*/ 10738 h 42922"/>
                  <a:gd name="connsiteX6" fmla="*/ 22892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1"/>
                    </a:moveTo>
                    <a:cubicBezTo>
                      <a:pt x="16176" y="10731"/>
                      <a:pt x="10731" y="16176"/>
                      <a:pt x="10731" y="22892"/>
                    </a:cubicBezTo>
                    <a:cubicBezTo>
                      <a:pt x="10731" y="29608"/>
                      <a:pt x="16176" y="35053"/>
                      <a:pt x="22892" y="35053"/>
                    </a:cubicBezTo>
                    <a:cubicBezTo>
                      <a:pt x="29475" y="35133"/>
                      <a:pt x="34897" y="29903"/>
                      <a:pt x="35053" y="23321"/>
                    </a:cubicBezTo>
                    <a:lnTo>
                      <a:pt x="35053" y="23321"/>
                    </a:lnTo>
                    <a:cubicBezTo>
                      <a:pt x="35291" y="16610"/>
                      <a:pt x="30041" y="10975"/>
                      <a:pt x="23328" y="10738"/>
                    </a:cubicBezTo>
                    <a:cubicBezTo>
                      <a:pt x="23184" y="10733"/>
                      <a:pt x="23038" y="10731"/>
                      <a:pt x="22892" y="10731"/>
                    </a:cubicBezTo>
                    <a:close/>
                  </a:path>
                </a:pathLst>
              </a:custGeom>
              <a:grpFill/>
              <a:ln w="9525" cap="flat">
                <a:noFill/>
                <a:prstDash val="solid"/>
                <a:miter/>
              </a:ln>
            </p:spPr>
            <p:txBody>
              <a:bodyPr rtlCol="0" anchor="ctr"/>
              <a:lstStyle/>
              <a:p>
                <a:endParaRPr lang="en-US" dirty="0"/>
              </a:p>
            </p:txBody>
          </p:sp>
          <p:sp>
            <p:nvSpPr>
              <p:cNvPr id="868" name="Freeform: Shape 867">
                <a:extLst>
                  <a:ext uri="{FF2B5EF4-FFF2-40B4-BE49-F238E27FC236}">
                    <a16:creationId xmlns:a16="http://schemas.microsoft.com/office/drawing/2014/main" id="{12E6EC60-8E8B-46D6-99B0-BD2063F219B3}"/>
                  </a:ext>
                </a:extLst>
              </p:cNvPr>
              <p:cNvSpPr/>
              <p:nvPr/>
            </p:nvSpPr>
            <p:spPr>
              <a:xfrm flipH="1" flipV="1">
                <a:off x="3801864" y="3509260"/>
                <a:ext cx="77575" cy="77575"/>
              </a:xfrm>
              <a:custGeom>
                <a:avLst/>
                <a:gdLst>
                  <a:gd name="connsiteX0" fmla="*/ 23178 w 42922"/>
                  <a:gd name="connsiteY0" fmla="*/ 10731 h 42922"/>
                  <a:gd name="connsiteX1" fmla="*/ 10731 w 42922"/>
                  <a:gd name="connsiteY1" fmla="*/ 22891 h 42922"/>
                  <a:gd name="connsiteX2" fmla="*/ 22891 w 42922"/>
                  <a:gd name="connsiteY2" fmla="*/ 35339 h 42922"/>
                  <a:gd name="connsiteX3" fmla="*/ 35337 w 42922"/>
                  <a:gd name="connsiteY3" fmla="*/ 23178 h 42922"/>
                  <a:gd name="connsiteX4" fmla="*/ 35339 w 42922"/>
                  <a:gd name="connsiteY4" fmla="*/ 23036 h 42922"/>
                  <a:gd name="connsiteX5" fmla="*/ 2317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178" y="10731"/>
                    </a:moveTo>
                    <a:cubicBezTo>
                      <a:pt x="16383" y="10653"/>
                      <a:pt x="10810" y="16097"/>
                      <a:pt x="10731" y="22891"/>
                    </a:cubicBezTo>
                    <a:cubicBezTo>
                      <a:pt x="10651" y="29687"/>
                      <a:pt x="16097" y="35260"/>
                      <a:pt x="22891" y="35339"/>
                    </a:cubicBezTo>
                    <a:cubicBezTo>
                      <a:pt x="29686" y="35418"/>
                      <a:pt x="35259" y="29974"/>
                      <a:pt x="35337" y="23178"/>
                    </a:cubicBezTo>
                    <a:cubicBezTo>
                      <a:pt x="35339" y="23130"/>
                      <a:pt x="35339" y="23083"/>
                      <a:pt x="35339" y="23036"/>
                    </a:cubicBezTo>
                    <a:cubicBezTo>
                      <a:pt x="35339" y="16296"/>
                      <a:pt x="29918" y="10810"/>
                      <a:pt x="23178" y="10731"/>
                    </a:cubicBezTo>
                    <a:close/>
                  </a:path>
                </a:pathLst>
              </a:custGeom>
              <a:grpFill/>
              <a:ln w="9525" cap="flat">
                <a:noFill/>
                <a:prstDash val="solid"/>
                <a:miter/>
              </a:ln>
            </p:spPr>
            <p:txBody>
              <a:bodyPr rtlCol="0" anchor="ctr"/>
              <a:lstStyle/>
              <a:p>
                <a:endParaRPr lang="en-US" dirty="0"/>
              </a:p>
            </p:txBody>
          </p:sp>
          <p:sp>
            <p:nvSpPr>
              <p:cNvPr id="869" name="Freeform: Shape 868">
                <a:extLst>
                  <a:ext uri="{FF2B5EF4-FFF2-40B4-BE49-F238E27FC236}">
                    <a16:creationId xmlns:a16="http://schemas.microsoft.com/office/drawing/2014/main" id="{71DB8A19-0D29-4DE3-B63B-157222498CE4}"/>
                  </a:ext>
                </a:extLst>
              </p:cNvPr>
              <p:cNvSpPr/>
              <p:nvPr/>
            </p:nvSpPr>
            <p:spPr>
              <a:xfrm flipH="1" flipV="1">
                <a:off x="3390719" y="3441252"/>
                <a:ext cx="51717" cy="51717"/>
              </a:xfrm>
              <a:custGeom>
                <a:avLst/>
                <a:gdLst>
                  <a:gd name="connsiteX0" fmla="*/ 20174 w 28614"/>
                  <a:gd name="connsiteY0" fmla="*/ 10732 h 28614"/>
                  <a:gd name="connsiteX1" fmla="*/ 10731 w 28614"/>
                  <a:gd name="connsiteY1" fmla="*/ 19889 h 28614"/>
                  <a:gd name="connsiteX2" fmla="*/ 20174 w 28614"/>
                  <a:gd name="connsiteY2" fmla="*/ 29332 h 28614"/>
                  <a:gd name="connsiteX3" fmla="*/ 29473 w 28614"/>
                  <a:gd name="connsiteY3" fmla="*/ 19889 h 28614"/>
                  <a:gd name="connsiteX4" fmla="*/ 20318 w 28614"/>
                  <a:gd name="connsiteY4" fmla="*/ 10731 h 28614"/>
                  <a:gd name="connsiteX5" fmla="*/ 20174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174" y="10732"/>
                    </a:moveTo>
                    <a:cubicBezTo>
                      <a:pt x="15069" y="10729"/>
                      <a:pt x="10885" y="14785"/>
                      <a:pt x="10731" y="19889"/>
                    </a:cubicBezTo>
                    <a:cubicBezTo>
                      <a:pt x="10880" y="25041"/>
                      <a:pt x="15021" y="29183"/>
                      <a:pt x="20174" y="29332"/>
                    </a:cubicBezTo>
                    <a:cubicBezTo>
                      <a:pt x="25333" y="29253"/>
                      <a:pt x="29473" y="25048"/>
                      <a:pt x="29473" y="19889"/>
                    </a:cubicBezTo>
                    <a:cubicBezTo>
                      <a:pt x="29473" y="14831"/>
                      <a:pt x="25374" y="10732"/>
                      <a:pt x="20318" y="10731"/>
                    </a:cubicBezTo>
                    <a:cubicBezTo>
                      <a:pt x="20269" y="10731"/>
                      <a:pt x="20222" y="10731"/>
                      <a:pt x="20174" y="10732"/>
                    </a:cubicBezTo>
                    <a:close/>
                  </a:path>
                </a:pathLst>
              </a:custGeom>
              <a:grpFill/>
              <a:ln w="9525" cap="flat">
                <a:noFill/>
                <a:prstDash val="solid"/>
                <a:miter/>
              </a:ln>
            </p:spPr>
            <p:txBody>
              <a:bodyPr rtlCol="0" anchor="ctr"/>
              <a:lstStyle/>
              <a:p>
                <a:endParaRPr lang="en-US" dirty="0"/>
              </a:p>
            </p:txBody>
          </p:sp>
          <p:sp>
            <p:nvSpPr>
              <p:cNvPr id="870" name="Freeform: Shape 869">
                <a:extLst>
                  <a:ext uri="{FF2B5EF4-FFF2-40B4-BE49-F238E27FC236}">
                    <a16:creationId xmlns:a16="http://schemas.microsoft.com/office/drawing/2014/main" id="{5F179D4E-9398-4139-B8B4-88CFD1C1B728}"/>
                  </a:ext>
                </a:extLst>
              </p:cNvPr>
              <p:cNvSpPr/>
              <p:nvPr/>
            </p:nvSpPr>
            <p:spPr>
              <a:xfrm flipH="1" flipV="1">
                <a:off x="3390719" y="3619673"/>
                <a:ext cx="51717" cy="51717"/>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80" y="25040"/>
                      <a:pt x="15021" y="29182"/>
                      <a:pt x="20174" y="29330"/>
                    </a:cubicBezTo>
                    <a:cubicBezTo>
                      <a:pt x="25333" y="29252"/>
                      <a:pt x="29473" y="25047"/>
                      <a:pt x="29473" y="19887"/>
                    </a:cubicBezTo>
                    <a:cubicBezTo>
                      <a:pt x="29395" y="14807"/>
                      <a:pt x="25254" y="10731"/>
                      <a:pt x="20174" y="10731"/>
                    </a:cubicBezTo>
                    <a:close/>
                  </a:path>
                </a:pathLst>
              </a:custGeom>
              <a:grpFill/>
              <a:ln w="9525" cap="flat">
                <a:noFill/>
                <a:prstDash val="solid"/>
                <a:miter/>
              </a:ln>
            </p:spPr>
            <p:txBody>
              <a:bodyPr rtlCol="0" anchor="ctr"/>
              <a:lstStyle/>
              <a:p>
                <a:endParaRPr lang="en-US" dirty="0"/>
              </a:p>
            </p:txBody>
          </p:sp>
          <p:sp>
            <p:nvSpPr>
              <p:cNvPr id="871" name="Freeform: Shape 870">
                <a:extLst>
                  <a:ext uri="{FF2B5EF4-FFF2-40B4-BE49-F238E27FC236}">
                    <a16:creationId xmlns:a16="http://schemas.microsoft.com/office/drawing/2014/main" id="{FF4F9EAE-B8B7-4C65-8F9A-E5C47430FC58}"/>
                  </a:ext>
                </a:extLst>
              </p:cNvPr>
              <p:cNvSpPr/>
              <p:nvPr/>
            </p:nvSpPr>
            <p:spPr>
              <a:xfrm flipH="1" flipV="1">
                <a:off x="3390461" y="3529945"/>
                <a:ext cx="51717" cy="51717"/>
              </a:xfrm>
              <a:custGeom>
                <a:avLst/>
                <a:gdLst>
                  <a:gd name="connsiteX0" fmla="*/ 20030 w 28614"/>
                  <a:gd name="connsiteY0" fmla="*/ 10731 h 28614"/>
                  <a:gd name="connsiteX1" fmla="*/ 10731 w 28614"/>
                  <a:gd name="connsiteY1" fmla="*/ 20030 h 28614"/>
                  <a:gd name="connsiteX2" fmla="*/ 20030 w 28614"/>
                  <a:gd name="connsiteY2" fmla="*/ 29330 h 28614"/>
                  <a:gd name="connsiteX3" fmla="*/ 29330 w 28614"/>
                  <a:gd name="connsiteY3" fmla="*/ 20174 h 28614"/>
                  <a:gd name="connsiteX4" fmla="*/ 2003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10731"/>
                    </a:moveTo>
                    <a:cubicBezTo>
                      <a:pt x="14894" y="10731"/>
                      <a:pt x="10731" y="14894"/>
                      <a:pt x="10731" y="20030"/>
                    </a:cubicBezTo>
                    <a:cubicBezTo>
                      <a:pt x="10731" y="25167"/>
                      <a:pt x="14894" y="29330"/>
                      <a:pt x="20030" y="29330"/>
                    </a:cubicBezTo>
                    <a:cubicBezTo>
                      <a:pt x="25111" y="29330"/>
                      <a:pt x="29252" y="25254"/>
                      <a:pt x="29330" y="20174"/>
                    </a:cubicBezTo>
                    <a:cubicBezTo>
                      <a:pt x="29330" y="15014"/>
                      <a:pt x="25190" y="10809"/>
                      <a:pt x="20030" y="10731"/>
                    </a:cubicBezTo>
                    <a:close/>
                  </a:path>
                </a:pathLst>
              </a:custGeom>
              <a:grpFill/>
              <a:ln w="9525" cap="flat">
                <a:noFill/>
                <a:prstDash val="solid"/>
                <a:miter/>
              </a:ln>
            </p:spPr>
            <p:txBody>
              <a:bodyPr rtlCol="0" anchor="ctr"/>
              <a:lstStyle/>
              <a:p>
                <a:endParaRPr lang="en-US" dirty="0"/>
              </a:p>
            </p:txBody>
          </p:sp>
          <p:sp>
            <p:nvSpPr>
              <p:cNvPr id="872" name="Freeform: Shape 871">
                <a:extLst>
                  <a:ext uri="{FF2B5EF4-FFF2-40B4-BE49-F238E27FC236}">
                    <a16:creationId xmlns:a16="http://schemas.microsoft.com/office/drawing/2014/main" id="{9A4FA19C-F407-432B-AF7C-5EEB897556F8}"/>
                  </a:ext>
                </a:extLst>
              </p:cNvPr>
              <p:cNvSpPr/>
              <p:nvPr/>
            </p:nvSpPr>
            <p:spPr>
              <a:xfrm flipH="1" flipV="1">
                <a:off x="3390719" y="3711211"/>
                <a:ext cx="51717" cy="51717"/>
              </a:xfrm>
              <a:custGeom>
                <a:avLst/>
                <a:gdLst>
                  <a:gd name="connsiteX0" fmla="*/ 20174 w 28614"/>
                  <a:gd name="connsiteY0" fmla="*/ 10731 h 28614"/>
                  <a:gd name="connsiteX1" fmla="*/ 10731 w 28614"/>
                  <a:gd name="connsiteY1" fmla="*/ 20174 h 28614"/>
                  <a:gd name="connsiteX2" fmla="*/ 20174 w 28614"/>
                  <a:gd name="connsiteY2" fmla="*/ 29330 h 28614"/>
                  <a:gd name="connsiteX3" fmla="*/ 29473 w 28614"/>
                  <a:gd name="connsiteY3" fmla="*/ 20174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21" y="10879"/>
                      <a:pt x="10880" y="15021"/>
                      <a:pt x="10731" y="20174"/>
                    </a:cubicBezTo>
                    <a:cubicBezTo>
                      <a:pt x="10885" y="25277"/>
                      <a:pt x="15069" y="29333"/>
                      <a:pt x="20174" y="29330"/>
                    </a:cubicBezTo>
                    <a:cubicBezTo>
                      <a:pt x="25254" y="29330"/>
                      <a:pt x="29395" y="25254"/>
                      <a:pt x="29473" y="20174"/>
                    </a:cubicBezTo>
                    <a:cubicBezTo>
                      <a:pt x="29473" y="15014"/>
                      <a:pt x="25333" y="10809"/>
                      <a:pt x="20174" y="10731"/>
                    </a:cubicBezTo>
                    <a:close/>
                  </a:path>
                </a:pathLst>
              </a:custGeom>
              <a:grpFill/>
              <a:ln w="9525" cap="flat">
                <a:noFill/>
                <a:prstDash val="solid"/>
                <a:miter/>
              </a:ln>
            </p:spPr>
            <p:txBody>
              <a:bodyPr rtlCol="0" anchor="ctr"/>
              <a:lstStyle/>
              <a:p>
                <a:endParaRPr lang="en-US" dirty="0"/>
              </a:p>
            </p:txBody>
          </p:sp>
          <p:sp>
            <p:nvSpPr>
              <p:cNvPr id="873" name="Freeform: Shape 872">
                <a:extLst>
                  <a:ext uri="{FF2B5EF4-FFF2-40B4-BE49-F238E27FC236}">
                    <a16:creationId xmlns:a16="http://schemas.microsoft.com/office/drawing/2014/main" id="{DAF07E02-8B2E-46EB-A9AB-5F9E2AE0CA77}"/>
                  </a:ext>
                </a:extLst>
              </p:cNvPr>
              <p:cNvSpPr/>
              <p:nvPr/>
            </p:nvSpPr>
            <p:spPr>
              <a:xfrm flipH="1" flipV="1">
                <a:off x="3525441" y="3720004"/>
                <a:ext cx="25858" cy="25858"/>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grpFill/>
              <a:ln w="9525" cap="flat">
                <a:noFill/>
                <a:prstDash val="solid"/>
                <a:miter/>
              </a:ln>
            </p:spPr>
            <p:txBody>
              <a:bodyPr rtlCol="0" anchor="ctr"/>
              <a:lstStyle/>
              <a:p>
                <a:endParaRPr lang="en-US" dirty="0"/>
              </a:p>
            </p:txBody>
          </p:sp>
        </p:grpSp>
        <p:grpSp>
          <p:nvGrpSpPr>
            <p:cNvPr id="663" name="Group 662">
              <a:extLst>
                <a:ext uri="{FF2B5EF4-FFF2-40B4-BE49-F238E27FC236}">
                  <a16:creationId xmlns:a16="http://schemas.microsoft.com/office/drawing/2014/main" id="{73AE9F5D-DAC5-4CCA-8223-DC752DE23222}"/>
                </a:ext>
              </a:extLst>
            </p:cNvPr>
            <p:cNvGrpSpPr/>
            <p:nvPr/>
          </p:nvGrpSpPr>
          <p:grpSpPr>
            <a:xfrm>
              <a:off x="8679773" y="3417721"/>
              <a:ext cx="928569" cy="350639"/>
              <a:chOff x="5596672" y="3417721"/>
              <a:chExt cx="928569" cy="350639"/>
            </a:xfrm>
            <a:grpFill/>
          </p:grpSpPr>
          <p:sp>
            <p:nvSpPr>
              <p:cNvPr id="817" name="Freeform: Shape 816">
                <a:extLst>
                  <a:ext uri="{FF2B5EF4-FFF2-40B4-BE49-F238E27FC236}">
                    <a16:creationId xmlns:a16="http://schemas.microsoft.com/office/drawing/2014/main" id="{ECB32595-B19A-488A-8059-19B763E7BB5B}"/>
                  </a:ext>
                </a:extLst>
              </p:cNvPr>
              <p:cNvSpPr/>
              <p:nvPr/>
            </p:nvSpPr>
            <p:spPr>
              <a:xfrm flipH="1" flipV="1">
                <a:off x="5880601" y="3598211"/>
                <a:ext cx="77575" cy="77575"/>
              </a:xfrm>
              <a:custGeom>
                <a:avLst/>
                <a:gdLst>
                  <a:gd name="connsiteX0" fmla="*/ 22180 w 42922"/>
                  <a:gd name="connsiteY0" fmla="*/ 10731 h 42922"/>
                  <a:gd name="connsiteX1" fmla="*/ 22180 w 42922"/>
                  <a:gd name="connsiteY1" fmla="*/ 10731 h 42922"/>
                  <a:gd name="connsiteX2" fmla="*/ 10734 w 42922"/>
                  <a:gd name="connsiteY2" fmla="*/ 21890 h 42922"/>
                  <a:gd name="connsiteX3" fmla="*/ 21891 w 42922"/>
                  <a:gd name="connsiteY3" fmla="*/ 33618 h 42922"/>
                  <a:gd name="connsiteX4" fmla="*/ 33619 w 42922"/>
                  <a:gd name="connsiteY4" fmla="*/ 22461 h 42922"/>
                  <a:gd name="connsiteX5" fmla="*/ 22462 w 42922"/>
                  <a:gd name="connsiteY5" fmla="*/ 10733 h 42922"/>
                  <a:gd name="connsiteX6" fmla="*/ 22323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180" y="10731"/>
                    </a:moveTo>
                    <a:lnTo>
                      <a:pt x="22180" y="10731"/>
                    </a:lnTo>
                    <a:cubicBezTo>
                      <a:pt x="15969" y="10729"/>
                      <a:pt x="10890" y="15681"/>
                      <a:pt x="10734" y="21890"/>
                    </a:cubicBezTo>
                    <a:cubicBezTo>
                      <a:pt x="10577" y="28210"/>
                      <a:pt x="15572" y="33461"/>
                      <a:pt x="21891" y="33618"/>
                    </a:cubicBezTo>
                    <a:cubicBezTo>
                      <a:pt x="28211" y="33776"/>
                      <a:pt x="33462" y="28781"/>
                      <a:pt x="33619" y="22461"/>
                    </a:cubicBezTo>
                    <a:cubicBezTo>
                      <a:pt x="33776" y="16142"/>
                      <a:pt x="28782" y="10891"/>
                      <a:pt x="22462" y="10733"/>
                    </a:cubicBezTo>
                    <a:cubicBezTo>
                      <a:pt x="22416" y="10732"/>
                      <a:pt x="22369" y="10731"/>
                      <a:pt x="22323" y="10731"/>
                    </a:cubicBezTo>
                    <a:close/>
                  </a:path>
                </a:pathLst>
              </a:custGeom>
              <a:grpFill/>
              <a:ln w="9525" cap="flat">
                <a:noFill/>
                <a:prstDash val="solid"/>
                <a:miter/>
              </a:ln>
            </p:spPr>
            <p:txBody>
              <a:bodyPr rtlCol="0" anchor="ctr"/>
              <a:lstStyle/>
              <a:p>
                <a:endParaRPr lang="en-US" dirty="0"/>
              </a:p>
            </p:txBody>
          </p:sp>
          <p:sp>
            <p:nvSpPr>
              <p:cNvPr id="818" name="Freeform: Shape 817">
                <a:extLst>
                  <a:ext uri="{FF2B5EF4-FFF2-40B4-BE49-F238E27FC236}">
                    <a16:creationId xmlns:a16="http://schemas.microsoft.com/office/drawing/2014/main" id="{9D509FFD-EDE7-484E-B192-9192FDE7DA19}"/>
                  </a:ext>
                </a:extLst>
              </p:cNvPr>
              <p:cNvSpPr/>
              <p:nvPr/>
            </p:nvSpPr>
            <p:spPr>
              <a:xfrm flipH="1" flipV="1">
                <a:off x="6075307" y="3717160"/>
                <a:ext cx="25858" cy="25858"/>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lnTo>
                      <a:pt x="10731" y="10731"/>
                    </a:lnTo>
                    <a:cubicBezTo>
                      <a:pt x="10731" y="10731"/>
                      <a:pt x="10731" y="10731"/>
                      <a:pt x="10731" y="10731"/>
                    </a:cubicBezTo>
                    <a:close/>
                  </a:path>
                </a:pathLst>
              </a:custGeom>
              <a:grpFill/>
              <a:ln w="9525" cap="flat">
                <a:noFill/>
                <a:prstDash val="solid"/>
                <a:miter/>
              </a:ln>
            </p:spPr>
            <p:txBody>
              <a:bodyPr rtlCol="0" anchor="ctr"/>
              <a:lstStyle/>
              <a:p>
                <a:endParaRPr lang="en-US" dirty="0"/>
              </a:p>
            </p:txBody>
          </p:sp>
          <p:sp>
            <p:nvSpPr>
              <p:cNvPr id="819" name="Freeform: Shape 818">
                <a:extLst>
                  <a:ext uri="{FF2B5EF4-FFF2-40B4-BE49-F238E27FC236}">
                    <a16:creationId xmlns:a16="http://schemas.microsoft.com/office/drawing/2014/main" id="{81BD3B39-558E-4AB5-9DDD-8556716429E3}"/>
                  </a:ext>
                </a:extLst>
              </p:cNvPr>
              <p:cNvSpPr/>
              <p:nvPr/>
            </p:nvSpPr>
            <p:spPr>
              <a:xfrm flipH="1" flipV="1">
                <a:off x="6075307" y="3447715"/>
                <a:ext cx="25858" cy="25858"/>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lnTo>
                      <a:pt x="10731" y="10731"/>
                    </a:lnTo>
                    <a:close/>
                  </a:path>
                </a:pathLst>
              </a:custGeom>
              <a:grpFill/>
              <a:ln w="9525" cap="flat">
                <a:noFill/>
                <a:prstDash val="solid"/>
                <a:miter/>
              </a:ln>
            </p:spPr>
            <p:txBody>
              <a:bodyPr rtlCol="0" anchor="ctr"/>
              <a:lstStyle/>
              <a:p>
                <a:endParaRPr lang="en-US" dirty="0"/>
              </a:p>
            </p:txBody>
          </p:sp>
          <p:sp>
            <p:nvSpPr>
              <p:cNvPr id="820" name="Freeform: Shape 819">
                <a:extLst>
                  <a:ext uri="{FF2B5EF4-FFF2-40B4-BE49-F238E27FC236}">
                    <a16:creationId xmlns:a16="http://schemas.microsoft.com/office/drawing/2014/main" id="{0B3782F6-16E4-477D-ABF4-0313F1614FB7}"/>
                  </a:ext>
                </a:extLst>
              </p:cNvPr>
              <p:cNvSpPr/>
              <p:nvPr/>
            </p:nvSpPr>
            <p:spPr>
              <a:xfrm flipH="1" flipV="1">
                <a:off x="6023332" y="3440994"/>
                <a:ext cx="77575" cy="51717"/>
              </a:xfrm>
              <a:custGeom>
                <a:avLst/>
                <a:gdLst>
                  <a:gd name="connsiteX0" fmla="*/ 26469 w 42922"/>
                  <a:gd name="connsiteY0" fmla="*/ 11161 h 28614"/>
                  <a:gd name="connsiteX1" fmla="*/ 20746 w 42922"/>
                  <a:gd name="connsiteY1" fmla="*/ 11161 h 28614"/>
                  <a:gd name="connsiteX2" fmla="*/ 10731 w 42922"/>
                  <a:gd name="connsiteY2" fmla="*/ 20890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25" y="11158"/>
                      <a:pt x="10885" y="15470"/>
                      <a:pt x="10731" y="20890"/>
                    </a:cubicBezTo>
                    <a:cubicBezTo>
                      <a:pt x="10884" y="26333"/>
                      <a:pt x="15300" y="30688"/>
                      <a:pt x="20746" y="30762"/>
                    </a:cubicBezTo>
                    <a:cubicBezTo>
                      <a:pt x="26158" y="32343"/>
                      <a:pt x="31827" y="29236"/>
                      <a:pt x="33408" y="23823"/>
                    </a:cubicBezTo>
                    <a:cubicBezTo>
                      <a:pt x="34989" y="18411"/>
                      <a:pt x="31881" y="12742"/>
                      <a:pt x="26469" y="11161"/>
                    </a:cubicBezTo>
                    <a:close/>
                  </a:path>
                </a:pathLst>
              </a:custGeom>
              <a:grpFill/>
              <a:ln w="9525" cap="flat">
                <a:noFill/>
                <a:prstDash val="solid"/>
                <a:miter/>
              </a:ln>
            </p:spPr>
            <p:txBody>
              <a:bodyPr rtlCol="0" anchor="ctr"/>
              <a:lstStyle/>
              <a:p>
                <a:endParaRPr lang="en-US" dirty="0"/>
              </a:p>
            </p:txBody>
          </p:sp>
          <p:sp>
            <p:nvSpPr>
              <p:cNvPr id="821" name="Freeform: Shape 820">
                <a:extLst>
                  <a:ext uri="{FF2B5EF4-FFF2-40B4-BE49-F238E27FC236}">
                    <a16:creationId xmlns:a16="http://schemas.microsoft.com/office/drawing/2014/main" id="{511B0BE0-0D46-4423-8E04-91F1B8BFB0BD}"/>
                  </a:ext>
                </a:extLst>
              </p:cNvPr>
              <p:cNvSpPr/>
              <p:nvPr/>
            </p:nvSpPr>
            <p:spPr>
              <a:xfrm flipH="1" flipV="1">
                <a:off x="5881629" y="3711209"/>
                <a:ext cx="77575" cy="51717"/>
              </a:xfrm>
              <a:custGeom>
                <a:avLst/>
                <a:gdLst>
                  <a:gd name="connsiteX0" fmla="*/ 23464 w 42922"/>
                  <a:gd name="connsiteY0" fmla="*/ 30760 h 28614"/>
                  <a:gd name="connsiteX1" fmla="*/ 33374 w 42922"/>
                  <a:gd name="connsiteY1" fmla="*/ 20639 h 28614"/>
                  <a:gd name="connsiteX2" fmla="*/ 23253 w 42922"/>
                  <a:gd name="connsiteY2" fmla="*/ 10731 h 28614"/>
                  <a:gd name="connsiteX3" fmla="*/ 20460 w 42922"/>
                  <a:gd name="connsiteY3" fmla="*/ 11159 h 28614"/>
                  <a:gd name="connsiteX4" fmla="*/ 10731 w 42922"/>
                  <a:gd name="connsiteY4" fmla="*/ 20888 h 28614"/>
                  <a:gd name="connsiteX5" fmla="*/ 23284 w 42922"/>
                  <a:gd name="connsiteY5" fmla="*/ 30783 h 28614"/>
                  <a:gd name="connsiteX6" fmla="*/ 23464 w 42922"/>
                  <a:gd name="connsiteY6" fmla="*/ 3076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28614">
                    <a:moveTo>
                      <a:pt x="23464" y="30760"/>
                    </a:moveTo>
                    <a:cubicBezTo>
                      <a:pt x="28996" y="30702"/>
                      <a:pt x="33431" y="26170"/>
                      <a:pt x="33374" y="20639"/>
                    </a:cubicBezTo>
                    <a:cubicBezTo>
                      <a:pt x="33315" y="15109"/>
                      <a:pt x="28784" y="10673"/>
                      <a:pt x="23253" y="10731"/>
                    </a:cubicBezTo>
                    <a:cubicBezTo>
                      <a:pt x="22305" y="10741"/>
                      <a:pt x="21365" y="10886"/>
                      <a:pt x="20460" y="11159"/>
                    </a:cubicBezTo>
                    <a:cubicBezTo>
                      <a:pt x="15342" y="11730"/>
                      <a:pt x="11301" y="15770"/>
                      <a:pt x="10731" y="20888"/>
                    </a:cubicBezTo>
                    <a:cubicBezTo>
                      <a:pt x="11465" y="27088"/>
                      <a:pt x="17086" y="31517"/>
                      <a:pt x="23284" y="30783"/>
                    </a:cubicBezTo>
                    <a:cubicBezTo>
                      <a:pt x="23344" y="30776"/>
                      <a:pt x="23404" y="30769"/>
                      <a:pt x="23464" y="30760"/>
                    </a:cubicBezTo>
                    <a:close/>
                  </a:path>
                </a:pathLst>
              </a:custGeom>
              <a:grpFill/>
              <a:ln w="9525" cap="flat">
                <a:noFill/>
                <a:prstDash val="solid"/>
                <a:miter/>
              </a:ln>
            </p:spPr>
            <p:txBody>
              <a:bodyPr rtlCol="0" anchor="ctr"/>
              <a:lstStyle/>
              <a:p>
                <a:endParaRPr lang="en-US" dirty="0"/>
              </a:p>
            </p:txBody>
          </p:sp>
          <p:sp>
            <p:nvSpPr>
              <p:cNvPr id="822" name="Freeform: Shape 821">
                <a:extLst>
                  <a:ext uri="{FF2B5EF4-FFF2-40B4-BE49-F238E27FC236}">
                    <a16:creationId xmlns:a16="http://schemas.microsoft.com/office/drawing/2014/main" id="{F8DB5BF7-60D3-48B4-869D-29045B9A93DB}"/>
                  </a:ext>
                </a:extLst>
              </p:cNvPr>
              <p:cNvSpPr/>
              <p:nvPr/>
            </p:nvSpPr>
            <p:spPr>
              <a:xfrm flipH="1" flipV="1">
                <a:off x="6023332" y="3710502"/>
                <a:ext cx="77575" cy="51717"/>
              </a:xfrm>
              <a:custGeom>
                <a:avLst/>
                <a:gdLst>
                  <a:gd name="connsiteX0" fmla="*/ 26469 w 42922"/>
                  <a:gd name="connsiteY0" fmla="*/ 11053 h 28614"/>
                  <a:gd name="connsiteX1" fmla="*/ 20746 w 42922"/>
                  <a:gd name="connsiteY1" fmla="*/ 11053 h 28614"/>
                  <a:gd name="connsiteX2" fmla="*/ 10731 w 42922"/>
                  <a:gd name="connsiteY2" fmla="*/ 20925 h 28614"/>
                  <a:gd name="connsiteX3" fmla="*/ 20746 w 42922"/>
                  <a:gd name="connsiteY3" fmla="*/ 30654 h 28614"/>
                  <a:gd name="connsiteX4" fmla="*/ 33480 w 42922"/>
                  <a:gd name="connsiteY4" fmla="*/ 23643 h 28614"/>
                  <a:gd name="connsiteX5" fmla="*/ 26469 w 42922"/>
                  <a:gd name="connsiteY5" fmla="*/ 1105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053"/>
                    </a:moveTo>
                    <a:cubicBezTo>
                      <a:pt x="24586" y="10623"/>
                      <a:pt x="22629" y="10623"/>
                      <a:pt x="20746" y="11053"/>
                    </a:cubicBezTo>
                    <a:cubicBezTo>
                      <a:pt x="15300" y="11127"/>
                      <a:pt x="10884" y="15482"/>
                      <a:pt x="10731" y="20925"/>
                    </a:cubicBezTo>
                    <a:cubicBezTo>
                      <a:pt x="10885" y="26344"/>
                      <a:pt x="15325" y="30655"/>
                      <a:pt x="20746" y="30654"/>
                    </a:cubicBezTo>
                    <a:cubicBezTo>
                      <a:pt x="26197" y="32220"/>
                      <a:pt x="31889" y="29087"/>
                      <a:pt x="33480" y="23643"/>
                    </a:cubicBezTo>
                    <a:cubicBezTo>
                      <a:pt x="34876" y="18248"/>
                      <a:pt x="31790" y="12706"/>
                      <a:pt x="26469" y="11053"/>
                    </a:cubicBezTo>
                    <a:close/>
                  </a:path>
                </a:pathLst>
              </a:custGeom>
              <a:grpFill/>
              <a:ln w="9525" cap="flat">
                <a:noFill/>
                <a:prstDash val="solid"/>
                <a:miter/>
              </a:ln>
            </p:spPr>
            <p:txBody>
              <a:bodyPr rtlCol="0" anchor="ctr"/>
              <a:lstStyle/>
              <a:p>
                <a:endParaRPr lang="en-US" dirty="0"/>
              </a:p>
            </p:txBody>
          </p:sp>
          <p:sp>
            <p:nvSpPr>
              <p:cNvPr id="823" name="Freeform: Shape 822">
                <a:extLst>
                  <a:ext uri="{FF2B5EF4-FFF2-40B4-BE49-F238E27FC236}">
                    <a16:creationId xmlns:a16="http://schemas.microsoft.com/office/drawing/2014/main" id="{9E4F2E0F-E3DA-4CD6-84DD-F15A46A4FFEB}"/>
                  </a:ext>
                </a:extLst>
              </p:cNvPr>
              <p:cNvSpPr/>
              <p:nvPr/>
            </p:nvSpPr>
            <p:spPr>
              <a:xfrm flipH="1" flipV="1">
                <a:off x="6333311" y="3532773"/>
                <a:ext cx="51717" cy="51717"/>
              </a:xfrm>
              <a:custGeom>
                <a:avLst/>
                <a:gdLst>
                  <a:gd name="connsiteX0" fmla="*/ 20425 w 28614"/>
                  <a:gd name="connsiteY0" fmla="*/ 28321 h 28614"/>
                  <a:gd name="connsiteX1" fmla="*/ 27436 w 28614"/>
                  <a:gd name="connsiteY1" fmla="*/ 21310 h 28614"/>
                  <a:gd name="connsiteX2" fmla="*/ 21405 w 28614"/>
                  <a:gd name="connsiteY2" fmla="*/ 11007 h 28614"/>
                  <a:gd name="connsiteX3" fmla="*/ 11102 w 28614"/>
                  <a:gd name="connsiteY3" fmla="*/ 17038 h 28614"/>
                  <a:gd name="connsiteX4" fmla="*/ 10839 w 28614"/>
                  <a:gd name="connsiteY4" fmla="*/ 18735 h 28614"/>
                  <a:gd name="connsiteX5" fmla="*/ 10839 w 28614"/>
                  <a:gd name="connsiteY5" fmla="*/ 21310 h 28614"/>
                  <a:gd name="connsiteX6" fmla="*/ 20425 w 28614"/>
                  <a:gd name="connsiteY6" fmla="*/ 283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425" y="28321"/>
                    </a:moveTo>
                    <a:cubicBezTo>
                      <a:pt x="24078" y="27836"/>
                      <a:pt x="26951" y="24963"/>
                      <a:pt x="27436" y="21310"/>
                    </a:cubicBezTo>
                    <a:cubicBezTo>
                      <a:pt x="28616" y="16800"/>
                      <a:pt x="25915" y="12187"/>
                      <a:pt x="21405" y="11007"/>
                    </a:cubicBezTo>
                    <a:cubicBezTo>
                      <a:pt x="16894" y="9828"/>
                      <a:pt x="12283" y="12528"/>
                      <a:pt x="11102" y="17038"/>
                    </a:cubicBezTo>
                    <a:cubicBezTo>
                      <a:pt x="10958" y="17593"/>
                      <a:pt x="10869" y="18162"/>
                      <a:pt x="10839" y="18735"/>
                    </a:cubicBezTo>
                    <a:cubicBezTo>
                      <a:pt x="10694" y="19587"/>
                      <a:pt x="10694" y="20457"/>
                      <a:pt x="10839" y="21310"/>
                    </a:cubicBezTo>
                    <a:cubicBezTo>
                      <a:pt x="11573" y="25880"/>
                      <a:pt x="15848" y="29006"/>
                      <a:pt x="20425" y="28321"/>
                    </a:cubicBezTo>
                    <a:close/>
                  </a:path>
                </a:pathLst>
              </a:custGeom>
              <a:grpFill/>
              <a:ln w="9525" cap="flat">
                <a:noFill/>
                <a:prstDash val="solid"/>
                <a:miter/>
              </a:ln>
            </p:spPr>
            <p:txBody>
              <a:bodyPr rtlCol="0" anchor="ctr"/>
              <a:lstStyle/>
              <a:p>
                <a:endParaRPr lang="en-US" dirty="0"/>
              </a:p>
            </p:txBody>
          </p:sp>
          <p:sp>
            <p:nvSpPr>
              <p:cNvPr id="824" name="Freeform: Shape 823">
                <a:extLst>
                  <a:ext uri="{FF2B5EF4-FFF2-40B4-BE49-F238E27FC236}">
                    <a16:creationId xmlns:a16="http://schemas.microsoft.com/office/drawing/2014/main" id="{8EC380D8-DF0D-464D-B9CC-C5C8312E586C}"/>
                  </a:ext>
                </a:extLst>
              </p:cNvPr>
              <p:cNvSpPr/>
              <p:nvPr/>
            </p:nvSpPr>
            <p:spPr>
              <a:xfrm flipH="1" flipV="1">
                <a:off x="5907487" y="3530820"/>
                <a:ext cx="51717" cy="51717"/>
              </a:xfrm>
              <a:custGeom>
                <a:avLst/>
                <a:gdLst>
                  <a:gd name="connsiteX0" fmla="*/ 23464 w 28614"/>
                  <a:gd name="connsiteY0" fmla="*/ 30387 h 28614"/>
                  <a:gd name="connsiteX1" fmla="*/ 30385 w 28614"/>
                  <a:gd name="connsiteY1" fmla="*/ 18030 h 28614"/>
                  <a:gd name="connsiteX2" fmla="*/ 18026 w 28614"/>
                  <a:gd name="connsiteY2" fmla="*/ 11110 h 28614"/>
                  <a:gd name="connsiteX3" fmla="*/ 10731 w 28614"/>
                  <a:gd name="connsiteY3" fmla="*/ 20658 h 28614"/>
                  <a:gd name="connsiteX4" fmla="*/ 23407 w 28614"/>
                  <a:gd name="connsiteY4" fmla="*/ 30395 h 28614"/>
                  <a:gd name="connsiteX5" fmla="*/ 23464 w 28614"/>
                  <a:gd name="connsiteY5" fmla="*/ 3038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464" y="30387"/>
                    </a:moveTo>
                    <a:cubicBezTo>
                      <a:pt x="28788" y="28887"/>
                      <a:pt x="31886" y="23352"/>
                      <a:pt x="30385" y="18030"/>
                    </a:cubicBezTo>
                    <a:cubicBezTo>
                      <a:pt x="28883" y="12706"/>
                      <a:pt x="23350" y="9607"/>
                      <a:pt x="18026" y="11110"/>
                    </a:cubicBezTo>
                    <a:cubicBezTo>
                      <a:pt x="13742" y="12317"/>
                      <a:pt x="10771" y="16207"/>
                      <a:pt x="10731" y="20658"/>
                    </a:cubicBezTo>
                    <a:cubicBezTo>
                      <a:pt x="11543" y="26848"/>
                      <a:pt x="17218" y="31207"/>
                      <a:pt x="23407" y="30395"/>
                    </a:cubicBezTo>
                    <a:cubicBezTo>
                      <a:pt x="23427" y="30393"/>
                      <a:pt x="23446" y="30390"/>
                      <a:pt x="23464" y="30387"/>
                    </a:cubicBezTo>
                    <a:close/>
                  </a:path>
                </a:pathLst>
              </a:custGeom>
              <a:grpFill/>
              <a:ln w="9525" cap="flat">
                <a:noFill/>
                <a:prstDash val="solid"/>
                <a:miter/>
              </a:ln>
            </p:spPr>
            <p:txBody>
              <a:bodyPr rtlCol="0" anchor="ctr"/>
              <a:lstStyle/>
              <a:p>
                <a:endParaRPr lang="en-US" dirty="0"/>
              </a:p>
            </p:txBody>
          </p:sp>
          <p:sp>
            <p:nvSpPr>
              <p:cNvPr id="825" name="Freeform: Shape 824">
                <a:extLst>
                  <a:ext uri="{FF2B5EF4-FFF2-40B4-BE49-F238E27FC236}">
                    <a16:creationId xmlns:a16="http://schemas.microsoft.com/office/drawing/2014/main" id="{E4F1E8DC-EAEF-402D-BD44-B24B1FB528A3}"/>
                  </a:ext>
                </a:extLst>
              </p:cNvPr>
              <p:cNvSpPr/>
              <p:nvPr/>
            </p:nvSpPr>
            <p:spPr>
              <a:xfrm flipH="1" flipV="1">
                <a:off x="6333311" y="3710421"/>
                <a:ext cx="51717" cy="51717"/>
              </a:xfrm>
              <a:custGeom>
                <a:avLst/>
                <a:gdLst>
                  <a:gd name="connsiteX0" fmla="*/ 20425 w 28614"/>
                  <a:gd name="connsiteY0" fmla="*/ 28321 h 28614"/>
                  <a:gd name="connsiteX1" fmla="*/ 27436 w 28614"/>
                  <a:gd name="connsiteY1" fmla="*/ 21310 h 28614"/>
                  <a:gd name="connsiteX2" fmla="*/ 21405 w 28614"/>
                  <a:gd name="connsiteY2" fmla="*/ 11007 h 28614"/>
                  <a:gd name="connsiteX3" fmla="*/ 11102 w 28614"/>
                  <a:gd name="connsiteY3" fmla="*/ 17038 h 28614"/>
                  <a:gd name="connsiteX4" fmla="*/ 10839 w 28614"/>
                  <a:gd name="connsiteY4" fmla="*/ 18735 h 28614"/>
                  <a:gd name="connsiteX5" fmla="*/ 10839 w 28614"/>
                  <a:gd name="connsiteY5" fmla="*/ 21310 h 28614"/>
                  <a:gd name="connsiteX6" fmla="*/ 20425 w 28614"/>
                  <a:gd name="connsiteY6" fmla="*/ 283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425" y="28321"/>
                    </a:moveTo>
                    <a:cubicBezTo>
                      <a:pt x="24078" y="27836"/>
                      <a:pt x="26951" y="24963"/>
                      <a:pt x="27436" y="21310"/>
                    </a:cubicBezTo>
                    <a:cubicBezTo>
                      <a:pt x="28616" y="16800"/>
                      <a:pt x="25915" y="12187"/>
                      <a:pt x="21405" y="11007"/>
                    </a:cubicBezTo>
                    <a:cubicBezTo>
                      <a:pt x="16894" y="9828"/>
                      <a:pt x="12283" y="12528"/>
                      <a:pt x="11102" y="17038"/>
                    </a:cubicBezTo>
                    <a:cubicBezTo>
                      <a:pt x="10958" y="17593"/>
                      <a:pt x="10869" y="18162"/>
                      <a:pt x="10839" y="18735"/>
                    </a:cubicBezTo>
                    <a:cubicBezTo>
                      <a:pt x="10694" y="19587"/>
                      <a:pt x="10694" y="20457"/>
                      <a:pt x="10839" y="21310"/>
                    </a:cubicBezTo>
                    <a:cubicBezTo>
                      <a:pt x="11573" y="25880"/>
                      <a:pt x="15848" y="29006"/>
                      <a:pt x="20425" y="28321"/>
                    </a:cubicBezTo>
                    <a:close/>
                  </a:path>
                </a:pathLst>
              </a:custGeom>
              <a:grpFill/>
              <a:ln w="9525" cap="flat">
                <a:noFill/>
                <a:prstDash val="solid"/>
                <a:miter/>
              </a:ln>
            </p:spPr>
            <p:txBody>
              <a:bodyPr rtlCol="0" anchor="ctr"/>
              <a:lstStyle/>
              <a:p>
                <a:endParaRPr lang="en-US" dirty="0"/>
              </a:p>
            </p:txBody>
          </p:sp>
          <p:sp>
            <p:nvSpPr>
              <p:cNvPr id="826" name="Freeform: Shape 825">
                <a:extLst>
                  <a:ext uri="{FF2B5EF4-FFF2-40B4-BE49-F238E27FC236}">
                    <a16:creationId xmlns:a16="http://schemas.microsoft.com/office/drawing/2014/main" id="{046E034E-092F-42D7-AB89-C9C99BBA7579}"/>
                  </a:ext>
                </a:extLst>
              </p:cNvPr>
              <p:cNvSpPr/>
              <p:nvPr/>
            </p:nvSpPr>
            <p:spPr>
              <a:xfrm flipH="1" flipV="1">
                <a:off x="6191411" y="3438407"/>
                <a:ext cx="51717" cy="51717"/>
              </a:xfrm>
              <a:custGeom>
                <a:avLst/>
                <a:gdLst>
                  <a:gd name="connsiteX0" fmla="*/ 20030 w 28614"/>
                  <a:gd name="connsiteY0" fmla="*/ 29332 h 28614"/>
                  <a:gd name="connsiteX1" fmla="*/ 29473 w 28614"/>
                  <a:gd name="connsiteY1" fmla="*/ 19889 h 28614"/>
                  <a:gd name="connsiteX2" fmla="*/ 20030 w 28614"/>
                  <a:gd name="connsiteY2" fmla="*/ 10732 h 28614"/>
                  <a:gd name="connsiteX3" fmla="*/ 10732 w 28614"/>
                  <a:gd name="connsiteY3" fmla="*/ 19744 h 28614"/>
                  <a:gd name="connsiteX4" fmla="*/ 10731 w 28614"/>
                  <a:gd name="connsiteY4" fmla="*/ 19889 h 28614"/>
                  <a:gd name="connsiteX5" fmla="*/ 20030 w 28614"/>
                  <a:gd name="connsiteY5" fmla="*/ 293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0" y="29332"/>
                    </a:moveTo>
                    <a:cubicBezTo>
                      <a:pt x="25183" y="29183"/>
                      <a:pt x="29325" y="25041"/>
                      <a:pt x="29473" y="19889"/>
                    </a:cubicBezTo>
                    <a:cubicBezTo>
                      <a:pt x="29319" y="14785"/>
                      <a:pt x="25135" y="10729"/>
                      <a:pt x="20030" y="10732"/>
                    </a:cubicBezTo>
                    <a:cubicBezTo>
                      <a:pt x="14974" y="10653"/>
                      <a:pt x="10811" y="14688"/>
                      <a:pt x="10732" y="19744"/>
                    </a:cubicBezTo>
                    <a:cubicBezTo>
                      <a:pt x="10731" y="19793"/>
                      <a:pt x="10731" y="19840"/>
                      <a:pt x="10731" y="19889"/>
                    </a:cubicBezTo>
                    <a:cubicBezTo>
                      <a:pt x="10731" y="25048"/>
                      <a:pt x="14871" y="29253"/>
                      <a:pt x="20030" y="29332"/>
                    </a:cubicBezTo>
                    <a:close/>
                  </a:path>
                </a:pathLst>
              </a:custGeom>
              <a:grpFill/>
              <a:ln w="9525" cap="flat">
                <a:noFill/>
                <a:prstDash val="solid"/>
                <a:miter/>
              </a:ln>
            </p:spPr>
            <p:txBody>
              <a:bodyPr rtlCol="0" anchor="ctr"/>
              <a:lstStyle/>
              <a:p>
                <a:endParaRPr lang="en-US" dirty="0"/>
              </a:p>
            </p:txBody>
          </p:sp>
          <p:sp>
            <p:nvSpPr>
              <p:cNvPr id="827" name="Freeform: Shape 826">
                <a:extLst>
                  <a:ext uri="{FF2B5EF4-FFF2-40B4-BE49-F238E27FC236}">
                    <a16:creationId xmlns:a16="http://schemas.microsoft.com/office/drawing/2014/main" id="{8ED05683-FB53-4961-AAE0-52A4E07C3D8D}"/>
                  </a:ext>
                </a:extLst>
              </p:cNvPr>
              <p:cNvSpPr/>
              <p:nvPr/>
            </p:nvSpPr>
            <p:spPr>
              <a:xfrm flipH="1" flipV="1">
                <a:off x="6333630" y="3436855"/>
                <a:ext cx="51717" cy="51717"/>
              </a:xfrm>
              <a:custGeom>
                <a:avLst/>
                <a:gdLst>
                  <a:gd name="connsiteX0" fmla="*/ 19172 w 28614"/>
                  <a:gd name="connsiteY0" fmla="*/ 27613 h 28614"/>
                  <a:gd name="connsiteX1" fmla="*/ 27613 w 28614"/>
                  <a:gd name="connsiteY1" fmla="*/ 19172 h 28614"/>
                  <a:gd name="connsiteX2" fmla="*/ 19172 w 28614"/>
                  <a:gd name="connsiteY2" fmla="*/ 10731 h 28614"/>
                  <a:gd name="connsiteX3" fmla="*/ 19172 w 28614"/>
                  <a:gd name="connsiteY3" fmla="*/ 10731 h 28614"/>
                  <a:gd name="connsiteX4" fmla="*/ 10731 w 28614"/>
                  <a:gd name="connsiteY4" fmla="*/ 19172 h 28614"/>
                  <a:gd name="connsiteX5" fmla="*/ 19172 w 28614"/>
                  <a:gd name="connsiteY5" fmla="*/ 2761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172" y="27613"/>
                    </a:moveTo>
                    <a:cubicBezTo>
                      <a:pt x="23833" y="27613"/>
                      <a:pt x="27613" y="23833"/>
                      <a:pt x="27613" y="19172"/>
                    </a:cubicBezTo>
                    <a:cubicBezTo>
                      <a:pt x="27613" y="14511"/>
                      <a:pt x="23833" y="10731"/>
                      <a:pt x="19172" y="10731"/>
                    </a:cubicBezTo>
                    <a:lnTo>
                      <a:pt x="19172" y="10731"/>
                    </a:lnTo>
                    <a:cubicBezTo>
                      <a:pt x="14511" y="10731"/>
                      <a:pt x="10731" y="14511"/>
                      <a:pt x="10731" y="19172"/>
                    </a:cubicBezTo>
                    <a:cubicBezTo>
                      <a:pt x="10731" y="23833"/>
                      <a:pt x="14511" y="27613"/>
                      <a:pt x="19172" y="27613"/>
                    </a:cubicBezTo>
                    <a:close/>
                  </a:path>
                </a:pathLst>
              </a:custGeom>
              <a:grpFill/>
              <a:ln w="9525" cap="flat">
                <a:noFill/>
                <a:prstDash val="solid"/>
                <a:miter/>
              </a:ln>
            </p:spPr>
            <p:txBody>
              <a:bodyPr rtlCol="0" anchor="ctr"/>
              <a:lstStyle/>
              <a:p>
                <a:endParaRPr lang="en-US" dirty="0"/>
              </a:p>
            </p:txBody>
          </p:sp>
          <p:sp>
            <p:nvSpPr>
              <p:cNvPr id="828" name="Freeform: Shape 827">
                <a:extLst>
                  <a:ext uri="{FF2B5EF4-FFF2-40B4-BE49-F238E27FC236}">
                    <a16:creationId xmlns:a16="http://schemas.microsoft.com/office/drawing/2014/main" id="{2724FA64-BD20-4121-880F-124EDF3D7AAF}"/>
                  </a:ext>
                </a:extLst>
              </p:cNvPr>
              <p:cNvSpPr/>
              <p:nvPr/>
            </p:nvSpPr>
            <p:spPr>
              <a:xfrm flipH="1" flipV="1">
                <a:off x="6473524" y="3617345"/>
                <a:ext cx="51717" cy="51717"/>
              </a:xfrm>
              <a:custGeom>
                <a:avLst/>
                <a:gdLst>
                  <a:gd name="connsiteX0" fmla="*/ 25610 w 28614"/>
                  <a:gd name="connsiteY0" fmla="*/ 18171 h 28614"/>
                  <a:gd name="connsiteX1" fmla="*/ 18171 w 28614"/>
                  <a:gd name="connsiteY1" fmla="*/ 25610 h 28614"/>
                  <a:gd name="connsiteX2" fmla="*/ 10731 w 28614"/>
                  <a:gd name="connsiteY2" fmla="*/ 18171 h 28614"/>
                  <a:gd name="connsiteX3" fmla="*/ 18171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1" y="25610"/>
                    </a:cubicBezTo>
                    <a:cubicBezTo>
                      <a:pt x="14062" y="25610"/>
                      <a:pt x="10731" y="22279"/>
                      <a:pt x="10731" y="18171"/>
                    </a:cubicBezTo>
                    <a:cubicBezTo>
                      <a:pt x="10731" y="14062"/>
                      <a:pt x="14062" y="10731"/>
                      <a:pt x="18171" y="10731"/>
                    </a:cubicBezTo>
                    <a:cubicBezTo>
                      <a:pt x="22279" y="10731"/>
                      <a:pt x="25610" y="14062"/>
                      <a:pt x="25610" y="18171"/>
                    </a:cubicBezTo>
                    <a:close/>
                  </a:path>
                </a:pathLst>
              </a:custGeom>
              <a:grpFill/>
              <a:ln w="9525" cap="flat">
                <a:noFill/>
                <a:prstDash val="solid"/>
                <a:miter/>
              </a:ln>
            </p:spPr>
            <p:txBody>
              <a:bodyPr rtlCol="0" anchor="ctr"/>
              <a:lstStyle/>
              <a:p>
                <a:endParaRPr lang="en-US" dirty="0"/>
              </a:p>
            </p:txBody>
          </p:sp>
          <p:sp>
            <p:nvSpPr>
              <p:cNvPr id="829" name="Freeform: Shape 828">
                <a:extLst>
                  <a:ext uri="{FF2B5EF4-FFF2-40B4-BE49-F238E27FC236}">
                    <a16:creationId xmlns:a16="http://schemas.microsoft.com/office/drawing/2014/main" id="{446215BE-9B21-4A5C-84B6-5B98B07706C0}"/>
                  </a:ext>
                </a:extLst>
              </p:cNvPr>
              <p:cNvSpPr/>
              <p:nvPr/>
            </p:nvSpPr>
            <p:spPr>
              <a:xfrm flipH="1" flipV="1">
                <a:off x="6473458" y="3526584"/>
                <a:ext cx="51717" cy="51717"/>
              </a:xfrm>
              <a:custGeom>
                <a:avLst/>
                <a:gdLst>
                  <a:gd name="connsiteX0" fmla="*/ 17275 w 28614"/>
                  <a:gd name="connsiteY0" fmla="*/ 25754 h 28614"/>
                  <a:gd name="connsiteX1" fmla="*/ 23748 w 28614"/>
                  <a:gd name="connsiteY1" fmla="*/ 17203 h 28614"/>
                  <a:gd name="connsiteX2" fmla="*/ 17275 w 28614"/>
                  <a:gd name="connsiteY2" fmla="*/ 10731 h 28614"/>
                  <a:gd name="connsiteX3" fmla="*/ 10803 w 28614"/>
                  <a:gd name="connsiteY3" fmla="*/ 19281 h 28614"/>
                  <a:gd name="connsiteX4" fmla="*/ 17275 w 28614"/>
                  <a:gd name="connsiteY4" fmla="*/ 25754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7275" y="25754"/>
                    </a:moveTo>
                    <a:cubicBezTo>
                      <a:pt x="21424" y="25180"/>
                      <a:pt x="24321" y="21351"/>
                      <a:pt x="23748" y="17203"/>
                    </a:cubicBezTo>
                    <a:cubicBezTo>
                      <a:pt x="23282" y="13840"/>
                      <a:pt x="20638" y="11196"/>
                      <a:pt x="17275" y="10731"/>
                    </a:cubicBezTo>
                    <a:cubicBezTo>
                      <a:pt x="13127" y="11304"/>
                      <a:pt x="10229" y="15133"/>
                      <a:pt x="10803" y="19281"/>
                    </a:cubicBezTo>
                    <a:cubicBezTo>
                      <a:pt x="11268" y="22644"/>
                      <a:pt x="13912" y="25288"/>
                      <a:pt x="17275" y="25754"/>
                    </a:cubicBezTo>
                    <a:close/>
                  </a:path>
                </a:pathLst>
              </a:custGeom>
              <a:grpFill/>
              <a:ln w="9525" cap="flat">
                <a:noFill/>
                <a:prstDash val="solid"/>
                <a:miter/>
              </a:ln>
            </p:spPr>
            <p:txBody>
              <a:bodyPr rtlCol="0" anchor="ctr"/>
              <a:lstStyle/>
              <a:p>
                <a:endParaRPr lang="en-US" dirty="0"/>
              </a:p>
            </p:txBody>
          </p:sp>
          <p:sp>
            <p:nvSpPr>
              <p:cNvPr id="830" name="Freeform: Shape 829">
                <a:extLst>
                  <a:ext uri="{FF2B5EF4-FFF2-40B4-BE49-F238E27FC236}">
                    <a16:creationId xmlns:a16="http://schemas.microsoft.com/office/drawing/2014/main" id="{D8F0478B-A708-45EB-8EAC-8B88AC688EF9}"/>
                  </a:ext>
                </a:extLst>
              </p:cNvPr>
              <p:cNvSpPr/>
              <p:nvPr/>
            </p:nvSpPr>
            <p:spPr>
              <a:xfrm flipH="1" flipV="1">
                <a:off x="6191410" y="3708366"/>
                <a:ext cx="51717" cy="51717"/>
              </a:xfrm>
              <a:custGeom>
                <a:avLst/>
                <a:gdLst>
                  <a:gd name="connsiteX0" fmla="*/ 20030 w 28614"/>
                  <a:gd name="connsiteY0" fmla="*/ 29330 h 28614"/>
                  <a:gd name="connsiteX1" fmla="*/ 29473 w 28614"/>
                  <a:gd name="connsiteY1" fmla="*/ 20174 h 28614"/>
                  <a:gd name="connsiteX2" fmla="*/ 20030 w 28614"/>
                  <a:gd name="connsiteY2" fmla="*/ 10731 h 28614"/>
                  <a:gd name="connsiteX3" fmla="*/ 10731 w 28614"/>
                  <a:gd name="connsiteY3" fmla="*/ 20174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35" y="29333"/>
                      <a:pt x="29319" y="25277"/>
                      <a:pt x="29473" y="20174"/>
                    </a:cubicBezTo>
                    <a:cubicBezTo>
                      <a:pt x="29325" y="15021"/>
                      <a:pt x="25183" y="10879"/>
                      <a:pt x="20030" y="10731"/>
                    </a:cubicBezTo>
                    <a:cubicBezTo>
                      <a:pt x="14871" y="10809"/>
                      <a:pt x="10731" y="15014"/>
                      <a:pt x="10731" y="20174"/>
                    </a:cubicBezTo>
                    <a:cubicBezTo>
                      <a:pt x="10809" y="25254"/>
                      <a:pt x="14950" y="29330"/>
                      <a:pt x="20030" y="29330"/>
                    </a:cubicBezTo>
                    <a:close/>
                  </a:path>
                </a:pathLst>
              </a:custGeom>
              <a:grpFill/>
              <a:ln w="9525" cap="flat">
                <a:noFill/>
                <a:prstDash val="solid"/>
                <a:miter/>
              </a:ln>
            </p:spPr>
            <p:txBody>
              <a:bodyPr rtlCol="0" anchor="ctr"/>
              <a:lstStyle/>
              <a:p>
                <a:endParaRPr lang="en-US" dirty="0"/>
              </a:p>
            </p:txBody>
          </p:sp>
          <p:sp>
            <p:nvSpPr>
              <p:cNvPr id="831" name="Freeform: Shape 830">
                <a:extLst>
                  <a:ext uri="{FF2B5EF4-FFF2-40B4-BE49-F238E27FC236}">
                    <a16:creationId xmlns:a16="http://schemas.microsoft.com/office/drawing/2014/main" id="{16C8D982-1782-4B59-B017-436CB2E46C17}"/>
                  </a:ext>
                </a:extLst>
              </p:cNvPr>
              <p:cNvSpPr/>
              <p:nvPr/>
            </p:nvSpPr>
            <p:spPr>
              <a:xfrm flipH="1" flipV="1">
                <a:off x="6470792" y="3703712"/>
                <a:ext cx="51717" cy="51717"/>
              </a:xfrm>
              <a:custGeom>
                <a:avLst/>
                <a:gdLst>
                  <a:gd name="connsiteX0" fmla="*/ 15801 w 28614"/>
                  <a:gd name="connsiteY0" fmla="*/ 25038 h 28614"/>
                  <a:gd name="connsiteX1" fmla="*/ 20439 w 28614"/>
                  <a:gd name="connsiteY1" fmla="*/ 15369 h 28614"/>
                  <a:gd name="connsiteX2" fmla="*/ 15801 w 28614"/>
                  <a:gd name="connsiteY2" fmla="*/ 10731 h 28614"/>
                  <a:gd name="connsiteX3" fmla="*/ 11162 w 28614"/>
                  <a:gd name="connsiteY3" fmla="*/ 20400 h 28614"/>
                  <a:gd name="connsiteX4" fmla="*/ 15801 w 28614"/>
                  <a:gd name="connsiteY4" fmla="*/ 25038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5801" y="25038"/>
                    </a:moveTo>
                    <a:cubicBezTo>
                      <a:pt x="19752" y="23649"/>
                      <a:pt x="21828" y="19321"/>
                      <a:pt x="20439" y="15369"/>
                    </a:cubicBezTo>
                    <a:cubicBezTo>
                      <a:pt x="19677" y="13200"/>
                      <a:pt x="17970" y="11493"/>
                      <a:pt x="15801" y="10731"/>
                    </a:cubicBezTo>
                    <a:cubicBezTo>
                      <a:pt x="11850" y="12120"/>
                      <a:pt x="9773" y="16448"/>
                      <a:pt x="11162" y="20400"/>
                    </a:cubicBezTo>
                    <a:cubicBezTo>
                      <a:pt x="11925" y="22569"/>
                      <a:pt x="13631" y="24276"/>
                      <a:pt x="15801" y="25038"/>
                    </a:cubicBezTo>
                    <a:close/>
                  </a:path>
                </a:pathLst>
              </a:custGeom>
              <a:grpFill/>
              <a:ln w="9525" cap="flat">
                <a:noFill/>
                <a:prstDash val="solid"/>
                <a:miter/>
              </a:ln>
            </p:spPr>
            <p:txBody>
              <a:bodyPr rtlCol="0" anchor="ctr"/>
              <a:lstStyle/>
              <a:p>
                <a:endParaRPr lang="en-US" dirty="0"/>
              </a:p>
            </p:txBody>
          </p:sp>
          <p:sp>
            <p:nvSpPr>
              <p:cNvPr id="832" name="Freeform: Shape 831">
                <a:extLst>
                  <a:ext uri="{FF2B5EF4-FFF2-40B4-BE49-F238E27FC236}">
                    <a16:creationId xmlns:a16="http://schemas.microsoft.com/office/drawing/2014/main" id="{6E1737FD-11CF-4B22-9B43-4C077E4CFD0B}"/>
                  </a:ext>
                </a:extLst>
              </p:cNvPr>
              <p:cNvSpPr/>
              <p:nvPr/>
            </p:nvSpPr>
            <p:spPr>
              <a:xfrm flipH="1" flipV="1">
                <a:off x="6191414" y="3529945"/>
                <a:ext cx="51717" cy="51717"/>
              </a:xfrm>
              <a:custGeom>
                <a:avLst/>
                <a:gdLst>
                  <a:gd name="connsiteX0" fmla="*/ 20032 w 28614"/>
                  <a:gd name="connsiteY0" fmla="*/ 29330 h 28614"/>
                  <a:gd name="connsiteX1" fmla="*/ 29330 w 28614"/>
                  <a:gd name="connsiteY1" fmla="*/ 20029 h 28614"/>
                  <a:gd name="connsiteX2" fmla="*/ 20029 w 28614"/>
                  <a:gd name="connsiteY2" fmla="*/ 10731 h 28614"/>
                  <a:gd name="connsiteX3" fmla="*/ 10731 w 28614"/>
                  <a:gd name="connsiteY3" fmla="*/ 20032 h 28614"/>
                  <a:gd name="connsiteX4" fmla="*/ 10732 w 28614"/>
                  <a:gd name="connsiteY4" fmla="*/ 20174 h 28614"/>
                  <a:gd name="connsiteX5" fmla="*/ 20032 w 28614"/>
                  <a:gd name="connsiteY5" fmla="*/ 293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2" y="29330"/>
                    </a:moveTo>
                    <a:cubicBezTo>
                      <a:pt x="25168" y="29330"/>
                      <a:pt x="29332" y="25165"/>
                      <a:pt x="29330" y="20029"/>
                    </a:cubicBezTo>
                    <a:cubicBezTo>
                      <a:pt x="29330" y="14893"/>
                      <a:pt x="25165" y="10731"/>
                      <a:pt x="20029" y="10731"/>
                    </a:cubicBezTo>
                    <a:cubicBezTo>
                      <a:pt x="14894" y="10731"/>
                      <a:pt x="10731" y="14896"/>
                      <a:pt x="10731" y="20032"/>
                    </a:cubicBezTo>
                    <a:cubicBezTo>
                      <a:pt x="10731" y="20079"/>
                      <a:pt x="10731" y="20126"/>
                      <a:pt x="10732" y="20174"/>
                    </a:cubicBezTo>
                    <a:cubicBezTo>
                      <a:pt x="10811" y="25254"/>
                      <a:pt x="14951" y="29330"/>
                      <a:pt x="20032" y="29330"/>
                    </a:cubicBezTo>
                    <a:close/>
                  </a:path>
                </a:pathLst>
              </a:custGeom>
              <a:grpFill/>
              <a:ln w="9525" cap="flat">
                <a:noFill/>
                <a:prstDash val="solid"/>
                <a:miter/>
              </a:ln>
            </p:spPr>
            <p:txBody>
              <a:bodyPr rtlCol="0" anchor="ctr"/>
              <a:lstStyle/>
              <a:p>
                <a:endParaRPr lang="en-US" dirty="0"/>
              </a:p>
            </p:txBody>
          </p:sp>
          <p:sp>
            <p:nvSpPr>
              <p:cNvPr id="833" name="Freeform: Shape 832">
                <a:extLst>
                  <a:ext uri="{FF2B5EF4-FFF2-40B4-BE49-F238E27FC236}">
                    <a16:creationId xmlns:a16="http://schemas.microsoft.com/office/drawing/2014/main" id="{7C5EE25A-539C-48DE-AA9D-24065C3CCB07}"/>
                  </a:ext>
                </a:extLst>
              </p:cNvPr>
              <p:cNvSpPr/>
              <p:nvPr/>
            </p:nvSpPr>
            <p:spPr>
              <a:xfrm flipH="1" flipV="1">
                <a:off x="6471386" y="3434269"/>
                <a:ext cx="51717" cy="51717"/>
              </a:xfrm>
              <a:custGeom>
                <a:avLst/>
                <a:gdLst>
                  <a:gd name="connsiteX0" fmla="*/ 16129 w 28614"/>
                  <a:gd name="connsiteY0" fmla="*/ 25038 h 28614"/>
                  <a:gd name="connsiteX1" fmla="*/ 21239 w 28614"/>
                  <a:gd name="connsiteY1" fmla="*/ 15841 h 28614"/>
                  <a:gd name="connsiteX2" fmla="*/ 16129 w 28614"/>
                  <a:gd name="connsiteY2" fmla="*/ 10731 h 28614"/>
                  <a:gd name="connsiteX3" fmla="*/ 11019 w 28614"/>
                  <a:gd name="connsiteY3" fmla="*/ 19927 h 28614"/>
                  <a:gd name="connsiteX4" fmla="*/ 16129 w 28614"/>
                  <a:gd name="connsiteY4" fmla="*/ 25038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6129" y="25038"/>
                    </a:moveTo>
                    <a:cubicBezTo>
                      <a:pt x="20080" y="23909"/>
                      <a:pt x="22368" y="19791"/>
                      <a:pt x="21239" y="15841"/>
                    </a:cubicBezTo>
                    <a:cubicBezTo>
                      <a:pt x="20533" y="13369"/>
                      <a:pt x="18601" y="11437"/>
                      <a:pt x="16129" y="10731"/>
                    </a:cubicBezTo>
                    <a:cubicBezTo>
                      <a:pt x="12178" y="11859"/>
                      <a:pt x="9890" y="15977"/>
                      <a:pt x="11019" y="19927"/>
                    </a:cubicBezTo>
                    <a:cubicBezTo>
                      <a:pt x="11725" y="22400"/>
                      <a:pt x="13657" y="24333"/>
                      <a:pt x="16129" y="25038"/>
                    </a:cubicBezTo>
                    <a:close/>
                  </a:path>
                </a:pathLst>
              </a:custGeom>
              <a:grpFill/>
              <a:ln w="9525" cap="flat">
                <a:noFill/>
                <a:prstDash val="solid"/>
                <a:miter/>
              </a:ln>
            </p:spPr>
            <p:txBody>
              <a:bodyPr rtlCol="0" anchor="ctr"/>
              <a:lstStyle/>
              <a:p>
                <a:endParaRPr lang="en-US" dirty="0"/>
              </a:p>
            </p:txBody>
          </p:sp>
          <p:sp>
            <p:nvSpPr>
              <p:cNvPr id="834" name="Freeform: Shape 833">
                <a:extLst>
                  <a:ext uri="{FF2B5EF4-FFF2-40B4-BE49-F238E27FC236}">
                    <a16:creationId xmlns:a16="http://schemas.microsoft.com/office/drawing/2014/main" id="{67FE6B2B-79B8-43C0-BF3E-02C09F0C6916}"/>
                  </a:ext>
                </a:extLst>
              </p:cNvPr>
              <p:cNvSpPr/>
              <p:nvPr/>
            </p:nvSpPr>
            <p:spPr>
              <a:xfrm flipH="1" flipV="1">
                <a:off x="6189861" y="3620968"/>
                <a:ext cx="51717" cy="51717"/>
              </a:xfrm>
              <a:custGeom>
                <a:avLst/>
                <a:gdLst>
                  <a:gd name="connsiteX0" fmla="*/ 10732 w 28614"/>
                  <a:gd name="connsiteY0" fmla="*/ 19888 h 28614"/>
                  <a:gd name="connsiteX1" fmla="*/ 19889 w 28614"/>
                  <a:gd name="connsiteY1" fmla="*/ 29329 h 28614"/>
                  <a:gd name="connsiteX2" fmla="*/ 29329 w 28614"/>
                  <a:gd name="connsiteY2" fmla="*/ 20172 h 28614"/>
                  <a:gd name="connsiteX3" fmla="*/ 20172 w 28614"/>
                  <a:gd name="connsiteY3" fmla="*/ 10732 h 28614"/>
                  <a:gd name="connsiteX4" fmla="*/ 19889 w 28614"/>
                  <a:gd name="connsiteY4" fmla="*/ 10732 h 28614"/>
                  <a:gd name="connsiteX5" fmla="*/ 10732 w 28614"/>
                  <a:gd name="connsiteY5" fmla="*/ 1988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0732" y="19888"/>
                    </a:moveTo>
                    <a:cubicBezTo>
                      <a:pt x="10653" y="25023"/>
                      <a:pt x="14754" y="29251"/>
                      <a:pt x="19889" y="29329"/>
                    </a:cubicBezTo>
                    <a:cubicBezTo>
                      <a:pt x="25023" y="29407"/>
                      <a:pt x="29251" y="25308"/>
                      <a:pt x="29329" y="20172"/>
                    </a:cubicBezTo>
                    <a:cubicBezTo>
                      <a:pt x="29407" y="15037"/>
                      <a:pt x="25308" y="10810"/>
                      <a:pt x="20172" y="10732"/>
                    </a:cubicBezTo>
                    <a:cubicBezTo>
                      <a:pt x="20077" y="10730"/>
                      <a:pt x="19983" y="10730"/>
                      <a:pt x="19889" y="10732"/>
                    </a:cubicBezTo>
                    <a:cubicBezTo>
                      <a:pt x="14831" y="10732"/>
                      <a:pt x="10732" y="14831"/>
                      <a:pt x="10732" y="19888"/>
                    </a:cubicBezTo>
                    <a:close/>
                  </a:path>
                </a:pathLst>
              </a:custGeom>
              <a:grpFill/>
              <a:ln w="9525" cap="flat">
                <a:noFill/>
                <a:prstDash val="solid"/>
                <a:miter/>
              </a:ln>
            </p:spPr>
            <p:txBody>
              <a:bodyPr rtlCol="0" anchor="ctr"/>
              <a:lstStyle/>
              <a:p>
                <a:endParaRPr lang="en-US" dirty="0"/>
              </a:p>
            </p:txBody>
          </p:sp>
          <p:sp>
            <p:nvSpPr>
              <p:cNvPr id="835" name="Freeform: Shape 834">
                <a:extLst>
                  <a:ext uri="{FF2B5EF4-FFF2-40B4-BE49-F238E27FC236}">
                    <a16:creationId xmlns:a16="http://schemas.microsoft.com/office/drawing/2014/main" id="{0E7A337D-0758-4C1B-A9A5-F8CFF23AB53E}"/>
                  </a:ext>
                </a:extLst>
              </p:cNvPr>
              <p:cNvSpPr/>
              <p:nvPr/>
            </p:nvSpPr>
            <p:spPr>
              <a:xfrm flipH="1" flipV="1">
                <a:off x="5905695" y="3417721"/>
                <a:ext cx="51717" cy="77575"/>
              </a:xfrm>
              <a:custGeom>
                <a:avLst/>
                <a:gdLst>
                  <a:gd name="connsiteX0" fmla="*/ 20900 w 28614"/>
                  <a:gd name="connsiteY0" fmla="*/ 33480 h 42922"/>
                  <a:gd name="connsiteX1" fmla="*/ 30997 w 28614"/>
                  <a:gd name="connsiteY1" fmla="*/ 20827 h 42922"/>
                  <a:gd name="connsiteX2" fmla="*/ 20900 w 28614"/>
                  <a:gd name="connsiteY2" fmla="*/ 10731 h 42922"/>
                  <a:gd name="connsiteX3" fmla="*/ 20900 w 28614"/>
                  <a:gd name="connsiteY3" fmla="*/ 10731 h 42922"/>
                  <a:gd name="connsiteX4" fmla="*/ 10803 w 28614"/>
                  <a:gd name="connsiteY4" fmla="*/ 23383 h 42922"/>
                  <a:gd name="connsiteX5" fmla="*/ 20900 w 28614"/>
                  <a:gd name="connsiteY5" fmla="*/ 334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42922">
                    <a:moveTo>
                      <a:pt x="20900" y="33480"/>
                    </a:moveTo>
                    <a:cubicBezTo>
                      <a:pt x="27182" y="32774"/>
                      <a:pt x="31702" y="27110"/>
                      <a:pt x="30997" y="20827"/>
                    </a:cubicBezTo>
                    <a:cubicBezTo>
                      <a:pt x="30400" y="15518"/>
                      <a:pt x="26209" y="11327"/>
                      <a:pt x="20900" y="10731"/>
                    </a:cubicBezTo>
                    <a:lnTo>
                      <a:pt x="20900" y="10731"/>
                    </a:lnTo>
                    <a:cubicBezTo>
                      <a:pt x="14617" y="11436"/>
                      <a:pt x="10098" y="17100"/>
                      <a:pt x="10803" y="23383"/>
                    </a:cubicBezTo>
                    <a:cubicBezTo>
                      <a:pt x="11400" y="28692"/>
                      <a:pt x="15590" y="32883"/>
                      <a:pt x="20900" y="33480"/>
                    </a:cubicBezTo>
                    <a:close/>
                  </a:path>
                </a:pathLst>
              </a:custGeom>
              <a:grpFill/>
              <a:ln w="9525" cap="flat">
                <a:noFill/>
                <a:prstDash val="solid"/>
                <a:miter/>
              </a:ln>
            </p:spPr>
            <p:txBody>
              <a:bodyPr rtlCol="0" anchor="ctr"/>
              <a:lstStyle/>
              <a:p>
                <a:endParaRPr lang="en-US" dirty="0"/>
              </a:p>
            </p:txBody>
          </p:sp>
          <p:sp>
            <p:nvSpPr>
              <p:cNvPr id="836" name="Freeform: Shape 835">
                <a:extLst>
                  <a:ext uri="{FF2B5EF4-FFF2-40B4-BE49-F238E27FC236}">
                    <a16:creationId xmlns:a16="http://schemas.microsoft.com/office/drawing/2014/main" id="{4BCBEAC5-3992-42C5-9435-3F48EF7AF3A2}"/>
                  </a:ext>
                </a:extLst>
              </p:cNvPr>
              <p:cNvSpPr/>
              <p:nvPr/>
            </p:nvSpPr>
            <p:spPr>
              <a:xfrm flipH="1" flipV="1">
                <a:off x="6331048" y="3618638"/>
                <a:ext cx="51717" cy="51717"/>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grpFill/>
              <a:ln w="9525" cap="flat">
                <a:noFill/>
                <a:prstDash val="solid"/>
                <a:miter/>
              </a:ln>
            </p:spPr>
            <p:txBody>
              <a:bodyPr rtlCol="0" anchor="ctr"/>
              <a:lstStyle/>
              <a:p>
                <a:endParaRPr lang="en-US" dirty="0"/>
              </a:p>
            </p:txBody>
          </p:sp>
          <p:sp>
            <p:nvSpPr>
              <p:cNvPr id="837" name="Freeform: Shape 836">
                <a:extLst>
                  <a:ext uri="{FF2B5EF4-FFF2-40B4-BE49-F238E27FC236}">
                    <a16:creationId xmlns:a16="http://schemas.microsoft.com/office/drawing/2014/main" id="{CFA2D67D-B0D1-4D82-BB76-7A075782482F}"/>
                  </a:ext>
                </a:extLst>
              </p:cNvPr>
              <p:cNvSpPr/>
              <p:nvPr/>
            </p:nvSpPr>
            <p:spPr>
              <a:xfrm flipH="1" flipV="1">
                <a:off x="6049450" y="3531497"/>
                <a:ext cx="51717" cy="51717"/>
              </a:xfrm>
              <a:custGeom>
                <a:avLst/>
                <a:gdLst>
                  <a:gd name="connsiteX0" fmla="*/ 20890 w 28614"/>
                  <a:gd name="connsiteY0" fmla="*/ 31191 h 28614"/>
                  <a:gd name="connsiteX1" fmla="*/ 31334 w 28614"/>
                  <a:gd name="connsiteY1" fmla="*/ 21176 h 28614"/>
                  <a:gd name="connsiteX2" fmla="*/ 31334 w 28614"/>
                  <a:gd name="connsiteY2" fmla="*/ 21176 h 28614"/>
                  <a:gd name="connsiteX3" fmla="*/ 21178 w 28614"/>
                  <a:gd name="connsiteY3" fmla="*/ 10732 h 28614"/>
                  <a:gd name="connsiteX4" fmla="*/ 20890 w 28614"/>
                  <a:gd name="connsiteY4" fmla="*/ 10732 h 28614"/>
                  <a:gd name="connsiteX5" fmla="*/ 10732 w 28614"/>
                  <a:gd name="connsiteY5" fmla="*/ 20890 h 28614"/>
                  <a:gd name="connsiteX6" fmla="*/ 10732 w 28614"/>
                  <a:gd name="connsiteY6" fmla="*/ 20890 h 28614"/>
                  <a:gd name="connsiteX7" fmla="*/ 20745 w 28614"/>
                  <a:gd name="connsiteY7" fmla="*/ 31190 h 28614"/>
                  <a:gd name="connsiteX8" fmla="*/ 20890 w 28614"/>
                  <a:gd name="connsiteY8" fmla="*/ 3119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890" y="31191"/>
                    </a:moveTo>
                    <a:cubicBezTo>
                      <a:pt x="26524" y="31271"/>
                      <a:pt x="31178" y="26809"/>
                      <a:pt x="31334" y="21176"/>
                    </a:cubicBezTo>
                    <a:lnTo>
                      <a:pt x="31334" y="21176"/>
                    </a:lnTo>
                    <a:cubicBezTo>
                      <a:pt x="31415" y="15487"/>
                      <a:pt x="26866" y="10812"/>
                      <a:pt x="21178" y="10732"/>
                    </a:cubicBezTo>
                    <a:cubicBezTo>
                      <a:pt x="21082" y="10730"/>
                      <a:pt x="20986" y="10730"/>
                      <a:pt x="20890" y="10732"/>
                    </a:cubicBezTo>
                    <a:cubicBezTo>
                      <a:pt x="15280" y="10732"/>
                      <a:pt x="10732" y="15280"/>
                      <a:pt x="10732" y="20890"/>
                    </a:cubicBezTo>
                    <a:lnTo>
                      <a:pt x="10732" y="20890"/>
                    </a:lnTo>
                    <a:cubicBezTo>
                      <a:pt x="10653" y="26500"/>
                      <a:pt x="15135" y="31111"/>
                      <a:pt x="20745" y="31190"/>
                    </a:cubicBezTo>
                    <a:cubicBezTo>
                      <a:pt x="20794" y="31191"/>
                      <a:pt x="20841" y="31191"/>
                      <a:pt x="20890" y="31191"/>
                    </a:cubicBezTo>
                    <a:close/>
                  </a:path>
                </a:pathLst>
              </a:custGeom>
              <a:grpFill/>
              <a:ln w="9525" cap="flat">
                <a:noFill/>
                <a:prstDash val="solid"/>
                <a:miter/>
              </a:ln>
            </p:spPr>
            <p:txBody>
              <a:bodyPr rtlCol="0" anchor="ctr"/>
              <a:lstStyle/>
              <a:p>
                <a:endParaRPr lang="en-US" dirty="0"/>
              </a:p>
            </p:txBody>
          </p:sp>
          <p:sp>
            <p:nvSpPr>
              <p:cNvPr id="838" name="Freeform: Shape 837">
                <a:extLst>
                  <a:ext uri="{FF2B5EF4-FFF2-40B4-BE49-F238E27FC236}">
                    <a16:creationId xmlns:a16="http://schemas.microsoft.com/office/drawing/2014/main" id="{93346487-FB66-481E-9CDA-A4A308ADB64F}"/>
                  </a:ext>
                </a:extLst>
              </p:cNvPr>
              <p:cNvSpPr/>
              <p:nvPr/>
            </p:nvSpPr>
            <p:spPr>
              <a:xfrm flipH="1" flipV="1">
                <a:off x="6048415" y="3622261"/>
                <a:ext cx="51717" cy="51717"/>
              </a:xfrm>
              <a:custGeom>
                <a:avLst/>
                <a:gdLst>
                  <a:gd name="connsiteX0" fmla="*/ 20889 w 28614"/>
                  <a:gd name="connsiteY0" fmla="*/ 31335 h 28614"/>
                  <a:gd name="connsiteX1" fmla="*/ 20889 w 28614"/>
                  <a:gd name="connsiteY1" fmla="*/ 31335 h 28614"/>
                  <a:gd name="connsiteX2" fmla="*/ 31333 w 28614"/>
                  <a:gd name="connsiteY2" fmla="*/ 20890 h 28614"/>
                  <a:gd name="connsiteX3" fmla="*/ 21177 w 28614"/>
                  <a:gd name="connsiteY3" fmla="*/ 10731 h 28614"/>
                  <a:gd name="connsiteX4" fmla="*/ 21032 w 28614"/>
                  <a:gd name="connsiteY4" fmla="*/ 10732 h 28614"/>
                  <a:gd name="connsiteX5" fmla="*/ 21032 w 28614"/>
                  <a:gd name="connsiteY5" fmla="*/ 10732 h 28614"/>
                  <a:gd name="connsiteX6" fmla="*/ 10731 w 28614"/>
                  <a:gd name="connsiteY6" fmla="*/ 21033 h 28614"/>
                  <a:gd name="connsiteX7" fmla="*/ 21032 w 28614"/>
                  <a:gd name="connsiteY7" fmla="*/ 313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0889" y="31335"/>
                    </a:moveTo>
                    <a:lnTo>
                      <a:pt x="20889" y="31335"/>
                    </a:lnTo>
                    <a:cubicBezTo>
                      <a:pt x="26658" y="31335"/>
                      <a:pt x="31333" y="26659"/>
                      <a:pt x="31333" y="20890"/>
                    </a:cubicBezTo>
                    <a:cubicBezTo>
                      <a:pt x="31333" y="15280"/>
                      <a:pt x="26786" y="10732"/>
                      <a:pt x="21177" y="10731"/>
                    </a:cubicBezTo>
                    <a:cubicBezTo>
                      <a:pt x="21128" y="10731"/>
                      <a:pt x="21081" y="10732"/>
                      <a:pt x="21032" y="10732"/>
                    </a:cubicBezTo>
                    <a:lnTo>
                      <a:pt x="21032" y="10732"/>
                    </a:lnTo>
                    <a:cubicBezTo>
                      <a:pt x="15343" y="10732"/>
                      <a:pt x="10731" y="15345"/>
                      <a:pt x="10731" y="21033"/>
                    </a:cubicBezTo>
                    <a:cubicBezTo>
                      <a:pt x="10731" y="26722"/>
                      <a:pt x="15343" y="31335"/>
                      <a:pt x="21032" y="31335"/>
                    </a:cubicBezTo>
                    <a:close/>
                  </a:path>
                </a:pathLst>
              </a:custGeom>
              <a:grpFill/>
              <a:ln w="9525" cap="flat">
                <a:noFill/>
                <a:prstDash val="solid"/>
                <a:miter/>
              </a:ln>
            </p:spPr>
            <p:txBody>
              <a:bodyPr rtlCol="0" anchor="ctr"/>
              <a:lstStyle/>
              <a:p>
                <a:endParaRPr lang="en-US" dirty="0"/>
              </a:p>
            </p:txBody>
          </p:sp>
          <p:sp>
            <p:nvSpPr>
              <p:cNvPr id="839" name="Freeform: Shape 838">
                <a:extLst>
                  <a:ext uri="{FF2B5EF4-FFF2-40B4-BE49-F238E27FC236}">
                    <a16:creationId xmlns:a16="http://schemas.microsoft.com/office/drawing/2014/main" id="{EC2CE738-EF2A-481B-876A-EAA261E183BC}"/>
                  </a:ext>
                </a:extLst>
              </p:cNvPr>
              <p:cNvSpPr/>
              <p:nvPr/>
            </p:nvSpPr>
            <p:spPr>
              <a:xfrm flipH="1" flipV="1">
                <a:off x="5739927" y="3509517"/>
                <a:ext cx="77575" cy="77575"/>
              </a:xfrm>
              <a:custGeom>
                <a:avLst/>
                <a:gdLst>
                  <a:gd name="connsiteX0" fmla="*/ 22893 w 42922"/>
                  <a:gd name="connsiteY0" fmla="*/ 35339 h 42922"/>
                  <a:gd name="connsiteX1" fmla="*/ 35339 w 42922"/>
                  <a:gd name="connsiteY1" fmla="*/ 23178 h 42922"/>
                  <a:gd name="connsiteX2" fmla="*/ 23178 w 42922"/>
                  <a:gd name="connsiteY2" fmla="*/ 10731 h 42922"/>
                  <a:gd name="connsiteX3" fmla="*/ 10732 w 42922"/>
                  <a:gd name="connsiteY3" fmla="*/ 22893 h 42922"/>
                  <a:gd name="connsiteX4" fmla="*/ 10732 w 42922"/>
                  <a:gd name="connsiteY4" fmla="*/ 23178 h 42922"/>
                  <a:gd name="connsiteX5" fmla="*/ 22893 w 42922"/>
                  <a:gd name="connsiteY5" fmla="*/ 353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3" y="35339"/>
                    </a:moveTo>
                    <a:cubicBezTo>
                      <a:pt x="29688" y="35418"/>
                      <a:pt x="35260" y="29972"/>
                      <a:pt x="35339" y="23178"/>
                    </a:cubicBezTo>
                    <a:cubicBezTo>
                      <a:pt x="35418" y="16383"/>
                      <a:pt x="29972" y="10810"/>
                      <a:pt x="23178" y="10731"/>
                    </a:cubicBezTo>
                    <a:cubicBezTo>
                      <a:pt x="16383" y="10653"/>
                      <a:pt x="10810" y="16098"/>
                      <a:pt x="10732" y="22893"/>
                    </a:cubicBezTo>
                    <a:cubicBezTo>
                      <a:pt x="10730" y="22987"/>
                      <a:pt x="10730" y="23083"/>
                      <a:pt x="10732" y="23178"/>
                    </a:cubicBezTo>
                    <a:cubicBezTo>
                      <a:pt x="10809" y="29862"/>
                      <a:pt x="16209" y="35262"/>
                      <a:pt x="22893" y="35339"/>
                    </a:cubicBezTo>
                    <a:close/>
                  </a:path>
                </a:pathLst>
              </a:custGeom>
              <a:grpFill/>
              <a:ln w="9525" cap="flat">
                <a:noFill/>
                <a:prstDash val="solid"/>
                <a:miter/>
              </a:ln>
            </p:spPr>
            <p:txBody>
              <a:bodyPr rtlCol="0" anchor="ctr"/>
              <a:lstStyle/>
              <a:p>
                <a:endParaRPr lang="en-US" dirty="0"/>
              </a:p>
            </p:txBody>
          </p:sp>
          <p:sp>
            <p:nvSpPr>
              <p:cNvPr id="840" name="Freeform: Shape 839">
                <a:extLst>
                  <a:ext uri="{FF2B5EF4-FFF2-40B4-BE49-F238E27FC236}">
                    <a16:creationId xmlns:a16="http://schemas.microsoft.com/office/drawing/2014/main" id="{744B1441-04A1-475D-B06D-0A45B3A979EC}"/>
                  </a:ext>
                </a:extLst>
              </p:cNvPr>
              <p:cNvSpPr/>
              <p:nvPr/>
            </p:nvSpPr>
            <p:spPr>
              <a:xfrm flipH="1" flipV="1">
                <a:off x="5596672" y="3601832"/>
                <a:ext cx="77575" cy="77575"/>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endParaRPr lang="en-US" dirty="0"/>
              </a:p>
            </p:txBody>
          </p:sp>
          <p:sp>
            <p:nvSpPr>
              <p:cNvPr id="841" name="Freeform: Shape 840">
                <a:extLst>
                  <a:ext uri="{FF2B5EF4-FFF2-40B4-BE49-F238E27FC236}">
                    <a16:creationId xmlns:a16="http://schemas.microsoft.com/office/drawing/2014/main" id="{056A289E-858C-4100-82D6-8E85C3155227}"/>
                  </a:ext>
                </a:extLst>
              </p:cNvPr>
              <p:cNvSpPr/>
              <p:nvPr/>
            </p:nvSpPr>
            <p:spPr>
              <a:xfrm flipH="1" flipV="1">
                <a:off x="5597964" y="3690785"/>
                <a:ext cx="77575" cy="77575"/>
              </a:xfrm>
              <a:custGeom>
                <a:avLst/>
                <a:gdLst>
                  <a:gd name="connsiteX0" fmla="*/ 23893 w 42922"/>
                  <a:gd name="connsiteY0" fmla="*/ 37056 h 42922"/>
                  <a:gd name="connsiteX1" fmla="*/ 37056 w 42922"/>
                  <a:gd name="connsiteY1" fmla="*/ 23894 h 42922"/>
                  <a:gd name="connsiteX2" fmla="*/ 23893 w 42922"/>
                  <a:gd name="connsiteY2" fmla="*/ 10731 h 42922"/>
                  <a:gd name="connsiteX3" fmla="*/ 10731 w 42922"/>
                  <a:gd name="connsiteY3" fmla="*/ 23894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4"/>
                    </a:cubicBezTo>
                    <a:cubicBezTo>
                      <a:pt x="37056" y="16624"/>
                      <a:pt x="31163" y="10731"/>
                      <a:pt x="23893" y="10731"/>
                    </a:cubicBezTo>
                    <a:cubicBezTo>
                      <a:pt x="16624" y="10731"/>
                      <a:pt x="10731" y="16624"/>
                      <a:pt x="10731" y="23894"/>
                    </a:cubicBezTo>
                    <a:cubicBezTo>
                      <a:pt x="10731" y="31163"/>
                      <a:pt x="16624" y="37056"/>
                      <a:pt x="23893" y="37056"/>
                    </a:cubicBezTo>
                    <a:close/>
                  </a:path>
                </a:pathLst>
              </a:custGeom>
              <a:grpFill/>
              <a:ln w="9525" cap="flat">
                <a:noFill/>
                <a:prstDash val="solid"/>
                <a:miter/>
              </a:ln>
            </p:spPr>
            <p:txBody>
              <a:bodyPr rtlCol="0" anchor="ctr"/>
              <a:lstStyle/>
              <a:p>
                <a:endParaRPr lang="en-US" dirty="0"/>
              </a:p>
            </p:txBody>
          </p:sp>
          <p:sp>
            <p:nvSpPr>
              <p:cNvPr id="842" name="Freeform: Shape 841">
                <a:extLst>
                  <a:ext uri="{FF2B5EF4-FFF2-40B4-BE49-F238E27FC236}">
                    <a16:creationId xmlns:a16="http://schemas.microsoft.com/office/drawing/2014/main" id="{C34C7F30-4BBE-41D0-A314-D65B71BCFC39}"/>
                  </a:ext>
                </a:extLst>
              </p:cNvPr>
              <p:cNvSpPr/>
              <p:nvPr/>
            </p:nvSpPr>
            <p:spPr>
              <a:xfrm flipH="1" flipV="1">
                <a:off x="5597966" y="3511070"/>
                <a:ext cx="77575" cy="77575"/>
              </a:xfrm>
              <a:custGeom>
                <a:avLst/>
                <a:gdLst>
                  <a:gd name="connsiteX0" fmla="*/ 23895 w 42922"/>
                  <a:gd name="connsiteY0" fmla="*/ 37056 h 42922"/>
                  <a:gd name="connsiteX1" fmla="*/ 37056 w 42922"/>
                  <a:gd name="connsiteY1" fmla="*/ 23892 h 42922"/>
                  <a:gd name="connsiteX2" fmla="*/ 23893 w 42922"/>
                  <a:gd name="connsiteY2" fmla="*/ 10731 h 42922"/>
                  <a:gd name="connsiteX3" fmla="*/ 10731 w 42922"/>
                  <a:gd name="connsiteY3" fmla="*/ 23895 h 42922"/>
                  <a:gd name="connsiteX4" fmla="*/ 10732 w 42922"/>
                  <a:gd name="connsiteY4" fmla="*/ 24037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2"/>
                      <a:pt x="37056" y="23892"/>
                    </a:cubicBezTo>
                    <a:cubicBezTo>
                      <a:pt x="37056" y="16622"/>
                      <a:pt x="31163" y="10731"/>
                      <a:pt x="23893" y="10731"/>
                    </a:cubicBezTo>
                    <a:cubicBezTo>
                      <a:pt x="16624" y="10731"/>
                      <a:pt x="10731" y="16625"/>
                      <a:pt x="10731" y="23895"/>
                    </a:cubicBezTo>
                    <a:cubicBezTo>
                      <a:pt x="10731" y="23942"/>
                      <a:pt x="10732" y="23989"/>
                      <a:pt x="10732" y="24037"/>
                    </a:cubicBezTo>
                    <a:cubicBezTo>
                      <a:pt x="10811" y="31250"/>
                      <a:pt x="16681" y="37056"/>
                      <a:pt x="23895" y="37056"/>
                    </a:cubicBezTo>
                    <a:close/>
                  </a:path>
                </a:pathLst>
              </a:custGeom>
              <a:grpFill/>
              <a:ln w="9525" cap="flat">
                <a:noFill/>
                <a:prstDash val="solid"/>
                <a:miter/>
              </a:ln>
            </p:spPr>
            <p:txBody>
              <a:bodyPr rtlCol="0" anchor="ctr"/>
              <a:lstStyle/>
              <a:p>
                <a:endParaRPr lang="en-US" dirty="0"/>
              </a:p>
            </p:txBody>
          </p:sp>
          <p:sp>
            <p:nvSpPr>
              <p:cNvPr id="843" name="Freeform: Shape 842">
                <a:extLst>
                  <a:ext uri="{FF2B5EF4-FFF2-40B4-BE49-F238E27FC236}">
                    <a16:creationId xmlns:a16="http://schemas.microsoft.com/office/drawing/2014/main" id="{7C2D4D5D-AC3A-4C5A-9B8B-6BF06AB329B8}"/>
                  </a:ext>
                </a:extLst>
              </p:cNvPr>
              <p:cNvSpPr/>
              <p:nvPr/>
            </p:nvSpPr>
            <p:spPr>
              <a:xfrm flipH="1" flipV="1">
                <a:off x="5597966" y="3421341"/>
                <a:ext cx="77575" cy="77575"/>
              </a:xfrm>
              <a:custGeom>
                <a:avLst/>
                <a:gdLst>
                  <a:gd name="connsiteX0" fmla="*/ 23895 w 42922"/>
                  <a:gd name="connsiteY0" fmla="*/ 37056 h 42922"/>
                  <a:gd name="connsiteX1" fmla="*/ 37056 w 42922"/>
                  <a:gd name="connsiteY1" fmla="*/ 23892 h 42922"/>
                  <a:gd name="connsiteX2" fmla="*/ 23893 w 42922"/>
                  <a:gd name="connsiteY2" fmla="*/ 10731 h 42922"/>
                  <a:gd name="connsiteX3" fmla="*/ 10731 w 42922"/>
                  <a:gd name="connsiteY3" fmla="*/ 23895 h 42922"/>
                  <a:gd name="connsiteX4" fmla="*/ 10732 w 42922"/>
                  <a:gd name="connsiteY4" fmla="*/ 24037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2"/>
                      <a:pt x="37056" y="23892"/>
                    </a:cubicBezTo>
                    <a:cubicBezTo>
                      <a:pt x="37056" y="16622"/>
                      <a:pt x="31163" y="10731"/>
                      <a:pt x="23893" y="10731"/>
                    </a:cubicBezTo>
                    <a:cubicBezTo>
                      <a:pt x="16624" y="10731"/>
                      <a:pt x="10731" y="16625"/>
                      <a:pt x="10731" y="23895"/>
                    </a:cubicBezTo>
                    <a:cubicBezTo>
                      <a:pt x="10731" y="23942"/>
                      <a:pt x="10732" y="23989"/>
                      <a:pt x="10732" y="24037"/>
                    </a:cubicBezTo>
                    <a:cubicBezTo>
                      <a:pt x="10811" y="31250"/>
                      <a:pt x="16681" y="37056"/>
                      <a:pt x="23895" y="37056"/>
                    </a:cubicBezTo>
                    <a:close/>
                  </a:path>
                </a:pathLst>
              </a:custGeom>
              <a:grpFill/>
              <a:ln w="9525" cap="flat">
                <a:noFill/>
                <a:prstDash val="solid"/>
                <a:miter/>
              </a:ln>
            </p:spPr>
            <p:txBody>
              <a:bodyPr rtlCol="0" anchor="ctr"/>
              <a:lstStyle/>
              <a:p>
                <a:endParaRPr lang="en-US" dirty="0"/>
              </a:p>
            </p:txBody>
          </p:sp>
          <p:sp>
            <p:nvSpPr>
              <p:cNvPr id="844" name="Freeform: Shape 843">
                <a:extLst>
                  <a:ext uri="{FF2B5EF4-FFF2-40B4-BE49-F238E27FC236}">
                    <a16:creationId xmlns:a16="http://schemas.microsoft.com/office/drawing/2014/main" id="{AE017F55-9162-4713-A0C7-69C65DE80340}"/>
                  </a:ext>
                </a:extLst>
              </p:cNvPr>
              <p:cNvSpPr/>
              <p:nvPr/>
            </p:nvSpPr>
            <p:spPr>
              <a:xfrm flipH="1" flipV="1">
                <a:off x="5739925" y="3688974"/>
                <a:ext cx="77575" cy="77575"/>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grpFill/>
              <a:ln w="9525" cap="flat">
                <a:noFill/>
                <a:prstDash val="solid"/>
                <a:miter/>
              </a:ln>
            </p:spPr>
            <p:txBody>
              <a:bodyPr rtlCol="0" anchor="ctr"/>
              <a:lstStyle/>
              <a:p>
                <a:endParaRPr lang="en-US" dirty="0"/>
              </a:p>
            </p:txBody>
          </p:sp>
          <p:sp>
            <p:nvSpPr>
              <p:cNvPr id="845" name="Freeform: Shape 844">
                <a:extLst>
                  <a:ext uri="{FF2B5EF4-FFF2-40B4-BE49-F238E27FC236}">
                    <a16:creationId xmlns:a16="http://schemas.microsoft.com/office/drawing/2014/main" id="{082450AD-3DCC-48C7-B932-9F2D9954E79E}"/>
                  </a:ext>
                </a:extLst>
              </p:cNvPr>
              <p:cNvSpPr/>
              <p:nvPr/>
            </p:nvSpPr>
            <p:spPr>
              <a:xfrm flipH="1" flipV="1">
                <a:off x="5738389" y="3600020"/>
                <a:ext cx="77575" cy="77575"/>
              </a:xfrm>
              <a:custGeom>
                <a:avLst/>
                <a:gdLst>
                  <a:gd name="connsiteX0" fmla="*/ 22900 w 42922"/>
                  <a:gd name="connsiteY0" fmla="*/ 10731 h 42922"/>
                  <a:gd name="connsiteX1" fmla="*/ 10739 w 42922"/>
                  <a:gd name="connsiteY1" fmla="*/ 22892 h 42922"/>
                  <a:gd name="connsiteX2" fmla="*/ 22034 w 42922"/>
                  <a:gd name="connsiteY2" fmla="*/ 35045 h 42922"/>
                  <a:gd name="connsiteX3" fmla="*/ 22471 w 42922"/>
                  <a:gd name="connsiteY3" fmla="*/ 35053 h 42922"/>
                  <a:gd name="connsiteX4" fmla="*/ 22471 w 42922"/>
                  <a:gd name="connsiteY4" fmla="*/ 35053 h 42922"/>
                  <a:gd name="connsiteX5" fmla="*/ 34632 w 42922"/>
                  <a:gd name="connsiteY5" fmla="*/ 22892 h 42922"/>
                  <a:gd name="connsiteX6" fmla="*/ 22471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900" y="10731"/>
                    </a:moveTo>
                    <a:cubicBezTo>
                      <a:pt x="16184" y="10731"/>
                      <a:pt x="10739" y="16176"/>
                      <a:pt x="10739" y="22892"/>
                    </a:cubicBezTo>
                    <a:cubicBezTo>
                      <a:pt x="10501" y="29368"/>
                      <a:pt x="15559" y="34809"/>
                      <a:pt x="22034" y="35045"/>
                    </a:cubicBezTo>
                    <a:cubicBezTo>
                      <a:pt x="22179" y="35051"/>
                      <a:pt x="22325" y="35053"/>
                      <a:pt x="22471" y="35053"/>
                    </a:cubicBezTo>
                    <a:lnTo>
                      <a:pt x="22471" y="35053"/>
                    </a:lnTo>
                    <a:cubicBezTo>
                      <a:pt x="29187" y="35053"/>
                      <a:pt x="34632" y="29608"/>
                      <a:pt x="34632" y="22892"/>
                    </a:cubicBezTo>
                    <a:cubicBezTo>
                      <a:pt x="34632" y="16176"/>
                      <a:pt x="29187" y="10731"/>
                      <a:pt x="22471" y="10731"/>
                    </a:cubicBezTo>
                    <a:close/>
                  </a:path>
                </a:pathLst>
              </a:custGeom>
              <a:grpFill/>
              <a:ln w="9525" cap="flat">
                <a:noFill/>
                <a:prstDash val="solid"/>
                <a:miter/>
              </a:ln>
            </p:spPr>
            <p:txBody>
              <a:bodyPr rtlCol="0" anchor="ctr"/>
              <a:lstStyle/>
              <a:p>
                <a:endParaRPr lang="en-US" dirty="0"/>
              </a:p>
            </p:txBody>
          </p:sp>
          <p:sp>
            <p:nvSpPr>
              <p:cNvPr id="846" name="Freeform: Shape 845">
                <a:extLst>
                  <a:ext uri="{FF2B5EF4-FFF2-40B4-BE49-F238E27FC236}">
                    <a16:creationId xmlns:a16="http://schemas.microsoft.com/office/drawing/2014/main" id="{41C8A651-D7BF-4B21-9A57-AAB25C3BFCCD}"/>
                  </a:ext>
                </a:extLst>
              </p:cNvPr>
              <p:cNvSpPr/>
              <p:nvPr/>
            </p:nvSpPr>
            <p:spPr>
              <a:xfrm flipH="1" flipV="1">
                <a:off x="5739927" y="3419788"/>
                <a:ext cx="77575" cy="77575"/>
              </a:xfrm>
              <a:custGeom>
                <a:avLst/>
                <a:gdLst>
                  <a:gd name="connsiteX0" fmla="*/ 22893 w 42922"/>
                  <a:gd name="connsiteY0" fmla="*/ 35339 h 42922"/>
                  <a:gd name="connsiteX1" fmla="*/ 35339 w 42922"/>
                  <a:gd name="connsiteY1" fmla="*/ 23178 h 42922"/>
                  <a:gd name="connsiteX2" fmla="*/ 23178 w 42922"/>
                  <a:gd name="connsiteY2" fmla="*/ 10731 h 42922"/>
                  <a:gd name="connsiteX3" fmla="*/ 10732 w 42922"/>
                  <a:gd name="connsiteY3" fmla="*/ 22893 h 42922"/>
                  <a:gd name="connsiteX4" fmla="*/ 10732 w 42922"/>
                  <a:gd name="connsiteY4" fmla="*/ 23178 h 42922"/>
                  <a:gd name="connsiteX5" fmla="*/ 22893 w 42922"/>
                  <a:gd name="connsiteY5" fmla="*/ 353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3" y="35339"/>
                    </a:moveTo>
                    <a:cubicBezTo>
                      <a:pt x="29688" y="35418"/>
                      <a:pt x="35260" y="29972"/>
                      <a:pt x="35339" y="23178"/>
                    </a:cubicBezTo>
                    <a:cubicBezTo>
                      <a:pt x="35418" y="16383"/>
                      <a:pt x="29972" y="10810"/>
                      <a:pt x="23178" y="10731"/>
                    </a:cubicBezTo>
                    <a:cubicBezTo>
                      <a:pt x="16383" y="10653"/>
                      <a:pt x="10810" y="16098"/>
                      <a:pt x="10732" y="22893"/>
                    </a:cubicBezTo>
                    <a:cubicBezTo>
                      <a:pt x="10730" y="22987"/>
                      <a:pt x="10730" y="23083"/>
                      <a:pt x="10732" y="23178"/>
                    </a:cubicBezTo>
                    <a:cubicBezTo>
                      <a:pt x="10809" y="29862"/>
                      <a:pt x="16209" y="35262"/>
                      <a:pt x="22893" y="35339"/>
                    </a:cubicBezTo>
                    <a:close/>
                  </a:path>
                </a:pathLst>
              </a:custGeom>
              <a:grpFill/>
              <a:ln w="9525" cap="flat">
                <a:noFill/>
                <a:prstDash val="solid"/>
                <a:miter/>
              </a:ln>
            </p:spPr>
            <p:txBody>
              <a:bodyPr rtlCol="0" anchor="ctr"/>
              <a:lstStyle/>
              <a:p>
                <a:endParaRPr lang="en-US" dirty="0"/>
              </a:p>
            </p:txBody>
          </p:sp>
        </p:grpSp>
        <p:grpSp>
          <p:nvGrpSpPr>
            <p:cNvPr id="664" name="Group 663">
              <a:extLst>
                <a:ext uri="{FF2B5EF4-FFF2-40B4-BE49-F238E27FC236}">
                  <a16:creationId xmlns:a16="http://schemas.microsoft.com/office/drawing/2014/main" id="{20BD4BA7-9885-4AE6-A8A4-8984564A0544}"/>
                </a:ext>
              </a:extLst>
            </p:cNvPr>
            <p:cNvGrpSpPr/>
            <p:nvPr/>
          </p:nvGrpSpPr>
          <p:grpSpPr>
            <a:xfrm>
              <a:off x="4107090" y="3423409"/>
              <a:ext cx="1442098" cy="347276"/>
              <a:chOff x="4092254" y="3423409"/>
              <a:chExt cx="1442098" cy="347276"/>
            </a:xfrm>
            <a:grpFill/>
          </p:grpSpPr>
          <p:grpSp>
            <p:nvGrpSpPr>
              <p:cNvPr id="767" name="Group 766">
                <a:extLst>
                  <a:ext uri="{FF2B5EF4-FFF2-40B4-BE49-F238E27FC236}">
                    <a16:creationId xmlns:a16="http://schemas.microsoft.com/office/drawing/2014/main" id="{7FFC4E05-F029-401E-A048-39E45C7744D2}"/>
                  </a:ext>
                </a:extLst>
              </p:cNvPr>
              <p:cNvGrpSpPr/>
              <p:nvPr/>
            </p:nvGrpSpPr>
            <p:grpSpPr>
              <a:xfrm>
                <a:off x="5456260" y="3423409"/>
                <a:ext cx="78092" cy="347276"/>
                <a:chOff x="5456260" y="3423409"/>
                <a:chExt cx="78092" cy="347276"/>
              </a:xfrm>
              <a:grpFill/>
            </p:grpSpPr>
            <p:sp>
              <p:nvSpPr>
                <p:cNvPr id="813" name="Freeform: Shape 812">
                  <a:extLst>
                    <a:ext uri="{FF2B5EF4-FFF2-40B4-BE49-F238E27FC236}">
                      <a16:creationId xmlns:a16="http://schemas.microsoft.com/office/drawing/2014/main" id="{E9047D9D-BF88-494D-80DA-22CAE70D3E6F}"/>
                    </a:ext>
                  </a:extLst>
                </p:cNvPr>
                <p:cNvSpPr/>
                <p:nvPr/>
              </p:nvSpPr>
              <p:spPr>
                <a:xfrm flipH="1" flipV="1">
                  <a:off x="5456519" y="3513395"/>
                  <a:ext cx="77575" cy="77575"/>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endParaRPr lang="en-US" dirty="0"/>
                </a:p>
              </p:txBody>
            </p:sp>
            <p:sp>
              <p:nvSpPr>
                <p:cNvPr id="814" name="Freeform: Shape 813">
                  <a:extLst>
                    <a:ext uri="{FF2B5EF4-FFF2-40B4-BE49-F238E27FC236}">
                      <a16:creationId xmlns:a16="http://schemas.microsoft.com/office/drawing/2014/main" id="{B8520869-2E44-40A0-AF3D-F96257F4234D}"/>
                    </a:ext>
                  </a:extLst>
                </p:cNvPr>
                <p:cNvSpPr/>
                <p:nvPr/>
              </p:nvSpPr>
              <p:spPr>
                <a:xfrm flipH="1" flipV="1">
                  <a:off x="5456260" y="3604418"/>
                  <a:ext cx="77575" cy="77575"/>
                </a:xfrm>
                <a:custGeom>
                  <a:avLst/>
                  <a:gdLst>
                    <a:gd name="connsiteX0" fmla="*/ 25753 w 42922"/>
                    <a:gd name="connsiteY0" fmla="*/ 39346 h 42922"/>
                    <a:gd name="connsiteX1" fmla="*/ 40061 w 42922"/>
                    <a:gd name="connsiteY1" fmla="*/ 25038 h 42922"/>
                    <a:gd name="connsiteX2" fmla="*/ 25753 w 42922"/>
                    <a:gd name="connsiteY2" fmla="*/ 10731 h 42922"/>
                    <a:gd name="connsiteX3" fmla="*/ 11446 w 42922"/>
                    <a:gd name="connsiteY3" fmla="*/ 25038 h 42922"/>
                    <a:gd name="connsiteX4" fmla="*/ 10731 w 42922"/>
                    <a:gd name="connsiteY4" fmla="*/ 26040 h 42922"/>
                    <a:gd name="connsiteX5" fmla="*/ 25753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753" y="39346"/>
                      </a:moveTo>
                      <a:cubicBezTo>
                        <a:pt x="33655" y="39346"/>
                        <a:pt x="40061" y="32940"/>
                        <a:pt x="40061" y="25038"/>
                      </a:cubicBezTo>
                      <a:cubicBezTo>
                        <a:pt x="40061" y="17136"/>
                        <a:pt x="33655" y="10731"/>
                        <a:pt x="25753" y="10731"/>
                      </a:cubicBezTo>
                      <a:cubicBezTo>
                        <a:pt x="17851" y="10731"/>
                        <a:pt x="11446" y="17136"/>
                        <a:pt x="11446" y="25038"/>
                      </a:cubicBezTo>
                      <a:lnTo>
                        <a:pt x="10731" y="26040"/>
                      </a:lnTo>
                      <a:cubicBezTo>
                        <a:pt x="11267" y="33831"/>
                        <a:pt x="17953" y="39755"/>
                        <a:pt x="25753" y="39346"/>
                      </a:cubicBezTo>
                      <a:close/>
                    </a:path>
                  </a:pathLst>
                </a:custGeom>
                <a:grpFill/>
                <a:ln w="9525" cap="flat">
                  <a:noFill/>
                  <a:prstDash val="solid"/>
                  <a:miter/>
                </a:ln>
              </p:spPr>
              <p:txBody>
                <a:bodyPr rtlCol="0" anchor="ctr"/>
                <a:lstStyle/>
                <a:p>
                  <a:endParaRPr lang="en-US" dirty="0"/>
                </a:p>
              </p:txBody>
            </p:sp>
            <p:sp>
              <p:nvSpPr>
                <p:cNvPr id="815" name="Freeform: Shape 814">
                  <a:extLst>
                    <a:ext uri="{FF2B5EF4-FFF2-40B4-BE49-F238E27FC236}">
                      <a16:creationId xmlns:a16="http://schemas.microsoft.com/office/drawing/2014/main" id="{F1CBB88B-A720-419E-A194-8036BEE14998}"/>
                    </a:ext>
                  </a:extLst>
                </p:cNvPr>
                <p:cNvSpPr/>
                <p:nvPr/>
              </p:nvSpPr>
              <p:spPr>
                <a:xfrm flipH="1" flipV="1">
                  <a:off x="5456519" y="3693110"/>
                  <a:ext cx="77575" cy="77575"/>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endParaRPr lang="en-US" dirty="0"/>
                </a:p>
              </p:txBody>
            </p:sp>
            <p:sp>
              <p:nvSpPr>
                <p:cNvPr id="816" name="Freeform: Shape 815">
                  <a:extLst>
                    <a:ext uri="{FF2B5EF4-FFF2-40B4-BE49-F238E27FC236}">
                      <a16:creationId xmlns:a16="http://schemas.microsoft.com/office/drawing/2014/main" id="{B9B31C23-AB3C-4D2D-A53E-68E1990A171D}"/>
                    </a:ext>
                  </a:extLst>
                </p:cNvPr>
                <p:cNvSpPr/>
                <p:nvPr/>
              </p:nvSpPr>
              <p:spPr>
                <a:xfrm flipH="1" flipV="1">
                  <a:off x="5456777" y="3423409"/>
                  <a:ext cx="77575" cy="77575"/>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25038 w 42922"/>
                    <a:gd name="connsiteY3" fmla="*/ 10731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lnTo>
                        <a:pt x="25038" y="10731"/>
                      </a:lnTo>
                      <a:cubicBezTo>
                        <a:pt x="17136" y="10731"/>
                        <a:pt x="10731" y="17136"/>
                        <a:pt x="10731" y="25038"/>
                      </a:cubicBezTo>
                      <a:cubicBezTo>
                        <a:pt x="10731" y="32940"/>
                        <a:pt x="17136" y="39346"/>
                        <a:pt x="25038" y="39346"/>
                      </a:cubicBezTo>
                      <a:close/>
                    </a:path>
                  </a:pathLst>
                </a:custGeom>
                <a:grpFill/>
                <a:ln w="9525" cap="flat">
                  <a:noFill/>
                  <a:prstDash val="solid"/>
                  <a:miter/>
                </a:ln>
              </p:spPr>
              <p:txBody>
                <a:bodyPr rtlCol="0" anchor="ctr"/>
                <a:lstStyle/>
                <a:p>
                  <a:endParaRPr lang="en-US" dirty="0"/>
                </a:p>
              </p:txBody>
            </p:sp>
          </p:grpSp>
          <p:grpSp>
            <p:nvGrpSpPr>
              <p:cNvPr id="768" name="Group 767">
                <a:extLst>
                  <a:ext uri="{FF2B5EF4-FFF2-40B4-BE49-F238E27FC236}">
                    <a16:creationId xmlns:a16="http://schemas.microsoft.com/office/drawing/2014/main" id="{429EDE87-BE4E-4AA9-97CF-8ABEDEFE2012}"/>
                  </a:ext>
                </a:extLst>
              </p:cNvPr>
              <p:cNvGrpSpPr/>
              <p:nvPr/>
            </p:nvGrpSpPr>
            <p:grpSpPr>
              <a:xfrm>
                <a:off x="4092254" y="3423409"/>
                <a:ext cx="1289195" cy="347018"/>
                <a:chOff x="4092254" y="3423409"/>
                <a:chExt cx="1289195" cy="347018"/>
              </a:xfrm>
              <a:grpFill/>
            </p:grpSpPr>
            <p:sp>
              <p:nvSpPr>
                <p:cNvPr id="769" name="Freeform: Shape 768">
                  <a:extLst>
                    <a:ext uri="{FF2B5EF4-FFF2-40B4-BE49-F238E27FC236}">
                      <a16:creationId xmlns:a16="http://schemas.microsoft.com/office/drawing/2014/main" id="{0628FA27-B64C-4F22-960C-DC26B471BDED}"/>
                    </a:ext>
                  </a:extLst>
                </p:cNvPr>
                <p:cNvSpPr/>
                <p:nvPr/>
              </p:nvSpPr>
              <p:spPr>
                <a:xfrm flipH="1" flipV="1">
                  <a:off x="4092254"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70" name="Freeform: Shape 769">
                  <a:extLst>
                    <a:ext uri="{FF2B5EF4-FFF2-40B4-BE49-F238E27FC236}">
                      <a16:creationId xmlns:a16="http://schemas.microsoft.com/office/drawing/2014/main" id="{4441DB01-AE00-4446-AB77-A9FE3AB68AAB}"/>
                    </a:ext>
                  </a:extLst>
                </p:cNvPr>
                <p:cNvSpPr/>
                <p:nvPr/>
              </p:nvSpPr>
              <p:spPr>
                <a:xfrm flipH="1" flipV="1">
                  <a:off x="4092512"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71" name="Freeform: Shape 770">
                  <a:extLst>
                    <a:ext uri="{FF2B5EF4-FFF2-40B4-BE49-F238E27FC236}">
                      <a16:creationId xmlns:a16="http://schemas.microsoft.com/office/drawing/2014/main" id="{132CAA77-8EDD-4D25-A294-15E2016C227B}"/>
                    </a:ext>
                  </a:extLst>
                </p:cNvPr>
                <p:cNvSpPr/>
                <p:nvPr/>
              </p:nvSpPr>
              <p:spPr>
                <a:xfrm flipH="1" flipV="1">
                  <a:off x="4092512"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72" name="Freeform: Shape 771">
                  <a:extLst>
                    <a:ext uri="{FF2B5EF4-FFF2-40B4-BE49-F238E27FC236}">
                      <a16:creationId xmlns:a16="http://schemas.microsoft.com/office/drawing/2014/main" id="{5DBE72D6-CD9A-4246-BECA-AA4B63B7EFDA}"/>
                    </a:ext>
                  </a:extLst>
                </p:cNvPr>
                <p:cNvSpPr/>
                <p:nvPr/>
              </p:nvSpPr>
              <p:spPr>
                <a:xfrm flipH="1" flipV="1">
                  <a:off x="4092512"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nvGrpSpPr>
                <p:cNvPr id="773" name="Group 772">
                  <a:extLst>
                    <a:ext uri="{FF2B5EF4-FFF2-40B4-BE49-F238E27FC236}">
                      <a16:creationId xmlns:a16="http://schemas.microsoft.com/office/drawing/2014/main" id="{38A02E3F-1444-4165-96F7-73ABE7DABBE9}"/>
                    </a:ext>
                  </a:extLst>
                </p:cNvPr>
                <p:cNvGrpSpPr/>
                <p:nvPr/>
              </p:nvGrpSpPr>
              <p:grpSpPr>
                <a:xfrm>
                  <a:off x="4235129" y="3423409"/>
                  <a:ext cx="77833" cy="347018"/>
                  <a:chOff x="4235129" y="3423409"/>
                  <a:chExt cx="77833" cy="347018"/>
                </a:xfrm>
                <a:grpFill/>
              </p:grpSpPr>
              <p:sp>
                <p:nvSpPr>
                  <p:cNvPr id="809" name="Freeform: Shape 808">
                    <a:extLst>
                      <a:ext uri="{FF2B5EF4-FFF2-40B4-BE49-F238E27FC236}">
                        <a16:creationId xmlns:a16="http://schemas.microsoft.com/office/drawing/2014/main" id="{F6FC568B-BD6D-4F75-B899-DAB90639CE9A}"/>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810" name="Freeform: Shape 809">
                    <a:extLst>
                      <a:ext uri="{FF2B5EF4-FFF2-40B4-BE49-F238E27FC236}">
                        <a16:creationId xmlns:a16="http://schemas.microsoft.com/office/drawing/2014/main" id="{4C8B9D4C-9AE8-40F5-9360-F76AE20F67E0}"/>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811" name="Freeform: Shape 810">
                    <a:extLst>
                      <a:ext uri="{FF2B5EF4-FFF2-40B4-BE49-F238E27FC236}">
                        <a16:creationId xmlns:a16="http://schemas.microsoft.com/office/drawing/2014/main" id="{83E3299A-30B2-4C73-BE35-0888D01D4771}"/>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812" name="Freeform: Shape 811">
                    <a:extLst>
                      <a:ext uri="{FF2B5EF4-FFF2-40B4-BE49-F238E27FC236}">
                        <a16:creationId xmlns:a16="http://schemas.microsoft.com/office/drawing/2014/main" id="{C35D6295-863C-4750-A900-DDB44EC92EFF}"/>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774" name="Group 773">
                  <a:extLst>
                    <a:ext uri="{FF2B5EF4-FFF2-40B4-BE49-F238E27FC236}">
                      <a16:creationId xmlns:a16="http://schemas.microsoft.com/office/drawing/2014/main" id="{DF0C76F1-9E97-4C33-918F-E91E869DF650}"/>
                    </a:ext>
                  </a:extLst>
                </p:cNvPr>
                <p:cNvGrpSpPr/>
                <p:nvPr/>
              </p:nvGrpSpPr>
              <p:grpSpPr>
                <a:xfrm>
                  <a:off x="4387770" y="3423409"/>
                  <a:ext cx="77833" cy="347018"/>
                  <a:chOff x="4235129" y="3423409"/>
                  <a:chExt cx="77833" cy="347018"/>
                </a:xfrm>
                <a:grpFill/>
              </p:grpSpPr>
              <p:sp>
                <p:nvSpPr>
                  <p:cNvPr id="805" name="Freeform: Shape 804">
                    <a:extLst>
                      <a:ext uri="{FF2B5EF4-FFF2-40B4-BE49-F238E27FC236}">
                        <a16:creationId xmlns:a16="http://schemas.microsoft.com/office/drawing/2014/main" id="{BCBBC116-29F2-47E5-9865-1B2BB5817763}"/>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806" name="Freeform: Shape 805">
                    <a:extLst>
                      <a:ext uri="{FF2B5EF4-FFF2-40B4-BE49-F238E27FC236}">
                        <a16:creationId xmlns:a16="http://schemas.microsoft.com/office/drawing/2014/main" id="{1CC56FA1-CC2E-4BBB-B5B6-2DAE2BB5571C}"/>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807" name="Freeform: Shape 806">
                    <a:extLst>
                      <a:ext uri="{FF2B5EF4-FFF2-40B4-BE49-F238E27FC236}">
                        <a16:creationId xmlns:a16="http://schemas.microsoft.com/office/drawing/2014/main" id="{33A7845C-EF47-41B4-A622-9BAEBE6B43C8}"/>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808" name="Freeform: Shape 807">
                    <a:extLst>
                      <a:ext uri="{FF2B5EF4-FFF2-40B4-BE49-F238E27FC236}">
                        <a16:creationId xmlns:a16="http://schemas.microsoft.com/office/drawing/2014/main" id="{A3FA6233-3B96-4649-93CC-7CB854181C37}"/>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775" name="Group 774">
                  <a:extLst>
                    <a:ext uri="{FF2B5EF4-FFF2-40B4-BE49-F238E27FC236}">
                      <a16:creationId xmlns:a16="http://schemas.microsoft.com/office/drawing/2014/main" id="{CA43B573-2A78-4DF2-B8D0-B747E170612F}"/>
                    </a:ext>
                  </a:extLst>
                </p:cNvPr>
                <p:cNvGrpSpPr/>
                <p:nvPr/>
              </p:nvGrpSpPr>
              <p:grpSpPr>
                <a:xfrm>
                  <a:off x="4540411" y="3423409"/>
                  <a:ext cx="77833" cy="347018"/>
                  <a:chOff x="4235129" y="3423409"/>
                  <a:chExt cx="77833" cy="347018"/>
                </a:xfrm>
                <a:grpFill/>
              </p:grpSpPr>
              <p:sp>
                <p:nvSpPr>
                  <p:cNvPr id="801" name="Freeform: Shape 800">
                    <a:extLst>
                      <a:ext uri="{FF2B5EF4-FFF2-40B4-BE49-F238E27FC236}">
                        <a16:creationId xmlns:a16="http://schemas.microsoft.com/office/drawing/2014/main" id="{3CEFC2AC-4F08-4C97-B1DE-C6AD379A7205}"/>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802" name="Freeform: Shape 801">
                    <a:extLst>
                      <a:ext uri="{FF2B5EF4-FFF2-40B4-BE49-F238E27FC236}">
                        <a16:creationId xmlns:a16="http://schemas.microsoft.com/office/drawing/2014/main" id="{88778315-A05A-4B86-B622-B382E826EFB9}"/>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803" name="Freeform: Shape 802">
                    <a:extLst>
                      <a:ext uri="{FF2B5EF4-FFF2-40B4-BE49-F238E27FC236}">
                        <a16:creationId xmlns:a16="http://schemas.microsoft.com/office/drawing/2014/main" id="{CF8AACBC-DD33-47BE-89F7-4FEF83252EB1}"/>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804" name="Freeform: Shape 803">
                    <a:extLst>
                      <a:ext uri="{FF2B5EF4-FFF2-40B4-BE49-F238E27FC236}">
                        <a16:creationId xmlns:a16="http://schemas.microsoft.com/office/drawing/2014/main" id="{01AD70DE-ACAB-48E7-BABD-0BDE625E2A0D}"/>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776" name="Group 775">
                  <a:extLst>
                    <a:ext uri="{FF2B5EF4-FFF2-40B4-BE49-F238E27FC236}">
                      <a16:creationId xmlns:a16="http://schemas.microsoft.com/office/drawing/2014/main" id="{BA6AFE3D-F579-4070-84D8-0B70F5ACE1E9}"/>
                    </a:ext>
                  </a:extLst>
                </p:cNvPr>
                <p:cNvGrpSpPr/>
                <p:nvPr/>
              </p:nvGrpSpPr>
              <p:grpSpPr>
                <a:xfrm>
                  <a:off x="4845693" y="3423409"/>
                  <a:ext cx="77833" cy="347018"/>
                  <a:chOff x="4235129" y="3423409"/>
                  <a:chExt cx="77833" cy="347018"/>
                </a:xfrm>
                <a:grpFill/>
              </p:grpSpPr>
              <p:sp>
                <p:nvSpPr>
                  <p:cNvPr id="797" name="Freeform: Shape 796">
                    <a:extLst>
                      <a:ext uri="{FF2B5EF4-FFF2-40B4-BE49-F238E27FC236}">
                        <a16:creationId xmlns:a16="http://schemas.microsoft.com/office/drawing/2014/main" id="{E2A812C8-3E51-45E1-8740-907538496671}"/>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98" name="Freeform: Shape 797">
                    <a:extLst>
                      <a:ext uri="{FF2B5EF4-FFF2-40B4-BE49-F238E27FC236}">
                        <a16:creationId xmlns:a16="http://schemas.microsoft.com/office/drawing/2014/main" id="{C3288BC4-0C64-4FA5-9F52-CACD98F43C94}"/>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99" name="Freeform: Shape 798">
                    <a:extLst>
                      <a:ext uri="{FF2B5EF4-FFF2-40B4-BE49-F238E27FC236}">
                        <a16:creationId xmlns:a16="http://schemas.microsoft.com/office/drawing/2014/main" id="{BC067344-8832-4F86-B6EB-9A6ADC8E61C9}"/>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800" name="Freeform: Shape 799">
                    <a:extLst>
                      <a:ext uri="{FF2B5EF4-FFF2-40B4-BE49-F238E27FC236}">
                        <a16:creationId xmlns:a16="http://schemas.microsoft.com/office/drawing/2014/main" id="{7DABFE8A-4463-47EC-8D2E-BC01285E68E5}"/>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777" name="Group 776">
                  <a:extLst>
                    <a:ext uri="{FF2B5EF4-FFF2-40B4-BE49-F238E27FC236}">
                      <a16:creationId xmlns:a16="http://schemas.microsoft.com/office/drawing/2014/main" id="{62C7724A-8A60-4481-A844-26916207FA82}"/>
                    </a:ext>
                  </a:extLst>
                </p:cNvPr>
                <p:cNvGrpSpPr/>
                <p:nvPr/>
              </p:nvGrpSpPr>
              <p:grpSpPr>
                <a:xfrm>
                  <a:off x="4998334" y="3423409"/>
                  <a:ext cx="77833" cy="347018"/>
                  <a:chOff x="4235129" y="3423409"/>
                  <a:chExt cx="77833" cy="347018"/>
                </a:xfrm>
                <a:grpFill/>
              </p:grpSpPr>
              <p:sp>
                <p:nvSpPr>
                  <p:cNvPr id="793" name="Freeform: Shape 792">
                    <a:extLst>
                      <a:ext uri="{FF2B5EF4-FFF2-40B4-BE49-F238E27FC236}">
                        <a16:creationId xmlns:a16="http://schemas.microsoft.com/office/drawing/2014/main" id="{F25531E9-11D2-4D78-BBF8-A2147A7567E8}"/>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94" name="Freeform: Shape 793">
                    <a:extLst>
                      <a:ext uri="{FF2B5EF4-FFF2-40B4-BE49-F238E27FC236}">
                        <a16:creationId xmlns:a16="http://schemas.microsoft.com/office/drawing/2014/main" id="{1DD07978-0B5F-4F94-8DD8-73258C851D0E}"/>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95" name="Freeform: Shape 794">
                    <a:extLst>
                      <a:ext uri="{FF2B5EF4-FFF2-40B4-BE49-F238E27FC236}">
                        <a16:creationId xmlns:a16="http://schemas.microsoft.com/office/drawing/2014/main" id="{CE0D575F-02F5-40D4-BFCD-5C382246EE6B}"/>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96" name="Freeform: Shape 795">
                    <a:extLst>
                      <a:ext uri="{FF2B5EF4-FFF2-40B4-BE49-F238E27FC236}">
                        <a16:creationId xmlns:a16="http://schemas.microsoft.com/office/drawing/2014/main" id="{61E90D72-977F-42D0-83AA-C40F2153204B}"/>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778" name="Group 777">
                  <a:extLst>
                    <a:ext uri="{FF2B5EF4-FFF2-40B4-BE49-F238E27FC236}">
                      <a16:creationId xmlns:a16="http://schemas.microsoft.com/office/drawing/2014/main" id="{7267A768-83AD-4674-81F3-1D7717D33839}"/>
                    </a:ext>
                  </a:extLst>
                </p:cNvPr>
                <p:cNvGrpSpPr/>
                <p:nvPr/>
              </p:nvGrpSpPr>
              <p:grpSpPr>
                <a:xfrm>
                  <a:off x="5150975" y="3423409"/>
                  <a:ext cx="77833" cy="347018"/>
                  <a:chOff x="4235129" y="3423409"/>
                  <a:chExt cx="77833" cy="347018"/>
                </a:xfrm>
                <a:grpFill/>
              </p:grpSpPr>
              <p:sp>
                <p:nvSpPr>
                  <p:cNvPr id="789" name="Freeform: Shape 788">
                    <a:extLst>
                      <a:ext uri="{FF2B5EF4-FFF2-40B4-BE49-F238E27FC236}">
                        <a16:creationId xmlns:a16="http://schemas.microsoft.com/office/drawing/2014/main" id="{3998E0A7-62E5-46CF-8FAA-4202294D0AB3}"/>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90" name="Freeform: Shape 789">
                    <a:extLst>
                      <a:ext uri="{FF2B5EF4-FFF2-40B4-BE49-F238E27FC236}">
                        <a16:creationId xmlns:a16="http://schemas.microsoft.com/office/drawing/2014/main" id="{8C93462A-E53B-4B16-A1D8-0BDF817B21A7}"/>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91" name="Freeform: Shape 790">
                    <a:extLst>
                      <a:ext uri="{FF2B5EF4-FFF2-40B4-BE49-F238E27FC236}">
                        <a16:creationId xmlns:a16="http://schemas.microsoft.com/office/drawing/2014/main" id="{2D924EBF-4825-4875-9D90-50F8D7ECAE84}"/>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92" name="Freeform: Shape 791">
                    <a:extLst>
                      <a:ext uri="{FF2B5EF4-FFF2-40B4-BE49-F238E27FC236}">
                        <a16:creationId xmlns:a16="http://schemas.microsoft.com/office/drawing/2014/main" id="{8F401E3E-B1D4-4347-B6D0-6286D4CD9A53}"/>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779" name="Group 778">
                  <a:extLst>
                    <a:ext uri="{FF2B5EF4-FFF2-40B4-BE49-F238E27FC236}">
                      <a16:creationId xmlns:a16="http://schemas.microsoft.com/office/drawing/2014/main" id="{0243C3E4-FD86-409D-8361-182EA602F029}"/>
                    </a:ext>
                  </a:extLst>
                </p:cNvPr>
                <p:cNvGrpSpPr/>
                <p:nvPr/>
              </p:nvGrpSpPr>
              <p:grpSpPr>
                <a:xfrm>
                  <a:off x="4693052" y="3423409"/>
                  <a:ext cx="77833" cy="347018"/>
                  <a:chOff x="4235129" y="3423409"/>
                  <a:chExt cx="77833" cy="347018"/>
                </a:xfrm>
                <a:grpFill/>
              </p:grpSpPr>
              <p:sp>
                <p:nvSpPr>
                  <p:cNvPr id="785" name="Freeform: Shape 784">
                    <a:extLst>
                      <a:ext uri="{FF2B5EF4-FFF2-40B4-BE49-F238E27FC236}">
                        <a16:creationId xmlns:a16="http://schemas.microsoft.com/office/drawing/2014/main" id="{F04FAFCB-CAD6-4FE0-B8D6-DC7E6D9EA6E8}"/>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86" name="Freeform: Shape 785">
                    <a:extLst>
                      <a:ext uri="{FF2B5EF4-FFF2-40B4-BE49-F238E27FC236}">
                        <a16:creationId xmlns:a16="http://schemas.microsoft.com/office/drawing/2014/main" id="{5651749C-6EBF-4972-A9CE-39721BCD4CEF}"/>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87" name="Freeform: Shape 786">
                    <a:extLst>
                      <a:ext uri="{FF2B5EF4-FFF2-40B4-BE49-F238E27FC236}">
                        <a16:creationId xmlns:a16="http://schemas.microsoft.com/office/drawing/2014/main" id="{65AAC98D-AF47-41D1-9187-FB51B5E622D9}"/>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88" name="Freeform: Shape 787">
                    <a:extLst>
                      <a:ext uri="{FF2B5EF4-FFF2-40B4-BE49-F238E27FC236}">
                        <a16:creationId xmlns:a16="http://schemas.microsoft.com/office/drawing/2014/main" id="{09DEE1A2-7C01-48BA-B957-C772DF01D876}"/>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780" name="Group 779">
                  <a:extLst>
                    <a:ext uri="{FF2B5EF4-FFF2-40B4-BE49-F238E27FC236}">
                      <a16:creationId xmlns:a16="http://schemas.microsoft.com/office/drawing/2014/main" id="{8388E8B3-05FA-4B1D-802D-72CE77907309}"/>
                    </a:ext>
                  </a:extLst>
                </p:cNvPr>
                <p:cNvGrpSpPr/>
                <p:nvPr/>
              </p:nvGrpSpPr>
              <p:grpSpPr>
                <a:xfrm>
                  <a:off x="5303616" y="3423409"/>
                  <a:ext cx="77833" cy="347018"/>
                  <a:chOff x="4235129" y="3423409"/>
                  <a:chExt cx="77833" cy="347018"/>
                </a:xfrm>
                <a:grpFill/>
              </p:grpSpPr>
              <p:sp>
                <p:nvSpPr>
                  <p:cNvPr id="781" name="Freeform: Shape 780">
                    <a:extLst>
                      <a:ext uri="{FF2B5EF4-FFF2-40B4-BE49-F238E27FC236}">
                        <a16:creationId xmlns:a16="http://schemas.microsoft.com/office/drawing/2014/main" id="{31DDB07D-CF45-49A5-ABD1-17793B74E78B}"/>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82" name="Freeform: Shape 781">
                    <a:extLst>
                      <a:ext uri="{FF2B5EF4-FFF2-40B4-BE49-F238E27FC236}">
                        <a16:creationId xmlns:a16="http://schemas.microsoft.com/office/drawing/2014/main" id="{CADFCFC8-89C1-4B35-9EC8-63572425BEC3}"/>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83" name="Freeform: Shape 782">
                    <a:extLst>
                      <a:ext uri="{FF2B5EF4-FFF2-40B4-BE49-F238E27FC236}">
                        <a16:creationId xmlns:a16="http://schemas.microsoft.com/office/drawing/2014/main" id="{9CE76A93-9E0D-47B6-8801-2AC4C57DB6BF}"/>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84" name="Freeform: Shape 783">
                    <a:extLst>
                      <a:ext uri="{FF2B5EF4-FFF2-40B4-BE49-F238E27FC236}">
                        <a16:creationId xmlns:a16="http://schemas.microsoft.com/office/drawing/2014/main" id="{07BB82C0-1332-4AF6-86D5-E87295677C6D}"/>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grpSp>
        <p:grpSp>
          <p:nvGrpSpPr>
            <p:cNvPr id="665" name="Group 664">
              <a:extLst>
                <a:ext uri="{FF2B5EF4-FFF2-40B4-BE49-F238E27FC236}">
                  <a16:creationId xmlns:a16="http://schemas.microsoft.com/office/drawing/2014/main" id="{8E139272-5138-4993-9A05-0E7D664D29C0}"/>
                </a:ext>
              </a:extLst>
            </p:cNvPr>
            <p:cNvGrpSpPr/>
            <p:nvPr/>
          </p:nvGrpSpPr>
          <p:grpSpPr>
            <a:xfrm>
              <a:off x="5631773" y="3423409"/>
              <a:ext cx="1442098" cy="347276"/>
              <a:chOff x="4092254" y="3423409"/>
              <a:chExt cx="1442098" cy="347276"/>
            </a:xfrm>
            <a:grpFill/>
          </p:grpSpPr>
          <p:grpSp>
            <p:nvGrpSpPr>
              <p:cNvPr id="717" name="Group 716">
                <a:extLst>
                  <a:ext uri="{FF2B5EF4-FFF2-40B4-BE49-F238E27FC236}">
                    <a16:creationId xmlns:a16="http://schemas.microsoft.com/office/drawing/2014/main" id="{5CFAFB2C-6E3F-44FE-A9C3-308848798ADE}"/>
                  </a:ext>
                </a:extLst>
              </p:cNvPr>
              <p:cNvGrpSpPr/>
              <p:nvPr/>
            </p:nvGrpSpPr>
            <p:grpSpPr>
              <a:xfrm>
                <a:off x="5456260" y="3423409"/>
                <a:ext cx="78092" cy="347276"/>
                <a:chOff x="5456260" y="3423409"/>
                <a:chExt cx="78092" cy="347276"/>
              </a:xfrm>
              <a:grpFill/>
            </p:grpSpPr>
            <p:sp>
              <p:nvSpPr>
                <p:cNvPr id="763" name="Freeform: Shape 762">
                  <a:extLst>
                    <a:ext uri="{FF2B5EF4-FFF2-40B4-BE49-F238E27FC236}">
                      <a16:creationId xmlns:a16="http://schemas.microsoft.com/office/drawing/2014/main" id="{01292C56-E6D5-4842-9796-370714A9185B}"/>
                    </a:ext>
                  </a:extLst>
                </p:cNvPr>
                <p:cNvSpPr/>
                <p:nvPr/>
              </p:nvSpPr>
              <p:spPr>
                <a:xfrm flipH="1" flipV="1">
                  <a:off x="5456519" y="3513395"/>
                  <a:ext cx="77575" cy="77575"/>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endParaRPr lang="en-US" dirty="0"/>
                </a:p>
              </p:txBody>
            </p:sp>
            <p:sp>
              <p:nvSpPr>
                <p:cNvPr id="764" name="Freeform: Shape 763">
                  <a:extLst>
                    <a:ext uri="{FF2B5EF4-FFF2-40B4-BE49-F238E27FC236}">
                      <a16:creationId xmlns:a16="http://schemas.microsoft.com/office/drawing/2014/main" id="{5FAC4858-9BC8-4355-A48A-5648D0A9B737}"/>
                    </a:ext>
                  </a:extLst>
                </p:cNvPr>
                <p:cNvSpPr/>
                <p:nvPr/>
              </p:nvSpPr>
              <p:spPr>
                <a:xfrm flipH="1" flipV="1">
                  <a:off x="5456260" y="3604418"/>
                  <a:ext cx="77575" cy="77575"/>
                </a:xfrm>
                <a:custGeom>
                  <a:avLst/>
                  <a:gdLst>
                    <a:gd name="connsiteX0" fmla="*/ 25753 w 42922"/>
                    <a:gd name="connsiteY0" fmla="*/ 39346 h 42922"/>
                    <a:gd name="connsiteX1" fmla="*/ 40061 w 42922"/>
                    <a:gd name="connsiteY1" fmla="*/ 25038 h 42922"/>
                    <a:gd name="connsiteX2" fmla="*/ 25753 w 42922"/>
                    <a:gd name="connsiteY2" fmla="*/ 10731 h 42922"/>
                    <a:gd name="connsiteX3" fmla="*/ 11446 w 42922"/>
                    <a:gd name="connsiteY3" fmla="*/ 25038 h 42922"/>
                    <a:gd name="connsiteX4" fmla="*/ 10731 w 42922"/>
                    <a:gd name="connsiteY4" fmla="*/ 26040 h 42922"/>
                    <a:gd name="connsiteX5" fmla="*/ 25753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753" y="39346"/>
                      </a:moveTo>
                      <a:cubicBezTo>
                        <a:pt x="33655" y="39346"/>
                        <a:pt x="40061" y="32940"/>
                        <a:pt x="40061" y="25038"/>
                      </a:cubicBezTo>
                      <a:cubicBezTo>
                        <a:pt x="40061" y="17136"/>
                        <a:pt x="33655" y="10731"/>
                        <a:pt x="25753" y="10731"/>
                      </a:cubicBezTo>
                      <a:cubicBezTo>
                        <a:pt x="17851" y="10731"/>
                        <a:pt x="11446" y="17136"/>
                        <a:pt x="11446" y="25038"/>
                      </a:cubicBezTo>
                      <a:lnTo>
                        <a:pt x="10731" y="26040"/>
                      </a:lnTo>
                      <a:cubicBezTo>
                        <a:pt x="11267" y="33831"/>
                        <a:pt x="17953" y="39755"/>
                        <a:pt x="25753" y="39346"/>
                      </a:cubicBezTo>
                      <a:close/>
                    </a:path>
                  </a:pathLst>
                </a:custGeom>
                <a:grpFill/>
                <a:ln w="9525" cap="flat">
                  <a:noFill/>
                  <a:prstDash val="solid"/>
                  <a:miter/>
                </a:ln>
              </p:spPr>
              <p:txBody>
                <a:bodyPr rtlCol="0" anchor="ctr"/>
                <a:lstStyle/>
                <a:p>
                  <a:endParaRPr lang="en-US" dirty="0"/>
                </a:p>
              </p:txBody>
            </p:sp>
            <p:sp>
              <p:nvSpPr>
                <p:cNvPr id="765" name="Freeform: Shape 764">
                  <a:extLst>
                    <a:ext uri="{FF2B5EF4-FFF2-40B4-BE49-F238E27FC236}">
                      <a16:creationId xmlns:a16="http://schemas.microsoft.com/office/drawing/2014/main" id="{BA5C7247-5752-4168-99ED-66DF331A62A8}"/>
                    </a:ext>
                  </a:extLst>
                </p:cNvPr>
                <p:cNvSpPr/>
                <p:nvPr/>
              </p:nvSpPr>
              <p:spPr>
                <a:xfrm flipH="1" flipV="1">
                  <a:off x="5456519" y="3693110"/>
                  <a:ext cx="77575" cy="77575"/>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endParaRPr lang="en-US" dirty="0"/>
                </a:p>
              </p:txBody>
            </p:sp>
            <p:sp>
              <p:nvSpPr>
                <p:cNvPr id="766" name="Freeform: Shape 765">
                  <a:extLst>
                    <a:ext uri="{FF2B5EF4-FFF2-40B4-BE49-F238E27FC236}">
                      <a16:creationId xmlns:a16="http://schemas.microsoft.com/office/drawing/2014/main" id="{9219F470-5EA5-4F65-BEE4-642621C0E77D}"/>
                    </a:ext>
                  </a:extLst>
                </p:cNvPr>
                <p:cNvSpPr/>
                <p:nvPr/>
              </p:nvSpPr>
              <p:spPr>
                <a:xfrm flipH="1" flipV="1">
                  <a:off x="5456777" y="3423409"/>
                  <a:ext cx="77575" cy="77575"/>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25038 w 42922"/>
                    <a:gd name="connsiteY3" fmla="*/ 10731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lnTo>
                        <a:pt x="25038" y="10731"/>
                      </a:lnTo>
                      <a:cubicBezTo>
                        <a:pt x="17136" y="10731"/>
                        <a:pt x="10731" y="17136"/>
                        <a:pt x="10731" y="25038"/>
                      </a:cubicBezTo>
                      <a:cubicBezTo>
                        <a:pt x="10731" y="32940"/>
                        <a:pt x="17136" y="39346"/>
                        <a:pt x="25038" y="39346"/>
                      </a:cubicBezTo>
                      <a:close/>
                    </a:path>
                  </a:pathLst>
                </a:custGeom>
                <a:grpFill/>
                <a:ln w="9525" cap="flat">
                  <a:noFill/>
                  <a:prstDash val="solid"/>
                  <a:miter/>
                </a:ln>
              </p:spPr>
              <p:txBody>
                <a:bodyPr rtlCol="0" anchor="ctr"/>
                <a:lstStyle/>
                <a:p>
                  <a:endParaRPr lang="en-US" dirty="0"/>
                </a:p>
              </p:txBody>
            </p:sp>
          </p:grpSp>
          <p:grpSp>
            <p:nvGrpSpPr>
              <p:cNvPr id="718" name="Group 717">
                <a:extLst>
                  <a:ext uri="{FF2B5EF4-FFF2-40B4-BE49-F238E27FC236}">
                    <a16:creationId xmlns:a16="http://schemas.microsoft.com/office/drawing/2014/main" id="{0E7ACB9B-8D9E-45A8-BB2C-9717FB8D5E67}"/>
                  </a:ext>
                </a:extLst>
              </p:cNvPr>
              <p:cNvGrpSpPr/>
              <p:nvPr/>
            </p:nvGrpSpPr>
            <p:grpSpPr>
              <a:xfrm>
                <a:off x="4092254" y="3423409"/>
                <a:ext cx="1289195" cy="347018"/>
                <a:chOff x="4092254" y="3423409"/>
                <a:chExt cx="1289195" cy="347018"/>
              </a:xfrm>
              <a:grpFill/>
            </p:grpSpPr>
            <p:sp>
              <p:nvSpPr>
                <p:cNvPr id="719" name="Freeform: Shape 718">
                  <a:extLst>
                    <a:ext uri="{FF2B5EF4-FFF2-40B4-BE49-F238E27FC236}">
                      <a16:creationId xmlns:a16="http://schemas.microsoft.com/office/drawing/2014/main" id="{EEEFF6D8-136C-402C-AD4D-6F53C9E220BE}"/>
                    </a:ext>
                  </a:extLst>
                </p:cNvPr>
                <p:cNvSpPr/>
                <p:nvPr/>
              </p:nvSpPr>
              <p:spPr>
                <a:xfrm flipH="1" flipV="1">
                  <a:off x="4092254"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20" name="Freeform: Shape 719">
                  <a:extLst>
                    <a:ext uri="{FF2B5EF4-FFF2-40B4-BE49-F238E27FC236}">
                      <a16:creationId xmlns:a16="http://schemas.microsoft.com/office/drawing/2014/main" id="{ED7D6EA2-C10E-4647-A8A4-960990864231}"/>
                    </a:ext>
                  </a:extLst>
                </p:cNvPr>
                <p:cNvSpPr/>
                <p:nvPr/>
              </p:nvSpPr>
              <p:spPr>
                <a:xfrm flipH="1" flipV="1">
                  <a:off x="4092512"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21" name="Freeform: Shape 720">
                  <a:extLst>
                    <a:ext uri="{FF2B5EF4-FFF2-40B4-BE49-F238E27FC236}">
                      <a16:creationId xmlns:a16="http://schemas.microsoft.com/office/drawing/2014/main" id="{0365CE37-DAD2-4041-A3C4-225B9D37C8B2}"/>
                    </a:ext>
                  </a:extLst>
                </p:cNvPr>
                <p:cNvSpPr/>
                <p:nvPr/>
              </p:nvSpPr>
              <p:spPr>
                <a:xfrm flipH="1" flipV="1">
                  <a:off x="4092512"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22" name="Freeform: Shape 721">
                  <a:extLst>
                    <a:ext uri="{FF2B5EF4-FFF2-40B4-BE49-F238E27FC236}">
                      <a16:creationId xmlns:a16="http://schemas.microsoft.com/office/drawing/2014/main" id="{6193EF53-460E-4C94-9DDD-59D1979F4715}"/>
                    </a:ext>
                  </a:extLst>
                </p:cNvPr>
                <p:cNvSpPr/>
                <p:nvPr/>
              </p:nvSpPr>
              <p:spPr>
                <a:xfrm flipH="1" flipV="1">
                  <a:off x="4092512"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nvGrpSpPr>
                <p:cNvPr id="723" name="Group 722">
                  <a:extLst>
                    <a:ext uri="{FF2B5EF4-FFF2-40B4-BE49-F238E27FC236}">
                      <a16:creationId xmlns:a16="http://schemas.microsoft.com/office/drawing/2014/main" id="{762130CF-6200-4F43-A57E-111539E46E28}"/>
                    </a:ext>
                  </a:extLst>
                </p:cNvPr>
                <p:cNvGrpSpPr/>
                <p:nvPr/>
              </p:nvGrpSpPr>
              <p:grpSpPr>
                <a:xfrm>
                  <a:off x="4235129" y="3423409"/>
                  <a:ext cx="77833" cy="347018"/>
                  <a:chOff x="4235129" y="3423409"/>
                  <a:chExt cx="77833" cy="347018"/>
                </a:xfrm>
                <a:grpFill/>
              </p:grpSpPr>
              <p:sp>
                <p:nvSpPr>
                  <p:cNvPr id="759" name="Freeform: Shape 758">
                    <a:extLst>
                      <a:ext uri="{FF2B5EF4-FFF2-40B4-BE49-F238E27FC236}">
                        <a16:creationId xmlns:a16="http://schemas.microsoft.com/office/drawing/2014/main" id="{11C83EF9-3BDC-492C-BB03-67C360FFBA0C}"/>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60" name="Freeform: Shape 759">
                    <a:extLst>
                      <a:ext uri="{FF2B5EF4-FFF2-40B4-BE49-F238E27FC236}">
                        <a16:creationId xmlns:a16="http://schemas.microsoft.com/office/drawing/2014/main" id="{2F2AA3E7-CEC8-47F4-89F8-E29C919AA914}"/>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61" name="Freeform: Shape 760">
                    <a:extLst>
                      <a:ext uri="{FF2B5EF4-FFF2-40B4-BE49-F238E27FC236}">
                        <a16:creationId xmlns:a16="http://schemas.microsoft.com/office/drawing/2014/main" id="{C68DACF9-9935-4443-A56D-B8398C2D88FB}"/>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62" name="Freeform: Shape 761">
                    <a:extLst>
                      <a:ext uri="{FF2B5EF4-FFF2-40B4-BE49-F238E27FC236}">
                        <a16:creationId xmlns:a16="http://schemas.microsoft.com/office/drawing/2014/main" id="{4677A3DE-DDBE-4AF9-B22A-9C215045CA6A}"/>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724" name="Group 723">
                  <a:extLst>
                    <a:ext uri="{FF2B5EF4-FFF2-40B4-BE49-F238E27FC236}">
                      <a16:creationId xmlns:a16="http://schemas.microsoft.com/office/drawing/2014/main" id="{C7F8EF74-AD7A-494D-94EF-5DD8312106E6}"/>
                    </a:ext>
                  </a:extLst>
                </p:cNvPr>
                <p:cNvGrpSpPr/>
                <p:nvPr/>
              </p:nvGrpSpPr>
              <p:grpSpPr>
                <a:xfrm>
                  <a:off x="4387770" y="3423409"/>
                  <a:ext cx="77833" cy="347018"/>
                  <a:chOff x="4235129" y="3423409"/>
                  <a:chExt cx="77833" cy="347018"/>
                </a:xfrm>
                <a:grpFill/>
              </p:grpSpPr>
              <p:sp>
                <p:nvSpPr>
                  <p:cNvPr id="755" name="Freeform: Shape 754">
                    <a:extLst>
                      <a:ext uri="{FF2B5EF4-FFF2-40B4-BE49-F238E27FC236}">
                        <a16:creationId xmlns:a16="http://schemas.microsoft.com/office/drawing/2014/main" id="{FF7362A1-CBEF-443B-8ACB-1CE020C3EBEF}"/>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56" name="Freeform: Shape 755">
                    <a:extLst>
                      <a:ext uri="{FF2B5EF4-FFF2-40B4-BE49-F238E27FC236}">
                        <a16:creationId xmlns:a16="http://schemas.microsoft.com/office/drawing/2014/main" id="{73802F26-AA6D-47CC-A10F-755E74D83B0B}"/>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57" name="Freeform: Shape 756">
                    <a:extLst>
                      <a:ext uri="{FF2B5EF4-FFF2-40B4-BE49-F238E27FC236}">
                        <a16:creationId xmlns:a16="http://schemas.microsoft.com/office/drawing/2014/main" id="{DC46A072-8074-49A8-8A15-A876362DD76A}"/>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58" name="Freeform: Shape 757">
                    <a:extLst>
                      <a:ext uri="{FF2B5EF4-FFF2-40B4-BE49-F238E27FC236}">
                        <a16:creationId xmlns:a16="http://schemas.microsoft.com/office/drawing/2014/main" id="{D146A99C-BB3D-44CF-A51B-823746595597}"/>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725" name="Group 724">
                  <a:extLst>
                    <a:ext uri="{FF2B5EF4-FFF2-40B4-BE49-F238E27FC236}">
                      <a16:creationId xmlns:a16="http://schemas.microsoft.com/office/drawing/2014/main" id="{1B6BDC08-E5F7-41A9-8004-821C246D4D32}"/>
                    </a:ext>
                  </a:extLst>
                </p:cNvPr>
                <p:cNvGrpSpPr/>
                <p:nvPr/>
              </p:nvGrpSpPr>
              <p:grpSpPr>
                <a:xfrm>
                  <a:off x="4540411" y="3423409"/>
                  <a:ext cx="77833" cy="347018"/>
                  <a:chOff x="4235129" y="3423409"/>
                  <a:chExt cx="77833" cy="347018"/>
                </a:xfrm>
                <a:grpFill/>
              </p:grpSpPr>
              <p:sp>
                <p:nvSpPr>
                  <p:cNvPr id="751" name="Freeform: Shape 750">
                    <a:extLst>
                      <a:ext uri="{FF2B5EF4-FFF2-40B4-BE49-F238E27FC236}">
                        <a16:creationId xmlns:a16="http://schemas.microsoft.com/office/drawing/2014/main" id="{6CD9DB21-FE9E-4CF4-959C-4060C0BE7BB6}"/>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52" name="Freeform: Shape 751">
                    <a:extLst>
                      <a:ext uri="{FF2B5EF4-FFF2-40B4-BE49-F238E27FC236}">
                        <a16:creationId xmlns:a16="http://schemas.microsoft.com/office/drawing/2014/main" id="{C076BBF6-3EFF-46E9-A437-FB9F8841D90E}"/>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53" name="Freeform: Shape 752">
                    <a:extLst>
                      <a:ext uri="{FF2B5EF4-FFF2-40B4-BE49-F238E27FC236}">
                        <a16:creationId xmlns:a16="http://schemas.microsoft.com/office/drawing/2014/main" id="{4B49D292-CFE4-4E01-96EE-71DFE5AF4CBD}"/>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54" name="Freeform: Shape 753">
                    <a:extLst>
                      <a:ext uri="{FF2B5EF4-FFF2-40B4-BE49-F238E27FC236}">
                        <a16:creationId xmlns:a16="http://schemas.microsoft.com/office/drawing/2014/main" id="{1D1847E7-3CF1-4D1D-8EF6-986655767E5F}"/>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726" name="Group 725">
                  <a:extLst>
                    <a:ext uri="{FF2B5EF4-FFF2-40B4-BE49-F238E27FC236}">
                      <a16:creationId xmlns:a16="http://schemas.microsoft.com/office/drawing/2014/main" id="{873BB004-B358-4881-A13F-7D3ACF45670D}"/>
                    </a:ext>
                  </a:extLst>
                </p:cNvPr>
                <p:cNvGrpSpPr/>
                <p:nvPr/>
              </p:nvGrpSpPr>
              <p:grpSpPr>
                <a:xfrm>
                  <a:off x="4845693" y="3423409"/>
                  <a:ext cx="77833" cy="347018"/>
                  <a:chOff x="4235129" y="3423409"/>
                  <a:chExt cx="77833" cy="347018"/>
                </a:xfrm>
                <a:grpFill/>
              </p:grpSpPr>
              <p:sp>
                <p:nvSpPr>
                  <p:cNvPr id="747" name="Freeform: Shape 746">
                    <a:extLst>
                      <a:ext uri="{FF2B5EF4-FFF2-40B4-BE49-F238E27FC236}">
                        <a16:creationId xmlns:a16="http://schemas.microsoft.com/office/drawing/2014/main" id="{4918AD24-4F8F-4A3D-87A8-9D3E6E212726}"/>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48" name="Freeform: Shape 747">
                    <a:extLst>
                      <a:ext uri="{FF2B5EF4-FFF2-40B4-BE49-F238E27FC236}">
                        <a16:creationId xmlns:a16="http://schemas.microsoft.com/office/drawing/2014/main" id="{FBDED202-F7BB-41FB-B74F-935256DFA1EE}"/>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49" name="Freeform: Shape 748">
                    <a:extLst>
                      <a:ext uri="{FF2B5EF4-FFF2-40B4-BE49-F238E27FC236}">
                        <a16:creationId xmlns:a16="http://schemas.microsoft.com/office/drawing/2014/main" id="{F78BC918-36C0-45B1-B0C3-CD5DFE71DCEA}"/>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50" name="Freeform: Shape 749">
                    <a:extLst>
                      <a:ext uri="{FF2B5EF4-FFF2-40B4-BE49-F238E27FC236}">
                        <a16:creationId xmlns:a16="http://schemas.microsoft.com/office/drawing/2014/main" id="{DC6F518E-5CA6-411D-B6BE-8FF6067E5E85}"/>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727" name="Group 726">
                  <a:extLst>
                    <a:ext uri="{FF2B5EF4-FFF2-40B4-BE49-F238E27FC236}">
                      <a16:creationId xmlns:a16="http://schemas.microsoft.com/office/drawing/2014/main" id="{8322E628-121F-43F4-9868-3FFECCFD9683}"/>
                    </a:ext>
                  </a:extLst>
                </p:cNvPr>
                <p:cNvGrpSpPr/>
                <p:nvPr/>
              </p:nvGrpSpPr>
              <p:grpSpPr>
                <a:xfrm>
                  <a:off x="4998334" y="3423409"/>
                  <a:ext cx="77833" cy="347018"/>
                  <a:chOff x="4235129" y="3423409"/>
                  <a:chExt cx="77833" cy="347018"/>
                </a:xfrm>
                <a:grpFill/>
              </p:grpSpPr>
              <p:sp>
                <p:nvSpPr>
                  <p:cNvPr id="743" name="Freeform: Shape 742">
                    <a:extLst>
                      <a:ext uri="{FF2B5EF4-FFF2-40B4-BE49-F238E27FC236}">
                        <a16:creationId xmlns:a16="http://schemas.microsoft.com/office/drawing/2014/main" id="{3550AA4C-AB0B-49AD-B2C5-388B187A890E}"/>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44" name="Freeform: Shape 743">
                    <a:extLst>
                      <a:ext uri="{FF2B5EF4-FFF2-40B4-BE49-F238E27FC236}">
                        <a16:creationId xmlns:a16="http://schemas.microsoft.com/office/drawing/2014/main" id="{1BC16ED0-A862-41B2-B383-BC129EB513C7}"/>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45" name="Freeform: Shape 744">
                    <a:extLst>
                      <a:ext uri="{FF2B5EF4-FFF2-40B4-BE49-F238E27FC236}">
                        <a16:creationId xmlns:a16="http://schemas.microsoft.com/office/drawing/2014/main" id="{96BEEA90-8ED7-4138-943B-FD84DC340CE3}"/>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46" name="Freeform: Shape 745">
                    <a:extLst>
                      <a:ext uri="{FF2B5EF4-FFF2-40B4-BE49-F238E27FC236}">
                        <a16:creationId xmlns:a16="http://schemas.microsoft.com/office/drawing/2014/main" id="{F20F9D88-3B20-470A-AB85-733695500DAE}"/>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728" name="Group 727">
                  <a:extLst>
                    <a:ext uri="{FF2B5EF4-FFF2-40B4-BE49-F238E27FC236}">
                      <a16:creationId xmlns:a16="http://schemas.microsoft.com/office/drawing/2014/main" id="{E6D3411F-B877-4D34-AC6A-CC4CEB9F4EF5}"/>
                    </a:ext>
                  </a:extLst>
                </p:cNvPr>
                <p:cNvGrpSpPr/>
                <p:nvPr/>
              </p:nvGrpSpPr>
              <p:grpSpPr>
                <a:xfrm>
                  <a:off x="5150975" y="3423409"/>
                  <a:ext cx="77833" cy="347018"/>
                  <a:chOff x="4235129" y="3423409"/>
                  <a:chExt cx="77833" cy="347018"/>
                </a:xfrm>
                <a:grpFill/>
              </p:grpSpPr>
              <p:sp>
                <p:nvSpPr>
                  <p:cNvPr id="739" name="Freeform: Shape 738">
                    <a:extLst>
                      <a:ext uri="{FF2B5EF4-FFF2-40B4-BE49-F238E27FC236}">
                        <a16:creationId xmlns:a16="http://schemas.microsoft.com/office/drawing/2014/main" id="{90063810-4004-4C08-BCAA-5AF1C801A489}"/>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40" name="Freeform: Shape 739">
                    <a:extLst>
                      <a:ext uri="{FF2B5EF4-FFF2-40B4-BE49-F238E27FC236}">
                        <a16:creationId xmlns:a16="http://schemas.microsoft.com/office/drawing/2014/main" id="{2D8C73FC-94FA-47FD-BE2A-1432B15EE055}"/>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41" name="Freeform: Shape 740">
                    <a:extLst>
                      <a:ext uri="{FF2B5EF4-FFF2-40B4-BE49-F238E27FC236}">
                        <a16:creationId xmlns:a16="http://schemas.microsoft.com/office/drawing/2014/main" id="{0587D67E-C3C4-464B-8145-FC3C934A1850}"/>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42" name="Freeform: Shape 741">
                    <a:extLst>
                      <a:ext uri="{FF2B5EF4-FFF2-40B4-BE49-F238E27FC236}">
                        <a16:creationId xmlns:a16="http://schemas.microsoft.com/office/drawing/2014/main" id="{70A4B581-EB5B-42AF-B125-BC8B5E4BB920}"/>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729" name="Group 728">
                  <a:extLst>
                    <a:ext uri="{FF2B5EF4-FFF2-40B4-BE49-F238E27FC236}">
                      <a16:creationId xmlns:a16="http://schemas.microsoft.com/office/drawing/2014/main" id="{34531688-C127-4B97-8467-218438A1228A}"/>
                    </a:ext>
                  </a:extLst>
                </p:cNvPr>
                <p:cNvGrpSpPr/>
                <p:nvPr/>
              </p:nvGrpSpPr>
              <p:grpSpPr>
                <a:xfrm>
                  <a:off x="4693052" y="3423409"/>
                  <a:ext cx="77833" cy="347018"/>
                  <a:chOff x="4235129" y="3423409"/>
                  <a:chExt cx="77833" cy="347018"/>
                </a:xfrm>
                <a:grpFill/>
              </p:grpSpPr>
              <p:sp>
                <p:nvSpPr>
                  <p:cNvPr id="735" name="Freeform: Shape 734">
                    <a:extLst>
                      <a:ext uri="{FF2B5EF4-FFF2-40B4-BE49-F238E27FC236}">
                        <a16:creationId xmlns:a16="http://schemas.microsoft.com/office/drawing/2014/main" id="{18087396-AC48-4004-9AA7-3460A6E8A6DE}"/>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36" name="Freeform: Shape 735">
                    <a:extLst>
                      <a:ext uri="{FF2B5EF4-FFF2-40B4-BE49-F238E27FC236}">
                        <a16:creationId xmlns:a16="http://schemas.microsoft.com/office/drawing/2014/main" id="{2AFA47A0-AAE0-46FB-8BB4-6748286E86C5}"/>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37" name="Freeform: Shape 736">
                    <a:extLst>
                      <a:ext uri="{FF2B5EF4-FFF2-40B4-BE49-F238E27FC236}">
                        <a16:creationId xmlns:a16="http://schemas.microsoft.com/office/drawing/2014/main" id="{48817695-9244-4786-9B97-7C0F2A3EE73E}"/>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38" name="Freeform: Shape 737">
                    <a:extLst>
                      <a:ext uri="{FF2B5EF4-FFF2-40B4-BE49-F238E27FC236}">
                        <a16:creationId xmlns:a16="http://schemas.microsoft.com/office/drawing/2014/main" id="{EF6EC9A9-5ACD-429D-A38C-63953F209A2C}"/>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730" name="Group 729">
                  <a:extLst>
                    <a:ext uri="{FF2B5EF4-FFF2-40B4-BE49-F238E27FC236}">
                      <a16:creationId xmlns:a16="http://schemas.microsoft.com/office/drawing/2014/main" id="{A5532C82-1DA6-42E5-88D5-7E5FE00B46D6}"/>
                    </a:ext>
                  </a:extLst>
                </p:cNvPr>
                <p:cNvGrpSpPr/>
                <p:nvPr/>
              </p:nvGrpSpPr>
              <p:grpSpPr>
                <a:xfrm>
                  <a:off x="5303616" y="3423409"/>
                  <a:ext cx="77833" cy="347018"/>
                  <a:chOff x="4235129" y="3423409"/>
                  <a:chExt cx="77833" cy="347018"/>
                </a:xfrm>
                <a:grpFill/>
              </p:grpSpPr>
              <p:sp>
                <p:nvSpPr>
                  <p:cNvPr id="731" name="Freeform: Shape 730">
                    <a:extLst>
                      <a:ext uri="{FF2B5EF4-FFF2-40B4-BE49-F238E27FC236}">
                        <a16:creationId xmlns:a16="http://schemas.microsoft.com/office/drawing/2014/main" id="{BEC7AC1A-1E0E-45B0-A4FD-7FD00AEC352C}"/>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32" name="Freeform: Shape 731">
                    <a:extLst>
                      <a:ext uri="{FF2B5EF4-FFF2-40B4-BE49-F238E27FC236}">
                        <a16:creationId xmlns:a16="http://schemas.microsoft.com/office/drawing/2014/main" id="{BF0CCBF3-7B76-40C6-A1A7-0C1EE0F1313E}"/>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33" name="Freeform: Shape 732">
                    <a:extLst>
                      <a:ext uri="{FF2B5EF4-FFF2-40B4-BE49-F238E27FC236}">
                        <a16:creationId xmlns:a16="http://schemas.microsoft.com/office/drawing/2014/main" id="{8C267697-6E40-43AC-8A34-BC3C06235A28}"/>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34" name="Freeform: Shape 733">
                    <a:extLst>
                      <a:ext uri="{FF2B5EF4-FFF2-40B4-BE49-F238E27FC236}">
                        <a16:creationId xmlns:a16="http://schemas.microsoft.com/office/drawing/2014/main" id="{D86A8E3F-74BD-4140-AD2D-A27394B201BF}"/>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grpSp>
        <p:grpSp>
          <p:nvGrpSpPr>
            <p:cNvPr id="666" name="Group 665">
              <a:extLst>
                <a:ext uri="{FF2B5EF4-FFF2-40B4-BE49-F238E27FC236}">
                  <a16:creationId xmlns:a16="http://schemas.microsoft.com/office/drawing/2014/main" id="{9BCD7EF0-0BAB-44EF-9CB6-258A608757DA}"/>
                </a:ext>
              </a:extLst>
            </p:cNvPr>
            <p:cNvGrpSpPr/>
            <p:nvPr/>
          </p:nvGrpSpPr>
          <p:grpSpPr>
            <a:xfrm>
              <a:off x="7155773" y="3423409"/>
              <a:ext cx="1442098" cy="347276"/>
              <a:chOff x="4092254" y="3423409"/>
              <a:chExt cx="1442098" cy="347276"/>
            </a:xfrm>
            <a:grpFill/>
          </p:grpSpPr>
          <p:grpSp>
            <p:nvGrpSpPr>
              <p:cNvPr id="667" name="Group 666">
                <a:extLst>
                  <a:ext uri="{FF2B5EF4-FFF2-40B4-BE49-F238E27FC236}">
                    <a16:creationId xmlns:a16="http://schemas.microsoft.com/office/drawing/2014/main" id="{6400B6BA-7691-41DA-84FC-2FF51EBDD9D8}"/>
                  </a:ext>
                </a:extLst>
              </p:cNvPr>
              <p:cNvGrpSpPr/>
              <p:nvPr/>
            </p:nvGrpSpPr>
            <p:grpSpPr>
              <a:xfrm>
                <a:off x="5456260" y="3423409"/>
                <a:ext cx="78092" cy="347276"/>
                <a:chOff x="5456260" y="3423409"/>
                <a:chExt cx="78092" cy="347276"/>
              </a:xfrm>
              <a:grpFill/>
            </p:grpSpPr>
            <p:sp>
              <p:nvSpPr>
                <p:cNvPr id="713" name="Freeform: Shape 712">
                  <a:extLst>
                    <a:ext uri="{FF2B5EF4-FFF2-40B4-BE49-F238E27FC236}">
                      <a16:creationId xmlns:a16="http://schemas.microsoft.com/office/drawing/2014/main" id="{A26B28CC-A959-401A-849C-59EAA09621A4}"/>
                    </a:ext>
                  </a:extLst>
                </p:cNvPr>
                <p:cNvSpPr/>
                <p:nvPr/>
              </p:nvSpPr>
              <p:spPr>
                <a:xfrm flipH="1" flipV="1">
                  <a:off x="5456519" y="3513395"/>
                  <a:ext cx="77575" cy="77575"/>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endParaRPr lang="en-US" dirty="0"/>
                </a:p>
              </p:txBody>
            </p:sp>
            <p:sp>
              <p:nvSpPr>
                <p:cNvPr id="714" name="Freeform: Shape 713">
                  <a:extLst>
                    <a:ext uri="{FF2B5EF4-FFF2-40B4-BE49-F238E27FC236}">
                      <a16:creationId xmlns:a16="http://schemas.microsoft.com/office/drawing/2014/main" id="{1591FE5A-4666-4BBE-AACD-B767E1200401}"/>
                    </a:ext>
                  </a:extLst>
                </p:cNvPr>
                <p:cNvSpPr/>
                <p:nvPr/>
              </p:nvSpPr>
              <p:spPr>
                <a:xfrm flipH="1" flipV="1">
                  <a:off x="5456260" y="3604418"/>
                  <a:ext cx="77575" cy="77575"/>
                </a:xfrm>
                <a:custGeom>
                  <a:avLst/>
                  <a:gdLst>
                    <a:gd name="connsiteX0" fmla="*/ 25753 w 42922"/>
                    <a:gd name="connsiteY0" fmla="*/ 39346 h 42922"/>
                    <a:gd name="connsiteX1" fmla="*/ 40061 w 42922"/>
                    <a:gd name="connsiteY1" fmla="*/ 25038 h 42922"/>
                    <a:gd name="connsiteX2" fmla="*/ 25753 w 42922"/>
                    <a:gd name="connsiteY2" fmla="*/ 10731 h 42922"/>
                    <a:gd name="connsiteX3" fmla="*/ 11446 w 42922"/>
                    <a:gd name="connsiteY3" fmla="*/ 25038 h 42922"/>
                    <a:gd name="connsiteX4" fmla="*/ 10731 w 42922"/>
                    <a:gd name="connsiteY4" fmla="*/ 26040 h 42922"/>
                    <a:gd name="connsiteX5" fmla="*/ 25753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753" y="39346"/>
                      </a:moveTo>
                      <a:cubicBezTo>
                        <a:pt x="33655" y="39346"/>
                        <a:pt x="40061" y="32940"/>
                        <a:pt x="40061" y="25038"/>
                      </a:cubicBezTo>
                      <a:cubicBezTo>
                        <a:pt x="40061" y="17136"/>
                        <a:pt x="33655" y="10731"/>
                        <a:pt x="25753" y="10731"/>
                      </a:cubicBezTo>
                      <a:cubicBezTo>
                        <a:pt x="17851" y="10731"/>
                        <a:pt x="11446" y="17136"/>
                        <a:pt x="11446" y="25038"/>
                      </a:cubicBezTo>
                      <a:lnTo>
                        <a:pt x="10731" y="26040"/>
                      </a:lnTo>
                      <a:cubicBezTo>
                        <a:pt x="11267" y="33831"/>
                        <a:pt x="17953" y="39755"/>
                        <a:pt x="25753" y="39346"/>
                      </a:cubicBezTo>
                      <a:close/>
                    </a:path>
                  </a:pathLst>
                </a:custGeom>
                <a:grpFill/>
                <a:ln w="9525" cap="flat">
                  <a:noFill/>
                  <a:prstDash val="solid"/>
                  <a:miter/>
                </a:ln>
              </p:spPr>
              <p:txBody>
                <a:bodyPr rtlCol="0" anchor="ctr"/>
                <a:lstStyle/>
                <a:p>
                  <a:endParaRPr lang="en-US" dirty="0"/>
                </a:p>
              </p:txBody>
            </p:sp>
            <p:sp>
              <p:nvSpPr>
                <p:cNvPr id="715" name="Freeform: Shape 714">
                  <a:extLst>
                    <a:ext uri="{FF2B5EF4-FFF2-40B4-BE49-F238E27FC236}">
                      <a16:creationId xmlns:a16="http://schemas.microsoft.com/office/drawing/2014/main" id="{D3DD37FD-E89B-4CAE-A205-3DA0F206613A}"/>
                    </a:ext>
                  </a:extLst>
                </p:cNvPr>
                <p:cNvSpPr/>
                <p:nvPr/>
              </p:nvSpPr>
              <p:spPr>
                <a:xfrm flipH="1" flipV="1">
                  <a:off x="5456519" y="3693110"/>
                  <a:ext cx="77575" cy="77575"/>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endParaRPr lang="en-US" dirty="0"/>
                </a:p>
              </p:txBody>
            </p:sp>
            <p:sp>
              <p:nvSpPr>
                <p:cNvPr id="716" name="Freeform: Shape 715">
                  <a:extLst>
                    <a:ext uri="{FF2B5EF4-FFF2-40B4-BE49-F238E27FC236}">
                      <a16:creationId xmlns:a16="http://schemas.microsoft.com/office/drawing/2014/main" id="{C17C4DDC-84BD-4D9D-BF6C-F1904CAB4566}"/>
                    </a:ext>
                  </a:extLst>
                </p:cNvPr>
                <p:cNvSpPr/>
                <p:nvPr/>
              </p:nvSpPr>
              <p:spPr>
                <a:xfrm flipH="1" flipV="1">
                  <a:off x="5456777" y="3423409"/>
                  <a:ext cx="77575" cy="77575"/>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25038 w 42922"/>
                    <a:gd name="connsiteY3" fmla="*/ 10731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lnTo>
                        <a:pt x="25038" y="10731"/>
                      </a:lnTo>
                      <a:cubicBezTo>
                        <a:pt x="17136" y="10731"/>
                        <a:pt x="10731" y="17136"/>
                        <a:pt x="10731" y="25038"/>
                      </a:cubicBezTo>
                      <a:cubicBezTo>
                        <a:pt x="10731" y="32940"/>
                        <a:pt x="17136" y="39346"/>
                        <a:pt x="25038" y="39346"/>
                      </a:cubicBezTo>
                      <a:close/>
                    </a:path>
                  </a:pathLst>
                </a:custGeom>
                <a:grpFill/>
                <a:ln w="9525" cap="flat">
                  <a:noFill/>
                  <a:prstDash val="solid"/>
                  <a:miter/>
                </a:ln>
              </p:spPr>
              <p:txBody>
                <a:bodyPr rtlCol="0" anchor="ctr"/>
                <a:lstStyle/>
                <a:p>
                  <a:endParaRPr lang="en-US" dirty="0"/>
                </a:p>
              </p:txBody>
            </p:sp>
          </p:grpSp>
          <p:grpSp>
            <p:nvGrpSpPr>
              <p:cNvPr id="668" name="Group 667">
                <a:extLst>
                  <a:ext uri="{FF2B5EF4-FFF2-40B4-BE49-F238E27FC236}">
                    <a16:creationId xmlns:a16="http://schemas.microsoft.com/office/drawing/2014/main" id="{AF58E499-C1CD-4E88-ADA5-F41191E1C85D}"/>
                  </a:ext>
                </a:extLst>
              </p:cNvPr>
              <p:cNvGrpSpPr/>
              <p:nvPr/>
            </p:nvGrpSpPr>
            <p:grpSpPr>
              <a:xfrm>
                <a:off x="4092254" y="3423409"/>
                <a:ext cx="1289195" cy="347018"/>
                <a:chOff x="4092254" y="3423409"/>
                <a:chExt cx="1289195" cy="347018"/>
              </a:xfrm>
              <a:grpFill/>
            </p:grpSpPr>
            <p:sp>
              <p:nvSpPr>
                <p:cNvPr id="669" name="Freeform: Shape 668">
                  <a:extLst>
                    <a:ext uri="{FF2B5EF4-FFF2-40B4-BE49-F238E27FC236}">
                      <a16:creationId xmlns:a16="http://schemas.microsoft.com/office/drawing/2014/main" id="{ED79E4C1-A9C8-4F2E-9DFD-AC13D1C7A456}"/>
                    </a:ext>
                  </a:extLst>
                </p:cNvPr>
                <p:cNvSpPr/>
                <p:nvPr/>
              </p:nvSpPr>
              <p:spPr>
                <a:xfrm flipH="1" flipV="1">
                  <a:off x="4092254"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70" name="Freeform: Shape 669">
                  <a:extLst>
                    <a:ext uri="{FF2B5EF4-FFF2-40B4-BE49-F238E27FC236}">
                      <a16:creationId xmlns:a16="http://schemas.microsoft.com/office/drawing/2014/main" id="{72844524-A791-43EC-8010-6DCC81A44B55}"/>
                    </a:ext>
                  </a:extLst>
                </p:cNvPr>
                <p:cNvSpPr/>
                <p:nvPr/>
              </p:nvSpPr>
              <p:spPr>
                <a:xfrm flipH="1" flipV="1">
                  <a:off x="4092512"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71" name="Freeform: Shape 670">
                  <a:extLst>
                    <a:ext uri="{FF2B5EF4-FFF2-40B4-BE49-F238E27FC236}">
                      <a16:creationId xmlns:a16="http://schemas.microsoft.com/office/drawing/2014/main" id="{21AC4A39-7649-41BB-909D-222907F5CDF4}"/>
                    </a:ext>
                  </a:extLst>
                </p:cNvPr>
                <p:cNvSpPr/>
                <p:nvPr/>
              </p:nvSpPr>
              <p:spPr>
                <a:xfrm flipH="1" flipV="1">
                  <a:off x="4092512"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72" name="Freeform: Shape 671">
                  <a:extLst>
                    <a:ext uri="{FF2B5EF4-FFF2-40B4-BE49-F238E27FC236}">
                      <a16:creationId xmlns:a16="http://schemas.microsoft.com/office/drawing/2014/main" id="{0F972BDC-5CFA-4F08-895A-EBD5CD5F7DD8}"/>
                    </a:ext>
                  </a:extLst>
                </p:cNvPr>
                <p:cNvSpPr/>
                <p:nvPr/>
              </p:nvSpPr>
              <p:spPr>
                <a:xfrm flipH="1" flipV="1">
                  <a:off x="4092512"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nvGrpSpPr>
                <p:cNvPr id="673" name="Group 672">
                  <a:extLst>
                    <a:ext uri="{FF2B5EF4-FFF2-40B4-BE49-F238E27FC236}">
                      <a16:creationId xmlns:a16="http://schemas.microsoft.com/office/drawing/2014/main" id="{F399E178-D626-4D28-9622-A6B971454478}"/>
                    </a:ext>
                  </a:extLst>
                </p:cNvPr>
                <p:cNvGrpSpPr/>
                <p:nvPr/>
              </p:nvGrpSpPr>
              <p:grpSpPr>
                <a:xfrm>
                  <a:off x="4235129" y="3423409"/>
                  <a:ext cx="77833" cy="347018"/>
                  <a:chOff x="4235129" y="3423409"/>
                  <a:chExt cx="77833" cy="347018"/>
                </a:xfrm>
                <a:grpFill/>
              </p:grpSpPr>
              <p:sp>
                <p:nvSpPr>
                  <p:cNvPr id="709" name="Freeform: Shape 708">
                    <a:extLst>
                      <a:ext uri="{FF2B5EF4-FFF2-40B4-BE49-F238E27FC236}">
                        <a16:creationId xmlns:a16="http://schemas.microsoft.com/office/drawing/2014/main" id="{9738521F-9138-4E78-BA99-12F1EA252B98}"/>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10" name="Freeform: Shape 709">
                    <a:extLst>
                      <a:ext uri="{FF2B5EF4-FFF2-40B4-BE49-F238E27FC236}">
                        <a16:creationId xmlns:a16="http://schemas.microsoft.com/office/drawing/2014/main" id="{368D3E86-8242-4630-9039-A8354A14C2BF}"/>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11" name="Freeform: Shape 710">
                    <a:extLst>
                      <a:ext uri="{FF2B5EF4-FFF2-40B4-BE49-F238E27FC236}">
                        <a16:creationId xmlns:a16="http://schemas.microsoft.com/office/drawing/2014/main" id="{B16FA0E3-3500-4C72-B583-87816D00C1E2}"/>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12" name="Freeform: Shape 711">
                    <a:extLst>
                      <a:ext uri="{FF2B5EF4-FFF2-40B4-BE49-F238E27FC236}">
                        <a16:creationId xmlns:a16="http://schemas.microsoft.com/office/drawing/2014/main" id="{E6B427D9-C5BC-4F9B-823B-BF611F949FB5}"/>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674" name="Group 673">
                  <a:extLst>
                    <a:ext uri="{FF2B5EF4-FFF2-40B4-BE49-F238E27FC236}">
                      <a16:creationId xmlns:a16="http://schemas.microsoft.com/office/drawing/2014/main" id="{EE513C2F-FBE0-46E3-89F7-5454B89B43B8}"/>
                    </a:ext>
                  </a:extLst>
                </p:cNvPr>
                <p:cNvGrpSpPr/>
                <p:nvPr/>
              </p:nvGrpSpPr>
              <p:grpSpPr>
                <a:xfrm>
                  <a:off x="4387770" y="3423409"/>
                  <a:ext cx="77833" cy="347018"/>
                  <a:chOff x="4235129" y="3423409"/>
                  <a:chExt cx="77833" cy="347018"/>
                </a:xfrm>
                <a:grpFill/>
              </p:grpSpPr>
              <p:sp>
                <p:nvSpPr>
                  <p:cNvPr id="705" name="Freeform: Shape 704">
                    <a:extLst>
                      <a:ext uri="{FF2B5EF4-FFF2-40B4-BE49-F238E27FC236}">
                        <a16:creationId xmlns:a16="http://schemas.microsoft.com/office/drawing/2014/main" id="{124F2EE7-4003-48E7-BF50-BE7D0C2D927B}"/>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06" name="Freeform: Shape 705">
                    <a:extLst>
                      <a:ext uri="{FF2B5EF4-FFF2-40B4-BE49-F238E27FC236}">
                        <a16:creationId xmlns:a16="http://schemas.microsoft.com/office/drawing/2014/main" id="{3875B49E-7D87-4DBF-A422-31B02CABC7A9}"/>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07" name="Freeform: Shape 706">
                    <a:extLst>
                      <a:ext uri="{FF2B5EF4-FFF2-40B4-BE49-F238E27FC236}">
                        <a16:creationId xmlns:a16="http://schemas.microsoft.com/office/drawing/2014/main" id="{49043A7E-4AFD-4156-9847-37E79095C258}"/>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08" name="Freeform: Shape 707">
                    <a:extLst>
                      <a:ext uri="{FF2B5EF4-FFF2-40B4-BE49-F238E27FC236}">
                        <a16:creationId xmlns:a16="http://schemas.microsoft.com/office/drawing/2014/main" id="{4A6F7697-BA4E-4CD1-BBBD-5D1FA7654D7E}"/>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675" name="Group 674">
                  <a:extLst>
                    <a:ext uri="{FF2B5EF4-FFF2-40B4-BE49-F238E27FC236}">
                      <a16:creationId xmlns:a16="http://schemas.microsoft.com/office/drawing/2014/main" id="{E0129784-E255-4C50-A1B9-77FF9A2EE868}"/>
                    </a:ext>
                  </a:extLst>
                </p:cNvPr>
                <p:cNvGrpSpPr/>
                <p:nvPr/>
              </p:nvGrpSpPr>
              <p:grpSpPr>
                <a:xfrm>
                  <a:off x="4540411" y="3423409"/>
                  <a:ext cx="77833" cy="347018"/>
                  <a:chOff x="4235129" y="3423409"/>
                  <a:chExt cx="77833" cy="347018"/>
                </a:xfrm>
                <a:grpFill/>
              </p:grpSpPr>
              <p:sp>
                <p:nvSpPr>
                  <p:cNvPr id="701" name="Freeform: Shape 700">
                    <a:extLst>
                      <a:ext uri="{FF2B5EF4-FFF2-40B4-BE49-F238E27FC236}">
                        <a16:creationId xmlns:a16="http://schemas.microsoft.com/office/drawing/2014/main" id="{97CF5A12-C03B-4220-BF8E-8B1A8BC1A677}"/>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02" name="Freeform: Shape 701">
                    <a:extLst>
                      <a:ext uri="{FF2B5EF4-FFF2-40B4-BE49-F238E27FC236}">
                        <a16:creationId xmlns:a16="http://schemas.microsoft.com/office/drawing/2014/main" id="{E468F3CD-1B73-4C07-B665-14362A124DDE}"/>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03" name="Freeform: Shape 702">
                    <a:extLst>
                      <a:ext uri="{FF2B5EF4-FFF2-40B4-BE49-F238E27FC236}">
                        <a16:creationId xmlns:a16="http://schemas.microsoft.com/office/drawing/2014/main" id="{D919C565-4CDC-418E-8538-DC6B3D988D6A}"/>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04" name="Freeform: Shape 703">
                    <a:extLst>
                      <a:ext uri="{FF2B5EF4-FFF2-40B4-BE49-F238E27FC236}">
                        <a16:creationId xmlns:a16="http://schemas.microsoft.com/office/drawing/2014/main" id="{774D90A5-4EC7-4E13-8AC8-D65700A2281A}"/>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676" name="Group 675">
                  <a:extLst>
                    <a:ext uri="{FF2B5EF4-FFF2-40B4-BE49-F238E27FC236}">
                      <a16:creationId xmlns:a16="http://schemas.microsoft.com/office/drawing/2014/main" id="{52C74C0A-9977-494F-A3F0-D4971336CC32}"/>
                    </a:ext>
                  </a:extLst>
                </p:cNvPr>
                <p:cNvGrpSpPr/>
                <p:nvPr/>
              </p:nvGrpSpPr>
              <p:grpSpPr>
                <a:xfrm>
                  <a:off x="4845693" y="3423409"/>
                  <a:ext cx="77833" cy="347018"/>
                  <a:chOff x="4235129" y="3423409"/>
                  <a:chExt cx="77833" cy="347018"/>
                </a:xfrm>
                <a:grpFill/>
              </p:grpSpPr>
              <p:sp>
                <p:nvSpPr>
                  <p:cNvPr id="697" name="Freeform: Shape 696">
                    <a:extLst>
                      <a:ext uri="{FF2B5EF4-FFF2-40B4-BE49-F238E27FC236}">
                        <a16:creationId xmlns:a16="http://schemas.microsoft.com/office/drawing/2014/main" id="{F24DF0AB-21BF-4027-B4EF-40AFCDDB5493}"/>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98" name="Freeform: Shape 697">
                    <a:extLst>
                      <a:ext uri="{FF2B5EF4-FFF2-40B4-BE49-F238E27FC236}">
                        <a16:creationId xmlns:a16="http://schemas.microsoft.com/office/drawing/2014/main" id="{60683B88-7399-4C18-A1BC-FF581DDA9D55}"/>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99" name="Freeform: Shape 698">
                    <a:extLst>
                      <a:ext uri="{FF2B5EF4-FFF2-40B4-BE49-F238E27FC236}">
                        <a16:creationId xmlns:a16="http://schemas.microsoft.com/office/drawing/2014/main" id="{5EF31EAA-0995-4659-A451-12F1F3FA0038}"/>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700" name="Freeform: Shape 699">
                    <a:extLst>
                      <a:ext uri="{FF2B5EF4-FFF2-40B4-BE49-F238E27FC236}">
                        <a16:creationId xmlns:a16="http://schemas.microsoft.com/office/drawing/2014/main" id="{E77C2707-3EDD-49C4-B608-F2F3B76075A2}"/>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677" name="Group 676">
                  <a:extLst>
                    <a:ext uri="{FF2B5EF4-FFF2-40B4-BE49-F238E27FC236}">
                      <a16:creationId xmlns:a16="http://schemas.microsoft.com/office/drawing/2014/main" id="{BF0FB644-EACD-49B5-9FFA-A6632AAC4682}"/>
                    </a:ext>
                  </a:extLst>
                </p:cNvPr>
                <p:cNvGrpSpPr/>
                <p:nvPr/>
              </p:nvGrpSpPr>
              <p:grpSpPr>
                <a:xfrm>
                  <a:off x="4998334" y="3423409"/>
                  <a:ext cx="77833" cy="347018"/>
                  <a:chOff x="4235129" y="3423409"/>
                  <a:chExt cx="77833" cy="347018"/>
                </a:xfrm>
                <a:grpFill/>
              </p:grpSpPr>
              <p:sp>
                <p:nvSpPr>
                  <p:cNvPr id="693" name="Freeform: Shape 692">
                    <a:extLst>
                      <a:ext uri="{FF2B5EF4-FFF2-40B4-BE49-F238E27FC236}">
                        <a16:creationId xmlns:a16="http://schemas.microsoft.com/office/drawing/2014/main" id="{E7E45D98-DEE3-4AAA-8C94-D68D4F8148B6}"/>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94" name="Freeform: Shape 693">
                    <a:extLst>
                      <a:ext uri="{FF2B5EF4-FFF2-40B4-BE49-F238E27FC236}">
                        <a16:creationId xmlns:a16="http://schemas.microsoft.com/office/drawing/2014/main" id="{9E33C47B-1AC5-46FB-9924-98B1339546F0}"/>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95" name="Freeform: Shape 694">
                    <a:extLst>
                      <a:ext uri="{FF2B5EF4-FFF2-40B4-BE49-F238E27FC236}">
                        <a16:creationId xmlns:a16="http://schemas.microsoft.com/office/drawing/2014/main" id="{93A20FD4-5E22-4F5D-90D5-99A59CDFB6F2}"/>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96" name="Freeform: Shape 695">
                    <a:extLst>
                      <a:ext uri="{FF2B5EF4-FFF2-40B4-BE49-F238E27FC236}">
                        <a16:creationId xmlns:a16="http://schemas.microsoft.com/office/drawing/2014/main" id="{1C66427F-AAFB-4E18-BC36-1CB29C496035}"/>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678" name="Group 677">
                  <a:extLst>
                    <a:ext uri="{FF2B5EF4-FFF2-40B4-BE49-F238E27FC236}">
                      <a16:creationId xmlns:a16="http://schemas.microsoft.com/office/drawing/2014/main" id="{DBB09F57-B5EA-4D98-BFBC-100C322FA17F}"/>
                    </a:ext>
                  </a:extLst>
                </p:cNvPr>
                <p:cNvGrpSpPr/>
                <p:nvPr/>
              </p:nvGrpSpPr>
              <p:grpSpPr>
                <a:xfrm>
                  <a:off x="5150975" y="3423409"/>
                  <a:ext cx="77833" cy="347018"/>
                  <a:chOff x="4235129" y="3423409"/>
                  <a:chExt cx="77833" cy="347018"/>
                </a:xfrm>
                <a:grpFill/>
              </p:grpSpPr>
              <p:sp>
                <p:nvSpPr>
                  <p:cNvPr id="689" name="Freeform: Shape 688">
                    <a:extLst>
                      <a:ext uri="{FF2B5EF4-FFF2-40B4-BE49-F238E27FC236}">
                        <a16:creationId xmlns:a16="http://schemas.microsoft.com/office/drawing/2014/main" id="{E28BC1D7-7D53-439F-B46E-3E2135CA7558}"/>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90" name="Freeform: Shape 689">
                    <a:extLst>
                      <a:ext uri="{FF2B5EF4-FFF2-40B4-BE49-F238E27FC236}">
                        <a16:creationId xmlns:a16="http://schemas.microsoft.com/office/drawing/2014/main" id="{0C6F2239-4AE9-444D-B817-E6C20F7499DB}"/>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91" name="Freeform: Shape 690">
                    <a:extLst>
                      <a:ext uri="{FF2B5EF4-FFF2-40B4-BE49-F238E27FC236}">
                        <a16:creationId xmlns:a16="http://schemas.microsoft.com/office/drawing/2014/main" id="{0B96DD93-A70C-4695-B951-7330DFEA284E}"/>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92" name="Freeform: Shape 691">
                    <a:extLst>
                      <a:ext uri="{FF2B5EF4-FFF2-40B4-BE49-F238E27FC236}">
                        <a16:creationId xmlns:a16="http://schemas.microsoft.com/office/drawing/2014/main" id="{D37E2AA0-4C8A-40DE-A30B-FF9608D78E17}"/>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679" name="Group 678">
                  <a:extLst>
                    <a:ext uri="{FF2B5EF4-FFF2-40B4-BE49-F238E27FC236}">
                      <a16:creationId xmlns:a16="http://schemas.microsoft.com/office/drawing/2014/main" id="{29A5B2E7-B97D-4541-8038-4C7EF404D3A3}"/>
                    </a:ext>
                  </a:extLst>
                </p:cNvPr>
                <p:cNvGrpSpPr/>
                <p:nvPr/>
              </p:nvGrpSpPr>
              <p:grpSpPr>
                <a:xfrm>
                  <a:off x="4693052" y="3423409"/>
                  <a:ext cx="77833" cy="347018"/>
                  <a:chOff x="4235129" y="3423409"/>
                  <a:chExt cx="77833" cy="347018"/>
                </a:xfrm>
                <a:grpFill/>
              </p:grpSpPr>
              <p:sp>
                <p:nvSpPr>
                  <p:cNvPr id="685" name="Freeform: Shape 684">
                    <a:extLst>
                      <a:ext uri="{FF2B5EF4-FFF2-40B4-BE49-F238E27FC236}">
                        <a16:creationId xmlns:a16="http://schemas.microsoft.com/office/drawing/2014/main" id="{FA5D2FAE-DC3D-49A6-8736-25F98959830F}"/>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86" name="Freeform: Shape 685">
                    <a:extLst>
                      <a:ext uri="{FF2B5EF4-FFF2-40B4-BE49-F238E27FC236}">
                        <a16:creationId xmlns:a16="http://schemas.microsoft.com/office/drawing/2014/main" id="{CF9AF841-A5A4-401D-AEF1-608DA526FA7E}"/>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87" name="Freeform: Shape 686">
                    <a:extLst>
                      <a:ext uri="{FF2B5EF4-FFF2-40B4-BE49-F238E27FC236}">
                        <a16:creationId xmlns:a16="http://schemas.microsoft.com/office/drawing/2014/main" id="{76A15B80-AFFF-4976-AA6A-A1EFDCE37099}"/>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88" name="Freeform: Shape 687">
                    <a:extLst>
                      <a:ext uri="{FF2B5EF4-FFF2-40B4-BE49-F238E27FC236}">
                        <a16:creationId xmlns:a16="http://schemas.microsoft.com/office/drawing/2014/main" id="{75F73C1E-C143-439F-9308-8792A1507527}"/>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nvGrpSpPr>
                <p:cNvPr id="680" name="Group 679">
                  <a:extLst>
                    <a:ext uri="{FF2B5EF4-FFF2-40B4-BE49-F238E27FC236}">
                      <a16:creationId xmlns:a16="http://schemas.microsoft.com/office/drawing/2014/main" id="{F7205624-0BCB-40B4-B88E-1BA2CFCBC10C}"/>
                    </a:ext>
                  </a:extLst>
                </p:cNvPr>
                <p:cNvGrpSpPr/>
                <p:nvPr/>
              </p:nvGrpSpPr>
              <p:grpSpPr>
                <a:xfrm>
                  <a:off x="5303616" y="3423409"/>
                  <a:ext cx="77833" cy="347018"/>
                  <a:chOff x="4235129" y="3423409"/>
                  <a:chExt cx="77833" cy="347018"/>
                </a:xfrm>
                <a:grpFill/>
              </p:grpSpPr>
              <p:sp>
                <p:nvSpPr>
                  <p:cNvPr id="681" name="Freeform: Shape 680">
                    <a:extLst>
                      <a:ext uri="{FF2B5EF4-FFF2-40B4-BE49-F238E27FC236}">
                        <a16:creationId xmlns:a16="http://schemas.microsoft.com/office/drawing/2014/main" id="{2435598D-E5E6-4667-889D-A7D1504ED84F}"/>
                      </a:ext>
                    </a:extLst>
                  </p:cNvPr>
                  <p:cNvSpPr/>
                  <p:nvPr/>
                </p:nvSpPr>
                <p:spPr>
                  <a:xfrm flipH="1" flipV="1">
                    <a:off x="4235129" y="3692852"/>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82" name="Freeform: Shape 681">
                    <a:extLst>
                      <a:ext uri="{FF2B5EF4-FFF2-40B4-BE49-F238E27FC236}">
                        <a16:creationId xmlns:a16="http://schemas.microsoft.com/office/drawing/2014/main" id="{5D3C62D8-E802-4ED7-A451-7D20D1B0D84C}"/>
                      </a:ext>
                    </a:extLst>
                  </p:cNvPr>
                  <p:cNvSpPr/>
                  <p:nvPr/>
                </p:nvSpPr>
                <p:spPr>
                  <a:xfrm flipH="1" flipV="1">
                    <a:off x="4235387" y="342340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83" name="Freeform: Shape 682">
                    <a:extLst>
                      <a:ext uri="{FF2B5EF4-FFF2-40B4-BE49-F238E27FC236}">
                        <a16:creationId xmlns:a16="http://schemas.microsoft.com/office/drawing/2014/main" id="{20759050-9223-4C79-B164-B3D04850A760}"/>
                      </a:ext>
                    </a:extLst>
                  </p:cNvPr>
                  <p:cNvSpPr/>
                  <p:nvPr/>
                </p:nvSpPr>
                <p:spPr>
                  <a:xfrm flipH="1" flipV="1">
                    <a:off x="4235387" y="3512619"/>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sp>
                <p:nvSpPr>
                  <p:cNvPr id="684" name="Freeform: Shape 683">
                    <a:extLst>
                      <a:ext uri="{FF2B5EF4-FFF2-40B4-BE49-F238E27FC236}">
                        <a16:creationId xmlns:a16="http://schemas.microsoft.com/office/drawing/2014/main" id="{4E47E68A-EBB9-4EF7-8F51-EE1A88A2EDD2}"/>
                      </a:ext>
                    </a:extLst>
                  </p:cNvPr>
                  <p:cNvSpPr/>
                  <p:nvPr/>
                </p:nvSpPr>
                <p:spPr>
                  <a:xfrm flipH="1" flipV="1">
                    <a:off x="4235387" y="3602866"/>
                    <a:ext cx="77575" cy="77575"/>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endParaRPr lang="en-US" dirty="0"/>
                  </a:p>
                </p:txBody>
              </p:sp>
            </p:grpSp>
          </p:grpSp>
        </p:grpSp>
      </p:grpSp>
      <p:sp>
        <p:nvSpPr>
          <p:cNvPr id="117" name="Google Shape;2115;p430">
            <a:extLst>
              <a:ext uri="{FF2B5EF4-FFF2-40B4-BE49-F238E27FC236}">
                <a16:creationId xmlns:a16="http://schemas.microsoft.com/office/drawing/2014/main" id="{5CF51CFD-9AAB-4882-960A-B5BA24976695}"/>
              </a:ext>
            </a:extLst>
          </p:cNvPr>
          <p:cNvSpPr txBox="1"/>
          <p:nvPr/>
        </p:nvSpPr>
        <p:spPr>
          <a:xfrm>
            <a:off x="8941750" y="3187117"/>
            <a:ext cx="2201958" cy="430887"/>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AMP</a:t>
            </a:r>
            <a:br>
              <a:rPr lang="en-US" sz="1400" dirty="0">
                <a:solidFill>
                  <a:schemeClr val="bg1"/>
                </a:solidFill>
              </a:rPr>
            </a:br>
            <a:r>
              <a:rPr lang="en-US" sz="1400" dirty="0">
                <a:solidFill>
                  <a:schemeClr val="bg1"/>
                </a:solidFill>
              </a:rPr>
              <a:t>for Endpoints</a:t>
            </a:r>
          </a:p>
        </p:txBody>
      </p:sp>
      <p:sp>
        <p:nvSpPr>
          <p:cNvPr id="394" name="Rectangle 393">
            <a:extLst>
              <a:ext uri="{FF2B5EF4-FFF2-40B4-BE49-F238E27FC236}">
                <a16:creationId xmlns:a16="http://schemas.microsoft.com/office/drawing/2014/main" id="{27C37816-4258-4A31-8706-6BC484B6236B}"/>
              </a:ext>
            </a:extLst>
          </p:cNvPr>
          <p:cNvSpPr/>
          <p:nvPr/>
        </p:nvSpPr>
        <p:spPr>
          <a:xfrm>
            <a:off x="1105630" y="1188753"/>
            <a:ext cx="1323360" cy="215444"/>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Umbrella</a:t>
            </a:r>
          </a:p>
        </p:txBody>
      </p:sp>
      <p:sp>
        <p:nvSpPr>
          <p:cNvPr id="4" name="Footer Placeholder 3">
            <a:extLst>
              <a:ext uri="{FF2B5EF4-FFF2-40B4-BE49-F238E27FC236}">
                <a16:creationId xmlns:a16="http://schemas.microsoft.com/office/drawing/2014/main" id="{BEE2C58C-9422-4237-A64B-F4D4FB23FEDD}"/>
              </a:ext>
            </a:extLst>
          </p:cNvPr>
          <p:cNvSpPr>
            <a:spLocks noGrp="1"/>
          </p:cNvSpPr>
          <p:nvPr>
            <p:ph type="ftr" sz="quarter" idx="10"/>
          </p:nvPr>
        </p:nvSpPr>
        <p:spPr/>
        <p:txBody>
          <a:bodyPr/>
          <a:lstStyle/>
          <a:p>
            <a:r>
              <a:rPr lang="en-US" dirty="0"/>
              <a:t>© 2020 Cisco and/or its affiliates. All rights reserved. Cisco Confidential</a:t>
            </a:r>
          </a:p>
        </p:txBody>
      </p:sp>
      <p:sp>
        <p:nvSpPr>
          <p:cNvPr id="5" name="Title 4">
            <a:extLst>
              <a:ext uri="{FF2B5EF4-FFF2-40B4-BE49-F238E27FC236}">
                <a16:creationId xmlns:a16="http://schemas.microsoft.com/office/drawing/2014/main" id="{EB2D2A6E-37DB-4BD5-B14F-2C9339538DF5}"/>
              </a:ext>
            </a:extLst>
          </p:cNvPr>
          <p:cNvSpPr>
            <a:spLocks noGrp="1"/>
          </p:cNvSpPr>
          <p:nvPr>
            <p:ph type="title"/>
          </p:nvPr>
        </p:nvSpPr>
        <p:spPr>
          <a:xfrm>
            <a:off x="533400" y="481807"/>
            <a:ext cx="11127317" cy="403828"/>
          </a:xfrm>
        </p:spPr>
        <p:txBody>
          <a:bodyPr/>
          <a:lstStyle/>
          <a:p>
            <a:r>
              <a:rPr lang="en-US" sz="3200" dirty="0"/>
              <a:t>Cisco’s integrated approach protects users everywhere</a:t>
            </a:r>
          </a:p>
        </p:txBody>
      </p:sp>
      <p:grpSp>
        <p:nvGrpSpPr>
          <p:cNvPr id="489" name="Group 488">
            <a:extLst>
              <a:ext uri="{FF2B5EF4-FFF2-40B4-BE49-F238E27FC236}">
                <a16:creationId xmlns:a16="http://schemas.microsoft.com/office/drawing/2014/main" id="{029810E1-138F-4392-97F7-01806CF35BC7}"/>
              </a:ext>
            </a:extLst>
          </p:cNvPr>
          <p:cNvGrpSpPr/>
          <p:nvPr/>
        </p:nvGrpSpPr>
        <p:grpSpPr>
          <a:xfrm>
            <a:off x="9104092" y="3676480"/>
            <a:ext cx="1932281" cy="1964333"/>
            <a:chOff x="961414" y="3686048"/>
            <a:chExt cx="1932281" cy="1964333"/>
          </a:xfrm>
        </p:grpSpPr>
        <p:pic>
          <p:nvPicPr>
            <p:cNvPr id="498" name="Graphic 497">
              <a:extLst>
                <a:ext uri="{FF2B5EF4-FFF2-40B4-BE49-F238E27FC236}">
                  <a16:creationId xmlns:a16="http://schemas.microsoft.com/office/drawing/2014/main" id="{4ABB0092-DCCE-4E75-A7E2-7C29F3CEA6C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p:blipFill>
          <p:spPr>
            <a:xfrm>
              <a:off x="961414" y="3686048"/>
              <a:ext cx="1932281" cy="1964333"/>
            </a:xfrm>
            <a:custGeom>
              <a:avLst/>
              <a:gdLst>
                <a:gd name="connsiteX0" fmla="*/ 0 w 2740583"/>
                <a:gd name="connsiteY0" fmla="*/ 0 h 2786043"/>
                <a:gd name="connsiteX1" fmla="*/ 2740583 w 2740583"/>
                <a:gd name="connsiteY1" fmla="*/ 0 h 2786043"/>
                <a:gd name="connsiteX2" fmla="*/ 2740583 w 2740583"/>
                <a:gd name="connsiteY2" fmla="*/ 534603 h 2786043"/>
                <a:gd name="connsiteX3" fmla="*/ 2448484 w 2740583"/>
                <a:gd name="connsiteY3" fmla="*/ 309543 h 2786043"/>
                <a:gd name="connsiteX4" fmla="*/ 111684 w 2740583"/>
                <a:gd name="connsiteY4" fmla="*/ 1897043 h 2786043"/>
                <a:gd name="connsiteX5" fmla="*/ 209020 w 2740583"/>
                <a:gd name="connsiteY5" fmla="*/ 2786043 h 2786043"/>
                <a:gd name="connsiteX6" fmla="*/ 0 w 2740583"/>
                <a:gd name="connsiteY6" fmla="*/ 2786043 h 2786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0583" h="2786043">
                  <a:moveTo>
                    <a:pt x="0" y="0"/>
                  </a:moveTo>
                  <a:lnTo>
                    <a:pt x="2740583" y="0"/>
                  </a:lnTo>
                  <a:lnTo>
                    <a:pt x="2740583" y="534603"/>
                  </a:lnTo>
                  <a:lnTo>
                    <a:pt x="2448484" y="309543"/>
                  </a:lnTo>
                  <a:lnTo>
                    <a:pt x="111684" y="1897043"/>
                  </a:lnTo>
                  <a:lnTo>
                    <a:pt x="209020" y="2786043"/>
                  </a:lnTo>
                  <a:lnTo>
                    <a:pt x="0" y="2786043"/>
                  </a:lnTo>
                  <a:close/>
                </a:path>
              </a:pathLst>
            </a:custGeom>
          </p:spPr>
        </p:pic>
        <p:sp>
          <p:nvSpPr>
            <p:cNvPr id="499" name="Arc 498">
              <a:extLst>
                <a:ext uri="{FF2B5EF4-FFF2-40B4-BE49-F238E27FC236}">
                  <a16:creationId xmlns:a16="http://schemas.microsoft.com/office/drawing/2014/main" id="{FC457D85-3A2D-4960-BC8A-67E12E27F207}"/>
                </a:ext>
              </a:extLst>
            </p:cNvPr>
            <p:cNvSpPr/>
            <p:nvPr/>
          </p:nvSpPr>
          <p:spPr>
            <a:xfrm>
              <a:off x="1121138" y="3882947"/>
              <a:ext cx="1724932" cy="1724932"/>
            </a:xfrm>
            <a:prstGeom prst="arc">
              <a:avLst>
                <a:gd name="adj1" fmla="val 1095341"/>
                <a:gd name="adj2" fmla="val 0"/>
              </a:avLst>
            </a:prstGeom>
            <a:solidFill>
              <a:schemeClr val="bg2"/>
            </a:solidFill>
            <a:ln w="9525" cap="rnd">
              <a:solidFill>
                <a:schemeClr val="accent3"/>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01" name="Group 500">
              <a:extLst>
                <a:ext uri="{FF2B5EF4-FFF2-40B4-BE49-F238E27FC236}">
                  <a16:creationId xmlns:a16="http://schemas.microsoft.com/office/drawing/2014/main" id="{E3184729-6D05-446D-9D29-3870A60D1F9B}"/>
                </a:ext>
              </a:extLst>
            </p:cNvPr>
            <p:cNvGrpSpPr/>
            <p:nvPr/>
          </p:nvGrpSpPr>
          <p:grpSpPr>
            <a:xfrm>
              <a:off x="1386831" y="4076956"/>
              <a:ext cx="1264145" cy="1282553"/>
              <a:chOff x="1386831" y="4076956"/>
              <a:chExt cx="1264145" cy="1282553"/>
            </a:xfrm>
          </p:grpSpPr>
          <p:sp>
            <p:nvSpPr>
              <p:cNvPr id="502" name="Freeform: Shape 501">
                <a:extLst>
                  <a:ext uri="{FF2B5EF4-FFF2-40B4-BE49-F238E27FC236}">
                    <a16:creationId xmlns:a16="http://schemas.microsoft.com/office/drawing/2014/main" id="{8490D5D9-CA35-416C-8CFB-F282A3F46FBD}"/>
                  </a:ext>
                </a:extLst>
              </p:cNvPr>
              <p:cNvSpPr>
                <a:spLocks/>
              </p:cNvSpPr>
              <p:nvPr/>
            </p:nvSpPr>
            <p:spPr bwMode="auto">
              <a:xfrm>
                <a:off x="1386831" y="4076956"/>
                <a:ext cx="1264145" cy="1282553"/>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503" name="Group 502">
                <a:extLst>
                  <a:ext uri="{FF2B5EF4-FFF2-40B4-BE49-F238E27FC236}">
                    <a16:creationId xmlns:a16="http://schemas.microsoft.com/office/drawing/2014/main" id="{FA983A06-5F2E-486B-B04B-CC12EA22DFA5}"/>
                  </a:ext>
                </a:extLst>
              </p:cNvPr>
              <p:cNvGrpSpPr/>
              <p:nvPr/>
            </p:nvGrpSpPr>
            <p:grpSpPr>
              <a:xfrm>
                <a:off x="1502268" y="4201597"/>
                <a:ext cx="1033271" cy="1033271"/>
                <a:chOff x="1502268" y="4201597"/>
                <a:chExt cx="1033271" cy="1033271"/>
              </a:xfrm>
            </p:grpSpPr>
            <p:sp>
              <p:nvSpPr>
                <p:cNvPr id="504" name="Oval 503">
                  <a:extLst>
                    <a:ext uri="{FF2B5EF4-FFF2-40B4-BE49-F238E27FC236}">
                      <a16:creationId xmlns:a16="http://schemas.microsoft.com/office/drawing/2014/main" id="{00139A69-85EE-4E2B-A7D5-CEA484102805}"/>
                    </a:ext>
                  </a:extLst>
                </p:cNvPr>
                <p:cNvSpPr/>
                <p:nvPr/>
              </p:nvSpPr>
              <p:spPr>
                <a:xfrm>
                  <a:off x="1502268" y="4201597"/>
                  <a:ext cx="1033271" cy="1033271"/>
                </a:xfrm>
                <a:prstGeom prst="ellipse">
                  <a:avLst/>
                </a:prstGeom>
                <a:solidFill>
                  <a:schemeClr val="tx2">
                    <a:lumMod val="7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05" name="Group 504">
                  <a:extLst>
                    <a:ext uri="{FF2B5EF4-FFF2-40B4-BE49-F238E27FC236}">
                      <a16:creationId xmlns:a16="http://schemas.microsoft.com/office/drawing/2014/main" id="{886EF754-E87A-4AAD-9AD7-58C692696E08}"/>
                    </a:ext>
                  </a:extLst>
                </p:cNvPr>
                <p:cNvGrpSpPr/>
                <p:nvPr/>
              </p:nvGrpSpPr>
              <p:grpSpPr>
                <a:xfrm>
                  <a:off x="1736567" y="4391688"/>
                  <a:ext cx="564674" cy="653090"/>
                  <a:chOff x="8473444" y="-2023109"/>
                  <a:chExt cx="1070612" cy="1238248"/>
                </a:xfrm>
                <a:solidFill>
                  <a:schemeClr val="bg2"/>
                </a:solidFill>
              </p:grpSpPr>
              <p:sp>
                <p:nvSpPr>
                  <p:cNvPr id="506" name="Freeform: Shape 505">
                    <a:extLst>
                      <a:ext uri="{FF2B5EF4-FFF2-40B4-BE49-F238E27FC236}">
                        <a16:creationId xmlns:a16="http://schemas.microsoft.com/office/drawing/2014/main" id="{4253B2D0-3ED2-408A-8059-60A71F43E466}"/>
                      </a:ext>
                    </a:extLst>
                  </p:cNvPr>
                  <p:cNvSpPr/>
                  <p:nvPr/>
                </p:nvSpPr>
                <p:spPr>
                  <a:xfrm>
                    <a:off x="8473444" y="-2023109"/>
                    <a:ext cx="1070612" cy="1238248"/>
                  </a:xfrm>
                  <a:custGeom>
                    <a:avLst/>
                    <a:gdLst>
                      <a:gd name="connsiteX0" fmla="*/ 533401 w 1070612"/>
                      <a:gd name="connsiteY0" fmla="*/ 1238248 h 1238248"/>
                      <a:gd name="connsiteX1" fmla="*/ 0 w 1070612"/>
                      <a:gd name="connsiteY1" fmla="*/ 929639 h 1238248"/>
                      <a:gd name="connsiteX2" fmla="*/ 0 w 1070612"/>
                      <a:gd name="connsiteY2" fmla="*/ 308610 h 1238248"/>
                      <a:gd name="connsiteX3" fmla="*/ 533401 w 1070612"/>
                      <a:gd name="connsiteY3" fmla="*/ 0 h 1238248"/>
                      <a:gd name="connsiteX4" fmla="*/ 1070612 w 1070612"/>
                      <a:gd name="connsiteY4" fmla="*/ 308610 h 1238248"/>
                      <a:gd name="connsiteX5" fmla="*/ 1070612 w 1070612"/>
                      <a:gd name="connsiteY5" fmla="*/ 925829 h 1238248"/>
                      <a:gd name="connsiteX6" fmla="*/ 533401 w 1070612"/>
                      <a:gd name="connsiteY6" fmla="*/ 1238248 h 1238248"/>
                      <a:gd name="connsiteX7" fmla="*/ 34290 w 1070612"/>
                      <a:gd name="connsiteY7" fmla="*/ 906779 h 1238248"/>
                      <a:gd name="connsiteX8" fmla="*/ 529591 w 1070612"/>
                      <a:gd name="connsiteY8" fmla="*/ 1192528 h 1238248"/>
                      <a:gd name="connsiteX9" fmla="*/ 1028702 w 1070612"/>
                      <a:gd name="connsiteY9" fmla="*/ 906779 h 1238248"/>
                      <a:gd name="connsiteX10" fmla="*/ 1028702 w 1070612"/>
                      <a:gd name="connsiteY10" fmla="*/ 331470 h 1238248"/>
                      <a:gd name="connsiteX11" fmla="*/ 529591 w 1070612"/>
                      <a:gd name="connsiteY11" fmla="*/ 45720 h 1238248"/>
                      <a:gd name="connsiteX12" fmla="*/ 34290 w 1070612"/>
                      <a:gd name="connsiteY12" fmla="*/ 331470 h 1238248"/>
                      <a:gd name="connsiteX13" fmla="*/ 34290 w 1070612"/>
                      <a:gd name="connsiteY13" fmla="*/ 906779 h 1238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0612" h="1238248">
                        <a:moveTo>
                          <a:pt x="533401" y="1238248"/>
                        </a:moveTo>
                        <a:lnTo>
                          <a:pt x="0" y="929639"/>
                        </a:lnTo>
                        <a:lnTo>
                          <a:pt x="0" y="308610"/>
                        </a:lnTo>
                        <a:lnTo>
                          <a:pt x="533401" y="0"/>
                        </a:lnTo>
                        <a:lnTo>
                          <a:pt x="1070612" y="308610"/>
                        </a:lnTo>
                        <a:lnTo>
                          <a:pt x="1070612" y="925829"/>
                        </a:lnTo>
                        <a:lnTo>
                          <a:pt x="533401" y="1238248"/>
                        </a:lnTo>
                        <a:close/>
                        <a:moveTo>
                          <a:pt x="34290" y="906779"/>
                        </a:moveTo>
                        <a:lnTo>
                          <a:pt x="529591" y="1192528"/>
                        </a:lnTo>
                        <a:lnTo>
                          <a:pt x="1028702" y="906779"/>
                        </a:lnTo>
                        <a:lnTo>
                          <a:pt x="1028702" y="331470"/>
                        </a:lnTo>
                        <a:lnTo>
                          <a:pt x="529591" y="45720"/>
                        </a:lnTo>
                        <a:lnTo>
                          <a:pt x="34290" y="331470"/>
                        </a:lnTo>
                        <a:lnTo>
                          <a:pt x="34290" y="906779"/>
                        </a:lnTo>
                        <a:close/>
                      </a:path>
                    </a:pathLst>
                  </a:custGeom>
                  <a:grpFill/>
                  <a:ln w="38100" cap="flat">
                    <a:noFill/>
                    <a:prstDash val="solid"/>
                    <a:miter/>
                  </a:ln>
                </p:spPr>
                <p:txBody>
                  <a:bodyPr rtlCol="0" anchor="ctr"/>
                  <a:lstStyle/>
                  <a:p>
                    <a:endParaRPr lang="en-IN" dirty="0"/>
                  </a:p>
                </p:txBody>
              </p:sp>
              <p:sp>
                <p:nvSpPr>
                  <p:cNvPr id="507" name="Freeform: Shape 506">
                    <a:extLst>
                      <a:ext uri="{FF2B5EF4-FFF2-40B4-BE49-F238E27FC236}">
                        <a16:creationId xmlns:a16="http://schemas.microsoft.com/office/drawing/2014/main" id="{FE2BD556-DBEC-471E-96C7-E35A0DDCB780}"/>
                      </a:ext>
                    </a:extLst>
                  </p:cNvPr>
                  <p:cNvSpPr/>
                  <p:nvPr/>
                </p:nvSpPr>
                <p:spPr>
                  <a:xfrm>
                    <a:off x="8763005" y="-1645919"/>
                    <a:ext cx="487681" cy="487679"/>
                  </a:xfrm>
                  <a:custGeom>
                    <a:avLst/>
                    <a:gdLst>
                      <a:gd name="connsiteX0" fmla="*/ 243840 w 487681"/>
                      <a:gd name="connsiteY0" fmla="*/ 487679 h 487679"/>
                      <a:gd name="connsiteX1" fmla="*/ 0 w 487681"/>
                      <a:gd name="connsiteY1" fmla="*/ 243840 h 487679"/>
                      <a:gd name="connsiteX2" fmla="*/ 243840 w 487681"/>
                      <a:gd name="connsiteY2" fmla="*/ 0 h 487679"/>
                      <a:gd name="connsiteX3" fmla="*/ 487681 w 487681"/>
                      <a:gd name="connsiteY3" fmla="*/ 243840 h 487679"/>
                      <a:gd name="connsiteX4" fmla="*/ 243840 w 487681"/>
                      <a:gd name="connsiteY4" fmla="*/ 487679 h 487679"/>
                      <a:gd name="connsiteX5" fmla="*/ 243840 w 487681"/>
                      <a:gd name="connsiteY5" fmla="*/ 38100 h 487679"/>
                      <a:gd name="connsiteX6" fmla="*/ 38100 w 487681"/>
                      <a:gd name="connsiteY6" fmla="*/ 243840 h 487679"/>
                      <a:gd name="connsiteX7" fmla="*/ 243840 w 487681"/>
                      <a:gd name="connsiteY7" fmla="*/ 449579 h 487679"/>
                      <a:gd name="connsiteX8" fmla="*/ 449581 w 487681"/>
                      <a:gd name="connsiteY8" fmla="*/ 243840 h 487679"/>
                      <a:gd name="connsiteX9" fmla="*/ 243840 w 487681"/>
                      <a:gd name="connsiteY9" fmla="*/ 38100 h 48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681" h="487679">
                        <a:moveTo>
                          <a:pt x="243840" y="487679"/>
                        </a:moveTo>
                        <a:cubicBezTo>
                          <a:pt x="110490" y="487679"/>
                          <a:pt x="0" y="377189"/>
                          <a:pt x="0" y="243840"/>
                        </a:cubicBezTo>
                        <a:cubicBezTo>
                          <a:pt x="0" y="110490"/>
                          <a:pt x="110490" y="0"/>
                          <a:pt x="243840" y="0"/>
                        </a:cubicBezTo>
                        <a:cubicBezTo>
                          <a:pt x="377191" y="0"/>
                          <a:pt x="487681" y="110490"/>
                          <a:pt x="487681" y="243840"/>
                        </a:cubicBezTo>
                        <a:cubicBezTo>
                          <a:pt x="487681" y="377189"/>
                          <a:pt x="377191" y="487679"/>
                          <a:pt x="243840" y="487679"/>
                        </a:cubicBezTo>
                        <a:close/>
                        <a:moveTo>
                          <a:pt x="243840" y="38100"/>
                        </a:moveTo>
                        <a:cubicBezTo>
                          <a:pt x="129540" y="38100"/>
                          <a:pt x="38100" y="129540"/>
                          <a:pt x="38100" y="243840"/>
                        </a:cubicBezTo>
                        <a:cubicBezTo>
                          <a:pt x="38100" y="358139"/>
                          <a:pt x="129540" y="449579"/>
                          <a:pt x="243840" y="449579"/>
                        </a:cubicBezTo>
                        <a:cubicBezTo>
                          <a:pt x="358141" y="449579"/>
                          <a:pt x="449581" y="358139"/>
                          <a:pt x="449581" y="243840"/>
                        </a:cubicBezTo>
                        <a:cubicBezTo>
                          <a:pt x="449581" y="129540"/>
                          <a:pt x="358141" y="38100"/>
                          <a:pt x="243840" y="38100"/>
                        </a:cubicBezTo>
                        <a:close/>
                      </a:path>
                    </a:pathLst>
                  </a:custGeom>
                  <a:grpFill/>
                  <a:ln w="38100" cap="flat">
                    <a:noFill/>
                    <a:prstDash val="solid"/>
                    <a:miter/>
                  </a:ln>
                </p:spPr>
                <p:txBody>
                  <a:bodyPr rtlCol="0" anchor="ctr"/>
                  <a:lstStyle/>
                  <a:p>
                    <a:endParaRPr lang="en-IN" dirty="0"/>
                  </a:p>
                </p:txBody>
              </p:sp>
            </p:grpSp>
          </p:grpSp>
        </p:grpSp>
      </p:grpSp>
      <p:sp>
        <p:nvSpPr>
          <p:cNvPr id="477" name="Freeform: Shape 476">
            <a:extLst>
              <a:ext uri="{FF2B5EF4-FFF2-40B4-BE49-F238E27FC236}">
                <a16:creationId xmlns:a16="http://schemas.microsoft.com/office/drawing/2014/main" id="{C2384E7B-6311-4B14-BB85-26BDB62DC975}"/>
              </a:ext>
            </a:extLst>
          </p:cNvPr>
          <p:cNvSpPr/>
          <p:nvPr/>
        </p:nvSpPr>
        <p:spPr>
          <a:xfrm>
            <a:off x="8103867" y="2316389"/>
            <a:ext cx="749662" cy="385617"/>
          </a:xfrm>
          <a:custGeom>
            <a:avLst/>
            <a:gdLst>
              <a:gd name="connsiteX0" fmla="*/ 2426859 w 2427461"/>
              <a:gd name="connsiteY0" fmla="*/ 1305036 h 2496364"/>
              <a:gd name="connsiteX1" fmla="*/ 2275440 w 2427461"/>
              <a:gd name="connsiteY1" fmla="*/ 725154 h 2496364"/>
              <a:gd name="connsiteX2" fmla="*/ 2275440 w 2427461"/>
              <a:gd name="connsiteY2" fmla="*/ 516753 h 2496364"/>
              <a:gd name="connsiteX3" fmla="*/ 2203637 w 2427461"/>
              <a:gd name="connsiteY3" fmla="*/ 516753 h 2496364"/>
              <a:gd name="connsiteX4" fmla="*/ 2203637 w 2427461"/>
              <a:gd name="connsiteY4" fmla="*/ 611418 h 2496364"/>
              <a:gd name="connsiteX5" fmla="*/ 2122988 w 2427461"/>
              <a:gd name="connsiteY5" fmla="*/ 509601 h 2496364"/>
              <a:gd name="connsiteX6" fmla="*/ 2122988 w 2427461"/>
              <a:gd name="connsiteY6" fmla="*/ 353444 h 2496364"/>
              <a:gd name="connsiteX7" fmla="*/ 2051185 w 2427461"/>
              <a:gd name="connsiteY7" fmla="*/ 353444 h 2496364"/>
              <a:gd name="connsiteX8" fmla="*/ 2051185 w 2427461"/>
              <a:gd name="connsiteY8" fmla="*/ 434897 h 2496364"/>
              <a:gd name="connsiteX9" fmla="*/ 1956204 w 2427461"/>
              <a:gd name="connsiteY9" fmla="*/ 352984 h 2496364"/>
              <a:gd name="connsiteX10" fmla="*/ 1956204 w 2427461"/>
              <a:gd name="connsiteY10" fmla="*/ 224715 h 2496364"/>
              <a:gd name="connsiteX11" fmla="*/ 1884401 w 2427461"/>
              <a:gd name="connsiteY11" fmla="*/ 224715 h 2496364"/>
              <a:gd name="connsiteX12" fmla="*/ 1884401 w 2427461"/>
              <a:gd name="connsiteY12" fmla="*/ 301027 h 2496364"/>
              <a:gd name="connsiteX13" fmla="*/ 1814350 w 2427461"/>
              <a:gd name="connsiteY13" fmla="*/ 257945 h 2496364"/>
              <a:gd name="connsiteX14" fmla="*/ 1814350 w 2427461"/>
              <a:gd name="connsiteY14" fmla="*/ 172040 h 2496364"/>
              <a:gd name="connsiteX15" fmla="*/ 1742546 w 2427461"/>
              <a:gd name="connsiteY15" fmla="*/ 172040 h 2496364"/>
              <a:gd name="connsiteX16" fmla="*/ 1742546 w 2427461"/>
              <a:gd name="connsiteY16" fmla="*/ 219717 h 2496364"/>
              <a:gd name="connsiteX17" fmla="*/ 1684616 w 2427461"/>
              <a:gd name="connsiteY17" fmla="*/ 193294 h 2496364"/>
              <a:gd name="connsiteX18" fmla="*/ 1684616 w 2427461"/>
              <a:gd name="connsiteY18" fmla="*/ 138465 h 2496364"/>
              <a:gd name="connsiteX19" fmla="*/ 1612813 w 2427461"/>
              <a:gd name="connsiteY19" fmla="*/ 138465 h 2496364"/>
              <a:gd name="connsiteX20" fmla="*/ 1612813 w 2427461"/>
              <a:gd name="connsiteY20" fmla="*/ 165894 h 2496364"/>
              <a:gd name="connsiteX21" fmla="*/ 1543795 w 2427461"/>
              <a:gd name="connsiteY21" fmla="*/ 144152 h 2496364"/>
              <a:gd name="connsiteX22" fmla="*/ 1543795 w 2427461"/>
              <a:gd name="connsiteY22" fmla="*/ 4509 h 2496364"/>
              <a:gd name="connsiteX23" fmla="*/ 1471992 w 2427461"/>
              <a:gd name="connsiteY23" fmla="*/ 4509 h 2496364"/>
              <a:gd name="connsiteX24" fmla="*/ 1471992 w 2427461"/>
              <a:gd name="connsiteY24" fmla="*/ 126058 h 2496364"/>
              <a:gd name="connsiteX25" fmla="*/ 1243084 w 2427461"/>
              <a:gd name="connsiteY25" fmla="*/ 98801 h 2496364"/>
              <a:gd name="connsiteX26" fmla="*/ 1243084 w 2427461"/>
              <a:gd name="connsiteY26" fmla="*/ 0 h 2496364"/>
              <a:gd name="connsiteX27" fmla="*/ 1171281 w 2427461"/>
              <a:gd name="connsiteY27" fmla="*/ 0 h 2496364"/>
              <a:gd name="connsiteX28" fmla="*/ 1171281 w 2427461"/>
              <a:gd name="connsiteY28" fmla="*/ 99117 h 2496364"/>
              <a:gd name="connsiteX29" fmla="*/ 958973 w 2427461"/>
              <a:gd name="connsiteY29" fmla="*/ 125110 h 2496364"/>
              <a:gd name="connsiteX30" fmla="*/ 958973 w 2427461"/>
              <a:gd name="connsiteY30" fmla="*/ 0 h 2496364"/>
              <a:gd name="connsiteX31" fmla="*/ 887170 w 2427461"/>
              <a:gd name="connsiteY31" fmla="*/ 0 h 2496364"/>
              <a:gd name="connsiteX32" fmla="*/ 887170 w 2427461"/>
              <a:gd name="connsiteY32" fmla="*/ 142974 h 2496364"/>
              <a:gd name="connsiteX33" fmla="*/ 817493 w 2427461"/>
              <a:gd name="connsiteY33" fmla="*/ 164745 h 2496364"/>
              <a:gd name="connsiteX34" fmla="*/ 817493 w 2427461"/>
              <a:gd name="connsiteY34" fmla="*/ 133956 h 2496364"/>
              <a:gd name="connsiteX35" fmla="*/ 745690 w 2427461"/>
              <a:gd name="connsiteY35" fmla="*/ 133956 h 2496364"/>
              <a:gd name="connsiteX36" fmla="*/ 745690 w 2427461"/>
              <a:gd name="connsiteY36" fmla="*/ 191944 h 2496364"/>
              <a:gd name="connsiteX37" fmla="*/ 687156 w 2427461"/>
              <a:gd name="connsiteY37" fmla="*/ 218253 h 2496364"/>
              <a:gd name="connsiteX38" fmla="*/ 687156 w 2427461"/>
              <a:gd name="connsiteY38" fmla="*/ 167560 h 2496364"/>
              <a:gd name="connsiteX39" fmla="*/ 615353 w 2427461"/>
              <a:gd name="connsiteY39" fmla="*/ 167560 h 2496364"/>
              <a:gd name="connsiteX40" fmla="*/ 615353 w 2427461"/>
              <a:gd name="connsiteY40" fmla="*/ 256337 h 2496364"/>
              <a:gd name="connsiteX41" fmla="*/ 544641 w 2427461"/>
              <a:gd name="connsiteY41" fmla="*/ 299706 h 2496364"/>
              <a:gd name="connsiteX42" fmla="*/ 544641 w 2427461"/>
              <a:gd name="connsiteY42" fmla="*/ 220206 h 2496364"/>
              <a:gd name="connsiteX43" fmla="*/ 472838 w 2427461"/>
              <a:gd name="connsiteY43" fmla="*/ 220206 h 2496364"/>
              <a:gd name="connsiteX44" fmla="*/ 472838 w 2427461"/>
              <a:gd name="connsiteY44" fmla="*/ 351261 h 2496364"/>
              <a:gd name="connsiteX45" fmla="*/ 377110 w 2427461"/>
              <a:gd name="connsiteY45" fmla="*/ 433547 h 2496364"/>
              <a:gd name="connsiteX46" fmla="*/ 377110 w 2427461"/>
              <a:gd name="connsiteY46" fmla="*/ 348906 h 2496364"/>
              <a:gd name="connsiteX47" fmla="*/ 305307 w 2427461"/>
              <a:gd name="connsiteY47" fmla="*/ 348906 h 2496364"/>
              <a:gd name="connsiteX48" fmla="*/ 305307 w 2427461"/>
              <a:gd name="connsiteY48" fmla="*/ 507906 h 2496364"/>
              <a:gd name="connsiteX49" fmla="*/ 223940 w 2427461"/>
              <a:gd name="connsiteY49" fmla="*/ 610441 h 2496364"/>
              <a:gd name="connsiteX50" fmla="*/ 223940 w 2427461"/>
              <a:gd name="connsiteY50" fmla="*/ 512186 h 2496364"/>
              <a:gd name="connsiteX51" fmla="*/ 152136 w 2427461"/>
              <a:gd name="connsiteY51" fmla="*/ 512186 h 2496364"/>
              <a:gd name="connsiteX52" fmla="*/ 152136 w 2427461"/>
              <a:gd name="connsiteY52" fmla="*/ 722741 h 2496364"/>
              <a:gd name="connsiteX53" fmla="*/ 152912 w 2427461"/>
              <a:gd name="connsiteY53" fmla="*/ 722741 h 2496364"/>
              <a:gd name="connsiteX54" fmla="*/ 0 w 2427461"/>
              <a:gd name="connsiteY54" fmla="*/ 1311527 h 2496364"/>
              <a:gd name="connsiteX55" fmla="*/ 37740 w 2427461"/>
              <a:gd name="connsiteY55" fmla="*/ 1347428 h 2496364"/>
              <a:gd name="connsiteX56" fmla="*/ 73440 w 2427461"/>
              <a:gd name="connsiteY56" fmla="*/ 1315375 h 2496364"/>
              <a:gd name="connsiteX57" fmla="*/ 429210 w 2427461"/>
              <a:gd name="connsiteY57" fmla="*/ 1039565 h 2496364"/>
              <a:gd name="connsiteX58" fmla="*/ 781246 w 2427461"/>
              <a:gd name="connsiteY58" fmla="*/ 1292657 h 2496364"/>
              <a:gd name="connsiteX59" fmla="*/ 816459 w 2427461"/>
              <a:gd name="connsiteY59" fmla="*/ 1321579 h 2496364"/>
              <a:gd name="connsiteX60" fmla="*/ 851671 w 2427461"/>
              <a:gd name="connsiteY60" fmla="*/ 1292657 h 2496364"/>
              <a:gd name="connsiteX61" fmla="*/ 1171281 w 2427461"/>
              <a:gd name="connsiteY61" fmla="*/ 1040800 h 2496364"/>
              <a:gd name="connsiteX62" fmla="*/ 1171281 w 2427461"/>
              <a:gd name="connsiteY62" fmla="*/ 1175158 h 2496364"/>
              <a:gd name="connsiteX63" fmla="*/ 1147414 w 2427461"/>
              <a:gd name="connsiteY63" fmla="*/ 1175158 h 2496364"/>
              <a:gd name="connsiteX64" fmla="*/ 1111512 w 2427461"/>
              <a:gd name="connsiteY64" fmla="*/ 1211060 h 2496364"/>
              <a:gd name="connsiteX65" fmla="*/ 1147414 w 2427461"/>
              <a:gd name="connsiteY65" fmla="*/ 1246961 h 2496364"/>
              <a:gd name="connsiteX66" fmla="*/ 1171281 w 2427461"/>
              <a:gd name="connsiteY66" fmla="*/ 1246961 h 2496364"/>
              <a:gd name="connsiteX67" fmla="*/ 1171281 w 2427461"/>
              <a:gd name="connsiteY67" fmla="*/ 2137320 h 2496364"/>
              <a:gd name="connsiteX68" fmla="*/ 1147414 w 2427461"/>
              <a:gd name="connsiteY68" fmla="*/ 2137320 h 2496364"/>
              <a:gd name="connsiteX69" fmla="*/ 1111512 w 2427461"/>
              <a:gd name="connsiteY69" fmla="*/ 2173221 h 2496364"/>
              <a:gd name="connsiteX70" fmla="*/ 1147414 w 2427461"/>
              <a:gd name="connsiteY70" fmla="*/ 2209123 h 2496364"/>
              <a:gd name="connsiteX71" fmla="*/ 1171281 w 2427461"/>
              <a:gd name="connsiteY71" fmla="*/ 2209123 h 2496364"/>
              <a:gd name="connsiteX72" fmla="*/ 1171281 w 2427461"/>
              <a:gd name="connsiteY72" fmla="*/ 2345578 h 2496364"/>
              <a:gd name="connsiteX73" fmla="*/ 1092298 w 2427461"/>
              <a:gd name="connsiteY73" fmla="*/ 2424561 h 2496364"/>
              <a:gd name="connsiteX74" fmla="*/ 1013314 w 2427461"/>
              <a:gd name="connsiteY74" fmla="*/ 2345578 h 2496364"/>
              <a:gd name="connsiteX75" fmla="*/ 941511 w 2427461"/>
              <a:gd name="connsiteY75" fmla="*/ 2345578 h 2496364"/>
              <a:gd name="connsiteX76" fmla="*/ 1092298 w 2427461"/>
              <a:gd name="connsiteY76" fmla="*/ 2496364 h 2496364"/>
              <a:gd name="connsiteX77" fmla="*/ 1243084 w 2427461"/>
              <a:gd name="connsiteY77" fmla="*/ 2345578 h 2496364"/>
              <a:gd name="connsiteX78" fmla="*/ 1243084 w 2427461"/>
              <a:gd name="connsiteY78" fmla="*/ 2209152 h 2496364"/>
              <a:gd name="connsiteX79" fmla="*/ 1275912 w 2427461"/>
              <a:gd name="connsiteY79" fmla="*/ 2209152 h 2496364"/>
              <a:gd name="connsiteX80" fmla="*/ 1311814 w 2427461"/>
              <a:gd name="connsiteY80" fmla="*/ 2173250 h 2496364"/>
              <a:gd name="connsiteX81" fmla="*/ 1275912 w 2427461"/>
              <a:gd name="connsiteY81" fmla="*/ 2137349 h 2496364"/>
              <a:gd name="connsiteX82" fmla="*/ 1243084 w 2427461"/>
              <a:gd name="connsiteY82" fmla="*/ 2137349 h 2496364"/>
              <a:gd name="connsiteX83" fmla="*/ 1243084 w 2427461"/>
              <a:gd name="connsiteY83" fmla="*/ 1246990 h 2496364"/>
              <a:gd name="connsiteX84" fmla="*/ 1275912 w 2427461"/>
              <a:gd name="connsiteY84" fmla="*/ 1246990 h 2496364"/>
              <a:gd name="connsiteX85" fmla="*/ 1311814 w 2427461"/>
              <a:gd name="connsiteY85" fmla="*/ 1211089 h 2496364"/>
              <a:gd name="connsiteX86" fmla="*/ 1275912 w 2427461"/>
              <a:gd name="connsiteY86" fmla="*/ 1175187 h 2496364"/>
              <a:gd name="connsiteX87" fmla="*/ 1243084 w 2427461"/>
              <a:gd name="connsiteY87" fmla="*/ 1175187 h 2496364"/>
              <a:gd name="connsiteX88" fmla="*/ 1243084 w 2427461"/>
              <a:gd name="connsiteY88" fmla="*/ 1041576 h 2496364"/>
              <a:gd name="connsiteX89" fmla="*/ 1559449 w 2427461"/>
              <a:gd name="connsiteY89" fmla="*/ 1315404 h 2496364"/>
              <a:gd name="connsiteX90" fmla="*/ 1595149 w 2427461"/>
              <a:gd name="connsiteY90" fmla="*/ 1347457 h 2496364"/>
              <a:gd name="connsiteX91" fmla="*/ 1606207 w 2427461"/>
              <a:gd name="connsiteY91" fmla="*/ 1347457 h 2496364"/>
              <a:gd name="connsiteX92" fmla="*/ 1641907 w 2427461"/>
              <a:gd name="connsiteY92" fmla="*/ 1315404 h 2496364"/>
              <a:gd name="connsiteX93" fmla="*/ 1997706 w 2427461"/>
              <a:gd name="connsiteY93" fmla="*/ 1039594 h 2496364"/>
              <a:gd name="connsiteX94" fmla="*/ 2353447 w 2427461"/>
              <a:gd name="connsiteY94" fmla="*/ 1315404 h 2496364"/>
              <a:gd name="connsiteX95" fmla="*/ 2389148 w 2427461"/>
              <a:gd name="connsiteY95" fmla="*/ 1347457 h 2496364"/>
              <a:gd name="connsiteX96" fmla="*/ 2390986 w 2427461"/>
              <a:gd name="connsiteY96" fmla="*/ 1347457 h 2496364"/>
              <a:gd name="connsiteX97" fmla="*/ 2391560 w 2427461"/>
              <a:gd name="connsiteY97" fmla="*/ 1347457 h 2496364"/>
              <a:gd name="connsiteX98" fmla="*/ 2427462 w 2427461"/>
              <a:gd name="connsiteY98" fmla="*/ 1311556 h 2496364"/>
              <a:gd name="connsiteX99" fmla="*/ 2426859 w 2427461"/>
              <a:gd name="connsiteY99" fmla="*/ 1305036 h 2496364"/>
              <a:gd name="connsiteX100" fmla="*/ 88978 w 2427461"/>
              <a:gd name="connsiteY100" fmla="*/ 1113465 h 2496364"/>
              <a:gd name="connsiteX101" fmla="*/ 920889 w 2427461"/>
              <a:gd name="connsiteY101" fmla="*/ 208057 h 2496364"/>
              <a:gd name="connsiteX102" fmla="*/ 393050 w 2427461"/>
              <a:gd name="connsiteY102" fmla="*/ 969629 h 2496364"/>
              <a:gd name="connsiteX103" fmla="*/ 88978 w 2427461"/>
              <a:gd name="connsiteY103" fmla="*/ 1113465 h 2496364"/>
              <a:gd name="connsiteX104" fmla="*/ 467237 w 2427461"/>
              <a:gd name="connsiteY104" fmla="*/ 969399 h 2496364"/>
              <a:gd name="connsiteX105" fmla="*/ 1122800 w 2427461"/>
              <a:gd name="connsiteY105" fmla="*/ 201077 h 2496364"/>
              <a:gd name="connsiteX106" fmla="*/ 790409 w 2427461"/>
              <a:gd name="connsiteY106" fmla="*/ 1140635 h 2496364"/>
              <a:gd name="connsiteX107" fmla="*/ 467237 w 2427461"/>
              <a:gd name="connsiteY107" fmla="*/ 969399 h 2496364"/>
              <a:gd name="connsiteX108" fmla="*/ 863217 w 2427461"/>
              <a:gd name="connsiteY108" fmla="*/ 1114556 h 2496364"/>
              <a:gd name="connsiteX109" fmla="*/ 1171281 w 2427461"/>
              <a:gd name="connsiteY109" fmla="*/ 255418 h 2496364"/>
              <a:gd name="connsiteX110" fmla="*/ 1171281 w 2427461"/>
              <a:gd name="connsiteY110" fmla="*/ 968882 h 2496364"/>
              <a:gd name="connsiteX111" fmla="*/ 863217 w 2427461"/>
              <a:gd name="connsiteY111" fmla="*/ 1114556 h 2496364"/>
              <a:gd name="connsiteX112" fmla="*/ 1243084 w 2427461"/>
              <a:gd name="connsiteY112" fmla="*/ 969514 h 2496364"/>
              <a:gd name="connsiteX113" fmla="*/ 1243084 w 2427461"/>
              <a:gd name="connsiteY113" fmla="*/ 244849 h 2496364"/>
              <a:gd name="connsiteX114" fmla="*/ 1560368 w 2427461"/>
              <a:gd name="connsiteY114" fmla="*/ 1133886 h 2496364"/>
              <a:gd name="connsiteX115" fmla="*/ 1243084 w 2427461"/>
              <a:gd name="connsiteY115" fmla="*/ 969514 h 2496364"/>
              <a:gd name="connsiteX116" fmla="*/ 1632659 w 2427461"/>
              <a:gd name="connsiteY116" fmla="*/ 1145173 h 2496364"/>
              <a:gd name="connsiteX117" fmla="*/ 1300096 w 2427461"/>
              <a:gd name="connsiteY117" fmla="*/ 201077 h 2496364"/>
              <a:gd name="connsiteX118" fmla="*/ 1955744 w 2427461"/>
              <a:gd name="connsiteY118" fmla="*/ 969773 h 2496364"/>
              <a:gd name="connsiteX119" fmla="*/ 1632659 w 2427461"/>
              <a:gd name="connsiteY119" fmla="*/ 1145173 h 2496364"/>
              <a:gd name="connsiteX120" fmla="*/ 2029759 w 2427461"/>
              <a:gd name="connsiteY120" fmla="*/ 969428 h 2496364"/>
              <a:gd name="connsiteX121" fmla="*/ 1498789 w 2427461"/>
              <a:gd name="connsiteY121" fmla="*/ 206247 h 2496364"/>
              <a:gd name="connsiteX122" fmla="*/ 2337909 w 2427461"/>
              <a:gd name="connsiteY122" fmla="*/ 1113465 h 2496364"/>
              <a:gd name="connsiteX123" fmla="*/ 2029759 w 2427461"/>
              <a:gd name="connsiteY123" fmla="*/ 969428 h 2496364"/>
              <a:gd name="connsiteX0" fmla="*/ 2426859 w 2427462"/>
              <a:gd name="connsiteY0" fmla="*/ 1305036 h 2496364"/>
              <a:gd name="connsiteX1" fmla="*/ 2275440 w 2427462"/>
              <a:gd name="connsiteY1" fmla="*/ 725154 h 2496364"/>
              <a:gd name="connsiteX2" fmla="*/ 2275440 w 2427462"/>
              <a:gd name="connsiteY2" fmla="*/ 516753 h 2496364"/>
              <a:gd name="connsiteX3" fmla="*/ 2203637 w 2427462"/>
              <a:gd name="connsiteY3" fmla="*/ 516753 h 2496364"/>
              <a:gd name="connsiteX4" fmla="*/ 2203637 w 2427462"/>
              <a:gd name="connsiteY4" fmla="*/ 611418 h 2496364"/>
              <a:gd name="connsiteX5" fmla="*/ 2122988 w 2427462"/>
              <a:gd name="connsiteY5" fmla="*/ 509601 h 2496364"/>
              <a:gd name="connsiteX6" fmla="*/ 2122988 w 2427462"/>
              <a:gd name="connsiteY6" fmla="*/ 353444 h 2496364"/>
              <a:gd name="connsiteX7" fmla="*/ 2051185 w 2427462"/>
              <a:gd name="connsiteY7" fmla="*/ 353444 h 2496364"/>
              <a:gd name="connsiteX8" fmla="*/ 2051185 w 2427462"/>
              <a:gd name="connsiteY8" fmla="*/ 434897 h 2496364"/>
              <a:gd name="connsiteX9" fmla="*/ 1956204 w 2427462"/>
              <a:gd name="connsiteY9" fmla="*/ 352984 h 2496364"/>
              <a:gd name="connsiteX10" fmla="*/ 1956204 w 2427462"/>
              <a:gd name="connsiteY10" fmla="*/ 224715 h 2496364"/>
              <a:gd name="connsiteX11" fmla="*/ 1884401 w 2427462"/>
              <a:gd name="connsiteY11" fmla="*/ 224715 h 2496364"/>
              <a:gd name="connsiteX12" fmla="*/ 1884401 w 2427462"/>
              <a:gd name="connsiteY12" fmla="*/ 301027 h 2496364"/>
              <a:gd name="connsiteX13" fmla="*/ 1814350 w 2427462"/>
              <a:gd name="connsiteY13" fmla="*/ 257945 h 2496364"/>
              <a:gd name="connsiteX14" fmla="*/ 1814350 w 2427462"/>
              <a:gd name="connsiteY14" fmla="*/ 172040 h 2496364"/>
              <a:gd name="connsiteX15" fmla="*/ 1742546 w 2427462"/>
              <a:gd name="connsiteY15" fmla="*/ 172040 h 2496364"/>
              <a:gd name="connsiteX16" fmla="*/ 1742546 w 2427462"/>
              <a:gd name="connsiteY16" fmla="*/ 219717 h 2496364"/>
              <a:gd name="connsiteX17" fmla="*/ 1684616 w 2427462"/>
              <a:gd name="connsiteY17" fmla="*/ 193294 h 2496364"/>
              <a:gd name="connsiteX18" fmla="*/ 1684616 w 2427462"/>
              <a:gd name="connsiteY18" fmla="*/ 138465 h 2496364"/>
              <a:gd name="connsiteX19" fmla="*/ 1612813 w 2427462"/>
              <a:gd name="connsiteY19" fmla="*/ 138465 h 2496364"/>
              <a:gd name="connsiteX20" fmla="*/ 1612813 w 2427462"/>
              <a:gd name="connsiteY20" fmla="*/ 165894 h 2496364"/>
              <a:gd name="connsiteX21" fmla="*/ 1543795 w 2427462"/>
              <a:gd name="connsiteY21" fmla="*/ 144152 h 2496364"/>
              <a:gd name="connsiteX22" fmla="*/ 1543795 w 2427462"/>
              <a:gd name="connsiteY22" fmla="*/ 4509 h 2496364"/>
              <a:gd name="connsiteX23" fmla="*/ 1471992 w 2427462"/>
              <a:gd name="connsiteY23" fmla="*/ 4509 h 2496364"/>
              <a:gd name="connsiteX24" fmla="*/ 1471992 w 2427462"/>
              <a:gd name="connsiteY24" fmla="*/ 126058 h 2496364"/>
              <a:gd name="connsiteX25" fmla="*/ 1243084 w 2427462"/>
              <a:gd name="connsiteY25" fmla="*/ 98801 h 2496364"/>
              <a:gd name="connsiteX26" fmla="*/ 1243084 w 2427462"/>
              <a:gd name="connsiteY26" fmla="*/ 0 h 2496364"/>
              <a:gd name="connsiteX27" fmla="*/ 1171281 w 2427462"/>
              <a:gd name="connsiteY27" fmla="*/ 0 h 2496364"/>
              <a:gd name="connsiteX28" fmla="*/ 1171281 w 2427462"/>
              <a:gd name="connsiteY28" fmla="*/ 99117 h 2496364"/>
              <a:gd name="connsiteX29" fmla="*/ 958973 w 2427462"/>
              <a:gd name="connsiteY29" fmla="*/ 125110 h 2496364"/>
              <a:gd name="connsiteX30" fmla="*/ 958973 w 2427462"/>
              <a:gd name="connsiteY30" fmla="*/ 0 h 2496364"/>
              <a:gd name="connsiteX31" fmla="*/ 887170 w 2427462"/>
              <a:gd name="connsiteY31" fmla="*/ 0 h 2496364"/>
              <a:gd name="connsiteX32" fmla="*/ 887170 w 2427462"/>
              <a:gd name="connsiteY32" fmla="*/ 142974 h 2496364"/>
              <a:gd name="connsiteX33" fmla="*/ 817493 w 2427462"/>
              <a:gd name="connsiteY33" fmla="*/ 164745 h 2496364"/>
              <a:gd name="connsiteX34" fmla="*/ 817493 w 2427462"/>
              <a:gd name="connsiteY34" fmla="*/ 133956 h 2496364"/>
              <a:gd name="connsiteX35" fmla="*/ 745690 w 2427462"/>
              <a:gd name="connsiteY35" fmla="*/ 133956 h 2496364"/>
              <a:gd name="connsiteX36" fmla="*/ 745690 w 2427462"/>
              <a:gd name="connsiteY36" fmla="*/ 191944 h 2496364"/>
              <a:gd name="connsiteX37" fmla="*/ 687156 w 2427462"/>
              <a:gd name="connsiteY37" fmla="*/ 218253 h 2496364"/>
              <a:gd name="connsiteX38" fmla="*/ 687156 w 2427462"/>
              <a:gd name="connsiteY38" fmla="*/ 167560 h 2496364"/>
              <a:gd name="connsiteX39" fmla="*/ 615353 w 2427462"/>
              <a:gd name="connsiteY39" fmla="*/ 167560 h 2496364"/>
              <a:gd name="connsiteX40" fmla="*/ 615353 w 2427462"/>
              <a:gd name="connsiteY40" fmla="*/ 256337 h 2496364"/>
              <a:gd name="connsiteX41" fmla="*/ 544641 w 2427462"/>
              <a:gd name="connsiteY41" fmla="*/ 299706 h 2496364"/>
              <a:gd name="connsiteX42" fmla="*/ 544641 w 2427462"/>
              <a:gd name="connsiteY42" fmla="*/ 220206 h 2496364"/>
              <a:gd name="connsiteX43" fmla="*/ 472838 w 2427462"/>
              <a:gd name="connsiteY43" fmla="*/ 220206 h 2496364"/>
              <a:gd name="connsiteX44" fmla="*/ 472838 w 2427462"/>
              <a:gd name="connsiteY44" fmla="*/ 351261 h 2496364"/>
              <a:gd name="connsiteX45" fmla="*/ 377110 w 2427462"/>
              <a:gd name="connsiteY45" fmla="*/ 433547 h 2496364"/>
              <a:gd name="connsiteX46" fmla="*/ 377110 w 2427462"/>
              <a:gd name="connsiteY46" fmla="*/ 348906 h 2496364"/>
              <a:gd name="connsiteX47" fmla="*/ 305307 w 2427462"/>
              <a:gd name="connsiteY47" fmla="*/ 348906 h 2496364"/>
              <a:gd name="connsiteX48" fmla="*/ 305307 w 2427462"/>
              <a:gd name="connsiteY48" fmla="*/ 507906 h 2496364"/>
              <a:gd name="connsiteX49" fmla="*/ 223940 w 2427462"/>
              <a:gd name="connsiteY49" fmla="*/ 610441 h 2496364"/>
              <a:gd name="connsiteX50" fmla="*/ 223940 w 2427462"/>
              <a:gd name="connsiteY50" fmla="*/ 512186 h 2496364"/>
              <a:gd name="connsiteX51" fmla="*/ 152136 w 2427462"/>
              <a:gd name="connsiteY51" fmla="*/ 512186 h 2496364"/>
              <a:gd name="connsiteX52" fmla="*/ 152136 w 2427462"/>
              <a:gd name="connsiteY52" fmla="*/ 722741 h 2496364"/>
              <a:gd name="connsiteX53" fmla="*/ 152912 w 2427462"/>
              <a:gd name="connsiteY53" fmla="*/ 722741 h 2496364"/>
              <a:gd name="connsiteX54" fmla="*/ 0 w 2427462"/>
              <a:gd name="connsiteY54" fmla="*/ 1311527 h 2496364"/>
              <a:gd name="connsiteX55" fmla="*/ 37740 w 2427462"/>
              <a:gd name="connsiteY55" fmla="*/ 1347428 h 2496364"/>
              <a:gd name="connsiteX56" fmla="*/ 73440 w 2427462"/>
              <a:gd name="connsiteY56" fmla="*/ 1315375 h 2496364"/>
              <a:gd name="connsiteX57" fmla="*/ 429210 w 2427462"/>
              <a:gd name="connsiteY57" fmla="*/ 1039565 h 2496364"/>
              <a:gd name="connsiteX58" fmla="*/ 781246 w 2427462"/>
              <a:gd name="connsiteY58" fmla="*/ 1292657 h 2496364"/>
              <a:gd name="connsiteX59" fmla="*/ 816459 w 2427462"/>
              <a:gd name="connsiteY59" fmla="*/ 1321579 h 2496364"/>
              <a:gd name="connsiteX60" fmla="*/ 851671 w 2427462"/>
              <a:gd name="connsiteY60" fmla="*/ 1292657 h 2496364"/>
              <a:gd name="connsiteX61" fmla="*/ 1171281 w 2427462"/>
              <a:gd name="connsiteY61" fmla="*/ 1040800 h 2496364"/>
              <a:gd name="connsiteX62" fmla="*/ 1171281 w 2427462"/>
              <a:gd name="connsiteY62" fmla="*/ 1175158 h 2496364"/>
              <a:gd name="connsiteX63" fmla="*/ 1147414 w 2427462"/>
              <a:gd name="connsiteY63" fmla="*/ 1175158 h 2496364"/>
              <a:gd name="connsiteX64" fmla="*/ 1111512 w 2427462"/>
              <a:gd name="connsiteY64" fmla="*/ 1211060 h 2496364"/>
              <a:gd name="connsiteX65" fmla="*/ 1147414 w 2427462"/>
              <a:gd name="connsiteY65" fmla="*/ 1246961 h 2496364"/>
              <a:gd name="connsiteX66" fmla="*/ 1171281 w 2427462"/>
              <a:gd name="connsiteY66" fmla="*/ 1246961 h 2496364"/>
              <a:gd name="connsiteX67" fmla="*/ 1171281 w 2427462"/>
              <a:gd name="connsiteY67" fmla="*/ 2137320 h 2496364"/>
              <a:gd name="connsiteX68" fmla="*/ 1147414 w 2427462"/>
              <a:gd name="connsiteY68" fmla="*/ 2137320 h 2496364"/>
              <a:gd name="connsiteX69" fmla="*/ 1111512 w 2427462"/>
              <a:gd name="connsiteY69" fmla="*/ 2173221 h 2496364"/>
              <a:gd name="connsiteX70" fmla="*/ 1147414 w 2427462"/>
              <a:gd name="connsiteY70" fmla="*/ 2209123 h 2496364"/>
              <a:gd name="connsiteX71" fmla="*/ 1171281 w 2427462"/>
              <a:gd name="connsiteY71" fmla="*/ 2209123 h 2496364"/>
              <a:gd name="connsiteX72" fmla="*/ 1171281 w 2427462"/>
              <a:gd name="connsiteY72" fmla="*/ 2345578 h 2496364"/>
              <a:gd name="connsiteX73" fmla="*/ 1092298 w 2427462"/>
              <a:gd name="connsiteY73" fmla="*/ 2424561 h 2496364"/>
              <a:gd name="connsiteX74" fmla="*/ 1013314 w 2427462"/>
              <a:gd name="connsiteY74" fmla="*/ 2345578 h 2496364"/>
              <a:gd name="connsiteX75" fmla="*/ 1092298 w 2427462"/>
              <a:gd name="connsiteY75" fmla="*/ 2496364 h 2496364"/>
              <a:gd name="connsiteX76" fmla="*/ 1243084 w 2427462"/>
              <a:gd name="connsiteY76" fmla="*/ 2345578 h 2496364"/>
              <a:gd name="connsiteX77" fmla="*/ 1243084 w 2427462"/>
              <a:gd name="connsiteY77" fmla="*/ 2209152 h 2496364"/>
              <a:gd name="connsiteX78" fmla="*/ 1275912 w 2427462"/>
              <a:gd name="connsiteY78" fmla="*/ 2209152 h 2496364"/>
              <a:gd name="connsiteX79" fmla="*/ 1311814 w 2427462"/>
              <a:gd name="connsiteY79" fmla="*/ 2173250 h 2496364"/>
              <a:gd name="connsiteX80" fmla="*/ 1275912 w 2427462"/>
              <a:gd name="connsiteY80" fmla="*/ 2137349 h 2496364"/>
              <a:gd name="connsiteX81" fmla="*/ 1243084 w 2427462"/>
              <a:gd name="connsiteY81" fmla="*/ 2137349 h 2496364"/>
              <a:gd name="connsiteX82" fmla="*/ 1243084 w 2427462"/>
              <a:gd name="connsiteY82" fmla="*/ 1246990 h 2496364"/>
              <a:gd name="connsiteX83" fmla="*/ 1275912 w 2427462"/>
              <a:gd name="connsiteY83" fmla="*/ 1246990 h 2496364"/>
              <a:gd name="connsiteX84" fmla="*/ 1311814 w 2427462"/>
              <a:gd name="connsiteY84" fmla="*/ 1211089 h 2496364"/>
              <a:gd name="connsiteX85" fmla="*/ 1275912 w 2427462"/>
              <a:gd name="connsiteY85" fmla="*/ 1175187 h 2496364"/>
              <a:gd name="connsiteX86" fmla="*/ 1243084 w 2427462"/>
              <a:gd name="connsiteY86" fmla="*/ 1175187 h 2496364"/>
              <a:gd name="connsiteX87" fmla="*/ 1243084 w 2427462"/>
              <a:gd name="connsiteY87" fmla="*/ 1041576 h 2496364"/>
              <a:gd name="connsiteX88" fmla="*/ 1559449 w 2427462"/>
              <a:gd name="connsiteY88" fmla="*/ 1315404 h 2496364"/>
              <a:gd name="connsiteX89" fmla="*/ 1595149 w 2427462"/>
              <a:gd name="connsiteY89" fmla="*/ 1347457 h 2496364"/>
              <a:gd name="connsiteX90" fmla="*/ 1606207 w 2427462"/>
              <a:gd name="connsiteY90" fmla="*/ 1347457 h 2496364"/>
              <a:gd name="connsiteX91" fmla="*/ 1641907 w 2427462"/>
              <a:gd name="connsiteY91" fmla="*/ 1315404 h 2496364"/>
              <a:gd name="connsiteX92" fmla="*/ 1997706 w 2427462"/>
              <a:gd name="connsiteY92" fmla="*/ 1039594 h 2496364"/>
              <a:gd name="connsiteX93" fmla="*/ 2353447 w 2427462"/>
              <a:gd name="connsiteY93" fmla="*/ 1315404 h 2496364"/>
              <a:gd name="connsiteX94" fmla="*/ 2389148 w 2427462"/>
              <a:gd name="connsiteY94" fmla="*/ 1347457 h 2496364"/>
              <a:gd name="connsiteX95" fmla="*/ 2390986 w 2427462"/>
              <a:gd name="connsiteY95" fmla="*/ 1347457 h 2496364"/>
              <a:gd name="connsiteX96" fmla="*/ 2391560 w 2427462"/>
              <a:gd name="connsiteY96" fmla="*/ 1347457 h 2496364"/>
              <a:gd name="connsiteX97" fmla="*/ 2427462 w 2427462"/>
              <a:gd name="connsiteY97" fmla="*/ 1311556 h 2496364"/>
              <a:gd name="connsiteX98" fmla="*/ 2426859 w 2427462"/>
              <a:gd name="connsiteY98" fmla="*/ 1305036 h 2496364"/>
              <a:gd name="connsiteX99" fmla="*/ 88978 w 2427462"/>
              <a:gd name="connsiteY99" fmla="*/ 1113465 h 2496364"/>
              <a:gd name="connsiteX100" fmla="*/ 920889 w 2427462"/>
              <a:gd name="connsiteY100" fmla="*/ 208057 h 2496364"/>
              <a:gd name="connsiteX101" fmla="*/ 393050 w 2427462"/>
              <a:gd name="connsiteY101" fmla="*/ 969629 h 2496364"/>
              <a:gd name="connsiteX102" fmla="*/ 88978 w 2427462"/>
              <a:gd name="connsiteY102" fmla="*/ 1113465 h 2496364"/>
              <a:gd name="connsiteX103" fmla="*/ 467237 w 2427462"/>
              <a:gd name="connsiteY103" fmla="*/ 969399 h 2496364"/>
              <a:gd name="connsiteX104" fmla="*/ 1122800 w 2427462"/>
              <a:gd name="connsiteY104" fmla="*/ 201077 h 2496364"/>
              <a:gd name="connsiteX105" fmla="*/ 790409 w 2427462"/>
              <a:gd name="connsiteY105" fmla="*/ 1140635 h 2496364"/>
              <a:gd name="connsiteX106" fmla="*/ 467237 w 2427462"/>
              <a:gd name="connsiteY106" fmla="*/ 969399 h 2496364"/>
              <a:gd name="connsiteX107" fmla="*/ 863217 w 2427462"/>
              <a:gd name="connsiteY107" fmla="*/ 1114556 h 2496364"/>
              <a:gd name="connsiteX108" fmla="*/ 1171281 w 2427462"/>
              <a:gd name="connsiteY108" fmla="*/ 255418 h 2496364"/>
              <a:gd name="connsiteX109" fmla="*/ 1171281 w 2427462"/>
              <a:gd name="connsiteY109" fmla="*/ 968882 h 2496364"/>
              <a:gd name="connsiteX110" fmla="*/ 863217 w 2427462"/>
              <a:gd name="connsiteY110" fmla="*/ 1114556 h 2496364"/>
              <a:gd name="connsiteX111" fmla="*/ 1243084 w 2427462"/>
              <a:gd name="connsiteY111" fmla="*/ 969514 h 2496364"/>
              <a:gd name="connsiteX112" fmla="*/ 1243084 w 2427462"/>
              <a:gd name="connsiteY112" fmla="*/ 244849 h 2496364"/>
              <a:gd name="connsiteX113" fmla="*/ 1560368 w 2427462"/>
              <a:gd name="connsiteY113" fmla="*/ 1133886 h 2496364"/>
              <a:gd name="connsiteX114" fmla="*/ 1243084 w 2427462"/>
              <a:gd name="connsiteY114" fmla="*/ 969514 h 2496364"/>
              <a:gd name="connsiteX115" fmla="*/ 1632659 w 2427462"/>
              <a:gd name="connsiteY115" fmla="*/ 1145173 h 2496364"/>
              <a:gd name="connsiteX116" fmla="*/ 1300096 w 2427462"/>
              <a:gd name="connsiteY116" fmla="*/ 201077 h 2496364"/>
              <a:gd name="connsiteX117" fmla="*/ 1955744 w 2427462"/>
              <a:gd name="connsiteY117" fmla="*/ 969773 h 2496364"/>
              <a:gd name="connsiteX118" fmla="*/ 1632659 w 2427462"/>
              <a:gd name="connsiteY118" fmla="*/ 1145173 h 2496364"/>
              <a:gd name="connsiteX119" fmla="*/ 2029759 w 2427462"/>
              <a:gd name="connsiteY119" fmla="*/ 969428 h 2496364"/>
              <a:gd name="connsiteX120" fmla="*/ 1498789 w 2427462"/>
              <a:gd name="connsiteY120" fmla="*/ 206247 h 2496364"/>
              <a:gd name="connsiteX121" fmla="*/ 2337909 w 2427462"/>
              <a:gd name="connsiteY121" fmla="*/ 1113465 h 2496364"/>
              <a:gd name="connsiteX122" fmla="*/ 2029759 w 2427462"/>
              <a:gd name="connsiteY122" fmla="*/ 969428 h 2496364"/>
              <a:gd name="connsiteX0" fmla="*/ 2426859 w 2427462"/>
              <a:gd name="connsiteY0" fmla="*/ 1305036 h 2498232"/>
              <a:gd name="connsiteX1" fmla="*/ 2275440 w 2427462"/>
              <a:gd name="connsiteY1" fmla="*/ 725154 h 2498232"/>
              <a:gd name="connsiteX2" fmla="*/ 2275440 w 2427462"/>
              <a:gd name="connsiteY2" fmla="*/ 516753 h 2498232"/>
              <a:gd name="connsiteX3" fmla="*/ 2203637 w 2427462"/>
              <a:gd name="connsiteY3" fmla="*/ 516753 h 2498232"/>
              <a:gd name="connsiteX4" fmla="*/ 2203637 w 2427462"/>
              <a:gd name="connsiteY4" fmla="*/ 611418 h 2498232"/>
              <a:gd name="connsiteX5" fmla="*/ 2122988 w 2427462"/>
              <a:gd name="connsiteY5" fmla="*/ 509601 h 2498232"/>
              <a:gd name="connsiteX6" fmla="*/ 2122988 w 2427462"/>
              <a:gd name="connsiteY6" fmla="*/ 353444 h 2498232"/>
              <a:gd name="connsiteX7" fmla="*/ 2051185 w 2427462"/>
              <a:gd name="connsiteY7" fmla="*/ 353444 h 2498232"/>
              <a:gd name="connsiteX8" fmla="*/ 2051185 w 2427462"/>
              <a:gd name="connsiteY8" fmla="*/ 434897 h 2498232"/>
              <a:gd name="connsiteX9" fmla="*/ 1956204 w 2427462"/>
              <a:gd name="connsiteY9" fmla="*/ 352984 h 2498232"/>
              <a:gd name="connsiteX10" fmla="*/ 1956204 w 2427462"/>
              <a:gd name="connsiteY10" fmla="*/ 224715 h 2498232"/>
              <a:gd name="connsiteX11" fmla="*/ 1884401 w 2427462"/>
              <a:gd name="connsiteY11" fmla="*/ 224715 h 2498232"/>
              <a:gd name="connsiteX12" fmla="*/ 1884401 w 2427462"/>
              <a:gd name="connsiteY12" fmla="*/ 301027 h 2498232"/>
              <a:gd name="connsiteX13" fmla="*/ 1814350 w 2427462"/>
              <a:gd name="connsiteY13" fmla="*/ 257945 h 2498232"/>
              <a:gd name="connsiteX14" fmla="*/ 1814350 w 2427462"/>
              <a:gd name="connsiteY14" fmla="*/ 172040 h 2498232"/>
              <a:gd name="connsiteX15" fmla="*/ 1742546 w 2427462"/>
              <a:gd name="connsiteY15" fmla="*/ 172040 h 2498232"/>
              <a:gd name="connsiteX16" fmla="*/ 1742546 w 2427462"/>
              <a:gd name="connsiteY16" fmla="*/ 219717 h 2498232"/>
              <a:gd name="connsiteX17" fmla="*/ 1684616 w 2427462"/>
              <a:gd name="connsiteY17" fmla="*/ 193294 h 2498232"/>
              <a:gd name="connsiteX18" fmla="*/ 1684616 w 2427462"/>
              <a:gd name="connsiteY18" fmla="*/ 138465 h 2498232"/>
              <a:gd name="connsiteX19" fmla="*/ 1612813 w 2427462"/>
              <a:gd name="connsiteY19" fmla="*/ 138465 h 2498232"/>
              <a:gd name="connsiteX20" fmla="*/ 1612813 w 2427462"/>
              <a:gd name="connsiteY20" fmla="*/ 165894 h 2498232"/>
              <a:gd name="connsiteX21" fmla="*/ 1543795 w 2427462"/>
              <a:gd name="connsiteY21" fmla="*/ 144152 h 2498232"/>
              <a:gd name="connsiteX22" fmla="*/ 1543795 w 2427462"/>
              <a:gd name="connsiteY22" fmla="*/ 4509 h 2498232"/>
              <a:gd name="connsiteX23" fmla="*/ 1471992 w 2427462"/>
              <a:gd name="connsiteY23" fmla="*/ 4509 h 2498232"/>
              <a:gd name="connsiteX24" fmla="*/ 1471992 w 2427462"/>
              <a:gd name="connsiteY24" fmla="*/ 126058 h 2498232"/>
              <a:gd name="connsiteX25" fmla="*/ 1243084 w 2427462"/>
              <a:gd name="connsiteY25" fmla="*/ 98801 h 2498232"/>
              <a:gd name="connsiteX26" fmla="*/ 1243084 w 2427462"/>
              <a:gd name="connsiteY26" fmla="*/ 0 h 2498232"/>
              <a:gd name="connsiteX27" fmla="*/ 1171281 w 2427462"/>
              <a:gd name="connsiteY27" fmla="*/ 0 h 2498232"/>
              <a:gd name="connsiteX28" fmla="*/ 1171281 w 2427462"/>
              <a:gd name="connsiteY28" fmla="*/ 99117 h 2498232"/>
              <a:gd name="connsiteX29" fmla="*/ 958973 w 2427462"/>
              <a:gd name="connsiteY29" fmla="*/ 125110 h 2498232"/>
              <a:gd name="connsiteX30" fmla="*/ 958973 w 2427462"/>
              <a:gd name="connsiteY30" fmla="*/ 0 h 2498232"/>
              <a:gd name="connsiteX31" fmla="*/ 887170 w 2427462"/>
              <a:gd name="connsiteY31" fmla="*/ 0 h 2498232"/>
              <a:gd name="connsiteX32" fmla="*/ 887170 w 2427462"/>
              <a:gd name="connsiteY32" fmla="*/ 142974 h 2498232"/>
              <a:gd name="connsiteX33" fmla="*/ 817493 w 2427462"/>
              <a:gd name="connsiteY33" fmla="*/ 164745 h 2498232"/>
              <a:gd name="connsiteX34" fmla="*/ 817493 w 2427462"/>
              <a:gd name="connsiteY34" fmla="*/ 133956 h 2498232"/>
              <a:gd name="connsiteX35" fmla="*/ 745690 w 2427462"/>
              <a:gd name="connsiteY35" fmla="*/ 133956 h 2498232"/>
              <a:gd name="connsiteX36" fmla="*/ 745690 w 2427462"/>
              <a:gd name="connsiteY36" fmla="*/ 191944 h 2498232"/>
              <a:gd name="connsiteX37" fmla="*/ 687156 w 2427462"/>
              <a:gd name="connsiteY37" fmla="*/ 218253 h 2498232"/>
              <a:gd name="connsiteX38" fmla="*/ 687156 w 2427462"/>
              <a:gd name="connsiteY38" fmla="*/ 167560 h 2498232"/>
              <a:gd name="connsiteX39" fmla="*/ 615353 w 2427462"/>
              <a:gd name="connsiteY39" fmla="*/ 167560 h 2498232"/>
              <a:gd name="connsiteX40" fmla="*/ 615353 w 2427462"/>
              <a:gd name="connsiteY40" fmla="*/ 256337 h 2498232"/>
              <a:gd name="connsiteX41" fmla="*/ 544641 w 2427462"/>
              <a:gd name="connsiteY41" fmla="*/ 299706 h 2498232"/>
              <a:gd name="connsiteX42" fmla="*/ 544641 w 2427462"/>
              <a:gd name="connsiteY42" fmla="*/ 220206 h 2498232"/>
              <a:gd name="connsiteX43" fmla="*/ 472838 w 2427462"/>
              <a:gd name="connsiteY43" fmla="*/ 220206 h 2498232"/>
              <a:gd name="connsiteX44" fmla="*/ 472838 w 2427462"/>
              <a:gd name="connsiteY44" fmla="*/ 351261 h 2498232"/>
              <a:gd name="connsiteX45" fmla="*/ 377110 w 2427462"/>
              <a:gd name="connsiteY45" fmla="*/ 433547 h 2498232"/>
              <a:gd name="connsiteX46" fmla="*/ 377110 w 2427462"/>
              <a:gd name="connsiteY46" fmla="*/ 348906 h 2498232"/>
              <a:gd name="connsiteX47" fmla="*/ 305307 w 2427462"/>
              <a:gd name="connsiteY47" fmla="*/ 348906 h 2498232"/>
              <a:gd name="connsiteX48" fmla="*/ 305307 w 2427462"/>
              <a:gd name="connsiteY48" fmla="*/ 507906 h 2498232"/>
              <a:gd name="connsiteX49" fmla="*/ 223940 w 2427462"/>
              <a:gd name="connsiteY49" fmla="*/ 610441 h 2498232"/>
              <a:gd name="connsiteX50" fmla="*/ 223940 w 2427462"/>
              <a:gd name="connsiteY50" fmla="*/ 512186 h 2498232"/>
              <a:gd name="connsiteX51" fmla="*/ 152136 w 2427462"/>
              <a:gd name="connsiteY51" fmla="*/ 512186 h 2498232"/>
              <a:gd name="connsiteX52" fmla="*/ 152136 w 2427462"/>
              <a:gd name="connsiteY52" fmla="*/ 722741 h 2498232"/>
              <a:gd name="connsiteX53" fmla="*/ 152912 w 2427462"/>
              <a:gd name="connsiteY53" fmla="*/ 722741 h 2498232"/>
              <a:gd name="connsiteX54" fmla="*/ 0 w 2427462"/>
              <a:gd name="connsiteY54" fmla="*/ 1311527 h 2498232"/>
              <a:gd name="connsiteX55" fmla="*/ 37740 w 2427462"/>
              <a:gd name="connsiteY55" fmla="*/ 1347428 h 2498232"/>
              <a:gd name="connsiteX56" fmla="*/ 73440 w 2427462"/>
              <a:gd name="connsiteY56" fmla="*/ 1315375 h 2498232"/>
              <a:gd name="connsiteX57" fmla="*/ 429210 w 2427462"/>
              <a:gd name="connsiteY57" fmla="*/ 1039565 h 2498232"/>
              <a:gd name="connsiteX58" fmla="*/ 781246 w 2427462"/>
              <a:gd name="connsiteY58" fmla="*/ 1292657 h 2498232"/>
              <a:gd name="connsiteX59" fmla="*/ 816459 w 2427462"/>
              <a:gd name="connsiteY59" fmla="*/ 1321579 h 2498232"/>
              <a:gd name="connsiteX60" fmla="*/ 851671 w 2427462"/>
              <a:gd name="connsiteY60" fmla="*/ 1292657 h 2498232"/>
              <a:gd name="connsiteX61" fmla="*/ 1171281 w 2427462"/>
              <a:gd name="connsiteY61" fmla="*/ 1040800 h 2498232"/>
              <a:gd name="connsiteX62" fmla="*/ 1171281 w 2427462"/>
              <a:gd name="connsiteY62" fmla="*/ 1175158 h 2498232"/>
              <a:gd name="connsiteX63" fmla="*/ 1147414 w 2427462"/>
              <a:gd name="connsiteY63" fmla="*/ 1175158 h 2498232"/>
              <a:gd name="connsiteX64" fmla="*/ 1111512 w 2427462"/>
              <a:gd name="connsiteY64" fmla="*/ 1211060 h 2498232"/>
              <a:gd name="connsiteX65" fmla="*/ 1147414 w 2427462"/>
              <a:gd name="connsiteY65" fmla="*/ 1246961 h 2498232"/>
              <a:gd name="connsiteX66" fmla="*/ 1171281 w 2427462"/>
              <a:gd name="connsiteY66" fmla="*/ 1246961 h 2498232"/>
              <a:gd name="connsiteX67" fmla="*/ 1171281 w 2427462"/>
              <a:gd name="connsiteY67" fmla="*/ 2137320 h 2498232"/>
              <a:gd name="connsiteX68" fmla="*/ 1147414 w 2427462"/>
              <a:gd name="connsiteY68" fmla="*/ 2137320 h 2498232"/>
              <a:gd name="connsiteX69" fmla="*/ 1111512 w 2427462"/>
              <a:gd name="connsiteY69" fmla="*/ 2173221 h 2498232"/>
              <a:gd name="connsiteX70" fmla="*/ 1147414 w 2427462"/>
              <a:gd name="connsiteY70" fmla="*/ 2209123 h 2498232"/>
              <a:gd name="connsiteX71" fmla="*/ 1171281 w 2427462"/>
              <a:gd name="connsiteY71" fmla="*/ 2209123 h 2498232"/>
              <a:gd name="connsiteX72" fmla="*/ 1171281 w 2427462"/>
              <a:gd name="connsiteY72" fmla="*/ 2345578 h 2498232"/>
              <a:gd name="connsiteX73" fmla="*/ 1092298 w 2427462"/>
              <a:gd name="connsiteY73" fmla="*/ 2424561 h 2498232"/>
              <a:gd name="connsiteX74" fmla="*/ 1092298 w 2427462"/>
              <a:gd name="connsiteY74" fmla="*/ 2496364 h 2498232"/>
              <a:gd name="connsiteX75" fmla="*/ 1243084 w 2427462"/>
              <a:gd name="connsiteY75" fmla="*/ 2345578 h 2498232"/>
              <a:gd name="connsiteX76" fmla="*/ 1243084 w 2427462"/>
              <a:gd name="connsiteY76" fmla="*/ 2209152 h 2498232"/>
              <a:gd name="connsiteX77" fmla="*/ 1275912 w 2427462"/>
              <a:gd name="connsiteY77" fmla="*/ 2209152 h 2498232"/>
              <a:gd name="connsiteX78" fmla="*/ 1311814 w 2427462"/>
              <a:gd name="connsiteY78" fmla="*/ 2173250 h 2498232"/>
              <a:gd name="connsiteX79" fmla="*/ 1275912 w 2427462"/>
              <a:gd name="connsiteY79" fmla="*/ 2137349 h 2498232"/>
              <a:gd name="connsiteX80" fmla="*/ 1243084 w 2427462"/>
              <a:gd name="connsiteY80" fmla="*/ 2137349 h 2498232"/>
              <a:gd name="connsiteX81" fmla="*/ 1243084 w 2427462"/>
              <a:gd name="connsiteY81" fmla="*/ 1246990 h 2498232"/>
              <a:gd name="connsiteX82" fmla="*/ 1275912 w 2427462"/>
              <a:gd name="connsiteY82" fmla="*/ 1246990 h 2498232"/>
              <a:gd name="connsiteX83" fmla="*/ 1311814 w 2427462"/>
              <a:gd name="connsiteY83" fmla="*/ 1211089 h 2498232"/>
              <a:gd name="connsiteX84" fmla="*/ 1275912 w 2427462"/>
              <a:gd name="connsiteY84" fmla="*/ 1175187 h 2498232"/>
              <a:gd name="connsiteX85" fmla="*/ 1243084 w 2427462"/>
              <a:gd name="connsiteY85" fmla="*/ 1175187 h 2498232"/>
              <a:gd name="connsiteX86" fmla="*/ 1243084 w 2427462"/>
              <a:gd name="connsiteY86" fmla="*/ 1041576 h 2498232"/>
              <a:gd name="connsiteX87" fmla="*/ 1559449 w 2427462"/>
              <a:gd name="connsiteY87" fmla="*/ 1315404 h 2498232"/>
              <a:gd name="connsiteX88" fmla="*/ 1595149 w 2427462"/>
              <a:gd name="connsiteY88" fmla="*/ 1347457 h 2498232"/>
              <a:gd name="connsiteX89" fmla="*/ 1606207 w 2427462"/>
              <a:gd name="connsiteY89" fmla="*/ 1347457 h 2498232"/>
              <a:gd name="connsiteX90" fmla="*/ 1641907 w 2427462"/>
              <a:gd name="connsiteY90" fmla="*/ 1315404 h 2498232"/>
              <a:gd name="connsiteX91" fmla="*/ 1997706 w 2427462"/>
              <a:gd name="connsiteY91" fmla="*/ 1039594 h 2498232"/>
              <a:gd name="connsiteX92" fmla="*/ 2353447 w 2427462"/>
              <a:gd name="connsiteY92" fmla="*/ 1315404 h 2498232"/>
              <a:gd name="connsiteX93" fmla="*/ 2389148 w 2427462"/>
              <a:gd name="connsiteY93" fmla="*/ 1347457 h 2498232"/>
              <a:gd name="connsiteX94" fmla="*/ 2390986 w 2427462"/>
              <a:gd name="connsiteY94" fmla="*/ 1347457 h 2498232"/>
              <a:gd name="connsiteX95" fmla="*/ 2391560 w 2427462"/>
              <a:gd name="connsiteY95" fmla="*/ 1347457 h 2498232"/>
              <a:gd name="connsiteX96" fmla="*/ 2427462 w 2427462"/>
              <a:gd name="connsiteY96" fmla="*/ 1311556 h 2498232"/>
              <a:gd name="connsiteX97" fmla="*/ 2426859 w 2427462"/>
              <a:gd name="connsiteY97" fmla="*/ 1305036 h 2498232"/>
              <a:gd name="connsiteX98" fmla="*/ 88978 w 2427462"/>
              <a:gd name="connsiteY98" fmla="*/ 1113465 h 2498232"/>
              <a:gd name="connsiteX99" fmla="*/ 920889 w 2427462"/>
              <a:gd name="connsiteY99" fmla="*/ 208057 h 2498232"/>
              <a:gd name="connsiteX100" fmla="*/ 393050 w 2427462"/>
              <a:gd name="connsiteY100" fmla="*/ 969629 h 2498232"/>
              <a:gd name="connsiteX101" fmla="*/ 88978 w 2427462"/>
              <a:gd name="connsiteY101" fmla="*/ 1113465 h 2498232"/>
              <a:gd name="connsiteX102" fmla="*/ 467237 w 2427462"/>
              <a:gd name="connsiteY102" fmla="*/ 969399 h 2498232"/>
              <a:gd name="connsiteX103" fmla="*/ 1122800 w 2427462"/>
              <a:gd name="connsiteY103" fmla="*/ 201077 h 2498232"/>
              <a:gd name="connsiteX104" fmla="*/ 790409 w 2427462"/>
              <a:gd name="connsiteY104" fmla="*/ 1140635 h 2498232"/>
              <a:gd name="connsiteX105" fmla="*/ 467237 w 2427462"/>
              <a:gd name="connsiteY105" fmla="*/ 969399 h 2498232"/>
              <a:gd name="connsiteX106" fmla="*/ 863217 w 2427462"/>
              <a:gd name="connsiteY106" fmla="*/ 1114556 h 2498232"/>
              <a:gd name="connsiteX107" fmla="*/ 1171281 w 2427462"/>
              <a:gd name="connsiteY107" fmla="*/ 255418 h 2498232"/>
              <a:gd name="connsiteX108" fmla="*/ 1171281 w 2427462"/>
              <a:gd name="connsiteY108" fmla="*/ 968882 h 2498232"/>
              <a:gd name="connsiteX109" fmla="*/ 863217 w 2427462"/>
              <a:gd name="connsiteY109" fmla="*/ 1114556 h 2498232"/>
              <a:gd name="connsiteX110" fmla="*/ 1243084 w 2427462"/>
              <a:gd name="connsiteY110" fmla="*/ 969514 h 2498232"/>
              <a:gd name="connsiteX111" fmla="*/ 1243084 w 2427462"/>
              <a:gd name="connsiteY111" fmla="*/ 244849 h 2498232"/>
              <a:gd name="connsiteX112" fmla="*/ 1560368 w 2427462"/>
              <a:gd name="connsiteY112" fmla="*/ 1133886 h 2498232"/>
              <a:gd name="connsiteX113" fmla="*/ 1243084 w 2427462"/>
              <a:gd name="connsiteY113" fmla="*/ 969514 h 2498232"/>
              <a:gd name="connsiteX114" fmla="*/ 1632659 w 2427462"/>
              <a:gd name="connsiteY114" fmla="*/ 1145173 h 2498232"/>
              <a:gd name="connsiteX115" fmla="*/ 1300096 w 2427462"/>
              <a:gd name="connsiteY115" fmla="*/ 201077 h 2498232"/>
              <a:gd name="connsiteX116" fmla="*/ 1955744 w 2427462"/>
              <a:gd name="connsiteY116" fmla="*/ 969773 h 2498232"/>
              <a:gd name="connsiteX117" fmla="*/ 1632659 w 2427462"/>
              <a:gd name="connsiteY117" fmla="*/ 1145173 h 2498232"/>
              <a:gd name="connsiteX118" fmla="*/ 2029759 w 2427462"/>
              <a:gd name="connsiteY118" fmla="*/ 969428 h 2498232"/>
              <a:gd name="connsiteX119" fmla="*/ 1498789 w 2427462"/>
              <a:gd name="connsiteY119" fmla="*/ 206247 h 2498232"/>
              <a:gd name="connsiteX120" fmla="*/ 2337909 w 2427462"/>
              <a:gd name="connsiteY120" fmla="*/ 1113465 h 2498232"/>
              <a:gd name="connsiteX121" fmla="*/ 2029759 w 2427462"/>
              <a:gd name="connsiteY121" fmla="*/ 969428 h 2498232"/>
              <a:gd name="connsiteX0" fmla="*/ 2426859 w 2427462"/>
              <a:gd name="connsiteY0" fmla="*/ 1305036 h 2424561"/>
              <a:gd name="connsiteX1" fmla="*/ 2275440 w 2427462"/>
              <a:gd name="connsiteY1" fmla="*/ 725154 h 2424561"/>
              <a:gd name="connsiteX2" fmla="*/ 2275440 w 2427462"/>
              <a:gd name="connsiteY2" fmla="*/ 516753 h 2424561"/>
              <a:gd name="connsiteX3" fmla="*/ 2203637 w 2427462"/>
              <a:gd name="connsiteY3" fmla="*/ 516753 h 2424561"/>
              <a:gd name="connsiteX4" fmla="*/ 2203637 w 2427462"/>
              <a:gd name="connsiteY4" fmla="*/ 611418 h 2424561"/>
              <a:gd name="connsiteX5" fmla="*/ 2122988 w 2427462"/>
              <a:gd name="connsiteY5" fmla="*/ 509601 h 2424561"/>
              <a:gd name="connsiteX6" fmla="*/ 2122988 w 2427462"/>
              <a:gd name="connsiteY6" fmla="*/ 353444 h 2424561"/>
              <a:gd name="connsiteX7" fmla="*/ 2051185 w 2427462"/>
              <a:gd name="connsiteY7" fmla="*/ 353444 h 2424561"/>
              <a:gd name="connsiteX8" fmla="*/ 2051185 w 2427462"/>
              <a:gd name="connsiteY8" fmla="*/ 434897 h 2424561"/>
              <a:gd name="connsiteX9" fmla="*/ 1956204 w 2427462"/>
              <a:gd name="connsiteY9" fmla="*/ 352984 h 2424561"/>
              <a:gd name="connsiteX10" fmla="*/ 1956204 w 2427462"/>
              <a:gd name="connsiteY10" fmla="*/ 224715 h 2424561"/>
              <a:gd name="connsiteX11" fmla="*/ 1884401 w 2427462"/>
              <a:gd name="connsiteY11" fmla="*/ 224715 h 2424561"/>
              <a:gd name="connsiteX12" fmla="*/ 1884401 w 2427462"/>
              <a:gd name="connsiteY12" fmla="*/ 301027 h 2424561"/>
              <a:gd name="connsiteX13" fmla="*/ 1814350 w 2427462"/>
              <a:gd name="connsiteY13" fmla="*/ 257945 h 2424561"/>
              <a:gd name="connsiteX14" fmla="*/ 1814350 w 2427462"/>
              <a:gd name="connsiteY14" fmla="*/ 172040 h 2424561"/>
              <a:gd name="connsiteX15" fmla="*/ 1742546 w 2427462"/>
              <a:gd name="connsiteY15" fmla="*/ 172040 h 2424561"/>
              <a:gd name="connsiteX16" fmla="*/ 1742546 w 2427462"/>
              <a:gd name="connsiteY16" fmla="*/ 219717 h 2424561"/>
              <a:gd name="connsiteX17" fmla="*/ 1684616 w 2427462"/>
              <a:gd name="connsiteY17" fmla="*/ 193294 h 2424561"/>
              <a:gd name="connsiteX18" fmla="*/ 1684616 w 2427462"/>
              <a:gd name="connsiteY18" fmla="*/ 138465 h 2424561"/>
              <a:gd name="connsiteX19" fmla="*/ 1612813 w 2427462"/>
              <a:gd name="connsiteY19" fmla="*/ 138465 h 2424561"/>
              <a:gd name="connsiteX20" fmla="*/ 1612813 w 2427462"/>
              <a:gd name="connsiteY20" fmla="*/ 165894 h 2424561"/>
              <a:gd name="connsiteX21" fmla="*/ 1543795 w 2427462"/>
              <a:gd name="connsiteY21" fmla="*/ 144152 h 2424561"/>
              <a:gd name="connsiteX22" fmla="*/ 1543795 w 2427462"/>
              <a:gd name="connsiteY22" fmla="*/ 4509 h 2424561"/>
              <a:gd name="connsiteX23" fmla="*/ 1471992 w 2427462"/>
              <a:gd name="connsiteY23" fmla="*/ 4509 h 2424561"/>
              <a:gd name="connsiteX24" fmla="*/ 1471992 w 2427462"/>
              <a:gd name="connsiteY24" fmla="*/ 126058 h 2424561"/>
              <a:gd name="connsiteX25" fmla="*/ 1243084 w 2427462"/>
              <a:gd name="connsiteY25" fmla="*/ 98801 h 2424561"/>
              <a:gd name="connsiteX26" fmla="*/ 1243084 w 2427462"/>
              <a:gd name="connsiteY26" fmla="*/ 0 h 2424561"/>
              <a:gd name="connsiteX27" fmla="*/ 1171281 w 2427462"/>
              <a:gd name="connsiteY27" fmla="*/ 0 h 2424561"/>
              <a:gd name="connsiteX28" fmla="*/ 1171281 w 2427462"/>
              <a:gd name="connsiteY28" fmla="*/ 99117 h 2424561"/>
              <a:gd name="connsiteX29" fmla="*/ 958973 w 2427462"/>
              <a:gd name="connsiteY29" fmla="*/ 125110 h 2424561"/>
              <a:gd name="connsiteX30" fmla="*/ 958973 w 2427462"/>
              <a:gd name="connsiteY30" fmla="*/ 0 h 2424561"/>
              <a:gd name="connsiteX31" fmla="*/ 887170 w 2427462"/>
              <a:gd name="connsiteY31" fmla="*/ 0 h 2424561"/>
              <a:gd name="connsiteX32" fmla="*/ 887170 w 2427462"/>
              <a:gd name="connsiteY32" fmla="*/ 142974 h 2424561"/>
              <a:gd name="connsiteX33" fmla="*/ 817493 w 2427462"/>
              <a:gd name="connsiteY33" fmla="*/ 164745 h 2424561"/>
              <a:gd name="connsiteX34" fmla="*/ 817493 w 2427462"/>
              <a:gd name="connsiteY34" fmla="*/ 133956 h 2424561"/>
              <a:gd name="connsiteX35" fmla="*/ 745690 w 2427462"/>
              <a:gd name="connsiteY35" fmla="*/ 133956 h 2424561"/>
              <a:gd name="connsiteX36" fmla="*/ 745690 w 2427462"/>
              <a:gd name="connsiteY36" fmla="*/ 191944 h 2424561"/>
              <a:gd name="connsiteX37" fmla="*/ 687156 w 2427462"/>
              <a:gd name="connsiteY37" fmla="*/ 218253 h 2424561"/>
              <a:gd name="connsiteX38" fmla="*/ 687156 w 2427462"/>
              <a:gd name="connsiteY38" fmla="*/ 167560 h 2424561"/>
              <a:gd name="connsiteX39" fmla="*/ 615353 w 2427462"/>
              <a:gd name="connsiteY39" fmla="*/ 167560 h 2424561"/>
              <a:gd name="connsiteX40" fmla="*/ 615353 w 2427462"/>
              <a:gd name="connsiteY40" fmla="*/ 256337 h 2424561"/>
              <a:gd name="connsiteX41" fmla="*/ 544641 w 2427462"/>
              <a:gd name="connsiteY41" fmla="*/ 299706 h 2424561"/>
              <a:gd name="connsiteX42" fmla="*/ 544641 w 2427462"/>
              <a:gd name="connsiteY42" fmla="*/ 220206 h 2424561"/>
              <a:gd name="connsiteX43" fmla="*/ 472838 w 2427462"/>
              <a:gd name="connsiteY43" fmla="*/ 220206 h 2424561"/>
              <a:gd name="connsiteX44" fmla="*/ 472838 w 2427462"/>
              <a:gd name="connsiteY44" fmla="*/ 351261 h 2424561"/>
              <a:gd name="connsiteX45" fmla="*/ 377110 w 2427462"/>
              <a:gd name="connsiteY45" fmla="*/ 433547 h 2424561"/>
              <a:gd name="connsiteX46" fmla="*/ 377110 w 2427462"/>
              <a:gd name="connsiteY46" fmla="*/ 348906 h 2424561"/>
              <a:gd name="connsiteX47" fmla="*/ 305307 w 2427462"/>
              <a:gd name="connsiteY47" fmla="*/ 348906 h 2424561"/>
              <a:gd name="connsiteX48" fmla="*/ 305307 w 2427462"/>
              <a:gd name="connsiteY48" fmla="*/ 507906 h 2424561"/>
              <a:gd name="connsiteX49" fmla="*/ 223940 w 2427462"/>
              <a:gd name="connsiteY49" fmla="*/ 610441 h 2424561"/>
              <a:gd name="connsiteX50" fmla="*/ 223940 w 2427462"/>
              <a:gd name="connsiteY50" fmla="*/ 512186 h 2424561"/>
              <a:gd name="connsiteX51" fmla="*/ 152136 w 2427462"/>
              <a:gd name="connsiteY51" fmla="*/ 512186 h 2424561"/>
              <a:gd name="connsiteX52" fmla="*/ 152136 w 2427462"/>
              <a:gd name="connsiteY52" fmla="*/ 722741 h 2424561"/>
              <a:gd name="connsiteX53" fmla="*/ 152912 w 2427462"/>
              <a:gd name="connsiteY53" fmla="*/ 722741 h 2424561"/>
              <a:gd name="connsiteX54" fmla="*/ 0 w 2427462"/>
              <a:gd name="connsiteY54" fmla="*/ 1311527 h 2424561"/>
              <a:gd name="connsiteX55" fmla="*/ 37740 w 2427462"/>
              <a:gd name="connsiteY55" fmla="*/ 1347428 h 2424561"/>
              <a:gd name="connsiteX56" fmla="*/ 73440 w 2427462"/>
              <a:gd name="connsiteY56" fmla="*/ 1315375 h 2424561"/>
              <a:gd name="connsiteX57" fmla="*/ 429210 w 2427462"/>
              <a:gd name="connsiteY57" fmla="*/ 1039565 h 2424561"/>
              <a:gd name="connsiteX58" fmla="*/ 781246 w 2427462"/>
              <a:gd name="connsiteY58" fmla="*/ 1292657 h 2424561"/>
              <a:gd name="connsiteX59" fmla="*/ 816459 w 2427462"/>
              <a:gd name="connsiteY59" fmla="*/ 1321579 h 2424561"/>
              <a:gd name="connsiteX60" fmla="*/ 851671 w 2427462"/>
              <a:gd name="connsiteY60" fmla="*/ 1292657 h 2424561"/>
              <a:gd name="connsiteX61" fmla="*/ 1171281 w 2427462"/>
              <a:gd name="connsiteY61" fmla="*/ 1040800 h 2424561"/>
              <a:gd name="connsiteX62" fmla="*/ 1171281 w 2427462"/>
              <a:gd name="connsiteY62" fmla="*/ 1175158 h 2424561"/>
              <a:gd name="connsiteX63" fmla="*/ 1147414 w 2427462"/>
              <a:gd name="connsiteY63" fmla="*/ 1175158 h 2424561"/>
              <a:gd name="connsiteX64" fmla="*/ 1111512 w 2427462"/>
              <a:gd name="connsiteY64" fmla="*/ 1211060 h 2424561"/>
              <a:gd name="connsiteX65" fmla="*/ 1147414 w 2427462"/>
              <a:gd name="connsiteY65" fmla="*/ 1246961 h 2424561"/>
              <a:gd name="connsiteX66" fmla="*/ 1171281 w 2427462"/>
              <a:gd name="connsiteY66" fmla="*/ 1246961 h 2424561"/>
              <a:gd name="connsiteX67" fmla="*/ 1171281 w 2427462"/>
              <a:gd name="connsiteY67" fmla="*/ 2137320 h 2424561"/>
              <a:gd name="connsiteX68" fmla="*/ 1147414 w 2427462"/>
              <a:gd name="connsiteY68" fmla="*/ 2137320 h 2424561"/>
              <a:gd name="connsiteX69" fmla="*/ 1111512 w 2427462"/>
              <a:gd name="connsiteY69" fmla="*/ 2173221 h 2424561"/>
              <a:gd name="connsiteX70" fmla="*/ 1147414 w 2427462"/>
              <a:gd name="connsiteY70" fmla="*/ 2209123 h 2424561"/>
              <a:gd name="connsiteX71" fmla="*/ 1171281 w 2427462"/>
              <a:gd name="connsiteY71" fmla="*/ 2209123 h 2424561"/>
              <a:gd name="connsiteX72" fmla="*/ 1171281 w 2427462"/>
              <a:gd name="connsiteY72" fmla="*/ 2345578 h 2424561"/>
              <a:gd name="connsiteX73" fmla="*/ 1092298 w 2427462"/>
              <a:gd name="connsiteY73" fmla="*/ 2424561 h 2424561"/>
              <a:gd name="connsiteX74" fmla="*/ 1243084 w 2427462"/>
              <a:gd name="connsiteY74" fmla="*/ 2345578 h 2424561"/>
              <a:gd name="connsiteX75" fmla="*/ 1243084 w 2427462"/>
              <a:gd name="connsiteY75" fmla="*/ 2209152 h 2424561"/>
              <a:gd name="connsiteX76" fmla="*/ 1275912 w 2427462"/>
              <a:gd name="connsiteY76" fmla="*/ 2209152 h 2424561"/>
              <a:gd name="connsiteX77" fmla="*/ 1311814 w 2427462"/>
              <a:gd name="connsiteY77" fmla="*/ 2173250 h 2424561"/>
              <a:gd name="connsiteX78" fmla="*/ 1275912 w 2427462"/>
              <a:gd name="connsiteY78" fmla="*/ 2137349 h 2424561"/>
              <a:gd name="connsiteX79" fmla="*/ 1243084 w 2427462"/>
              <a:gd name="connsiteY79" fmla="*/ 2137349 h 2424561"/>
              <a:gd name="connsiteX80" fmla="*/ 1243084 w 2427462"/>
              <a:gd name="connsiteY80" fmla="*/ 1246990 h 2424561"/>
              <a:gd name="connsiteX81" fmla="*/ 1275912 w 2427462"/>
              <a:gd name="connsiteY81" fmla="*/ 1246990 h 2424561"/>
              <a:gd name="connsiteX82" fmla="*/ 1311814 w 2427462"/>
              <a:gd name="connsiteY82" fmla="*/ 1211089 h 2424561"/>
              <a:gd name="connsiteX83" fmla="*/ 1275912 w 2427462"/>
              <a:gd name="connsiteY83" fmla="*/ 1175187 h 2424561"/>
              <a:gd name="connsiteX84" fmla="*/ 1243084 w 2427462"/>
              <a:gd name="connsiteY84" fmla="*/ 1175187 h 2424561"/>
              <a:gd name="connsiteX85" fmla="*/ 1243084 w 2427462"/>
              <a:gd name="connsiteY85" fmla="*/ 1041576 h 2424561"/>
              <a:gd name="connsiteX86" fmla="*/ 1559449 w 2427462"/>
              <a:gd name="connsiteY86" fmla="*/ 1315404 h 2424561"/>
              <a:gd name="connsiteX87" fmla="*/ 1595149 w 2427462"/>
              <a:gd name="connsiteY87" fmla="*/ 1347457 h 2424561"/>
              <a:gd name="connsiteX88" fmla="*/ 1606207 w 2427462"/>
              <a:gd name="connsiteY88" fmla="*/ 1347457 h 2424561"/>
              <a:gd name="connsiteX89" fmla="*/ 1641907 w 2427462"/>
              <a:gd name="connsiteY89" fmla="*/ 1315404 h 2424561"/>
              <a:gd name="connsiteX90" fmla="*/ 1997706 w 2427462"/>
              <a:gd name="connsiteY90" fmla="*/ 1039594 h 2424561"/>
              <a:gd name="connsiteX91" fmla="*/ 2353447 w 2427462"/>
              <a:gd name="connsiteY91" fmla="*/ 1315404 h 2424561"/>
              <a:gd name="connsiteX92" fmla="*/ 2389148 w 2427462"/>
              <a:gd name="connsiteY92" fmla="*/ 1347457 h 2424561"/>
              <a:gd name="connsiteX93" fmla="*/ 2390986 w 2427462"/>
              <a:gd name="connsiteY93" fmla="*/ 1347457 h 2424561"/>
              <a:gd name="connsiteX94" fmla="*/ 2391560 w 2427462"/>
              <a:gd name="connsiteY94" fmla="*/ 1347457 h 2424561"/>
              <a:gd name="connsiteX95" fmla="*/ 2427462 w 2427462"/>
              <a:gd name="connsiteY95" fmla="*/ 1311556 h 2424561"/>
              <a:gd name="connsiteX96" fmla="*/ 2426859 w 2427462"/>
              <a:gd name="connsiteY96" fmla="*/ 1305036 h 2424561"/>
              <a:gd name="connsiteX97" fmla="*/ 88978 w 2427462"/>
              <a:gd name="connsiteY97" fmla="*/ 1113465 h 2424561"/>
              <a:gd name="connsiteX98" fmla="*/ 920889 w 2427462"/>
              <a:gd name="connsiteY98" fmla="*/ 208057 h 2424561"/>
              <a:gd name="connsiteX99" fmla="*/ 393050 w 2427462"/>
              <a:gd name="connsiteY99" fmla="*/ 969629 h 2424561"/>
              <a:gd name="connsiteX100" fmla="*/ 88978 w 2427462"/>
              <a:gd name="connsiteY100" fmla="*/ 1113465 h 2424561"/>
              <a:gd name="connsiteX101" fmla="*/ 467237 w 2427462"/>
              <a:gd name="connsiteY101" fmla="*/ 969399 h 2424561"/>
              <a:gd name="connsiteX102" fmla="*/ 1122800 w 2427462"/>
              <a:gd name="connsiteY102" fmla="*/ 201077 h 2424561"/>
              <a:gd name="connsiteX103" fmla="*/ 790409 w 2427462"/>
              <a:gd name="connsiteY103" fmla="*/ 1140635 h 2424561"/>
              <a:gd name="connsiteX104" fmla="*/ 467237 w 2427462"/>
              <a:gd name="connsiteY104" fmla="*/ 969399 h 2424561"/>
              <a:gd name="connsiteX105" fmla="*/ 863217 w 2427462"/>
              <a:gd name="connsiteY105" fmla="*/ 1114556 h 2424561"/>
              <a:gd name="connsiteX106" fmla="*/ 1171281 w 2427462"/>
              <a:gd name="connsiteY106" fmla="*/ 255418 h 2424561"/>
              <a:gd name="connsiteX107" fmla="*/ 1171281 w 2427462"/>
              <a:gd name="connsiteY107" fmla="*/ 968882 h 2424561"/>
              <a:gd name="connsiteX108" fmla="*/ 863217 w 2427462"/>
              <a:gd name="connsiteY108" fmla="*/ 1114556 h 2424561"/>
              <a:gd name="connsiteX109" fmla="*/ 1243084 w 2427462"/>
              <a:gd name="connsiteY109" fmla="*/ 969514 h 2424561"/>
              <a:gd name="connsiteX110" fmla="*/ 1243084 w 2427462"/>
              <a:gd name="connsiteY110" fmla="*/ 244849 h 2424561"/>
              <a:gd name="connsiteX111" fmla="*/ 1560368 w 2427462"/>
              <a:gd name="connsiteY111" fmla="*/ 1133886 h 2424561"/>
              <a:gd name="connsiteX112" fmla="*/ 1243084 w 2427462"/>
              <a:gd name="connsiteY112" fmla="*/ 969514 h 2424561"/>
              <a:gd name="connsiteX113" fmla="*/ 1632659 w 2427462"/>
              <a:gd name="connsiteY113" fmla="*/ 1145173 h 2424561"/>
              <a:gd name="connsiteX114" fmla="*/ 1300096 w 2427462"/>
              <a:gd name="connsiteY114" fmla="*/ 201077 h 2424561"/>
              <a:gd name="connsiteX115" fmla="*/ 1955744 w 2427462"/>
              <a:gd name="connsiteY115" fmla="*/ 969773 h 2424561"/>
              <a:gd name="connsiteX116" fmla="*/ 1632659 w 2427462"/>
              <a:gd name="connsiteY116" fmla="*/ 1145173 h 2424561"/>
              <a:gd name="connsiteX117" fmla="*/ 2029759 w 2427462"/>
              <a:gd name="connsiteY117" fmla="*/ 969428 h 2424561"/>
              <a:gd name="connsiteX118" fmla="*/ 1498789 w 2427462"/>
              <a:gd name="connsiteY118" fmla="*/ 206247 h 2424561"/>
              <a:gd name="connsiteX119" fmla="*/ 2337909 w 2427462"/>
              <a:gd name="connsiteY119" fmla="*/ 1113465 h 2424561"/>
              <a:gd name="connsiteX120" fmla="*/ 2029759 w 2427462"/>
              <a:gd name="connsiteY120" fmla="*/ 969428 h 2424561"/>
              <a:gd name="connsiteX0" fmla="*/ 2426859 w 2427462"/>
              <a:gd name="connsiteY0" fmla="*/ 1305036 h 2362633"/>
              <a:gd name="connsiteX1" fmla="*/ 2275440 w 2427462"/>
              <a:gd name="connsiteY1" fmla="*/ 725154 h 2362633"/>
              <a:gd name="connsiteX2" fmla="*/ 2275440 w 2427462"/>
              <a:gd name="connsiteY2" fmla="*/ 516753 h 2362633"/>
              <a:gd name="connsiteX3" fmla="*/ 2203637 w 2427462"/>
              <a:gd name="connsiteY3" fmla="*/ 516753 h 2362633"/>
              <a:gd name="connsiteX4" fmla="*/ 2203637 w 2427462"/>
              <a:gd name="connsiteY4" fmla="*/ 611418 h 2362633"/>
              <a:gd name="connsiteX5" fmla="*/ 2122988 w 2427462"/>
              <a:gd name="connsiteY5" fmla="*/ 509601 h 2362633"/>
              <a:gd name="connsiteX6" fmla="*/ 2122988 w 2427462"/>
              <a:gd name="connsiteY6" fmla="*/ 353444 h 2362633"/>
              <a:gd name="connsiteX7" fmla="*/ 2051185 w 2427462"/>
              <a:gd name="connsiteY7" fmla="*/ 353444 h 2362633"/>
              <a:gd name="connsiteX8" fmla="*/ 2051185 w 2427462"/>
              <a:gd name="connsiteY8" fmla="*/ 434897 h 2362633"/>
              <a:gd name="connsiteX9" fmla="*/ 1956204 w 2427462"/>
              <a:gd name="connsiteY9" fmla="*/ 352984 h 2362633"/>
              <a:gd name="connsiteX10" fmla="*/ 1956204 w 2427462"/>
              <a:gd name="connsiteY10" fmla="*/ 224715 h 2362633"/>
              <a:gd name="connsiteX11" fmla="*/ 1884401 w 2427462"/>
              <a:gd name="connsiteY11" fmla="*/ 224715 h 2362633"/>
              <a:gd name="connsiteX12" fmla="*/ 1884401 w 2427462"/>
              <a:gd name="connsiteY12" fmla="*/ 301027 h 2362633"/>
              <a:gd name="connsiteX13" fmla="*/ 1814350 w 2427462"/>
              <a:gd name="connsiteY13" fmla="*/ 257945 h 2362633"/>
              <a:gd name="connsiteX14" fmla="*/ 1814350 w 2427462"/>
              <a:gd name="connsiteY14" fmla="*/ 172040 h 2362633"/>
              <a:gd name="connsiteX15" fmla="*/ 1742546 w 2427462"/>
              <a:gd name="connsiteY15" fmla="*/ 172040 h 2362633"/>
              <a:gd name="connsiteX16" fmla="*/ 1742546 w 2427462"/>
              <a:gd name="connsiteY16" fmla="*/ 219717 h 2362633"/>
              <a:gd name="connsiteX17" fmla="*/ 1684616 w 2427462"/>
              <a:gd name="connsiteY17" fmla="*/ 193294 h 2362633"/>
              <a:gd name="connsiteX18" fmla="*/ 1684616 w 2427462"/>
              <a:gd name="connsiteY18" fmla="*/ 138465 h 2362633"/>
              <a:gd name="connsiteX19" fmla="*/ 1612813 w 2427462"/>
              <a:gd name="connsiteY19" fmla="*/ 138465 h 2362633"/>
              <a:gd name="connsiteX20" fmla="*/ 1612813 w 2427462"/>
              <a:gd name="connsiteY20" fmla="*/ 165894 h 2362633"/>
              <a:gd name="connsiteX21" fmla="*/ 1543795 w 2427462"/>
              <a:gd name="connsiteY21" fmla="*/ 144152 h 2362633"/>
              <a:gd name="connsiteX22" fmla="*/ 1543795 w 2427462"/>
              <a:gd name="connsiteY22" fmla="*/ 4509 h 2362633"/>
              <a:gd name="connsiteX23" fmla="*/ 1471992 w 2427462"/>
              <a:gd name="connsiteY23" fmla="*/ 4509 h 2362633"/>
              <a:gd name="connsiteX24" fmla="*/ 1471992 w 2427462"/>
              <a:gd name="connsiteY24" fmla="*/ 126058 h 2362633"/>
              <a:gd name="connsiteX25" fmla="*/ 1243084 w 2427462"/>
              <a:gd name="connsiteY25" fmla="*/ 98801 h 2362633"/>
              <a:gd name="connsiteX26" fmla="*/ 1243084 w 2427462"/>
              <a:gd name="connsiteY26" fmla="*/ 0 h 2362633"/>
              <a:gd name="connsiteX27" fmla="*/ 1171281 w 2427462"/>
              <a:gd name="connsiteY27" fmla="*/ 0 h 2362633"/>
              <a:gd name="connsiteX28" fmla="*/ 1171281 w 2427462"/>
              <a:gd name="connsiteY28" fmla="*/ 99117 h 2362633"/>
              <a:gd name="connsiteX29" fmla="*/ 958973 w 2427462"/>
              <a:gd name="connsiteY29" fmla="*/ 125110 h 2362633"/>
              <a:gd name="connsiteX30" fmla="*/ 958973 w 2427462"/>
              <a:gd name="connsiteY30" fmla="*/ 0 h 2362633"/>
              <a:gd name="connsiteX31" fmla="*/ 887170 w 2427462"/>
              <a:gd name="connsiteY31" fmla="*/ 0 h 2362633"/>
              <a:gd name="connsiteX32" fmla="*/ 887170 w 2427462"/>
              <a:gd name="connsiteY32" fmla="*/ 142974 h 2362633"/>
              <a:gd name="connsiteX33" fmla="*/ 817493 w 2427462"/>
              <a:gd name="connsiteY33" fmla="*/ 164745 h 2362633"/>
              <a:gd name="connsiteX34" fmla="*/ 817493 w 2427462"/>
              <a:gd name="connsiteY34" fmla="*/ 133956 h 2362633"/>
              <a:gd name="connsiteX35" fmla="*/ 745690 w 2427462"/>
              <a:gd name="connsiteY35" fmla="*/ 133956 h 2362633"/>
              <a:gd name="connsiteX36" fmla="*/ 745690 w 2427462"/>
              <a:gd name="connsiteY36" fmla="*/ 191944 h 2362633"/>
              <a:gd name="connsiteX37" fmla="*/ 687156 w 2427462"/>
              <a:gd name="connsiteY37" fmla="*/ 218253 h 2362633"/>
              <a:gd name="connsiteX38" fmla="*/ 687156 w 2427462"/>
              <a:gd name="connsiteY38" fmla="*/ 167560 h 2362633"/>
              <a:gd name="connsiteX39" fmla="*/ 615353 w 2427462"/>
              <a:gd name="connsiteY39" fmla="*/ 167560 h 2362633"/>
              <a:gd name="connsiteX40" fmla="*/ 615353 w 2427462"/>
              <a:gd name="connsiteY40" fmla="*/ 256337 h 2362633"/>
              <a:gd name="connsiteX41" fmla="*/ 544641 w 2427462"/>
              <a:gd name="connsiteY41" fmla="*/ 299706 h 2362633"/>
              <a:gd name="connsiteX42" fmla="*/ 544641 w 2427462"/>
              <a:gd name="connsiteY42" fmla="*/ 220206 h 2362633"/>
              <a:gd name="connsiteX43" fmla="*/ 472838 w 2427462"/>
              <a:gd name="connsiteY43" fmla="*/ 220206 h 2362633"/>
              <a:gd name="connsiteX44" fmla="*/ 472838 w 2427462"/>
              <a:gd name="connsiteY44" fmla="*/ 351261 h 2362633"/>
              <a:gd name="connsiteX45" fmla="*/ 377110 w 2427462"/>
              <a:gd name="connsiteY45" fmla="*/ 433547 h 2362633"/>
              <a:gd name="connsiteX46" fmla="*/ 377110 w 2427462"/>
              <a:gd name="connsiteY46" fmla="*/ 348906 h 2362633"/>
              <a:gd name="connsiteX47" fmla="*/ 305307 w 2427462"/>
              <a:gd name="connsiteY47" fmla="*/ 348906 h 2362633"/>
              <a:gd name="connsiteX48" fmla="*/ 305307 w 2427462"/>
              <a:gd name="connsiteY48" fmla="*/ 507906 h 2362633"/>
              <a:gd name="connsiteX49" fmla="*/ 223940 w 2427462"/>
              <a:gd name="connsiteY49" fmla="*/ 610441 h 2362633"/>
              <a:gd name="connsiteX50" fmla="*/ 223940 w 2427462"/>
              <a:gd name="connsiteY50" fmla="*/ 512186 h 2362633"/>
              <a:gd name="connsiteX51" fmla="*/ 152136 w 2427462"/>
              <a:gd name="connsiteY51" fmla="*/ 512186 h 2362633"/>
              <a:gd name="connsiteX52" fmla="*/ 152136 w 2427462"/>
              <a:gd name="connsiteY52" fmla="*/ 722741 h 2362633"/>
              <a:gd name="connsiteX53" fmla="*/ 152912 w 2427462"/>
              <a:gd name="connsiteY53" fmla="*/ 722741 h 2362633"/>
              <a:gd name="connsiteX54" fmla="*/ 0 w 2427462"/>
              <a:gd name="connsiteY54" fmla="*/ 1311527 h 2362633"/>
              <a:gd name="connsiteX55" fmla="*/ 37740 w 2427462"/>
              <a:gd name="connsiteY55" fmla="*/ 1347428 h 2362633"/>
              <a:gd name="connsiteX56" fmla="*/ 73440 w 2427462"/>
              <a:gd name="connsiteY56" fmla="*/ 1315375 h 2362633"/>
              <a:gd name="connsiteX57" fmla="*/ 429210 w 2427462"/>
              <a:gd name="connsiteY57" fmla="*/ 1039565 h 2362633"/>
              <a:gd name="connsiteX58" fmla="*/ 781246 w 2427462"/>
              <a:gd name="connsiteY58" fmla="*/ 1292657 h 2362633"/>
              <a:gd name="connsiteX59" fmla="*/ 816459 w 2427462"/>
              <a:gd name="connsiteY59" fmla="*/ 1321579 h 2362633"/>
              <a:gd name="connsiteX60" fmla="*/ 851671 w 2427462"/>
              <a:gd name="connsiteY60" fmla="*/ 1292657 h 2362633"/>
              <a:gd name="connsiteX61" fmla="*/ 1171281 w 2427462"/>
              <a:gd name="connsiteY61" fmla="*/ 1040800 h 2362633"/>
              <a:gd name="connsiteX62" fmla="*/ 1171281 w 2427462"/>
              <a:gd name="connsiteY62" fmla="*/ 1175158 h 2362633"/>
              <a:gd name="connsiteX63" fmla="*/ 1147414 w 2427462"/>
              <a:gd name="connsiteY63" fmla="*/ 1175158 h 2362633"/>
              <a:gd name="connsiteX64" fmla="*/ 1111512 w 2427462"/>
              <a:gd name="connsiteY64" fmla="*/ 1211060 h 2362633"/>
              <a:gd name="connsiteX65" fmla="*/ 1147414 w 2427462"/>
              <a:gd name="connsiteY65" fmla="*/ 1246961 h 2362633"/>
              <a:gd name="connsiteX66" fmla="*/ 1171281 w 2427462"/>
              <a:gd name="connsiteY66" fmla="*/ 1246961 h 2362633"/>
              <a:gd name="connsiteX67" fmla="*/ 1171281 w 2427462"/>
              <a:gd name="connsiteY67" fmla="*/ 2137320 h 2362633"/>
              <a:gd name="connsiteX68" fmla="*/ 1147414 w 2427462"/>
              <a:gd name="connsiteY68" fmla="*/ 2137320 h 2362633"/>
              <a:gd name="connsiteX69" fmla="*/ 1111512 w 2427462"/>
              <a:gd name="connsiteY69" fmla="*/ 2173221 h 2362633"/>
              <a:gd name="connsiteX70" fmla="*/ 1147414 w 2427462"/>
              <a:gd name="connsiteY70" fmla="*/ 2209123 h 2362633"/>
              <a:gd name="connsiteX71" fmla="*/ 1171281 w 2427462"/>
              <a:gd name="connsiteY71" fmla="*/ 2209123 h 2362633"/>
              <a:gd name="connsiteX72" fmla="*/ 1171281 w 2427462"/>
              <a:gd name="connsiteY72" fmla="*/ 2345578 h 2362633"/>
              <a:gd name="connsiteX73" fmla="*/ 1243084 w 2427462"/>
              <a:gd name="connsiteY73" fmla="*/ 2345578 h 2362633"/>
              <a:gd name="connsiteX74" fmla="*/ 1243084 w 2427462"/>
              <a:gd name="connsiteY74" fmla="*/ 2209152 h 2362633"/>
              <a:gd name="connsiteX75" fmla="*/ 1275912 w 2427462"/>
              <a:gd name="connsiteY75" fmla="*/ 2209152 h 2362633"/>
              <a:gd name="connsiteX76" fmla="*/ 1311814 w 2427462"/>
              <a:gd name="connsiteY76" fmla="*/ 2173250 h 2362633"/>
              <a:gd name="connsiteX77" fmla="*/ 1275912 w 2427462"/>
              <a:gd name="connsiteY77" fmla="*/ 2137349 h 2362633"/>
              <a:gd name="connsiteX78" fmla="*/ 1243084 w 2427462"/>
              <a:gd name="connsiteY78" fmla="*/ 2137349 h 2362633"/>
              <a:gd name="connsiteX79" fmla="*/ 1243084 w 2427462"/>
              <a:gd name="connsiteY79" fmla="*/ 1246990 h 2362633"/>
              <a:gd name="connsiteX80" fmla="*/ 1275912 w 2427462"/>
              <a:gd name="connsiteY80" fmla="*/ 1246990 h 2362633"/>
              <a:gd name="connsiteX81" fmla="*/ 1311814 w 2427462"/>
              <a:gd name="connsiteY81" fmla="*/ 1211089 h 2362633"/>
              <a:gd name="connsiteX82" fmla="*/ 1275912 w 2427462"/>
              <a:gd name="connsiteY82" fmla="*/ 1175187 h 2362633"/>
              <a:gd name="connsiteX83" fmla="*/ 1243084 w 2427462"/>
              <a:gd name="connsiteY83" fmla="*/ 1175187 h 2362633"/>
              <a:gd name="connsiteX84" fmla="*/ 1243084 w 2427462"/>
              <a:gd name="connsiteY84" fmla="*/ 1041576 h 2362633"/>
              <a:gd name="connsiteX85" fmla="*/ 1559449 w 2427462"/>
              <a:gd name="connsiteY85" fmla="*/ 1315404 h 2362633"/>
              <a:gd name="connsiteX86" fmla="*/ 1595149 w 2427462"/>
              <a:gd name="connsiteY86" fmla="*/ 1347457 h 2362633"/>
              <a:gd name="connsiteX87" fmla="*/ 1606207 w 2427462"/>
              <a:gd name="connsiteY87" fmla="*/ 1347457 h 2362633"/>
              <a:gd name="connsiteX88" fmla="*/ 1641907 w 2427462"/>
              <a:gd name="connsiteY88" fmla="*/ 1315404 h 2362633"/>
              <a:gd name="connsiteX89" fmla="*/ 1997706 w 2427462"/>
              <a:gd name="connsiteY89" fmla="*/ 1039594 h 2362633"/>
              <a:gd name="connsiteX90" fmla="*/ 2353447 w 2427462"/>
              <a:gd name="connsiteY90" fmla="*/ 1315404 h 2362633"/>
              <a:gd name="connsiteX91" fmla="*/ 2389148 w 2427462"/>
              <a:gd name="connsiteY91" fmla="*/ 1347457 h 2362633"/>
              <a:gd name="connsiteX92" fmla="*/ 2390986 w 2427462"/>
              <a:gd name="connsiteY92" fmla="*/ 1347457 h 2362633"/>
              <a:gd name="connsiteX93" fmla="*/ 2391560 w 2427462"/>
              <a:gd name="connsiteY93" fmla="*/ 1347457 h 2362633"/>
              <a:gd name="connsiteX94" fmla="*/ 2427462 w 2427462"/>
              <a:gd name="connsiteY94" fmla="*/ 1311556 h 2362633"/>
              <a:gd name="connsiteX95" fmla="*/ 2426859 w 2427462"/>
              <a:gd name="connsiteY95" fmla="*/ 1305036 h 2362633"/>
              <a:gd name="connsiteX96" fmla="*/ 88978 w 2427462"/>
              <a:gd name="connsiteY96" fmla="*/ 1113465 h 2362633"/>
              <a:gd name="connsiteX97" fmla="*/ 920889 w 2427462"/>
              <a:gd name="connsiteY97" fmla="*/ 208057 h 2362633"/>
              <a:gd name="connsiteX98" fmla="*/ 393050 w 2427462"/>
              <a:gd name="connsiteY98" fmla="*/ 969629 h 2362633"/>
              <a:gd name="connsiteX99" fmla="*/ 88978 w 2427462"/>
              <a:gd name="connsiteY99" fmla="*/ 1113465 h 2362633"/>
              <a:gd name="connsiteX100" fmla="*/ 467237 w 2427462"/>
              <a:gd name="connsiteY100" fmla="*/ 969399 h 2362633"/>
              <a:gd name="connsiteX101" fmla="*/ 1122800 w 2427462"/>
              <a:gd name="connsiteY101" fmla="*/ 201077 h 2362633"/>
              <a:gd name="connsiteX102" fmla="*/ 790409 w 2427462"/>
              <a:gd name="connsiteY102" fmla="*/ 1140635 h 2362633"/>
              <a:gd name="connsiteX103" fmla="*/ 467237 w 2427462"/>
              <a:gd name="connsiteY103" fmla="*/ 969399 h 2362633"/>
              <a:gd name="connsiteX104" fmla="*/ 863217 w 2427462"/>
              <a:gd name="connsiteY104" fmla="*/ 1114556 h 2362633"/>
              <a:gd name="connsiteX105" fmla="*/ 1171281 w 2427462"/>
              <a:gd name="connsiteY105" fmla="*/ 255418 h 2362633"/>
              <a:gd name="connsiteX106" fmla="*/ 1171281 w 2427462"/>
              <a:gd name="connsiteY106" fmla="*/ 968882 h 2362633"/>
              <a:gd name="connsiteX107" fmla="*/ 863217 w 2427462"/>
              <a:gd name="connsiteY107" fmla="*/ 1114556 h 2362633"/>
              <a:gd name="connsiteX108" fmla="*/ 1243084 w 2427462"/>
              <a:gd name="connsiteY108" fmla="*/ 969514 h 2362633"/>
              <a:gd name="connsiteX109" fmla="*/ 1243084 w 2427462"/>
              <a:gd name="connsiteY109" fmla="*/ 244849 h 2362633"/>
              <a:gd name="connsiteX110" fmla="*/ 1560368 w 2427462"/>
              <a:gd name="connsiteY110" fmla="*/ 1133886 h 2362633"/>
              <a:gd name="connsiteX111" fmla="*/ 1243084 w 2427462"/>
              <a:gd name="connsiteY111" fmla="*/ 969514 h 2362633"/>
              <a:gd name="connsiteX112" fmla="*/ 1632659 w 2427462"/>
              <a:gd name="connsiteY112" fmla="*/ 1145173 h 2362633"/>
              <a:gd name="connsiteX113" fmla="*/ 1300096 w 2427462"/>
              <a:gd name="connsiteY113" fmla="*/ 201077 h 2362633"/>
              <a:gd name="connsiteX114" fmla="*/ 1955744 w 2427462"/>
              <a:gd name="connsiteY114" fmla="*/ 969773 h 2362633"/>
              <a:gd name="connsiteX115" fmla="*/ 1632659 w 2427462"/>
              <a:gd name="connsiteY115" fmla="*/ 1145173 h 2362633"/>
              <a:gd name="connsiteX116" fmla="*/ 2029759 w 2427462"/>
              <a:gd name="connsiteY116" fmla="*/ 969428 h 2362633"/>
              <a:gd name="connsiteX117" fmla="*/ 1498789 w 2427462"/>
              <a:gd name="connsiteY117" fmla="*/ 206247 h 2362633"/>
              <a:gd name="connsiteX118" fmla="*/ 2337909 w 2427462"/>
              <a:gd name="connsiteY118" fmla="*/ 1113465 h 2362633"/>
              <a:gd name="connsiteX119" fmla="*/ 2029759 w 2427462"/>
              <a:gd name="connsiteY119" fmla="*/ 969428 h 2362633"/>
              <a:gd name="connsiteX0" fmla="*/ 2426859 w 2427462"/>
              <a:gd name="connsiteY0" fmla="*/ 1305036 h 2345578"/>
              <a:gd name="connsiteX1" fmla="*/ 2275440 w 2427462"/>
              <a:gd name="connsiteY1" fmla="*/ 725154 h 2345578"/>
              <a:gd name="connsiteX2" fmla="*/ 2275440 w 2427462"/>
              <a:gd name="connsiteY2" fmla="*/ 516753 h 2345578"/>
              <a:gd name="connsiteX3" fmla="*/ 2203637 w 2427462"/>
              <a:gd name="connsiteY3" fmla="*/ 516753 h 2345578"/>
              <a:gd name="connsiteX4" fmla="*/ 2203637 w 2427462"/>
              <a:gd name="connsiteY4" fmla="*/ 611418 h 2345578"/>
              <a:gd name="connsiteX5" fmla="*/ 2122988 w 2427462"/>
              <a:gd name="connsiteY5" fmla="*/ 509601 h 2345578"/>
              <a:gd name="connsiteX6" fmla="*/ 2122988 w 2427462"/>
              <a:gd name="connsiteY6" fmla="*/ 353444 h 2345578"/>
              <a:gd name="connsiteX7" fmla="*/ 2051185 w 2427462"/>
              <a:gd name="connsiteY7" fmla="*/ 353444 h 2345578"/>
              <a:gd name="connsiteX8" fmla="*/ 2051185 w 2427462"/>
              <a:gd name="connsiteY8" fmla="*/ 434897 h 2345578"/>
              <a:gd name="connsiteX9" fmla="*/ 1956204 w 2427462"/>
              <a:gd name="connsiteY9" fmla="*/ 352984 h 2345578"/>
              <a:gd name="connsiteX10" fmla="*/ 1956204 w 2427462"/>
              <a:gd name="connsiteY10" fmla="*/ 224715 h 2345578"/>
              <a:gd name="connsiteX11" fmla="*/ 1884401 w 2427462"/>
              <a:gd name="connsiteY11" fmla="*/ 224715 h 2345578"/>
              <a:gd name="connsiteX12" fmla="*/ 1884401 w 2427462"/>
              <a:gd name="connsiteY12" fmla="*/ 301027 h 2345578"/>
              <a:gd name="connsiteX13" fmla="*/ 1814350 w 2427462"/>
              <a:gd name="connsiteY13" fmla="*/ 257945 h 2345578"/>
              <a:gd name="connsiteX14" fmla="*/ 1814350 w 2427462"/>
              <a:gd name="connsiteY14" fmla="*/ 172040 h 2345578"/>
              <a:gd name="connsiteX15" fmla="*/ 1742546 w 2427462"/>
              <a:gd name="connsiteY15" fmla="*/ 172040 h 2345578"/>
              <a:gd name="connsiteX16" fmla="*/ 1742546 w 2427462"/>
              <a:gd name="connsiteY16" fmla="*/ 219717 h 2345578"/>
              <a:gd name="connsiteX17" fmla="*/ 1684616 w 2427462"/>
              <a:gd name="connsiteY17" fmla="*/ 193294 h 2345578"/>
              <a:gd name="connsiteX18" fmla="*/ 1684616 w 2427462"/>
              <a:gd name="connsiteY18" fmla="*/ 138465 h 2345578"/>
              <a:gd name="connsiteX19" fmla="*/ 1612813 w 2427462"/>
              <a:gd name="connsiteY19" fmla="*/ 138465 h 2345578"/>
              <a:gd name="connsiteX20" fmla="*/ 1612813 w 2427462"/>
              <a:gd name="connsiteY20" fmla="*/ 165894 h 2345578"/>
              <a:gd name="connsiteX21" fmla="*/ 1543795 w 2427462"/>
              <a:gd name="connsiteY21" fmla="*/ 144152 h 2345578"/>
              <a:gd name="connsiteX22" fmla="*/ 1543795 w 2427462"/>
              <a:gd name="connsiteY22" fmla="*/ 4509 h 2345578"/>
              <a:gd name="connsiteX23" fmla="*/ 1471992 w 2427462"/>
              <a:gd name="connsiteY23" fmla="*/ 4509 h 2345578"/>
              <a:gd name="connsiteX24" fmla="*/ 1471992 w 2427462"/>
              <a:gd name="connsiteY24" fmla="*/ 126058 h 2345578"/>
              <a:gd name="connsiteX25" fmla="*/ 1243084 w 2427462"/>
              <a:gd name="connsiteY25" fmla="*/ 98801 h 2345578"/>
              <a:gd name="connsiteX26" fmla="*/ 1243084 w 2427462"/>
              <a:gd name="connsiteY26" fmla="*/ 0 h 2345578"/>
              <a:gd name="connsiteX27" fmla="*/ 1171281 w 2427462"/>
              <a:gd name="connsiteY27" fmla="*/ 0 h 2345578"/>
              <a:gd name="connsiteX28" fmla="*/ 1171281 w 2427462"/>
              <a:gd name="connsiteY28" fmla="*/ 99117 h 2345578"/>
              <a:gd name="connsiteX29" fmla="*/ 958973 w 2427462"/>
              <a:gd name="connsiteY29" fmla="*/ 125110 h 2345578"/>
              <a:gd name="connsiteX30" fmla="*/ 958973 w 2427462"/>
              <a:gd name="connsiteY30" fmla="*/ 0 h 2345578"/>
              <a:gd name="connsiteX31" fmla="*/ 887170 w 2427462"/>
              <a:gd name="connsiteY31" fmla="*/ 0 h 2345578"/>
              <a:gd name="connsiteX32" fmla="*/ 887170 w 2427462"/>
              <a:gd name="connsiteY32" fmla="*/ 142974 h 2345578"/>
              <a:gd name="connsiteX33" fmla="*/ 817493 w 2427462"/>
              <a:gd name="connsiteY33" fmla="*/ 164745 h 2345578"/>
              <a:gd name="connsiteX34" fmla="*/ 817493 w 2427462"/>
              <a:gd name="connsiteY34" fmla="*/ 133956 h 2345578"/>
              <a:gd name="connsiteX35" fmla="*/ 745690 w 2427462"/>
              <a:gd name="connsiteY35" fmla="*/ 133956 h 2345578"/>
              <a:gd name="connsiteX36" fmla="*/ 745690 w 2427462"/>
              <a:gd name="connsiteY36" fmla="*/ 191944 h 2345578"/>
              <a:gd name="connsiteX37" fmla="*/ 687156 w 2427462"/>
              <a:gd name="connsiteY37" fmla="*/ 218253 h 2345578"/>
              <a:gd name="connsiteX38" fmla="*/ 687156 w 2427462"/>
              <a:gd name="connsiteY38" fmla="*/ 167560 h 2345578"/>
              <a:gd name="connsiteX39" fmla="*/ 615353 w 2427462"/>
              <a:gd name="connsiteY39" fmla="*/ 167560 h 2345578"/>
              <a:gd name="connsiteX40" fmla="*/ 615353 w 2427462"/>
              <a:gd name="connsiteY40" fmla="*/ 256337 h 2345578"/>
              <a:gd name="connsiteX41" fmla="*/ 544641 w 2427462"/>
              <a:gd name="connsiteY41" fmla="*/ 299706 h 2345578"/>
              <a:gd name="connsiteX42" fmla="*/ 544641 w 2427462"/>
              <a:gd name="connsiteY42" fmla="*/ 220206 h 2345578"/>
              <a:gd name="connsiteX43" fmla="*/ 472838 w 2427462"/>
              <a:gd name="connsiteY43" fmla="*/ 220206 h 2345578"/>
              <a:gd name="connsiteX44" fmla="*/ 472838 w 2427462"/>
              <a:gd name="connsiteY44" fmla="*/ 351261 h 2345578"/>
              <a:gd name="connsiteX45" fmla="*/ 377110 w 2427462"/>
              <a:gd name="connsiteY45" fmla="*/ 433547 h 2345578"/>
              <a:gd name="connsiteX46" fmla="*/ 377110 w 2427462"/>
              <a:gd name="connsiteY46" fmla="*/ 348906 h 2345578"/>
              <a:gd name="connsiteX47" fmla="*/ 305307 w 2427462"/>
              <a:gd name="connsiteY47" fmla="*/ 348906 h 2345578"/>
              <a:gd name="connsiteX48" fmla="*/ 305307 w 2427462"/>
              <a:gd name="connsiteY48" fmla="*/ 507906 h 2345578"/>
              <a:gd name="connsiteX49" fmla="*/ 223940 w 2427462"/>
              <a:gd name="connsiteY49" fmla="*/ 610441 h 2345578"/>
              <a:gd name="connsiteX50" fmla="*/ 223940 w 2427462"/>
              <a:gd name="connsiteY50" fmla="*/ 512186 h 2345578"/>
              <a:gd name="connsiteX51" fmla="*/ 152136 w 2427462"/>
              <a:gd name="connsiteY51" fmla="*/ 512186 h 2345578"/>
              <a:gd name="connsiteX52" fmla="*/ 152136 w 2427462"/>
              <a:gd name="connsiteY52" fmla="*/ 722741 h 2345578"/>
              <a:gd name="connsiteX53" fmla="*/ 152912 w 2427462"/>
              <a:gd name="connsiteY53" fmla="*/ 722741 h 2345578"/>
              <a:gd name="connsiteX54" fmla="*/ 0 w 2427462"/>
              <a:gd name="connsiteY54" fmla="*/ 1311527 h 2345578"/>
              <a:gd name="connsiteX55" fmla="*/ 37740 w 2427462"/>
              <a:gd name="connsiteY55" fmla="*/ 1347428 h 2345578"/>
              <a:gd name="connsiteX56" fmla="*/ 73440 w 2427462"/>
              <a:gd name="connsiteY56" fmla="*/ 1315375 h 2345578"/>
              <a:gd name="connsiteX57" fmla="*/ 429210 w 2427462"/>
              <a:gd name="connsiteY57" fmla="*/ 1039565 h 2345578"/>
              <a:gd name="connsiteX58" fmla="*/ 781246 w 2427462"/>
              <a:gd name="connsiteY58" fmla="*/ 1292657 h 2345578"/>
              <a:gd name="connsiteX59" fmla="*/ 816459 w 2427462"/>
              <a:gd name="connsiteY59" fmla="*/ 1321579 h 2345578"/>
              <a:gd name="connsiteX60" fmla="*/ 851671 w 2427462"/>
              <a:gd name="connsiteY60" fmla="*/ 1292657 h 2345578"/>
              <a:gd name="connsiteX61" fmla="*/ 1171281 w 2427462"/>
              <a:gd name="connsiteY61" fmla="*/ 1040800 h 2345578"/>
              <a:gd name="connsiteX62" fmla="*/ 1171281 w 2427462"/>
              <a:gd name="connsiteY62" fmla="*/ 1175158 h 2345578"/>
              <a:gd name="connsiteX63" fmla="*/ 1147414 w 2427462"/>
              <a:gd name="connsiteY63" fmla="*/ 1175158 h 2345578"/>
              <a:gd name="connsiteX64" fmla="*/ 1111512 w 2427462"/>
              <a:gd name="connsiteY64" fmla="*/ 1211060 h 2345578"/>
              <a:gd name="connsiteX65" fmla="*/ 1147414 w 2427462"/>
              <a:gd name="connsiteY65" fmla="*/ 1246961 h 2345578"/>
              <a:gd name="connsiteX66" fmla="*/ 1171281 w 2427462"/>
              <a:gd name="connsiteY66" fmla="*/ 1246961 h 2345578"/>
              <a:gd name="connsiteX67" fmla="*/ 1171281 w 2427462"/>
              <a:gd name="connsiteY67" fmla="*/ 2137320 h 2345578"/>
              <a:gd name="connsiteX68" fmla="*/ 1147414 w 2427462"/>
              <a:gd name="connsiteY68" fmla="*/ 2137320 h 2345578"/>
              <a:gd name="connsiteX69" fmla="*/ 1111512 w 2427462"/>
              <a:gd name="connsiteY69" fmla="*/ 2173221 h 2345578"/>
              <a:gd name="connsiteX70" fmla="*/ 1147414 w 2427462"/>
              <a:gd name="connsiteY70" fmla="*/ 2209123 h 2345578"/>
              <a:gd name="connsiteX71" fmla="*/ 1171281 w 2427462"/>
              <a:gd name="connsiteY71" fmla="*/ 2209123 h 2345578"/>
              <a:gd name="connsiteX72" fmla="*/ 1171281 w 2427462"/>
              <a:gd name="connsiteY72" fmla="*/ 2345578 h 2345578"/>
              <a:gd name="connsiteX73" fmla="*/ 1243084 w 2427462"/>
              <a:gd name="connsiteY73" fmla="*/ 2209152 h 2345578"/>
              <a:gd name="connsiteX74" fmla="*/ 1275912 w 2427462"/>
              <a:gd name="connsiteY74" fmla="*/ 2209152 h 2345578"/>
              <a:gd name="connsiteX75" fmla="*/ 1311814 w 2427462"/>
              <a:gd name="connsiteY75" fmla="*/ 2173250 h 2345578"/>
              <a:gd name="connsiteX76" fmla="*/ 1275912 w 2427462"/>
              <a:gd name="connsiteY76" fmla="*/ 2137349 h 2345578"/>
              <a:gd name="connsiteX77" fmla="*/ 1243084 w 2427462"/>
              <a:gd name="connsiteY77" fmla="*/ 2137349 h 2345578"/>
              <a:gd name="connsiteX78" fmla="*/ 1243084 w 2427462"/>
              <a:gd name="connsiteY78" fmla="*/ 1246990 h 2345578"/>
              <a:gd name="connsiteX79" fmla="*/ 1275912 w 2427462"/>
              <a:gd name="connsiteY79" fmla="*/ 1246990 h 2345578"/>
              <a:gd name="connsiteX80" fmla="*/ 1311814 w 2427462"/>
              <a:gd name="connsiteY80" fmla="*/ 1211089 h 2345578"/>
              <a:gd name="connsiteX81" fmla="*/ 1275912 w 2427462"/>
              <a:gd name="connsiteY81" fmla="*/ 1175187 h 2345578"/>
              <a:gd name="connsiteX82" fmla="*/ 1243084 w 2427462"/>
              <a:gd name="connsiteY82" fmla="*/ 1175187 h 2345578"/>
              <a:gd name="connsiteX83" fmla="*/ 1243084 w 2427462"/>
              <a:gd name="connsiteY83" fmla="*/ 1041576 h 2345578"/>
              <a:gd name="connsiteX84" fmla="*/ 1559449 w 2427462"/>
              <a:gd name="connsiteY84" fmla="*/ 1315404 h 2345578"/>
              <a:gd name="connsiteX85" fmla="*/ 1595149 w 2427462"/>
              <a:gd name="connsiteY85" fmla="*/ 1347457 h 2345578"/>
              <a:gd name="connsiteX86" fmla="*/ 1606207 w 2427462"/>
              <a:gd name="connsiteY86" fmla="*/ 1347457 h 2345578"/>
              <a:gd name="connsiteX87" fmla="*/ 1641907 w 2427462"/>
              <a:gd name="connsiteY87" fmla="*/ 1315404 h 2345578"/>
              <a:gd name="connsiteX88" fmla="*/ 1997706 w 2427462"/>
              <a:gd name="connsiteY88" fmla="*/ 1039594 h 2345578"/>
              <a:gd name="connsiteX89" fmla="*/ 2353447 w 2427462"/>
              <a:gd name="connsiteY89" fmla="*/ 1315404 h 2345578"/>
              <a:gd name="connsiteX90" fmla="*/ 2389148 w 2427462"/>
              <a:gd name="connsiteY90" fmla="*/ 1347457 h 2345578"/>
              <a:gd name="connsiteX91" fmla="*/ 2390986 w 2427462"/>
              <a:gd name="connsiteY91" fmla="*/ 1347457 h 2345578"/>
              <a:gd name="connsiteX92" fmla="*/ 2391560 w 2427462"/>
              <a:gd name="connsiteY92" fmla="*/ 1347457 h 2345578"/>
              <a:gd name="connsiteX93" fmla="*/ 2427462 w 2427462"/>
              <a:gd name="connsiteY93" fmla="*/ 1311556 h 2345578"/>
              <a:gd name="connsiteX94" fmla="*/ 2426859 w 2427462"/>
              <a:gd name="connsiteY94" fmla="*/ 1305036 h 2345578"/>
              <a:gd name="connsiteX95" fmla="*/ 88978 w 2427462"/>
              <a:gd name="connsiteY95" fmla="*/ 1113465 h 2345578"/>
              <a:gd name="connsiteX96" fmla="*/ 920889 w 2427462"/>
              <a:gd name="connsiteY96" fmla="*/ 208057 h 2345578"/>
              <a:gd name="connsiteX97" fmla="*/ 393050 w 2427462"/>
              <a:gd name="connsiteY97" fmla="*/ 969629 h 2345578"/>
              <a:gd name="connsiteX98" fmla="*/ 88978 w 2427462"/>
              <a:gd name="connsiteY98" fmla="*/ 1113465 h 2345578"/>
              <a:gd name="connsiteX99" fmla="*/ 467237 w 2427462"/>
              <a:gd name="connsiteY99" fmla="*/ 969399 h 2345578"/>
              <a:gd name="connsiteX100" fmla="*/ 1122800 w 2427462"/>
              <a:gd name="connsiteY100" fmla="*/ 201077 h 2345578"/>
              <a:gd name="connsiteX101" fmla="*/ 790409 w 2427462"/>
              <a:gd name="connsiteY101" fmla="*/ 1140635 h 2345578"/>
              <a:gd name="connsiteX102" fmla="*/ 467237 w 2427462"/>
              <a:gd name="connsiteY102" fmla="*/ 969399 h 2345578"/>
              <a:gd name="connsiteX103" fmla="*/ 863217 w 2427462"/>
              <a:gd name="connsiteY103" fmla="*/ 1114556 h 2345578"/>
              <a:gd name="connsiteX104" fmla="*/ 1171281 w 2427462"/>
              <a:gd name="connsiteY104" fmla="*/ 255418 h 2345578"/>
              <a:gd name="connsiteX105" fmla="*/ 1171281 w 2427462"/>
              <a:gd name="connsiteY105" fmla="*/ 968882 h 2345578"/>
              <a:gd name="connsiteX106" fmla="*/ 863217 w 2427462"/>
              <a:gd name="connsiteY106" fmla="*/ 1114556 h 2345578"/>
              <a:gd name="connsiteX107" fmla="*/ 1243084 w 2427462"/>
              <a:gd name="connsiteY107" fmla="*/ 969514 h 2345578"/>
              <a:gd name="connsiteX108" fmla="*/ 1243084 w 2427462"/>
              <a:gd name="connsiteY108" fmla="*/ 244849 h 2345578"/>
              <a:gd name="connsiteX109" fmla="*/ 1560368 w 2427462"/>
              <a:gd name="connsiteY109" fmla="*/ 1133886 h 2345578"/>
              <a:gd name="connsiteX110" fmla="*/ 1243084 w 2427462"/>
              <a:gd name="connsiteY110" fmla="*/ 969514 h 2345578"/>
              <a:gd name="connsiteX111" fmla="*/ 1632659 w 2427462"/>
              <a:gd name="connsiteY111" fmla="*/ 1145173 h 2345578"/>
              <a:gd name="connsiteX112" fmla="*/ 1300096 w 2427462"/>
              <a:gd name="connsiteY112" fmla="*/ 201077 h 2345578"/>
              <a:gd name="connsiteX113" fmla="*/ 1955744 w 2427462"/>
              <a:gd name="connsiteY113" fmla="*/ 969773 h 2345578"/>
              <a:gd name="connsiteX114" fmla="*/ 1632659 w 2427462"/>
              <a:gd name="connsiteY114" fmla="*/ 1145173 h 2345578"/>
              <a:gd name="connsiteX115" fmla="*/ 2029759 w 2427462"/>
              <a:gd name="connsiteY115" fmla="*/ 969428 h 2345578"/>
              <a:gd name="connsiteX116" fmla="*/ 1498789 w 2427462"/>
              <a:gd name="connsiteY116" fmla="*/ 206247 h 2345578"/>
              <a:gd name="connsiteX117" fmla="*/ 2337909 w 2427462"/>
              <a:gd name="connsiteY117" fmla="*/ 1113465 h 2345578"/>
              <a:gd name="connsiteX118" fmla="*/ 2029759 w 2427462"/>
              <a:gd name="connsiteY118" fmla="*/ 969428 h 2345578"/>
              <a:gd name="connsiteX0" fmla="*/ 2426859 w 2427462"/>
              <a:gd name="connsiteY0" fmla="*/ 1305036 h 2209152"/>
              <a:gd name="connsiteX1" fmla="*/ 2275440 w 2427462"/>
              <a:gd name="connsiteY1" fmla="*/ 725154 h 2209152"/>
              <a:gd name="connsiteX2" fmla="*/ 2275440 w 2427462"/>
              <a:gd name="connsiteY2" fmla="*/ 516753 h 2209152"/>
              <a:gd name="connsiteX3" fmla="*/ 2203637 w 2427462"/>
              <a:gd name="connsiteY3" fmla="*/ 516753 h 2209152"/>
              <a:gd name="connsiteX4" fmla="*/ 2203637 w 2427462"/>
              <a:gd name="connsiteY4" fmla="*/ 611418 h 2209152"/>
              <a:gd name="connsiteX5" fmla="*/ 2122988 w 2427462"/>
              <a:gd name="connsiteY5" fmla="*/ 509601 h 2209152"/>
              <a:gd name="connsiteX6" fmla="*/ 2122988 w 2427462"/>
              <a:gd name="connsiteY6" fmla="*/ 353444 h 2209152"/>
              <a:gd name="connsiteX7" fmla="*/ 2051185 w 2427462"/>
              <a:gd name="connsiteY7" fmla="*/ 353444 h 2209152"/>
              <a:gd name="connsiteX8" fmla="*/ 2051185 w 2427462"/>
              <a:gd name="connsiteY8" fmla="*/ 434897 h 2209152"/>
              <a:gd name="connsiteX9" fmla="*/ 1956204 w 2427462"/>
              <a:gd name="connsiteY9" fmla="*/ 352984 h 2209152"/>
              <a:gd name="connsiteX10" fmla="*/ 1956204 w 2427462"/>
              <a:gd name="connsiteY10" fmla="*/ 224715 h 2209152"/>
              <a:gd name="connsiteX11" fmla="*/ 1884401 w 2427462"/>
              <a:gd name="connsiteY11" fmla="*/ 224715 h 2209152"/>
              <a:gd name="connsiteX12" fmla="*/ 1884401 w 2427462"/>
              <a:gd name="connsiteY12" fmla="*/ 301027 h 2209152"/>
              <a:gd name="connsiteX13" fmla="*/ 1814350 w 2427462"/>
              <a:gd name="connsiteY13" fmla="*/ 257945 h 2209152"/>
              <a:gd name="connsiteX14" fmla="*/ 1814350 w 2427462"/>
              <a:gd name="connsiteY14" fmla="*/ 172040 h 2209152"/>
              <a:gd name="connsiteX15" fmla="*/ 1742546 w 2427462"/>
              <a:gd name="connsiteY15" fmla="*/ 172040 h 2209152"/>
              <a:gd name="connsiteX16" fmla="*/ 1742546 w 2427462"/>
              <a:gd name="connsiteY16" fmla="*/ 219717 h 2209152"/>
              <a:gd name="connsiteX17" fmla="*/ 1684616 w 2427462"/>
              <a:gd name="connsiteY17" fmla="*/ 193294 h 2209152"/>
              <a:gd name="connsiteX18" fmla="*/ 1684616 w 2427462"/>
              <a:gd name="connsiteY18" fmla="*/ 138465 h 2209152"/>
              <a:gd name="connsiteX19" fmla="*/ 1612813 w 2427462"/>
              <a:gd name="connsiteY19" fmla="*/ 138465 h 2209152"/>
              <a:gd name="connsiteX20" fmla="*/ 1612813 w 2427462"/>
              <a:gd name="connsiteY20" fmla="*/ 165894 h 2209152"/>
              <a:gd name="connsiteX21" fmla="*/ 1543795 w 2427462"/>
              <a:gd name="connsiteY21" fmla="*/ 144152 h 2209152"/>
              <a:gd name="connsiteX22" fmla="*/ 1543795 w 2427462"/>
              <a:gd name="connsiteY22" fmla="*/ 4509 h 2209152"/>
              <a:gd name="connsiteX23" fmla="*/ 1471992 w 2427462"/>
              <a:gd name="connsiteY23" fmla="*/ 4509 h 2209152"/>
              <a:gd name="connsiteX24" fmla="*/ 1471992 w 2427462"/>
              <a:gd name="connsiteY24" fmla="*/ 126058 h 2209152"/>
              <a:gd name="connsiteX25" fmla="*/ 1243084 w 2427462"/>
              <a:gd name="connsiteY25" fmla="*/ 98801 h 2209152"/>
              <a:gd name="connsiteX26" fmla="*/ 1243084 w 2427462"/>
              <a:gd name="connsiteY26" fmla="*/ 0 h 2209152"/>
              <a:gd name="connsiteX27" fmla="*/ 1171281 w 2427462"/>
              <a:gd name="connsiteY27" fmla="*/ 0 h 2209152"/>
              <a:gd name="connsiteX28" fmla="*/ 1171281 w 2427462"/>
              <a:gd name="connsiteY28" fmla="*/ 99117 h 2209152"/>
              <a:gd name="connsiteX29" fmla="*/ 958973 w 2427462"/>
              <a:gd name="connsiteY29" fmla="*/ 125110 h 2209152"/>
              <a:gd name="connsiteX30" fmla="*/ 958973 w 2427462"/>
              <a:gd name="connsiteY30" fmla="*/ 0 h 2209152"/>
              <a:gd name="connsiteX31" fmla="*/ 887170 w 2427462"/>
              <a:gd name="connsiteY31" fmla="*/ 0 h 2209152"/>
              <a:gd name="connsiteX32" fmla="*/ 887170 w 2427462"/>
              <a:gd name="connsiteY32" fmla="*/ 142974 h 2209152"/>
              <a:gd name="connsiteX33" fmla="*/ 817493 w 2427462"/>
              <a:gd name="connsiteY33" fmla="*/ 164745 h 2209152"/>
              <a:gd name="connsiteX34" fmla="*/ 817493 w 2427462"/>
              <a:gd name="connsiteY34" fmla="*/ 133956 h 2209152"/>
              <a:gd name="connsiteX35" fmla="*/ 745690 w 2427462"/>
              <a:gd name="connsiteY35" fmla="*/ 133956 h 2209152"/>
              <a:gd name="connsiteX36" fmla="*/ 745690 w 2427462"/>
              <a:gd name="connsiteY36" fmla="*/ 191944 h 2209152"/>
              <a:gd name="connsiteX37" fmla="*/ 687156 w 2427462"/>
              <a:gd name="connsiteY37" fmla="*/ 218253 h 2209152"/>
              <a:gd name="connsiteX38" fmla="*/ 687156 w 2427462"/>
              <a:gd name="connsiteY38" fmla="*/ 167560 h 2209152"/>
              <a:gd name="connsiteX39" fmla="*/ 615353 w 2427462"/>
              <a:gd name="connsiteY39" fmla="*/ 167560 h 2209152"/>
              <a:gd name="connsiteX40" fmla="*/ 615353 w 2427462"/>
              <a:gd name="connsiteY40" fmla="*/ 256337 h 2209152"/>
              <a:gd name="connsiteX41" fmla="*/ 544641 w 2427462"/>
              <a:gd name="connsiteY41" fmla="*/ 299706 h 2209152"/>
              <a:gd name="connsiteX42" fmla="*/ 544641 w 2427462"/>
              <a:gd name="connsiteY42" fmla="*/ 220206 h 2209152"/>
              <a:gd name="connsiteX43" fmla="*/ 472838 w 2427462"/>
              <a:gd name="connsiteY43" fmla="*/ 220206 h 2209152"/>
              <a:gd name="connsiteX44" fmla="*/ 472838 w 2427462"/>
              <a:gd name="connsiteY44" fmla="*/ 351261 h 2209152"/>
              <a:gd name="connsiteX45" fmla="*/ 377110 w 2427462"/>
              <a:gd name="connsiteY45" fmla="*/ 433547 h 2209152"/>
              <a:gd name="connsiteX46" fmla="*/ 377110 w 2427462"/>
              <a:gd name="connsiteY46" fmla="*/ 348906 h 2209152"/>
              <a:gd name="connsiteX47" fmla="*/ 305307 w 2427462"/>
              <a:gd name="connsiteY47" fmla="*/ 348906 h 2209152"/>
              <a:gd name="connsiteX48" fmla="*/ 305307 w 2427462"/>
              <a:gd name="connsiteY48" fmla="*/ 507906 h 2209152"/>
              <a:gd name="connsiteX49" fmla="*/ 223940 w 2427462"/>
              <a:gd name="connsiteY49" fmla="*/ 610441 h 2209152"/>
              <a:gd name="connsiteX50" fmla="*/ 223940 w 2427462"/>
              <a:gd name="connsiteY50" fmla="*/ 512186 h 2209152"/>
              <a:gd name="connsiteX51" fmla="*/ 152136 w 2427462"/>
              <a:gd name="connsiteY51" fmla="*/ 512186 h 2209152"/>
              <a:gd name="connsiteX52" fmla="*/ 152136 w 2427462"/>
              <a:gd name="connsiteY52" fmla="*/ 722741 h 2209152"/>
              <a:gd name="connsiteX53" fmla="*/ 152912 w 2427462"/>
              <a:gd name="connsiteY53" fmla="*/ 722741 h 2209152"/>
              <a:gd name="connsiteX54" fmla="*/ 0 w 2427462"/>
              <a:gd name="connsiteY54" fmla="*/ 1311527 h 2209152"/>
              <a:gd name="connsiteX55" fmla="*/ 37740 w 2427462"/>
              <a:gd name="connsiteY55" fmla="*/ 1347428 h 2209152"/>
              <a:gd name="connsiteX56" fmla="*/ 73440 w 2427462"/>
              <a:gd name="connsiteY56" fmla="*/ 1315375 h 2209152"/>
              <a:gd name="connsiteX57" fmla="*/ 429210 w 2427462"/>
              <a:gd name="connsiteY57" fmla="*/ 1039565 h 2209152"/>
              <a:gd name="connsiteX58" fmla="*/ 781246 w 2427462"/>
              <a:gd name="connsiteY58" fmla="*/ 1292657 h 2209152"/>
              <a:gd name="connsiteX59" fmla="*/ 816459 w 2427462"/>
              <a:gd name="connsiteY59" fmla="*/ 1321579 h 2209152"/>
              <a:gd name="connsiteX60" fmla="*/ 851671 w 2427462"/>
              <a:gd name="connsiteY60" fmla="*/ 1292657 h 2209152"/>
              <a:gd name="connsiteX61" fmla="*/ 1171281 w 2427462"/>
              <a:gd name="connsiteY61" fmla="*/ 1040800 h 2209152"/>
              <a:gd name="connsiteX62" fmla="*/ 1171281 w 2427462"/>
              <a:gd name="connsiteY62" fmla="*/ 1175158 h 2209152"/>
              <a:gd name="connsiteX63" fmla="*/ 1147414 w 2427462"/>
              <a:gd name="connsiteY63" fmla="*/ 1175158 h 2209152"/>
              <a:gd name="connsiteX64" fmla="*/ 1111512 w 2427462"/>
              <a:gd name="connsiteY64" fmla="*/ 1211060 h 2209152"/>
              <a:gd name="connsiteX65" fmla="*/ 1147414 w 2427462"/>
              <a:gd name="connsiteY65" fmla="*/ 1246961 h 2209152"/>
              <a:gd name="connsiteX66" fmla="*/ 1171281 w 2427462"/>
              <a:gd name="connsiteY66" fmla="*/ 1246961 h 2209152"/>
              <a:gd name="connsiteX67" fmla="*/ 1171281 w 2427462"/>
              <a:gd name="connsiteY67" fmla="*/ 2137320 h 2209152"/>
              <a:gd name="connsiteX68" fmla="*/ 1147414 w 2427462"/>
              <a:gd name="connsiteY68" fmla="*/ 2137320 h 2209152"/>
              <a:gd name="connsiteX69" fmla="*/ 1111512 w 2427462"/>
              <a:gd name="connsiteY69" fmla="*/ 2173221 h 2209152"/>
              <a:gd name="connsiteX70" fmla="*/ 1147414 w 2427462"/>
              <a:gd name="connsiteY70" fmla="*/ 2209123 h 2209152"/>
              <a:gd name="connsiteX71" fmla="*/ 1171281 w 2427462"/>
              <a:gd name="connsiteY71" fmla="*/ 2209123 h 2209152"/>
              <a:gd name="connsiteX72" fmla="*/ 1243084 w 2427462"/>
              <a:gd name="connsiteY72" fmla="*/ 2209152 h 2209152"/>
              <a:gd name="connsiteX73" fmla="*/ 1275912 w 2427462"/>
              <a:gd name="connsiteY73" fmla="*/ 2209152 h 2209152"/>
              <a:gd name="connsiteX74" fmla="*/ 1311814 w 2427462"/>
              <a:gd name="connsiteY74" fmla="*/ 2173250 h 2209152"/>
              <a:gd name="connsiteX75" fmla="*/ 1275912 w 2427462"/>
              <a:gd name="connsiteY75" fmla="*/ 2137349 h 2209152"/>
              <a:gd name="connsiteX76" fmla="*/ 1243084 w 2427462"/>
              <a:gd name="connsiteY76" fmla="*/ 2137349 h 2209152"/>
              <a:gd name="connsiteX77" fmla="*/ 1243084 w 2427462"/>
              <a:gd name="connsiteY77" fmla="*/ 1246990 h 2209152"/>
              <a:gd name="connsiteX78" fmla="*/ 1275912 w 2427462"/>
              <a:gd name="connsiteY78" fmla="*/ 1246990 h 2209152"/>
              <a:gd name="connsiteX79" fmla="*/ 1311814 w 2427462"/>
              <a:gd name="connsiteY79" fmla="*/ 1211089 h 2209152"/>
              <a:gd name="connsiteX80" fmla="*/ 1275912 w 2427462"/>
              <a:gd name="connsiteY80" fmla="*/ 1175187 h 2209152"/>
              <a:gd name="connsiteX81" fmla="*/ 1243084 w 2427462"/>
              <a:gd name="connsiteY81" fmla="*/ 1175187 h 2209152"/>
              <a:gd name="connsiteX82" fmla="*/ 1243084 w 2427462"/>
              <a:gd name="connsiteY82" fmla="*/ 1041576 h 2209152"/>
              <a:gd name="connsiteX83" fmla="*/ 1559449 w 2427462"/>
              <a:gd name="connsiteY83" fmla="*/ 1315404 h 2209152"/>
              <a:gd name="connsiteX84" fmla="*/ 1595149 w 2427462"/>
              <a:gd name="connsiteY84" fmla="*/ 1347457 h 2209152"/>
              <a:gd name="connsiteX85" fmla="*/ 1606207 w 2427462"/>
              <a:gd name="connsiteY85" fmla="*/ 1347457 h 2209152"/>
              <a:gd name="connsiteX86" fmla="*/ 1641907 w 2427462"/>
              <a:gd name="connsiteY86" fmla="*/ 1315404 h 2209152"/>
              <a:gd name="connsiteX87" fmla="*/ 1997706 w 2427462"/>
              <a:gd name="connsiteY87" fmla="*/ 1039594 h 2209152"/>
              <a:gd name="connsiteX88" fmla="*/ 2353447 w 2427462"/>
              <a:gd name="connsiteY88" fmla="*/ 1315404 h 2209152"/>
              <a:gd name="connsiteX89" fmla="*/ 2389148 w 2427462"/>
              <a:gd name="connsiteY89" fmla="*/ 1347457 h 2209152"/>
              <a:gd name="connsiteX90" fmla="*/ 2390986 w 2427462"/>
              <a:gd name="connsiteY90" fmla="*/ 1347457 h 2209152"/>
              <a:gd name="connsiteX91" fmla="*/ 2391560 w 2427462"/>
              <a:gd name="connsiteY91" fmla="*/ 1347457 h 2209152"/>
              <a:gd name="connsiteX92" fmla="*/ 2427462 w 2427462"/>
              <a:gd name="connsiteY92" fmla="*/ 1311556 h 2209152"/>
              <a:gd name="connsiteX93" fmla="*/ 2426859 w 2427462"/>
              <a:gd name="connsiteY93" fmla="*/ 1305036 h 2209152"/>
              <a:gd name="connsiteX94" fmla="*/ 88978 w 2427462"/>
              <a:gd name="connsiteY94" fmla="*/ 1113465 h 2209152"/>
              <a:gd name="connsiteX95" fmla="*/ 920889 w 2427462"/>
              <a:gd name="connsiteY95" fmla="*/ 208057 h 2209152"/>
              <a:gd name="connsiteX96" fmla="*/ 393050 w 2427462"/>
              <a:gd name="connsiteY96" fmla="*/ 969629 h 2209152"/>
              <a:gd name="connsiteX97" fmla="*/ 88978 w 2427462"/>
              <a:gd name="connsiteY97" fmla="*/ 1113465 h 2209152"/>
              <a:gd name="connsiteX98" fmla="*/ 467237 w 2427462"/>
              <a:gd name="connsiteY98" fmla="*/ 969399 h 2209152"/>
              <a:gd name="connsiteX99" fmla="*/ 1122800 w 2427462"/>
              <a:gd name="connsiteY99" fmla="*/ 201077 h 2209152"/>
              <a:gd name="connsiteX100" fmla="*/ 790409 w 2427462"/>
              <a:gd name="connsiteY100" fmla="*/ 1140635 h 2209152"/>
              <a:gd name="connsiteX101" fmla="*/ 467237 w 2427462"/>
              <a:gd name="connsiteY101" fmla="*/ 969399 h 2209152"/>
              <a:gd name="connsiteX102" fmla="*/ 863217 w 2427462"/>
              <a:gd name="connsiteY102" fmla="*/ 1114556 h 2209152"/>
              <a:gd name="connsiteX103" fmla="*/ 1171281 w 2427462"/>
              <a:gd name="connsiteY103" fmla="*/ 255418 h 2209152"/>
              <a:gd name="connsiteX104" fmla="*/ 1171281 w 2427462"/>
              <a:gd name="connsiteY104" fmla="*/ 968882 h 2209152"/>
              <a:gd name="connsiteX105" fmla="*/ 863217 w 2427462"/>
              <a:gd name="connsiteY105" fmla="*/ 1114556 h 2209152"/>
              <a:gd name="connsiteX106" fmla="*/ 1243084 w 2427462"/>
              <a:gd name="connsiteY106" fmla="*/ 969514 h 2209152"/>
              <a:gd name="connsiteX107" fmla="*/ 1243084 w 2427462"/>
              <a:gd name="connsiteY107" fmla="*/ 244849 h 2209152"/>
              <a:gd name="connsiteX108" fmla="*/ 1560368 w 2427462"/>
              <a:gd name="connsiteY108" fmla="*/ 1133886 h 2209152"/>
              <a:gd name="connsiteX109" fmla="*/ 1243084 w 2427462"/>
              <a:gd name="connsiteY109" fmla="*/ 969514 h 2209152"/>
              <a:gd name="connsiteX110" fmla="*/ 1632659 w 2427462"/>
              <a:gd name="connsiteY110" fmla="*/ 1145173 h 2209152"/>
              <a:gd name="connsiteX111" fmla="*/ 1300096 w 2427462"/>
              <a:gd name="connsiteY111" fmla="*/ 201077 h 2209152"/>
              <a:gd name="connsiteX112" fmla="*/ 1955744 w 2427462"/>
              <a:gd name="connsiteY112" fmla="*/ 969773 h 2209152"/>
              <a:gd name="connsiteX113" fmla="*/ 1632659 w 2427462"/>
              <a:gd name="connsiteY113" fmla="*/ 1145173 h 2209152"/>
              <a:gd name="connsiteX114" fmla="*/ 2029759 w 2427462"/>
              <a:gd name="connsiteY114" fmla="*/ 969428 h 2209152"/>
              <a:gd name="connsiteX115" fmla="*/ 1498789 w 2427462"/>
              <a:gd name="connsiteY115" fmla="*/ 206247 h 2209152"/>
              <a:gd name="connsiteX116" fmla="*/ 2337909 w 2427462"/>
              <a:gd name="connsiteY116" fmla="*/ 1113465 h 2209152"/>
              <a:gd name="connsiteX117" fmla="*/ 2029759 w 2427462"/>
              <a:gd name="connsiteY117" fmla="*/ 969428 h 2209152"/>
              <a:gd name="connsiteX0" fmla="*/ 2426859 w 2427462"/>
              <a:gd name="connsiteY0" fmla="*/ 1305036 h 2209152"/>
              <a:gd name="connsiteX1" fmla="*/ 2275440 w 2427462"/>
              <a:gd name="connsiteY1" fmla="*/ 725154 h 2209152"/>
              <a:gd name="connsiteX2" fmla="*/ 2275440 w 2427462"/>
              <a:gd name="connsiteY2" fmla="*/ 516753 h 2209152"/>
              <a:gd name="connsiteX3" fmla="*/ 2203637 w 2427462"/>
              <a:gd name="connsiteY3" fmla="*/ 516753 h 2209152"/>
              <a:gd name="connsiteX4" fmla="*/ 2203637 w 2427462"/>
              <a:gd name="connsiteY4" fmla="*/ 611418 h 2209152"/>
              <a:gd name="connsiteX5" fmla="*/ 2122988 w 2427462"/>
              <a:gd name="connsiteY5" fmla="*/ 509601 h 2209152"/>
              <a:gd name="connsiteX6" fmla="*/ 2122988 w 2427462"/>
              <a:gd name="connsiteY6" fmla="*/ 353444 h 2209152"/>
              <a:gd name="connsiteX7" fmla="*/ 2051185 w 2427462"/>
              <a:gd name="connsiteY7" fmla="*/ 353444 h 2209152"/>
              <a:gd name="connsiteX8" fmla="*/ 2051185 w 2427462"/>
              <a:gd name="connsiteY8" fmla="*/ 434897 h 2209152"/>
              <a:gd name="connsiteX9" fmla="*/ 1956204 w 2427462"/>
              <a:gd name="connsiteY9" fmla="*/ 352984 h 2209152"/>
              <a:gd name="connsiteX10" fmla="*/ 1956204 w 2427462"/>
              <a:gd name="connsiteY10" fmla="*/ 224715 h 2209152"/>
              <a:gd name="connsiteX11" fmla="*/ 1884401 w 2427462"/>
              <a:gd name="connsiteY11" fmla="*/ 224715 h 2209152"/>
              <a:gd name="connsiteX12" fmla="*/ 1884401 w 2427462"/>
              <a:gd name="connsiteY12" fmla="*/ 301027 h 2209152"/>
              <a:gd name="connsiteX13" fmla="*/ 1814350 w 2427462"/>
              <a:gd name="connsiteY13" fmla="*/ 257945 h 2209152"/>
              <a:gd name="connsiteX14" fmla="*/ 1814350 w 2427462"/>
              <a:gd name="connsiteY14" fmla="*/ 172040 h 2209152"/>
              <a:gd name="connsiteX15" fmla="*/ 1742546 w 2427462"/>
              <a:gd name="connsiteY15" fmla="*/ 172040 h 2209152"/>
              <a:gd name="connsiteX16" fmla="*/ 1742546 w 2427462"/>
              <a:gd name="connsiteY16" fmla="*/ 219717 h 2209152"/>
              <a:gd name="connsiteX17" fmla="*/ 1684616 w 2427462"/>
              <a:gd name="connsiteY17" fmla="*/ 193294 h 2209152"/>
              <a:gd name="connsiteX18" fmla="*/ 1684616 w 2427462"/>
              <a:gd name="connsiteY18" fmla="*/ 138465 h 2209152"/>
              <a:gd name="connsiteX19" fmla="*/ 1612813 w 2427462"/>
              <a:gd name="connsiteY19" fmla="*/ 138465 h 2209152"/>
              <a:gd name="connsiteX20" fmla="*/ 1612813 w 2427462"/>
              <a:gd name="connsiteY20" fmla="*/ 165894 h 2209152"/>
              <a:gd name="connsiteX21" fmla="*/ 1543795 w 2427462"/>
              <a:gd name="connsiteY21" fmla="*/ 144152 h 2209152"/>
              <a:gd name="connsiteX22" fmla="*/ 1543795 w 2427462"/>
              <a:gd name="connsiteY22" fmla="*/ 4509 h 2209152"/>
              <a:gd name="connsiteX23" fmla="*/ 1471992 w 2427462"/>
              <a:gd name="connsiteY23" fmla="*/ 4509 h 2209152"/>
              <a:gd name="connsiteX24" fmla="*/ 1471992 w 2427462"/>
              <a:gd name="connsiteY24" fmla="*/ 126058 h 2209152"/>
              <a:gd name="connsiteX25" fmla="*/ 1243084 w 2427462"/>
              <a:gd name="connsiteY25" fmla="*/ 98801 h 2209152"/>
              <a:gd name="connsiteX26" fmla="*/ 1243084 w 2427462"/>
              <a:gd name="connsiteY26" fmla="*/ 0 h 2209152"/>
              <a:gd name="connsiteX27" fmla="*/ 1171281 w 2427462"/>
              <a:gd name="connsiteY27" fmla="*/ 0 h 2209152"/>
              <a:gd name="connsiteX28" fmla="*/ 1171281 w 2427462"/>
              <a:gd name="connsiteY28" fmla="*/ 99117 h 2209152"/>
              <a:gd name="connsiteX29" fmla="*/ 958973 w 2427462"/>
              <a:gd name="connsiteY29" fmla="*/ 125110 h 2209152"/>
              <a:gd name="connsiteX30" fmla="*/ 958973 w 2427462"/>
              <a:gd name="connsiteY30" fmla="*/ 0 h 2209152"/>
              <a:gd name="connsiteX31" fmla="*/ 887170 w 2427462"/>
              <a:gd name="connsiteY31" fmla="*/ 0 h 2209152"/>
              <a:gd name="connsiteX32" fmla="*/ 887170 w 2427462"/>
              <a:gd name="connsiteY32" fmla="*/ 142974 h 2209152"/>
              <a:gd name="connsiteX33" fmla="*/ 817493 w 2427462"/>
              <a:gd name="connsiteY33" fmla="*/ 164745 h 2209152"/>
              <a:gd name="connsiteX34" fmla="*/ 817493 w 2427462"/>
              <a:gd name="connsiteY34" fmla="*/ 133956 h 2209152"/>
              <a:gd name="connsiteX35" fmla="*/ 745690 w 2427462"/>
              <a:gd name="connsiteY35" fmla="*/ 133956 h 2209152"/>
              <a:gd name="connsiteX36" fmla="*/ 745690 w 2427462"/>
              <a:gd name="connsiteY36" fmla="*/ 191944 h 2209152"/>
              <a:gd name="connsiteX37" fmla="*/ 687156 w 2427462"/>
              <a:gd name="connsiteY37" fmla="*/ 218253 h 2209152"/>
              <a:gd name="connsiteX38" fmla="*/ 687156 w 2427462"/>
              <a:gd name="connsiteY38" fmla="*/ 167560 h 2209152"/>
              <a:gd name="connsiteX39" fmla="*/ 615353 w 2427462"/>
              <a:gd name="connsiteY39" fmla="*/ 167560 h 2209152"/>
              <a:gd name="connsiteX40" fmla="*/ 615353 w 2427462"/>
              <a:gd name="connsiteY40" fmla="*/ 256337 h 2209152"/>
              <a:gd name="connsiteX41" fmla="*/ 544641 w 2427462"/>
              <a:gd name="connsiteY41" fmla="*/ 299706 h 2209152"/>
              <a:gd name="connsiteX42" fmla="*/ 544641 w 2427462"/>
              <a:gd name="connsiteY42" fmla="*/ 220206 h 2209152"/>
              <a:gd name="connsiteX43" fmla="*/ 472838 w 2427462"/>
              <a:gd name="connsiteY43" fmla="*/ 220206 h 2209152"/>
              <a:gd name="connsiteX44" fmla="*/ 472838 w 2427462"/>
              <a:gd name="connsiteY44" fmla="*/ 351261 h 2209152"/>
              <a:gd name="connsiteX45" fmla="*/ 377110 w 2427462"/>
              <a:gd name="connsiteY45" fmla="*/ 433547 h 2209152"/>
              <a:gd name="connsiteX46" fmla="*/ 377110 w 2427462"/>
              <a:gd name="connsiteY46" fmla="*/ 348906 h 2209152"/>
              <a:gd name="connsiteX47" fmla="*/ 305307 w 2427462"/>
              <a:gd name="connsiteY47" fmla="*/ 348906 h 2209152"/>
              <a:gd name="connsiteX48" fmla="*/ 305307 w 2427462"/>
              <a:gd name="connsiteY48" fmla="*/ 507906 h 2209152"/>
              <a:gd name="connsiteX49" fmla="*/ 223940 w 2427462"/>
              <a:gd name="connsiteY49" fmla="*/ 610441 h 2209152"/>
              <a:gd name="connsiteX50" fmla="*/ 223940 w 2427462"/>
              <a:gd name="connsiteY50" fmla="*/ 512186 h 2209152"/>
              <a:gd name="connsiteX51" fmla="*/ 152136 w 2427462"/>
              <a:gd name="connsiteY51" fmla="*/ 512186 h 2209152"/>
              <a:gd name="connsiteX52" fmla="*/ 152136 w 2427462"/>
              <a:gd name="connsiteY52" fmla="*/ 722741 h 2209152"/>
              <a:gd name="connsiteX53" fmla="*/ 152912 w 2427462"/>
              <a:gd name="connsiteY53" fmla="*/ 722741 h 2209152"/>
              <a:gd name="connsiteX54" fmla="*/ 0 w 2427462"/>
              <a:gd name="connsiteY54" fmla="*/ 1311527 h 2209152"/>
              <a:gd name="connsiteX55" fmla="*/ 37740 w 2427462"/>
              <a:gd name="connsiteY55" fmla="*/ 1347428 h 2209152"/>
              <a:gd name="connsiteX56" fmla="*/ 73440 w 2427462"/>
              <a:gd name="connsiteY56" fmla="*/ 1315375 h 2209152"/>
              <a:gd name="connsiteX57" fmla="*/ 429210 w 2427462"/>
              <a:gd name="connsiteY57" fmla="*/ 1039565 h 2209152"/>
              <a:gd name="connsiteX58" fmla="*/ 781246 w 2427462"/>
              <a:gd name="connsiteY58" fmla="*/ 1292657 h 2209152"/>
              <a:gd name="connsiteX59" fmla="*/ 816459 w 2427462"/>
              <a:gd name="connsiteY59" fmla="*/ 1321579 h 2209152"/>
              <a:gd name="connsiteX60" fmla="*/ 851671 w 2427462"/>
              <a:gd name="connsiteY60" fmla="*/ 1292657 h 2209152"/>
              <a:gd name="connsiteX61" fmla="*/ 1171281 w 2427462"/>
              <a:gd name="connsiteY61" fmla="*/ 1040800 h 2209152"/>
              <a:gd name="connsiteX62" fmla="*/ 1171281 w 2427462"/>
              <a:gd name="connsiteY62" fmla="*/ 1175158 h 2209152"/>
              <a:gd name="connsiteX63" fmla="*/ 1147414 w 2427462"/>
              <a:gd name="connsiteY63" fmla="*/ 1175158 h 2209152"/>
              <a:gd name="connsiteX64" fmla="*/ 1111512 w 2427462"/>
              <a:gd name="connsiteY64" fmla="*/ 1211060 h 2209152"/>
              <a:gd name="connsiteX65" fmla="*/ 1147414 w 2427462"/>
              <a:gd name="connsiteY65" fmla="*/ 1246961 h 2209152"/>
              <a:gd name="connsiteX66" fmla="*/ 1171281 w 2427462"/>
              <a:gd name="connsiteY66" fmla="*/ 1246961 h 2209152"/>
              <a:gd name="connsiteX67" fmla="*/ 1171281 w 2427462"/>
              <a:gd name="connsiteY67" fmla="*/ 2137320 h 2209152"/>
              <a:gd name="connsiteX68" fmla="*/ 1147414 w 2427462"/>
              <a:gd name="connsiteY68" fmla="*/ 2137320 h 2209152"/>
              <a:gd name="connsiteX69" fmla="*/ 1111512 w 2427462"/>
              <a:gd name="connsiteY69" fmla="*/ 2173221 h 2209152"/>
              <a:gd name="connsiteX70" fmla="*/ 1147414 w 2427462"/>
              <a:gd name="connsiteY70" fmla="*/ 2209123 h 2209152"/>
              <a:gd name="connsiteX71" fmla="*/ 1171281 w 2427462"/>
              <a:gd name="connsiteY71" fmla="*/ 2209123 h 2209152"/>
              <a:gd name="connsiteX72" fmla="*/ 1243084 w 2427462"/>
              <a:gd name="connsiteY72" fmla="*/ 2209152 h 2209152"/>
              <a:gd name="connsiteX73" fmla="*/ 1311814 w 2427462"/>
              <a:gd name="connsiteY73" fmla="*/ 2173250 h 2209152"/>
              <a:gd name="connsiteX74" fmla="*/ 1275912 w 2427462"/>
              <a:gd name="connsiteY74" fmla="*/ 2137349 h 2209152"/>
              <a:gd name="connsiteX75" fmla="*/ 1243084 w 2427462"/>
              <a:gd name="connsiteY75" fmla="*/ 2137349 h 2209152"/>
              <a:gd name="connsiteX76" fmla="*/ 1243084 w 2427462"/>
              <a:gd name="connsiteY76" fmla="*/ 1246990 h 2209152"/>
              <a:gd name="connsiteX77" fmla="*/ 1275912 w 2427462"/>
              <a:gd name="connsiteY77" fmla="*/ 1246990 h 2209152"/>
              <a:gd name="connsiteX78" fmla="*/ 1311814 w 2427462"/>
              <a:gd name="connsiteY78" fmla="*/ 1211089 h 2209152"/>
              <a:gd name="connsiteX79" fmla="*/ 1275912 w 2427462"/>
              <a:gd name="connsiteY79" fmla="*/ 1175187 h 2209152"/>
              <a:gd name="connsiteX80" fmla="*/ 1243084 w 2427462"/>
              <a:gd name="connsiteY80" fmla="*/ 1175187 h 2209152"/>
              <a:gd name="connsiteX81" fmla="*/ 1243084 w 2427462"/>
              <a:gd name="connsiteY81" fmla="*/ 1041576 h 2209152"/>
              <a:gd name="connsiteX82" fmla="*/ 1559449 w 2427462"/>
              <a:gd name="connsiteY82" fmla="*/ 1315404 h 2209152"/>
              <a:gd name="connsiteX83" fmla="*/ 1595149 w 2427462"/>
              <a:gd name="connsiteY83" fmla="*/ 1347457 h 2209152"/>
              <a:gd name="connsiteX84" fmla="*/ 1606207 w 2427462"/>
              <a:gd name="connsiteY84" fmla="*/ 1347457 h 2209152"/>
              <a:gd name="connsiteX85" fmla="*/ 1641907 w 2427462"/>
              <a:gd name="connsiteY85" fmla="*/ 1315404 h 2209152"/>
              <a:gd name="connsiteX86" fmla="*/ 1997706 w 2427462"/>
              <a:gd name="connsiteY86" fmla="*/ 1039594 h 2209152"/>
              <a:gd name="connsiteX87" fmla="*/ 2353447 w 2427462"/>
              <a:gd name="connsiteY87" fmla="*/ 1315404 h 2209152"/>
              <a:gd name="connsiteX88" fmla="*/ 2389148 w 2427462"/>
              <a:gd name="connsiteY88" fmla="*/ 1347457 h 2209152"/>
              <a:gd name="connsiteX89" fmla="*/ 2390986 w 2427462"/>
              <a:gd name="connsiteY89" fmla="*/ 1347457 h 2209152"/>
              <a:gd name="connsiteX90" fmla="*/ 2391560 w 2427462"/>
              <a:gd name="connsiteY90" fmla="*/ 1347457 h 2209152"/>
              <a:gd name="connsiteX91" fmla="*/ 2427462 w 2427462"/>
              <a:gd name="connsiteY91" fmla="*/ 1311556 h 2209152"/>
              <a:gd name="connsiteX92" fmla="*/ 2426859 w 2427462"/>
              <a:gd name="connsiteY92" fmla="*/ 1305036 h 2209152"/>
              <a:gd name="connsiteX93" fmla="*/ 88978 w 2427462"/>
              <a:gd name="connsiteY93" fmla="*/ 1113465 h 2209152"/>
              <a:gd name="connsiteX94" fmla="*/ 920889 w 2427462"/>
              <a:gd name="connsiteY94" fmla="*/ 208057 h 2209152"/>
              <a:gd name="connsiteX95" fmla="*/ 393050 w 2427462"/>
              <a:gd name="connsiteY95" fmla="*/ 969629 h 2209152"/>
              <a:gd name="connsiteX96" fmla="*/ 88978 w 2427462"/>
              <a:gd name="connsiteY96" fmla="*/ 1113465 h 2209152"/>
              <a:gd name="connsiteX97" fmla="*/ 467237 w 2427462"/>
              <a:gd name="connsiteY97" fmla="*/ 969399 h 2209152"/>
              <a:gd name="connsiteX98" fmla="*/ 1122800 w 2427462"/>
              <a:gd name="connsiteY98" fmla="*/ 201077 h 2209152"/>
              <a:gd name="connsiteX99" fmla="*/ 790409 w 2427462"/>
              <a:gd name="connsiteY99" fmla="*/ 1140635 h 2209152"/>
              <a:gd name="connsiteX100" fmla="*/ 467237 w 2427462"/>
              <a:gd name="connsiteY100" fmla="*/ 969399 h 2209152"/>
              <a:gd name="connsiteX101" fmla="*/ 863217 w 2427462"/>
              <a:gd name="connsiteY101" fmla="*/ 1114556 h 2209152"/>
              <a:gd name="connsiteX102" fmla="*/ 1171281 w 2427462"/>
              <a:gd name="connsiteY102" fmla="*/ 255418 h 2209152"/>
              <a:gd name="connsiteX103" fmla="*/ 1171281 w 2427462"/>
              <a:gd name="connsiteY103" fmla="*/ 968882 h 2209152"/>
              <a:gd name="connsiteX104" fmla="*/ 863217 w 2427462"/>
              <a:gd name="connsiteY104" fmla="*/ 1114556 h 2209152"/>
              <a:gd name="connsiteX105" fmla="*/ 1243084 w 2427462"/>
              <a:gd name="connsiteY105" fmla="*/ 969514 h 2209152"/>
              <a:gd name="connsiteX106" fmla="*/ 1243084 w 2427462"/>
              <a:gd name="connsiteY106" fmla="*/ 244849 h 2209152"/>
              <a:gd name="connsiteX107" fmla="*/ 1560368 w 2427462"/>
              <a:gd name="connsiteY107" fmla="*/ 1133886 h 2209152"/>
              <a:gd name="connsiteX108" fmla="*/ 1243084 w 2427462"/>
              <a:gd name="connsiteY108" fmla="*/ 969514 h 2209152"/>
              <a:gd name="connsiteX109" fmla="*/ 1632659 w 2427462"/>
              <a:gd name="connsiteY109" fmla="*/ 1145173 h 2209152"/>
              <a:gd name="connsiteX110" fmla="*/ 1300096 w 2427462"/>
              <a:gd name="connsiteY110" fmla="*/ 201077 h 2209152"/>
              <a:gd name="connsiteX111" fmla="*/ 1955744 w 2427462"/>
              <a:gd name="connsiteY111" fmla="*/ 969773 h 2209152"/>
              <a:gd name="connsiteX112" fmla="*/ 1632659 w 2427462"/>
              <a:gd name="connsiteY112" fmla="*/ 1145173 h 2209152"/>
              <a:gd name="connsiteX113" fmla="*/ 2029759 w 2427462"/>
              <a:gd name="connsiteY113" fmla="*/ 969428 h 2209152"/>
              <a:gd name="connsiteX114" fmla="*/ 1498789 w 2427462"/>
              <a:gd name="connsiteY114" fmla="*/ 206247 h 2209152"/>
              <a:gd name="connsiteX115" fmla="*/ 2337909 w 2427462"/>
              <a:gd name="connsiteY115" fmla="*/ 1113465 h 2209152"/>
              <a:gd name="connsiteX116" fmla="*/ 2029759 w 2427462"/>
              <a:gd name="connsiteY116" fmla="*/ 969428 h 2209152"/>
              <a:gd name="connsiteX0" fmla="*/ 2426859 w 2427462"/>
              <a:gd name="connsiteY0" fmla="*/ 1305036 h 2209123"/>
              <a:gd name="connsiteX1" fmla="*/ 2275440 w 2427462"/>
              <a:gd name="connsiteY1" fmla="*/ 725154 h 2209123"/>
              <a:gd name="connsiteX2" fmla="*/ 2275440 w 2427462"/>
              <a:gd name="connsiteY2" fmla="*/ 516753 h 2209123"/>
              <a:gd name="connsiteX3" fmla="*/ 2203637 w 2427462"/>
              <a:gd name="connsiteY3" fmla="*/ 516753 h 2209123"/>
              <a:gd name="connsiteX4" fmla="*/ 2203637 w 2427462"/>
              <a:gd name="connsiteY4" fmla="*/ 611418 h 2209123"/>
              <a:gd name="connsiteX5" fmla="*/ 2122988 w 2427462"/>
              <a:gd name="connsiteY5" fmla="*/ 509601 h 2209123"/>
              <a:gd name="connsiteX6" fmla="*/ 2122988 w 2427462"/>
              <a:gd name="connsiteY6" fmla="*/ 353444 h 2209123"/>
              <a:gd name="connsiteX7" fmla="*/ 2051185 w 2427462"/>
              <a:gd name="connsiteY7" fmla="*/ 353444 h 2209123"/>
              <a:gd name="connsiteX8" fmla="*/ 2051185 w 2427462"/>
              <a:gd name="connsiteY8" fmla="*/ 434897 h 2209123"/>
              <a:gd name="connsiteX9" fmla="*/ 1956204 w 2427462"/>
              <a:gd name="connsiteY9" fmla="*/ 352984 h 2209123"/>
              <a:gd name="connsiteX10" fmla="*/ 1956204 w 2427462"/>
              <a:gd name="connsiteY10" fmla="*/ 224715 h 2209123"/>
              <a:gd name="connsiteX11" fmla="*/ 1884401 w 2427462"/>
              <a:gd name="connsiteY11" fmla="*/ 224715 h 2209123"/>
              <a:gd name="connsiteX12" fmla="*/ 1884401 w 2427462"/>
              <a:gd name="connsiteY12" fmla="*/ 301027 h 2209123"/>
              <a:gd name="connsiteX13" fmla="*/ 1814350 w 2427462"/>
              <a:gd name="connsiteY13" fmla="*/ 257945 h 2209123"/>
              <a:gd name="connsiteX14" fmla="*/ 1814350 w 2427462"/>
              <a:gd name="connsiteY14" fmla="*/ 172040 h 2209123"/>
              <a:gd name="connsiteX15" fmla="*/ 1742546 w 2427462"/>
              <a:gd name="connsiteY15" fmla="*/ 172040 h 2209123"/>
              <a:gd name="connsiteX16" fmla="*/ 1742546 w 2427462"/>
              <a:gd name="connsiteY16" fmla="*/ 219717 h 2209123"/>
              <a:gd name="connsiteX17" fmla="*/ 1684616 w 2427462"/>
              <a:gd name="connsiteY17" fmla="*/ 193294 h 2209123"/>
              <a:gd name="connsiteX18" fmla="*/ 1684616 w 2427462"/>
              <a:gd name="connsiteY18" fmla="*/ 138465 h 2209123"/>
              <a:gd name="connsiteX19" fmla="*/ 1612813 w 2427462"/>
              <a:gd name="connsiteY19" fmla="*/ 138465 h 2209123"/>
              <a:gd name="connsiteX20" fmla="*/ 1612813 w 2427462"/>
              <a:gd name="connsiteY20" fmla="*/ 165894 h 2209123"/>
              <a:gd name="connsiteX21" fmla="*/ 1543795 w 2427462"/>
              <a:gd name="connsiteY21" fmla="*/ 144152 h 2209123"/>
              <a:gd name="connsiteX22" fmla="*/ 1543795 w 2427462"/>
              <a:gd name="connsiteY22" fmla="*/ 4509 h 2209123"/>
              <a:gd name="connsiteX23" fmla="*/ 1471992 w 2427462"/>
              <a:gd name="connsiteY23" fmla="*/ 4509 h 2209123"/>
              <a:gd name="connsiteX24" fmla="*/ 1471992 w 2427462"/>
              <a:gd name="connsiteY24" fmla="*/ 126058 h 2209123"/>
              <a:gd name="connsiteX25" fmla="*/ 1243084 w 2427462"/>
              <a:gd name="connsiteY25" fmla="*/ 98801 h 2209123"/>
              <a:gd name="connsiteX26" fmla="*/ 1243084 w 2427462"/>
              <a:gd name="connsiteY26" fmla="*/ 0 h 2209123"/>
              <a:gd name="connsiteX27" fmla="*/ 1171281 w 2427462"/>
              <a:gd name="connsiteY27" fmla="*/ 0 h 2209123"/>
              <a:gd name="connsiteX28" fmla="*/ 1171281 w 2427462"/>
              <a:gd name="connsiteY28" fmla="*/ 99117 h 2209123"/>
              <a:gd name="connsiteX29" fmla="*/ 958973 w 2427462"/>
              <a:gd name="connsiteY29" fmla="*/ 125110 h 2209123"/>
              <a:gd name="connsiteX30" fmla="*/ 958973 w 2427462"/>
              <a:gd name="connsiteY30" fmla="*/ 0 h 2209123"/>
              <a:gd name="connsiteX31" fmla="*/ 887170 w 2427462"/>
              <a:gd name="connsiteY31" fmla="*/ 0 h 2209123"/>
              <a:gd name="connsiteX32" fmla="*/ 887170 w 2427462"/>
              <a:gd name="connsiteY32" fmla="*/ 142974 h 2209123"/>
              <a:gd name="connsiteX33" fmla="*/ 817493 w 2427462"/>
              <a:gd name="connsiteY33" fmla="*/ 164745 h 2209123"/>
              <a:gd name="connsiteX34" fmla="*/ 817493 w 2427462"/>
              <a:gd name="connsiteY34" fmla="*/ 133956 h 2209123"/>
              <a:gd name="connsiteX35" fmla="*/ 745690 w 2427462"/>
              <a:gd name="connsiteY35" fmla="*/ 133956 h 2209123"/>
              <a:gd name="connsiteX36" fmla="*/ 745690 w 2427462"/>
              <a:gd name="connsiteY36" fmla="*/ 191944 h 2209123"/>
              <a:gd name="connsiteX37" fmla="*/ 687156 w 2427462"/>
              <a:gd name="connsiteY37" fmla="*/ 218253 h 2209123"/>
              <a:gd name="connsiteX38" fmla="*/ 687156 w 2427462"/>
              <a:gd name="connsiteY38" fmla="*/ 167560 h 2209123"/>
              <a:gd name="connsiteX39" fmla="*/ 615353 w 2427462"/>
              <a:gd name="connsiteY39" fmla="*/ 167560 h 2209123"/>
              <a:gd name="connsiteX40" fmla="*/ 615353 w 2427462"/>
              <a:gd name="connsiteY40" fmla="*/ 256337 h 2209123"/>
              <a:gd name="connsiteX41" fmla="*/ 544641 w 2427462"/>
              <a:gd name="connsiteY41" fmla="*/ 299706 h 2209123"/>
              <a:gd name="connsiteX42" fmla="*/ 544641 w 2427462"/>
              <a:gd name="connsiteY42" fmla="*/ 220206 h 2209123"/>
              <a:gd name="connsiteX43" fmla="*/ 472838 w 2427462"/>
              <a:gd name="connsiteY43" fmla="*/ 220206 h 2209123"/>
              <a:gd name="connsiteX44" fmla="*/ 472838 w 2427462"/>
              <a:gd name="connsiteY44" fmla="*/ 351261 h 2209123"/>
              <a:gd name="connsiteX45" fmla="*/ 377110 w 2427462"/>
              <a:gd name="connsiteY45" fmla="*/ 433547 h 2209123"/>
              <a:gd name="connsiteX46" fmla="*/ 377110 w 2427462"/>
              <a:gd name="connsiteY46" fmla="*/ 348906 h 2209123"/>
              <a:gd name="connsiteX47" fmla="*/ 305307 w 2427462"/>
              <a:gd name="connsiteY47" fmla="*/ 348906 h 2209123"/>
              <a:gd name="connsiteX48" fmla="*/ 305307 w 2427462"/>
              <a:gd name="connsiteY48" fmla="*/ 507906 h 2209123"/>
              <a:gd name="connsiteX49" fmla="*/ 223940 w 2427462"/>
              <a:gd name="connsiteY49" fmla="*/ 610441 h 2209123"/>
              <a:gd name="connsiteX50" fmla="*/ 223940 w 2427462"/>
              <a:gd name="connsiteY50" fmla="*/ 512186 h 2209123"/>
              <a:gd name="connsiteX51" fmla="*/ 152136 w 2427462"/>
              <a:gd name="connsiteY51" fmla="*/ 512186 h 2209123"/>
              <a:gd name="connsiteX52" fmla="*/ 152136 w 2427462"/>
              <a:gd name="connsiteY52" fmla="*/ 722741 h 2209123"/>
              <a:gd name="connsiteX53" fmla="*/ 152912 w 2427462"/>
              <a:gd name="connsiteY53" fmla="*/ 722741 h 2209123"/>
              <a:gd name="connsiteX54" fmla="*/ 0 w 2427462"/>
              <a:gd name="connsiteY54" fmla="*/ 1311527 h 2209123"/>
              <a:gd name="connsiteX55" fmla="*/ 37740 w 2427462"/>
              <a:gd name="connsiteY55" fmla="*/ 1347428 h 2209123"/>
              <a:gd name="connsiteX56" fmla="*/ 73440 w 2427462"/>
              <a:gd name="connsiteY56" fmla="*/ 1315375 h 2209123"/>
              <a:gd name="connsiteX57" fmla="*/ 429210 w 2427462"/>
              <a:gd name="connsiteY57" fmla="*/ 1039565 h 2209123"/>
              <a:gd name="connsiteX58" fmla="*/ 781246 w 2427462"/>
              <a:gd name="connsiteY58" fmla="*/ 1292657 h 2209123"/>
              <a:gd name="connsiteX59" fmla="*/ 816459 w 2427462"/>
              <a:gd name="connsiteY59" fmla="*/ 1321579 h 2209123"/>
              <a:gd name="connsiteX60" fmla="*/ 851671 w 2427462"/>
              <a:gd name="connsiteY60" fmla="*/ 1292657 h 2209123"/>
              <a:gd name="connsiteX61" fmla="*/ 1171281 w 2427462"/>
              <a:gd name="connsiteY61" fmla="*/ 1040800 h 2209123"/>
              <a:gd name="connsiteX62" fmla="*/ 1171281 w 2427462"/>
              <a:gd name="connsiteY62" fmla="*/ 1175158 h 2209123"/>
              <a:gd name="connsiteX63" fmla="*/ 1147414 w 2427462"/>
              <a:gd name="connsiteY63" fmla="*/ 1175158 h 2209123"/>
              <a:gd name="connsiteX64" fmla="*/ 1111512 w 2427462"/>
              <a:gd name="connsiteY64" fmla="*/ 1211060 h 2209123"/>
              <a:gd name="connsiteX65" fmla="*/ 1147414 w 2427462"/>
              <a:gd name="connsiteY65" fmla="*/ 1246961 h 2209123"/>
              <a:gd name="connsiteX66" fmla="*/ 1171281 w 2427462"/>
              <a:gd name="connsiteY66" fmla="*/ 1246961 h 2209123"/>
              <a:gd name="connsiteX67" fmla="*/ 1171281 w 2427462"/>
              <a:gd name="connsiteY67" fmla="*/ 2137320 h 2209123"/>
              <a:gd name="connsiteX68" fmla="*/ 1147414 w 2427462"/>
              <a:gd name="connsiteY68" fmla="*/ 2137320 h 2209123"/>
              <a:gd name="connsiteX69" fmla="*/ 1111512 w 2427462"/>
              <a:gd name="connsiteY69" fmla="*/ 2173221 h 2209123"/>
              <a:gd name="connsiteX70" fmla="*/ 1147414 w 2427462"/>
              <a:gd name="connsiteY70" fmla="*/ 2209123 h 2209123"/>
              <a:gd name="connsiteX71" fmla="*/ 1171281 w 2427462"/>
              <a:gd name="connsiteY71" fmla="*/ 2209123 h 2209123"/>
              <a:gd name="connsiteX72" fmla="*/ 1311814 w 2427462"/>
              <a:gd name="connsiteY72" fmla="*/ 2173250 h 2209123"/>
              <a:gd name="connsiteX73" fmla="*/ 1275912 w 2427462"/>
              <a:gd name="connsiteY73" fmla="*/ 2137349 h 2209123"/>
              <a:gd name="connsiteX74" fmla="*/ 1243084 w 2427462"/>
              <a:gd name="connsiteY74" fmla="*/ 2137349 h 2209123"/>
              <a:gd name="connsiteX75" fmla="*/ 1243084 w 2427462"/>
              <a:gd name="connsiteY75" fmla="*/ 1246990 h 2209123"/>
              <a:gd name="connsiteX76" fmla="*/ 1275912 w 2427462"/>
              <a:gd name="connsiteY76" fmla="*/ 1246990 h 2209123"/>
              <a:gd name="connsiteX77" fmla="*/ 1311814 w 2427462"/>
              <a:gd name="connsiteY77" fmla="*/ 1211089 h 2209123"/>
              <a:gd name="connsiteX78" fmla="*/ 1275912 w 2427462"/>
              <a:gd name="connsiteY78" fmla="*/ 1175187 h 2209123"/>
              <a:gd name="connsiteX79" fmla="*/ 1243084 w 2427462"/>
              <a:gd name="connsiteY79" fmla="*/ 1175187 h 2209123"/>
              <a:gd name="connsiteX80" fmla="*/ 1243084 w 2427462"/>
              <a:gd name="connsiteY80" fmla="*/ 1041576 h 2209123"/>
              <a:gd name="connsiteX81" fmla="*/ 1559449 w 2427462"/>
              <a:gd name="connsiteY81" fmla="*/ 1315404 h 2209123"/>
              <a:gd name="connsiteX82" fmla="*/ 1595149 w 2427462"/>
              <a:gd name="connsiteY82" fmla="*/ 1347457 h 2209123"/>
              <a:gd name="connsiteX83" fmla="*/ 1606207 w 2427462"/>
              <a:gd name="connsiteY83" fmla="*/ 1347457 h 2209123"/>
              <a:gd name="connsiteX84" fmla="*/ 1641907 w 2427462"/>
              <a:gd name="connsiteY84" fmla="*/ 1315404 h 2209123"/>
              <a:gd name="connsiteX85" fmla="*/ 1997706 w 2427462"/>
              <a:gd name="connsiteY85" fmla="*/ 1039594 h 2209123"/>
              <a:gd name="connsiteX86" fmla="*/ 2353447 w 2427462"/>
              <a:gd name="connsiteY86" fmla="*/ 1315404 h 2209123"/>
              <a:gd name="connsiteX87" fmla="*/ 2389148 w 2427462"/>
              <a:gd name="connsiteY87" fmla="*/ 1347457 h 2209123"/>
              <a:gd name="connsiteX88" fmla="*/ 2390986 w 2427462"/>
              <a:gd name="connsiteY88" fmla="*/ 1347457 h 2209123"/>
              <a:gd name="connsiteX89" fmla="*/ 2391560 w 2427462"/>
              <a:gd name="connsiteY89" fmla="*/ 1347457 h 2209123"/>
              <a:gd name="connsiteX90" fmla="*/ 2427462 w 2427462"/>
              <a:gd name="connsiteY90" fmla="*/ 1311556 h 2209123"/>
              <a:gd name="connsiteX91" fmla="*/ 2426859 w 2427462"/>
              <a:gd name="connsiteY91" fmla="*/ 1305036 h 2209123"/>
              <a:gd name="connsiteX92" fmla="*/ 88978 w 2427462"/>
              <a:gd name="connsiteY92" fmla="*/ 1113465 h 2209123"/>
              <a:gd name="connsiteX93" fmla="*/ 920889 w 2427462"/>
              <a:gd name="connsiteY93" fmla="*/ 208057 h 2209123"/>
              <a:gd name="connsiteX94" fmla="*/ 393050 w 2427462"/>
              <a:gd name="connsiteY94" fmla="*/ 969629 h 2209123"/>
              <a:gd name="connsiteX95" fmla="*/ 88978 w 2427462"/>
              <a:gd name="connsiteY95" fmla="*/ 1113465 h 2209123"/>
              <a:gd name="connsiteX96" fmla="*/ 467237 w 2427462"/>
              <a:gd name="connsiteY96" fmla="*/ 969399 h 2209123"/>
              <a:gd name="connsiteX97" fmla="*/ 1122800 w 2427462"/>
              <a:gd name="connsiteY97" fmla="*/ 201077 h 2209123"/>
              <a:gd name="connsiteX98" fmla="*/ 790409 w 2427462"/>
              <a:gd name="connsiteY98" fmla="*/ 1140635 h 2209123"/>
              <a:gd name="connsiteX99" fmla="*/ 467237 w 2427462"/>
              <a:gd name="connsiteY99" fmla="*/ 969399 h 2209123"/>
              <a:gd name="connsiteX100" fmla="*/ 863217 w 2427462"/>
              <a:gd name="connsiteY100" fmla="*/ 1114556 h 2209123"/>
              <a:gd name="connsiteX101" fmla="*/ 1171281 w 2427462"/>
              <a:gd name="connsiteY101" fmla="*/ 255418 h 2209123"/>
              <a:gd name="connsiteX102" fmla="*/ 1171281 w 2427462"/>
              <a:gd name="connsiteY102" fmla="*/ 968882 h 2209123"/>
              <a:gd name="connsiteX103" fmla="*/ 863217 w 2427462"/>
              <a:gd name="connsiteY103" fmla="*/ 1114556 h 2209123"/>
              <a:gd name="connsiteX104" fmla="*/ 1243084 w 2427462"/>
              <a:gd name="connsiteY104" fmla="*/ 969514 h 2209123"/>
              <a:gd name="connsiteX105" fmla="*/ 1243084 w 2427462"/>
              <a:gd name="connsiteY105" fmla="*/ 244849 h 2209123"/>
              <a:gd name="connsiteX106" fmla="*/ 1560368 w 2427462"/>
              <a:gd name="connsiteY106" fmla="*/ 1133886 h 2209123"/>
              <a:gd name="connsiteX107" fmla="*/ 1243084 w 2427462"/>
              <a:gd name="connsiteY107" fmla="*/ 969514 h 2209123"/>
              <a:gd name="connsiteX108" fmla="*/ 1632659 w 2427462"/>
              <a:gd name="connsiteY108" fmla="*/ 1145173 h 2209123"/>
              <a:gd name="connsiteX109" fmla="*/ 1300096 w 2427462"/>
              <a:gd name="connsiteY109" fmla="*/ 201077 h 2209123"/>
              <a:gd name="connsiteX110" fmla="*/ 1955744 w 2427462"/>
              <a:gd name="connsiteY110" fmla="*/ 969773 h 2209123"/>
              <a:gd name="connsiteX111" fmla="*/ 1632659 w 2427462"/>
              <a:gd name="connsiteY111" fmla="*/ 1145173 h 2209123"/>
              <a:gd name="connsiteX112" fmla="*/ 2029759 w 2427462"/>
              <a:gd name="connsiteY112" fmla="*/ 969428 h 2209123"/>
              <a:gd name="connsiteX113" fmla="*/ 1498789 w 2427462"/>
              <a:gd name="connsiteY113" fmla="*/ 206247 h 2209123"/>
              <a:gd name="connsiteX114" fmla="*/ 2337909 w 2427462"/>
              <a:gd name="connsiteY114" fmla="*/ 1113465 h 2209123"/>
              <a:gd name="connsiteX115" fmla="*/ 2029759 w 2427462"/>
              <a:gd name="connsiteY115" fmla="*/ 969428 h 2209123"/>
              <a:gd name="connsiteX0" fmla="*/ 2426859 w 2427462"/>
              <a:gd name="connsiteY0" fmla="*/ 1305036 h 2209123"/>
              <a:gd name="connsiteX1" fmla="*/ 2275440 w 2427462"/>
              <a:gd name="connsiteY1" fmla="*/ 725154 h 2209123"/>
              <a:gd name="connsiteX2" fmla="*/ 2275440 w 2427462"/>
              <a:gd name="connsiteY2" fmla="*/ 516753 h 2209123"/>
              <a:gd name="connsiteX3" fmla="*/ 2203637 w 2427462"/>
              <a:gd name="connsiteY3" fmla="*/ 516753 h 2209123"/>
              <a:gd name="connsiteX4" fmla="*/ 2203637 w 2427462"/>
              <a:gd name="connsiteY4" fmla="*/ 611418 h 2209123"/>
              <a:gd name="connsiteX5" fmla="*/ 2122988 w 2427462"/>
              <a:gd name="connsiteY5" fmla="*/ 509601 h 2209123"/>
              <a:gd name="connsiteX6" fmla="*/ 2122988 w 2427462"/>
              <a:gd name="connsiteY6" fmla="*/ 353444 h 2209123"/>
              <a:gd name="connsiteX7" fmla="*/ 2051185 w 2427462"/>
              <a:gd name="connsiteY7" fmla="*/ 353444 h 2209123"/>
              <a:gd name="connsiteX8" fmla="*/ 2051185 w 2427462"/>
              <a:gd name="connsiteY8" fmla="*/ 434897 h 2209123"/>
              <a:gd name="connsiteX9" fmla="*/ 1956204 w 2427462"/>
              <a:gd name="connsiteY9" fmla="*/ 352984 h 2209123"/>
              <a:gd name="connsiteX10" fmla="*/ 1956204 w 2427462"/>
              <a:gd name="connsiteY10" fmla="*/ 224715 h 2209123"/>
              <a:gd name="connsiteX11" fmla="*/ 1884401 w 2427462"/>
              <a:gd name="connsiteY11" fmla="*/ 224715 h 2209123"/>
              <a:gd name="connsiteX12" fmla="*/ 1884401 w 2427462"/>
              <a:gd name="connsiteY12" fmla="*/ 301027 h 2209123"/>
              <a:gd name="connsiteX13" fmla="*/ 1814350 w 2427462"/>
              <a:gd name="connsiteY13" fmla="*/ 257945 h 2209123"/>
              <a:gd name="connsiteX14" fmla="*/ 1814350 w 2427462"/>
              <a:gd name="connsiteY14" fmla="*/ 172040 h 2209123"/>
              <a:gd name="connsiteX15" fmla="*/ 1742546 w 2427462"/>
              <a:gd name="connsiteY15" fmla="*/ 172040 h 2209123"/>
              <a:gd name="connsiteX16" fmla="*/ 1742546 w 2427462"/>
              <a:gd name="connsiteY16" fmla="*/ 219717 h 2209123"/>
              <a:gd name="connsiteX17" fmla="*/ 1684616 w 2427462"/>
              <a:gd name="connsiteY17" fmla="*/ 193294 h 2209123"/>
              <a:gd name="connsiteX18" fmla="*/ 1684616 w 2427462"/>
              <a:gd name="connsiteY18" fmla="*/ 138465 h 2209123"/>
              <a:gd name="connsiteX19" fmla="*/ 1612813 w 2427462"/>
              <a:gd name="connsiteY19" fmla="*/ 138465 h 2209123"/>
              <a:gd name="connsiteX20" fmla="*/ 1612813 w 2427462"/>
              <a:gd name="connsiteY20" fmla="*/ 165894 h 2209123"/>
              <a:gd name="connsiteX21" fmla="*/ 1543795 w 2427462"/>
              <a:gd name="connsiteY21" fmla="*/ 144152 h 2209123"/>
              <a:gd name="connsiteX22" fmla="*/ 1543795 w 2427462"/>
              <a:gd name="connsiteY22" fmla="*/ 4509 h 2209123"/>
              <a:gd name="connsiteX23" fmla="*/ 1471992 w 2427462"/>
              <a:gd name="connsiteY23" fmla="*/ 4509 h 2209123"/>
              <a:gd name="connsiteX24" fmla="*/ 1471992 w 2427462"/>
              <a:gd name="connsiteY24" fmla="*/ 126058 h 2209123"/>
              <a:gd name="connsiteX25" fmla="*/ 1243084 w 2427462"/>
              <a:gd name="connsiteY25" fmla="*/ 98801 h 2209123"/>
              <a:gd name="connsiteX26" fmla="*/ 1243084 w 2427462"/>
              <a:gd name="connsiteY26" fmla="*/ 0 h 2209123"/>
              <a:gd name="connsiteX27" fmla="*/ 1171281 w 2427462"/>
              <a:gd name="connsiteY27" fmla="*/ 0 h 2209123"/>
              <a:gd name="connsiteX28" fmla="*/ 1171281 w 2427462"/>
              <a:gd name="connsiteY28" fmla="*/ 99117 h 2209123"/>
              <a:gd name="connsiteX29" fmla="*/ 958973 w 2427462"/>
              <a:gd name="connsiteY29" fmla="*/ 125110 h 2209123"/>
              <a:gd name="connsiteX30" fmla="*/ 958973 w 2427462"/>
              <a:gd name="connsiteY30" fmla="*/ 0 h 2209123"/>
              <a:gd name="connsiteX31" fmla="*/ 887170 w 2427462"/>
              <a:gd name="connsiteY31" fmla="*/ 0 h 2209123"/>
              <a:gd name="connsiteX32" fmla="*/ 887170 w 2427462"/>
              <a:gd name="connsiteY32" fmla="*/ 142974 h 2209123"/>
              <a:gd name="connsiteX33" fmla="*/ 817493 w 2427462"/>
              <a:gd name="connsiteY33" fmla="*/ 164745 h 2209123"/>
              <a:gd name="connsiteX34" fmla="*/ 817493 w 2427462"/>
              <a:gd name="connsiteY34" fmla="*/ 133956 h 2209123"/>
              <a:gd name="connsiteX35" fmla="*/ 745690 w 2427462"/>
              <a:gd name="connsiteY35" fmla="*/ 133956 h 2209123"/>
              <a:gd name="connsiteX36" fmla="*/ 745690 w 2427462"/>
              <a:gd name="connsiteY36" fmla="*/ 191944 h 2209123"/>
              <a:gd name="connsiteX37" fmla="*/ 687156 w 2427462"/>
              <a:gd name="connsiteY37" fmla="*/ 218253 h 2209123"/>
              <a:gd name="connsiteX38" fmla="*/ 687156 w 2427462"/>
              <a:gd name="connsiteY38" fmla="*/ 167560 h 2209123"/>
              <a:gd name="connsiteX39" fmla="*/ 615353 w 2427462"/>
              <a:gd name="connsiteY39" fmla="*/ 167560 h 2209123"/>
              <a:gd name="connsiteX40" fmla="*/ 615353 w 2427462"/>
              <a:gd name="connsiteY40" fmla="*/ 256337 h 2209123"/>
              <a:gd name="connsiteX41" fmla="*/ 544641 w 2427462"/>
              <a:gd name="connsiteY41" fmla="*/ 299706 h 2209123"/>
              <a:gd name="connsiteX42" fmla="*/ 544641 w 2427462"/>
              <a:gd name="connsiteY42" fmla="*/ 220206 h 2209123"/>
              <a:gd name="connsiteX43" fmla="*/ 472838 w 2427462"/>
              <a:gd name="connsiteY43" fmla="*/ 220206 h 2209123"/>
              <a:gd name="connsiteX44" fmla="*/ 472838 w 2427462"/>
              <a:gd name="connsiteY44" fmla="*/ 351261 h 2209123"/>
              <a:gd name="connsiteX45" fmla="*/ 377110 w 2427462"/>
              <a:gd name="connsiteY45" fmla="*/ 433547 h 2209123"/>
              <a:gd name="connsiteX46" fmla="*/ 377110 w 2427462"/>
              <a:gd name="connsiteY46" fmla="*/ 348906 h 2209123"/>
              <a:gd name="connsiteX47" fmla="*/ 305307 w 2427462"/>
              <a:gd name="connsiteY47" fmla="*/ 348906 h 2209123"/>
              <a:gd name="connsiteX48" fmla="*/ 305307 w 2427462"/>
              <a:gd name="connsiteY48" fmla="*/ 507906 h 2209123"/>
              <a:gd name="connsiteX49" fmla="*/ 223940 w 2427462"/>
              <a:gd name="connsiteY49" fmla="*/ 610441 h 2209123"/>
              <a:gd name="connsiteX50" fmla="*/ 223940 w 2427462"/>
              <a:gd name="connsiteY50" fmla="*/ 512186 h 2209123"/>
              <a:gd name="connsiteX51" fmla="*/ 152136 w 2427462"/>
              <a:gd name="connsiteY51" fmla="*/ 512186 h 2209123"/>
              <a:gd name="connsiteX52" fmla="*/ 152136 w 2427462"/>
              <a:gd name="connsiteY52" fmla="*/ 722741 h 2209123"/>
              <a:gd name="connsiteX53" fmla="*/ 152912 w 2427462"/>
              <a:gd name="connsiteY53" fmla="*/ 722741 h 2209123"/>
              <a:gd name="connsiteX54" fmla="*/ 0 w 2427462"/>
              <a:gd name="connsiteY54" fmla="*/ 1311527 h 2209123"/>
              <a:gd name="connsiteX55" fmla="*/ 37740 w 2427462"/>
              <a:gd name="connsiteY55" fmla="*/ 1347428 h 2209123"/>
              <a:gd name="connsiteX56" fmla="*/ 73440 w 2427462"/>
              <a:gd name="connsiteY56" fmla="*/ 1315375 h 2209123"/>
              <a:gd name="connsiteX57" fmla="*/ 429210 w 2427462"/>
              <a:gd name="connsiteY57" fmla="*/ 1039565 h 2209123"/>
              <a:gd name="connsiteX58" fmla="*/ 781246 w 2427462"/>
              <a:gd name="connsiteY58" fmla="*/ 1292657 h 2209123"/>
              <a:gd name="connsiteX59" fmla="*/ 816459 w 2427462"/>
              <a:gd name="connsiteY59" fmla="*/ 1321579 h 2209123"/>
              <a:gd name="connsiteX60" fmla="*/ 851671 w 2427462"/>
              <a:gd name="connsiteY60" fmla="*/ 1292657 h 2209123"/>
              <a:gd name="connsiteX61" fmla="*/ 1171281 w 2427462"/>
              <a:gd name="connsiteY61" fmla="*/ 1040800 h 2209123"/>
              <a:gd name="connsiteX62" fmla="*/ 1171281 w 2427462"/>
              <a:gd name="connsiteY62" fmla="*/ 1175158 h 2209123"/>
              <a:gd name="connsiteX63" fmla="*/ 1147414 w 2427462"/>
              <a:gd name="connsiteY63" fmla="*/ 1175158 h 2209123"/>
              <a:gd name="connsiteX64" fmla="*/ 1111512 w 2427462"/>
              <a:gd name="connsiteY64" fmla="*/ 1211060 h 2209123"/>
              <a:gd name="connsiteX65" fmla="*/ 1147414 w 2427462"/>
              <a:gd name="connsiteY65" fmla="*/ 1246961 h 2209123"/>
              <a:gd name="connsiteX66" fmla="*/ 1171281 w 2427462"/>
              <a:gd name="connsiteY66" fmla="*/ 1246961 h 2209123"/>
              <a:gd name="connsiteX67" fmla="*/ 1171281 w 2427462"/>
              <a:gd name="connsiteY67" fmla="*/ 2137320 h 2209123"/>
              <a:gd name="connsiteX68" fmla="*/ 1147414 w 2427462"/>
              <a:gd name="connsiteY68" fmla="*/ 2137320 h 2209123"/>
              <a:gd name="connsiteX69" fmla="*/ 1111512 w 2427462"/>
              <a:gd name="connsiteY69" fmla="*/ 2173221 h 2209123"/>
              <a:gd name="connsiteX70" fmla="*/ 1147414 w 2427462"/>
              <a:gd name="connsiteY70" fmla="*/ 2209123 h 2209123"/>
              <a:gd name="connsiteX71" fmla="*/ 1311814 w 2427462"/>
              <a:gd name="connsiteY71" fmla="*/ 2173250 h 2209123"/>
              <a:gd name="connsiteX72" fmla="*/ 1275912 w 2427462"/>
              <a:gd name="connsiteY72" fmla="*/ 2137349 h 2209123"/>
              <a:gd name="connsiteX73" fmla="*/ 1243084 w 2427462"/>
              <a:gd name="connsiteY73" fmla="*/ 2137349 h 2209123"/>
              <a:gd name="connsiteX74" fmla="*/ 1243084 w 2427462"/>
              <a:gd name="connsiteY74" fmla="*/ 1246990 h 2209123"/>
              <a:gd name="connsiteX75" fmla="*/ 1275912 w 2427462"/>
              <a:gd name="connsiteY75" fmla="*/ 1246990 h 2209123"/>
              <a:gd name="connsiteX76" fmla="*/ 1311814 w 2427462"/>
              <a:gd name="connsiteY76" fmla="*/ 1211089 h 2209123"/>
              <a:gd name="connsiteX77" fmla="*/ 1275912 w 2427462"/>
              <a:gd name="connsiteY77" fmla="*/ 1175187 h 2209123"/>
              <a:gd name="connsiteX78" fmla="*/ 1243084 w 2427462"/>
              <a:gd name="connsiteY78" fmla="*/ 1175187 h 2209123"/>
              <a:gd name="connsiteX79" fmla="*/ 1243084 w 2427462"/>
              <a:gd name="connsiteY79" fmla="*/ 1041576 h 2209123"/>
              <a:gd name="connsiteX80" fmla="*/ 1559449 w 2427462"/>
              <a:gd name="connsiteY80" fmla="*/ 1315404 h 2209123"/>
              <a:gd name="connsiteX81" fmla="*/ 1595149 w 2427462"/>
              <a:gd name="connsiteY81" fmla="*/ 1347457 h 2209123"/>
              <a:gd name="connsiteX82" fmla="*/ 1606207 w 2427462"/>
              <a:gd name="connsiteY82" fmla="*/ 1347457 h 2209123"/>
              <a:gd name="connsiteX83" fmla="*/ 1641907 w 2427462"/>
              <a:gd name="connsiteY83" fmla="*/ 1315404 h 2209123"/>
              <a:gd name="connsiteX84" fmla="*/ 1997706 w 2427462"/>
              <a:gd name="connsiteY84" fmla="*/ 1039594 h 2209123"/>
              <a:gd name="connsiteX85" fmla="*/ 2353447 w 2427462"/>
              <a:gd name="connsiteY85" fmla="*/ 1315404 h 2209123"/>
              <a:gd name="connsiteX86" fmla="*/ 2389148 w 2427462"/>
              <a:gd name="connsiteY86" fmla="*/ 1347457 h 2209123"/>
              <a:gd name="connsiteX87" fmla="*/ 2390986 w 2427462"/>
              <a:gd name="connsiteY87" fmla="*/ 1347457 h 2209123"/>
              <a:gd name="connsiteX88" fmla="*/ 2391560 w 2427462"/>
              <a:gd name="connsiteY88" fmla="*/ 1347457 h 2209123"/>
              <a:gd name="connsiteX89" fmla="*/ 2427462 w 2427462"/>
              <a:gd name="connsiteY89" fmla="*/ 1311556 h 2209123"/>
              <a:gd name="connsiteX90" fmla="*/ 2426859 w 2427462"/>
              <a:gd name="connsiteY90" fmla="*/ 1305036 h 2209123"/>
              <a:gd name="connsiteX91" fmla="*/ 88978 w 2427462"/>
              <a:gd name="connsiteY91" fmla="*/ 1113465 h 2209123"/>
              <a:gd name="connsiteX92" fmla="*/ 920889 w 2427462"/>
              <a:gd name="connsiteY92" fmla="*/ 208057 h 2209123"/>
              <a:gd name="connsiteX93" fmla="*/ 393050 w 2427462"/>
              <a:gd name="connsiteY93" fmla="*/ 969629 h 2209123"/>
              <a:gd name="connsiteX94" fmla="*/ 88978 w 2427462"/>
              <a:gd name="connsiteY94" fmla="*/ 1113465 h 2209123"/>
              <a:gd name="connsiteX95" fmla="*/ 467237 w 2427462"/>
              <a:gd name="connsiteY95" fmla="*/ 969399 h 2209123"/>
              <a:gd name="connsiteX96" fmla="*/ 1122800 w 2427462"/>
              <a:gd name="connsiteY96" fmla="*/ 201077 h 2209123"/>
              <a:gd name="connsiteX97" fmla="*/ 790409 w 2427462"/>
              <a:gd name="connsiteY97" fmla="*/ 1140635 h 2209123"/>
              <a:gd name="connsiteX98" fmla="*/ 467237 w 2427462"/>
              <a:gd name="connsiteY98" fmla="*/ 969399 h 2209123"/>
              <a:gd name="connsiteX99" fmla="*/ 863217 w 2427462"/>
              <a:gd name="connsiteY99" fmla="*/ 1114556 h 2209123"/>
              <a:gd name="connsiteX100" fmla="*/ 1171281 w 2427462"/>
              <a:gd name="connsiteY100" fmla="*/ 255418 h 2209123"/>
              <a:gd name="connsiteX101" fmla="*/ 1171281 w 2427462"/>
              <a:gd name="connsiteY101" fmla="*/ 968882 h 2209123"/>
              <a:gd name="connsiteX102" fmla="*/ 863217 w 2427462"/>
              <a:gd name="connsiteY102" fmla="*/ 1114556 h 2209123"/>
              <a:gd name="connsiteX103" fmla="*/ 1243084 w 2427462"/>
              <a:gd name="connsiteY103" fmla="*/ 969514 h 2209123"/>
              <a:gd name="connsiteX104" fmla="*/ 1243084 w 2427462"/>
              <a:gd name="connsiteY104" fmla="*/ 244849 h 2209123"/>
              <a:gd name="connsiteX105" fmla="*/ 1560368 w 2427462"/>
              <a:gd name="connsiteY105" fmla="*/ 1133886 h 2209123"/>
              <a:gd name="connsiteX106" fmla="*/ 1243084 w 2427462"/>
              <a:gd name="connsiteY106" fmla="*/ 969514 h 2209123"/>
              <a:gd name="connsiteX107" fmla="*/ 1632659 w 2427462"/>
              <a:gd name="connsiteY107" fmla="*/ 1145173 h 2209123"/>
              <a:gd name="connsiteX108" fmla="*/ 1300096 w 2427462"/>
              <a:gd name="connsiteY108" fmla="*/ 201077 h 2209123"/>
              <a:gd name="connsiteX109" fmla="*/ 1955744 w 2427462"/>
              <a:gd name="connsiteY109" fmla="*/ 969773 h 2209123"/>
              <a:gd name="connsiteX110" fmla="*/ 1632659 w 2427462"/>
              <a:gd name="connsiteY110" fmla="*/ 1145173 h 2209123"/>
              <a:gd name="connsiteX111" fmla="*/ 2029759 w 2427462"/>
              <a:gd name="connsiteY111" fmla="*/ 969428 h 2209123"/>
              <a:gd name="connsiteX112" fmla="*/ 1498789 w 2427462"/>
              <a:gd name="connsiteY112" fmla="*/ 206247 h 2209123"/>
              <a:gd name="connsiteX113" fmla="*/ 2337909 w 2427462"/>
              <a:gd name="connsiteY113" fmla="*/ 1113465 h 2209123"/>
              <a:gd name="connsiteX114" fmla="*/ 2029759 w 2427462"/>
              <a:gd name="connsiteY114" fmla="*/ 969428 h 2209123"/>
              <a:gd name="connsiteX0" fmla="*/ 2426859 w 2427462"/>
              <a:gd name="connsiteY0" fmla="*/ 1305036 h 2177723"/>
              <a:gd name="connsiteX1" fmla="*/ 2275440 w 2427462"/>
              <a:gd name="connsiteY1" fmla="*/ 725154 h 2177723"/>
              <a:gd name="connsiteX2" fmla="*/ 2275440 w 2427462"/>
              <a:gd name="connsiteY2" fmla="*/ 516753 h 2177723"/>
              <a:gd name="connsiteX3" fmla="*/ 2203637 w 2427462"/>
              <a:gd name="connsiteY3" fmla="*/ 516753 h 2177723"/>
              <a:gd name="connsiteX4" fmla="*/ 2203637 w 2427462"/>
              <a:gd name="connsiteY4" fmla="*/ 611418 h 2177723"/>
              <a:gd name="connsiteX5" fmla="*/ 2122988 w 2427462"/>
              <a:gd name="connsiteY5" fmla="*/ 509601 h 2177723"/>
              <a:gd name="connsiteX6" fmla="*/ 2122988 w 2427462"/>
              <a:gd name="connsiteY6" fmla="*/ 353444 h 2177723"/>
              <a:gd name="connsiteX7" fmla="*/ 2051185 w 2427462"/>
              <a:gd name="connsiteY7" fmla="*/ 353444 h 2177723"/>
              <a:gd name="connsiteX8" fmla="*/ 2051185 w 2427462"/>
              <a:gd name="connsiteY8" fmla="*/ 434897 h 2177723"/>
              <a:gd name="connsiteX9" fmla="*/ 1956204 w 2427462"/>
              <a:gd name="connsiteY9" fmla="*/ 352984 h 2177723"/>
              <a:gd name="connsiteX10" fmla="*/ 1956204 w 2427462"/>
              <a:gd name="connsiteY10" fmla="*/ 224715 h 2177723"/>
              <a:gd name="connsiteX11" fmla="*/ 1884401 w 2427462"/>
              <a:gd name="connsiteY11" fmla="*/ 224715 h 2177723"/>
              <a:gd name="connsiteX12" fmla="*/ 1884401 w 2427462"/>
              <a:gd name="connsiteY12" fmla="*/ 301027 h 2177723"/>
              <a:gd name="connsiteX13" fmla="*/ 1814350 w 2427462"/>
              <a:gd name="connsiteY13" fmla="*/ 257945 h 2177723"/>
              <a:gd name="connsiteX14" fmla="*/ 1814350 w 2427462"/>
              <a:gd name="connsiteY14" fmla="*/ 172040 h 2177723"/>
              <a:gd name="connsiteX15" fmla="*/ 1742546 w 2427462"/>
              <a:gd name="connsiteY15" fmla="*/ 172040 h 2177723"/>
              <a:gd name="connsiteX16" fmla="*/ 1742546 w 2427462"/>
              <a:gd name="connsiteY16" fmla="*/ 219717 h 2177723"/>
              <a:gd name="connsiteX17" fmla="*/ 1684616 w 2427462"/>
              <a:gd name="connsiteY17" fmla="*/ 193294 h 2177723"/>
              <a:gd name="connsiteX18" fmla="*/ 1684616 w 2427462"/>
              <a:gd name="connsiteY18" fmla="*/ 138465 h 2177723"/>
              <a:gd name="connsiteX19" fmla="*/ 1612813 w 2427462"/>
              <a:gd name="connsiteY19" fmla="*/ 138465 h 2177723"/>
              <a:gd name="connsiteX20" fmla="*/ 1612813 w 2427462"/>
              <a:gd name="connsiteY20" fmla="*/ 165894 h 2177723"/>
              <a:gd name="connsiteX21" fmla="*/ 1543795 w 2427462"/>
              <a:gd name="connsiteY21" fmla="*/ 144152 h 2177723"/>
              <a:gd name="connsiteX22" fmla="*/ 1543795 w 2427462"/>
              <a:gd name="connsiteY22" fmla="*/ 4509 h 2177723"/>
              <a:gd name="connsiteX23" fmla="*/ 1471992 w 2427462"/>
              <a:gd name="connsiteY23" fmla="*/ 4509 h 2177723"/>
              <a:gd name="connsiteX24" fmla="*/ 1471992 w 2427462"/>
              <a:gd name="connsiteY24" fmla="*/ 126058 h 2177723"/>
              <a:gd name="connsiteX25" fmla="*/ 1243084 w 2427462"/>
              <a:gd name="connsiteY25" fmla="*/ 98801 h 2177723"/>
              <a:gd name="connsiteX26" fmla="*/ 1243084 w 2427462"/>
              <a:gd name="connsiteY26" fmla="*/ 0 h 2177723"/>
              <a:gd name="connsiteX27" fmla="*/ 1171281 w 2427462"/>
              <a:gd name="connsiteY27" fmla="*/ 0 h 2177723"/>
              <a:gd name="connsiteX28" fmla="*/ 1171281 w 2427462"/>
              <a:gd name="connsiteY28" fmla="*/ 99117 h 2177723"/>
              <a:gd name="connsiteX29" fmla="*/ 958973 w 2427462"/>
              <a:gd name="connsiteY29" fmla="*/ 125110 h 2177723"/>
              <a:gd name="connsiteX30" fmla="*/ 958973 w 2427462"/>
              <a:gd name="connsiteY30" fmla="*/ 0 h 2177723"/>
              <a:gd name="connsiteX31" fmla="*/ 887170 w 2427462"/>
              <a:gd name="connsiteY31" fmla="*/ 0 h 2177723"/>
              <a:gd name="connsiteX32" fmla="*/ 887170 w 2427462"/>
              <a:gd name="connsiteY32" fmla="*/ 142974 h 2177723"/>
              <a:gd name="connsiteX33" fmla="*/ 817493 w 2427462"/>
              <a:gd name="connsiteY33" fmla="*/ 164745 h 2177723"/>
              <a:gd name="connsiteX34" fmla="*/ 817493 w 2427462"/>
              <a:gd name="connsiteY34" fmla="*/ 133956 h 2177723"/>
              <a:gd name="connsiteX35" fmla="*/ 745690 w 2427462"/>
              <a:gd name="connsiteY35" fmla="*/ 133956 h 2177723"/>
              <a:gd name="connsiteX36" fmla="*/ 745690 w 2427462"/>
              <a:gd name="connsiteY36" fmla="*/ 191944 h 2177723"/>
              <a:gd name="connsiteX37" fmla="*/ 687156 w 2427462"/>
              <a:gd name="connsiteY37" fmla="*/ 218253 h 2177723"/>
              <a:gd name="connsiteX38" fmla="*/ 687156 w 2427462"/>
              <a:gd name="connsiteY38" fmla="*/ 167560 h 2177723"/>
              <a:gd name="connsiteX39" fmla="*/ 615353 w 2427462"/>
              <a:gd name="connsiteY39" fmla="*/ 167560 h 2177723"/>
              <a:gd name="connsiteX40" fmla="*/ 615353 w 2427462"/>
              <a:gd name="connsiteY40" fmla="*/ 256337 h 2177723"/>
              <a:gd name="connsiteX41" fmla="*/ 544641 w 2427462"/>
              <a:gd name="connsiteY41" fmla="*/ 299706 h 2177723"/>
              <a:gd name="connsiteX42" fmla="*/ 544641 w 2427462"/>
              <a:gd name="connsiteY42" fmla="*/ 220206 h 2177723"/>
              <a:gd name="connsiteX43" fmla="*/ 472838 w 2427462"/>
              <a:gd name="connsiteY43" fmla="*/ 220206 h 2177723"/>
              <a:gd name="connsiteX44" fmla="*/ 472838 w 2427462"/>
              <a:gd name="connsiteY44" fmla="*/ 351261 h 2177723"/>
              <a:gd name="connsiteX45" fmla="*/ 377110 w 2427462"/>
              <a:gd name="connsiteY45" fmla="*/ 433547 h 2177723"/>
              <a:gd name="connsiteX46" fmla="*/ 377110 w 2427462"/>
              <a:gd name="connsiteY46" fmla="*/ 348906 h 2177723"/>
              <a:gd name="connsiteX47" fmla="*/ 305307 w 2427462"/>
              <a:gd name="connsiteY47" fmla="*/ 348906 h 2177723"/>
              <a:gd name="connsiteX48" fmla="*/ 305307 w 2427462"/>
              <a:gd name="connsiteY48" fmla="*/ 507906 h 2177723"/>
              <a:gd name="connsiteX49" fmla="*/ 223940 w 2427462"/>
              <a:gd name="connsiteY49" fmla="*/ 610441 h 2177723"/>
              <a:gd name="connsiteX50" fmla="*/ 223940 w 2427462"/>
              <a:gd name="connsiteY50" fmla="*/ 512186 h 2177723"/>
              <a:gd name="connsiteX51" fmla="*/ 152136 w 2427462"/>
              <a:gd name="connsiteY51" fmla="*/ 512186 h 2177723"/>
              <a:gd name="connsiteX52" fmla="*/ 152136 w 2427462"/>
              <a:gd name="connsiteY52" fmla="*/ 722741 h 2177723"/>
              <a:gd name="connsiteX53" fmla="*/ 152912 w 2427462"/>
              <a:gd name="connsiteY53" fmla="*/ 722741 h 2177723"/>
              <a:gd name="connsiteX54" fmla="*/ 0 w 2427462"/>
              <a:gd name="connsiteY54" fmla="*/ 1311527 h 2177723"/>
              <a:gd name="connsiteX55" fmla="*/ 37740 w 2427462"/>
              <a:gd name="connsiteY55" fmla="*/ 1347428 h 2177723"/>
              <a:gd name="connsiteX56" fmla="*/ 73440 w 2427462"/>
              <a:gd name="connsiteY56" fmla="*/ 1315375 h 2177723"/>
              <a:gd name="connsiteX57" fmla="*/ 429210 w 2427462"/>
              <a:gd name="connsiteY57" fmla="*/ 1039565 h 2177723"/>
              <a:gd name="connsiteX58" fmla="*/ 781246 w 2427462"/>
              <a:gd name="connsiteY58" fmla="*/ 1292657 h 2177723"/>
              <a:gd name="connsiteX59" fmla="*/ 816459 w 2427462"/>
              <a:gd name="connsiteY59" fmla="*/ 1321579 h 2177723"/>
              <a:gd name="connsiteX60" fmla="*/ 851671 w 2427462"/>
              <a:gd name="connsiteY60" fmla="*/ 1292657 h 2177723"/>
              <a:gd name="connsiteX61" fmla="*/ 1171281 w 2427462"/>
              <a:gd name="connsiteY61" fmla="*/ 1040800 h 2177723"/>
              <a:gd name="connsiteX62" fmla="*/ 1171281 w 2427462"/>
              <a:gd name="connsiteY62" fmla="*/ 1175158 h 2177723"/>
              <a:gd name="connsiteX63" fmla="*/ 1147414 w 2427462"/>
              <a:gd name="connsiteY63" fmla="*/ 1175158 h 2177723"/>
              <a:gd name="connsiteX64" fmla="*/ 1111512 w 2427462"/>
              <a:gd name="connsiteY64" fmla="*/ 1211060 h 2177723"/>
              <a:gd name="connsiteX65" fmla="*/ 1147414 w 2427462"/>
              <a:gd name="connsiteY65" fmla="*/ 1246961 h 2177723"/>
              <a:gd name="connsiteX66" fmla="*/ 1171281 w 2427462"/>
              <a:gd name="connsiteY66" fmla="*/ 1246961 h 2177723"/>
              <a:gd name="connsiteX67" fmla="*/ 1171281 w 2427462"/>
              <a:gd name="connsiteY67" fmla="*/ 2137320 h 2177723"/>
              <a:gd name="connsiteX68" fmla="*/ 1147414 w 2427462"/>
              <a:gd name="connsiteY68" fmla="*/ 2137320 h 2177723"/>
              <a:gd name="connsiteX69" fmla="*/ 1111512 w 2427462"/>
              <a:gd name="connsiteY69" fmla="*/ 2173221 h 2177723"/>
              <a:gd name="connsiteX70" fmla="*/ 1311814 w 2427462"/>
              <a:gd name="connsiteY70" fmla="*/ 2173250 h 2177723"/>
              <a:gd name="connsiteX71" fmla="*/ 1275912 w 2427462"/>
              <a:gd name="connsiteY71" fmla="*/ 2137349 h 2177723"/>
              <a:gd name="connsiteX72" fmla="*/ 1243084 w 2427462"/>
              <a:gd name="connsiteY72" fmla="*/ 2137349 h 2177723"/>
              <a:gd name="connsiteX73" fmla="*/ 1243084 w 2427462"/>
              <a:gd name="connsiteY73" fmla="*/ 1246990 h 2177723"/>
              <a:gd name="connsiteX74" fmla="*/ 1275912 w 2427462"/>
              <a:gd name="connsiteY74" fmla="*/ 1246990 h 2177723"/>
              <a:gd name="connsiteX75" fmla="*/ 1311814 w 2427462"/>
              <a:gd name="connsiteY75" fmla="*/ 1211089 h 2177723"/>
              <a:gd name="connsiteX76" fmla="*/ 1275912 w 2427462"/>
              <a:gd name="connsiteY76" fmla="*/ 1175187 h 2177723"/>
              <a:gd name="connsiteX77" fmla="*/ 1243084 w 2427462"/>
              <a:gd name="connsiteY77" fmla="*/ 1175187 h 2177723"/>
              <a:gd name="connsiteX78" fmla="*/ 1243084 w 2427462"/>
              <a:gd name="connsiteY78" fmla="*/ 1041576 h 2177723"/>
              <a:gd name="connsiteX79" fmla="*/ 1559449 w 2427462"/>
              <a:gd name="connsiteY79" fmla="*/ 1315404 h 2177723"/>
              <a:gd name="connsiteX80" fmla="*/ 1595149 w 2427462"/>
              <a:gd name="connsiteY80" fmla="*/ 1347457 h 2177723"/>
              <a:gd name="connsiteX81" fmla="*/ 1606207 w 2427462"/>
              <a:gd name="connsiteY81" fmla="*/ 1347457 h 2177723"/>
              <a:gd name="connsiteX82" fmla="*/ 1641907 w 2427462"/>
              <a:gd name="connsiteY82" fmla="*/ 1315404 h 2177723"/>
              <a:gd name="connsiteX83" fmla="*/ 1997706 w 2427462"/>
              <a:gd name="connsiteY83" fmla="*/ 1039594 h 2177723"/>
              <a:gd name="connsiteX84" fmla="*/ 2353447 w 2427462"/>
              <a:gd name="connsiteY84" fmla="*/ 1315404 h 2177723"/>
              <a:gd name="connsiteX85" fmla="*/ 2389148 w 2427462"/>
              <a:gd name="connsiteY85" fmla="*/ 1347457 h 2177723"/>
              <a:gd name="connsiteX86" fmla="*/ 2390986 w 2427462"/>
              <a:gd name="connsiteY86" fmla="*/ 1347457 h 2177723"/>
              <a:gd name="connsiteX87" fmla="*/ 2391560 w 2427462"/>
              <a:gd name="connsiteY87" fmla="*/ 1347457 h 2177723"/>
              <a:gd name="connsiteX88" fmla="*/ 2427462 w 2427462"/>
              <a:gd name="connsiteY88" fmla="*/ 1311556 h 2177723"/>
              <a:gd name="connsiteX89" fmla="*/ 2426859 w 2427462"/>
              <a:gd name="connsiteY89" fmla="*/ 1305036 h 2177723"/>
              <a:gd name="connsiteX90" fmla="*/ 88978 w 2427462"/>
              <a:gd name="connsiteY90" fmla="*/ 1113465 h 2177723"/>
              <a:gd name="connsiteX91" fmla="*/ 920889 w 2427462"/>
              <a:gd name="connsiteY91" fmla="*/ 208057 h 2177723"/>
              <a:gd name="connsiteX92" fmla="*/ 393050 w 2427462"/>
              <a:gd name="connsiteY92" fmla="*/ 969629 h 2177723"/>
              <a:gd name="connsiteX93" fmla="*/ 88978 w 2427462"/>
              <a:gd name="connsiteY93" fmla="*/ 1113465 h 2177723"/>
              <a:gd name="connsiteX94" fmla="*/ 467237 w 2427462"/>
              <a:gd name="connsiteY94" fmla="*/ 969399 h 2177723"/>
              <a:gd name="connsiteX95" fmla="*/ 1122800 w 2427462"/>
              <a:gd name="connsiteY95" fmla="*/ 201077 h 2177723"/>
              <a:gd name="connsiteX96" fmla="*/ 790409 w 2427462"/>
              <a:gd name="connsiteY96" fmla="*/ 1140635 h 2177723"/>
              <a:gd name="connsiteX97" fmla="*/ 467237 w 2427462"/>
              <a:gd name="connsiteY97" fmla="*/ 969399 h 2177723"/>
              <a:gd name="connsiteX98" fmla="*/ 863217 w 2427462"/>
              <a:gd name="connsiteY98" fmla="*/ 1114556 h 2177723"/>
              <a:gd name="connsiteX99" fmla="*/ 1171281 w 2427462"/>
              <a:gd name="connsiteY99" fmla="*/ 255418 h 2177723"/>
              <a:gd name="connsiteX100" fmla="*/ 1171281 w 2427462"/>
              <a:gd name="connsiteY100" fmla="*/ 968882 h 2177723"/>
              <a:gd name="connsiteX101" fmla="*/ 863217 w 2427462"/>
              <a:gd name="connsiteY101" fmla="*/ 1114556 h 2177723"/>
              <a:gd name="connsiteX102" fmla="*/ 1243084 w 2427462"/>
              <a:gd name="connsiteY102" fmla="*/ 969514 h 2177723"/>
              <a:gd name="connsiteX103" fmla="*/ 1243084 w 2427462"/>
              <a:gd name="connsiteY103" fmla="*/ 244849 h 2177723"/>
              <a:gd name="connsiteX104" fmla="*/ 1560368 w 2427462"/>
              <a:gd name="connsiteY104" fmla="*/ 1133886 h 2177723"/>
              <a:gd name="connsiteX105" fmla="*/ 1243084 w 2427462"/>
              <a:gd name="connsiteY105" fmla="*/ 969514 h 2177723"/>
              <a:gd name="connsiteX106" fmla="*/ 1632659 w 2427462"/>
              <a:gd name="connsiteY106" fmla="*/ 1145173 h 2177723"/>
              <a:gd name="connsiteX107" fmla="*/ 1300096 w 2427462"/>
              <a:gd name="connsiteY107" fmla="*/ 201077 h 2177723"/>
              <a:gd name="connsiteX108" fmla="*/ 1955744 w 2427462"/>
              <a:gd name="connsiteY108" fmla="*/ 969773 h 2177723"/>
              <a:gd name="connsiteX109" fmla="*/ 1632659 w 2427462"/>
              <a:gd name="connsiteY109" fmla="*/ 1145173 h 2177723"/>
              <a:gd name="connsiteX110" fmla="*/ 2029759 w 2427462"/>
              <a:gd name="connsiteY110" fmla="*/ 969428 h 2177723"/>
              <a:gd name="connsiteX111" fmla="*/ 1498789 w 2427462"/>
              <a:gd name="connsiteY111" fmla="*/ 206247 h 2177723"/>
              <a:gd name="connsiteX112" fmla="*/ 2337909 w 2427462"/>
              <a:gd name="connsiteY112" fmla="*/ 1113465 h 2177723"/>
              <a:gd name="connsiteX113" fmla="*/ 2029759 w 2427462"/>
              <a:gd name="connsiteY113" fmla="*/ 969428 h 2177723"/>
              <a:gd name="connsiteX0" fmla="*/ 2426859 w 2427462"/>
              <a:gd name="connsiteY0" fmla="*/ 1305036 h 2173250"/>
              <a:gd name="connsiteX1" fmla="*/ 2275440 w 2427462"/>
              <a:gd name="connsiteY1" fmla="*/ 725154 h 2173250"/>
              <a:gd name="connsiteX2" fmla="*/ 2275440 w 2427462"/>
              <a:gd name="connsiteY2" fmla="*/ 516753 h 2173250"/>
              <a:gd name="connsiteX3" fmla="*/ 2203637 w 2427462"/>
              <a:gd name="connsiteY3" fmla="*/ 516753 h 2173250"/>
              <a:gd name="connsiteX4" fmla="*/ 2203637 w 2427462"/>
              <a:gd name="connsiteY4" fmla="*/ 611418 h 2173250"/>
              <a:gd name="connsiteX5" fmla="*/ 2122988 w 2427462"/>
              <a:gd name="connsiteY5" fmla="*/ 509601 h 2173250"/>
              <a:gd name="connsiteX6" fmla="*/ 2122988 w 2427462"/>
              <a:gd name="connsiteY6" fmla="*/ 353444 h 2173250"/>
              <a:gd name="connsiteX7" fmla="*/ 2051185 w 2427462"/>
              <a:gd name="connsiteY7" fmla="*/ 353444 h 2173250"/>
              <a:gd name="connsiteX8" fmla="*/ 2051185 w 2427462"/>
              <a:gd name="connsiteY8" fmla="*/ 434897 h 2173250"/>
              <a:gd name="connsiteX9" fmla="*/ 1956204 w 2427462"/>
              <a:gd name="connsiteY9" fmla="*/ 352984 h 2173250"/>
              <a:gd name="connsiteX10" fmla="*/ 1956204 w 2427462"/>
              <a:gd name="connsiteY10" fmla="*/ 224715 h 2173250"/>
              <a:gd name="connsiteX11" fmla="*/ 1884401 w 2427462"/>
              <a:gd name="connsiteY11" fmla="*/ 224715 h 2173250"/>
              <a:gd name="connsiteX12" fmla="*/ 1884401 w 2427462"/>
              <a:gd name="connsiteY12" fmla="*/ 301027 h 2173250"/>
              <a:gd name="connsiteX13" fmla="*/ 1814350 w 2427462"/>
              <a:gd name="connsiteY13" fmla="*/ 257945 h 2173250"/>
              <a:gd name="connsiteX14" fmla="*/ 1814350 w 2427462"/>
              <a:gd name="connsiteY14" fmla="*/ 172040 h 2173250"/>
              <a:gd name="connsiteX15" fmla="*/ 1742546 w 2427462"/>
              <a:gd name="connsiteY15" fmla="*/ 172040 h 2173250"/>
              <a:gd name="connsiteX16" fmla="*/ 1742546 w 2427462"/>
              <a:gd name="connsiteY16" fmla="*/ 219717 h 2173250"/>
              <a:gd name="connsiteX17" fmla="*/ 1684616 w 2427462"/>
              <a:gd name="connsiteY17" fmla="*/ 193294 h 2173250"/>
              <a:gd name="connsiteX18" fmla="*/ 1684616 w 2427462"/>
              <a:gd name="connsiteY18" fmla="*/ 138465 h 2173250"/>
              <a:gd name="connsiteX19" fmla="*/ 1612813 w 2427462"/>
              <a:gd name="connsiteY19" fmla="*/ 138465 h 2173250"/>
              <a:gd name="connsiteX20" fmla="*/ 1612813 w 2427462"/>
              <a:gd name="connsiteY20" fmla="*/ 165894 h 2173250"/>
              <a:gd name="connsiteX21" fmla="*/ 1543795 w 2427462"/>
              <a:gd name="connsiteY21" fmla="*/ 144152 h 2173250"/>
              <a:gd name="connsiteX22" fmla="*/ 1543795 w 2427462"/>
              <a:gd name="connsiteY22" fmla="*/ 4509 h 2173250"/>
              <a:gd name="connsiteX23" fmla="*/ 1471992 w 2427462"/>
              <a:gd name="connsiteY23" fmla="*/ 4509 h 2173250"/>
              <a:gd name="connsiteX24" fmla="*/ 1471992 w 2427462"/>
              <a:gd name="connsiteY24" fmla="*/ 126058 h 2173250"/>
              <a:gd name="connsiteX25" fmla="*/ 1243084 w 2427462"/>
              <a:gd name="connsiteY25" fmla="*/ 98801 h 2173250"/>
              <a:gd name="connsiteX26" fmla="*/ 1243084 w 2427462"/>
              <a:gd name="connsiteY26" fmla="*/ 0 h 2173250"/>
              <a:gd name="connsiteX27" fmla="*/ 1171281 w 2427462"/>
              <a:gd name="connsiteY27" fmla="*/ 0 h 2173250"/>
              <a:gd name="connsiteX28" fmla="*/ 1171281 w 2427462"/>
              <a:gd name="connsiteY28" fmla="*/ 99117 h 2173250"/>
              <a:gd name="connsiteX29" fmla="*/ 958973 w 2427462"/>
              <a:gd name="connsiteY29" fmla="*/ 125110 h 2173250"/>
              <a:gd name="connsiteX30" fmla="*/ 958973 w 2427462"/>
              <a:gd name="connsiteY30" fmla="*/ 0 h 2173250"/>
              <a:gd name="connsiteX31" fmla="*/ 887170 w 2427462"/>
              <a:gd name="connsiteY31" fmla="*/ 0 h 2173250"/>
              <a:gd name="connsiteX32" fmla="*/ 887170 w 2427462"/>
              <a:gd name="connsiteY32" fmla="*/ 142974 h 2173250"/>
              <a:gd name="connsiteX33" fmla="*/ 817493 w 2427462"/>
              <a:gd name="connsiteY33" fmla="*/ 164745 h 2173250"/>
              <a:gd name="connsiteX34" fmla="*/ 817493 w 2427462"/>
              <a:gd name="connsiteY34" fmla="*/ 133956 h 2173250"/>
              <a:gd name="connsiteX35" fmla="*/ 745690 w 2427462"/>
              <a:gd name="connsiteY35" fmla="*/ 133956 h 2173250"/>
              <a:gd name="connsiteX36" fmla="*/ 745690 w 2427462"/>
              <a:gd name="connsiteY36" fmla="*/ 191944 h 2173250"/>
              <a:gd name="connsiteX37" fmla="*/ 687156 w 2427462"/>
              <a:gd name="connsiteY37" fmla="*/ 218253 h 2173250"/>
              <a:gd name="connsiteX38" fmla="*/ 687156 w 2427462"/>
              <a:gd name="connsiteY38" fmla="*/ 167560 h 2173250"/>
              <a:gd name="connsiteX39" fmla="*/ 615353 w 2427462"/>
              <a:gd name="connsiteY39" fmla="*/ 167560 h 2173250"/>
              <a:gd name="connsiteX40" fmla="*/ 615353 w 2427462"/>
              <a:gd name="connsiteY40" fmla="*/ 256337 h 2173250"/>
              <a:gd name="connsiteX41" fmla="*/ 544641 w 2427462"/>
              <a:gd name="connsiteY41" fmla="*/ 299706 h 2173250"/>
              <a:gd name="connsiteX42" fmla="*/ 544641 w 2427462"/>
              <a:gd name="connsiteY42" fmla="*/ 220206 h 2173250"/>
              <a:gd name="connsiteX43" fmla="*/ 472838 w 2427462"/>
              <a:gd name="connsiteY43" fmla="*/ 220206 h 2173250"/>
              <a:gd name="connsiteX44" fmla="*/ 472838 w 2427462"/>
              <a:gd name="connsiteY44" fmla="*/ 351261 h 2173250"/>
              <a:gd name="connsiteX45" fmla="*/ 377110 w 2427462"/>
              <a:gd name="connsiteY45" fmla="*/ 433547 h 2173250"/>
              <a:gd name="connsiteX46" fmla="*/ 377110 w 2427462"/>
              <a:gd name="connsiteY46" fmla="*/ 348906 h 2173250"/>
              <a:gd name="connsiteX47" fmla="*/ 305307 w 2427462"/>
              <a:gd name="connsiteY47" fmla="*/ 348906 h 2173250"/>
              <a:gd name="connsiteX48" fmla="*/ 305307 w 2427462"/>
              <a:gd name="connsiteY48" fmla="*/ 507906 h 2173250"/>
              <a:gd name="connsiteX49" fmla="*/ 223940 w 2427462"/>
              <a:gd name="connsiteY49" fmla="*/ 610441 h 2173250"/>
              <a:gd name="connsiteX50" fmla="*/ 223940 w 2427462"/>
              <a:gd name="connsiteY50" fmla="*/ 512186 h 2173250"/>
              <a:gd name="connsiteX51" fmla="*/ 152136 w 2427462"/>
              <a:gd name="connsiteY51" fmla="*/ 512186 h 2173250"/>
              <a:gd name="connsiteX52" fmla="*/ 152136 w 2427462"/>
              <a:gd name="connsiteY52" fmla="*/ 722741 h 2173250"/>
              <a:gd name="connsiteX53" fmla="*/ 152912 w 2427462"/>
              <a:gd name="connsiteY53" fmla="*/ 722741 h 2173250"/>
              <a:gd name="connsiteX54" fmla="*/ 0 w 2427462"/>
              <a:gd name="connsiteY54" fmla="*/ 1311527 h 2173250"/>
              <a:gd name="connsiteX55" fmla="*/ 37740 w 2427462"/>
              <a:gd name="connsiteY55" fmla="*/ 1347428 h 2173250"/>
              <a:gd name="connsiteX56" fmla="*/ 73440 w 2427462"/>
              <a:gd name="connsiteY56" fmla="*/ 1315375 h 2173250"/>
              <a:gd name="connsiteX57" fmla="*/ 429210 w 2427462"/>
              <a:gd name="connsiteY57" fmla="*/ 1039565 h 2173250"/>
              <a:gd name="connsiteX58" fmla="*/ 781246 w 2427462"/>
              <a:gd name="connsiteY58" fmla="*/ 1292657 h 2173250"/>
              <a:gd name="connsiteX59" fmla="*/ 816459 w 2427462"/>
              <a:gd name="connsiteY59" fmla="*/ 1321579 h 2173250"/>
              <a:gd name="connsiteX60" fmla="*/ 851671 w 2427462"/>
              <a:gd name="connsiteY60" fmla="*/ 1292657 h 2173250"/>
              <a:gd name="connsiteX61" fmla="*/ 1171281 w 2427462"/>
              <a:gd name="connsiteY61" fmla="*/ 1040800 h 2173250"/>
              <a:gd name="connsiteX62" fmla="*/ 1171281 w 2427462"/>
              <a:gd name="connsiteY62" fmla="*/ 1175158 h 2173250"/>
              <a:gd name="connsiteX63" fmla="*/ 1147414 w 2427462"/>
              <a:gd name="connsiteY63" fmla="*/ 1175158 h 2173250"/>
              <a:gd name="connsiteX64" fmla="*/ 1111512 w 2427462"/>
              <a:gd name="connsiteY64" fmla="*/ 1211060 h 2173250"/>
              <a:gd name="connsiteX65" fmla="*/ 1147414 w 2427462"/>
              <a:gd name="connsiteY65" fmla="*/ 1246961 h 2173250"/>
              <a:gd name="connsiteX66" fmla="*/ 1171281 w 2427462"/>
              <a:gd name="connsiteY66" fmla="*/ 1246961 h 2173250"/>
              <a:gd name="connsiteX67" fmla="*/ 1171281 w 2427462"/>
              <a:gd name="connsiteY67" fmla="*/ 2137320 h 2173250"/>
              <a:gd name="connsiteX68" fmla="*/ 1147414 w 2427462"/>
              <a:gd name="connsiteY68" fmla="*/ 2137320 h 2173250"/>
              <a:gd name="connsiteX69" fmla="*/ 1311814 w 2427462"/>
              <a:gd name="connsiteY69" fmla="*/ 2173250 h 2173250"/>
              <a:gd name="connsiteX70" fmla="*/ 1275912 w 2427462"/>
              <a:gd name="connsiteY70" fmla="*/ 2137349 h 2173250"/>
              <a:gd name="connsiteX71" fmla="*/ 1243084 w 2427462"/>
              <a:gd name="connsiteY71" fmla="*/ 2137349 h 2173250"/>
              <a:gd name="connsiteX72" fmla="*/ 1243084 w 2427462"/>
              <a:gd name="connsiteY72" fmla="*/ 1246990 h 2173250"/>
              <a:gd name="connsiteX73" fmla="*/ 1275912 w 2427462"/>
              <a:gd name="connsiteY73" fmla="*/ 1246990 h 2173250"/>
              <a:gd name="connsiteX74" fmla="*/ 1311814 w 2427462"/>
              <a:gd name="connsiteY74" fmla="*/ 1211089 h 2173250"/>
              <a:gd name="connsiteX75" fmla="*/ 1275912 w 2427462"/>
              <a:gd name="connsiteY75" fmla="*/ 1175187 h 2173250"/>
              <a:gd name="connsiteX76" fmla="*/ 1243084 w 2427462"/>
              <a:gd name="connsiteY76" fmla="*/ 1175187 h 2173250"/>
              <a:gd name="connsiteX77" fmla="*/ 1243084 w 2427462"/>
              <a:gd name="connsiteY77" fmla="*/ 1041576 h 2173250"/>
              <a:gd name="connsiteX78" fmla="*/ 1559449 w 2427462"/>
              <a:gd name="connsiteY78" fmla="*/ 1315404 h 2173250"/>
              <a:gd name="connsiteX79" fmla="*/ 1595149 w 2427462"/>
              <a:gd name="connsiteY79" fmla="*/ 1347457 h 2173250"/>
              <a:gd name="connsiteX80" fmla="*/ 1606207 w 2427462"/>
              <a:gd name="connsiteY80" fmla="*/ 1347457 h 2173250"/>
              <a:gd name="connsiteX81" fmla="*/ 1641907 w 2427462"/>
              <a:gd name="connsiteY81" fmla="*/ 1315404 h 2173250"/>
              <a:gd name="connsiteX82" fmla="*/ 1997706 w 2427462"/>
              <a:gd name="connsiteY82" fmla="*/ 1039594 h 2173250"/>
              <a:gd name="connsiteX83" fmla="*/ 2353447 w 2427462"/>
              <a:gd name="connsiteY83" fmla="*/ 1315404 h 2173250"/>
              <a:gd name="connsiteX84" fmla="*/ 2389148 w 2427462"/>
              <a:gd name="connsiteY84" fmla="*/ 1347457 h 2173250"/>
              <a:gd name="connsiteX85" fmla="*/ 2390986 w 2427462"/>
              <a:gd name="connsiteY85" fmla="*/ 1347457 h 2173250"/>
              <a:gd name="connsiteX86" fmla="*/ 2391560 w 2427462"/>
              <a:gd name="connsiteY86" fmla="*/ 1347457 h 2173250"/>
              <a:gd name="connsiteX87" fmla="*/ 2427462 w 2427462"/>
              <a:gd name="connsiteY87" fmla="*/ 1311556 h 2173250"/>
              <a:gd name="connsiteX88" fmla="*/ 2426859 w 2427462"/>
              <a:gd name="connsiteY88" fmla="*/ 1305036 h 2173250"/>
              <a:gd name="connsiteX89" fmla="*/ 88978 w 2427462"/>
              <a:gd name="connsiteY89" fmla="*/ 1113465 h 2173250"/>
              <a:gd name="connsiteX90" fmla="*/ 920889 w 2427462"/>
              <a:gd name="connsiteY90" fmla="*/ 208057 h 2173250"/>
              <a:gd name="connsiteX91" fmla="*/ 393050 w 2427462"/>
              <a:gd name="connsiteY91" fmla="*/ 969629 h 2173250"/>
              <a:gd name="connsiteX92" fmla="*/ 88978 w 2427462"/>
              <a:gd name="connsiteY92" fmla="*/ 1113465 h 2173250"/>
              <a:gd name="connsiteX93" fmla="*/ 467237 w 2427462"/>
              <a:gd name="connsiteY93" fmla="*/ 969399 h 2173250"/>
              <a:gd name="connsiteX94" fmla="*/ 1122800 w 2427462"/>
              <a:gd name="connsiteY94" fmla="*/ 201077 h 2173250"/>
              <a:gd name="connsiteX95" fmla="*/ 790409 w 2427462"/>
              <a:gd name="connsiteY95" fmla="*/ 1140635 h 2173250"/>
              <a:gd name="connsiteX96" fmla="*/ 467237 w 2427462"/>
              <a:gd name="connsiteY96" fmla="*/ 969399 h 2173250"/>
              <a:gd name="connsiteX97" fmla="*/ 863217 w 2427462"/>
              <a:gd name="connsiteY97" fmla="*/ 1114556 h 2173250"/>
              <a:gd name="connsiteX98" fmla="*/ 1171281 w 2427462"/>
              <a:gd name="connsiteY98" fmla="*/ 255418 h 2173250"/>
              <a:gd name="connsiteX99" fmla="*/ 1171281 w 2427462"/>
              <a:gd name="connsiteY99" fmla="*/ 968882 h 2173250"/>
              <a:gd name="connsiteX100" fmla="*/ 863217 w 2427462"/>
              <a:gd name="connsiteY100" fmla="*/ 1114556 h 2173250"/>
              <a:gd name="connsiteX101" fmla="*/ 1243084 w 2427462"/>
              <a:gd name="connsiteY101" fmla="*/ 969514 h 2173250"/>
              <a:gd name="connsiteX102" fmla="*/ 1243084 w 2427462"/>
              <a:gd name="connsiteY102" fmla="*/ 244849 h 2173250"/>
              <a:gd name="connsiteX103" fmla="*/ 1560368 w 2427462"/>
              <a:gd name="connsiteY103" fmla="*/ 1133886 h 2173250"/>
              <a:gd name="connsiteX104" fmla="*/ 1243084 w 2427462"/>
              <a:gd name="connsiteY104" fmla="*/ 969514 h 2173250"/>
              <a:gd name="connsiteX105" fmla="*/ 1632659 w 2427462"/>
              <a:gd name="connsiteY105" fmla="*/ 1145173 h 2173250"/>
              <a:gd name="connsiteX106" fmla="*/ 1300096 w 2427462"/>
              <a:gd name="connsiteY106" fmla="*/ 201077 h 2173250"/>
              <a:gd name="connsiteX107" fmla="*/ 1955744 w 2427462"/>
              <a:gd name="connsiteY107" fmla="*/ 969773 h 2173250"/>
              <a:gd name="connsiteX108" fmla="*/ 1632659 w 2427462"/>
              <a:gd name="connsiteY108" fmla="*/ 1145173 h 2173250"/>
              <a:gd name="connsiteX109" fmla="*/ 2029759 w 2427462"/>
              <a:gd name="connsiteY109" fmla="*/ 969428 h 2173250"/>
              <a:gd name="connsiteX110" fmla="*/ 1498789 w 2427462"/>
              <a:gd name="connsiteY110" fmla="*/ 206247 h 2173250"/>
              <a:gd name="connsiteX111" fmla="*/ 2337909 w 2427462"/>
              <a:gd name="connsiteY111" fmla="*/ 1113465 h 2173250"/>
              <a:gd name="connsiteX112" fmla="*/ 2029759 w 2427462"/>
              <a:gd name="connsiteY112" fmla="*/ 969428 h 2173250"/>
              <a:gd name="connsiteX0" fmla="*/ 2426859 w 2427462"/>
              <a:gd name="connsiteY0" fmla="*/ 1305036 h 2173250"/>
              <a:gd name="connsiteX1" fmla="*/ 2275440 w 2427462"/>
              <a:gd name="connsiteY1" fmla="*/ 725154 h 2173250"/>
              <a:gd name="connsiteX2" fmla="*/ 2275440 w 2427462"/>
              <a:gd name="connsiteY2" fmla="*/ 516753 h 2173250"/>
              <a:gd name="connsiteX3" fmla="*/ 2203637 w 2427462"/>
              <a:gd name="connsiteY3" fmla="*/ 516753 h 2173250"/>
              <a:gd name="connsiteX4" fmla="*/ 2203637 w 2427462"/>
              <a:gd name="connsiteY4" fmla="*/ 611418 h 2173250"/>
              <a:gd name="connsiteX5" fmla="*/ 2122988 w 2427462"/>
              <a:gd name="connsiteY5" fmla="*/ 509601 h 2173250"/>
              <a:gd name="connsiteX6" fmla="*/ 2122988 w 2427462"/>
              <a:gd name="connsiteY6" fmla="*/ 353444 h 2173250"/>
              <a:gd name="connsiteX7" fmla="*/ 2051185 w 2427462"/>
              <a:gd name="connsiteY7" fmla="*/ 353444 h 2173250"/>
              <a:gd name="connsiteX8" fmla="*/ 2051185 w 2427462"/>
              <a:gd name="connsiteY8" fmla="*/ 434897 h 2173250"/>
              <a:gd name="connsiteX9" fmla="*/ 1956204 w 2427462"/>
              <a:gd name="connsiteY9" fmla="*/ 352984 h 2173250"/>
              <a:gd name="connsiteX10" fmla="*/ 1956204 w 2427462"/>
              <a:gd name="connsiteY10" fmla="*/ 224715 h 2173250"/>
              <a:gd name="connsiteX11" fmla="*/ 1884401 w 2427462"/>
              <a:gd name="connsiteY11" fmla="*/ 224715 h 2173250"/>
              <a:gd name="connsiteX12" fmla="*/ 1884401 w 2427462"/>
              <a:gd name="connsiteY12" fmla="*/ 301027 h 2173250"/>
              <a:gd name="connsiteX13" fmla="*/ 1814350 w 2427462"/>
              <a:gd name="connsiteY13" fmla="*/ 257945 h 2173250"/>
              <a:gd name="connsiteX14" fmla="*/ 1814350 w 2427462"/>
              <a:gd name="connsiteY14" fmla="*/ 172040 h 2173250"/>
              <a:gd name="connsiteX15" fmla="*/ 1742546 w 2427462"/>
              <a:gd name="connsiteY15" fmla="*/ 172040 h 2173250"/>
              <a:gd name="connsiteX16" fmla="*/ 1742546 w 2427462"/>
              <a:gd name="connsiteY16" fmla="*/ 219717 h 2173250"/>
              <a:gd name="connsiteX17" fmla="*/ 1684616 w 2427462"/>
              <a:gd name="connsiteY17" fmla="*/ 193294 h 2173250"/>
              <a:gd name="connsiteX18" fmla="*/ 1684616 w 2427462"/>
              <a:gd name="connsiteY18" fmla="*/ 138465 h 2173250"/>
              <a:gd name="connsiteX19" fmla="*/ 1612813 w 2427462"/>
              <a:gd name="connsiteY19" fmla="*/ 138465 h 2173250"/>
              <a:gd name="connsiteX20" fmla="*/ 1612813 w 2427462"/>
              <a:gd name="connsiteY20" fmla="*/ 165894 h 2173250"/>
              <a:gd name="connsiteX21" fmla="*/ 1543795 w 2427462"/>
              <a:gd name="connsiteY21" fmla="*/ 144152 h 2173250"/>
              <a:gd name="connsiteX22" fmla="*/ 1543795 w 2427462"/>
              <a:gd name="connsiteY22" fmla="*/ 4509 h 2173250"/>
              <a:gd name="connsiteX23" fmla="*/ 1471992 w 2427462"/>
              <a:gd name="connsiteY23" fmla="*/ 4509 h 2173250"/>
              <a:gd name="connsiteX24" fmla="*/ 1471992 w 2427462"/>
              <a:gd name="connsiteY24" fmla="*/ 126058 h 2173250"/>
              <a:gd name="connsiteX25" fmla="*/ 1243084 w 2427462"/>
              <a:gd name="connsiteY25" fmla="*/ 98801 h 2173250"/>
              <a:gd name="connsiteX26" fmla="*/ 1243084 w 2427462"/>
              <a:gd name="connsiteY26" fmla="*/ 0 h 2173250"/>
              <a:gd name="connsiteX27" fmla="*/ 1171281 w 2427462"/>
              <a:gd name="connsiteY27" fmla="*/ 0 h 2173250"/>
              <a:gd name="connsiteX28" fmla="*/ 1171281 w 2427462"/>
              <a:gd name="connsiteY28" fmla="*/ 99117 h 2173250"/>
              <a:gd name="connsiteX29" fmla="*/ 958973 w 2427462"/>
              <a:gd name="connsiteY29" fmla="*/ 125110 h 2173250"/>
              <a:gd name="connsiteX30" fmla="*/ 958973 w 2427462"/>
              <a:gd name="connsiteY30" fmla="*/ 0 h 2173250"/>
              <a:gd name="connsiteX31" fmla="*/ 887170 w 2427462"/>
              <a:gd name="connsiteY31" fmla="*/ 0 h 2173250"/>
              <a:gd name="connsiteX32" fmla="*/ 887170 w 2427462"/>
              <a:gd name="connsiteY32" fmla="*/ 142974 h 2173250"/>
              <a:gd name="connsiteX33" fmla="*/ 817493 w 2427462"/>
              <a:gd name="connsiteY33" fmla="*/ 164745 h 2173250"/>
              <a:gd name="connsiteX34" fmla="*/ 817493 w 2427462"/>
              <a:gd name="connsiteY34" fmla="*/ 133956 h 2173250"/>
              <a:gd name="connsiteX35" fmla="*/ 745690 w 2427462"/>
              <a:gd name="connsiteY35" fmla="*/ 133956 h 2173250"/>
              <a:gd name="connsiteX36" fmla="*/ 745690 w 2427462"/>
              <a:gd name="connsiteY36" fmla="*/ 191944 h 2173250"/>
              <a:gd name="connsiteX37" fmla="*/ 687156 w 2427462"/>
              <a:gd name="connsiteY37" fmla="*/ 218253 h 2173250"/>
              <a:gd name="connsiteX38" fmla="*/ 687156 w 2427462"/>
              <a:gd name="connsiteY38" fmla="*/ 167560 h 2173250"/>
              <a:gd name="connsiteX39" fmla="*/ 615353 w 2427462"/>
              <a:gd name="connsiteY39" fmla="*/ 167560 h 2173250"/>
              <a:gd name="connsiteX40" fmla="*/ 615353 w 2427462"/>
              <a:gd name="connsiteY40" fmla="*/ 256337 h 2173250"/>
              <a:gd name="connsiteX41" fmla="*/ 544641 w 2427462"/>
              <a:gd name="connsiteY41" fmla="*/ 299706 h 2173250"/>
              <a:gd name="connsiteX42" fmla="*/ 544641 w 2427462"/>
              <a:gd name="connsiteY42" fmla="*/ 220206 h 2173250"/>
              <a:gd name="connsiteX43" fmla="*/ 472838 w 2427462"/>
              <a:gd name="connsiteY43" fmla="*/ 220206 h 2173250"/>
              <a:gd name="connsiteX44" fmla="*/ 472838 w 2427462"/>
              <a:gd name="connsiteY44" fmla="*/ 351261 h 2173250"/>
              <a:gd name="connsiteX45" fmla="*/ 377110 w 2427462"/>
              <a:gd name="connsiteY45" fmla="*/ 433547 h 2173250"/>
              <a:gd name="connsiteX46" fmla="*/ 377110 w 2427462"/>
              <a:gd name="connsiteY46" fmla="*/ 348906 h 2173250"/>
              <a:gd name="connsiteX47" fmla="*/ 305307 w 2427462"/>
              <a:gd name="connsiteY47" fmla="*/ 348906 h 2173250"/>
              <a:gd name="connsiteX48" fmla="*/ 305307 w 2427462"/>
              <a:gd name="connsiteY48" fmla="*/ 507906 h 2173250"/>
              <a:gd name="connsiteX49" fmla="*/ 223940 w 2427462"/>
              <a:gd name="connsiteY49" fmla="*/ 610441 h 2173250"/>
              <a:gd name="connsiteX50" fmla="*/ 223940 w 2427462"/>
              <a:gd name="connsiteY50" fmla="*/ 512186 h 2173250"/>
              <a:gd name="connsiteX51" fmla="*/ 152136 w 2427462"/>
              <a:gd name="connsiteY51" fmla="*/ 512186 h 2173250"/>
              <a:gd name="connsiteX52" fmla="*/ 152136 w 2427462"/>
              <a:gd name="connsiteY52" fmla="*/ 722741 h 2173250"/>
              <a:gd name="connsiteX53" fmla="*/ 152912 w 2427462"/>
              <a:gd name="connsiteY53" fmla="*/ 722741 h 2173250"/>
              <a:gd name="connsiteX54" fmla="*/ 0 w 2427462"/>
              <a:gd name="connsiteY54" fmla="*/ 1311527 h 2173250"/>
              <a:gd name="connsiteX55" fmla="*/ 37740 w 2427462"/>
              <a:gd name="connsiteY55" fmla="*/ 1347428 h 2173250"/>
              <a:gd name="connsiteX56" fmla="*/ 73440 w 2427462"/>
              <a:gd name="connsiteY56" fmla="*/ 1315375 h 2173250"/>
              <a:gd name="connsiteX57" fmla="*/ 429210 w 2427462"/>
              <a:gd name="connsiteY57" fmla="*/ 1039565 h 2173250"/>
              <a:gd name="connsiteX58" fmla="*/ 781246 w 2427462"/>
              <a:gd name="connsiteY58" fmla="*/ 1292657 h 2173250"/>
              <a:gd name="connsiteX59" fmla="*/ 816459 w 2427462"/>
              <a:gd name="connsiteY59" fmla="*/ 1321579 h 2173250"/>
              <a:gd name="connsiteX60" fmla="*/ 851671 w 2427462"/>
              <a:gd name="connsiteY60" fmla="*/ 1292657 h 2173250"/>
              <a:gd name="connsiteX61" fmla="*/ 1171281 w 2427462"/>
              <a:gd name="connsiteY61" fmla="*/ 1040800 h 2173250"/>
              <a:gd name="connsiteX62" fmla="*/ 1171281 w 2427462"/>
              <a:gd name="connsiteY62" fmla="*/ 1175158 h 2173250"/>
              <a:gd name="connsiteX63" fmla="*/ 1147414 w 2427462"/>
              <a:gd name="connsiteY63" fmla="*/ 1175158 h 2173250"/>
              <a:gd name="connsiteX64" fmla="*/ 1111512 w 2427462"/>
              <a:gd name="connsiteY64" fmla="*/ 1211060 h 2173250"/>
              <a:gd name="connsiteX65" fmla="*/ 1147414 w 2427462"/>
              <a:gd name="connsiteY65" fmla="*/ 1246961 h 2173250"/>
              <a:gd name="connsiteX66" fmla="*/ 1171281 w 2427462"/>
              <a:gd name="connsiteY66" fmla="*/ 1246961 h 2173250"/>
              <a:gd name="connsiteX67" fmla="*/ 1171281 w 2427462"/>
              <a:gd name="connsiteY67" fmla="*/ 2137320 h 2173250"/>
              <a:gd name="connsiteX68" fmla="*/ 1147414 w 2427462"/>
              <a:gd name="connsiteY68" fmla="*/ 2137320 h 2173250"/>
              <a:gd name="connsiteX69" fmla="*/ 1311814 w 2427462"/>
              <a:gd name="connsiteY69" fmla="*/ 2173250 h 2173250"/>
              <a:gd name="connsiteX70" fmla="*/ 1275912 w 2427462"/>
              <a:gd name="connsiteY70" fmla="*/ 2137349 h 2173250"/>
              <a:gd name="connsiteX71" fmla="*/ 1243084 w 2427462"/>
              <a:gd name="connsiteY71" fmla="*/ 1246990 h 2173250"/>
              <a:gd name="connsiteX72" fmla="*/ 1275912 w 2427462"/>
              <a:gd name="connsiteY72" fmla="*/ 1246990 h 2173250"/>
              <a:gd name="connsiteX73" fmla="*/ 1311814 w 2427462"/>
              <a:gd name="connsiteY73" fmla="*/ 1211089 h 2173250"/>
              <a:gd name="connsiteX74" fmla="*/ 1275912 w 2427462"/>
              <a:gd name="connsiteY74" fmla="*/ 1175187 h 2173250"/>
              <a:gd name="connsiteX75" fmla="*/ 1243084 w 2427462"/>
              <a:gd name="connsiteY75" fmla="*/ 1175187 h 2173250"/>
              <a:gd name="connsiteX76" fmla="*/ 1243084 w 2427462"/>
              <a:gd name="connsiteY76" fmla="*/ 1041576 h 2173250"/>
              <a:gd name="connsiteX77" fmla="*/ 1559449 w 2427462"/>
              <a:gd name="connsiteY77" fmla="*/ 1315404 h 2173250"/>
              <a:gd name="connsiteX78" fmla="*/ 1595149 w 2427462"/>
              <a:gd name="connsiteY78" fmla="*/ 1347457 h 2173250"/>
              <a:gd name="connsiteX79" fmla="*/ 1606207 w 2427462"/>
              <a:gd name="connsiteY79" fmla="*/ 1347457 h 2173250"/>
              <a:gd name="connsiteX80" fmla="*/ 1641907 w 2427462"/>
              <a:gd name="connsiteY80" fmla="*/ 1315404 h 2173250"/>
              <a:gd name="connsiteX81" fmla="*/ 1997706 w 2427462"/>
              <a:gd name="connsiteY81" fmla="*/ 1039594 h 2173250"/>
              <a:gd name="connsiteX82" fmla="*/ 2353447 w 2427462"/>
              <a:gd name="connsiteY82" fmla="*/ 1315404 h 2173250"/>
              <a:gd name="connsiteX83" fmla="*/ 2389148 w 2427462"/>
              <a:gd name="connsiteY83" fmla="*/ 1347457 h 2173250"/>
              <a:gd name="connsiteX84" fmla="*/ 2390986 w 2427462"/>
              <a:gd name="connsiteY84" fmla="*/ 1347457 h 2173250"/>
              <a:gd name="connsiteX85" fmla="*/ 2391560 w 2427462"/>
              <a:gd name="connsiteY85" fmla="*/ 1347457 h 2173250"/>
              <a:gd name="connsiteX86" fmla="*/ 2427462 w 2427462"/>
              <a:gd name="connsiteY86" fmla="*/ 1311556 h 2173250"/>
              <a:gd name="connsiteX87" fmla="*/ 2426859 w 2427462"/>
              <a:gd name="connsiteY87" fmla="*/ 1305036 h 2173250"/>
              <a:gd name="connsiteX88" fmla="*/ 88978 w 2427462"/>
              <a:gd name="connsiteY88" fmla="*/ 1113465 h 2173250"/>
              <a:gd name="connsiteX89" fmla="*/ 920889 w 2427462"/>
              <a:gd name="connsiteY89" fmla="*/ 208057 h 2173250"/>
              <a:gd name="connsiteX90" fmla="*/ 393050 w 2427462"/>
              <a:gd name="connsiteY90" fmla="*/ 969629 h 2173250"/>
              <a:gd name="connsiteX91" fmla="*/ 88978 w 2427462"/>
              <a:gd name="connsiteY91" fmla="*/ 1113465 h 2173250"/>
              <a:gd name="connsiteX92" fmla="*/ 467237 w 2427462"/>
              <a:gd name="connsiteY92" fmla="*/ 969399 h 2173250"/>
              <a:gd name="connsiteX93" fmla="*/ 1122800 w 2427462"/>
              <a:gd name="connsiteY93" fmla="*/ 201077 h 2173250"/>
              <a:gd name="connsiteX94" fmla="*/ 790409 w 2427462"/>
              <a:gd name="connsiteY94" fmla="*/ 1140635 h 2173250"/>
              <a:gd name="connsiteX95" fmla="*/ 467237 w 2427462"/>
              <a:gd name="connsiteY95" fmla="*/ 969399 h 2173250"/>
              <a:gd name="connsiteX96" fmla="*/ 863217 w 2427462"/>
              <a:gd name="connsiteY96" fmla="*/ 1114556 h 2173250"/>
              <a:gd name="connsiteX97" fmla="*/ 1171281 w 2427462"/>
              <a:gd name="connsiteY97" fmla="*/ 255418 h 2173250"/>
              <a:gd name="connsiteX98" fmla="*/ 1171281 w 2427462"/>
              <a:gd name="connsiteY98" fmla="*/ 968882 h 2173250"/>
              <a:gd name="connsiteX99" fmla="*/ 863217 w 2427462"/>
              <a:gd name="connsiteY99" fmla="*/ 1114556 h 2173250"/>
              <a:gd name="connsiteX100" fmla="*/ 1243084 w 2427462"/>
              <a:gd name="connsiteY100" fmla="*/ 969514 h 2173250"/>
              <a:gd name="connsiteX101" fmla="*/ 1243084 w 2427462"/>
              <a:gd name="connsiteY101" fmla="*/ 244849 h 2173250"/>
              <a:gd name="connsiteX102" fmla="*/ 1560368 w 2427462"/>
              <a:gd name="connsiteY102" fmla="*/ 1133886 h 2173250"/>
              <a:gd name="connsiteX103" fmla="*/ 1243084 w 2427462"/>
              <a:gd name="connsiteY103" fmla="*/ 969514 h 2173250"/>
              <a:gd name="connsiteX104" fmla="*/ 1632659 w 2427462"/>
              <a:gd name="connsiteY104" fmla="*/ 1145173 h 2173250"/>
              <a:gd name="connsiteX105" fmla="*/ 1300096 w 2427462"/>
              <a:gd name="connsiteY105" fmla="*/ 201077 h 2173250"/>
              <a:gd name="connsiteX106" fmla="*/ 1955744 w 2427462"/>
              <a:gd name="connsiteY106" fmla="*/ 969773 h 2173250"/>
              <a:gd name="connsiteX107" fmla="*/ 1632659 w 2427462"/>
              <a:gd name="connsiteY107" fmla="*/ 1145173 h 2173250"/>
              <a:gd name="connsiteX108" fmla="*/ 2029759 w 2427462"/>
              <a:gd name="connsiteY108" fmla="*/ 969428 h 2173250"/>
              <a:gd name="connsiteX109" fmla="*/ 1498789 w 2427462"/>
              <a:gd name="connsiteY109" fmla="*/ 206247 h 2173250"/>
              <a:gd name="connsiteX110" fmla="*/ 2337909 w 2427462"/>
              <a:gd name="connsiteY110" fmla="*/ 1113465 h 2173250"/>
              <a:gd name="connsiteX111" fmla="*/ 2029759 w 2427462"/>
              <a:gd name="connsiteY111" fmla="*/ 969428 h 2173250"/>
              <a:gd name="connsiteX0" fmla="*/ 2426859 w 2427462"/>
              <a:gd name="connsiteY0" fmla="*/ 1305036 h 2173250"/>
              <a:gd name="connsiteX1" fmla="*/ 2275440 w 2427462"/>
              <a:gd name="connsiteY1" fmla="*/ 725154 h 2173250"/>
              <a:gd name="connsiteX2" fmla="*/ 2275440 w 2427462"/>
              <a:gd name="connsiteY2" fmla="*/ 516753 h 2173250"/>
              <a:gd name="connsiteX3" fmla="*/ 2203637 w 2427462"/>
              <a:gd name="connsiteY3" fmla="*/ 516753 h 2173250"/>
              <a:gd name="connsiteX4" fmla="*/ 2203637 w 2427462"/>
              <a:gd name="connsiteY4" fmla="*/ 611418 h 2173250"/>
              <a:gd name="connsiteX5" fmla="*/ 2122988 w 2427462"/>
              <a:gd name="connsiteY5" fmla="*/ 509601 h 2173250"/>
              <a:gd name="connsiteX6" fmla="*/ 2122988 w 2427462"/>
              <a:gd name="connsiteY6" fmla="*/ 353444 h 2173250"/>
              <a:gd name="connsiteX7" fmla="*/ 2051185 w 2427462"/>
              <a:gd name="connsiteY7" fmla="*/ 353444 h 2173250"/>
              <a:gd name="connsiteX8" fmla="*/ 2051185 w 2427462"/>
              <a:gd name="connsiteY8" fmla="*/ 434897 h 2173250"/>
              <a:gd name="connsiteX9" fmla="*/ 1956204 w 2427462"/>
              <a:gd name="connsiteY9" fmla="*/ 352984 h 2173250"/>
              <a:gd name="connsiteX10" fmla="*/ 1956204 w 2427462"/>
              <a:gd name="connsiteY10" fmla="*/ 224715 h 2173250"/>
              <a:gd name="connsiteX11" fmla="*/ 1884401 w 2427462"/>
              <a:gd name="connsiteY11" fmla="*/ 224715 h 2173250"/>
              <a:gd name="connsiteX12" fmla="*/ 1884401 w 2427462"/>
              <a:gd name="connsiteY12" fmla="*/ 301027 h 2173250"/>
              <a:gd name="connsiteX13" fmla="*/ 1814350 w 2427462"/>
              <a:gd name="connsiteY13" fmla="*/ 257945 h 2173250"/>
              <a:gd name="connsiteX14" fmla="*/ 1814350 w 2427462"/>
              <a:gd name="connsiteY14" fmla="*/ 172040 h 2173250"/>
              <a:gd name="connsiteX15" fmla="*/ 1742546 w 2427462"/>
              <a:gd name="connsiteY15" fmla="*/ 172040 h 2173250"/>
              <a:gd name="connsiteX16" fmla="*/ 1742546 w 2427462"/>
              <a:gd name="connsiteY16" fmla="*/ 219717 h 2173250"/>
              <a:gd name="connsiteX17" fmla="*/ 1684616 w 2427462"/>
              <a:gd name="connsiteY17" fmla="*/ 193294 h 2173250"/>
              <a:gd name="connsiteX18" fmla="*/ 1684616 w 2427462"/>
              <a:gd name="connsiteY18" fmla="*/ 138465 h 2173250"/>
              <a:gd name="connsiteX19" fmla="*/ 1612813 w 2427462"/>
              <a:gd name="connsiteY19" fmla="*/ 138465 h 2173250"/>
              <a:gd name="connsiteX20" fmla="*/ 1612813 w 2427462"/>
              <a:gd name="connsiteY20" fmla="*/ 165894 h 2173250"/>
              <a:gd name="connsiteX21" fmla="*/ 1543795 w 2427462"/>
              <a:gd name="connsiteY21" fmla="*/ 144152 h 2173250"/>
              <a:gd name="connsiteX22" fmla="*/ 1543795 w 2427462"/>
              <a:gd name="connsiteY22" fmla="*/ 4509 h 2173250"/>
              <a:gd name="connsiteX23" fmla="*/ 1471992 w 2427462"/>
              <a:gd name="connsiteY23" fmla="*/ 4509 h 2173250"/>
              <a:gd name="connsiteX24" fmla="*/ 1471992 w 2427462"/>
              <a:gd name="connsiteY24" fmla="*/ 126058 h 2173250"/>
              <a:gd name="connsiteX25" fmla="*/ 1243084 w 2427462"/>
              <a:gd name="connsiteY25" fmla="*/ 98801 h 2173250"/>
              <a:gd name="connsiteX26" fmla="*/ 1243084 w 2427462"/>
              <a:gd name="connsiteY26" fmla="*/ 0 h 2173250"/>
              <a:gd name="connsiteX27" fmla="*/ 1171281 w 2427462"/>
              <a:gd name="connsiteY27" fmla="*/ 0 h 2173250"/>
              <a:gd name="connsiteX28" fmla="*/ 1171281 w 2427462"/>
              <a:gd name="connsiteY28" fmla="*/ 99117 h 2173250"/>
              <a:gd name="connsiteX29" fmla="*/ 958973 w 2427462"/>
              <a:gd name="connsiteY29" fmla="*/ 125110 h 2173250"/>
              <a:gd name="connsiteX30" fmla="*/ 958973 w 2427462"/>
              <a:gd name="connsiteY30" fmla="*/ 0 h 2173250"/>
              <a:gd name="connsiteX31" fmla="*/ 887170 w 2427462"/>
              <a:gd name="connsiteY31" fmla="*/ 0 h 2173250"/>
              <a:gd name="connsiteX32" fmla="*/ 887170 w 2427462"/>
              <a:gd name="connsiteY32" fmla="*/ 142974 h 2173250"/>
              <a:gd name="connsiteX33" fmla="*/ 817493 w 2427462"/>
              <a:gd name="connsiteY33" fmla="*/ 164745 h 2173250"/>
              <a:gd name="connsiteX34" fmla="*/ 817493 w 2427462"/>
              <a:gd name="connsiteY34" fmla="*/ 133956 h 2173250"/>
              <a:gd name="connsiteX35" fmla="*/ 745690 w 2427462"/>
              <a:gd name="connsiteY35" fmla="*/ 133956 h 2173250"/>
              <a:gd name="connsiteX36" fmla="*/ 745690 w 2427462"/>
              <a:gd name="connsiteY36" fmla="*/ 191944 h 2173250"/>
              <a:gd name="connsiteX37" fmla="*/ 687156 w 2427462"/>
              <a:gd name="connsiteY37" fmla="*/ 218253 h 2173250"/>
              <a:gd name="connsiteX38" fmla="*/ 687156 w 2427462"/>
              <a:gd name="connsiteY38" fmla="*/ 167560 h 2173250"/>
              <a:gd name="connsiteX39" fmla="*/ 615353 w 2427462"/>
              <a:gd name="connsiteY39" fmla="*/ 167560 h 2173250"/>
              <a:gd name="connsiteX40" fmla="*/ 615353 w 2427462"/>
              <a:gd name="connsiteY40" fmla="*/ 256337 h 2173250"/>
              <a:gd name="connsiteX41" fmla="*/ 544641 w 2427462"/>
              <a:gd name="connsiteY41" fmla="*/ 299706 h 2173250"/>
              <a:gd name="connsiteX42" fmla="*/ 544641 w 2427462"/>
              <a:gd name="connsiteY42" fmla="*/ 220206 h 2173250"/>
              <a:gd name="connsiteX43" fmla="*/ 472838 w 2427462"/>
              <a:gd name="connsiteY43" fmla="*/ 220206 h 2173250"/>
              <a:gd name="connsiteX44" fmla="*/ 472838 w 2427462"/>
              <a:gd name="connsiteY44" fmla="*/ 351261 h 2173250"/>
              <a:gd name="connsiteX45" fmla="*/ 377110 w 2427462"/>
              <a:gd name="connsiteY45" fmla="*/ 433547 h 2173250"/>
              <a:gd name="connsiteX46" fmla="*/ 377110 w 2427462"/>
              <a:gd name="connsiteY46" fmla="*/ 348906 h 2173250"/>
              <a:gd name="connsiteX47" fmla="*/ 305307 w 2427462"/>
              <a:gd name="connsiteY47" fmla="*/ 348906 h 2173250"/>
              <a:gd name="connsiteX48" fmla="*/ 305307 w 2427462"/>
              <a:gd name="connsiteY48" fmla="*/ 507906 h 2173250"/>
              <a:gd name="connsiteX49" fmla="*/ 223940 w 2427462"/>
              <a:gd name="connsiteY49" fmla="*/ 610441 h 2173250"/>
              <a:gd name="connsiteX50" fmla="*/ 223940 w 2427462"/>
              <a:gd name="connsiteY50" fmla="*/ 512186 h 2173250"/>
              <a:gd name="connsiteX51" fmla="*/ 152136 w 2427462"/>
              <a:gd name="connsiteY51" fmla="*/ 512186 h 2173250"/>
              <a:gd name="connsiteX52" fmla="*/ 152136 w 2427462"/>
              <a:gd name="connsiteY52" fmla="*/ 722741 h 2173250"/>
              <a:gd name="connsiteX53" fmla="*/ 152912 w 2427462"/>
              <a:gd name="connsiteY53" fmla="*/ 722741 h 2173250"/>
              <a:gd name="connsiteX54" fmla="*/ 0 w 2427462"/>
              <a:gd name="connsiteY54" fmla="*/ 1311527 h 2173250"/>
              <a:gd name="connsiteX55" fmla="*/ 37740 w 2427462"/>
              <a:gd name="connsiteY55" fmla="*/ 1347428 h 2173250"/>
              <a:gd name="connsiteX56" fmla="*/ 73440 w 2427462"/>
              <a:gd name="connsiteY56" fmla="*/ 1315375 h 2173250"/>
              <a:gd name="connsiteX57" fmla="*/ 429210 w 2427462"/>
              <a:gd name="connsiteY57" fmla="*/ 1039565 h 2173250"/>
              <a:gd name="connsiteX58" fmla="*/ 781246 w 2427462"/>
              <a:gd name="connsiteY58" fmla="*/ 1292657 h 2173250"/>
              <a:gd name="connsiteX59" fmla="*/ 816459 w 2427462"/>
              <a:gd name="connsiteY59" fmla="*/ 1321579 h 2173250"/>
              <a:gd name="connsiteX60" fmla="*/ 851671 w 2427462"/>
              <a:gd name="connsiteY60" fmla="*/ 1292657 h 2173250"/>
              <a:gd name="connsiteX61" fmla="*/ 1171281 w 2427462"/>
              <a:gd name="connsiteY61" fmla="*/ 1040800 h 2173250"/>
              <a:gd name="connsiteX62" fmla="*/ 1171281 w 2427462"/>
              <a:gd name="connsiteY62" fmla="*/ 1175158 h 2173250"/>
              <a:gd name="connsiteX63" fmla="*/ 1147414 w 2427462"/>
              <a:gd name="connsiteY63" fmla="*/ 1175158 h 2173250"/>
              <a:gd name="connsiteX64" fmla="*/ 1111512 w 2427462"/>
              <a:gd name="connsiteY64" fmla="*/ 1211060 h 2173250"/>
              <a:gd name="connsiteX65" fmla="*/ 1147414 w 2427462"/>
              <a:gd name="connsiteY65" fmla="*/ 1246961 h 2173250"/>
              <a:gd name="connsiteX66" fmla="*/ 1171281 w 2427462"/>
              <a:gd name="connsiteY66" fmla="*/ 1246961 h 2173250"/>
              <a:gd name="connsiteX67" fmla="*/ 1171281 w 2427462"/>
              <a:gd name="connsiteY67" fmla="*/ 2137320 h 2173250"/>
              <a:gd name="connsiteX68" fmla="*/ 1147414 w 2427462"/>
              <a:gd name="connsiteY68" fmla="*/ 2137320 h 2173250"/>
              <a:gd name="connsiteX69" fmla="*/ 1311814 w 2427462"/>
              <a:gd name="connsiteY69" fmla="*/ 2173250 h 2173250"/>
              <a:gd name="connsiteX70" fmla="*/ 1243084 w 2427462"/>
              <a:gd name="connsiteY70" fmla="*/ 1246990 h 2173250"/>
              <a:gd name="connsiteX71" fmla="*/ 1275912 w 2427462"/>
              <a:gd name="connsiteY71" fmla="*/ 1246990 h 2173250"/>
              <a:gd name="connsiteX72" fmla="*/ 1311814 w 2427462"/>
              <a:gd name="connsiteY72" fmla="*/ 1211089 h 2173250"/>
              <a:gd name="connsiteX73" fmla="*/ 1275912 w 2427462"/>
              <a:gd name="connsiteY73" fmla="*/ 1175187 h 2173250"/>
              <a:gd name="connsiteX74" fmla="*/ 1243084 w 2427462"/>
              <a:gd name="connsiteY74" fmla="*/ 1175187 h 2173250"/>
              <a:gd name="connsiteX75" fmla="*/ 1243084 w 2427462"/>
              <a:gd name="connsiteY75" fmla="*/ 1041576 h 2173250"/>
              <a:gd name="connsiteX76" fmla="*/ 1559449 w 2427462"/>
              <a:gd name="connsiteY76" fmla="*/ 1315404 h 2173250"/>
              <a:gd name="connsiteX77" fmla="*/ 1595149 w 2427462"/>
              <a:gd name="connsiteY77" fmla="*/ 1347457 h 2173250"/>
              <a:gd name="connsiteX78" fmla="*/ 1606207 w 2427462"/>
              <a:gd name="connsiteY78" fmla="*/ 1347457 h 2173250"/>
              <a:gd name="connsiteX79" fmla="*/ 1641907 w 2427462"/>
              <a:gd name="connsiteY79" fmla="*/ 1315404 h 2173250"/>
              <a:gd name="connsiteX80" fmla="*/ 1997706 w 2427462"/>
              <a:gd name="connsiteY80" fmla="*/ 1039594 h 2173250"/>
              <a:gd name="connsiteX81" fmla="*/ 2353447 w 2427462"/>
              <a:gd name="connsiteY81" fmla="*/ 1315404 h 2173250"/>
              <a:gd name="connsiteX82" fmla="*/ 2389148 w 2427462"/>
              <a:gd name="connsiteY82" fmla="*/ 1347457 h 2173250"/>
              <a:gd name="connsiteX83" fmla="*/ 2390986 w 2427462"/>
              <a:gd name="connsiteY83" fmla="*/ 1347457 h 2173250"/>
              <a:gd name="connsiteX84" fmla="*/ 2391560 w 2427462"/>
              <a:gd name="connsiteY84" fmla="*/ 1347457 h 2173250"/>
              <a:gd name="connsiteX85" fmla="*/ 2427462 w 2427462"/>
              <a:gd name="connsiteY85" fmla="*/ 1311556 h 2173250"/>
              <a:gd name="connsiteX86" fmla="*/ 2426859 w 2427462"/>
              <a:gd name="connsiteY86" fmla="*/ 1305036 h 2173250"/>
              <a:gd name="connsiteX87" fmla="*/ 88978 w 2427462"/>
              <a:gd name="connsiteY87" fmla="*/ 1113465 h 2173250"/>
              <a:gd name="connsiteX88" fmla="*/ 920889 w 2427462"/>
              <a:gd name="connsiteY88" fmla="*/ 208057 h 2173250"/>
              <a:gd name="connsiteX89" fmla="*/ 393050 w 2427462"/>
              <a:gd name="connsiteY89" fmla="*/ 969629 h 2173250"/>
              <a:gd name="connsiteX90" fmla="*/ 88978 w 2427462"/>
              <a:gd name="connsiteY90" fmla="*/ 1113465 h 2173250"/>
              <a:gd name="connsiteX91" fmla="*/ 467237 w 2427462"/>
              <a:gd name="connsiteY91" fmla="*/ 969399 h 2173250"/>
              <a:gd name="connsiteX92" fmla="*/ 1122800 w 2427462"/>
              <a:gd name="connsiteY92" fmla="*/ 201077 h 2173250"/>
              <a:gd name="connsiteX93" fmla="*/ 790409 w 2427462"/>
              <a:gd name="connsiteY93" fmla="*/ 1140635 h 2173250"/>
              <a:gd name="connsiteX94" fmla="*/ 467237 w 2427462"/>
              <a:gd name="connsiteY94" fmla="*/ 969399 h 2173250"/>
              <a:gd name="connsiteX95" fmla="*/ 863217 w 2427462"/>
              <a:gd name="connsiteY95" fmla="*/ 1114556 h 2173250"/>
              <a:gd name="connsiteX96" fmla="*/ 1171281 w 2427462"/>
              <a:gd name="connsiteY96" fmla="*/ 255418 h 2173250"/>
              <a:gd name="connsiteX97" fmla="*/ 1171281 w 2427462"/>
              <a:gd name="connsiteY97" fmla="*/ 968882 h 2173250"/>
              <a:gd name="connsiteX98" fmla="*/ 863217 w 2427462"/>
              <a:gd name="connsiteY98" fmla="*/ 1114556 h 2173250"/>
              <a:gd name="connsiteX99" fmla="*/ 1243084 w 2427462"/>
              <a:gd name="connsiteY99" fmla="*/ 969514 h 2173250"/>
              <a:gd name="connsiteX100" fmla="*/ 1243084 w 2427462"/>
              <a:gd name="connsiteY100" fmla="*/ 244849 h 2173250"/>
              <a:gd name="connsiteX101" fmla="*/ 1560368 w 2427462"/>
              <a:gd name="connsiteY101" fmla="*/ 1133886 h 2173250"/>
              <a:gd name="connsiteX102" fmla="*/ 1243084 w 2427462"/>
              <a:gd name="connsiteY102" fmla="*/ 969514 h 2173250"/>
              <a:gd name="connsiteX103" fmla="*/ 1632659 w 2427462"/>
              <a:gd name="connsiteY103" fmla="*/ 1145173 h 2173250"/>
              <a:gd name="connsiteX104" fmla="*/ 1300096 w 2427462"/>
              <a:gd name="connsiteY104" fmla="*/ 201077 h 2173250"/>
              <a:gd name="connsiteX105" fmla="*/ 1955744 w 2427462"/>
              <a:gd name="connsiteY105" fmla="*/ 969773 h 2173250"/>
              <a:gd name="connsiteX106" fmla="*/ 1632659 w 2427462"/>
              <a:gd name="connsiteY106" fmla="*/ 1145173 h 2173250"/>
              <a:gd name="connsiteX107" fmla="*/ 2029759 w 2427462"/>
              <a:gd name="connsiteY107" fmla="*/ 969428 h 2173250"/>
              <a:gd name="connsiteX108" fmla="*/ 1498789 w 2427462"/>
              <a:gd name="connsiteY108" fmla="*/ 206247 h 2173250"/>
              <a:gd name="connsiteX109" fmla="*/ 2337909 w 2427462"/>
              <a:gd name="connsiteY109" fmla="*/ 1113465 h 2173250"/>
              <a:gd name="connsiteX110" fmla="*/ 2029759 w 2427462"/>
              <a:gd name="connsiteY110" fmla="*/ 969428 h 2173250"/>
              <a:gd name="connsiteX0" fmla="*/ 2426859 w 2427462"/>
              <a:gd name="connsiteY0" fmla="*/ 1305036 h 2173250"/>
              <a:gd name="connsiteX1" fmla="*/ 2275440 w 2427462"/>
              <a:gd name="connsiteY1" fmla="*/ 725154 h 2173250"/>
              <a:gd name="connsiteX2" fmla="*/ 2275440 w 2427462"/>
              <a:gd name="connsiteY2" fmla="*/ 516753 h 2173250"/>
              <a:gd name="connsiteX3" fmla="*/ 2203637 w 2427462"/>
              <a:gd name="connsiteY3" fmla="*/ 516753 h 2173250"/>
              <a:gd name="connsiteX4" fmla="*/ 2203637 w 2427462"/>
              <a:gd name="connsiteY4" fmla="*/ 611418 h 2173250"/>
              <a:gd name="connsiteX5" fmla="*/ 2122988 w 2427462"/>
              <a:gd name="connsiteY5" fmla="*/ 509601 h 2173250"/>
              <a:gd name="connsiteX6" fmla="*/ 2122988 w 2427462"/>
              <a:gd name="connsiteY6" fmla="*/ 353444 h 2173250"/>
              <a:gd name="connsiteX7" fmla="*/ 2051185 w 2427462"/>
              <a:gd name="connsiteY7" fmla="*/ 353444 h 2173250"/>
              <a:gd name="connsiteX8" fmla="*/ 2051185 w 2427462"/>
              <a:gd name="connsiteY8" fmla="*/ 434897 h 2173250"/>
              <a:gd name="connsiteX9" fmla="*/ 1956204 w 2427462"/>
              <a:gd name="connsiteY9" fmla="*/ 352984 h 2173250"/>
              <a:gd name="connsiteX10" fmla="*/ 1956204 w 2427462"/>
              <a:gd name="connsiteY10" fmla="*/ 224715 h 2173250"/>
              <a:gd name="connsiteX11" fmla="*/ 1884401 w 2427462"/>
              <a:gd name="connsiteY11" fmla="*/ 224715 h 2173250"/>
              <a:gd name="connsiteX12" fmla="*/ 1884401 w 2427462"/>
              <a:gd name="connsiteY12" fmla="*/ 301027 h 2173250"/>
              <a:gd name="connsiteX13" fmla="*/ 1814350 w 2427462"/>
              <a:gd name="connsiteY13" fmla="*/ 257945 h 2173250"/>
              <a:gd name="connsiteX14" fmla="*/ 1814350 w 2427462"/>
              <a:gd name="connsiteY14" fmla="*/ 172040 h 2173250"/>
              <a:gd name="connsiteX15" fmla="*/ 1742546 w 2427462"/>
              <a:gd name="connsiteY15" fmla="*/ 172040 h 2173250"/>
              <a:gd name="connsiteX16" fmla="*/ 1742546 w 2427462"/>
              <a:gd name="connsiteY16" fmla="*/ 219717 h 2173250"/>
              <a:gd name="connsiteX17" fmla="*/ 1684616 w 2427462"/>
              <a:gd name="connsiteY17" fmla="*/ 193294 h 2173250"/>
              <a:gd name="connsiteX18" fmla="*/ 1684616 w 2427462"/>
              <a:gd name="connsiteY18" fmla="*/ 138465 h 2173250"/>
              <a:gd name="connsiteX19" fmla="*/ 1612813 w 2427462"/>
              <a:gd name="connsiteY19" fmla="*/ 138465 h 2173250"/>
              <a:gd name="connsiteX20" fmla="*/ 1612813 w 2427462"/>
              <a:gd name="connsiteY20" fmla="*/ 165894 h 2173250"/>
              <a:gd name="connsiteX21" fmla="*/ 1543795 w 2427462"/>
              <a:gd name="connsiteY21" fmla="*/ 144152 h 2173250"/>
              <a:gd name="connsiteX22" fmla="*/ 1543795 w 2427462"/>
              <a:gd name="connsiteY22" fmla="*/ 4509 h 2173250"/>
              <a:gd name="connsiteX23" fmla="*/ 1471992 w 2427462"/>
              <a:gd name="connsiteY23" fmla="*/ 4509 h 2173250"/>
              <a:gd name="connsiteX24" fmla="*/ 1471992 w 2427462"/>
              <a:gd name="connsiteY24" fmla="*/ 126058 h 2173250"/>
              <a:gd name="connsiteX25" fmla="*/ 1243084 w 2427462"/>
              <a:gd name="connsiteY25" fmla="*/ 98801 h 2173250"/>
              <a:gd name="connsiteX26" fmla="*/ 1243084 w 2427462"/>
              <a:gd name="connsiteY26" fmla="*/ 0 h 2173250"/>
              <a:gd name="connsiteX27" fmla="*/ 1171281 w 2427462"/>
              <a:gd name="connsiteY27" fmla="*/ 0 h 2173250"/>
              <a:gd name="connsiteX28" fmla="*/ 1171281 w 2427462"/>
              <a:gd name="connsiteY28" fmla="*/ 99117 h 2173250"/>
              <a:gd name="connsiteX29" fmla="*/ 958973 w 2427462"/>
              <a:gd name="connsiteY29" fmla="*/ 125110 h 2173250"/>
              <a:gd name="connsiteX30" fmla="*/ 958973 w 2427462"/>
              <a:gd name="connsiteY30" fmla="*/ 0 h 2173250"/>
              <a:gd name="connsiteX31" fmla="*/ 887170 w 2427462"/>
              <a:gd name="connsiteY31" fmla="*/ 0 h 2173250"/>
              <a:gd name="connsiteX32" fmla="*/ 887170 w 2427462"/>
              <a:gd name="connsiteY32" fmla="*/ 142974 h 2173250"/>
              <a:gd name="connsiteX33" fmla="*/ 817493 w 2427462"/>
              <a:gd name="connsiteY33" fmla="*/ 164745 h 2173250"/>
              <a:gd name="connsiteX34" fmla="*/ 817493 w 2427462"/>
              <a:gd name="connsiteY34" fmla="*/ 133956 h 2173250"/>
              <a:gd name="connsiteX35" fmla="*/ 745690 w 2427462"/>
              <a:gd name="connsiteY35" fmla="*/ 133956 h 2173250"/>
              <a:gd name="connsiteX36" fmla="*/ 745690 w 2427462"/>
              <a:gd name="connsiteY36" fmla="*/ 191944 h 2173250"/>
              <a:gd name="connsiteX37" fmla="*/ 687156 w 2427462"/>
              <a:gd name="connsiteY37" fmla="*/ 218253 h 2173250"/>
              <a:gd name="connsiteX38" fmla="*/ 687156 w 2427462"/>
              <a:gd name="connsiteY38" fmla="*/ 167560 h 2173250"/>
              <a:gd name="connsiteX39" fmla="*/ 615353 w 2427462"/>
              <a:gd name="connsiteY39" fmla="*/ 167560 h 2173250"/>
              <a:gd name="connsiteX40" fmla="*/ 615353 w 2427462"/>
              <a:gd name="connsiteY40" fmla="*/ 256337 h 2173250"/>
              <a:gd name="connsiteX41" fmla="*/ 544641 w 2427462"/>
              <a:gd name="connsiteY41" fmla="*/ 299706 h 2173250"/>
              <a:gd name="connsiteX42" fmla="*/ 544641 w 2427462"/>
              <a:gd name="connsiteY42" fmla="*/ 220206 h 2173250"/>
              <a:gd name="connsiteX43" fmla="*/ 472838 w 2427462"/>
              <a:gd name="connsiteY43" fmla="*/ 220206 h 2173250"/>
              <a:gd name="connsiteX44" fmla="*/ 472838 w 2427462"/>
              <a:gd name="connsiteY44" fmla="*/ 351261 h 2173250"/>
              <a:gd name="connsiteX45" fmla="*/ 377110 w 2427462"/>
              <a:gd name="connsiteY45" fmla="*/ 433547 h 2173250"/>
              <a:gd name="connsiteX46" fmla="*/ 377110 w 2427462"/>
              <a:gd name="connsiteY46" fmla="*/ 348906 h 2173250"/>
              <a:gd name="connsiteX47" fmla="*/ 305307 w 2427462"/>
              <a:gd name="connsiteY47" fmla="*/ 348906 h 2173250"/>
              <a:gd name="connsiteX48" fmla="*/ 305307 w 2427462"/>
              <a:gd name="connsiteY48" fmla="*/ 507906 h 2173250"/>
              <a:gd name="connsiteX49" fmla="*/ 223940 w 2427462"/>
              <a:gd name="connsiteY49" fmla="*/ 610441 h 2173250"/>
              <a:gd name="connsiteX50" fmla="*/ 223940 w 2427462"/>
              <a:gd name="connsiteY50" fmla="*/ 512186 h 2173250"/>
              <a:gd name="connsiteX51" fmla="*/ 152136 w 2427462"/>
              <a:gd name="connsiteY51" fmla="*/ 512186 h 2173250"/>
              <a:gd name="connsiteX52" fmla="*/ 152136 w 2427462"/>
              <a:gd name="connsiteY52" fmla="*/ 722741 h 2173250"/>
              <a:gd name="connsiteX53" fmla="*/ 152912 w 2427462"/>
              <a:gd name="connsiteY53" fmla="*/ 722741 h 2173250"/>
              <a:gd name="connsiteX54" fmla="*/ 0 w 2427462"/>
              <a:gd name="connsiteY54" fmla="*/ 1311527 h 2173250"/>
              <a:gd name="connsiteX55" fmla="*/ 37740 w 2427462"/>
              <a:gd name="connsiteY55" fmla="*/ 1347428 h 2173250"/>
              <a:gd name="connsiteX56" fmla="*/ 73440 w 2427462"/>
              <a:gd name="connsiteY56" fmla="*/ 1315375 h 2173250"/>
              <a:gd name="connsiteX57" fmla="*/ 429210 w 2427462"/>
              <a:gd name="connsiteY57" fmla="*/ 1039565 h 2173250"/>
              <a:gd name="connsiteX58" fmla="*/ 781246 w 2427462"/>
              <a:gd name="connsiteY58" fmla="*/ 1292657 h 2173250"/>
              <a:gd name="connsiteX59" fmla="*/ 816459 w 2427462"/>
              <a:gd name="connsiteY59" fmla="*/ 1321579 h 2173250"/>
              <a:gd name="connsiteX60" fmla="*/ 851671 w 2427462"/>
              <a:gd name="connsiteY60" fmla="*/ 1292657 h 2173250"/>
              <a:gd name="connsiteX61" fmla="*/ 1171281 w 2427462"/>
              <a:gd name="connsiteY61" fmla="*/ 1040800 h 2173250"/>
              <a:gd name="connsiteX62" fmla="*/ 1171281 w 2427462"/>
              <a:gd name="connsiteY62" fmla="*/ 1175158 h 2173250"/>
              <a:gd name="connsiteX63" fmla="*/ 1147414 w 2427462"/>
              <a:gd name="connsiteY63" fmla="*/ 1175158 h 2173250"/>
              <a:gd name="connsiteX64" fmla="*/ 1111512 w 2427462"/>
              <a:gd name="connsiteY64" fmla="*/ 1211060 h 2173250"/>
              <a:gd name="connsiteX65" fmla="*/ 1147414 w 2427462"/>
              <a:gd name="connsiteY65" fmla="*/ 1246961 h 2173250"/>
              <a:gd name="connsiteX66" fmla="*/ 1171281 w 2427462"/>
              <a:gd name="connsiteY66" fmla="*/ 1246961 h 2173250"/>
              <a:gd name="connsiteX67" fmla="*/ 1171281 w 2427462"/>
              <a:gd name="connsiteY67" fmla="*/ 2137320 h 2173250"/>
              <a:gd name="connsiteX68" fmla="*/ 1311814 w 2427462"/>
              <a:gd name="connsiteY68" fmla="*/ 2173250 h 2173250"/>
              <a:gd name="connsiteX69" fmla="*/ 1243084 w 2427462"/>
              <a:gd name="connsiteY69" fmla="*/ 1246990 h 2173250"/>
              <a:gd name="connsiteX70" fmla="*/ 1275912 w 2427462"/>
              <a:gd name="connsiteY70" fmla="*/ 1246990 h 2173250"/>
              <a:gd name="connsiteX71" fmla="*/ 1311814 w 2427462"/>
              <a:gd name="connsiteY71" fmla="*/ 1211089 h 2173250"/>
              <a:gd name="connsiteX72" fmla="*/ 1275912 w 2427462"/>
              <a:gd name="connsiteY72" fmla="*/ 1175187 h 2173250"/>
              <a:gd name="connsiteX73" fmla="*/ 1243084 w 2427462"/>
              <a:gd name="connsiteY73" fmla="*/ 1175187 h 2173250"/>
              <a:gd name="connsiteX74" fmla="*/ 1243084 w 2427462"/>
              <a:gd name="connsiteY74" fmla="*/ 1041576 h 2173250"/>
              <a:gd name="connsiteX75" fmla="*/ 1559449 w 2427462"/>
              <a:gd name="connsiteY75" fmla="*/ 1315404 h 2173250"/>
              <a:gd name="connsiteX76" fmla="*/ 1595149 w 2427462"/>
              <a:gd name="connsiteY76" fmla="*/ 1347457 h 2173250"/>
              <a:gd name="connsiteX77" fmla="*/ 1606207 w 2427462"/>
              <a:gd name="connsiteY77" fmla="*/ 1347457 h 2173250"/>
              <a:gd name="connsiteX78" fmla="*/ 1641907 w 2427462"/>
              <a:gd name="connsiteY78" fmla="*/ 1315404 h 2173250"/>
              <a:gd name="connsiteX79" fmla="*/ 1997706 w 2427462"/>
              <a:gd name="connsiteY79" fmla="*/ 1039594 h 2173250"/>
              <a:gd name="connsiteX80" fmla="*/ 2353447 w 2427462"/>
              <a:gd name="connsiteY80" fmla="*/ 1315404 h 2173250"/>
              <a:gd name="connsiteX81" fmla="*/ 2389148 w 2427462"/>
              <a:gd name="connsiteY81" fmla="*/ 1347457 h 2173250"/>
              <a:gd name="connsiteX82" fmla="*/ 2390986 w 2427462"/>
              <a:gd name="connsiteY82" fmla="*/ 1347457 h 2173250"/>
              <a:gd name="connsiteX83" fmla="*/ 2391560 w 2427462"/>
              <a:gd name="connsiteY83" fmla="*/ 1347457 h 2173250"/>
              <a:gd name="connsiteX84" fmla="*/ 2427462 w 2427462"/>
              <a:gd name="connsiteY84" fmla="*/ 1311556 h 2173250"/>
              <a:gd name="connsiteX85" fmla="*/ 2426859 w 2427462"/>
              <a:gd name="connsiteY85" fmla="*/ 1305036 h 2173250"/>
              <a:gd name="connsiteX86" fmla="*/ 88978 w 2427462"/>
              <a:gd name="connsiteY86" fmla="*/ 1113465 h 2173250"/>
              <a:gd name="connsiteX87" fmla="*/ 920889 w 2427462"/>
              <a:gd name="connsiteY87" fmla="*/ 208057 h 2173250"/>
              <a:gd name="connsiteX88" fmla="*/ 393050 w 2427462"/>
              <a:gd name="connsiteY88" fmla="*/ 969629 h 2173250"/>
              <a:gd name="connsiteX89" fmla="*/ 88978 w 2427462"/>
              <a:gd name="connsiteY89" fmla="*/ 1113465 h 2173250"/>
              <a:gd name="connsiteX90" fmla="*/ 467237 w 2427462"/>
              <a:gd name="connsiteY90" fmla="*/ 969399 h 2173250"/>
              <a:gd name="connsiteX91" fmla="*/ 1122800 w 2427462"/>
              <a:gd name="connsiteY91" fmla="*/ 201077 h 2173250"/>
              <a:gd name="connsiteX92" fmla="*/ 790409 w 2427462"/>
              <a:gd name="connsiteY92" fmla="*/ 1140635 h 2173250"/>
              <a:gd name="connsiteX93" fmla="*/ 467237 w 2427462"/>
              <a:gd name="connsiteY93" fmla="*/ 969399 h 2173250"/>
              <a:gd name="connsiteX94" fmla="*/ 863217 w 2427462"/>
              <a:gd name="connsiteY94" fmla="*/ 1114556 h 2173250"/>
              <a:gd name="connsiteX95" fmla="*/ 1171281 w 2427462"/>
              <a:gd name="connsiteY95" fmla="*/ 255418 h 2173250"/>
              <a:gd name="connsiteX96" fmla="*/ 1171281 w 2427462"/>
              <a:gd name="connsiteY96" fmla="*/ 968882 h 2173250"/>
              <a:gd name="connsiteX97" fmla="*/ 863217 w 2427462"/>
              <a:gd name="connsiteY97" fmla="*/ 1114556 h 2173250"/>
              <a:gd name="connsiteX98" fmla="*/ 1243084 w 2427462"/>
              <a:gd name="connsiteY98" fmla="*/ 969514 h 2173250"/>
              <a:gd name="connsiteX99" fmla="*/ 1243084 w 2427462"/>
              <a:gd name="connsiteY99" fmla="*/ 244849 h 2173250"/>
              <a:gd name="connsiteX100" fmla="*/ 1560368 w 2427462"/>
              <a:gd name="connsiteY100" fmla="*/ 1133886 h 2173250"/>
              <a:gd name="connsiteX101" fmla="*/ 1243084 w 2427462"/>
              <a:gd name="connsiteY101" fmla="*/ 969514 h 2173250"/>
              <a:gd name="connsiteX102" fmla="*/ 1632659 w 2427462"/>
              <a:gd name="connsiteY102" fmla="*/ 1145173 h 2173250"/>
              <a:gd name="connsiteX103" fmla="*/ 1300096 w 2427462"/>
              <a:gd name="connsiteY103" fmla="*/ 201077 h 2173250"/>
              <a:gd name="connsiteX104" fmla="*/ 1955744 w 2427462"/>
              <a:gd name="connsiteY104" fmla="*/ 969773 h 2173250"/>
              <a:gd name="connsiteX105" fmla="*/ 1632659 w 2427462"/>
              <a:gd name="connsiteY105" fmla="*/ 1145173 h 2173250"/>
              <a:gd name="connsiteX106" fmla="*/ 2029759 w 2427462"/>
              <a:gd name="connsiteY106" fmla="*/ 969428 h 2173250"/>
              <a:gd name="connsiteX107" fmla="*/ 1498789 w 2427462"/>
              <a:gd name="connsiteY107" fmla="*/ 206247 h 2173250"/>
              <a:gd name="connsiteX108" fmla="*/ 2337909 w 2427462"/>
              <a:gd name="connsiteY108" fmla="*/ 1113465 h 2173250"/>
              <a:gd name="connsiteX109" fmla="*/ 2029759 w 2427462"/>
              <a:gd name="connsiteY109" fmla="*/ 969428 h 2173250"/>
              <a:gd name="connsiteX0" fmla="*/ 2426859 w 2427462"/>
              <a:gd name="connsiteY0" fmla="*/ 1305036 h 2137320"/>
              <a:gd name="connsiteX1" fmla="*/ 2275440 w 2427462"/>
              <a:gd name="connsiteY1" fmla="*/ 725154 h 2137320"/>
              <a:gd name="connsiteX2" fmla="*/ 2275440 w 2427462"/>
              <a:gd name="connsiteY2" fmla="*/ 516753 h 2137320"/>
              <a:gd name="connsiteX3" fmla="*/ 2203637 w 2427462"/>
              <a:gd name="connsiteY3" fmla="*/ 516753 h 2137320"/>
              <a:gd name="connsiteX4" fmla="*/ 2203637 w 2427462"/>
              <a:gd name="connsiteY4" fmla="*/ 611418 h 2137320"/>
              <a:gd name="connsiteX5" fmla="*/ 2122988 w 2427462"/>
              <a:gd name="connsiteY5" fmla="*/ 509601 h 2137320"/>
              <a:gd name="connsiteX6" fmla="*/ 2122988 w 2427462"/>
              <a:gd name="connsiteY6" fmla="*/ 353444 h 2137320"/>
              <a:gd name="connsiteX7" fmla="*/ 2051185 w 2427462"/>
              <a:gd name="connsiteY7" fmla="*/ 353444 h 2137320"/>
              <a:gd name="connsiteX8" fmla="*/ 2051185 w 2427462"/>
              <a:gd name="connsiteY8" fmla="*/ 434897 h 2137320"/>
              <a:gd name="connsiteX9" fmla="*/ 1956204 w 2427462"/>
              <a:gd name="connsiteY9" fmla="*/ 352984 h 2137320"/>
              <a:gd name="connsiteX10" fmla="*/ 1956204 w 2427462"/>
              <a:gd name="connsiteY10" fmla="*/ 224715 h 2137320"/>
              <a:gd name="connsiteX11" fmla="*/ 1884401 w 2427462"/>
              <a:gd name="connsiteY11" fmla="*/ 224715 h 2137320"/>
              <a:gd name="connsiteX12" fmla="*/ 1884401 w 2427462"/>
              <a:gd name="connsiteY12" fmla="*/ 301027 h 2137320"/>
              <a:gd name="connsiteX13" fmla="*/ 1814350 w 2427462"/>
              <a:gd name="connsiteY13" fmla="*/ 257945 h 2137320"/>
              <a:gd name="connsiteX14" fmla="*/ 1814350 w 2427462"/>
              <a:gd name="connsiteY14" fmla="*/ 172040 h 2137320"/>
              <a:gd name="connsiteX15" fmla="*/ 1742546 w 2427462"/>
              <a:gd name="connsiteY15" fmla="*/ 172040 h 2137320"/>
              <a:gd name="connsiteX16" fmla="*/ 1742546 w 2427462"/>
              <a:gd name="connsiteY16" fmla="*/ 219717 h 2137320"/>
              <a:gd name="connsiteX17" fmla="*/ 1684616 w 2427462"/>
              <a:gd name="connsiteY17" fmla="*/ 193294 h 2137320"/>
              <a:gd name="connsiteX18" fmla="*/ 1684616 w 2427462"/>
              <a:gd name="connsiteY18" fmla="*/ 138465 h 2137320"/>
              <a:gd name="connsiteX19" fmla="*/ 1612813 w 2427462"/>
              <a:gd name="connsiteY19" fmla="*/ 138465 h 2137320"/>
              <a:gd name="connsiteX20" fmla="*/ 1612813 w 2427462"/>
              <a:gd name="connsiteY20" fmla="*/ 165894 h 2137320"/>
              <a:gd name="connsiteX21" fmla="*/ 1543795 w 2427462"/>
              <a:gd name="connsiteY21" fmla="*/ 144152 h 2137320"/>
              <a:gd name="connsiteX22" fmla="*/ 1543795 w 2427462"/>
              <a:gd name="connsiteY22" fmla="*/ 4509 h 2137320"/>
              <a:gd name="connsiteX23" fmla="*/ 1471992 w 2427462"/>
              <a:gd name="connsiteY23" fmla="*/ 4509 h 2137320"/>
              <a:gd name="connsiteX24" fmla="*/ 1471992 w 2427462"/>
              <a:gd name="connsiteY24" fmla="*/ 126058 h 2137320"/>
              <a:gd name="connsiteX25" fmla="*/ 1243084 w 2427462"/>
              <a:gd name="connsiteY25" fmla="*/ 98801 h 2137320"/>
              <a:gd name="connsiteX26" fmla="*/ 1243084 w 2427462"/>
              <a:gd name="connsiteY26" fmla="*/ 0 h 2137320"/>
              <a:gd name="connsiteX27" fmla="*/ 1171281 w 2427462"/>
              <a:gd name="connsiteY27" fmla="*/ 0 h 2137320"/>
              <a:gd name="connsiteX28" fmla="*/ 1171281 w 2427462"/>
              <a:gd name="connsiteY28" fmla="*/ 99117 h 2137320"/>
              <a:gd name="connsiteX29" fmla="*/ 958973 w 2427462"/>
              <a:gd name="connsiteY29" fmla="*/ 125110 h 2137320"/>
              <a:gd name="connsiteX30" fmla="*/ 958973 w 2427462"/>
              <a:gd name="connsiteY30" fmla="*/ 0 h 2137320"/>
              <a:gd name="connsiteX31" fmla="*/ 887170 w 2427462"/>
              <a:gd name="connsiteY31" fmla="*/ 0 h 2137320"/>
              <a:gd name="connsiteX32" fmla="*/ 887170 w 2427462"/>
              <a:gd name="connsiteY32" fmla="*/ 142974 h 2137320"/>
              <a:gd name="connsiteX33" fmla="*/ 817493 w 2427462"/>
              <a:gd name="connsiteY33" fmla="*/ 164745 h 2137320"/>
              <a:gd name="connsiteX34" fmla="*/ 817493 w 2427462"/>
              <a:gd name="connsiteY34" fmla="*/ 133956 h 2137320"/>
              <a:gd name="connsiteX35" fmla="*/ 745690 w 2427462"/>
              <a:gd name="connsiteY35" fmla="*/ 133956 h 2137320"/>
              <a:gd name="connsiteX36" fmla="*/ 745690 w 2427462"/>
              <a:gd name="connsiteY36" fmla="*/ 191944 h 2137320"/>
              <a:gd name="connsiteX37" fmla="*/ 687156 w 2427462"/>
              <a:gd name="connsiteY37" fmla="*/ 218253 h 2137320"/>
              <a:gd name="connsiteX38" fmla="*/ 687156 w 2427462"/>
              <a:gd name="connsiteY38" fmla="*/ 167560 h 2137320"/>
              <a:gd name="connsiteX39" fmla="*/ 615353 w 2427462"/>
              <a:gd name="connsiteY39" fmla="*/ 167560 h 2137320"/>
              <a:gd name="connsiteX40" fmla="*/ 615353 w 2427462"/>
              <a:gd name="connsiteY40" fmla="*/ 256337 h 2137320"/>
              <a:gd name="connsiteX41" fmla="*/ 544641 w 2427462"/>
              <a:gd name="connsiteY41" fmla="*/ 299706 h 2137320"/>
              <a:gd name="connsiteX42" fmla="*/ 544641 w 2427462"/>
              <a:gd name="connsiteY42" fmla="*/ 220206 h 2137320"/>
              <a:gd name="connsiteX43" fmla="*/ 472838 w 2427462"/>
              <a:gd name="connsiteY43" fmla="*/ 220206 h 2137320"/>
              <a:gd name="connsiteX44" fmla="*/ 472838 w 2427462"/>
              <a:gd name="connsiteY44" fmla="*/ 351261 h 2137320"/>
              <a:gd name="connsiteX45" fmla="*/ 377110 w 2427462"/>
              <a:gd name="connsiteY45" fmla="*/ 433547 h 2137320"/>
              <a:gd name="connsiteX46" fmla="*/ 377110 w 2427462"/>
              <a:gd name="connsiteY46" fmla="*/ 348906 h 2137320"/>
              <a:gd name="connsiteX47" fmla="*/ 305307 w 2427462"/>
              <a:gd name="connsiteY47" fmla="*/ 348906 h 2137320"/>
              <a:gd name="connsiteX48" fmla="*/ 305307 w 2427462"/>
              <a:gd name="connsiteY48" fmla="*/ 507906 h 2137320"/>
              <a:gd name="connsiteX49" fmla="*/ 223940 w 2427462"/>
              <a:gd name="connsiteY49" fmla="*/ 610441 h 2137320"/>
              <a:gd name="connsiteX50" fmla="*/ 223940 w 2427462"/>
              <a:gd name="connsiteY50" fmla="*/ 512186 h 2137320"/>
              <a:gd name="connsiteX51" fmla="*/ 152136 w 2427462"/>
              <a:gd name="connsiteY51" fmla="*/ 512186 h 2137320"/>
              <a:gd name="connsiteX52" fmla="*/ 152136 w 2427462"/>
              <a:gd name="connsiteY52" fmla="*/ 722741 h 2137320"/>
              <a:gd name="connsiteX53" fmla="*/ 152912 w 2427462"/>
              <a:gd name="connsiteY53" fmla="*/ 722741 h 2137320"/>
              <a:gd name="connsiteX54" fmla="*/ 0 w 2427462"/>
              <a:gd name="connsiteY54" fmla="*/ 1311527 h 2137320"/>
              <a:gd name="connsiteX55" fmla="*/ 37740 w 2427462"/>
              <a:gd name="connsiteY55" fmla="*/ 1347428 h 2137320"/>
              <a:gd name="connsiteX56" fmla="*/ 73440 w 2427462"/>
              <a:gd name="connsiteY56" fmla="*/ 1315375 h 2137320"/>
              <a:gd name="connsiteX57" fmla="*/ 429210 w 2427462"/>
              <a:gd name="connsiteY57" fmla="*/ 1039565 h 2137320"/>
              <a:gd name="connsiteX58" fmla="*/ 781246 w 2427462"/>
              <a:gd name="connsiteY58" fmla="*/ 1292657 h 2137320"/>
              <a:gd name="connsiteX59" fmla="*/ 816459 w 2427462"/>
              <a:gd name="connsiteY59" fmla="*/ 1321579 h 2137320"/>
              <a:gd name="connsiteX60" fmla="*/ 851671 w 2427462"/>
              <a:gd name="connsiteY60" fmla="*/ 1292657 h 2137320"/>
              <a:gd name="connsiteX61" fmla="*/ 1171281 w 2427462"/>
              <a:gd name="connsiteY61" fmla="*/ 1040800 h 2137320"/>
              <a:gd name="connsiteX62" fmla="*/ 1171281 w 2427462"/>
              <a:gd name="connsiteY62" fmla="*/ 1175158 h 2137320"/>
              <a:gd name="connsiteX63" fmla="*/ 1147414 w 2427462"/>
              <a:gd name="connsiteY63" fmla="*/ 1175158 h 2137320"/>
              <a:gd name="connsiteX64" fmla="*/ 1111512 w 2427462"/>
              <a:gd name="connsiteY64" fmla="*/ 1211060 h 2137320"/>
              <a:gd name="connsiteX65" fmla="*/ 1147414 w 2427462"/>
              <a:gd name="connsiteY65" fmla="*/ 1246961 h 2137320"/>
              <a:gd name="connsiteX66" fmla="*/ 1171281 w 2427462"/>
              <a:gd name="connsiteY66" fmla="*/ 1246961 h 2137320"/>
              <a:gd name="connsiteX67" fmla="*/ 1171281 w 2427462"/>
              <a:gd name="connsiteY67" fmla="*/ 2137320 h 2137320"/>
              <a:gd name="connsiteX68" fmla="*/ 1243084 w 2427462"/>
              <a:gd name="connsiteY68" fmla="*/ 1246990 h 2137320"/>
              <a:gd name="connsiteX69" fmla="*/ 1275912 w 2427462"/>
              <a:gd name="connsiteY69" fmla="*/ 1246990 h 2137320"/>
              <a:gd name="connsiteX70" fmla="*/ 1311814 w 2427462"/>
              <a:gd name="connsiteY70" fmla="*/ 1211089 h 2137320"/>
              <a:gd name="connsiteX71" fmla="*/ 1275912 w 2427462"/>
              <a:gd name="connsiteY71" fmla="*/ 1175187 h 2137320"/>
              <a:gd name="connsiteX72" fmla="*/ 1243084 w 2427462"/>
              <a:gd name="connsiteY72" fmla="*/ 1175187 h 2137320"/>
              <a:gd name="connsiteX73" fmla="*/ 1243084 w 2427462"/>
              <a:gd name="connsiteY73" fmla="*/ 1041576 h 2137320"/>
              <a:gd name="connsiteX74" fmla="*/ 1559449 w 2427462"/>
              <a:gd name="connsiteY74" fmla="*/ 1315404 h 2137320"/>
              <a:gd name="connsiteX75" fmla="*/ 1595149 w 2427462"/>
              <a:gd name="connsiteY75" fmla="*/ 1347457 h 2137320"/>
              <a:gd name="connsiteX76" fmla="*/ 1606207 w 2427462"/>
              <a:gd name="connsiteY76" fmla="*/ 1347457 h 2137320"/>
              <a:gd name="connsiteX77" fmla="*/ 1641907 w 2427462"/>
              <a:gd name="connsiteY77" fmla="*/ 1315404 h 2137320"/>
              <a:gd name="connsiteX78" fmla="*/ 1997706 w 2427462"/>
              <a:gd name="connsiteY78" fmla="*/ 1039594 h 2137320"/>
              <a:gd name="connsiteX79" fmla="*/ 2353447 w 2427462"/>
              <a:gd name="connsiteY79" fmla="*/ 1315404 h 2137320"/>
              <a:gd name="connsiteX80" fmla="*/ 2389148 w 2427462"/>
              <a:gd name="connsiteY80" fmla="*/ 1347457 h 2137320"/>
              <a:gd name="connsiteX81" fmla="*/ 2390986 w 2427462"/>
              <a:gd name="connsiteY81" fmla="*/ 1347457 h 2137320"/>
              <a:gd name="connsiteX82" fmla="*/ 2391560 w 2427462"/>
              <a:gd name="connsiteY82" fmla="*/ 1347457 h 2137320"/>
              <a:gd name="connsiteX83" fmla="*/ 2427462 w 2427462"/>
              <a:gd name="connsiteY83" fmla="*/ 1311556 h 2137320"/>
              <a:gd name="connsiteX84" fmla="*/ 2426859 w 2427462"/>
              <a:gd name="connsiteY84" fmla="*/ 1305036 h 2137320"/>
              <a:gd name="connsiteX85" fmla="*/ 88978 w 2427462"/>
              <a:gd name="connsiteY85" fmla="*/ 1113465 h 2137320"/>
              <a:gd name="connsiteX86" fmla="*/ 920889 w 2427462"/>
              <a:gd name="connsiteY86" fmla="*/ 208057 h 2137320"/>
              <a:gd name="connsiteX87" fmla="*/ 393050 w 2427462"/>
              <a:gd name="connsiteY87" fmla="*/ 969629 h 2137320"/>
              <a:gd name="connsiteX88" fmla="*/ 88978 w 2427462"/>
              <a:gd name="connsiteY88" fmla="*/ 1113465 h 2137320"/>
              <a:gd name="connsiteX89" fmla="*/ 467237 w 2427462"/>
              <a:gd name="connsiteY89" fmla="*/ 969399 h 2137320"/>
              <a:gd name="connsiteX90" fmla="*/ 1122800 w 2427462"/>
              <a:gd name="connsiteY90" fmla="*/ 201077 h 2137320"/>
              <a:gd name="connsiteX91" fmla="*/ 790409 w 2427462"/>
              <a:gd name="connsiteY91" fmla="*/ 1140635 h 2137320"/>
              <a:gd name="connsiteX92" fmla="*/ 467237 w 2427462"/>
              <a:gd name="connsiteY92" fmla="*/ 969399 h 2137320"/>
              <a:gd name="connsiteX93" fmla="*/ 863217 w 2427462"/>
              <a:gd name="connsiteY93" fmla="*/ 1114556 h 2137320"/>
              <a:gd name="connsiteX94" fmla="*/ 1171281 w 2427462"/>
              <a:gd name="connsiteY94" fmla="*/ 255418 h 2137320"/>
              <a:gd name="connsiteX95" fmla="*/ 1171281 w 2427462"/>
              <a:gd name="connsiteY95" fmla="*/ 968882 h 2137320"/>
              <a:gd name="connsiteX96" fmla="*/ 863217 w 2427462"/>
              <a:gd name="connsiteY96" fmla="*/ 1114556 h 2137320"/>
              <a:gd name="connsiteX97" fmla="*/ 1243084 w 2427462"/>
              <a:gd name="connsiteY97" fmla="*/ 969514 h 2137320"/>
              <a:gd name="connsiteX98" fmla="*/ 1243084 w 2427462"/>
              <a:gd name="connsiteY98" fmla="*/ 244849 h 2137320"/>
              <a:gd name="connsiteX99" fmla="*/ 1560368 w 2427462"/>
              <a:gd name="connsiteY99" fmla="*/ 1133886 h 2137320"/>
              <a:gd name="connsiteX100" fmla="*/ 1243084 w 2427462"/>
              <a:gd name="connsiteY100" fmla="*/ 969514 h 2137320"/>
              <a:gd name="connsiteX101" fmla="*/ 1632659 w 2427462"/>
              <a:gd name="connsiteY101" fmla="*/ 1145173 h 2137320"/>
              <a:gd name="connsiteX102" fmla="*/ 1300096 w 2427462"/>
              <a:gd name="connsiteY102" fmla="*/ 201077 h 2137320"/>
              <a:gd name="connsiteX103" fmla="*/ 1955744 w 2427462"/>
              <a:gd name="connsiteY103" fmla="*/ 969773 h 2137320"/>
              <a:gd name="connsiteX104" fmla="*/ 1632659 w 2427462"/>
              <a:gd name="connsiteY104" fmla="*/ 1145173 h 2137320"/>
              <a:gd name="connsiteX105" fmla="*/ 2029759 w 2427462"/>
              <a:gd name="connsiteY105" fmla="*/ 969428 h 2137320"/>
              <a:gd name="connsiteX106" fmla="*/ 1498789 w 2427462"/>
              <a:gd name="connsiteY106" fmla="*/ 206247 h 2137320"/>
              <a:gd name="connsiteX107" fmla="*/ 2337909 w 2427462"/>
              <a:gd name="connsiteY107" fmla="*/ 1113465 h 2137320"/>
              <a:gd name="connsiteX108" fmla="*/ 2029759 w 2427462"/>
              <a:gd name="connsiteY108" fmla="*/ 969428 h 2137320"/>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71281 w 2427462"/>
              <a:gd name="connsiteY62" fmla="*/ 1175158 h 1347457"/>
              <a:gd name="connsiteX63" fmla="*/ 1147414 w 2427462"/>
              <a:gd name="connsiteY63" fmla="*/ 1175158 h 1347457"/>
              <a:gd name="connsiteX64" fmla="*/ 1111512 w 2427462"/>
              <a:gd name="connsiteY64" fmla="*/ 1211060 h 1347457"/>
              <a:gd name="connsiteX65" fmla="*/ 1147414 w 2427462"/>
              <a:gd name="connsiteY65" fmla="*/ 1246961 h 1347457"/>
              <a:gd name="connsiteX66" fmla="*/ 1171281 w 2427462"/>
              <a:gd name="connsiteY66" fmla="*/ 1246961 h 1347457"/>
              <a:gd name="connsiteX67" fmla="*/ 1243084 w 2427462"/>
              <a:gd name="connsiteY67" fmla="*/ 1246990 h 1347457"/>
              <a:gd name="connsiteX68" fmla="*/ 1275912 w 2427462"/>
              <a:gd name="connsiteY68" fmla="*/ 1246990 h 1347457"/>
              <a:gd name="connsiteX69" fmla="*/ 1311814 w 2427462"/>
              <a:gd name="connsiteY69" fmla="*/ 1211089 h 1347457"/>
              <a:gd name="connsiteX70" fmla="*/ 1275912 w 2427462"/>
              <a:gd name="connsiteY70" fmla="*/ 1175187 h 1347457"/>
              <a:gd name="connsiteX71" fmla="*/ 1243084 w 2427462"/>
              <a:gd name="connsiteY71" fmla="*/ 1175187 h 1347457"/>
              <a:gd name="connsiteX72" fmla="*/ 1243084 w 2427462"/>
              <a:gd name="connsiteY72" fmla="*/ 1041576 h 1347457"/>
              <a:gd name="connsiteX73" fmla="*/ 1559449 w 2427462"/>
              <a:gd name="connsiteY73" fmla="*/ 1315404 h 1347457"/>
              <a:gd name="connsiteX74" fmla="*/ 1595149 w 2427462"/>
              <a:gd name="connsiteY74" fmla="*/ 1347457 h 1347457"/>
              <a:gd name="connsiteX75" fmla="*/ 1606207 w 2427462"/>
              <a:gd name="connsiteY75" fmla="*/ 1347457 h 1347457"/>
              <a:gd name="connsiteX76" fmla="*/ 1641907 w 2427462"/>
              <a:gd name="connsiteY76" fmla="*/ 1315404 h 1347457"/>
              <a:gd name="connsiteX77" fmla="*/ 1997706 w 2427462"/>
              <a:gd name="connsiteY77" fmla="*/ 1039594 h 1347457"/>
              <a:gd name="connsiteX78" fmla="*/ 2353447 w 2427462"/>
              <a:gd name="connsiteY78" fmla="*/ 1315404 h 1347457"/>
              <a:gd name="connsiteX79" fmla="*/ 2389148 w 2427462"/>
              <a:gd name="connsiteY79" fmla="*/ 1347457 h 1347457"/>
              <a:gd name="connsiteX80" fmla="*/ 2390986 w 2427462"/>
              <a:gd name="connsiteY80" fmla="*/ 1347457 h 1347457"/>
              <a:gd name="connsiteX81" fmla="*/ 2391560 w 2427462"/>
              <a:gd name="connsiteY81" fmla="*/ 1347457 h 1347457"/>
              <a:gd name="connsiteX82" fmla="*/ 2427462 w 2427462"/>
              <a:gd name="connsiteY82" fmla="*/ 1311556 h 1347457"/>
              <a:gd name="connsiteX83" fmla="*/ 2426859 w 2427462"/>
              <a:gd name="connsiteY83" fmla="*/ 1305036 h 1347457"/>
              <a:gd name="connsiteX84" fmla="*/ 88978 w 2427462"/>
              <a:gd name="connsiteY84" fmla="*/ 1113465 h 1347457"/>
              <a:gd name="connsiteX85" fmla="*/ 920889 w 2427462"/>
              <a:gd name="connsiteY85" fmla="*/ 208057 h 1347457"/>
              <a:gd name="connsiteX86" fmla="*/ 393050 w 2427462"/>
              <a:gd name="connsiteY86" fmla="*/ 969629 h 1347457"/>
              <a:gd name="connsiteX87" fmla="*/ 88978 w 2427462"/>
              <a:gd name="connsiteY87" fmla="*/ 1113465 h 1347457"/>
              <a:gd name="connsiteX88" fmla="*/ 467237 w 2427462"/>
              <a:gd name="connsiteY88" fmla="*/ 969399 h 1347457"/>
              <a:gd name="connsiteX89" fmla="*/ 1122800 w 2427462"/>
              <a:gd name="connsiteY89" fmla="*/ 201077 h 1347457"/>
              <a:gd name="connsiteX90" fmla="*/ 790409 w 2427462"/>
              <a:gd name="connsiteY90" fmla="*/ 1140635 h 1347457"/>
              <a:gd name="connsiteX91" fmla="*/ 467237 w 2427462"/>
              <a:gd name="connsiteY91" fmla="*/ 969399 h 1347457"/>
              <a:gd name="connsiteX92" fmla="*/ 863217 w 2427462"/>
              <a:gd name="connsiteY92" fmla="*/ 1114556 h 1347457"/>
              <a:gd name="connsiteX93" fmla="*/ 1171281 w 2427462"/>
              <a:gd name="connsiteY93" fmla="*/ 255418 h 1347457"/>
              <a:gd name="connsiteX94" fmla="*/ 1171281 w 2427462"/>
              <a:gd name="connsiteY94" fmla="*/ 968882 h 1347457"/>
              <a:gd name="connsiteX95" fmla="*/ 863217 w 2427462"/>
              <a:gd name="connsiteY95" fmla="*/ 1114556 h 1347457"/>
              <a:gd name="connsiteX96" fmla="*/ 1243084 w 2427462"/>
              <a:gd name="connsiteY96" fmla="*/ 969514 h 1347457"/>
              <a:gd name="connsiteX97" fmla="*/ 1243084 w 2427462"/>
              <a:gd name="connsiteY97" fmla="*/ 244849 h 1347457"/>
              <a:gd name="connsiteX98" fmla="*/ 1560368 w 2427462"/>
              <a:gd name="connsiteY98" fmla="*/ 1133886 h 1347457"/>
              <a:gd name="connsiteX99" fmla="*/ 1243084 w 2427462"/>
              <a:gd name="connsiteY99" fmla="*/ 969514 h 1347457"/>
              <a:gd name="connsiteX100" fmla="*/ 1632659 w 2427462"/>
              <a:gd name="connsiteY100" fmla="*/ 1145173 h 1347457"/>
              <a:gd name="connsiteX101" fmla="*/ 1300096 w 2427462"/>
              <a:gd name="connsiteY101" fmla="*/ 201077 h 1347457"/>
              <a:gd name="connsiteX102" fmla="*/ 1955744 w 2427462"/>
              <a:gd name="connsiteY102" fmla="*/ 969773 h 1347457"/>
              <a:gd name="connsiteX103" fmla="*/ 1632659 w 2427462"/>
              <a:gd name="connsiteY103" fmla="*/ 1145173 h 1347457"/>
              <a:gd name="connsiteX104" fmla="*/ 2029759 w 2427462"/>
              <a:gd name="connsiteY104" fmla="*/ 969428 h 1347457"/>
              <a:gd name="connsiteX105" fmla="*/ 1498789 w 2427462"/>
              <a:gd name="connsiteY105" fmla="*/ 206247 h 1347457"/>
              <a:gd name="connsiteX106" fmla="*/ 2337909 w 2427462"/>
              <a:gd name="connsiteY106" fmla="*/ 1113465 h 1347457"/>
              <a:gd name="connsiteX107" fmla="*/ 2029759 w 2427462"/>
              <a:gd name="connsiteY107"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71281 w 2427462"/>
              <a:gd name="connsiteY62" fmla="*/ 1175158 h 1347457"/>
              <a:gd name="connsiteX63" fmla="*/ 1111512 w 2427462"/>
              <a:gd name="connsiteY63" fmla="*/ 1211060 h 1347457"/>
              <a:gd name="connsiteX64" fmla="*/ 1147414 w 2427462"/>
              <a:gd name="connsiteY64" fmla="*/ 1246961 h 1347457"/>
              <a:gd name="connsiteX65" fmla="*/ 1171281 w 2427462"/>
              <a:gd name="connsiteY65" fmla="*/ 1246961 h 1347457"/>
              <a:gd name="connsiteX66" fmla="*/ 1243084 w 2427462"/>
              <a:gd name="connsiteY66" fmla="*/ 1246990 h 1347457"/>
              <a:gd name="connsiteX67" fmla="*/ 1275912 w 2427462"/>
              <a:gd name="connsiteY67" fmla="*/ 1246990 h 1347457"/>
              <a:gd name="connsiteX68" fmla="*/ 1311814 w 2427462"/>
              <a:gd name="connsiteY68" fmla="*/ 1211089 h 1347457"/>
              <a:gd name="connsiteX69" fmla="*/ 1275912 w 2427462"/>
              <a:gd name="connsiteY69" fmla="*/ 1175187 h 1347457"/>
              <a:gd name="connsiteX70" fmla="*/ 1243084 w 2427462"/>
              <a:gd name="connsiteY70" fmla="*/ 1175187 h 1347457"/>
              <a:gd name="connsiteX71" fmla="*/ 1243084 w 2427462"/>
              <a:gd name="connsiteY71" fmla="*/ 1041576 h 1347457"/>
              <a:gd name="connsiteX72" fmla="*/ 1559449 w 2427462"/>
              <a:gd name="connsiteY72" fmla="*/ 1315404 h 1347457"/>
              <a:gd name="connsiteX73" fmla="*/ 1595149 w 2427462"/>
              <a:gd name="connsiteY73" fmla="*/ 1347457 h 1347457"/>
              <a:gd name="connsiteX74" fmla="*/ 1606207 w 2427462"/>
              <a:gd name="connsiteY74" fmla="*/ 1347457 h 1347457"/>
              <a:gd name="connsiteX75" fmla="*/ 1641907 w 2427462"/>
              <a:gd name="connsiteY75" fmla="*/ 1315404 h 1347457"/>
              <a:gd name="connsiteX76" fmla="*/ 1997706 w 2427462"/>
              <a:gd name="connsiteY76" fmla="*/ 1039594 h 1347457"/>
              <a:gd name="connsiteX77" fmla="*/ 2353447 w 2427462"/>
              <a:gd name="connsiteY77" fmla="*/ 1315404 h 1347457"/>
              <a:gd name="connsiteX78" fmla="*/ 2389148 w 2427462"/>
              <a:gd name="connsiteY78" fmla="*/ 1347457 h 1347457"/>
              <a:gd name="connsiteX79" fmla="*/ 2390986 w 2427462"/>
              <a:gd name="connsiteY79" fmla="*/ 1347457 h 1347457"/>
              <a:gd name="connsiteX80" fmla="*/ 2391560 w 2427462"/>
              <a:gd name="connsiteY80" fmla="*/ 1347457 h 1347457"/>
              <a:gd name="connsiteX81" fmla="*/ 2427462 w 2427462"/>
              <a:gd name="connsiteY81" fmla="*/ 1311556 h 1347457"/>
              <a:gd name="connsiteX82" fmla="*/ 2426859 w 2427462"/>
              <a:gd name="connsiteY82" fmla="*/ 1305036 h 1347457"/>
              <a:gd name="connsiteX83" fmla="*/ 88978 w 2427462"/>
              <a:gd name="connsiteY83" fmla="*/ 1113465 h 1347457"/>
              <a:gd name="connsiteX84" fmla="*/ 920889 w 2427462"/>
              <a:gd name="connsiteY84" fmla="*/ 208057 h 1347457"/>
              <a:gd name="connsiteX85" fmla="*/ 393050 w 2427462"/>
              <a:gd name="connsiteY85" fmla="*/ 969629 h 1347457"/>
              <a:gd name="connsiteX86" fmla="*/ 88978 w 2427462"/>
              <a:gd name="connsiteY86" fmla="*/ 1113465 h 1347457"/>
              <a:gd name="connsiteX87" fmla="*/ 467237 w 2427462"/>
              <a:gd name="connsiteY87" fmla="*/ 969399 h 1347457"/>
              <a:gd name="connsiteX88" fmla="*/ 1122800 w 2427462"/>
              <a:gd name="connsiteY88" fmla="*/ 201077 h 1347457"/>
              <a:gd name="connsiteX89" fmla="*/ 790409 w 2427462"/>
              <a:gd name="connsiteY89" fmla="*/ 1140635 h 1347457"/>
              <a:gd name="connsiteX90" fmla="*/ 467237 w 2427462"/>
              <a:gd name="connsiteY90" fmla="*/ 969399 h 1347457"/>
              <a:gd name="connsiteX91" fmla="*/ 863217 w 2427462"/>
              <a:gd name="connsiteY91" fmla="*/ 1114556 h 1347457"/>
              <a:gd name="connsiteX92" fmla="*/ 1171281 w 2427462"/>
              <a:gd name="connsiteY92" fmla="*/ 255418 h 1347457"/>
              <a:gd name="connsiteX93" fmla="*/ 1171281 w 2427462"/>
              <a:gd name="connsiteY93" fmla="*/ 968882 h 1347457"/>
              <a:gd name="connsiteX94" fmla="*/ 863217 w 2427462"/>
              <a:gd name="connsiteY94" fmla="*/ 1114556 h 1347457"/>
              <a:gd name="connsiteX95" fmla="*/ 1243084 w 2427462"/>
              <a:gd name="connsiteY95" fmla="*/ 969514 h 1347457"/>
              <a:gd name="connsiteX96" fmla="*/ 1243084 w 2427462"/>
              <a:gd name="connsiteY96" fmla="*/ 244849 h 1347457"/>
              <a:gd name="connsiteX97" fmla="*/ 1560368 w 2427462"/>
              <a:gd name="connsiteY97" fmla="*/ 1133886 h 1347457"/>
              <a:gd name="connsiteX98" fmla="*/ 1243084 w 2427462"/>
              <a:gd name="connsiteY98" fmla="*/ 969514 h 1347457"/>
              <a:gd name="connsiteX99" fmla="*/ 1632659 w 2427462"/>
              <a:gd name="connsiteY99" fmla="*/ 1145173 h 1347457"/>
              <a:gd name="connsiteX100" fmla="*/ 1300096 w 2427462"/>
              <a:gd name="connsiteY100" fmla="*/ 201077 h 1347457"/>
              <a:gd name="connsiteX101" fmla="*/ 1955744 w 2427462"/>
              <a:gd name="connsiteY101" fmla="*/ 969773 h 1347457"/>
              <a:gd name="connsiteX102" fmla="*/ 1632659 w 2427462"/>
              <a:gd name="connsiteY102" fmla="*/ 1145173 h 1347457"/>
              <a:gd name="connsiteX103" fmla="*/ 2029759 w 2427462"/>
              <a:gd name="connsiteY103" fmla="*/ 969428 h 1347457"/>
              <a:gd name="connsiteX104" fmla="*/ 1498789 w 2427462"/>
              <a:gd name="connsiteY104" fmla="*/ 206247 h 1347457"/>
              <a:gd name="connsiteX105" fmla="*/ 2337909 w 2427462"/>
              <a:gd name="connsiteY105" fmla="*/ 1113465 h 1347457"/>
              <a:gd name="connsiteX106" fmla="*/ 2029759 w 2427462"/>
              <a:gd name="connsiteY106"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11512 w 2427462"/>
              <a:gd name="connsiteY62" fmla="*/ 1211060 h 1347457"/>
              <a:gd name="connsiteX63" fmla="*/ 1147414 w 2427462"/>
              <a:gd name="connsiteY63" fmla="*/ 1246961 h 1347457"/>
              <a:gd name="connsiteX64" fmla="*/ 1171281 w 2427462"/>
              <a:gd name="connsiteY64" fmla="*/ 1246961 h 1347457"/>
              <a:gd name="connsiteX65" fmla="*/ 1243084 w 2427462"/>
              <a:gd name="connsiteY65" fmla="*/ 1246990 h 1347457"/>
              <a:gd name="connsiteX66" fmla="*/ 1275912 w 2427462"/>
              <a:gd name="connsiteY66" fmla="*/ 1246990 h 1347457"/>
              <a:gd name="connsiteX67" fmla="*/ 1311814 w 2427462"/>
              <a:gd name="connsiteY67" fmla="*/ 1211089 h 1347457"/>
              <a:gd name="connsiteX68" fmla="*/ 1275912 w 2427462"/>
              <a:gd name="connsiteY68" fmla="*/ 1175187 h 1347457"/>
              <a:gd name="connsiteX69" fmla="*/ 1243084 w 2427462"/>
              <a:gd name="connsiteY69" fmla="*/ 1175187 h 1347457"/>
              <a:gd name="connsiteX70" fmla="*/ 1243084 w 2427462"/>
              <a:gd name="connsiteY70" fmla="*/ 1041576 h 1347457"/>
              <a:gd name="connsiteX71" fmla="*/ 1559449 w 2427462"/>
              <a:gd name="connsiteY71" fmla="*/ 1315404 h 1347457"/>
              <a:gd name="connsiteX72" fmla="*/ 1595149 w 2427462"/>
              <a:gd name="connsiteY72" fmla="*/ 1347457 h 1347457"/>
              <a:gd name="connsiteX73" fmla="*/ 1606207 w 2427462"/>
              <a:gd name="connsiteY73" fmla="*/ 1347457 h 1347457"/>
              <a:gd name="connsiteX74" fmla="*/ 1641907 w 2427462"/>
              <a:gd name="connsiteY74" fmla="*/ 1315404 h 1347457"/>
              <a:gd name="connsiteX75" fmla="*/ 1997706 w 2427462"/>
              <a:gd name="connsiteY75" fmla="*/ 1039594 h 1347457"/>
              <a:gd name="connsiteX76" fmla="*/ 2353447 w 2427462"/>
              <a:gd name="connsiteY76" fmla="*/ 1315404 h 1347457"/>
              <a:gd name="connsiteX77" fmla="*/ 2389148 w 2427462"/>
              <a:gd name="connsiteY77" fmla="*/ 1347457 h 1347457"/>
              <a:gd name="connsiteX78" fmla="*/ 2390986 w 2427462"/>
              <a:gd name="connsiteY78" fmla="*/ 1347457 h 1347457"/>
              <a:gd name="connsiteX79" fmla="*/ 2391560 w 2427462"/>
              <a:gd name="connsiteY79" fmla="*/ 1347457 h 1347457"/>
              <a:gd name="connsiteX80" fmla="*/ 2427462 w 2427462"/>
              <a:gd name="connsiteY80" fmla="*/ 1311556 h 1347457"/>
              <a:gd name="connsiteX81" fmla="*/ 2426859 w 2427462"/>
              <a:gd name="connsiteY81" fmla="*/ 1305036 h 1347457"/>
              <a:gd name="connsiteX82" fmla="*/ 88978 w 2427462"/>
              <a:gd name="connsiteY82" fmla="*/ 1113465 h 1347457"/>
              <a:gd name="connsiteX83" fmla="*/ 920889 w 2427462"/>
              <a:gd name="connsiteY83" fmla="*/ 208057 h 1347457"/>
              <a:gd name="connsiteX84" fmla="*/ 393050 w 2427462"/>
              <a:gd name="connsiteY84" fmla="*/ 969629 h 1347457"/>
              <a:gd name="connsiteX85" fmla="*/ 88978 w 2427462"/>
              <a:gd name="connsiteY85" fmla="*/ 1113465 h 1347457"/>
              <a:gd name="connsiteX86" fmla="*/ 467237 w 2427462"/>
              <a:gd name="connsiteY86" fmla="*/ 969399 h 1347457"/>
              <a:gd name="connsiteX87" fmla="*/ 1122800 w 2427462"/>
              <a:gd name="connsiteY87" fmla="*/ 201077 h 1347457"/>
              <a:gd name="connsiteX88" fmla="*/ 790409 w 2427462"/>
              <a:gd name="connsiteY88" fmla="*/ 1140635 h 1347457"/>
              <a:gd name="connsiteX89" fmla="*/ 467237 w 2427462"/>
              <a:gd name="connsiteY89" fmla="*/ 969399 h 1347457"/>
              <a:gd name="connsiteX90" fmla="*/ 863217 w 2427462"/>
              <a:gd name="connsiteY90" fmla="*/ 1114556 h 1347457"/>
              <a:gd name="connsiteX91" fmla="*/ 1171281 w 2427462"/>
              <a:gd name="connsiteY91" fmla="*/ 255418 h 1347457"/>
              <a:gd name="connsiteX92" fmla="*/ 1171281 w 2427462"/>
              <a:gd name="connsiteY92" fmla="*/ 968882 h 1347457"/>
              <a:gd name="connsiteX93" fmla="*/ 863217 w 2427462"/>
              <a:gd name="connsiteY93" fmla="*/ 1114556 h 1347457"/>
              <a:gd name="connsiteX94" fmla="*/ 1243084 w 2427462"/>
              <a:gd name="connsiteY94" fmla="*/ 969514 h 1347457"/>
              <a:gd name="connsiteX95" fmla="*/ 1243084 w 2427462"/>
              <a:gd name="connsiteY95" fmla="*/ 244849 h 1347457"/>
              <a:gd name="connsiteX96" fmla="*/ 1560368 w 2427462"/>
              <a:gd name="connsiteY96" fmla="*/ 1133886 h 1347457"/>
              <a:gd name="connsiteX97" fmla="*/ 1243084 w 2427462"/>
              <a:gd name="connsiteY97" fmla="*/ 969514 h 1347457"/>
              <a:gd name="connsiteX98" fmla="*/ 1632659 w 2427462"/>
              <a:gd name="connsiteY98" fmla="*/ 1145173 h 1347457"/>
              <a:gd name="connsiteX99" fmla="*/ 1300096 w 2427462"/>
              <a:gd name="connsiteY99" fmla="*/ 201077 h 1347457"/>
              <a:gd name="connsiteX100" fmla="*/ 1955744 w 2427462"/>
              <a:gd name="connsiteY100" fmla="*/ 969773 h 1347457"/>
              <a:gd name="connsiteX101" fmla="*/ 1632659 w 2427462"/>
              <a:gd name="connsiteY101" fmla="*/ 1145173 h 1347457"/>
              <a:gd name="connsiteX102" fmla="*/ 2029759 w 2427462"/>
              <a:gd name="connsiteY102" fmla="*/ 969428 h 1347457"/>
              <a:gd name="connsiteX103" fmla="*/ 1498789 w 2427462"/>
              <a:gd name="connsiteY103" fmla="*/ 206247 h 1347457"/>
              <a:gd name="connsiteX104" fmla="*/ 2337909 w 2427462"/>
              <a:gd name="connsiteY104" fmla="*/ 1113465 h 1347457"/>
              <a:gd name="connsiteX105" fmla="*/ 2029759 w 2427462"/>
              <a:gd name="connsiteY105"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47414 w 2427462"/>
              <a:gd name="connsiteY62" fmla="*/ 1246961 h 1347457"/>
              <a:gd name="connsiteX63" fmla="*/ 1171281 w 2427462"/>
              <a:gd name="connsiteY63" fmla="*/ 1246961 h 1347457"/>
              <a:gd name="connsiteX64" fmla="*/ 1243084 w 2427462"/>
              <a:gd name="connsiteY64" fmla="*/ 1246990 h 1347457"/>
              <a:gd name="connsiteX65" fmla="*/ 1275912 w 2427462"/>
              <a:gd name="connsiteY65" fmla="*/ 1246990 h 1347457"/>
              <a:gd name="connsiteX66" fmla="*/ 1311814 w 2427462"/>
              <a:gd name="connsiteY66" fmla="*/ 1211089 h 1347457"/>
              <a:gd name="connsiteX67" fmla="*/ 1275912 w 2427462"/>
              <a:gd name="connsiteY67" fmla="*/ 1175187 h 1347457"/>
              <a:gd name="connsiteX68" fmla="*/ 1243084 w 2427462"/>
              <a:gd name="connsiteY68" fmla="*/ 1175187 h 1347457"/>
              <a:gd name="connsiteX69" fmla="*/ 1243084 w 2427462"/>
              <a:gd name="connsiteY69" fmla="*/ 1041576 h 1347457"/>
              <a:gd name="connsiteX70" fmla="*/ 1559449 w 2427462"/>
              <a:gd name="connsiteY70" fmla="*/ 1315404 h 1347457"/>
              <a:gd name="connsiteX71" fmla="*/ 1595149 w 2427462"/>
              <a:gd name="connsiteY71" fmla="*/ 1347457 h 1347457"/>
              <a:gd name="connsiteX72" fmla="*/ 1606207 w 2427462"/>
              <a:gd name="connsiteY72" fmla="*/ 1347457 h 1347457"/>
              <a:gd name="connsiteX73" fmla="*/ 1641907 w 2427462"/>
              <a:gd name="connsiteY73" fmla="*/ 1315404 h 1347457"/>
              <a:gd name="connsiteX74" fmla="*/ 1997706 w 2427462"/>
              <a:gd name="connsiteY74" fmla="*/ 1039594 h 1347457"/>
              <a:gd name="connsiteX75" fmla="*/ 2353447 w 2427462"/>
              <a:gd name="connsiteY75" fmla="*/ 1315404 h 1347457"/>
              <a:gd name="connsiteX76" fmla="*/ 2389148 w 2427462"/>
              <a:gd name="connsiteY76" fmla="*/ 1347457 h 1347457"/>
              <a:gd name="connsiteX77" fmla="*/ 2390986 w 2427462"/>
              <a:gd name="connsiteY77" fmla="*/ 1347457 h 1347457"/>
              <a:gd name="connsiteX78" fmla="*/ 2391560 w 2427462"/>
              <a:gd name="connsiteY78" fmla="*/ 1347457 h 1347457"/>
              <a:gd name="connsiteX79" fmla="*/ 2427462 w 2427462"/>
              <a:gd name="connsiteY79" fmla="*/ 1311556 h 1347457"/>
              <a:gd name="connsiteX80" fmla="*/ 2426859 w 2427462"/>
              <a:gd name="connsiteY80" fmla="*/ 1305036 h 1347457"/>
              <a:gd name="connsiteX81" fmla="*/ 88978 w 2427462"/>
              <a:gd name="connsiteY81" fmla="*/ 1113465 h 1347457"/>
              <a:gd name="connsiteX82" fmla="*/ 920889 w 2427462"/>
              <a:gd name="connsiteY82" fmla="*/ 208057 h 1347457"/>
              <a:gd name="connsiteX83" fmla="*/ 393050 w 2427462"/>
              <a:gd name="connsiteY83" fmla="*/ 969629 h 1347457"/>
              <a:gd name="connsiteX84" fmla="*/ 88978 w 2427462"/>
              <a:gd name="connsiteY84" fmla="*/ 1113465 h 1347457"/>
              <a:gd name="connsiteX85" fmla="*/ 467237 w 2427462"/>
              <a:gd name="connsiteY85" fmla="*/ 969399 h 1347457"/>
              <a:gd name="connsiteX86" fmla="*/ 1122800 w 2427462"/>
              <a:gd name="connsiteY86" fmla="*/ 201077 h 1347457"/>
              <a:gd name="connsiteX87" fmla="*/ 790409 w 2427462"/>
              <a:gd name="connsiteY87" fmla="*/ 1140635 h 1347457"/>
              <a:gd name="connsiteX88" fmla="*/ 467237 w 2427462"/>
              <a:gd name="connsiteY88" fmla="*/ 969399 h 1347457"/>
              <a:gd name="connsiteX89" fmla="*/ 863217 w 2427462"/>
              <a:gd name="connsiteY89" fmla="*/ 1114556 h 1347457"/>
              <a:gd name="connsiteX90" fmla="*/ 1171281 w 2427462"/>
              <a:gd name="connsiteY90" fmla="*/ 255418 h 1347457"/>
              <a:gd name="connsiteX91" fmla="*/ 1171281 w 2427462"/>
              <a:gd name="connsiteY91" fmla="*/ 968882 h 1347457"/>
              <a:gd name="connsiteX92" fmla="*/ 863217 w 2427462"/>
              <a:gd name="connsiteY92" fmla="*/ 1114556 h 1347457"/>
              <a:gd name="connsiteX93" fmla="*/ 1243084 w 2427462"/>
              <a:gd name="connsiteY93" fmla="*/ 969514 h 1347457"/>
              <a:gd name="connsiteX94" fmla="*/ 1243084 w 2427462"/>
              <a:gd name="connsiteY94" fmla="*/ 244849 h 1347457"/>
              <a:gd name="connsiteX95" fmla="*/ 1560368 w 2427462"/>
              <a:gd name="connsiteY95" fmla="*/ 1133886 h 1347457"/>
              <a:gd name="connsiteX96" fmla="*/ 1243084 w 2427462"/>
              <a:gd name="connsiteY96" fmla="*/ 969514 h 1347457"/>
              <a:gd name="connsiteX97" fmla="*/ 1632659 w 2427462"/>
              <a:gd name="connsiteY97" fmla="*/ 1145173 h 1347457"/>
              <a:gd name="connsiteX98" fmla="*/ 1300096 w 2427462"/>
              <a:gd name="connsiteY98" fmla="*/ 201077 h 1347457"/>
              <a:gd name="connsiteX99" fmla="*/ 1955744 w 2427462"/>
              <a:gd name="connsiteY99" fmla="*/ 969773 h 1347457"/>
              <a:gd name="connsiteX100" fmla="*/ 1632659 w 2427462"/>
              <a:gd name="connsiteY100" fmla="*/ 1145173 h 1347457"/>
              <a:gd name="connsiteX101" fmla="*/ 2029759 w 2427462"/>
              <a:gd name="connsiteY101" fmla="*/ 969428 h 1347457"/>
              <a:gd name="connsiteX102" fmla="*/ 1498789 w 2427462"/>
              <a:gd name="connsiteY102" fmla="*/ 206247 h 1347457"/>
              <a:gd name="connsiteX103" fmla="*/ 2337909 w 2427462"/>
              <a:gd name="connsiteY103" fmla="*/ 1113465 h 1347457"/>
              <a:gd name="connsiteX104" fmla="*/ 2029759 w 2427462"/>
              <a:gd name="connsiteY104"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47414 w 2427462"/>
              <a:gd name="connsiteY62" fmla="*/ 1246961 h 1347457"/>
              <a:gd name="connsiteX63" fmla="*/ 1171281 w 2427462"/>
              <a:gd name="connsiteY63" fmla="*/ 1246961 h 1347457"/>
              <a:gd name="connsiteX64" fmla="*/ 1243084 w 2427462"/>
              <a:gd name="connsiteY64" fmla="*/ 1246990 h 1347457"/>
              <a:gd name="connsiteX65" fmla="*/ 1311814 w 2427462"/>
              <a:gd name="connsiteY65" fmla="*/ 1211089 h 1347457"/>
              <a:gd name="connsiteX66" fmla="*/ 1275912 w 2427462"/>
              <a:gd name="connsiteY66" fmla="*/ 1175187 h 1347457"/>
              <a:gd name="connsiteX67" fmla="*/ 1243084 w 2427462"/>
              <a:gd name="connsiteY67" fmla="*/ 1175187 h 1347457"/>
              <a:gd name="connsiteX68" fmla="*/ 1243084 w 2427462"/>
              <a:gd name="connsiteY68" fmla="*/ 1041576 h 1347457"/>
              <a:gd name="connsiteX69" fmla="*/ 1559449 w 2427462"/>
              <a:gd name="connsiteY69" fmla="*/ 1315404 h 1347457"/>
              <a:gd name="connsiteX70" fmla="*/ 1595149 w 2427462"/>
              <a:gd name="connsiteY70" fmla="*/ 1347457 h 1347457"/>
              <a:gd name="connsiteX71" fmla="*/ 1606207 w 2427462"/>
              <a:gd name="connsiteY71" fmla="*/ 1347457 h 1347457"/>
              <a:gd name="connsiteX72" fmla="*/ 1641907 w 2427462"/>
              <a:gd name="connsiteY72" fmla="*/ 1315404 h 1347457"/>
              <a:gd name="connsiteX73" fmla="*/ 1997706 w 2427462"/>
              <a:gd name="connsiteY73" fmla="*/ 1039594 h 1347457"/>
              <a:gd name="connsiteX74" fmla="*/ 2353447 w 2427462"/>
              <a:gd name="connsiteY74" fmla="*/ 1315404 h 1347457"/>
              <a:gd name="connsiteX75" fmla="*/ 2389148 w 2427462"/>
              <a:gd name="connsiteY75" fmla="*/ 1347457 h 1347457"/>
              <a:gd name="connsiteX76" fmla="*/ 2390986 w 2427462"/>
              <a:gd name="connsiteY76" fmla="*/ 1347457 h 1347457"/>
              <a:gd name="connsiteX77" fmla="*/ 2391560 w 2427462"/>
              <a:gd name="connsiteY77" fmla="*/ 1347457 h 1347457"/>
              <a:gd name="connsiteX78" fmla="*/ 2427462 w 2427462"/>
              <a:gd name="connsiteY78" fmla="*/ 1311556 h 1347457"/>
              <a:gd name="connsiteX79" fmla="*/ 2426859 w 2427462"/>
              <a:gd name="connsiteY79" fmla="*/ 1305036 h 1347457"/>
              <a:gd name="connsiteX80" fmla="*/ 88978 w 2427462"/>
              <a:gd name="connsiteY80" fmla="*/ 1113465 h 1347457"/>
              <a:gd name="connsiteX81" fmla="*/ 920889 w 2427462"/>
              <a:gd name="connsiteY81" fmla="*/ 208057 h 1347457"/>
              <a:gd name="connsiteX82" fmla="*/ 393050 w 2427462"/>
              <a:gd name="connsiteY82" fmla="*/ 969629 h 1347457"/>
              <a:gd name="connsiteX83" fmla="*/ 88978 w 2427462"/>
              <a:gd name="connsiteY83" fmla="*/ 1113465 h 1347457"/>
              <a:gd name="connsiteX84" fmla="*/ 467237 w 2427462"/>
              <a:gd name="connsiteY84" fmla="*/ 969399 h 1347457"/>
              <a:gd name="connsiteX85" fmla="*/ 1122800 w 2427462"/>
              <a:gd name="connsiteY85" fmla="*/ 201077 h 1347457"/>
              <a:gd name="connsiteX86" fmla="*/ 790409 w 2427462"/>
              <a:gd name="connsiteY86" fmla="*/ 1140635 h 1347457"/>
              <a:gd name="connsiteX87" fmla="*/ 467237 w 2427462"/>
              <a:gd name="connsiteY87" fmla="*/ 969399 h 1347457"/>
              <a:gd name="connsiteX88" fmla="*/ 863217 w 2427462"/>
              <a:gd name="connsiteY88" fmla="*/ 1114556 h 1347457"/>
              <a:gd name="connsiteX89" fmla="*/ 1171281 w 2427462"/>
              <a:gd name="connsiteY89" fmla="*/ 255418 h 1347457"/>
              <a:gd name="connsiteX90" fmla="*/ 1171281 w 2427462"/>
              <a:gd name="connsiteY90" fmla="*/ 968882 h 1347457"/>
              <a:gd name="connsiteX91" fmla="*/ 863217 w 2427462"/>
              <a:gd name="connsiteY91" fmla="*/ 1114556 h 1347457"/>
              <a:gd name="connsiteX92" fmla="*/ 1243084 w 2427462"/>
              <a:gd name="connsiteY92" fmla="*/ 969514 h 1347457"/>
              <a:gd name="connsiteX93" fmla="*/ 1243084 w 2427462"/>
              <a:gd name="connsiteY93" fmla="*/ 244849 h 1347457"/>
              <a:gd name="connsiteX94" fmla="*/ 1560368 w 2427462"/>
              <a:gd name="connsiteY94" fmla="*/ 1133886 h 1347457"/>
              <a:gd name="connsiteX95" fmla="*/ 1243084 w 2427462"/>
              <a:gd name="connsiteY95" fmla="*/ 969514 h 1347457"/>
              <a:gd name="connsiteX96" fmla="*/ 1632659 w 2427462"/>
              <a:gd name="connsiteY96" fmla="*/ 1145173 h 1347457"/>
              <a:gd name="connsiteX97" fmla="*/ 1300096 w 2427462"/>
              <a:gd name="connsiteY97" fmla="*/ 201077 h 1347457"/>
              <a:gd name="connsiteX98" fmla="*/ 1955744 w 2427462"/>
              <a:gd name="connsiteY98" fmla="*/ 969773 h 1347457"/>
              <a:gd name="connsiteX99" fmla="*/ 1632659 w 2427462"/>
              <a:gd name="connsiteY99" fmla="*/ 1145173 h 1347457"/>
              <a:gd name="connsiteX100" fmla="*/ 2029759 w 2427462"/>
              <a:gd name="connsiteY100" fmla="*/ 969428 h 1347457"/>
              <a:gd name="connsiteX101" fmla="*/ 1498789 w 2427462"/>
              <a:gd name="connsiteY101" fmla="*/ 206247 h 1347457"/>
              <a:gd name="connsiteX102" fmla="*/ 2337909 w 2427462"/>
              <a:gd name="connsiteY102" fmla="*/ 1113465 h 1347457"/>
              <a:gd name="connsiteX103" fmla="*/ 2029759 w 2427462"/>
              <a:gd name="connsiteY103"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147414 w 2427462"/>
              <a:gd name="connsiteY62" fmla="*/ 1246961 h 1347457"/>
              <a:gd name="connsiteX63" fmla="*/ 1243084 w 2427462"/>
              <a:gd name="connsiteY63" fmla="*/ 1246990 h 1347457"/>
              <a:gd name="connsiteX64" fmla="*/ 1311814 w 2427462"/>
              <a:gd name="connsiteY64" fmla="*/ 1211089 h 1347457"/>
              <a:gd name="connsiteX65" fmla="*/ 1275912 w 2427462"/>
              <a:gd name="connsiteY65" fmla="*/ 1175187 h 1347457"/>
              <a:gd name="connsiteX66" fmla="*/ 1243084 w 2427462"/>
              <a:gd name="connsiteY66" fmla="*/ 1175187 h 1347457"/>
              <a:gd name="connsiteX67" fmla="*/ 1243084 w 2427462"/>
              <a:gd name="connsiteY67" fmla="*/ 1041576 h 1347457"/>
              <a:gd name="connsiteX68" fmla="*/ 1559449 w 2427462"/>
              <a:gd name="connsiteY68" fmla="*/ 1315404 h 1347457"/>
              <a:gd name="connsiteX69" fmla="*/ 1595149 w 2427462"/>
              <a:gd name="connsiteY69" fmla="*/ 1347457 h 1347457"/>
              <a:gd name="connsiteX70" fmla="*/ 1606207 w 2427462"/>
              <a:gd name="connsiteY70" fmla="*/ 1347457 h 1347457"/>
              <a:gd name="connsiteX71" fmla="*/ 1641907 w 2427462"/>
              <a:gd name="connsiteY71" fmla="*/ 1315404 h 1347457"/>
              <a:gd name="connsiteX72" fmla="*/ 1997706 w 2427462"/>
              <a:gd name="connsiteY72" fmla="*/ 1039594 h 1347457"/>
              <a:gd name="connsiteX73" fmla="*/ 2353447 w 2427462"/>
              <a:gd name="connsiteY73" fmla="*/ 1315404 h 1347457"/>
              <a:gd name="connsiteX74" fmla="*/ 2389148 w 2427462"/>
              <a:gd name="connsiteY74" fmla="*/ 1347457 h 1347457"/>
              <a:gd name="connsiteX75" fmla="*/ 2390986 w 2427462"/>
              <a:gd name="connsiteY75" fmla="*/ 1347457 h 1347457"/>
              <a:gd name="connsiteX76" fmla="*/ 2391560 w 2427462"/>
              <a:gd name="connsiteY76" fmla="*/ 1347457 h 1347457"/>
              <a:gd name="connsiteX77" fmla="*/ 2427462 w 2427462"/>
              <a:gd name="connsiteY77" fmla="*/ 1311556 h 1347457"/>
              <a:gd name="connsiteX78" fmla="*/ 2426859 w 2427462"/>
              <a:gd name="connsiteY78" fmla="*/ 1305036 h 1347457"/>
              <a:gd name="connsiteX79" fmla="*/ 88978 w 2427462"/>
              <a:gd name="connsiteY79" fmla="*/ 1113465 h 1347457"/>
              <a:gd name="connsiteX80" fmla="*/ 920889 w 2427462"/>
              <a:gd name="connsiteY80" fmla="*/ 208057 h 1347457"/>
              <a:gd name="connsiteX81" fmla="*/ 393050 w 2427462"/>
              <a:gd name="connsiteY81" fmla="*/ 969629 h 1347457"/>
              <a:gd name="connsiteX82" fmla="*/ 88978 w 2427462"/>
              <a:gd name="connsiteY82" fmla="*/ 1113465 h 1347457"/>
              <a:gd name="connsiteX83" fmla="*/ 467237 w 2427462"/>
              <a:gd name="connsiteY83" fmla="*/ 969399 h 1347457"/>
              <a:gd name="connsiteX84" fmla="*/ 1122800 w 2427462"/>
              <a:gd name="connsiteY84" fmla="*/ 201077 h 1347457"/>
              <a:gd name="connsiteX85" fmla="*/ 790409 w 2427462"/>
              <a:gd name="connsiteY85" fmla="*/ 1140635 h 1347457"/>
              <a:gd name="connsiteX86" fmla="*/ 467237 w 2427462"/>
              <a:gd name="connsiteY86" fmla="*/ 969399 h 1347457"/>
              <a:gd name="connsiteX87" fmla="*/ 863217 w 2427462"/>
              <a:gd name="connsiteY87" fmla="*/ 1114556 h 1347457"/>
              <a:gd name="connsiteX88" fmla="*/ 1171281 w 2427462"/>
              <a:gd name="connsiteY88" fmla="*/ 255418 h 1347457"/>
              <a:gd name="connsiteX89" fmla="*/ 1171281 w 2427462"/>
              <a:gd name="connsiteY89" fmla="*/ 968882 h 1347457"/>
              <a:gd name="connsiteX90" fmla="*/ 863217 w 2427462"/>
              <a:gd name="connsiteY90" fmla="*/ 1114556 h 1347457"/>
              <a:gd name="connsiteX91" fmla="*/ 1243084 w 2427462"/>
              <a:gd name="connsiteY91" fmla="*/ 969514 h 1347457"/>
              <a:gd name="connsiteX92" fmla="*/ 1243084 w 2427462"/>
              <a:gd name="connsiteY92" fmla="*/ 244849 h 1347457"/>
              <a:gd name="connsiteX93" fmla="*/ 1560368 w 2427462"/>
              <a:gd name="connsiteY93" fmla="*/ 1133886 h 1347457"/>
              <a:gd name="connsiteX94" fmla="*/ 1243084 w 2427462"/>
              <a:gd name="connsiteY94" fmla="*/ 969514 h 1347457"/>
              <a:gd name="connsiteX95" fmla="*/ 1632659 w 2427462"/>
              <a:gd name="connsiteY95" fmla="*/ 1145173 h 1347457"/>
              <a:gd name="connsiteX96" fmla="*/ 1300096 w 2427462"/>
              <a:gd name="connsiteY96" fmla="*/ 201077 h 1347457"/>
              <a:gd name="connsiteX97" fmla="*/ 1955744 w 2427462"/>
              <a:gd name="connsiteY97" fmla="*/ 969773 h 1347457"/>
              <a:gd name="connsiteX98" fmla="*/ 1632659 w 2427462"/>
              <a:gd name="connsiteY98" fmla="*/ 1145173 h 1347457"/>
              <a:gd name="connsiteX99" fmla="*/ 2029759 w 2427462"/>
              <a:gd name="connsiteY99" fmla="*/ 969428 h 1347457"/>
              <a:gd name="connsiteX100" fmla="*/ 1498789 w 2427462"/>
              <a:gd name="connsiteY100" fmla="*/ 206247 h 1347457"/>
              <a:gd name="connsiteX101" fmla="*/ 2337909 w 2427462"/>
              <a:gd name="connsiteY101" fmla="*/ 1113465 h 1347457"/>
              <a:gd name="connsiteX102" fmla="*/ 2029759 w 2427462"/>
              <a:gd name="connsiteY102"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243084 w 2427462"/>
              <a:gd name="connsiteY62" fmla="*/ 1246990 h 1347457"/>
              <a:gd name="connsiteX63" fmla="*/ 1311814 w 2427462"/>
              <a:gd name="connsiteY63" fmla="*/ 1211089 h 1347457"/>
              <a:gd name="connsiteX64" fmla="*/ 1275912 w 2427462"/>
              <a:gd name="connsiteY64" fmla="*/ 1175187 h 1347457"/>
              <a:gd name="connsiteX65" fmla="*/ 1243084 w 2427462"/>
              <a:gd name="connsiteY65" fmla="*/ 1175187 h 1347457"/>
              <a:gd name="connsiteX66" fmla="*/ 1243084 w 2427462"/>
              <a:gd name="connsiteY66" fmla="*/ 1041576 h 1347457"/>
              <a:gd name="connsiteX67" fmla="*/ 1559449 w 2427462"/>
              <a:gd name="connsiteY67" fmla="*/ 1315404 h 1347457"/>
              <a:gd name="connsiteX68" fmla="*/ 1595149 w 2427462"/>
              <a:gd name="connsiteY68" fmla="*/ 1347457 h 1347457"/>
              <a:gd name="connsiteX69" fmla="*/ 1606207 w 2427462"/>
              <a:gd name="connsiteY69" fmla="*/ 1347457 h 1347457"/>
              <a:gd name="connsiteX70" fmla="*/ 1641907 w 2427462"/>
              <a:gd name="connsiteY70" fmla="*/ 1315404 h 1347457"/>
              <a:gd name="connsiteX71" fmla="*/ 1997706 w 2427462"/>
              <a:gd name="connsiteY71" fmla="*/ 1039594 h 1347457"/>
              <a:gd name="connsiteX72" fmla="*/ 2353447 w 2427462"/>
              <a:gd name="connsiteY72" fmla="*/ 1315404 h 1347457"/>
              <a:gd name="connsiteX73" fmla="*/ 2389148 w 2427462"/>
              <a:gd name="connsiteY73" fmla="*/ 1347457 h 1347457"/>
              <a:gd name="connsiteX74" fmla="*/ 2390986 w 2427462"/>
              <a:gd name="connsiteY74" fmla="*/ 1347457 h 1347457"/>
              <a:gd name="connsiteX75" fmla="*/ 2391560 w 2427462"/>
              <a:gd name="connsiteY75" fmla="*/ 1347457 h 1347457"/>
              <a:gd name="connsiteX76" fmla="*/ 2427462 w 2427462"/>
              <a:gd name="connsiteY76" fmla="*/ 1311556 h 1347457"/>
              <a:gd name="connsiteX77" fmla="*/ 2426859 w 2427462"/>
              <a:gd name="connsiteY77" fmla="*/ 1305036 h 1347457"/>
              <a:gd name="connsiteX78" fmla="*/ 88978 w 2427462"/>
              <a:gd name="connsiteY78" fmla="*/ 1113465 h 1347457"/>
              <a:gd name="connsiteX79" fmla="*/ 920889 w 2427462"/>
              <a:gd name="connsiteY79" fmla="*/ 208057 h 1347457"/>
              <a:gd name="connsiteX80" fmla="*/ 393050 w 2427462"/>
              <a:gd name="connsiteY80" fmla="*/ 969629 h 1347457"/>
              <a:gd name="connsiteX81" fmla="*/ 88978 w 2427462"/>
              <a:gd name="connsiteY81" fmla="*/ 1113465 h 1347457"/>
              <a:gd name="connsiteX82" fmla="*/ 467237 w 2427462"/>
              <a:gd name="connsiteY82" fmla="*/ 969399 h 1347457"/>
              <a:gd name="connsiteX83" fmla="*/ 1122800 w 2427462"/>
              <a:gd name="connsiteY83" fmla="*/ 201077 h 1347457"/>
              <a:gd name="connsiteX84" fmla="*/ 790409 w 2427462"/>
              <a:gd name="connsiteY84" fmla="*/ 1140635 h 1347457"/>
              <a:gd name="connsiteX85" fmla="*/ 467237 w 2427462"/>
              <a:gd name="connsiteY85" fmla="*/ 969399 h 1347457"/>
              <a:gd name="connsiteX86" fmla="*/ 863217 w 2427462"/>
              <a:gd name="connsiteY86" fmla="*/ 1114556 h 1347457"/>
              <a:gd name="connsiteX87" fmla="*/ 1171281 w 2427462"/>
              <a:gd name="connsiteY87" fmla="*/ 255418 h 1347457"/>
              <a:gd name="connsiteX88" fmla="*/ 1171281 w 2427462"/>
              <a:gd name="connsiteY88" fmla="*/ 968882 h 1347457"/>
              <a:gd name="connsiteX89" fmla="*/ 863217 w 2427462"/>
              <a:gd name="connsiteY89" fmla="*/ 1114556 h 1347457"/>
              <a:gd name="connsiteX90" fmla="*/ 1243084 w 2427462"/>
              <a:gd name="connsiteY90" fmla="*/ 969514 h 1347457"/>
              <a:gd name="connsiteX91" fmla="*/ 1243084 w 2427462"/>
              <a:gd name="connsiteY91" fmla="*/ 244849 h 1347457"/>
              <a:gd name="connsiteX92" fmla="*/ 1560368 w 2427462"/>
              <a:gd name="connsiteY92" fmla="*/ 1133886 h 1347457"/>
              <a:gd name="connsiteX93" fmla="*/ 1243084 w 2427462"/>
              <a:gd name="connsiteY93" fmla="*/ 969514 h 1347457"/>
              <a:gd name="connsiteX94" fmla="*/ 1632659 w 2427462"/>
              <a:gd name="connsiteY94" fmla="*/ 1145173 h 1347457"/>
              <a:gd name="connsiteX95" fmla="*/ 1300096 w 2427462"/>
              <a:gd name="connsiteY95" fmla="*/ 201077 h 1347457"/>
              <a:gd name="connsiteX96" fmla="*/ 1955744 w 2427462"/>
              <a:gd name="connsiteY96" fmla="*/ 969773 h 1347457"/>
              <a:gd name="connsiteX97" fmla="*/ 1632659 w 2427462"/>
              <a:gd name="connsiteY97" fmla="*/ 1145173 h 1347457"/>
              <a:gd name="connsiteX98" fmla="*/ 2029759 w 2427462"/>
              <a:gd name="connsiteY98" fmla="*/ 969428 h 1347457"/>
              <a:gd name="connsiteX99" fmla="*/ 1498789 w 2427462"/>
              <a:gd name="connsiteY99" fmla="*/ 206247 h 1347457"/>
              <a:gd name="connsiteX100" fmla="*/ 2337909 w 2427462"/>
              <a:gd name="connsiteY100" fmla="*/ 1113465 h 1347457"/>
              <a:gd name="connsiteX101" fmla="*/ 2029759 w 2427462"/>
              <a:gd name="connsiteY101"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311814 w 2427462"/>
              <a:gd name="connsiteY62" fmla="*/ 1211089 h 1347457"/>
              <a:gd name="connsiteX63" fmla="*/ 1275912 w 2427462"/>
              <a:gd name="connsiteY63" fmla="*/ 1175187 h 1347457"/>
              <a:gd name="connsiteX64" fmla="*/ 1243084 w 2427462"/>
              <a:gd name="connsiteY64" fmla="*/ 1175187 h 1347457"/>
              <a:gd name="connsiteX65" fmla="*/ 1243084 w 2427462"/>
              <a:gd name="connsiteY65" fmla="*/ 1041576 h 1347457"/>
              <a:gd name="connsiteX66" fmla="*/ 1559449 w 2427462"/>
              <a:gd name="connsiteY66" fmla="*/ 1315404 h 1347457"/>
              <a:gd name="connsiteX67" fmla="*/ 1595149 w 2427462"/>
              <a:gd name="connsiteY67" fmla="*/ 1347457 h 1347457"/>
              <a:gd name="connsiteX68" fmla="*/ 1606207 w 2427462"/>
              <a:gd name="connsiteY68" fmla="*/ 1347457 h 1347457"/>
              <a:gd name="connsiteX69" fmla="*/ 1641907 w 2427462"/>
              <a:gd name="connsiteY69" fmla="*/ 1315404 h 1347457"/>
              <a:gd name="connsiteX70" fmla="*/ 1997706 w 2427462"/>
              <a:gd name="connsiteY70" fmla="*/ 1039594 h 1347457"/>
              <a:gd name="connsiteX71" fmla="*/ 2353447 w 2427462"/>
              <a:gd name="connsiteY71" fmla="*/ 1315404 h 1347457"/>
              <a:gd name="connsiteX72" fmla="*/ 2389148 w 2427462"/>
              <a:gd name="connsiteY72" fmla="*/ 1347457 h 1347457"/>
              <a:gd name="connsiteX73" fmla="*/ 2390986 w 2427462"/>
              <a:gd name="connsiteY73" fmla="*/ 1347457 h 1347457"/>
              <a:gd name="connsiteX74" fmla="*/ 2391560 w 2427462"/>
              <a:gd name="connsiteY74" fmla="*/ 1347457 h 1347457"/>
              <a:gd name="connsiteX75" fmla="*/ 2427462 w 2427462"/>
              <a:gd name="connsiteY75" fmla="*/ 1311556 h 1347457"/>
              <a:gd name="connsiteX76" fmla="*/ 2426859 w 2427462"/>
              <a:gd name="connsiteY76" fmla="*/ 1305036 h 1347457"/>
              <a:gd name="connsiteX77" fmla="*/ 88978 w 2427462"/>
              <a:gd name="connsiteY77" fmla="*/ 1113465 h 1347457"/>
              <a:gd name="connsiteX78" fmla="*/ 920889 w 2427462"/>
              <a:gd name="connsiteY78" fmla="*/ 208057 h 1347457"/>
              <a:gd name="connsiteX79" fmla="*/ 393050 w 2427462"/>
              <a:gd name="connsiteY79" fmla="*/ 969629 h 1347457"/>
              <a:gd name="connsiteX80" fmla="*/ 88978 w 2427462"/>
              <a:gd name="connsiteY80" fmla="*/ 1113465 h 1347457"/>
              <a:gd name="connsiteX81" fmla="*/ 467237 w 2427462"/>
              <a:gd name="connsiteY81" fmla="*/ 969399 h 1347457"/>
              <a:gd name="connsiteX82" fmla="*/ 1122800 w 2427462"/>
              <a:gd name="connsiteY82" fmla="*/ 201077 h 1347457"/>
              <a:gd name="connsiteX83" fmla="*/ 790409 w 2427462"/>
              <a:gd name="connsiteY83" fmla="*/ 1140635 h 1347457"/>
              <a:gd name="connsiteX84" fmla="*/ 467237 w 2427462"/>
              <a:gd name="connsiteY84" fmla="*/ 969399 h 1347457"/>
              <a:gd name="connsiteX85" fmla="*/ 863217 w 2427462"/>
              <a:gd name="connsiteY85" fmla="*/ 1114556 h 1347457"/>
              <a:gd name="connsiteX86" fmla="*/ 1171281 w 2427462"/>
              <a:gd name="connsiteY86" fmla="*/ 255418 h 1347457"/>
              <a:gd name="connsiteX87" fmla="*/ 1171281 w 2427462"/>
              <a:gd name="connsiteY87" fmla="*/ 968882 h 1347457"/>
              <a:gd name="connsiteX88" fmla="*/ 863217 w 2427462"/>
              <a:gd name="connsiteY88" fmla="*/ 1114556 h 1347457"/>
              <a:gd name="connsiteX89" fmla="*/ 1243084 w 2427462"/>
              <a:gd name="connsiteY89" fmla="*/ 969514 h 1347457"/>
              <a:gd name="connsiteX90" fmla="*/ 1243084 w 2427462"/>
              <a:gd name="connsiteY90" fmla="*/ 244849 h 1347457"/>
              <a:gd name="connsiteX91" fmla="*/ 1560368 w 2427462"/>
              <a:gd name="connsiteY91" fmla="*/ 1133886 h 1347457"/>
              <a:gd name="connsiteX92" fmla="*/ 1243084 w 2427462"/>
              <a:gd name="connsiteY92" fmla="*/ 969514 h 1347457"/>
              <a:gd name="connsiteX93" fmla="*/ 1632659 w 2427462"/>
              <a:gd name="connsiteY93" fmla="*/ 1145173 h 1347457"/>
              <a:gd name="connsiteX94" fmla="*/ 1300096 w 2427462"/>
              <a:gd name="connsiteY94" fmla="*/ 201077 h 1347457"/>
              <a:gd name="connsiteX95" fmla="*/ 1955744 w 2427462"/>
              <a:gd name="connsiteY95" fmla="*/ 969773 h 1347457"/>
              <a:gd name="connsiteX96" fmla="*/ 1632659 w 2427462"/>
              <a:gd name="connsiteY96" fmla="*/ 1145173 h 1347457"/>
              <a:gd name="connsiteX97" fmla="*/ 2029759 w 2427462"/>
              <a:gd name="connsiteY97" fmla="*/ 969428 h 1347457"/>
              <a:gd name="connsiteX98" fmla="*/ 1498789 w 2427462"/>
              <a:gd name="connsiteY98" fmla="*/ 206247 h 1347457"/>
              <a:gd name="connsiteX99" fmla="*/ 2337909 w 2427462"/>
              <a:gd name="connsiteY99" fmla="*/ 1113465 h 1347457"/>
              <a:gd name="connsiteX100" fmla="*/ 2029759 w 2427462"/>
              <a:gd name="connsiteY100"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311814 w 2427462"/>
              <a:gd name="connsiteY62" fmla="*/ 1211089 h 1347457"/>
              <a:gd name="connsiteX63" fmla="*/ 1275912 w 2427462"/>
              <a:gd name="connsiteY63" fmla="*/ 1175187 h 1347457"/>
              <a:gd name="connsiteX64" fmla="*/ 1243084 w 2427462"/>
              <a:gd name="connsiteY64" fmla="*/ 1041576 h 1347457"/>
              <a:gd name="connsiteX65" fmla="*/ 1559449 w 2427462"/>
              <a:gd name="connsiteY65" fmla="*/ 1315404 h 1347457"/>
              <a:gd name="connsiteX66" fmla="*/ 1595149 w 2427462"/>
              <a:gd name="connsiteY66" fmla="*/ 1347457 h 1347457"/>
              <a:gd name="connsiteX67" fmla="*/ 1606207 w 2427462"/>
              <a:gd name="connsiteY67" fmla="*/ 1347457 h 1347457"/>
              <a:gd name="connsiteX68" fmla="*/ 1641907 w 2427462"/>
              <a:gd name="connsiteY68" fmla="*/ 1315404 h 1347457"/>
              <a:gd name="connsiteX69" fmla="*/ 1997706 w 2427462"/>
              <a:gd name="connsiteY69" fmla="*/ 1039594 h 1347457"/>
              <a:gd name="connsiteX70" fmla="*/ 2353447 w 2427462"/>
              <a:gd name="connsiteY70" fmla="*/ 1315404 h 1347457"/>
              <a:gd name="connsiteX71" fmla="*/ 2389148 w 2427462"/>
              <a:gd name="connsiteY71" fmla="*/ 1347457 h 1347457"/>
              <a:gd name="connsiteX72" fmla="*/ 2390986 w 2427462"/>
              <a:gd name="connsiteY72" fmla="*/ 1347457 h 1347457"/>
              <a:gd name="connsiteX73" fmla="*/ 2391560 w 2427462"/>
              <a:gd name="connsiteY73" fmla="*/ 1347457 h 1347457"/>
              <a:gd name="connsiteX74" fmla="*/ 2427462 w 2427462"/>
              <a:gd name="connsiteY74" fmla="*/ 1311556 h 1347457"/>
              <a:gd name="connsiteX75" fmla="*/ 2426859 w 2427462"/>
              <a:gd name="connsiteY75" fmla="*/ 1305036 h 1347457"/>
              <a:gd name="connsiteX76" fmla="*/ 88978 w 2427462"/>
              <a:gd name="connsiteY76" fmla="*/ 1113465 h 1347457"/>
              <a:gd name="connsiteX77" fmla="*/ 920889 w 2427462"/>
              <a:gd name="connsiteY77" fmla="*/ 208057 h 1347457"/>
              <a:gd name="connsiteX78" fmla="*/ 393050 w 2427462"/>
              <a:gd name="connsiteY78" fmla="*/ 969629 h 1347457"/>
              <a:gd name="connsiteX79" fmla="*/ 88978 w 2427462"/>
              <a:gd name="connsiteY79" fmla="*/ 1113465 h 1347457"/>
              <a:gd name="connsiteX80" fmla="*/ 467237 w 2427462"/>
              <a:gd name="connsiteY80" fmla="*/ 969399 h 1347457"/>
              <a:gd name="connsiteX81" fmla="*/ 1122800 w 2427462"/>
              <a:gd name="connsiteY81" fmla="*/ 201077 h 1347457"/>
              <a:gd name="connsiteX82" fmla="*/ 790409 w 2427462"/>
              <a:gd name="connsiteY82" fmla="*/ 1140635 h 1347457"/>
              <a:gd name="connsiteX83" fmla="*/ 467237 w 2427462"/>
              <a:gd name="connsiteY83" fmla="*/ 969399 h 1347457"/>
              <a:gd name="connsiteX84" fmla="*/ 863217 w 2427462"/>
              <a:gd name="connsiteY84" fmla="*/ 1114556 h 1347457"/>
              <a:gd name="connsiteX85" fmla="*/ 1171281 w 2427462"/>
              <a:gd name="connsiteY85" fmla="*/ 255418 h 1347457"/>
              <a:gd name="connsiteX86" fmla="*/ 1171281 w 2427462"/>
              <a:gd name="connsiteY86" fmla="*/ 968882 h 1347457"/>
              <a:gd name="connsiteX87" fmla="*/ 863217 w 2427462"/>
              <a:gd name="connsiteY87" fmla="*/ 1114556 h 1347457"/>
              <a:gd name="connsiteX88" fmla="*/ 1243084 w 2427462"/>
              <a:gd name="connsiteY88" fmla="*/ 969514 h 1347457"/>
              <a:gd name="connsiteX89" fmla="*/ 1243084 w 2427462"/>
              <a:gd name="connsiteY89" fmla="*/ 244849 h 1347457"/>
              <a:gd name="connsiteX90" fmla="*/ 1560368 w 2427462"/>
              <a:gd name="connsiteY90" fmla="*/ 1133886 h 1347457"/>
              <a:gd name="connsiteX91" fmla="*/ 1243084 w 2427462"/>
              <a:gd name="connsiteY91" fmla="*/ 969514 h 1347457"/>
              <a:gd name="connsiteX92" fmla="*/ 1632659 w 2427462"/>
              <a:gd name="connsiteY92" fmla="*/ 1145173 h 1347457"/>
              <a:gd name="connsiteX93" fmla="*/ 1300096 w 2427462"/>
              <a:gd name="connsiteY93" fmla="*/ 201077 h 1347457"/>
              <a:gd name="connsiteX94" fmla="*/ 1955744 w 2427462"/>
              <a:gd name="connsiteY94" fmla="*/ 969773 h 1347457"/>
              <a:gd name="connsiteX95" fmla="*/ 1632659 w 2427462"/>
              <a:gd name="connsiteY95" fmla="*/ 1145173 h 1347457"/>
              <a:gd name="connsiteX96" fmla="*/ 2029759 w 2427462"/>
              <a:gd name="connsiteY96" fmla="*/ 969428 h 1347457"/>
              <a:gd name="connsiteX97" fmla="*/ 1498789 w 2427462"/>
              <a:gd name="connsiteY97" fmla="*/ 206247 h 1347457"/>
              <a:gd name="connsiteX98" fmla="*/ 2337909 w 2427462"/>
              <a:gd name="connsiteY98" fmla="*/ 1113465 h 1347457"/>
              <a:gd name="connsiteX99" fmla="*/ 2029759 w 2427462"/>
              <a:gd name="connsiteY99"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311814 w 2427462"/>
              <a:gd name="connsiteY62" fmla="*/ 1211089 h 1347457"/>
              <a:gd name="connsiteX63" fmla="*/ 1243084 w 2427462"/>
              <a:gd name="connsiteY63" fmla="*/ 1041576 h 1347457"/>
              <a:gd name="connsiteX64" fmla="*/ 1559449 w 2427462"/>
              <a:gd name="connsiteY64" fmla="*/ 1315404 h 1347457"/>
              <a:gd name="connsiteX65" fmla="*/ 1595149 w 2427462"/>
              <a:gd name="connsiteY65" fmla="*/ 1347457 h 1347457"/>
              <a:gd name="connsiteX66" fmla="*/ 1606207 w 2427462"/>
              <a:gd name="connsiteY66" fmla="*/ 1347457 h 1347457"/>
              <a:gd name="connsiteX67" fmla="*/ 1641907 w 2427462"/>
              <a:gd name="connsiteY67" fmla="*/ 1315404 h 1347457"/>
              <a:gd name="connsiteX68" fmla="*/ 1997706 w 2427462"/>
              <a:gd name="connsiteY68" fmla="*/ 1039594 h 1347457"/>
              <a:gd name="connsiteX69" fmla="*/ 2353447 w 2427462"/>
              <a:gd name="connsiteY69" fmla="*/ 1315404 h 1347457"/>
              <a:gd name="connsiteX70" fmla="*/ 2389148 w 2427462"/>
              <a:gd name="connsiteY70" fmla="*/ 1347457 h 1347457"/>
              <a:gd name="connsiteX71" fmla="*/ 2390986 w 2427462"/>
              <a:gd name="connsiteY71" fmla="*/ 1347457 h 1347457"/>
              <a:gd name="connsiteX72" fmla="*/ 2391560 w 2427462"/>
              <a:gd name="connsiteY72" fmla="*/ 1347457 h 1347457"/>
              <a:gd name="connsiteX73" fmla="*/ 2427462 w 2427462"/>
              <a:gd name="connsiteY73" fmla="*/ 1311556 h 1347457"/>
              <a:gd name="connsiteX74" fmla="*/ 2426859 w 2427462"/>
              <a:gd name="connsiteY74" fmla="*/ 1305036 h 1347457"/>
              <a:gd name="connsiteX75" fmla="*/ 88978 w 2427462"/>
              <a:gd name="connsiteY75" fmla="*/ 1113465 h 1347457"/>
              <a:gd name="connsiteX76" fmla="*/ 920889 w 2427462"/>
              <a:gd name="connsiteY76" fmla="*/ 208057 h 1347457"/>
              <a:gd name="connsiteX77" fmla="*/ 393050 w 2427462"/>
              <a:gd name="connsiteY77" fmla="*/ 969629 h 1347457"/>
              <a:gd name="connsiteX78" fmla="*/ 88978 w 2427462"/>
              <a:gd name="connsiteY78" fmla="*/ 1113465 h 1347457"/>
              <a:gd name="connsiteX79" fmla="*/ 467237 w 2427462"/>
              <a:gd name="connsiteY79" fmla="*/ 969399 h 1347457"/>
              <a:gd name="connsiteX80" fmla="*/ 1122800 w 2427462"/>
              <a:gd name="connsiteY80" fmla="*/ 201077 h 1347457"/>
              <a:gd name="connsiteX81" fmla="*/ 790409 w 2427462"/>
              <a:gd name="connsiteY81" fmla="*/ 1140635 h 1347457"/>
              <a:gd name="connsiteX82" fmla="*/ 467237 w 2427462"/>
              <a:gd name="connsiteY82" fmla="*/ 969399 h 1347457"/>
              <a:gd name="connsiteX83" fmla="*/ 863217 w 2427462"/>
              <a:gd name="connsiteY83" fmla="*/ 1114556 h 1347457"/>
              <a:gd name="connsiteX84" fmla="*/ 1171281 w 2427462"/>
              <a:gd name="connsiteY84" fmla="*/ 255418 h 1347457"/>
              <a:gd name="connsiteX85" fmla="*/ 1171281 w 2427462"/>
              <a:gd name="connsiteY85" fmla="*/ 968882 h 1347457"/>
              <a:gd name="connsiteX86" fmla="*/ 863217 w 2427462"/>
              <a:gd name="connsiteY86" fmla="*/ 1114556 h 1347457"/>
              <a:gd name="connsiteX87" fmla="*/ 1243084 w 2427462"/>
              <a:gd name="connsiteY87" fmla="*/ 969514 h 1347457"/>
              <a:gd name="connsiteX88" fmla="*/ 1243084 w 2427462"/>
              <a:gd name="connsiteY88" fmla="*/ 244849 h 1347457"/>
              <a:gd name="connsiteX89" fmla="*/ 1560368 w 2427462"/>
              <a:gd name="connsiteY89" fmla="*/ 1133886 h 1347457"/>
              <a:gd name="connsiteX90" fmla="*/ 1243084 w 2427462"/>
              <a:gd name="connsiteY90" fmla="*/ 969514 h 1347457"/>
              <a:gd name="connsiteX91" fmla="*/ 1632659 w 2427462"/>
              <a:gd name="connsiteY91" fmla="*/ 1145173 h 1347457"/>
              <a:gd name="connsiteX92" fmla="*/ 1300096 w 2427462"/>
              <a:gd name="connsiteY92" fmla="*/ 201077 h 1347457"/>
              <a:gd name="connsiteX93" fmla="*/ 1955744 w 2427462"/>
              <a:gd name="connsiteY93" fmla="*/ 969773 h 1347457"/>
              <a:gd name="connsiteX94" fmla="*/ 1632659 w 2427462"/>
              <a:gd name="connsiteY94" fmla="*/ 1145173 h 1347457"/>
              <a:gd name="connsiteX95" fmla="*/ 2029759 w 2427462"/>
              <a:gd name="connsiteY95" fmla="*/ 969428 h 1347457"/>
              <a:gd name="connsiteX96" fmla="*/ 1498789 w 2427462"/>
              <a:gd name="connsiteY96" fmla="*/ 206247 h 1347457"/>
              <a:gd name="connsiteX97" fmla="*/ 2337909 w 2427462"/>
              <a:gd name="connsiteY97" fmla="*/ 1113465 h 1347457"/>
              <a:gd name="connsiteX98" fmla="*/ 2029759 w 2427462"/>
              <a:gd name="connsiteY98"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512186 h 1347457"/>
              <a:gd name="connsiteX52" fmla="*/ 152136 w 2427462"/>
              <a:gd name="connsiteY52" fmla="*/ 722741 h 1347457"/>
              <a:gd name="connsiteX53" fmla="*/ 152912 w 2427462"/>
              <a:gd name="connsiteY53" fmla="*/ 722741 h 1347457"/>
              <a:gd name="connsiteX54" fmla="*/ 0 w 2427462"/>
              <a:gd name="connsiteY54" fmla="*/ 1311527 h 1347457"/>
              <a:gd name="connsiteX55" fmla="*/ 37740 w 2427462"/>
              <a:gd name="connsiteY55" fmla="*/ 1347428 h 1347457"/>
              <a:gd name="connsiteX56" fmla="*/ 73440 w 2427462"/>
              <a:gd name="connsiteY56" fmla="*/ 1315375 h 1347457"/>
              <a:gd name="connsiteX57" fmla="*/ 429210 w 2427462"/>
              <a:gd name="connsiteY57" fmla="*/ 1039565 h 1347457"/>
              <a:gd name="connsiteX58" fmla="*/ 781246 w 2427462"/>
              <a:gd name="connsiteY58" fmla="*/ 1292657 h 1347457"/>
              <a:gd name="connsiteX59" fmla="*/ 816459 w 2427462"/>
              <a:gd name="connsiteY59" fmla="*/ 1321579 h 1347457"/>
              <a:gd name="connsiteX60" fmla="*/ 851671 w 2427462"/>
              <a:gd name="connsiteY60" fmla="*/ 1292657 h 1347457"/>
              <a:gd name="connsiteX61" fmla="*/ 1171281 w 2427462"/>
              <a:gd name="connsiteY61" fmla="*/ 1040800 h 1347457"/>
              <a:gd name="connsiteX62" fmla="*/ 1243084 w 2427462"/>
              <a:gd name="connsiteY62" fmla="*/ 1041576 h 1347457"/>
              <a:gd name="connsiteX63" fmla="*/ 1559449 w 2427462"/>
              <a:gd name="connsiteY63" fmla="*/ 1315404 h 1347457"/>
              <a:gd name="connsiteX64" fmla="*/ 1595149 w 2427462"/>
              <a:gd name="connsiteY64" fmla="*/ 1347457 h 1347457"/>
              <a:gd name="connsiteX65" fmla="*/ 1606207 w 2427462"/>
              <a:gd name="connsiteY65" fmla="*/ 1347457 h 1347457"/>
              <a:gd name="connsiteX66" fmla="*/ 1641907 w 2427462"/>
              <a:gd name="connsiteY66" fmla="*/ 1315404 h 1347457"/>
              <a:gd name="connsiteX67" fmla="*/ 1997706 w 2427462"/>
              <a:gd name="connsiteY67" fmla="*/ 1039594 h 1347457"/>
              <a:gd name="connsiteX68" fmla="*/ 2353447 w 2427462"/>
              <a:gd name="connsiteY68" fmla="*/ 1315404 h 1347457"/>
              <a:gd name="connsiteX69" fmla="*/ 2389148 w 2427462"/>
              <a:gd name="connsiteY69" fmla="*/ 1347457 h 1347457"/>
              <a:gd name="connsiteX70" fmla="*/ 2390986 w 2427462"/>
              <a:gd name="connsiteY70" fmla="*/ 1347457 h 1347457"/>
              <a:gd name="connsiteX71" fmla="*/ 2391560 w 2427462"/>
              <a:gd name="connsiteY71" fmla="*/ 1347457 h 1347457"/>
              <a:gd name="connsiteX72" fmla="*/ 2427462 w 2427462"/>
              <a:gd name="connsiteY72" fmla="*/ 1311556 h 1347457"/>
              <a:gd name="connsiteX73" fmla="*/ 2426859 w 2427462"/>
              <a:gd name="connsiteY73" fmla="*/ 1305036 h 1347457"/>
              <a:gd name="connsiteX74" fmla="*/ 88978 w 2427462"/>
              <a:gd name="connsiteY74" fmla="*/ 1113465 h 1347457"/>
              <a:gd name="connsiteX75" fmla="*/ 920889 w 2427462"/>
              <a:gd name="connsiteY75" fmla="*/ 208057 h 1347457"/>
              <a:gd name="connsiteX76" fmla="*/ 393050 w 2427462"/>
              <a:gd name="connsiteY76" fmla="*/ 969629 h 1347457"/>
              <a:gd name="connsiteX77" fmla="*/ 88978 w 2427462"/>
              <a:gd name="connsiteY77" fmla="*/ 1113465 h 1347457"/>
              <a:gd name="connsiteX78" fmla="*/ 467237 w 2427462"/>
              <a:gd name="connsiteY78" fmla="*/ 969399 h 1347457"/>
              <a:gd name="connsiteX79" fmla="*/ 1122800 w 2427462"/>
              <a:gd name="connsiteY79" fmla="*/ 201077 h 1347457"/>
              <a:gd name="connsiteX80" fmla="*/ 790409 w 2427462"/>
              <a:gd name="connsiteY80" fmla="*/ 1140635 h 1347457"/>
              <a:gd name="connsiteX81" fmla="*/ 467237 w 2427462"/>
              <a:gd name="connsiteY81" fmla="*/ 969399 h 1347457"/>
              <a:gd name="connsiteX82" fmla="*/ 863217 w 2427462"/>
              <a:gd name="connsiteY82" fmla="*/ 1114556 h 1347457"/>
              <a:gd name="connsiteX83" fmla="*/ 1171281 w 2427462"/>
              <a:gd name="connsiteY83" fmla="*/ 255418 h 1347457"/>
              <a:gd name="connsiteX84" fmla="*/ 1171281 w 2427462"/>
              <a:gd name="connsiteY84" fmla="*/ 968882 h 1347457"/>
              <a:gd name="connsiteX85" fmla="*/ 863217 w 2427462"/>
              <a:gd name="connsiteY85" fmla="*/ 1114556 h 1347457"/>
              <a:gd name="connsiteX86" fmla="*/ 1243084 w 2427462"/>
              <a:gd name="connsiteY86" fmla="*/ 969514 h 1347457"/>
              <a:gd name="connsiteX87" fmla="*/ 1243084 w 2427462"/>
              <a:gd name="connsiteY87" fmla="*/ 244849 h 1347457"/>
              <a:gd name="connsiteX88" fmla="*/ 1560368 w 2427462"/>
              <a:gd name="connsiteY88" fmla="*/ 1133886 h 1347457"/>
              <a:gd name="connsiteX89" fmla="*/ 1243084 w 2427462"/>
              <a:gd name="connsiteY89" fmla="*/ 969514 h 1347457"/>
              <a:gd name="connsiteX90" fmla="*/ 1632659 w 2427462"/>
              <a:gd name="connsiteY90" fmla="*/ 1145173 h 1347457"/>
              <a:gd name="connsiteX91" fmla="*/ 1300096 w 2427462"/>
              <a:gd name="connsiteY91" fmla="*/ 201077 h 1347457"/>
              <a:gd name="connsiteX92" fmla="*/ 1955744 w 2427462"/>
              <a:gd name="connsiteY92" fmla="*/ 969773 h 1347457"/>
              <a:gd name="connsiteX93" fmla="*/ 1632659 w 2427462"/>
              <a:gd name="connsiteY93" fmla="*/ 1145173 h 1347457"/>
              <a:gd name="connsiteX94" fmla="*/ 2029759 w 2427462"/>
              <a:gd name="connsiteY94" fmla="*/ 969428 h 1347457"/>
              <a:gd name="connsiteX95" fmla="*/ 1498789 w 2427462"/>
              <a:gd name="connsiteY95" fmla="*/ 206247 h 1347457"/>
              <a:gd name="connsiteX96" fmla="*/ 2337909 w 2427462"/>
              <a:gd name="connsiteY96" fmla="*/ 1113465 h 1347457"/>
              <a:gd name="connsiteX97" fmla="*/ 2029759 w 2427462"/>
              <a:gd name="connsiteY97"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223940 w 2427462"/>
              <a:gd name="connsiteY50" fmla="*/ 512186 h 1347457"/>
              <a:gd name="connsiteX51" fmla="*/ 152136 w 2427462"/>
              <a:gd name="connsiteY51" fmla="*/ 722741 h 1347457"/>
              <a:gd name="connsiteX52" fmla="*/ 152912 w 2427462"/>
              <a:gd name="connsiteY52" fmla="*/ 722741 h 1347457"/>
              <a:gd name="connsiteX53" fmla="*/ 0 w 2427462"/>
              <a:gd name="connsiteY53" fmla="*/ 1311527 h 1347457"/>
              <a:gd name="connsiteX54" fmla="*/ 37740 w 2427462"/>
              <a:gd name="connsiteY54" fmla="*/ 1347428 h 1347457"/>
              <a:gd name="connsiteX55" fmla="*/ 73440 w 2427462"/>
              <a:gd name="connsiteY55" fmla="*/ 1315375 h 1347457"/>
              <a:gd name="connsiteX56" fmla="*/ 429210 w 2427462"/>
              <a:gd name="connsiteY56" fmla="*/ 1039565 h 1347457"/>
              <a:gd name="connsiteX57" fmla="*/ 781246 w 2427462"/>
              <a:gd name="connsiteY57" fmla="*/ 1292657 h 1347457"/>
              <a:gd name="connsiteX58" fmla="*/ 816459 w 2427462"/>
              <a:gd name="connsiteY58" fmla="*/ 1321579 h 1347457"/>
              <a:gd name="connsiteX59" fmla="*/ 851671 w 2427462"/>
              <a:gd name="connsiteY59" fmla="*/ 1292657 h 1347457"/>
              <a:gd name="connsiteX60" fmla="*/ 1171281 w 2427462"/>
              <a:gd name="connsiteY60" fmla="*/ 1040800 h 1347457"/>
              <a:gd name="connsiteX61" fmla="*/ 1243084 w 2427462"/>
              <a:gd name="connsiteY61" fmla="*/ 1041576 h 1347457"/>
              <a:gd name="connsiteX62" fmla="*/ 1559449 w 2427462"/>
              <a:gd name="connsiteY62" fmla="*/ 1315404 h 1347457"/>
              <a:gd name="connsiteX63" fmla="*/ 1595149 w 2427462"/>
              <a:gd name="connsiteY63" fmla="*/ 1347457 h 1347457"/>
              <a:gd name="connsiteX64" fmla="*/ 1606207 w 2427462"/>
              <a:gd name="connsiteY64" fmla="*/ 1347457 h 1347457"/>
              <a:gd name="connsiteX65" fmla="*/ 1641907 w 2427462"/>
              <a:gd name="connsiteY65" fmla="*/ 1315404 h 1347457"/>
              <a:gd name="connsiteX66" fmla="*/ 1997706 w 2427462"/>
              <a:gd name="connsiteY66" fmla="*/ 1039594 h 1347457"/>
              <a:gd name="connsiteX67" fmla="*/ 2353447 w 2427462"/>
              <a:gd name="connsiteY67" fmla="*/ 1315404 h 1347457"/>
              <a:gd name="connsiteX68" fmla="*/ 2389148 w 2427462"/>
              <a:gd name="connsiteY68" fmla="*/ 1347457 h 1347457"/>
              <a:gd name="connsiteX69" fmla="*/ 2390986 w 2427462"/>
              <a:gd name="connsiteY69" fmla="*/ 1347457 h 1347457"/>
              <a:gd name="connsiteX70" fmla="*/ 2391560 w 2427462"/>
              <a:gd name="connsiteY70" fmla="*/ 1347457 h 1347457"/>
              <a:gd name="connsiteX71" fmla="*/ 2427462 w 2427462"/>
              <a:gd name="connsiteY71" fmla="*/ 1311556 h 1347457"/>
              <a:gd name="connsiteX72" fmla="*/ 2426859 w 2427462"/>
              <a:gd name="connsiteY72" fmla="*/ 1305036 h 1347457"/>
              <a:gd name="connsiteX73" fmla="*/ 88978 w 2427462"/>
              <a:gd name="connsiteY73" fmla="*/ 1113465 h 1347457"/>
              <a:gd name="connsiteX74" fmla="*/ 920889 w 2427462"/>
              <a:gd name="connsiteY74" fmla="*/ 208057 h 1347457"/>
              <a:gd name="connsiteX75" fmla="*/ 393050 w 2427462"/>
              <a:gd name="connsiteY75" fmla="*/ 969629 h 1347457"/>
              <a:gd name="connsiteX76" fmla="*/ 88978 w 2427462"/>
              <a:gd name="connsiteY76" fmla="*/ 1113465 h 1347457"/>
              <a:gd name="connsiteX77" fmla="*/ 467237 w 2427462"/>
              <a:gd name="connsiteY77" fmla="*/ 969399 h 1347457"/>
              <a:gd name="connsiteX78" fmla="*/ 1122800 w 2427462"/>
              <a:gd name="connsiteY78" fmla="*/ 201077 h 1347457"/>
              <a:gd name="connsiteX79" fmla="*/ 790409 w 2427462"/>
              <a:gd name="connsiteY79" fmla="*/ 1140635 h 1347457"/>
              <a:gd name="connsiteX80" fmla="*/ 467237 w 2427462"/>
              <a:gd name="connsiteY80" fmla="*/ 969399 h 1347457"/>
              <a:gd name="connsiteX81" fmla="*/ 863217 w 2427462"/>
              <a:gd name="connsiteY81" fmla="*/ 1114556 h 1347457"/>
              <a:gd name="connsiteX82" fmla="*/ 1171281 w 2427462"/>
              <a:gd name="connsiteY82" fmla="*/ 255418 h 1347457"/>
              <a:gd name="connsiteX83" fmla="*/ 1171281 w 2427462"/>
              <a:gd name="connsiteY83" fmla="*/ 968882 h 1347457"/>
              <a:gd name="connsiteX84" fmla="*/ 863217 w 2427462"/>
              <a:gd name="connsiteY84" fmla="*/ 1114556 h 1347457"/>
              <a:gd name="connsiteX85" fmla="*/ 1243084 w 2427462"/>
              <a:gd name="connsiteY85" fmla="*/ 969514 h 1347457"/>
              <a:gd name="connsiteX86" fmla="*/ 1243084 w 2427462"/>
              <a:gd name="connsiteY86" fmla="*/ 244849 h 1347457"/>
              <a:gd name="connsiteX87" fmla="*/ 1560368 w 2427462"/>
              <a:gd name="connsiteY87" fmla="*/ 1133886 h 1347457"/>
              <a:gd name="connsiteX88" fmla="*/ 1243084 w 2427462"/>
              <a:gd name="connsiteY88" fmla="*/ 969514 h 1347457"/>
              <a:gd name="connsiteX89" fmla="*/ 1632659 w 2427462"/>
              <a:gd name="connsiteY89" fmla="*/ 1145173 h 1347457"/>
              <a:gd name="connsiteX90" fmla="*/ 1300096 w 2427462"/>
              <a:gd name="connsiteY90" fmla="*/ 201077 h 1347457"/>
              <a:gd name="connsiteX91" fmla="*/ 1955744 w 2427462"/>
              <a:gd name="connsiteY91" fmla="*/ 969773 h 1347457"/>
              <a:gd name="connsiteX92" fmla="*/ 1632659 w 2427462"/>
              <a:gd name="connsiteY92" fmla="*/ 1145173 h 1347457"/>
              <a:gd name="connsiteX93" fmla="*/ 2029759 w 2427462"/>
              <a:gd name="connsiteY93" fmla="*/ 969428 h 1347457"/>
              <a:gd name="connsiteX94" fmla="*/ 1498789 w 2427462"/>
              <a:gd name="connsiteY94" fmla="*/ 206247 h 1347457"/>
              <a:gd name="connsiteX95" fmla="*/ 2337909 w 2427462"/>
              <a:gd name="connsiteY95" fmla="*/ 1113465 h 1347457"/>
              <a:gd name="connsiteX96" fmla="*/ 2029759 w 2427462"/>
              <a:gd name="connsiteY96"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348906 h 1347457"/>
              <a:gd name="connsiteX48" fmla="*/ 305307 w 2427462"/>
              <a:gd name="connsiteY48" fmla="*/ 507906 h 1347457"/>
              <a:gd name="connsiteX49" fmla="*/ 223940 w 2427462"/>
              <a:gd name="connsiteY49" fmla="*/ 610441 h 1347457"/>
              <a:gd name="connsiteX50" fmla="*/ 152136 w 2427462"/>
              <a:gd name="connsiteY50" fmla="*/ 722741 h 1347457"/>
              <a:gd name="connsiteX51" fmla="*/ 152912 w 2427462"/>
              <a:gd name="connsiteY51" fmla="*/ 722741 h 1347457"/>
              <a:gd name="connsiteX52" fmla="*/ 0 w 2427462"/>
              <a:gd name="connsiteY52" fmla="*/ 1311527 h 1347457"/>
              <a:gd name="connsiteX53" fmla="*/ 37740 w 2427462"/>
              <a:gd name="connsiteY53" fmla="*/ 1347428 h 1347457"/>
              <a:gd name="connsiteX54" fmla="*/ 73440 w 2427462"/>
              <a:gd name="connsiteY54" fmla="*/ 1315375 h 1347457"/>
              <a:gd name="connsiteX55" fmla="*/ 429210 w 2427462"/>
              <a:gd name="connsiteY55" fmla="*/ 1039565 h 1347457"/>
              <a:gd name="connsiteX56" fmla="*/ 781246 w 2427462"/>
              <a:gd name="connsiteY56" fmla="*/ 1292657 h 1347457"/>
              <a:gd name="connsiteX57" fmla="*/ 816459 w 2427462"/>
              <a:gd name="connsiteY57" fmla="*/ 1321579 h 1347457"/>
              <a:gd name="connsiteX58" fmla="*/ 851671 w 2427462"/>
              <a:gd name="connsiteY58" fmla="*/ 1292657 h 1347457"/>
              <a:gd name="connsiteX59" fmla="*/ 1171281 w 2427462"/>
              <a:gd name="connsiteY59" fmla="*/ 1040800 h 1347457"/>
              <a:gd name="connsiteX60" fmla="*/ 1243084 w 2427462"/>
              <a:gd name="connsiteY60" fmla="*/ 1041576 h 1347457"/>
              <a:gd name="connsiteX61" fmla="*/ 1559449 w 2427462"/>
              <a:gd name="connsiteY61" fmla="*/ 1315404 h 1347457"/>
              <a:gd name="connsiteX62" fmla="*/ 1595149 w 2427462"/>
              <a:gd name="connsiteY62" fmla="*/ 1347457 h 1347457"/>
              <a:gd name="connsiteX63" fmla="*/ 1606207 w 2427462"/>
              <a:gd name="connsiteY63" fmla="*/ 1347457 h 1347457"/>
              <a:gd name="connsiteX64" fmla="*/ 1641907 w 2427462"/>
              <a:gd name="connsiteY64" fmla="*/ 1315404 h 1347457"/>
              <a:gd name="connsiteX65" fmla="*/ 1997706 w 2427462"/>
              <a:gd name="connsiteY65" fmla="*/ 1039594 h 1347457"/>
              <a:gd name="connsiteX66" fmla="*/ 2353447 w 2427462"/>
              <a:gd name="connsiteY66" fmla="*/ 1315404 h 1347457"/>
              <a:gd name="connsiteX67" fmla="*/ 2389148 w 2427462"/>
              <a:gd name="connsiteY67" fmla="*/ 1347457 h 1347457"/>
              <a:gd name="connsiteX68" fmla="*/ 2390986 w 2427462"/>
              <a:gd name="connsiteY68" fmla="*/ 1347457 h 1347457"/>
              <a:gd name="connsiteX69" fmla="*/ 2391560 w 2427462"/>
              <a:gd name="connsiteY69" fmla="*/ 1347457 h 1347457"/>
              <a:gd name="connsiteX70" fmla="*/ 2427462 w 2427462"/>
              <a:gd name="connsiteY70" fmla="*/ 1311556 h 1347457"/>
              <a:gd name="connsiteX71" fmla="*/ 2426859 w 2427462"/>
              <a:gd name="connsiteY71" fmla="*/ 1305036 h 1347457"/>
              <a:gd name="connsiteX72" fmla="*/ 88978 w 2427462"/>
              <a:gd name="connsiteY72" fmla="*/ 1113465 h 1347457"/>
              <a:gd name="connsiteX73" fmla="*/ 920889 w 2427462"/>
              <a:gd name="connsiteY73" fmla="*/ 208057 h 1347457"/>
              <a:gd name="connsiteX74" fmla="*/ 393050 w 2427462"/>
              <a:gd name="connsiteY74" fmla="*/ 969629 h 1347457"/>
              <a:gd name="connsiteX75" fmla="*/ 88978 w 2427462"/>
              <a:gd name="connsiteY75" fmla="*/ 1113465 h 1347457"/>
              <a:gd name="connsiteX76" fmla="*/ 467237 w 2427462"/>
              <a:gd name="connsiteY76" fmla="*/ 969399 h 1347457"/>
              <a:gd name="connsiteX77" fmla="*/ 1122800 w 2427462"/>
              <a:gd name="connsiteY77" fmla="*/ 201077 h 1347457"/>
              <a:gd name="connsiteX78" fmla="*/ 790409 w 2427462"/>
              <a:gd name="connsiteY78" fmla="*/ 1140635 h 1347457"/>
              <a:gd name="connsiteX79" fmla="*/ 467237 w 2427462"/>
              <a:gd name="connsiteY79" fmla="*/ 969399 h 1347457"/>
              <a:gd name="connsiteX80" fmla="*/ 863217 w 2427462"/>
              <a:gd name="connsiteY80" fmla="*/ 1114556 h 1347457"/>
              <a:gd name="connsiteX81" fmla="*/ 1171281 w 2427462"/>
              <a:gd name="connsiteY81" fmla="*/ 255418 h 1347457"/>
              <a:gd name="connsiteX82" fmla="*/ 1171281 w 2427462"/>
              <a:gd name="connsiteY82" fmla="*/ 968882 h 1347457"/>
              <a:gd name="connsiteX83" fmla="*/ 863217 w 2427462"/>
              <a:gd name="connsiteY83" fmla="*/ 1114556 h 1347457"/>
              <a:gd name="connsiteX84" fmla="*/ 1243084 w 2427462"/>
              <a:gd name="connsiteY84" fmla="*/ 969514 h 1347457"/>
              <a:gd name="connsiteX85" fmla="*/ 1243084 w 2427462"/>
              <a:gd name="connsiteY85" fmla="*/ 244849 h 1347457"/>
              <a:gd name="connsiteX86" fmla="*/ 1560368 w 2427462"/>
              <a:gd name="connsiteY86" fmla="*/ 1133886 h 1347457"/>
              <a:gd name="connsiteX87" fmla="*/ 1243084 w 2427462"/>
              <a:gd name="connsiteY87" fmla="*/ 969514 h 1347457"/>
              <a:gd name="connsiteX88" fmla="*/ 1632659 w 2427462"/>
              <a:gd name="connsiteY88" fmla="*/ 1145173 h 1347457"/>
              <a:gd name="connsiteX89" fmla="*/ 1300096 w 2427462"/>
              <a:gd name="connsiteY89" fmla="*/ 201077 h 1347457"/>
              <a:gd name="connsiteX90" fmla="*/ 1955744 w 2427462"/>
              <a:gd name="connsiteY90" fmla="*/ 969773 h 1347457"/>
              <a:gd name="connsiteX91" fmla="*/ 1632659 w 2427462"/>
              <a:gd name="connsiteY91" fmla="*/ 1145173 h 1347457"/>
              <a:gd name="connsiteX92" fmla="*/ 2029759 w 2427462"/>
              <a:gd name="connsiteY92" fmla="*/ 969428 h 1347457"/>
              <a:gd name="connsiteX93" fmla="*/ 1498789 w 2427462"/>
              <a:gd name="connsiteY93" fmla="*/ 206247 h 1347457"/>
              <a:gd name="connsiteX94" fmla="*/ 2337909 w 2427462"/>
              <a:gd name="connsiteY94" fmla="*/ 1113465 h 1347457"/>
              <a:gd name="connsiteX95" fmla="*/ 2029759 w 2427462"/>
              <a:gd name="connsiteY95"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77110 w 2427462"/>
              <a:gd name="connsiteY46" fmla="*/ 348906 h 1347457"/>
              <a:gd name="connsiteX47" fmla="*/ 305307 w 2427462"/>
              <a:gd name="connsiteY47" fmla="*/ 507906 h 1347457"/>
              <a:gd name="connsiteX48" fmla="*/ 223940 w 2427462"/>
              <a:gd name="connsiteY48" fmla="*/ 610441 h 1347457"/>
              <a:gd name="connsiteX49" fmla="*/ 152136 w 2427462"/>
              <a:gd name="connsiteY49" fmla="*/ 722741 h 1347457"/>
              <a:gd name="connsiteX50" fmla="*/ 152912 w 2427462"/>
              <a:gd name="connsiteY50" fmla="*/ 722741 h 1347457"/>
              <a:gd name="connsiteX51" fmla="*/ 0 w 2427462"/>
              <a:gd name="connsiteY51" fmla="*/ 1311527 h 1347457"/>
              <a:gd name="connsiteX52" fmla="*/ 37740 w 2427462"/>
              <a:gd name="connsiteY52" fmla="*/ 1347428 h 1347457"/>
              <a:gd name="connsiteX53" fmla="*/ 73440 w 2427462"/>
              <a:gd name="connsiteY53" fmla="*/ 1315375 h 1347457"/>
              <a:gd name="connsiteX54" fmla="*/ 429210 w 2427462"/>
              <a:gd name="connsiteY54" fmla="*/ 1039565 h 1347457"/>
              <a:gd name="connsiteX55" fmla="*/ 781246 w 2427462"/>
              <a:gd name="connsiteY55" fmla="*/ 1292657 h 1347457"/>
              <a:gd name="connsiteX56" fmla="*/ 816459 w 2427462"/>
              <a:gd name="connsiteY56" fmla="*/ 1321579 h 1347457"/>
              <a:gd name="connsiteX57" fmla="*/ 851671 w 2427462"/>
              <a:gd name="connsiteY57" fmla="*/ 1292657 h 1347457"/>
              <a:gd name="connsiteX58" fmla="*/ 1171281 w 2427462"/>
              <a:gd name="connsiteY58" fmla="*/ 1040800 h 1347457"/>
              <a:gd name="connsiteX59" fmla="*/ 1243084 w 2427462"/>
              <a:gd name="connsiteY59" fmla="*/ 1041576 h 1347457"/>
              <a:gd name="connsiteX60" fmla="*/ 1559449 w 2427462"/>
              <a:gd name="connsiteY60" fmla="*/ 1315404 h 1347457"/>
              <a:gd name="connsiteX61" fmla="*/ 1595149 w 2427462"/>
              <a:gd name="connsiteY61" fmla="*/ 1347457 h 1347457"/>
              <a:gd name="connsiteX62" fmla="*/ 1606207 w 2427462"/>
              <a:gd name="connsiteY62" fmla="*/ 1347457 h 1347457"/>
              <a:gd name="connsiteX63" fmla="*/ 1641907 w 2427462"/>
              <a:gd name="connsiteY63" fmla="*/ 1315404 h 1347457"/>
              <a:gd name="connsiteX64" fmla="*/ 1997706 w 2427462"/>
              <a:gd name="connsiteY64" fmla="*/ 1039594 h 1347457"/>
              <a:gd name="connsiteX65" fmla="*/ 2353447 w 2427462"/>
              <a:gd name="connsiteY65" fmla="*/ 1315404 h 1347457"/>
              <a:gd name="connsiteX66" fmla="*/ 2389148 w 2427462"/>
              <a:gd name="connsiteY66" fmla="*/ 1347457 h 1347457"/>
              <a:gd name="connsiteX67" fmla="*/ 2390986 w 2427462"/>
              <a:gd name="connsiteY67" fmla="*/ 1347457 h 1347457"/>
              <a:gd name="connsiteX68" fmla="*/ 2391560 w 2427462"/>
              <a:gd name="connsiteY68" fmla="*/ 1347457 h 1347457"/>
              <a:gd name="connsiteX69" fmla="*/ 2427462 w 2427462"/>
              <a:gd name="connsiteY69" fmla="*/ 1311556 h 1347457"/>
              <a:gd name="connsiteX70" fmla="*/ 2426859 w 2427462"/>
              <a:gd name="connsiteY70" fmla="*/ 1305036 h 1347457"/>
              <a:gd name="connsiteX71" fmla="*/ 88978 w 2427462"/>
              <a:gd name="connsiteY71" fmla="*/ 1113465 h 1347457"/>
              <a:gd name="connsiteX72" fmla="*/ 920889 w 2427462"/>
              <a:gd name="connsiteY72" fmla="*/ 208057 h 1347457"/>
              <a:gd name="connsiteX73" fmla="*/ 393050 w 2427462"/>
              <a:gd name="connsiteY73" fmla="*/ 969629 h 1347457"/>
              <a:gd name="connsiteX74" fmla="*/ 88978 w 2427462"/>
              <a:gd name="connsiteY74" fmla="*/ 1113465 h 1347457"/>
              <a:gd name="connsiteX75" fmla="*/ 467237 w 2427462"/>
              <a:gd name="connsiteY75" fmla="*/ 969399 h 1347457"/>
              <a:gd name="connsiteX76" fmla="*/ 1122800 w 2427462"/>
              <a:gd name="connsiteY76" fmla="*/ 201077 h 1347457"/>
              <a:gd name="connsiteX77" fmla="*/ 790409 w 2427462"/>
              <a:gd name="connsiteY77" fmla="*/ 1140635 h 1347457"/>
              <a:gd name="connsiteX78" fmla="*/ 467237 w 2427462"/>
              <a:gd name="connsiteY78" fmla="*/ 969399 h 1347457"/>
              <a:gd name="connsiteX79" fmla="*/ 863217 w 2427462"/>
              <a:gd name="connsiteY79" fmla="*/ 1114556 h 1347457"/>
              <a:gd name="connsiteX80" fmla="*/ 1171281 w 2427462"/>
              <a:gd name="connsiteY80" fmla="*/ 255418 h 1347457"/>
              <a:gd name="connsiteX81" fmla="*/ 1171281 w 2427462"/>
              <a:gd name="connsiteY81" fmla="*/ 968882 h 1347457"/>
              <a:gd name="connsiteX82" fmla="*/ 863217 w 2427462"/>
              <a:gd name="connsiteY82" fmla="*/ 1114556 h 1347457"/>
              <a:gd name="connsiteX83" fmla="*/ 1243084 w 2427462"/>
              <a:gd name="connsiteY83" fmla="*/ 969514 h 1347457"/>
              <a:gd name="connsiteX84" fmla="*/ 1243084 w 2427462"/>
              <a:gd name="connsiteY84" fmla="*/ 244849 h 1347457"/>
              <a:gd name="connsiteX85" fmla="*/ 1560368 w 2427462"/>
              <a:gd name="connsiteY85" fmla="*/ 1133886 h 1347457"/>
              <a:gd name="connsiteX86" fmla="*/ 1243084 w 2427462"/>
              <a:gd name="connsiteY86" fmla="*/ 969514 h 1347457"/>
              <a:gd name="connsiteX87" fmla="*/ 1632659 w 2427462"/>
              <a:gd name="connsiteY87" fmla="*/ 1145173 h 1347457"/>
              <a:gd name="connsiteX88" fmla="*/ 1300096 w 2427462"/>
              <a:gd name="connsiteY88" fmla="*/ 201077 h 1347457"/>
              <a:gd name="connsiteX89" fmla="*/ 1955744 w 2427462"/>
              <a:gd name="connsiteY89" fmla="*/ 969773 h 1347457"/>
              <a:gd name="connsiteX90" fmla="*/ 1632659 w 2427462"/>
              <a:gd name="connsiteY90" fmla="*/ 1145173 h 1347457"/>
              <a:gd name="connsiteX91" fmla="*/ 2029759 w 2427462"/>
              <a:gd name="connsiteY91" fmla="*/ 969428 h 1347457"/>
              <a:gd name="connsiteX92" fmla="*/ 1498789 w 2427462"/>
              <a:gd name="connsiteY92" fmla="*/ 206247 h 1347457"/>
              <a:gd name="connsiteX93" fmla="*/ 2337909 w 2427462"/>
              <a:gd name="connsiteY93" fmla="*/ 1113465 h 1347457"/>
              <a:gd name="connsiteX94" fmla="*/ 2029759 w 2427462"/>
              <a:gd name="connsiteY94"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220206 h 1347457"/>
              <a:gd name="connsiteX44" fmla="*/ 472838 w 2427462"/>
              <a:gd name="connsiteY44" fmla="*/ 351261 h 1347457"/>
              <a:gd name="connsiteX45" fmla="*/ 377110 w 2427462"/>
              <a:gd name="connsiteY45" fmla="*/ 433547 h 1347457"/>
              <a:gd name="connsiteX46" fmla="*/ 305307 w 2427462"/>
              <a:gd name="connsiteY46" fmla="*/ 507906 h 1347457"/>
              <a:gd name="connsiteX47" fmla="*/ 223940 w 2427462"/>
              <a:gd name="connsiteY47" fmla="*/ 610441 h 1347457"/>
              <a:gd name="connsiteX48" fmla="*/ 152136 w 2427462"/>
              <a:gd name="connsiteY48" fmla="*/ 722741 h 1347457"/>
              <a:gd name="connsiteX49" fmla="*/ 152912 w 2427462"/>
              <a:gd name="connsiteY49" fmla="*/ 722741 h 1347457"/>
              <a:gd name="connsiteX50" fmla="*/ 0 w 2427462"/>
              <a:gd name="connsiteY50" fmla="*/ 1311527 h 1347457"/>
              <a:gd name="connsiteX51" fmla="*/ 37740 w 2427462"/>
              <a:gd name="connsiteY51" fmla="*/ 1347428 h 1347457"/>
              <a:gd name="connsiteX52" fmla="*/ 73440 w 2427462"/>
              <a:gd name="connsiteY52" fmla="*/ 1315375 h 1347457"/>
              <a:gd name="connsiteX53" fmla="*/ 429210 w 2427462"/>
              <a:gd name="connsiteY53" fmla="*/ 1039565 h 1347457"/>
              <a:gd name="connsiteX54" fmla="*/ 781246 w 2427462"/>
              <a:gd name="connsiteY54" fmla="*/ 1292657 h 1347457"/>
              <a:gd name="connsiteX55" fmla="*/ 816459 w 2427462"/>
              <a:gd name="connsiteY55" fmla="*/ 1321579 h 1347457"/>
              <a:gd name="connsiteX56" fmla="*/ 851671 w 2427462"/>
              <a:gd name="connsiteY56" fmla="*/ 1292657 h 1347457"/>
              <a:gd name="connsiteX57" fmla="*/ 1171281 w 2427462"/>
              <a:gd name="connsiteY57" fmla="*/ 1040800 h 1347457"/>
              <a:gd name="connsiteX58" fmla="*/ 1243084 w 2427462"/>
              <a:gd name="connsiteY58" fmla="*/ 1041576 h 1347457"/>
              <a:gd name="connsiteX59" fmla="*/ 1559449 w 2427462"/>
              <a:gd name="connsiteY59" fmla="*/ 1315404 h 1347457"/>
              <a:gd name="connsiteX60" fmla="*/ 1595149 w 2427462"/>
              <a:gd name="connsiteY60" fmla="*/ 1347457 h 1347457"/>
              <a:gd name="connsiteX61" fmla="*/ 1606207 w 2427462"/>
              <a:gd name="connsiteY61" fmla="*/ 1347457 h 1347457"/>
              <a:gd name="connsiteX62" fmla="*/ 1641907 w 2427462"/>
              <a:gd name="connsiteY62" fmla="*/ 1315404 h 1347457"/>
              <a:gd name="connsiteX63" fmla="*/ 1997706 w 2427462"/>
              <a:gd name="connsiteY63" fmla="*/ 1039594 h 1347457"/>
              <a:gd name="connsiteX64" fmla="*/ 2353447 w 2427462"/>
              <a:gd name="connsiteY64" fmla="*/ 1315404 h 1347457"/>
              <a:gd name="connsiteX65" fmla="*/ 2389148 w 2427462"/>
              <a:gd name="connsiteY65" fmla="*/ 1347457 h 1347457"/>
              <a:gd name="connsiteX66" fmla="*/ 2390986 w 2427462"/>
              <a:gd name="connsiteY66" fmla="*/ 1347457 h 1347457"/>
              <a:gd name="connsiteX67" fmla="*/ 2391560 w 2427462"/>
              <a:gd name="connsiteY67" fmla="*/ 1347457 h 1347457"/>
              <a:gd name="connsiteX68" fmla="*/ 2427462 w 2427462"/>
              <a:gd name="connsiteY68" fmla="*/ 1311556 h 1347457"/>
              <a:gd name="connsiteX69" fmla="*/ 2426859 w 2427462"/>
              <a:gd name="connsiteY69" fmla="*/ 1305036 h 1347457"/>
              <a:gd name="connsiteX70" fmla="*/ 88978 w 2427462"/>
              <a:gd name="connsiteY70" fmla="*/ 1113465 h 1347457"/>
              <a:gd name="connsiteX71" fmla="*/ 920889 w 2427462"/>
              <a:gd name="connsiteY71" fmla="*/ 208057 h 1347457"/>
              <a:gd name="connsiteX72" fmla="*/ 393050 w 2427462"/>
              <a:gd name="connsiteY72" fmla="*/ 969629 h 1347457"/>
              <a:gd name="connsiteX73" fmla="*/ 88978 w 2427462"/>
              <a:gd name="connsiteY73" fmla="*/ 1113465 h 1347457"/>
              <a:gd name="connsiteX74" fmla="*/ 467237 w 2427462"/>
              <a:gd name="connsiteY74" fmla="*/ 969399 h 1347457"/>
              <a:gd name="connsiteX75" fmla="*/ 1122800 w 2427462"/>
              <a:gd name="connsiteY75" fmla="*/ 201077 h 1347457"/>
              <a:gd name="connsiteX76" fmla="*/ 790409 w 2427462"/>
              <a:gd name="connsiteY76" fmla="*/ 1140635 h 1347457"/>
              <a:gd name="connsiteX77" fmla="*/ 467237 w 2427462"/>
              <a:gd name="connsiteY77" fmla="*/ 969399 h 1347457"/>
              <a:gd name="connsiteX78" fmla="*/ 863217 w 2427462"/>
              <a:gd name="connsiteY78" fmla="*/ 1114556 h 1347457"/>
              <a:gd name="connsiteX79" fmla="*/ 1171281 w 2427462"/>
              <a:gd name="connsiteY79" fmla="*/ 255418 h 1347457"/>
              <a:gd name="connsiteX80" fmla="*/ 1171281 w 2427462"/>
              <a:gd name="connsiteY80" fmla="*/ 968882 h 1347457"/>
              <a:gd name="connsiteX81" fmla="*/ 863217 w 2427462"/>
              <a:gd name="connsiteY81" fmla="*/ 1114556 h 1347457"/>
              <a:gd name="connsiteX82" fmla="*/ 1243084 w 2427462"/>
              <a:gd name="connsiteY82" fmla="*/ 969514 h 1347457"/>
              <a:gd name="connsiteX83" fmla="*/ 1243084 w 2427462"/>
              <a:gd name="connsiteY83" fmla="*/ 244849 h 1347457"/>
              <a:gd name="connsiteX84" fmla="*/ 1560368 w 2427462"/>
              <a:gd name="connsiteY84" fmla="*/ 1133886 h 1347457"/>
              <a:gd name="connsiteX85" fmla="*/ 1243084 w 2427462"/>
              <a:gd name="connsiteY85" fmla="*/ 969514 h 1347457"/>
              <a:gd name="connsiteX86" fmla="*/ 1632659 w 2427462"/>
              <a:gd name="connsiteY86" fmla="*/ 1145173 h 1347457"/>
              <a:gd name="connsiteX87" fmla="*/ 1300096 w 2427462"/>
              <a:gd name="connsiteY87" fmla="*/ 201077 h 1347457"/>
              <a:gd name="connsiteX88" fmla="*/ 1955744 w 2427462"/>
              <a:gd name="connsiteY88" fmla="*/ 969773 h 1347457"/>
              <a:gd name="connsiteX89" fmla="*/ 1632659 w 2427462"/>
              <a:gd name="connsiteY89" fmla="*/ 1145173 h 1347457"/>
              <a:gd name="connsiteX90" fmla="*/ 2029759 w 2427462"/>
              <a:gd name="connsiteY90" fmla="*/ 969428 h 1347457"/>
              <a:gd name="connsiteX91" fmla="*/ 1498789 w 2427462"/>
              <a:gd name="connsiteY91" fmla="*/ 206247 h 1347457"/>
              <a:gd name="connsiteX92" fmla="*/ 2337909 w 2427462"/>
              <a:gd name="connsiteY92" fmla="*/ 1113465 h 1347457"/>
              <a:gd name="connsiteX93" fmla="*/ 2029759 w 2427462"/>
              <a:gd name="connsiteY93"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544641 w 2427462"/>
              <a:gd name="connsiteY42" fmla="*/ 220206 h 1347457"/>
              <a:gd name="connsiteX43" fmla="*/ 472838 w 2427462"/>
              <a:gd name="connsiteY43" fmla="*/ 351261 h 1347457"/>
              <a:gd name="connsiteX44" fmla="*/ 377110 w 2427462"/>
              <a:gd name="connsiteY44" fmla="*/ 433547 h 1347457"/>
              <a:gd name="connsiteX45" fmla="*/ 305307 w 2427462"/>
              <a:gd name="connsiteY45" fmla="*/ 507906 h 1347457"/>
              <a:gd name="connsiteX46" fmla="*/ 223940 w 2427462"/>
              <a:gd name="connsiteY46" fmla="*/ 610441 h 1347457"/>
              <a:gd name="connsiteX47" fmla="*/ 152136 w 2427462"/>
              <a:gd name="connsiteY47" fmla="*/ 722741 h 1347457"/>
              <a:gd name="connsiteX48" fmla="*/ 152912 w 2427462"/>
              <a:gd name="connsiteY48" fmla="*/ 722741 h 1347457"/>
              <a:gd name="connsiteX49" fmla="*/ 0 w 2427462"/>
              <a:gd name="connsiteY49" fmla="*/ 1311527 h 1347457"/>
              <a:gd name="connsiteX50" fmla="*/ 37740 w 2427462"/>
              <a:gd name="connsiteY50" fmla="*/ 1347428 h 1347457"/>
              <a:gd name="connsiteX51" fmla="*/ 73440 w 2427462"/>
              <a:gd name="connsiteY51" fmla="*/ 1315375 h 1347457"/>
              <a:gd name="connsiteX52" fmla="*/ 429210 w 2427462"/>
              <a:gd name="connsiteY52" fmla="*/ 1039565 h 1347457"/>
              <a:gd name="connsiteX53" fmla="*/ 781246 w 2427462"/>
              <a:gd name="connsiteY53" fmla="*/ 1292657 h 1347457"/>
              <a:gd name="connsiteX54" fmla="*/ 816459 w 2427462"/>
              <a:gd name="connsiteY54" fmla="*/ 1321579 h 1347457"/>
              <a:gd name="connsiteX55" fmla="*/ 851671 w 2427462"/>
              <a:gd name="connsiteY55" fmla="*/ 1292657 h 1347457"/>
              <a:gd name="connsiteX56" fmla="*/ 1171281 w 2427462"/>
              <a:gd name="connsiteY56" fmla="*/ 1040800 h 1347457"/>
              <a:gd name="connsiteX57" fmla="*/ 1243084 w 2427462"/>
              <a:gd name="connsiteY57" fmla="*/ 1041576 h 1347457"/>
              <a:gd name="connsiteX58" fmla="*/ 1559449 w 2427462"/>
              <a:gd name="connsiteY58" fmla="*/ 1315404 h 1347457"/>
              <a:gd name="connsiteX59" fmla="*/ 1595149 w 2427462"/>
              <a:gd name="connsiteY59" fmla="*/ 1347457 h 1347457"/>
              <a:gd name="connsiteX60" fmla="*/ 1606207 w 2427462"/>
              <a:gd name="connsiteY60" fmla="*/ 1347457 h 1347457"/>
              <a:gd name="connsiteX61" fmla="*/ 1641907 w 2427462"/>
              <a:gd name="connsiteY61" fmla="*/ 1315404 h 1347457"/>
              <a:gd name="connsiteX62" fmla="*/ 1997706 w 2427462"/>
              <a:gd name="connsiteY62" fmla="*/ 1039594 h 1347457"/>
              <a:gd name="connsiteX63" fmla="*/ 2353447 w 2427462"/>
              <a:gd name="connsiteY63" fmla="*/ 1315404 h 1347457"/>
              <a:gd name="connsiteX64" fmla="*/ 2389148 w 2427462"/>
              <a:gd name="connsiteY64" fmla="*/ 1347457 h 1347457"/>
              <a:gd name="connsiteX65" fmla="*/ 2390986 w 2427462"/>
              <a:gd name="connsiteY65" fmla="*/ 1347457 h 1347457"/>
              <a:gd name="connsiteX66" fmla="*/ 2391560 w 2427462"/>
              <a:gd name="connsiteY66" fmla="*/ 1347457 h 1347457"/>
              <a:gd name="connsiteX67" fmla="*/ 2427462 w 2427462"/>
              <a:gd name="connsiteY67" fmla="*/ 1311556 h 1347457"/>
              <a:gd name="connsiteX68" fmla="*/ 2426859 w 2427462"/>
              <a:gd name="connsiteY68" fmla="*/ 1305036 h 1347457"/>
              <a:gd name="connsiteX69" fmla="*/ 88978 w 2427462"/>
              <a:gd name="connsiteY69" fmla="*/ 1113465 h 1347457"/>
              <a:gd name="connsiteX70" fmla="*/ 920889 w 2427462"/>
              <a:gd name="connsiteY70" fmla="*/ 208057 h 1347457"/>
              <a:gd name="connsiteX71" fmla="*/ 393050 w 2427462"/>
              <a:gd name="connsiteY71" fmla="*/ 969629 h 1347457"/>
              <a:gd name="connsiteX72" fmla="*/ 88978 w 2427462"/>
              <a:gd name="connsiteY72" fmla="*/ 1113465 h 1347457"/>
              <a:gd name="connsiteX73" fmla="*/ 467237 w 2427462"/>
              <a:gd name="connsiteY73" fmla="*/ 969399 h 1347457"/>
              <a:gd name="connsiteX74" fmla="*/ 1122800 w 2427462"/>
              <a:gd name="connsiteY74" fmla="*/ 201077 h 1347457"/>
              <a:gd name="connsiteX75" fmla="*/ 790409 w 2427462"/>
              <a:gd name="connsiteY75" fmla="*/ 1140635 h 1347457"/>
              <a:gd name="connsiteX76" fmla="*/ 467237 w 2427462"/>
              <a:gd name="connsiteY76" fmla="*/ 969399 h 1347457"/>
              <a:gd name="connsiteX77" fmla="*/ 863217 w 2427462"/>
              <a:gd name="connsiteY77" fmla="*/ 1114556 h 1347457"/>
              <a:gd name="connsiteX78" fmla="*/ 1171281 w 2427462"/>
              <a:gd name="connsiteY78" fmla="*/ 255418 h 1347457"/>
              <a:gd name="connsiteX79" fmla="*/ 1171281 w 2427462"/>
              <a:gd name="connsiteY79" fmla="*/ 968882 h 1347457"/>
              <a:gd name="connsiteX80" fmla="*/ 863217 w 2427462"/>
              <a:gd name="connsiteY80" fmla="*/ 1114556 h 1347457"/>
              <a:gd name="connsiteX81" fmla="*/ 1243084 w 2427462"/>
              <a:gd name="connsiteY81" fmla="*/ 969514 h 1347457"/>
              <a:gd name="connsiteX82" fmla="*/ 1243084 w 2427462"/>
              <a:gd name="connsiteY82" fmla="*/ 244849 h 1347457"/>
              <a:gd name="connsiteX83" fmla="*/ 1560368 w 2427462"/>
              <a:gd name="connsiteY83" fmla="*/ 1133886 h 1347457"/>
              <a:gd name="connsiteX84" fmla="*/ 1243084 w 2427462"/>
              <a:gd name="connsiteY84" fmla="*/ 969514 h 1347457"/>
              <a:gd name="connsiteX85" fmla="*/ 1632659 w 2427462"/>
              <a:gd name="connsiteY85" fmla="*/ 1145173 h 1347457"/>
              <a:gd name="connsiteX86" fmla="*/ 1300096 w 2427462"/>
              <a:gd name="connsiteY86" fmla="*/ 201077 h 1347457"/>
              <a:gd name="connsiteX87" fmla="*/ 1955744 w 2427462"/>
              <a:gd name="connsiteY87" fmla="*/ 969773 h 1347457"/>
              <a:gd name="connsiteX88" fmla="*/ 1632659 w 2427462"/>
              <a:gd name="connsiteY88" fmla="*/ 1145173 h 1347457"/>
              <a:gd name="connsiteX89" fmla="*/ 2029759 w 2427462"/>
              <a:gd name="connsiteY89" fmla="*/ 969428 h 1347457"/>
              <a:gd name="connsiteX90" fmla="*/ 1498789 w 2427462"/>
              <a:gd name="connsiteY90" fmla="*/ 206247 h 1347457"/>
              <a:gd name="connsiteX91" fmla="*/ 2337909 w 2427462"/>
              <a:gd name="connsiteY91" fmla="*/ 1113465 h 1347457"/>
              <a:gd name="connsiteX92" fmla="*/ 2029759 w 2427462"/>
              <a:gd name="connsiteY92"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167560 h 1347457"/>
              <a:gd name="connsiteX40" fmla="*/ 615353 w 2427462"/>
              <a:gd name="connsiteY40" fmla="*/ 256337 h 1347457"/>
              <a:gd name="connsiteX41" fmla="*/ 544641 w 2427462"/>
              <a:gd name="connsiteY41" fmla="*/ 299706 h 1347457"/>
              <a:gd name="connsiteX42" fmla="*/ 472838 w 2427462"/>
              <a:gd name="connsiteY42" fmla="*/ 351261 h 1347457"/>
              <a:gd name="connsiteX43" fmla="*/ 377110 w 2427462"/>
              <a:gd name="connsiteY43" fmla="*/ 433547 h 1347457"/>
              <a:gd name="connsiteX44" fmla="*/ 305307 w 2427462"/>
              <a:gd name="connsiteY44" fmla="*/ 507906 h 1347457"/>
              <a:gd name="connsiteX45" fmla="*/ 223940 w 2427462"/>
              <a:gd name="connsiteY45" fmla="*/ 610441 h 1347457"/>
              <a:gd name="connsiteX46" fmla="*/ 152136 w 2427462"/>
              <a:gd name="connsiteY46" fmla="*/ 722741 h 1347457"/>
              <a:gd name="connsiteX47" fmla="*/ 152912 w 2427462"/>
              <a:gd name="connsiteY47" fmla="*/ 722741 h 1347457"/>
              <a:gd name="connsiteX48" fmla="*/ 0 w 2427462"/>
              <a:gd name="connsiteY48" fmla="*/ 1311527 h 1347457"/>
              <a:gd name="connsiteX49" fmla="*/ 37740 w 2427462"/>
              <a:gd name="connsiteY49" fmla="*/ 1347428 h 1347457"/>
              <a:gd name="connsiteX50" fmla="*/ 73440 w 2427462"/>
              <a:gd name="connsiteY50" fmla="*/ 1315375 h 1347457"/>
              <a:gd name="connsiteX51" fmla="*/ 429210 w 2427462"/>
              <a:gd name="connsiteY51" fmla="*/ 1039565 h 1347457"/>
              <a:gd name="connsiteX52" fmla="*/ 781246 w 2427462"/>
              <a:gd name="connsiteY52" fmla="*/ 1292657 h 1347457"/>
              <a:gd name="connsiteX53" fmla="*/ 816459 w 2427462"/>
              <a:gd name="connsiteY53" fmla="*/ 1321579 h 1347457"/>
              <a:gd name="connsiteX54" fmla="*/ 851671 w 2427462"/>
              <a:gd name="connsiteY54" fmla="*/ 1292657 h 1347457"/>
              <a:gd name="connsiteX55" fmla="*/ 1171281 w 2427462"/>
              <a:gd name="connsiteY55" fmla="*/ 1040800 h 1347457"/>
              <a:gd name="connsiteX56" fmla="*/ 1243084 w 2427462"/>
              <a:gd name="connsiteY56" fmla="*/ 1041576 h 1347457"/>
              <a:gd name="connsiteX57" fmla="*/ 1559449 w 2427462"/>
              <a:gd name="connsiteY57" fmla="*/ 1315404 h 1347457"/>
              <a:gd name="connsiteX58" fmla="*/ 1595149 w 2427462"/>
              <a:gd name="connsiteY58" fmla="*/ 1347457 h 1347457"/>
              <a:gd name="connsiteX59" fmla="*/ 1606207 w 2427462"/>
              <a:gd name="connsiteY59" fmla="*/ 1347457 h 1347457"/>
              <a:gd name="connsiteX60" fmla="*/ 1641907 w 2427462"/>
              <a:gd name="connsiteY60" fmla="*/ 1315404 h 1347457"/>
              <a:gd name="connsiteX61" fmla="*/ 1997706 w 2427462"/>
              <a:gd name="connsiteY61" fmla="*/ 1039594 h 1347457"/>
              <a:gd name="connsiteX62" fmla="*/ 2353447 w 2427462"/>
              <a:gd name="connsiteY62" fmla="*/ 1315404 h 1347457"/>
              <a:gd name="connsiteX63" fmla="*/ 2389148 w 2427462"/>
              <a:gd name="connsiteY63" fmla="*/ 1347457 h 1347457"/>
              <a:gd name="connsiteX64" fmla="*/ 2390986 w 2427462"/>
              <a:gd name="connsiteY64" fmla="*/ 1347457 h 1347457"/>
              <a:gd name="connsiteX65" fmla="*/ 2391560 w 2427462"/>
              <a:gd name="connsiteY65" fmla="*/ 1347457 h 1347457"/>
              <a:gd name="connsiteX66" fmla="*/ 2427462 w 2427462"/>
              <a:gd name="connsiteY66" fmla="*/ 1311556 h 1347457"/>
              <a:gd name="connsiteX67" fmla="*/ 2426859 w 2427462"/>
              <a:gd name="connsiteY67" fmla="*/ 1305036 h 1347457"/>
              <a:gd name="connsiteX68" fmla="*/ 88978 w 2427462"/>
              <a:gd name="connsiteY68" fmla="*/ 1113465 h 1347457"/>
              <a:gd name="connsiteX69" fmla="*/ 920889 w 2427462"/>
              <a:gd name="connsiteY69" fmla="*/ 208057 h 1347457"/>
              <a:gd name="connsiteX70" fmla="*/ 393050 w 2427462"/>
              <a:gd name="connsiteY70" fmla="*/ 969629 h 1347457"/>
              <a:gd name="connsiteX71" fmla="*/ 88978 w 2427462"/>
              <a:gd name="connsiteY71" fmla="*/ 1113465 h 1347457"/>
              <a:gd name="connsiteX72" fmla="*/ 467237 w 2427462"/>
              <a:gd name="connsiteY72" fmla="*/ 969399 h 1347457"/>
              <a:gd name="connsiteX73" fmla="*/ 1122800 w 2427462"/>
              <a:gd name="connsiteY73" fmla="*/ 201077 h 1347457"/>
              <a:gd name="connsiteX74" fmla="*/ 790409 w 2427462"/>
              <a:gd name="connsiteY74" fmla="*/ 1140635 h 1347457"/>
              <a:gd name="connsiteX75" fmla="*/ 467237 w 2427462"/>
              <a:gd name="connsiteY75" fmla="*/ 969399 h 1347457"/>
              <a:gd name="connsiteX76" fmla="*/ 863217 w 2427462"/>
              <a:gd name="connsiteY76" fmla="*/ 1114556 h 1347457"/>
              <a:gd name="connsiteX77" fmla="*/ 1171281 w 2427462"/>
              <a:gd name="connsiteY77" fmla="*/ 255418 h 1347457"/>
              <a:gd name="connsiteX78" fmla="*/ 1171281 w 2427462"/>
              <a:gd name="connsiteY78" fmla="*/ 968882 h 1347457"/>
              <a:gd name="connsiteX79" fmla="*/ 863217 w 2427462"/>
              <a:gd name="connsiteY79" fmla="*/ 1114556 h 1347457"/>
              <a:gd name="connsiteX80" fmla="*/ 1243084 w 2427462"/>
              <a:gd name="connsiteY80" fmla="*/ 969514 h 1347457"/>
              <a:gd name="connsiteX81" fmla="*/ 1243084 w 2427462"/>
              <a:gd name="connsiteY81" fmla="*/ 244849 h 1347457"/>
              <a:gd name="connsiteX82" fmla="*/ 1560368 w 2427462"/>
              <a:gd name="connsiteY82" fmla="*/ 1133886 h 1347457"/>
              <a:gd name="connsiteX83" fmla="*/ 1243084 w 2427462"/>
              <a:gd name="connsiteY83" fmla="*/ 969514 h 1347457"/>
              <a:gd name="connsiteX84" fmla="*/ 1632659 w 2427462"/>
              <a:gd name="connsiteY84" fmla="*/ 1145173 h 1347457"/>
              <a:gd name="connsiteX85" fmla="*/ 1300096 w 2427462"/>
              <a:gd name="connsiteY85" fmla="*/ 201077 h 1347457"/>
              <a:gd name="connsiteX86" fmla="*/ 1955744 w 2427462"/>
              <a:gd name="connsiteY86" fmla="*/ 969773 h 1347457"/>
              <a:gd name="connsiteX87" fmla="*/ 1632659 w 2427462"/>
              <a:gd name="connsiteY87" fmla="*/ 1145173 h 1347457"/>
              <a:gd name="connsiteX88" fmla="*/ 2029759 w 2427462"/>
              <a:gd name="connsiteY88" fmla="*/ 969428 h 1347457"/>
              <a:gd name="connsiteX89" fmla="*/ 1498789 w 2427462"/>
              <a:gd name="connsiteY89" fmla="*/ 206247 h 1347457"/>
              <a:gd name="connsiteX90" fmla="*/ 2337909 w 2427462"/>
              <a:gd name="connsiteY90" fmla="*/ 1113465 h 1347457"/>
              <a:gd name="connsiteX91" fmla="*/ 2029759 w 2427462"/>
              <a:gd name="connsiteY91"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87156 w 2427462"/>
              <a:gd name="connsiteY38" fmla="*/ 167560 h 1347457"/>
              <a:gd name="connsiteX39" fmla="*/ 615353 w 2427462"/>
              <a:gd name="connsiteY39" fmla="*/ 256337 h 1347457"/>
              <a:gd name="connsiteX40" fmla="*/ 544641 w 2427462"/>
              <a:gd name="connsiteY40" fmla="*/ 299706 h 1347457"/>
              <a:gd name="connsiteX41" fmla="*/ 472838 w 2427462"/>
              <a:gd name="connsiteY41" fmla="*/ 351261 h 1347457"/>
              <a:gd name="connsiteX42" fmla="*/ 377110 w 2427462"/>
              <a:gd name="connsiteY42" fmla="*/ 433547 h 1347457"/>
              <a:gd name="connsiteX43" fmla="*/ 305307 w 2427462"/>
              <a:gd name="connsiteY43" fmla="*/ 507906 h 1347457"/>
              <a:gd name="connsiteX44" fmla="*/ 223940 w 2427462"/>
              <a:gd name="connsiteY44" fmla="*/ 610441 h 1347457"/>
              <a:gd name="connsiteX45" fmla="*/ 152136 w 2427462"/>
              <a:gd name="connsiteY45" fmla="*/ 722741 h 1347457"/>
              <a:gd name="connsiteX46" fmla="*/ 152912 w 2427462"/>
              <a:gd name="connsiteY46" fmla="*/ 722741 h 1347457"/>
              <a:gd name="connsiteX47" fmla="*/ 0 w 2427462"/>
              <a:gd name="connsiteY47" fmla="*/ 1311527 h 1347457"/>
              <a:gd name="connsiteX48" fmla="*/ 37740 w 2427462"/>
              <a:gd name="connsiteY48" fmla="*/ 1347428 h 1347457"/>
              <a:gd name="connsiteX49" fmla="*/ 73440 w 2427462"/>
              <a:gd name="connsiteY49" fmla="*/ 1315375 h 1347457"/>
              <a:gd name="connsiteX50" fmla="*/ 429210 w 2427462"/>
              <a:gd name="connsiteY50" fmla="*/ 1039565 h 1347457"/>
              <a:gd name="connsiteX51" fmla="*/ 781246 w 2427462"/>
              <a:gd name="connsiteY51" fmla="*/ 1292657 h 1347457"/>
              <a:gd name="connsiteX52" fmla="*/ 816459 w 2427462"/>
              <a:gd name="connsiteY52" fmla="*/ 1321579 h 1347457"/>
              <a:gd name="connsiteX53" fmla="*/ 851671 w 2427462"/>
              <a:gd name="connsiteY53" fmla="*/ 1292657 h 1347457"/>
              <a:gd name="connsiteX54" fmla="*/ 1171281 w 2427462"/>
              <a:gd name="connsiteY54" fmla="*/ 1040800 h 1347457"/>
              <a:gd name="connsiteX55" fmla="*/ 1243084 w 2427462"/>
              <a:gd name="connsiteY55" fmla="*/ 1041576 h 1347457"/>
              <a:gd name="connsiteX56" fmla="*/ 1559449 w 2427462"/>
              <a:gd name="connsiteY56" fmla="*/ 1315404 h 1347457"/>
              <a:gd name="connsiteX57" fmla="*/ 1595149 w 2427462"/>
              <a:gd name="connsiteY57" fmla="*/ 1347457 h 1347457"/>
              <a:gd name="connsiteX58" fmla="*/ 1606207 w 2427462"/>
              <a:gd name="connsiteY58" fmla="*/ 1347457 h 1347457"/>
              <a:gd name="connsiteX59" fmla="*/ 1641907 w 2427462"/>
              <a:gd name="connsiteY59" fmla="*/ 1315404 h 1347457"/>
              <a:gd name="connsiteX60" fmla="*/ 1997706 w 2427462"/>
              <a:gd name="connsiteY60" fmla="*/ 1039594 h 1347457"/>
              <a:gd name="connsiteX61" fmla="*/ 2353447 w 2427462"/>
              <a:gd name="connsiteY61" fmla="*/ 1315404 h 1347457"/>
              <a:gd name="connsiteX62" fmla="*/ 2389148 w 2427462"/>
              <a:gd name="connsiteY62" fmla="*/ 1347457 h 1347457"/>
              <a:gd name="connsiteX63" fmla="*/ 2390986 w 2427462"/>
              <a:gd name="connsiteY63" fmla="*/ 1347457 h 1347457"/>
              <a:gd name="connsiteX64" fmla="*/ 2391560 w 2427462"/>
              <a:gd name="connsiteY64" fmla="*/ 1347457 h 1347457"/>
              <a:gd name="connsiteX65" fmla="*/ 2427462 w 2427462"/>
              <a:gd name="connsiteY65" fmla="*/ 1311556 h 1347457"/>
              <a:gd name="connsiteX66" fmla="*/ 2426859 w 2427462"/>
              <a:gd name="connsiteY66" fmla="*/ 1305036 h 1347457"/>
              <a:gd name="connsiteX67" fmla="*/ 88978 w 2427462"/>
              <a:gd name="connsiteY67" fmla="*/ 1113465 h 1347457"/>
              <a:gd name="connsiteX68" fmla="*/ 920889 w 2427462"/>
              <a:gd name="connsiteY68" fmla="*/ 208057 h 1347457"/>
              <a:gd name="connsiteX69" fmla="*/ 393050 w 2427462"/>
              <a:gd name="connsiteY69" fmla="*/ 969629 h 1347457"/>
              <a:gd name="connsiteX70" fmla="*/ 88978 w 2427462"/>
              <a:gd name="connsiteY70" fmla="*/ 1113465 h 1347457"/>
              <a:gd name="connsiteX71" fmla="*/ 467237 w 2427462"/>
              <a:gd name="connsiteY71" fmla="*/ 969399 h 1347457"/>
              <a:gd name="connsiteX72" fmla="*/ 1122800 w 2427462"/>
              <a:gd name="connsiteY72" fmla="*/ 201077 h 1347457"/>
              <a:gd name="connsiteX73" fmla="*/ 790409 w 2427462"/>
              <a:gd name="connsiteY73" fmla="*/ 1140635 h 1347457"/>
              <a:gd name="connsiteX74" fmla="*/ 467237 w 2427462"/>
              <a:gd name="connsiteY74" fmla="*/ 969399 h 1347457"/>
              <a:gd name="connsiteX75" fmla="*/ 863217 w 2427462"/>
              <a:gd name="connsiteY75" fmla="*/ 1114556 h 1347457"/>
              <a:gd name="connsiteX76" fmla="*/ 1171281 w 2427462"/>
              <a:gd name="connsiteY76" fmla="*/ 255418 h 1347457"/>
              <a:gd name="connsiteX77" fmla="*/ 1171281 w 2427462"/>
              <a:gd name="connsiteY77" fmla="*/ 968882 h 1347457"/>
              <a:gd name="connsiteX78" fmla="*/ 863217 w 2427462"/>
              <a:gd name="connsiteY78" fmla="*/ 1114556 h 1347457"/>
              <a:gd name="connsiteX79" fmla="*/ 1243084 w 2427462"/>
              <a:gd name="connsiteY79" fmla="*/ 969514 h 1347457"/>
              <a:gd name="connsiteX80" fmla="*/ 1243084 w 2427462"/>
              <a:gd name="connsiteY80" fmla="*/ 244849 h 1347457"/>
              <a:gd name="connsiteX81" fmla="*/ 1560368 w 2427462"/>
              <a:gd name="connsiteY81" fmla="*/ 1133886 h 1347457"/>
              <a:gd name="connsiteX82" fmla="*/ 1243084 w 2427462"/>
              <a:gd name="connsiteY82" fmla="*/ 969514 h 1347457"/>
              <a:gd name="connsiteX83" fmla="*/ 1632659 w 2427462"/>
              <a:gd name="connsiteY83" fmla="*/ 1145173 h 1347457"/>
              <a:gd name="connsiteX84" fmla="*/ 1300096 w 2427462"/>
              <a:gd name="connsiteY84" fmla="*/ 201077 h 1347457"/>
              <a:gd name="connsiteX85" fmla="*/ 1955744 w 2427462"/>
              <a:gd name="connsiteY85" fmla="*/ 969773 h 1347457"/>
              <a:gd name="connsiteX86" fmla="*/ 1632659 w 2427462"/>
              <a:gd name="connsiteY86" fmla="*/ 1145173 h 1347457"/>
              <a:gd name="connsiteX87" fmla="*/ 2029759 w 2427462"/>
              <a:gd name="connsiteY87" fmla="*/ 969428 h 1347457"/>
              <a:gd name="connsiteX88" fmla="*/ 1498789 w 2427462"/>
              <a:gd name="connsiteY88" fmla="*/ 206247 h 1347457"/>
              <a:gd name="connsiteX89" fmla="*/ 2337909 w 2427462"/>
              <a:gd name="connsiteY89" fmla="*/ 1113465 h 1347457"/>
              <a:gd name="connsiteX90" fmla="*/ 2029759 w 2427462"/>
              <a:gd name="connsiteY90"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33956 h 1347457"/>
              <a:gd name="connsiteX36" fmla="*/ 745690 w 2427462"/>
              <a:gd name="connsiteY36" fmla="*/ 191944 h 1347457"/>
              <a:gd name="connsiteX37" fmla="*/ 687156 w 2427462"/>
              <a:gd name="connsiteY37" fmla="*/ 218253 h 1347457"/>
              <a:gd name="connsiteX38" fmla="*/ 615353 w 2427462"/>
              <a:gd name="connsiteY38" fmla="*/ 256337 h 1347457"/>
              <a:gd name="connsiteX39" fmla="*/ 544641 w 2427462"/>
              <a:gd name="connsiteY39" fmla="*/ 299706 h 1347457"/>
              <a:gd name="connsiteX40" fmla="*/ 472838 w 2427462"/>
              <a:gd name="connsiteY40" fmla="*/ 351261 h 1347457"/>
              <a:gd name="connsiteX41" fmla="*/ 377110 w 2427462"/>
              <a:gd name="connsiteY41" fmla="*/ 433547 h 1347457"/>
              <a:gd name="connsiteX42" fmla="*/ 305307 w 2427462"/>
              <a:gd name="connsiteY42" fmla="*/ 507906 h 1347457"/>
              <a:gd name="connsiteX43" fmla="*/ 223940 w 2427462"/>
              <a:gd name="connsiteY43" fmla="*/ 610441 h 1347457"/>
              <a:gd name="connsiteX44" fmla="*/ 152136 w 2427462"/>
              <a:gd name="connsiteY44" fmla="*/ 722741 h 1347457"/>
              <a:gd name="connsiteX45" fmla="*/ 152912 w 2427462"/>
              <a:gd name="connsiteY45" fmla="*/ 722741 h 1347457"/>
              <a:gd name="connsiteX46" fmla="*/ 0 w 2427462"/>
              <a:gd name="connsiteY46" fmla="*/ 1311527 h 1347457"/>
              <a:gd name="connsiteX47" fmla="*/ 37740 w 2427462"/>
              <a:gd name="connsiteY47" fmla="*/ 1347428 h 1347457"/>
              <a:gd name="connsiteX48" fmla="*/ 73440 w 2427462"/>
              <a:gd name="connsiteY48" fmla="*/ 1315375 h 1347457"/>
              <a:gd name="connsiteX49" fmla="*/ 429210 w 2427462"/>
              <a:gd name="connsiteY49" fmla="*/ 1039565 h 1347457"/>
              <a:gd name="connsiteX50" fmla="*/ 781246 w 2427462"/>
              <a:gd name="connsiteY50" fmla="*/ 1292657 h 1347457"/>
              <a:gd name="connsiteX51" fmla="*/ 816459 w 2427462"/>
              <a:gd name="connsiteY51" fmla="*/ 1321579 h 1347457"/>
              <a:gd name="connsiteX52" fmla="*/ 851671 w 2427462"/>
              <a:gd name="connsiteY52" fmla="*/ 1292657 h 1347457"/>
              <a:gd name="connsiteX53" fmla="*/ 1171281 w 2427462"/>
              <a:gd name="connsiteY53" fmla="*/ 1040800 h 1347457"/>
              <a:gd name="connsiteX54" fmla="*/ 1243084 w 2427462"/>
              <a:gd name="connsiteY54" fmla="*/ 1041576 h 1347457"/>
              <a:gd name="connsiteX55" fmla="*/ 1559449 w 2427462"/>
              <a:gd name="connsiteY55" fmla="*/ 1315404 h 1347457"/>
              <a:gd name="connsiteX56" fmla="*/ 1595149 w 2427462"/>
              <a:gd name="connsiteY56" fmla="*/ 1347457 h 1347457"/>
              <a:gd name="connsiteX57" fmla="*/ 1606207 w 2427462"/>
              <a:gd name="connsiteY57" fmla="*/ 1347457 h 1347457"/>
              <a:gd name="connsiteX58" fmla="*/ 1641907 w 2427462"/>
              <a:gd name="connsiteY58" fmla="*/ 1315404 h 1347457"/>
              <a:gd name="connsiteX59" fmla="*/ 1997706 w 2427462"/>
              <a:gd name="connsiteY59" fmla="*/ 1039594 h 1347457"/>
              <a:gd name="connsiteX60" fmla="*/ 2353447 w 2427462"/>
              <a:gd name="connsiteY60" fmla="*/ 1315404 h 1347457"/>
              <a:gd name="connsiteX61" fmla="*/ 2389148 w 2427462"/>
              <a:gd name="connsiteY61" fmla="*/ 1347457 h 1347457"/>
              <a:gd name="connsiteX62" fmla="*/ 2390986 w 2427462"/>
              <a:gd name="connsiteY62" fmla="*/ 1347457 h 1347457"/>
              <a:gd name="connsiteX63" fmla="*/ 2391560 w 2427462"/>
              <a:gd name="connsiteY63" fmla="*/ 1347457 h 1347457"/>
              <a:gd name="connsiteX64" fmla="*/ 2427462 w 2427462"/>
              <a:gd name="connsiteY64" fmla="*/ 1311556 h 1347457"/>
              <a:gd name="connsiteX65" fmla="*/ 2426859 w 2427462"/>
              <a:gd name="connsiteY65" fmla="*/ 1305036 h 1347457"/>
              <a:gd name="connsiteX66" fmla="*/ 88978 w 2427462"/>
              <a:gd name="connsiteY66" fmla="*/ 1113465 h 1347457"/>
              <a:gd name="connsiteX67" fmla="*/ 920889 w 2427462"/>
              <a:gd name="connsiteY67" fmla="*/ 208057 h 1347457"/>
              <a:gd name="connsiteX68" fmla="*/ 393050 w 2427462"/>
              <a:gd name="connsiteY68" fmla="*/ 969629 h 1347457"/>
              <a:gd name="connsiteX69" fmla="*/ 88978 w 2427462"/>
              <a:gd name="connsiteY69" fmla="*/ 1113465 h 1347457"/>
              <a:gd name="connsiteX70" fmla="*/ 467237 w 2427462"/>
              <a:gd name="connsiteY70" fmla="*/ 969399 h 1347457"/>
              <a:gd name="connsiteX71" fmla="*/ 1122800 w 2427462"/>
              <a:gd name="connsiteY71" fmla="*/ 201077 h 1347457"/>
              <a:gd name="connsiteX72" fmla="*/ 790409 w 2427462"/>
              <a:gd name="connsiteY72" fmla="*/ 1140635 h 1347457"/>
              <a:gd name="connsiteX73" fmla="*/ 467237 w 2427462"/>
              <a:gd name="connsiteY73" fmla="*/ 969399 h 1347457"/>
              <a:gd name="connsiteX74" fmla="*/ 863217 w 2427462"/>
              <a:gd name="connsiteY74" fmla="*/ 1114556 h 1347457"/>
              <a:gd name="connsiteX75" fmla="*/ 1171281 w 2427462"/>
              <a:gd name="connsiteY75" fmla="*/ 255418 h 1347457"/>
              <a:gd name="connsiteX76" fmla="*/ 1171281 w 2427462"/>
              <a:gd name="connsiteY76" fmla="*/ 968882 h 1347457"/>
              <a:gd name="connsiteX77" fmla="*/ 863217 w 2427462"/>
              <a:gd name="connsiteY77" fmla="*/ 1114556 h 1347457"/>
              <a:gd name="connsiteX78" fmla="*/ 1243084 w 2427462"/>
              <a:gd name="connsiteY78" fmla="*/ 969514 h 1347457"/>
              <a:gd name="connsiteX79" fmla="*/ 1243084 w 2427462"/>
              <a:gd name="connsiteY79" fmla="*/ 244849 h 1347457"/>
              <a:gd name="connsiteX80" fmla="*/ 1560368 w 2427462"/>
              <a:gd name="connsiteY80" fmla="*/ 1133886 h 1347457"/>
              <a:gd name="connsiteX81" fmla="*/ 1243084 w 2427462"/>
              <a:gd name="connsiteY81" fmla="*/ 969514 h 1347457"/>
              <a:gd name="connsiteX82" fmla="*/ 1632659 w 2427462"/>
              <a:gd name="connsiteY82" fmla="*/ 1145173 h 1347457"/>
              <a:gd name="connsiteX83" fmla="*/ 1300096 w 2427462"/>
              <a:gd name="connsiteY83" fmla="*/ 201077 h 1347457"/>
              <a:gd name="connsiteX84" fmla="*/ 1955744 w 2427462"/>
              <a:gd name="connsiteY84" fmla="*/ 969773 h 1347457"/>
              <a:gd name="connsiteX85" fmla="*/ 1632659 w 2427462"/>
              <a:gd name="connsiteY85" fmla="*/ 1145173 h 1347457"/>
              <a:gd name="connsiteX86" fmla="*/ 2029759 w 2427462"/>
              <a:gd name="connsiteY86" fmla="*/ 969428 h 1347457"/>
              <a:gd name="connsiteX87" fmla="*/ 1498789 w 2427462"/>
              <a:gd name="connsiteY87" fmla="*/ 206247 h 1347457"/>
              <a:gd name="connsiteX88" fmla="*/ 2337909 w 2427462"/>
              <a:gd name="connsiteY88" fmla="*/ 1113465 h 1347457"/>
              <a:gd name="connsiteX89" fmla="*/ 2029759 w 2427462"/>
              <a:gd name="connsiteY89"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817493 w 2427462"/>
              <a:gd name="connsiteY34" fmla="*/ 133956 h 1347457"/>
              <a:gd name="connsiteX35" fmla="*/ 745690 w 2427462"/>
              <a:gd name="connsiteY35" fmla="*/ 191944 h 1347457"/>
              <a:gd name="connsiteX36" fmla="*/ 687156 w 2427462"/>
              <a:gd name="connsiteY36" fmla="*/ 218253 h 1347457"/>
              <a:gd name="connsiteX37" fmla="*/ 615353 w 2427462"/>
              <a:gd name="connsiteY37" fmla="*/ 256337 h 1347457"/>
              <a:gd name="connsiteX38" fmla="*/ 544641 w 2427462"/>
              <a:gd name="connsiteY38" fmla="*/ 299706 h 1347457"/>
              <a:gd name="connsiteX39" fmla="*/ 472838 w 2427462"/>
              <a:gd name="connsiteY39" fmla="*/ 351261 h 1347457"/>
              <a:gd name="connsiteX40" fmla="*/ 377110 w 2427462"/>
              <a:gd name="connsiteY40" fmla="*/ 433547 h 1347457"/>
              <a:gd name="connsiteX41" fmla="*/ 305307 w 2427462"/>
              <a:gd name="connsiteY41" fmla="*/ 507906 h 1347457"/>
              <a:gd name="connsiteX42" fmla="*/ 223940 w 2427462"/>
              <a:gd name="connsiteY42" fmla="*/ 610441 h 1347457"/>
              <a:gd name="connsiteX43" fmla="*/ 152136 w 2427462"/>
              <a:gd name="connsiteY43" fmla="*/ 722741 h 1347457"/>
              <a:gd name="connsiteX44" fmla="*/ 152912 w 2427462"/>
              <a:gd name="connsiteY44" fmla="*/ 722741 h 1347457"/>
              <a:gd name="connsiteX45" fmla="*/ 0 w 2427462"/>
              <a:gd name="connsiteY45" fmla="*/ 1311527 h 1347457"/>
              <a:gd name="connsiteX46" fmla="*/ 37740 w 2427462"/>
              <a:gd name="connsiteY46" fmla="*/ 1347428 h 1347457"/>
              <a:gd name="connsiteX47" fmla="*/ 73440 w 2427462"/>
              <a:gd name="connsiteY47" fmla="*/ 1315375 h 1347457"/>
              <a:gd name="connsiteX48" fmla="*/ 429210 w 2427462"/>
              <a:gd name="connsiteY48" fmla="*/ 1039565 h 1347457"/>
              <a:gd name="connsiteX49" fmla="*/ 781246 w 2427462"/>
              <a:gd name="connsiteY49" fmla="*/ 1292657 h 1347457"/>
              <a:gd name="connsiteX50" fmla="*/ 816459 w 2427462"/>
              <a:gd name="connsiteY50" fmla="*/ 1321579 h 1347457"/>
              <a:gd name="connsiteX51" fmla="*/ 851671 w 2427462"/>
              <a:gd name="connsiteY51" fmla="*/ 1292657 h 1347457"/>
              <a:gd name="connsiteX52" fmla="*/ 1171281 w 2427462"/>
              <a:gd name="connsiteY52" fmla="*/ 1040800 h 1347457"/>
              <a:gd name="connsiteX53" fmla="*/ 1243084 w 2427462"/>
              <a:gd name="connsiteY53" fmla="*/ 1041576 h 1347457"/>
              <a:gd name="connsiteX54" fmla="*/ 1559449 w 2427462"/>
              <a:gd name="connsiteY54" fmla="*/ 1315404 h 1347457"/>
              <a:gd name="connsiteX55" fmla="*/ 1595149 w 2427462"/>
              <a:gd name="connsiteY55" fmla="*/ 1347457 h 1347457"/>
              <a:gd name="connsiteX56" fmla="*/ 1606207 w 2427462"/>
              <a:gd name="connsiteY56" fmla="*/ 1347457 h 1347457"/>
              <a:gd name="connsiteX57" fmla="*/ 1641907 w 2427462"/>
              <a:gd name="connsiteY57" fmla="*/ 1315404 h 1347457"/>
              <a:gd name="connsiteX58" fmla="*/ 1997706 w 2427462"/>
              <a:gd name="connsiteY58" fmla="*/ 1039594 h 1347457"/>
              <a:gd name="connsiteX59" fmla="*/ 2353447 w 2427462"/>
              <a:gd name="connsiteY59" fmla="*/ 1315404 h 1347457"/>
              <a:gd name="connsiteX60" fmla="*/ 2389148 w 2427462"/>
              <a:gd name="connsiteY60" fmla="*/ 1347457 h 1347457"/>
              <a:gd name="connsiteX61" fmla="*/ 2390986 w 2427462"/>
              <a:gd name="connsiteY61" fmla="*/ 1347457 h 1347457"/>
              <a:gd name="connsiteX62" fmla="*/ 2391560 w 2427462"/>
              <a:gd name="connsiteY62" fmla="*/ 1347457 h 1347457"/>
              <a:gd name="connsiteX63" fmla="*/ 2427462 w 2427462"/>
              <a:gd name="connsiteY63" fmla="*/ 1311556 h 1347457"/>
              <a:gd name="connsiteX64" fmla="*/ 2426859 w 2427462"/>
              <a:gd name="connsiteY64" fmla="*/ 1305036 h 1347457"/>
              <a:gd name="connsiteX65" fmla="*/ 88978 w 2427462"/>
              <a:gd name="connsiteY65" fmla="*/ 1113465 h 1347457"/>
              <a:gd name="connsiteX66" fmla="*/ 920889 w 2427462"/>
              <a:gd name="connsiteY66" fmla="*/ 208057 h 1347457"/>
              <a:gd name="connsiteX67" fmla="*/ 393050 w 2427462"/>
              <a:gd name="connsiteY67" fmla="*/ 969629 h 1347457"/>
              <a:gd name="connsiteX68" fmla="*/ 88978 w 2427462"/>
              <a:gd name="connsiteY68" fmla="*/ 1113465 h 1347457"/>
              <a:gd name="connsiteX69" fmla="*/ 467237 w 2427462"/>
              <a:gd name="connsiteY69" fmla="*/ 969399 h 1347457"/>
              <a:gd name="connsiteX70" fmla="*/ 1122800 w 2427462"/>
              <a:gd name="connsiteY70" fmla="*/ 201077 h 1347457"/>
              <a:gd name="connsiteX71" fmla="*/ 790409 w 2427462"/>
              <a:gd name="connsiteY71" fmla="*/ 1140635 h 1347457"/>
              <a:gd name="connsiteX72" fmla="*/ 467237 w 2427462"/>
              <a:gd name="connsiteY72" fmla="*/ 969399 h 1347457"/>
              <a:gd name="connsiteX73" fmla="*/ 863217 w 2427462"/>
              <a:gd name="connsiteY73" fmla="*/ 1114556 h 1347457"/>
              <a:gd name="connsiteX74" fmla="*/ 1171281 w 2427462"/>
              <a:gd name="connsiteY74" fmla="*/ 255418 h 1347457"/>
              <a:gd name="connsiteX75" fmla="*/ 1171281 w 2427462"/>
              <a:gd name="connsiteY75" fmla="*/ 968882 h 1347457"/>
              <a:gd name="connsiteX76" fmla="*/ 863217 w 2427462"/>
              <a:gd name="connsiteY76" fmla="*/ 1114556 h 1347457"/>
              <a:gd name="connsiteX77" fmla="*/ 1243084 w 2427462"/>
              <a:gd name="connsiteY77" fmla="*/ 969514 h 1347457"/>
              <a:gd name="connsiteX78" fmla="*/ 1243084 w 2427462"/>
              <a:gd name="connsiteY78" fmla="*/ 244849 h 1347457"/>
              <a:gd name="connsiteX79" fmla="*/ 1560368 w 2427462"/>
              <a:gd name="connsiteY79" fmla="*/ 1133886 h 1347457"/>
              <a:gd name="connsiteX80" fmla="*/ 1243084 w 2427462"/>
              <a:gd name="connsiteY80" fmla="*/ 969514 h 1347457"/>
              <a:gd name="connsiteX81" fmla="*/ 1632659 w 2427462"/>
              <a:gd name="connsiteY81" fmla="*/ 1145173 h 1347457"/>
              <a:gd name="connsiteX82" fmla="*/ 1300096 w 2427462"/>
              <a:gd name="connsiteY82" fmla="*/ 201077 h 1347457"/>
              <a:gd name="connsiteX83" fmla="*/ 1955744 w 2427462"/>
              <a:gd name="connsiteY83" fmla="*/ 969773 h 1347457"/>
              <a:gd name="connsiteX84" fmla="*/ 1632659 w 2427462"/>
              <a:gd name="connsiteY84" fmla="*/ 1145173 h 1347457"/>
              <a:gd name="connsiteX85" fmla="*/ 2029759 w 2427462"/>
              <a:gd name="connsiteY85" fmla="*/ 969428 h 1347457"/>
              <a:gd name="connsiteX86" fmla="*/ 1498789 w 2427462"/>
              <a:gd name="connsiteY86" fmla="*/ 206247 h 1347457"/>
              <a:gd name="connsiteX87" fmla="*/ 2337909 w 2427462"/>
              <a:gd name="connsiteY87" fmla="*/ 1113465 h 1347457"/>
              <a:gd name="connsiteX88" fmla="*/ 2029759 w 2427462"/>
              <a:gd name="connsiteY88"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0 h 1347457"/>
              <a:gd name="connsiteX32" fmla="*/ 887170 w 2427462"/>
              <a:gd name="connsiteY32" fmla="*/ 142974 h 1347457"/>
              <a:gd name="connsiteX33" fmla="*/ 817493 w 2427462"/>
              <a:gd name="connsiteY33" fmla="*/ 164745 h 1347457"/>
              <a:gd name="connsiteX34" fmla="*/ 745690 w 2427462"/>
              <a:gd name="connsiteY34" fmla="*/ 191944 h 1347457"/>
              <a:gd name="connsiteX35" fmla="*/ 687156 w 2427462"/>
              <a:gd name="connsiteY35" fmla="*/ 218253 h 1347457"/>
              <a:gd name="connsiteX36" fmla="*/ 615353 w 2427462"/>
              <a:gd name="connsiteY36" fmla="*/ 256337 h 1347457"/>
              <a:gd name="connsiteX37" fmla="*/ 544641 w 2427462"/>
              <a:gd name="connsiteY37" fmla="*/ 299706 h 1347457"/>
              <a:gd name="connsiteX38" fmla="*/ 472838 w 2427462"/>
              <a:gd name="connsiteY38" fmla="*/ 351261 h 1347457"/>
              <a:gd name="connsiteX39" fmla="*/ 377110 w 2427462"/>
              <a:gd name="connsiteY39" fmla="*/ 433547 h 1347457"/>
              <a:gd name="connsiteX40" fmla="*/ 305307 w 2427462"/>
              <a:gd name="connsiteY40" fmla="*/ 507906 h 1347457"/>
              <a:gd name="connsiteX41" fmla="*/ 223940 w 2427462"/>
              <a:gd name="connsiteY41" fmla="*/ 610441 h 1347457"/>
              <a:gd name="connsiteX42" fmla="*/ 152136 w 2427462"/>
              <a:gd name="connsiteY42" fmla="*/ 722741 h 1347457"/>
              <a:gd name="connsiteX43" fmla="*/ 152912 w 2427462"/>
              <a:gd name="connsiteY43" fmla="*/ 722741 h 1347457"/>
              <a:gd name="connsiteX44" fmla="*/ 0 w 2427462"/>
              <a:gd name="connsiteY44" fmla="*/ 1311527 h 1347457"/>
              <a:gd name="connsiteX45" fmla="*/ 37740 w 2427462"/>
              <a:gd name="connsiteY45" fmla="*/ 1347428 h 1347457"/>
              <a:gd name="connsiteX46" fmla="*/ 73440 w 2427462"/>
              <a:gd name="connsiteY46" fmla="*/ 1315375 h 1347457"/>
              <a:gd name="connsiteX47" fmla="*/ 429210 w 2427462"/>
              <a:gd name="connsiteY47" fmla="*/ 1039565 h 1347457"/>
              <a:gd name="connsiteX48" fmla="*/ 781246 w 2427462"/>
              <a:gd name="connsiteY48" fmla="*/ 1292657 h 1347457"/>
              <a:gd name="connsiteX49" fmla="*/ 816459 w 2427462"/>
              <a:gd name="connsiteY49" fmla="*/ 1321579 h 1347457"/>
              <a:gd name="connsiteX50" fmla="*/ 851671 w 2427462"/>
              <a:gd name="connsiteY50" fmla="*/ 1292657 h 1347457"/>
              <a:gd name="connsiteX51" fmla="*/ 1171281 w 2427462"/>
              <a:gd name="connsiteY51" fmla="*/ 1040800 h 1347457"/>
              <a:gd name="connsiteX52" fmla="*/ 1243084 w 2427462"/>
              <a:gd name="connsiteY52" fmla="*/ 1041576 h 1347457"/>
              <a:gd name="connsiteX53" fmla="*/ 1559449 w 2427462"/>
              <a:gd name="connsiteY53" fmla="*/ 1315404 h 1347457"/>
              <a:gd name="connsiteX54" fmla="*/ 1595149 w 2427462"/>
              <a:gd name="connsiteY54" fmla="*/ 1347457 h 1347457"/>
              <a:gd name="connsiteX55" fmla="*/ 1606207 w 2427462"/>
              <a:gd name="connsiteY55" fmla="*/ 1347457 h 1347457"/>
              <a:gd name="connsiteX56" fmla="*/ 1641907 w 2427462"/>
              <a:gd name="connsiteY56" fmla="*/ 1315404 h 1347457"/>
              <a:gd name="connsiteX57" fmla="*/ 1997706 w 2427462"/>
              <a:gd name="connsiteY57" fmla="*/ 1039594 h 1347457"/>
              <a:gd name="connsiteX58" fmla="*/ 2353447 w 2427462"/>
              <a:gd name="connsiteY58" fmla="*/ 1315404 h 1347457"/>
              <a:gd name="connsiteX59" fmla="*/ 2389148 w 2427462"/>
              <a:gd name="connsiteY59" fmla="*/ 1347457 h 1347457"/>
              <a:gd name="connsiteX60" fmla="*/ 2390986 w 2427462"/>
              <a:gd name="connsiteY60" fmla="*/ 1347457 h 1347457"/>
              <a:gd name="connsiteX61" fmla="*/ 2391560 w 2427462"/>
              <a:gd name="connsiteY61" fmla="*/ 1347457 h 1347457"/>
              <a:gd name="connsiteX62" fmla="*/ 2427462 w 2427462"/>
              <a:gd name="connsiteY62" fmla="*/ 1311556 h 1347457"/>
              <a:gd name="connsiteX63" fmla="*/ 2426859 w 2427462"/>
              <a:gd name="connsiteY63" fmla="*/ 1305036 h 1347457"/>
              <a:gd name="connsiteX64" fmla="*/ 88978 w 2427462"/>
              <a:gd name="connsiteY64" fmla="*/ 1113465 h 1347457"/>
              <a:gd name="connsiteX65" fmla="*/ 920889 w 2427462"/>
              <a:gd name="connsiteY65" fmla="*/ 208057 h 1347457"/>
              <a:gd name="connsiteX66" fmla="*/ 393050 w 2427462"/>
              <a:gd name="connsiteY66" fmla="*/ 969629 h 1347457"/>
              <a:gd name="connsiteX67" fmla="*/ 88978 w 2427462"/>
              <a:gd name="connsiteY67" fmla="*/ 1113465 h 1347457"/>
              <a:gd name="connsiteX68" fmla="*/ 467237 w 2427462"/>
              <a:gd name="connsiteY68" fmla="*/ 969399 h 1347457"/>
              <a:gd name="connsiteX69" fmla="*/ 1122800 w 2427462"/>
              <a:gd name="connsiteY69" fmla="*/ 201077 h 1347457"/>
              <a:gd name="connsiteX70" fmla="*/ 790409 w 2427462"/>
              <a:gd name="connsiteY70" fmla="*/ 1140635 h 1347457"/>
              <a:gd name="connsiteX71" fmla="*/ 467237 w 2427462"/>
              <a:gd name="connsiteY71" fmla="*/ 969399 h 1347457"/>
              <a:gd name="connsiteX72" fmla="*/ 863217 w 2427462"/>
              <a:gd name="connsiteY72" fmla="*/ 1114556 h 1347457"/>
              <a:gd name="connsiteX73" fmla="*/ 1171281 w 2427462"/>
              <a:gd name="connsiteY73" fmla="*/ 255418 h 1347457"/>
              <a:gd name="connsiteX74" fmla="*/ 1171281 w 2427462"/>
              <a:gd name="connsiteY74" fmla="*/ 968882 h 1347457"/>
              <a:gd name="connsiteX75" fmla="*/ 863217 w 2427462"/>
              <a:gd name="connsiteY75" fmla="*/ 1114556 h 1347457"/>
              <a:gd name="connsiteX76" fmla="*/ 1243084 w 2427462"/>
              <a:gd name="connsiteY76" fmla="*/ 969514 h 1347457"/>
              <a:gd name="connsiteX77" fmla="*/ 1243084 w 2427462"/>
              <a:gd name="connsiteY77" fmla="*/ 244849 h 1347457"/>
              <a:gd name="connsiteX78" fmla="*/ 1560368 w 2427462"/>
              <a:gd name="connsiteY78" fmla="*/ 1133886 h 1347457"/>
              <a:gd name="connsiteX79" fmla="*/ 1243084 w 2427462"/>
              <a:gd name="connsiteY79" fmla="*/ 969514 h 1347457"/>
              <a:gd name="connsiteX80" fmla="*/ 1632659 w 2427462"/>
              <a:gd name="connsiteY80" fmla="*/ 1145173 h 1347457"/>
              <a:gd name="connsiteX81" fmla="*/ 1300096 w 2427462"/>
              <a:gd name="connsiteY81" fmla="*/ 201077 h 1347457"/>
              <a:gd name="connsiteX82" fmla="*/ 1955744 w 2427462"/>
              <a:gd name="connsiteY82" fmla="*/ 969773 h 1347457"/>
              <a:gd name="connsiteX83" fmla="*/ 1632659 w 2427462"/>
              <a:gd name="connsiteY83" fmla="*/ 1145173 h 1347457"/>
              <a:gd name="connsiteX84" fmla="*/ 2029759 w 2427462"/>
              <a:gd name="connsiteY84" fmla="*/ 969428 h 1347457"/>
              <a:gd name="connsiteX85" fmla="*/ 1498789 w 2427462"/>
              <a:gd name="connsiteY85" fmla="*/ 206247 h 1347457"/>
              <a:gd name="connsiteX86" fmla="*/ 2337909 w 2427462"/>
              <a:gd name="connsiteY86" fmla="*/ 1113465 h 1347457"/>
              <a:gd name="connsiteX87" fmla="*/ 2029759 w 2427462"/>
              <a:gd name="connsiteY87"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958973 w 2427462"/>
              <a:gd name="connsiteY30" fmla="*/ 0 h 1347457"/>
              <a:gd name="connsiteX31" fmla="*/ 887170 w 2427462"/>
              <a:gd name="connsiteY31" fmla="*/ 142974 h 1347457"/>
              <a:gd name="connsiteX32" fmla="*/ 817493 w 2427462"/>
              <a:gd name="connsiteY32" fmla="*/ 164745 h 1347457"/>
              <a:gd name="connsiteX33" fmla="*/ 745690 w 2427462"/>
              <a:gd name="connsiteY33" fmla="*/ 191944 h 1347457"/>
              <a:gd name="connsiteX34" fmla="*/ 687156 w 2427462"/>
              <a:gd name="connsiteY34" fmla="*/ 218253 h 1347457"/>
              <a:gd name="connsiteX35" fmla="*/ 615353 w 2427462"/>
              <a:gd name="connsiteY35" fmla="*/ 256337 h 1347457"/>
              <a:gd name="connsiteX36" fmla="*/ 544641 w 2427462"/>
              <a:gd name="connsiteY36" fmla="*/ 299706 h 1347457"/>
              <a:gd name="connsiteX37" fmla="*/ 472838 w 2427462"/>
              <a:gd name="connsiteY37" fmla="*/ 351261 h 1347457"/>
              <a:gd name="connsiteX38" fmla="*/ 377110 w 2427462"/>
              <a:gd name="connsiteY38" fmla="*/ 433547 h 1347457"/>
              <a:gd name="connsiteX39" fmla="*/ 305307 w 2427462"/>
              <a:gd name="connsiteY39" fmla="*/ 507906 h 1347457"/>
              <a:gd name="connsiteX40" fmla="*/ 223940 w 2427462"/>
              <a:gd name="connsiteY40" fmla="*/ 610441 h 1347457"/>
              <a:gd name="connsiteX41" fmla="*/ 152136 w 2427462"/>
              <a:gd name="connsiteY41" fmla="*/ 722741 h 1347457"/>
              <a:gd name="connsiteX42" fmla="*/ 152912 w 2427462"/>
              <a:gd name="connsiteY42" fmla="*/ 722741 h 1347457"/>
              <a:gd name="connsiteX43" fmla="*/ 0 w 2427462"/>
              <a:gd name="connsiteY43" fmla="*/ 1311527 h 1347457"/>
              <a:gd name="connsiteX44" fmla="*/ 37740 w 2427462"/>
              <a:gd name="connsiteY44" fmla="*/ 1347428 h 1347457"/>
              <a:gd name="connsiteX45" fmla="*/ 73440 w 2427462"/>
              <a:gd name="connsiteY45" fmla="*/ 1315375 h 1347457"/>
              <a:gd name="connsiteX46" fmla="*/ 429210 w 2427462"/>
              <a:gd name="connsiteY46" fmla="*/ 1039565 h 1347457"/>
              <a:gd name="connsiteX47" fmla="*/ 781246 w 2427462"/>
              <a:gd name="connsiteY47" fmla="*/ 1292657 h 1347457"/>
              <a:gd name="connsiteX48" fmla="*/ 816459 w 2427462"/>
              <a:gd name="connsiteY48" fmla="*/ 1321579 h 1347457"/>
              <a:gd name="connsiteX49" fmla="*/ 851671 w 2427462"/>
              <a:gd name="connsiteY49" fmla="*/ 1292657 h 1347457"/>
              <a:gd name="connsiteX50" fmla="*/ 1171281 w 2427462"/>
              <a:gd name="connsiteY50" fmla="*/ 1040800 h 1347457"/>
              <a:gd name="connsiteX51" fmla="*/ 1243084 w 2427462"/>
              <a:gd name="connsiteY51" fmla="*/ 1041576 h 1347457"/>
              <a:gd name="connsiteX52" fmla="*/ 1559449 w 2427462"/>
              <a:gd name="connsiteY52" fmla="*/ 1315404 h 1347457"/>
              <a:gd name="connsiteX53" fmla="*/ 1595149 w 2427462"/>
              <a:gd name="connsiteY53" fmla="*/ 1347457 h 1347457"/>
              <a:gd name="connsiteX54" fmla="*/ 1606207 w 2427462"/>
              <a:gd name="connsiteY54" fmla="*/ 1347457 h 1347457"/>
              <a:gd name="connsiteX55" fmla="*/ 1641907 w 2427462"/>
              <a:gd name="connsiteY55" fmla="*/ 1315404 h 1347457"/>
              <a:gd name="connsiteX56" fmla="*/ 1997706 w 2427462"/>
              <a:gd name="connsiteY56" fmla="*/ 1039594 h 1347457"/>
              <a:gd name="connsiteX57" fmla="*/ 2353447 w 2427462"/>
              <a:gd name="connsiteY57" fmla="*/ 1315404 h 1347457"/>
              <a:gd name="connsiteX58" fmla="*/ 2389148 w 2427462"/>
              <a:gd name="connsiteY58" fmla="*/ 1347457 h 1347457"/>
              <a:gd name="connsiteX59" fmla="*/ 2390986 w 2427462"/>
              <a:gd name="connsiteY59" fmla="*/ 1347457 h 1347457"/>
              <a:gd name="connsiteX60" fmla="*/ 2391560 w 2427462"/>
              <a:gd name="connsiteY60" fmla="*/ 1347457 h 1347457"/>
              <a:gd name="connsiteX61" fmla="*/ 2427462 w 2427462"/>
              <a:gd name="connsiteY61" fmla="*/ 1311556 h 1347457"/>
              <a:gd name="connsiteX62" fmla="*/ 2426859 w 2427462"/>
              <a:gd name="connsiteY62" fmla="*/ 1305036 h 1347457"/>
              <a:gd name="connsiteX63" fmla="*/ 88978 w 2427462"/>
              <a:gd name="connsiteY63" fmla="*/ 1113465 h 1347457"/>
              <a:gd name="connsiteX64" fmla="*/ 920889 w 2427462"/>
              <a:gd name="connsiteY64" fmla="*/ 208057 h 1347457"/>
              <a:gd name="connsiteX65" fmla="*/ 393050 w 2427462"/>
              <a:gd name="connsiteY65" fmla="*/ 969629 h 1347457"/>
              <a:gd name="connsiteX66" fmla="*/ 88978 w 2427462"/>
              <a:gd name="connsiteY66" fmla="*/ 1113465 h 1347457"/>
              <a:gd name="connsiteX67" fmla="*/ 467237 w 2427462"/>
              <a:gd name="connsiteY67" fmla="*/ 969399 h 1347457"/>
              <a:gd name="connsiteX68" fmla="*/ 1122800 w 2427462"/>
              <a:gd name="connsiteY68" fmla="*/ 201077 h 1347457"/>
              <a:gd name="connsiteX69" fmla="*/ 790409 w 2427462"/>
              <a:gd name="connsiteY69" fmla="*/ 1140635 h 1347457"/>
              <a:gd name="connsiteX70" fmla="*/ 467237 w 2427462"/>
              <a:gd name="connsiteY70" fmla="*/ 969399 h 1347457"/>
              <a:gd name="connsiteX71" fmla="*/ 863217 w 2427462"/>
              <a:gd name="connsiteY71" fmla="*/ 1114556 h 1347457"/>
              <a:gd name="connsiteX72" fmla="*/ 1171281 w 2427462"/>
              <a:gd name="connsiteY72" fmla="*/ 255418 h 1347457"/>
              <a:gd name="connsiteX73" fmla="*/ 1171281 w 2427462"/>
              <a:gd name="connsiteY73" fmla="*/ 968882 h 1347457"/>
              <a:gd name="connsiteX74" fmla="*/ 863217 w 2427462"/>
              <a:gd name="connsiteY74" fmla="*/ 1114556 h 1347457"/>
              <a:gd name="connsiteX75" fmla="*/ 1243084 w 2427462"/>
              <a:gd name="connsiteY75" fmla="*/ 969514 h 1347457"/>
              <a:gd name="connsiteX76" fmla="*/ 1243084 w 2427462"/>
              <a:gd name="connsiteY76" fmla="*/ 244849 h 1347457"/>
              <a:gd name="connsiteX77" fmla="*/ 1560368 w 2427462"/>
              <a:gd name="connsiteY77" fmla="*/ 1133886 h 1347457"/>
              <a:gd name="connsiteX78" fmla="*/ 1243084 w 2427462"/>
              <a:gd name="connsiteY78" fmla="*/ 969514 h 1347457"/>
              <a:gd name="connsiteX79" fmla="*/ 1632659 w 2427462"/>
              <a:gd name="connsiteY79" fmla="*/ 1145173 h 1347457"/>
              <a:gd name="connsiteX80" fmla="*/ 1300096 w 2427462"/>
              <a:gd name="connsiteY80" fmla="*/ 201077 h 1347457"/>
              <a:gd name="connsiteX81" fmla="*/ 1955744 w 2427462"/>
              <a:gd name="connsiteY81" fmla="*/ 969773 h 1347457"/>
              <a:gd name="connsiteX82" fmla="*/ 1632659 w 2427462"/>
              <a:gd name="connsiteY82" fmla="*/ 1145173 h 1347457"/>
              <a:gd name="connsiteX83" fmla="*/ 2029759 w 2427462"/>
              <a:gd name="connsiteY83" fmla="*/ 969428 h 1347457"/>
              <a:gd name="connsiteX84" fmla="*/ 1498789 w 2427462"/>
              <a:gd name="connsiteY84" fmla="*/ 206247 h 1347457"/>
              <a:gd name="connsiteX85" fmla="*/ 2337909 w 2427462"/>
              <a:gd name="connsiteY85" fmla="*/ 1113465 h 1347457"/>
              <a:gd name="connsiteX86" fmla="*/ 2029759 w 2427462"/>
              <a:gd name="connsiteY86"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243084 w 2427462"/>
              <a:gd name="connsiteY26" fmla="*/ 0 h 1347457"/>
              <a:gd name="connsiteX27" fmla="*/ 1171281 w 2427462"/>
              <a:gd name="connsiteY27" fmla="*/ 0 h 1347457"/>
              <a:gd name="connsiteX28" fmla="*/ 1171281 w 2427462"/>
              <a:gd name="connsiteY28" fmla="*/ 99117 h 1347457"/>
              <a:gd name="connsiteX29" fmla="*/ 958973 w 2427462"/>
              <a:gd name="connsiteY29" fmla="*/ 125110 h 1347457"/>
              <a:gd name="connsiteX30" fmla="*/ 887170 w 2427462"/>
              <a:gd name="connsiteY30" fmla="*/ 142974 h 1347457"/>
              <a:gd name="connsiteX31" fmla="*/ 817493 w 2427462"/>
              <a:gd name="connsiteY31" fmla="*/ 164745 h 1347457"/>
              <a:gd name="connsiteX32" fmla="*/ 745690 w 2427462"/>
              <a:gd name="connsiteY32" fmla="*/ 191944 h 1347457"/>
              <a:gd name="connsiteX33" fmla="*/ 687156 w 2427462"/>
              <a:gd name="connsiteY33" fmla="*/ 218253 h 1347457"/>
              <a:gd name="connsiteX34" fmla="*/ 615353 w 2427462"/>
              <a:gd name="connsiteY34" fmla="*/ 256337 h 1347457"/>
              <a:gd name="connsiteX35" fmla="*/ 544641 w 2427462"/>
              <a:gd name="connsiteY35" fmla="*/ 299706 h 1347457"/>
              <a:gd name="connsiteX36" fmla="*/ 472838 w 2427462"/>
              <a:gd name="connsiteY36" fmla="*/ 351261 h 1347457"/>
              <a:gd name="connsiteX37" fmla="*/ 377110 w 2427462"/>
              <a:gd name="connsiteY37" fmla="*/ 433547 h 1347457"/>
              <a:gd name="connsiteX38" fmla="*/ 305307 w 2427462"/>
              <a:gd name="connsiteY38" fmla="*/ 507906 h 1347457"/>
              <a:gd name="connsiteX39" fmla="*/ 223940 w 2427462"/>
              <a:gd name="connsiteY39" fmla="*/ 610441 h 1347457"/>
              <a:gd name="connsiteX40" fmla="*/ 152136 w 2427462"/>
              <a:gd name="connsiteY40" fmla="*/ 722741 h 1347457"/>
              <a:gd name="connsiteX41" fmla="*/ 152912 w 2427462"/>
              <a:gd name="connsiteY41" fmla="*/ 722741 h 1347457"/>
              <a:gd name="connsiteX42" fmla="*/ 0 w 2427462"/>
              <a:gd name="connsiteY42" fmla="*/ 1311527 h 1347457"/>
              <a:gd name="connsiteX43" fmla="*/ 37740 w 2427462"/>
              <a:gd name="connsiteY43" fmla="*/ 1347428 h 1347457"/>
              <a:gd name="connsiteX44" fmla="*/ 73440 w 2427462"/>
              <a:gd name="connsiteY44" fmla="*/ 1315375 h 1347457"/>
              <a:gd name="connsiteX45" fmla="*/ 429210 w 2427462"/>
              <a:gd name="connsiteY45" fmla="*/ 1039565 h 1347457"/>
              <a:gd name="connsiteX46" fmla="*/ 781246 w 2427462"/>
              <a:gd name="connsiteY46" fmla="*/ 1292657 h 1347457"/>
              <a:gd name="connsiteX47" fmla="*/ 816459 w 2427462"/>
              <a:gd name="connsiteY47" fmla="*/ 1321579 h 1347457"/>
              <a:gd name="connsiteX48" fmla="*/ 851671 w 2427462"/>
              <a:gd name="connsiteY48" fmla="*/ 1292657 h 1347457"/>
              <a:gd name="connsiteX49" fmla="*/ 1171281 w 2427462"/>
              <a:gd name="connsiteY49" fmla="*/ 1040800 h 1347457"/>
              <a:gd name="connsiteX50" fmla="*/ 1243084 w 2427462"/>
              <a:gd name="connsiteY50" fmla="*/ 1041576 h 1347457"/>
              <a:gd name="connsiteX51" fmla="*/ 1559449 w 2427462"/>
              <a:gd name="connsiteY51" fmla="*/ 1315404 h 1347457"/>
              <a:gd name="connsiteX52" fmla="*/ 1595149 w 2427462"/>
              <a:gd name="connsiteY52" fmla="*/ 1347457 h 1347457"/>
              <a:gd name="connsiteX53" fmla="*/ 1606207 w 2427462"/>
              <a:gd name="connsiteY53" fmla="*/ 1347457 h 1347457"/>
              <a:gd name="connsiteX54" fmla="*/ 1641907 w 2427462"/>
              <a:gd name="connsiteY54" fmla="*/ 1315404 h 1347457"/>
              <a:gd name="connsiteX55" fmla="*/ 1997706 w 2427462"/>
              <a:gd name="connsiteY55" fmla="*/ 1039594 h 1347457"/>
              <a:gd name="connsiteX56" fmla="*/ 2353447 w 2427462"/>
              <a:gd name="connsiteY56" fmla="*/ 1315404 h 1347457"/>
              <a:gd name="connsiteX57" fmla="*/ 2389148 w 2427462"/>
              <a:gd name="connsiteY57" fmla="*/ 1347457 h 1347457"/>
              <a:gd name="connsiteX58" fmla="*/ 2390986 w 2427462"/>
              <a:gd name="connsiteY58" fmla="*/ 1347457 h 1347457"/>
              <a:gd name="connsiteX59" fmla="*/ 2391560 w 2427462"/>
              <a:gd name="connsiteY59" fmla="*/ 1347457 h 1347457"/>
              <a:gd name="connsiteX60" fmla="*/ 2427462 w 2427462"/>
              <a:gd name="connsiteY60" fmla="*/ 1311556 h 1347457"/>
              <a:gd name="connsiteX61" fmla="*/ 2426859 w 2427462"/>
              <a:gd name="connsiteY61" fmla="*/ 1305036 h 1347457"/>
              <a:gd name="connsiteX62" fmla="*/ 88978 w 2427462"/>
              <a:gd name="connsiteY62" fmla="*/ 1113465 h 1347457"/>
              <a:gd name="connsiteX63" fmla="*/ 920889 w 2427462"/>
              <a:gd name="connsiteY63" fmla="*/ 208057 h 1347457"/>
              <a:gd name="connsiteX64" fmla="*/ 393050 w 2427462"/>
              <a:gd name="connsiteY64" fmla="*/ 969629 h 1347457"/>
              <a:gd name="connsiteX65" fmla="*/ 88978 w 2427462"/>
              <a:gd name="connsiteY65" fmla="*/ 1113465 h 1347457"/>
              <a:gd name="connsiteX66" fmla="*/ 467237 w 2427462"/>
              <a:gd name="connsiteY66" fmla="*/ 969399 h 1347457"/>
              <a:gd name="connsiteX67" fmla="*/ 1122800 w 2427462"/>
              <a:gd name="connsiteY67" fmla="*/ 201077 h 1347457"/>
              <a:gd name="connsiteX68" fmla="*/ 790409 w 2427462"/>
              <a:gd name="connsiteY68" fmla="*/ 1140635 h 1347457"/>
              <a:gd name="connsiteX69" fmla="*/ 467237 w 2427462"/>
              <a:gd name="connsiteY69" fmla="*/ 969399 h 1347457"/>
              <a:gd name="connsiteX70" fmla="*/ 863217 w 2427462"/>
              <a:gd name="connsiteY70" fmla="*/ 1114556 h 1347457"/>
              <a:gd name="connsiteX71" fmla="*/ 1171281 w 2427462"/>
              <a:gd name="connsiteY71" fmla="*/ 255418 h 1347457"/>
              <a:gd name="connsiteX72" fmla="*/ 1171281 w 2427462"/>
              <a:gd name="connsiteY72" fmla="*/ 968882 h 1347457"/>
              <a:gd name="connsiteX73" fmla="*/ 863217 w 2427462"/>
              <a:gd name="connsiteY73" fmla="*/ 1114556 h 1347457"/>
              <a:gd name="connsiteX74" fmla="*/ 1243084 w 2427462"/>
              <a:gd name="connsiteY74" fmla="*/ 969514 h 1347457"/>
              <a:gd name="connsiteX75" fmla="*/ 1243084 w 2427462"/>
              <a:gd name="connsiteY75" fmla="*/ 244849 h 1347457"/>
              <a:gd name="connsiteX76" fmla="*/ 1560368 w 2427462"/>
              <a:gd name="connsiteY76" fmla="*/ 1133886 h 1347457"/>
              <a:gd name="connsiteX77" fmla="*/ 1243084 w 2427462"/>
              <a:gd name="connsiteY77" fmla="*/ 969514 h 1347457"/>
              <a:gd name="connsiteX78" fmla="*/ 1632659 w 2427462"/>
              <a:gd name="connsiteY78" fmla="*/ 1145173 h 1347457"/>
              <a:gd name="connsiteX79" fmla="*/ 1300096 w 2427462"/>
              <a:gd name="connsiteY79" fmla="*/ 201077 h 1347457"/>
              <a:gd name="connsiteX80" fmla="*/ 1955744 w 2427462"/>
              <a:gd name="connsiteY80" fmla="*/ 969773 h 1347457"/>
              <a:gd name="connsiteX81" fmla="*/ 1632659 w 2427462"/>
              <a:gd name="connsiteY81" fmla="*/ 1145173 h 1347457"/>
              <a:gd name="connsiteX82" fmla="*/ 2029759 w 2427462"/>
              <a:gd name="connsiteY82" fmla="*/ 969428 h 1347457"/>
              <a:gd name="connsiteX83" fmla="*/ 1498789 w 2427462"/>
              <a:gd name="connsiteY83" fmla="*/ 206247 h 1347457"/>
              <a:gd name="connsiteX84" fmla="*/ 2337909 w 2427462"/>
              <a:gd name="connsiteY84" fmla="*/ 1113465 h 1347457"/>
              <a:gd name="connsiteX85" fmla="*/ 2029759 w 2427462"/>
              <a:gd name="connsiteY85" fmla="*/ 969428 h 1347457"/>
              <a:gd name="connsiteX0" fmla="*/ 2426859 w 2427462"/>
              <a:gd name="connsiteY0" fmla="*/ 1305036 h 1347457"/>
              <a:gd name="connsiteX1" fmla="*/ 2275440 w 2427462"/>
              <a:gd name="connsiteY1" fmla="*/ 725154 h 1347457"/>
              <a:gd name="connsiteX2" fmla="*/ 2275440 w 2427462"/>
              <a:gd name="connsiteY2" fmla="*/ 516753 h 1347457"/>
              <a:gd name="connsiteX3" fmla="*/ 2203637 w 2427462"/>
              <a:gd name="connsiteY3" fmla="*/ 516753 h 1347457"/>
              <a:gd name="connsiteX4" fmla="*/ 2203637 w 2427462"/>
              <a:gd name="connsiteY4" fmla="*/ 611418 h 1347457"/>
              <a:gd name="connsiteX5" fmla="*/ 2122988 w 2427462"/>
              <a:gd name="connsiteY5" fmla="*/ 509601 h 1347457"/>
              <a:gd name="connsiteX6" fmla="*/ 2122988 w 2427462"/>
              <a:gd name="connsiteY6" fmla="*/ 353444 h 1347457"/>
              <a:gd name="connsiteX7" fmla="*/ 2051185 w 2427462"/>
              <a:gd name="connsiteY7" fmla="*/ 353444 h 1347457"/>
              <a:gd name="connsiteX8" fmla="*/ 2051185 w 2427462"/>
              <a:gd name="connsiteY8" fmla="*/ 434897 h 1347457"/>
              <a:gd name="connsiteX9" fmla="*/ 1956204 w 2427462"/>
              <a:gd name="connsiteY9" fmla="*/ 352984 h 1347457"/>
              <a:gd name="connsiteX10" fmla="*/ 1956204 w 2427462"/>
              <a:gd name="connsiteY10" fmla="*/ 224715 h 1347457"/>
              <a:gd name="connsiteX11" fmla="*/ 1884401 w 2427462"/>
              <a:gd name="connsiteY11" fmla="*/ 224715 h 1347457"/>
              <a:gd name="connsiteX12" fmla="*/ 1884401 w 2427462"/>
              <a:gd name="connsiteY12" fmla="*/ 301027 h 1347457"/>
              <a:gd name="connsiteX13" fmla="*/ 1814350 w 2427462"/>
              <a:gd name="connsiteY13" fmla="*/ 257945 h 1347457"/>
              <a:gd name="connsiteX14" fmla="*/ 1814350 w 2427462"/>
              <a:gd name="connsiteY14" fmla="*/ 172040 h 1347457"/>
              <a:gd name="connsiteX15" fmla="*/ 1742546 w 2427462"/>
              <a:gd name="connsiteY15" fmla="*/ 172040 h 1347457"/>
              <a:gd name="connsiteX16" fmla="*/ 1742546 w 2427462"/>
              <a:gd name="connsiteY16" fmla="*/ 219717 h 1347457"/>
              <a:gd name="connsiteX17" fmla="*/ 1684616 w 2427462"/>
              <a:gd name="connsiteY17" fmla="*/ 193294 h 1347457"/>
              <a:gd name="connsiteX18" fmla="*/ 1684616 w 2427462"/>
              <a:gd name="connsiteY18" fmla="*/ 138465 h 1347457"/>
              <a:gd name="connsiteX19" fmla="*/ 1612813 w 2427462"/>
              <a:gd name="connsiteY19" fmla="*/ 138465 h 1347457"/>
              <a:gd name="connsiteX20" fmla="*/ 1612813 w 2427462"/>
              <a:gd name="connsiteY20" fmla="*/ 165894 h 1347457"/>
              <a:gd name="connsiteX21" fmla="*/ 1543795 w 2427462"/>
              <a:gd name="connsiteY21" fmla="*/ 144152 h 1347457"/>
              <a:gd name="connsiteX22" fmla="*/ 1543795 w 2427462"/>
              <a:gd name="connsiteY22" fmla="*/ 4509 h 1347457"/>
              <a:gd name="connsiteX23" fmla="*/ 1471992 w 2427462"/>
              <a:gd name="connsiteY23" fmla="*/ 4509 h 1347457"/>
              <a:gd name="connsiteX24" fmla="*/ 1471992 w 2427462"/>
              <a:gd name="connsiteY24" fmla="*/ 126058 h 1347457"/>
              <a:gd name="connsiteX25" fmla="*/ 1243084 w 2427462"/>
              <a:gd name="connsiteY25" fmla="*/ 98801 h 1347457"/>
              <a:gd name="connsiteX26" fmla="*/ 1171281 w 2427462"/>
              <a:gd name="connsiteY26" fmla="*/ 0 h 1347457"/>
              <a:gd name="connsiteX27" fmla="*/ 1171281 w 2427462"/>
              <a:gd name="connsiteY27" fmla="*/ 99117 h 1347457"/>
              <a:gd name="connsiteX28" fmla="*/ 958973 w 2427462"/>
              <a:gd name="connsiteY28" fmla="*/ 125110 h 1347457"/>
              <a:gd name="connsiteX29" fmla="*/ 887170 w 2427462"/>
              <a:gd name="connsiteY29" fmla="*/ 142974 h 1347457"/>
              <a:gd name="connsiteX30" fmla="*/ 817493 w 2427462"/>
              <a:gd name="connsiteY30" fmla="*/ 164745 h 1347457"/>
              <a:gd name="connsiteX31" fmla="*/ 745690 w 2427462"/>
              <a:gd name="connsiteY31" fmla="*/ 191944 h 1347457"/>
              <a:gd name="connsiteX32" fmla="*/ 687156 w 2427462"/>
              <a:gd name="connsiteY32" fmla="*/ 218253 h 1347457"/>
              <a:gd name="connsiteX33" fmla="*/ 615353 w 2427462"/>
              <a:gd name="connsiteY33" fmla="*/ 256337 h 1347457"/>
              <a:gd name="connsiteX34" fmla="*/ 544641 w 2427462"/>
              <a:gd name="connsiteY34" fmla="*/ 299706 h 1347457"/>
              <a:gd name="connsiteX35" fmla="*/ 472838 w 2427462"/>
              <a:gd name="connsiteY35" fmla="*/ 351261 h 1347457"/>
              <a:gd name="connsiteX36" fmla="*/ 377110 w 2427462"/>
              <a:gd name="connsiteY36" fmla="*/ 433547 h 1347457"/>
              <a:gd name="connsiteX37" fmla="*/ 305307 w 2427462"/>
              <a:gd name="connsiteY37" fmla="*/ 507906 h 1347457"/>
              <a:gd name="connsiteX38" fmla="*/ 223940 w 2427462"/>
              <a:gd name="connsiteY38" fmla="*/ 610441 h 1347457"/>
              <a:gd name="connsiteX39" fmla="*/ 152136 w 2427462"/>
              <a:gd name="connsiteY39" fmla="*/ 722741 h 1347457"/>
              <a:gd name="connsiteX40" fmla="*/ 152912 w 2427462"/>
              <a:gd name="connsiteY40" fmla="*/ 722741 h 1347457"/>
              <a:gd name="connsiteX41" fmla="*/ 0 w 2427462"/>
              <a:gd name="connsiteY41" fmla="*/ 1311527 h 1347457"/>
              <a:gd name="connsiteX42" fmla="*/ 37740 w 2427462"/>
              <a:gd name="connsiteY42" fmla="*/ 1347428 h 1347457"/>
              <a:gd name="connsiteX43" fmla="*/ 73440 w 2427462"/>
              <a:gd name="connsiteY43" fmla="*/ 1315375 h 1347457"/>
              <a:gd name="connsiteX44" fmla="*/ 429210 w 2427462"/>
              <a:gd name="connsiteY44" fmla="*/ 1039565 h 1347457"/>
              <a:gd name="connsiteX45" fmla="*/ 781246 w 2427462"/>
              <a:gd name="connsiteY45" fmla="*/ 1292657 h 1347457"/>
              <a:gd name="connsiteX46" fmla="*/ 816459 w 2427462"/>
              <a:gd name="connsiteY46" fmla="*/ 1321579 h 1347457"/>
              <a:gd name="connsiteX47" fmla="*/ 851671 w 2427462"/>
              <a:gd name="connsiteY47" fmla="*/ 1292657 h 1347457"/>
              <a:gd name="connsiteX48" fmla="*/ 1171281 w 2427462"/>
              <a:gd name="connsiteY48" fmla="*/ 1040800 h 1347457"/>
              <a:gd name="connsiteX49" fmla="*/ 1243084 w 2427462"/>
              <a:gd name="connsiteY49" fmla="*/ 1041576 h 1347457"/>
              <a:gd name="connsiteX50" fmla="*/ 1559449 w 2427462"/>
              <a:gd name="connsiteY50" fmla="*/ 1315404 h 1347457"/>
              <a:gd name="connsiteX51" fmla="*/ 1595149 w 2427462"/>
              <a:gd name="connsiteY51" fmla="*/ 1347457 h 1347457"/>
              <a:gd name="connsiteX52" fmla="*/ 1606207 w 2427462"/>
              <a:gd name="connsiteY52" fmla="*/ 1347457 h 1347457"/>
              <a:gd name="connsiteX53" fmla="*/ 1641907 w 2427462"/>
              <a:gd name="connsiteY53" fmla="*/ 1315404 h 1347457"/>
              <a:gd name="connsiteX54" fmla="*/ 1997706 w 2427462"/>
              <a:gd name="connsiteY54" fmla="*/ 1039594 h 1347457"/>
              <a:gd name="connsiteX55" fmla="*/ 2353447 w 2427462"/>
              <a:gd name="connsiteY55" fmla="*/ 1315404 h 1347457"/>
              <a:gd name="connsiteX56" fmla="*/ 2389148 w 2427462"/>
              <a:gd name="connsiteY56" fmla="*/ 1347457 h 1347457"/>
              <a:gd name="connsiteX57" fmla="*/ 2390986 w 2427462"/>
              <a:gd name="connsiteY57" fmla="*/ 1347457 h 1347457"/>
              <a:gd name="connsiteX58" fmla="*/ 2391560 w 2427462"/>
              <a:gd name="connsiteY58" fmla="*/ 1347457 h 1347457"/>
              <a:gd name="connsiteX59" fmla="*/ 2427462 w 2427462"/>
              <a:gd name="connsiteY59" fmla="*/ 1311556 h 1347457"/>
              <a:gd name="connsiteX60" fmla="*/ 2426859 w 2427462"/>
              <a:gd name="connsiteY60" fmla="*/ 1305036 h 1347457"/>
              <a:gd name="connsiteX61" fmla="*/ 88978 w 2427462"/>
              <a:gd name="connsiteY61" fmla="*/ 1113465 h 1347457"/>
              <a:gd name="connsiteX62" fmla="*/ 920889 w 2427462"/>
              <a:gd name="connsiteY62" fmla="*/ 208057 h 1347457"/>
              <a:gd name="connsiteX63" fmla="*/ 393050 w 2427462"/>
              <a:gd name="connsiteY63" fmla="*/ 969629 h 1347457"/>
              <a:gd name="connsiteX64" fmla="*/ 88978 w 2427462"/>
              <a:gd name="connsiteY64" fmla="*/ 1113465 h 1347457"/>
              <a:gd name="connsiteX65" fmla="*/ 467237 w 2427462"/>
              <a:gd name="connsiteY65" fmla="*/ 969399 h 1347457"/>
              <a:gd name="connsiteX66" fmla="*/ 1122800 w 2427462"/>
              <a:gd name="connsiteY66" fmla="*/ 201077 h 1347457"/>
              <a:gd name="connsiteX67" fmla="*/ 790409 w 2427462"/>
              <a:gd name="connsiteY67" fmla="*/ 1140635 h 1347457"/>
              <a:gd name="connsiteX68" fmla="*/ 467237 w 2427462"/>
              <a:gd name="connsiteY68" fmla="*/ 969399 h 1347457"/>
              <a:gd name="connsiteX69" fmla="*/ 863217 w 2427462"/>
              <a:gd name="connsiteY69" fmla="*/ 1114556 h 1347457"/>
              <a:gd name="connsiteX70" fmla="*/ 1171281 w 2427462"/>
              <a:gd name="connsiteY70" fmla="*/ 255418 h 1347457"/>
              <a:gd name="connsiteX71" fmla="*/ 1171281 w 2427462"/>
              <a:gd name="connsiteY71" fmla="*/ 968882 h 1347457"/>
              <a:gd name="connsiteX72" fmla="*/ 863217 w 2427462"/>
              <a:gd name="connsiteY72" fmla="*/ 1114556 h 1347457"/>
              <a:gd name="connsiteX73" fmla="*/ 1243084 w 2427462"/>
              <a:gd name="connsiteY73" fmla="*/ 969514 h 1347457"/>
              <a:gd name="connsiteX74" fmla="*/ 1243084 w 2427462"/>
              <a:gd name="connsiteY74" fmla="*/ 244849 h 1347457"/>
              <a:gd name="connsiteX75" fmla="*/ 1560368 w 2427462"/>
              <a:gd name="connsiteY75" fmla="*/ 1133886 h 1347457"/>
              <a:gd name="connsiteX76" fmla="*/ 1243084 w 2427462"/>
              <a:gd name="connsiteY76" fmla="*/ 969514 h 1347457"/>
              <a:gd name="connsiteX77" fmla="*/ 1632659 w 2427462"/>
              <a:gd name="connsiteY77" fmla="*/ 1145173 h 1347457"/>
              <a:gd name="connsiteX78" fmla="*/ 1300096 w 2427462"/>
              <a:gd name="connsiteY78" fmla="*/ 201077 h 1347457"/>
              <a:gd name="connsiteX79" fmla="*/ 1955744 w 2427462"/>
              <a:gd name="connsiteY79" fmla="*/ 969773 h 1347457"/>
              <a:gd name="connsiteX80" fmla="*/ 1632659 w 2427462"/>
              <a:gd name="connsiteY80" fmla="*/ 1145173 h 1347457"/>
              <a:gd name="connsiteX81" fmla="*/ 2029759 w 2427462"/>
              <a:gd name="connsiteY81" fmla="*/ 969428 h 1347457"/>
              <a:gd name="connsiteX82" fmla="*/ 1498789 w 2427462"/>
              <a:gd name="connsiteY82" fmla="*/ 206247 h 1347457"/>
              <a:gd name="connsiteX83" fmla="*/ 2337909 w 2427462"/>
              <a:gd name="connsiteY83" fmla="*/ 1113465 h 1347457"/>
              <a:gd name="connsiteX84" fmla="*/ 2029759 w 2427462"/>
              <a:gd name="connsiteY84" fmla="*/ 969428 h 1347457"/>
              <a:gd name="connsiteX0" fmla="*/ 2426859 w 2427462"/>
              <a:gd name="connsiteY0" fmla="*/ 1300527 h 1342948"/>
              <a:gd name="connsiteX1" fmla="*/ 2275440 w 2427462"/>
              <a:gd name="connsiteY1" fmla="*/ 720645 h 1342948"/>
              <a:gd name="connsiteX2" fmla="*/ 2275440 w 2427462"/>
              <a:gd name="connsiteY2" fmla="*/ 512244 h 1342948"/>
              <a:gd name="connsiteX3" fmla="*/ 2203637 w 2427462"/>
              <a:gd name="connsiteY3" fmla="*/ 512244 h 1342948"/>
              <a:gd name="connsiteX4" fmla="*/ 2203637 w 2427462"/>
              <a:gd name="connsiteY4" fmla="*/ 606909 h 1342948"/>
              <a:gd name="connsiteX5" fmla="*/ 2122988 w 2427462"/>
              <a:gd name="connsiteY5" fmla="*/ 505092 h 1342948"/>
              <a:gd name="connsiteX6" fmla="*/ 2122988 w 2427462"/>
              <a:gd name="connsiteY6" fmla="*/ 348935 h 1342948"/>
              <a:gd name="connsiteX7" fmla="*/ 2051185 w 2427462"/>
              <a:gd name="connsiteY7" fmla="*/ 348935 h 1342948"/>
              <a:gd name="connsiteX8" fmla="*/ 2051185 w 2427462"/>
              <a:gd name="connsiteY8" fmla="*/ 430388 h 1342948"/>
              <a:gd name="connsiteX9" fmla="*/ 1956204 w 2427462"/>
              <a:gd name="connsiteY9" fmla="*/ 348475 h 1342948"/>
              <a:gd name="connsiteX10" fmla="*/ 1956204 w 2427462"/>
              <a:gd name="connsiteY10" fmla="*/ 220206 h 1342948"/>
              <a:gd name="connsiteX11" fmla="*/ 1884401 w 2427462"/>
              <a:gd name="connsiteY11" fmla="*/ 220206 h 1342948"/>
              <a:gd name="connsiteX12" fmla="*/ 1884401 w 2427462"/>
              <a:gd name="connsiteY12" fmla="*/ 296518 h 1342948"/>
              <a:gd name="connsiteX13" fmla="*/ 1814350 w 2427462"/>
              <a:gd name="connsiteY13" fmla="*/ 253436 h 1342948"/>
              <a:gd name="connsiteX14" fmla="*/ 1814350 w 2427462"/>
              <a:gd name="connsiteY14" fmla="*/ 167531 h 1342948"/>
              <a:gd name="connsiteX15" fmla="*/ 1742546 w 2427462"/>
              <a:gd name="connsiteY15" fmla="*/ 167531 h 1342948"/>
              <a:gd name="connsiteX16" fmla="*/ 1742546 w 2427462"/>
              <a:gd name="connsiteY16" fmla="*/ 215208 h 1342948"/>
              <a:gd name="connsiteX17" fmla="*/ 1684616 w 2427462"/>
              <a:gd name="connsiteY17" fmla="*/ 188785 h 1342948"/>
              <a:gd name="connsiteX18" fmla="*/ 1684616 w 2427462"/>
              <a:gd name="connsiteY18" fmla="*/ 133956 h 1342948"/>
              <a:gd name="connsiteX19" fmla="*/ 1612813 w 2427462"/>
              <a:gd name="connsiteY19" fmla="*/ 133956 h 1342948"/>
              <a:gd name="connsiteX20" fmla="*/ 1612813 w 2427462"/>
              <a:gd name="connsiteY20" fmla="*/ 161385 h 1342948"/>
              <a:gd name="connsiteX21" fmla="*/ 1543795 w 2427462"/>
              <a:gd name="connsiteY21" fmla="*/ 139643 h 1342948"/>
              <a:gd name="connsiteX22" fmla="*/ 1543795 w 2427462"/>
              <a:gd name="connsiteY22" fmla="*/ 0 h 1342948"/>
              <a:gd name="connsiteX23" fmla="*/ 1471992 w 2427462"/>
              <a:gd name="connsiteY23" fmla="*/ 0 h 1342948"/>
              <a:gd name="connsiteX24" fmla="*/ 1471992 w 2427462"/>
              <a:gd name="connsiteY24" fmla="*/ 121549 h 1342948"/>
              <a:gd name="connsiteX25" fmla="*/ 1243084 w 2427462"/>
              <a:gd name="connsiteY25" fmla="*/ 94292 h 1342948"/>
              <a:gd name="connsiteX26" fmla="*/ 1171281 w 2427462"/>
              <a:gd name="connsiteY26" fmla="*/ 94608 h 1342948"/>
              <a:gd name="connsiteX27" fmla="*/ 958973 w 2427462"/>
              <a:gd name="connsiteY27" fmla="*/ 120601 h 1342948"/>
              <a:gd name="connsiteX28" fmla="*/ 887170 w 2427462"/>
              <a:gd name="connsiteY28" fmla="*/ 138465 h 1342948"/>
              <a:gd name="connsiteX29" fmla="*/ 817493 w 2427462"/>
              <a:gd name="connsiteY29" fmla="*/ 160236 h 1342948"/>
              <a:gd name="connsiteX30" fmla="*/ 745690 w 2427462"/>
              <a:gd name="connsiteY30" fmla="*/ 187435 h 1342948"/>
              <a:gd name="connsiteX31" fmla="*/ 687156 w 2427462"/>
              <a:gd name="connsiteY31" fmla="*/ 213744 h 1342948"/>
              <a:gd name="connsiteX32" fmla="*/ 615353 w 2427462"/>
              <a:gd name="connsiteY32" fmla="*/ 251828 h 1342948"/>
              <a:gd name="connsiteX33" fmla="*/ 544641 w 2427462"/>
              <a:gd name="connsiteY33" fmla="*/ 295197 h 1342948"/>
              <a:gd name="connsiteX34" fmla="*/ 472838 w 2427462"/>
              <a:gd name="connsiteY34" fmla="*/ 346752 h 1342948"/>
              <a:gd name="connsiteX35" fmla="*/ 377110 w 2427462"/>
              <a:gd name="connsiteY35" fmla="*/ 429038 h 1342948"/>
              <a:gd name="connsiteX36" fmla="*/ 305307 w 2427462"/>
              <a:gd name="connsiteY36" fmla="*/ 503397 h 1342948"/>
              <a:gd name="connsiteX37" fmla="*/ 223940 w 2427462"/>
              <a:gd name="connsiteY37" fmla="*/ 605932 h 1342948"/>
              <a:gd name="connsiteX38" fmla="*/ 152136 w 2427462"/>
              <a:gd name="connsiteY38" fmla="*/ 718232 h 1342948"/>
              <a:gd name="connsiteX39" fmla="*/ 152912 w 2427462"/>
              <a:gd name="connsiteY39" fmla="*/ 718232 h 1342948"/>
              <a:gd name="connsiteX40" fmla="*/ 0 w 2427462"/>
              <a:gd name="connsiteY40" fmla="*/ 1307018 h 1342948"/>
              <a:gd name="connsiteX41" fmla="*/ 37740 w 2427462"/>
              <a:gd name="connsiteY41" fmla="*/ 1342919 h 1342948"/>
              <a:gd name="connsiteX42" fmla="*/ 73440 w 2427462"/>
              <a:gd name="connsiteY42" fmla="*/ 1310866 h 1342948"/>
              <a:gd name="connsiteX43" fmla="*/ 429210 w 2427462"/>
              <a:gd name="connsiteY43" fmla="*/ 1035056 h 1342948"/>
              <a:gd name="connsiteX44" fmla="*/ 781246 w 2427462"/>
              <a:gd name="connsiteY44" fmla="*/ 1288148 h 1342948"/>
              <a:gd name="connsiteX45" fmla="*/ 816459 w 2427462"/>
              <a:gd name="connsiteY45" fmla="*/ 1317070 h 1342948"/>
              <a:gd name="connsiteX46" fmla="*/ 851671 w 2427462"/>
              <a:gd name="connsiteY46" fmla="*/ 1288148 h 1342948"/>
              <a:gd name="connsiteX47" fmla="*/ 1171281 w 2427462"/>
              <a:gd name="connsiteY47" fmla="*/ 1036291 h 1342948"/>
              <a:gd name="connsiteX48" fmla="*/ 1243084 w 2427462"/>
              <a:gd name="connsiteY48" fmla="*/ 1037067 h 1342948"/>
              <a:gd name="connsiteX49" fmla="*/ 1559449 w 2427462"/>
              <a:gd name="connsiteY49" fmla="*/ 1310895 h 1342948"/>
              <a:gd name="connsiteX50" fmla="*/ 1595149 w 2427462"/>
              <a:gd name="connsiteY50" fmla="*/ 1342948 h 1342948"/>
              <a:gd name="connsiteX51" fmla="*/ 1606207 w 2427462"/>
              <a:gd name="connsiteY51" fmla="*/ 1342948 h 1342948"/>
              <a:gd name="connsiteX52" fmla="*/ 1641907 w 2427462"/>
              <a:gd name="connsiteY52" fmla="*/ 1310895 h 1342948"/>
              <a:gd name="connsiteX53" fmla="*/ 1997706 w 2427462"/>
              <a:gd name="connsiteY53" fmla="*/ 1035085 h 1342948"/>
              <a:gd name="connsiteX54" fmla="*/ 2353447 w 2427462"/>
              <a:gd name="connsiteY54" fmla="*/ 1310895 h 1342948"/>
              <a:gd name="connsiteX55" fmla="*/ 2389148 w 2427462"/>
              <a:gd name="connsiteY55" fmla="*/ 1342948 h 1342948"/>
              <a:gd name="connsiteX56" fmla="*/ 2390986 w 2427462"/>
              <a:gd name="connsiteY56" fmla="*/ 1342948 h 1342948"/>
              <a:gd name="connsiteX57" fmla="*/ 2391560 w 2427462"/>
              <a:gd name="connsiteY57" fmla="*/ 1342948 h 1342948"/>
              <a:gd name="connsiteX58" fmla="*/ 2427462 w 2427462"/>
              <a:gd name="connsiteY58" fmla="*/ 1307047 h 1342948"/>
              <a:gd name="connsiteX59" fmla="*/ 2426859 w 2427462"/>
              <a:gd name="connsiteY59" fmla="*/ 1300527 h 1342948"/>
              <a:gd name="connsiteX60" fmla="*/ 88978 w 2427462"/>
              <a:gd name="connsiteY60" fmla="*/ 1108956 h 1342948"/>
              <a:gd name="connsiteX61" fmla="*/ 920889 w 2427462"/>
              <a:gd name="connsiteY61" fmla="*/ 203548 h 1342948"/>
              <a:gd name="connsiteX62" fmla="*/ 393050 w 2427462"/>
              <a:gd name="connsiteY62" fmla="*/ 965120 h 1342948"/>
              <a:gd name="connsiteX63" fmla="*/ 88978 w 2427462"/>
              <a:gd name="connsiteY63" fmla="*/ 1108956 h 1342948"/>
              <a:gd name="connsiteX64" fmla="*/ 467237 w 2427462"/>
              <a:gd name="connsiteY64" fmla="*/ 964890 h 1342948"/>
              <a:gd name="connsiteX65" fmla="*/ 1122800 w 2427462"/>
              <a:gd name="connsiteY65" fmla="*/ 196568 h 1342948"/>
              <a:gd name="connsiteX66" fmla="*/ 790409 w 2427462"/>
              <a:gd name="connsiteY66" fmla="*/ 1136126 h 1342948"/>
              <a:gd name="connsiteX67" fmla="*/ 467237 w 2427462"/>
              <a:gd name="connsiteY67" fmla="*/ 964890 h 1342948"/>
              <a:gd name="connsiteX68" fmla="*/ 863217 w 2427462"/>
              <a:gd name="connsiteY68" fmla="*/ 1110047 h 1342948"/>
              <a:gd name="connsiteX69" fmla="*/ 1171281 w 2427462"/>
              <a:gd name="connsiteY69" fmla="*/ 250909 h 1342948"/>
              <a:gd name="connsiteX70" fmla="*/ 1171281 w 2427462"/>
              <a:gd name="connsiteY70" fmla="*/ 964373 h 1342948"/>
              <a:gd name="connsiteX71" fmla="*/ 863217 w 2427462"/>
              <a:gd name="connsiteY71" fmla="*/ 1110047 h 1342948"/>
              <a:gd name="connsiteX72" fmla="*/ 1243084 w 2427462"/>
              <a:gd name="connsiteY72" fmla="*/ 965005 h 1342948"/>
              <a:gd name="connsiteX73" fmla="*/ 1243084 w 2427462"/>
              <a:gd name="connsiteY73" fmla="*/ 240340 h 1342948"/>
              <a:gd name="connsiteX74" fmla="*/ 1560368 w 2427462"/>
              <a:gd name="connsiteY74" fmla="*/ 1129377 h 1342948"/>
              <a:gd name="connsiteX75" fmla="*/ 1243084 w 2427462"/>
              <a:gd name="connsiteY75" fmla="*/ 965005 h 1342948"/>
              <a:gd name="connsiteX76" fmla="*/ 1632659 w 2427462"/>
              <a:gd name="connsiteY76" fmla="*/ 1140664 h 1342948"/>
              <a:gd name="connsiteX77" fmla="*/ 1300096 w 2427462"/>
              <a:gd name="connsiteY77" fmla="*/ 196568 h 1342948"/>
              <a:gd name="connsiteX78" fmla="*/ 1955744 w 2427462"/>
              <a:gd name="connsiteY78" fmla="*/ 965264 h 1342948"/>
              <a:gd name="connsiteX79" fmla="*/ 1632659 w 2427462"/>
              <a:gd name="connsiteY79" fmla="*/ 1140664 h 1342948"/>
              <a:gd name="connsiteX80" fmla="*/ 2029759 w 2427462"/>
              <a:gd name="connsiteY80" fmla="*/ 964919 h 1342948"/>
              <a:gd name="connsiteX81" fmla="*/ 1498789 w 2427462"/>
              <a:gd name="connsiteY81" fmla="*/ 201738 h 1342948"/>
              <a:gd name="connsiteX82" fmla="*/ 2337909 w 2427462"/>
              <a:gd name="connsiteY82" fmla="*/ 1108956 h 1342948"/>
              <a:gd name="connsiteX83" fmla="*/ 2029759 w 2427462"/>
              <a:gd name="connsiteY83" fmla="*/ 964919 h 1342948"/>
              <a:gd name="connsiteX0" fmla="*/ 2426859 w 2427462"/>
              <a:gd name="connsiteY0" fmla="*/ 1300527 h 1342948"/>
              <a:gd name="connsiteX1" fmla="*/ 2275440 w 2427462"/>
              <a:gd name="connsiteY1" fmla="*/ 720645 h 1342948"/>
              <a:gd name="connsiteX2" fmla="*/ 2275440 w 2427462"/>
              <a:gd name="connsiteY2" fmla="*/ 512244 h 1342948"/>
              <a:gd name="connsiteX3" fmla="*/ 2203637 w 2427462"/>
              <a:gd name="connsiteY3" fmla="*/ 512244 h 1342948"/>
              <a:gd name="connsiteX4" fmla="*/ 2203637 w 2427462"/>
              <a:gd name="connsiteY4" fmla="*/ 606909 h 1342948"/>
              <a:gd name="connsiteX5" fmla="*/ 2122988 w 2427462"/>
              <a:gd name="connsiteY5" fmla="*/ 505092 h 1342948"/>
              <a:gd name="connsiteX6" fmla="*/ 2122988 w 2427462"/>
              <a:gd name="connsiteY6" fmla="*/ 348935 h 1342948"/>
              <a:gd name="connsiteX7" fmla="*/ 2051185 w 2427462"/>
              <a:gd name="connsiteY7" fmla="*/ 348935 h 1342948"/>
              <a:gd name="connsiteX8" fmla="*/ 2051185 w 2427462"/>
              <a:gd name="connsiteY8" fmla="*/ 430388 h 1342948"/>
              <a:gd name="connsiteX9" fmla="*/ 1956204 w 2427462"/>
              <a:gd name="connsiteY9" fmla="*/ 348475 h 1342948"/>
              <a:gd name="connsiteX10" fmla="*/ 1956204 w 2427462"/>
              <a:gd name="connsiteY10" fmla="*/ 220206 h 1342948"/>
              <a:gd name="connsiteX11" fmla="*/ 1884401 w 2427462"/>
              <a:gd name="connsiteY11" fmla="*/ 220206 h 1342948"/>
              <a:gd name="connsiteX12" fmla="*/ 1884401 w 2427462"/>
              <a:gd name="connsiteY12" fmla="*/ 296518 h 1342948"/>
              <a:gd name="connsiteX13" fmla="*/ 1814350 w 2427462"/>
              <a:gd name="connsiteY13" fmla="*/ 253436 h 1342948"/>
              <a:gd name="connsiteX14" fmla="*/ 1814350 w 2427462"/>
              <a:gd name="connsiteY14" fmla="*/ 167531 h 1342948"/>
              <a:gd name="connsiteX15" fmla="*/ 1742546 w 2427462"/>
              <a:gd name="connsiteY15" fmla="*/ 167531 h 1342948"/>
              <a:gd name="connsiteX16" fmla="*/ 1742546 w 2427462"/>
              <a:gd name="connsiteY16" fmla="*/ 215208 h 1342948"/>
              <a:gd name="connsiteX17" fmla="*/ 1684616 w 2427462"/>
              <a:gd name="connsiteY17" fmla="*/ 188785 h 1342948"/>
              <a:gd name="connsiteX18" fmla="*/ 1684616 w 2427462"/>
              <a:gd name="connsiteY18" fmla="*/ 133956 h 1342948"/>
              <a:gd name="connsiteX19" fmla="*/ 1612813 w 2427462"/>
              <a:gd name="connsiteY19" fmla="*/ 133956 h 1342948"/>
              <a:gd name="connsiteX20" fmla="*/ 1612813 w 2427462"/>
              <a:gd name="connsiteY20" fmla="*/ 161385 h 1342948"/>
              <a:gd name="connsiteX21" fmla="*/ 1543795 w 2427462"/>
              <a:gd name="connsiteY21" fmla="*/ 139643 h 1342948"/>
              <a:gd name="connsiteX22" fmla="*/ 1471992 w 2427462"/>
              <a:gd name="connsiteY22" fmla="*/ 0 h 1342948"/>
              <a:gd name="connsiteX23" fmla="*/ 1471992 w 2427462"/>
              <a:gd name="connsiteY23" fmla="*/ 121549 h 1342948"/>
              <a:gd name="connsiteX24" fmla="*/ 1243084 w 2427462"/>
              <a:gd name="connsiteY24" fmla="*/ 94292 h 1342948"/>
              <a:gd name="connsiteX25" fmla="*/ 1171281 w 2427462"/>
              <a:gd name="connsiteY25" fmla="*/ 94608 h 1342948"/>
              <a:gd name="connsiteX26" fmla="*/ 958973 w 2427462"/>
              <a:gd name="connsiteY26" fmla="*/ 120601 h 1342948"/>
              <a:gd name="connsiteX27" fmla="*/ 887170 w 2427462"/>
              <a:gd name="connsiteY27" fmla="*/ 138465 h 1342948"/>
              <a:gd name="connsiteX28" fmla="*/ 817493 w 2427462"/>
              <a:gd name="connsiteY28" fmla="*/ 160236 h 1342948"/>
              <a:gd name="connsiteX29" fmla="*/ 745690 w 2427462"/>
              <a:gd name="connsiteY29" fmla="*/ 187435 h 1342948"/>
              <a:gd name="connsiteX30" fmla="*/ 687156 w 2427462"/>
              <a:gd name="connsiteY30" fmla="*/ 213744 h 1342948"/>
              <a:gd name="connsiteX31" fmla="*/ 615353 w 2427462"/>
              <a:gd name="connsiteY31" fmla="*/ 251828 h 1342948"/>
              <a:gd name="connsiteX32" fmla="*/ 544641 w 2427462"/>
              <a:gd name="connsiteY32" fmla="*/ 295197 h 1342948"/>
              <a:gd name="connsiteX33" fmla="*/ 472838 w 2427462"/>
              <a:gd name="connsiteY33" fmla="*/ 346752 h 1342948"/>
              <a:gd name="connsiteX34" fmla="*/ 377110 w 2427462"/>
              <a:gd name="connsiteY34" fmla="*/ 429038 h 1342948"/>
              <a:gd name="connsiteX35" fmla="*/ 305307 w 2427462"/>
              <a:gd name="connsiteY35" fmla="*/ 503397 h 1342948"/>
              <a:gd name="connsiteX36" fmla="*/ 223940 w 2427462"/>
              <a:gd name="connsiteY36" fmla="*/ 605932 h 1342948"/>
              <a:gd name="connsiteX37" fmla="*/ 152136 w 2427462"/>
              <a:gd name="connsiteY37" fmla="*/ 718232 h 1342948"/>
              <a:gd name="connsiteX38" fmla="*/ 152912 w 2427462"/>
              <a:gd name="connsiteY38" fmla="*/ 718232 h 1342948"/>
              <a:gd name="connsiteX39" fmla="*/ 0 w 2427462"/>
              <a:gd name="connsiteY39" fmla="*/ 1307018 h 1342948"/>
              <a:gd name="connsiteX40" fmla="*/ 37740 w 2427462"/>
              <a:gd name="connsiteY40" fmla="*/ 1342919 h 1342948"/>
              <a:gd name="connsiteX41" fmla="*/ 73440 w 2427462"/>
              <a:gd name="connsiteY41" fmla="*/ 1310866 h 1342948"/>
              <a:gd name="connsiteX42" fmla="*/ 429210 w 2427462"/>
              <a:gd name="connsiteY42" fmla="*/ 1035056 h 1342948"/>
              <a:gd name="connsiteX43" fmla="*/ 781246 w 2427462"/>
              <a:gd name="connsiteY43" fmla="*/ 1288148 h 1342948"/>
              <a:gd name="connsiteX44" fmla="*/ 816459 w 2427462"/>
              <a:gd name="connsiteY44" fmla="*/ 1317070 h 1342948"/>
              <a:gd name="connsiteX45" fmla="*/ 851671 w 2427462"/>
              <a:gd name="connsiteY45" fmla="*/ 1288148 h 1342948"/>
              <a:gd name="connsiteX46" fmla="*/ 1171281 w 2427462"/>
              <a:gd name="connsiteY46" fmla="*/ 1036291 h 1342948"/>
              <a:gd name="connsiteX47" fmla="*/ 1243084 w 2427462"/>
              <a:gd name="connsiteY47" fmla="*/ 1037067 h 1342948"/>
              <a:gd name="connsiteX48" fmla="*/ 1559449 w 2427462"/>
              <a:gd name="connsiteY48" fmla="*/ 1310895 h 1342948"/>
              <a:gd name="connsiteX49" fmla="*/ 1595149 w 2427462"/>
              <a:gd name="connsiteY49" fmla="*/ 1342948 h 1342948"/>
              <a:gd name="connsiteX50" fmla="*/ 1606207 w 2427462"/>
              <a:gd name="connsiteY50" fmla="*/ 1342948 h 1342948"/>
              <a:gd name="connsiteX51" fmla="*/ 1641907 w 2427462"/>
              <a:gd name="connsiteY51" fmla="*/ 1310895 h 1342948"/>
              <a:gd name="connsiteX52" fmla="*/ 1997706 w 2427462"/>
              <a:gd name="connsiteY52" fmla="*/ 1035085 h 1342948"/>
              <a:gd name="connsiteX53" fmla="*/ 2353447 w 2427462"/>
              <a:gd name="connsiteY53" fmla="*/ 1310895 h 1342948"/>
              <a:gd name="connsiteX54" fmla="*/ 2389148 w 2427462"/>
              <a:gd name="connsiteY54" fmla="*/ 1342948 h 1342948"/>
              <a:gd name="connsiteX55" fmla="*/ 2390986 w 2427462"/>
              <a:gd name="connsiteY55" fmla="*/ 1342948 h 1342948"/>
              <a:gd name="connsiteX56" fmla="*/ 2391560 w 2427462"/>
              <a:gd name="connsiteY56" fmla="*/ 1342948 h 1342948"/>
              <a:gd name="connsiteX57" fmla="*/ 2427462 w 2427462"/>
              <a:gd name="connsiteY57" fmla="*/ 1307047 h 1342948"/>
              <a:gd name="connsiteX58" fmla="*/ 2426859 w 2427462"/>
              <a:gd name="connsiteY58" fmla="*/ 1300527 h 1342948"/>
              <a:gd name="connsiteX59" fmla="*/ 88978 w 2427462"/>
              <a:gd name="connsiteY59" fmla="*/ 1108956 h 1342948"/>
              <a:gd name="connsiteX60" fmla="*/ 920889 w 2427462"/>
              <a:gd name="connsiteY60" fmla="*/ 203548 h 1342948"/>
              <a:gd name="connsiteX61" fmla="*/ 393050 w 2427462"/>
              <a:gd name="connsiteY61" fmla="*/ 965120 h 1342948"/>
              <a:gd name="connsiteX62" fmla="*/ 88978 w 2427462"/>
              <a:gd name="connsiteY62" fmla="*/ 1108956 h 1342948"/>
              <a:gd name="connsiteX63" fmla="*/ 467237 w 2427462"/>
              <a:gd name="connsiteY63" fmla="*/ 964890 h 1342948"/>
              <a:gd name="connsiteX64" fmla="*/ 1122800 w 2427462"/>
              <a:gd name="connsiteY64" fmla="*/ 196568 h 1342948"/>
              <a:gd name="connsiteX65" fmla="*/ 790409 w 2427462"/>
              <a:gd name="connsiteY65" fmla="*/ 1136126 h 1342948"/>
              <a:gd name="connsiteX66" fmla="*/ 467237 w 2427462"/>
              <a:gd name="connsiteY66" fmla="*/ 964890 h 1342948"/>
              <a:gd name="connsiteX67" fmla="*/ 863217 w 2427462"/>
              <a:gd name="connsiteY67" fmla="*/ 1110047 h 1342948"/>
              <a:gd name="connsiteX68" fmla="*/ 1171281 w 2427462"/>
              <a:gd name="connsiteY68" fmla="*/ 250909 h 1342948"/>
              <a:gd name="connsiteX69" fmla="*/ 1171281 w 2427462"/>
              <a:gd name="connsiteY69" fmla="*/ 964373 h 1342948"/>
              <a:gd name="connsiteX70" fmla="*/ 863217 w 2427462"/>
              <a:gd name="connsiteY70" fmla="*/ 1110047 h 1342948"/>
              <a:gd name="connsiteX71" fmla="*/ 1243084 w 2427462"/>
              <a:gd name="connsiteY71" fmla="*/ 965005 h 1342948"/>
              <a:gd name="connsiteX72" fmla="*/ 1243084 w 2427462"/>
              <a:gd name="connsiteY72" fmla="*/ 240340 h 1342948"/>
              <a:gd name="connsiteX73" fmla="*/ 1560368 w 2427462"/>
              <a:gd name="connsiteY73" fmla="*/ 1129377 h 1342948"/>
              <a:gd name="connsiteX74" fmla="*/ 1243084 w 2427462"/>
              <a:gd name="connsiteY74" fmla="*/ 965005 h 1342948"/>
              <a:gd name="connsiteX75" fmla="*/ 1632659 w 2427462"/>
              <a:gd name="connsiteY75" fmla="*/ 1140664 h 1342948"/>
              <a:gd name="connsiteX76" fmla="*/ 1300096 w 2427462"/>
              <a:gd name="connsiteY76" fmla="*/ 196568 h 1342948"/>
              <a:gd name="connsiteX77" fmla="*/ 1955744 w 2427462"/>
              <a:gd name="connsiteY77" fmla="*/ 965264 h 1342948"/>
              <a:gd name="connsiteX78" fmla="*/ 1632659 w 2427462"/>
              <a:gd name="connsiteY78" fmla="*/ 1140664 h 1342948"/>
              <a:gd name="connsiteX79" fmla="*/ 2029759 w 2427462"/>
              <a:gd name="connsiteY79" fmla="*/ 964919 h 1342948"/>
              <a:gd name="connsiteX80" fmla="*/ 1498789 w 2427462"/>
              <a:gd name="connsiteY80" fmla="*/ 201738 h 1342948"/>
              <a:gd name="connsiteX81" fmla="*/ 2337909 w 2427462"/>
              <a:gd name="connsiteY81" fmla="*/ 1108956 h 1342948"/>
              <a:gd name="connsiteX82" fmla="*/ 2029759 w 2427462"/>
              <a:gd name="connsiteY82" fmla="*/ 964919 h 1342948"/>
              <a:gd name="connsiteX0" fmla="*/ 2426859 w 2427462"/>
              <a:gd name="connsiteY0" fmla="*/ 1206235 h 1248656"/>
              <a:gd name="connsiteX1" fmla="*/ 2275440 w 2427462"/>
              <a:gd name="connsiteY1" fmla="*/ 626353 h 1248656"/>
              <a:gd name="connsiteX2" fmla="*/ 2275440 w 2427462"/>
              <a:gd name="connsiteY2" fmla="*/ 417952 h 1248656"/>
              <a:gd name="connsiteX3" fmla="*/ 2203637 w 2427462"/>
              <a:gd name="connsiteY3" fmla="*/ 417952 h 1248656"/>
              <a:gd name="connsiteX4" fmla="*/ 2203637 w 2427462"/>
              <a:gd name="connsiteY4" fmla="*/ 512617 h 1248656"/>
              <a:gd name="connsiteX5" fmla="*/ 2122988 w 2427462"/>
              <a:gd name="connsiteY5" fmla="*/ 410800 h 1248656"/>
              <a:gd name="connsiteX6" fmla="*/ 2122988 w 2427462"/>
              <a:gd name="connsiteY6" fmla="*/ 254643 h 1248656"/>
              <a:gd name="connsiteX7" fmla="*/ 2051185 w 2427462"/>
              <a:gd name="connsiteY7" fmla="*/ 254643 h 1248656"/>
              <a:gd name="connsiteX8" fmla="*/ 2051185 w 2427462"/>
              <a:gd name="connsiteY8" fmla="*/ 336096 h 1248656"/>
              <a:gd name="connsiteX9" fmla="*/ 1956204 w 2427462"/>
              <a:gd name="connsiteY9" fmla="*/ 254183 h 1248656"/>
              <a:gd name="connsiteX10" fmla="*/ 1956204 w 2427462"/>
              <a:gd name="connsiteY10" fmla="*/ 125914 h 1248656"/>
              <a:gd name="connsiteX11" fmla="*/ 1884401 w 2427462"/>
              <a:gd name="connsiteY11" fmla="*/ 125914 h 1248656"/>
              <a:gd name="connsiteX12" fmla="*/ 1884401 w 2427462"/>
              <a:gd name="connsiteY12" fmla="*/ 202226 h 1248656"/>
              <a:gd name="connsiteX13" fmla="*/ 1814350 w 2427462"/>
              <a:gd name="connsiteY13" fmla="*/ 159144 h 1248656"/>
              <a:gd name="connsiteX14" fmla="*/ 1814350 w 2427462"/>
              <a:gd name="connsiteY14" fmla="*/ 73239 h 1248656"/>
              <a:gd name="connsiteX15" fmla="*/ 1742546 w 2427462"/>
              <a:gd name="connsiteY15" fmla="*/ 73239 h 1248656"/>
              <a:gd name="connsiteX16" fmla="*/ 1742546 w 2427462"/>
              <a:gd name="connsiteY16" fmla="*/ 120916 h 1248656"/>
              <a:gd name="connsiteX17" fmla="*/ 1684616 w 2427462"/>
              <a:gd name="connsiteY17" fmla="*/ 94493 h 1248656"/>
              <a:gd name="connsiteX18" fmla="*/ 1684616 w 2427462"/>
              <a:gd name="connsiteY18" fmla="*/ 39664 h 1248656"/>
              <a:gd name="connsiteX19" fmla="*/ 1612813 w 2427462"/>
              <a:gd name="connsiteY19" fmla="*/ 39664 h 1248656"/>
              <a:gd name="connsiteX20" fmla="*/ 1612813 w 2427462"/>
              <a:gd name="connsiteY20" fmla="*/ 67093 h 1248656"/>
              <a:gd name="connsiteX21" fmla="*/ 1543795 w 2427462"/>
              <a:gd name="connsiteY21" fmla="*/ 45351 h 1248656"/>
              <a:gd name="connsiteX22" fmla="*/ 1471992 w 2427462"/>
              <a:gd name="connsiteY22" fmla="*/ 27257 h 1248656"/>
              <a:gd name="connsiteX23" fmla="*/ 1243084 w 2427462"/>
              <a:gd name="connsiteY23" fmla="*/ 0 h 1248656"/>
              <a:gd name="connsiteX24" fmla="*/ 1171281 w 2427462"/>
              <a:gd name="connsiteY24" fmla="*/ 316 h 1248656"/>
              <a:gd name="connsiteX25" fmla="*/ 958973 w 2427462"/>
              <a:gd name="connsiteY25" fmla="*/ 26309 h 1248656"/>
              <a:gd name="connsiteX26" fmla="*/ 887170 w 2427462"/>
              <a:gd name="connsiteY26" fmla="*/ 44173 h 1248656"/>
              <a:gd name="connsiteX27" fmla="*/ 817493 w 2427462"/>
              <a:gd name="connsiteY27" fmla="*/ 65944 h 1248656"/>
              <a:gd name="connsiteX28" fmla="*/ 745690 w 2427462"/>
              <a:gd name="connsiteY28" fmla="*/ 93143 h 1248656"/>
              <a:gd name="connsiteX29" fmla="*/ 687156 w 2427462"/>
              <a:gd name="connsiteY29" fmla="*/ 119452 h 1248656"/>
              <a:gd name="connsiteX30" fmla="*/ 615353 w 2427462"/>
              <a:gd name="connsiteY30" fmla="*/ 157536 h 1248656"/>
              <a:gd name="connsiteX31" fmla="*/ 544641 w 2427462"/>
              <a:gd name="connsiteY31" fmla="*/ 200905 h 1248656"/>
              <a:gd name="connsiteX32" fmla="*/ 472838 w 2427462"/>
              <a:gd name="connsiteY32" fmla="*/ 252460 h 1248656"/>
              <a:gd name="connsiteX33" fmla="*/ 377110 w 2427462"/>
              <a:gd name="connsiteY33" fmla="*/ 334746 h 1248656"/>
              <a:gd name="connsiteX34" fmla="*/ 305307 w 2427462"/>
              <a:gd name="connsiteY34" fmla="*/ 409105 h 1248656"/>
              <a:gd name="connsiteX35" fmla="*/ 223940 w 2427462"/>
              <a:gd name="connsiteY35" fmla="*/ 511640 h 1248656"/>
              <a:gd name="connsiteX36" fmla="*/ 152136 w 2427462"/>
              <a:gd name="connsiteY36" fmla="*/ 623940 h 1248656"/>
              <a:gd name="connsiteX37" fmla="*/ 152912 w 2427462"/>
              <a:gd name="connsiteY37" fmla="*/ 623940 h 1248656"/>
              <a:gd name="connsiteX38" fmla="*/ 0 w 2427462"/>
              <a:gd name="connsiteY38" fmla="*/ 1212726 h 1248656"/>
              <a:gd name="connsiteX39" fmla="*/ 37740 w 2427462"/>
              <a:gd name="connsiteY39" fmla="*/ 1248627 h 1248656"/>
              <a:gd name="connsiteX40" fmla="*/ 73440 w 2427462"/>
              <a:gd name="connsiteY40" fmla="*/ 1216574 h 1248656"/>
              <a:gd name="connsiteX41" fmla="*/ 429210 w 2427462"/>
              <a:gd name="connsiteY41" fmla="*/ 940764 h 1248656"/>
              <a:gd name="connsiteX42" fmla="*/ 781246 w 2427462"/>
              <a:gd name="connsiteY42" fmla="*/ 1193856 h 1248656"/>
              <a:gd name="connsiteX43" fmla="*/ 816459 w 2427462"/>
              <a:gd name="connsiteY43" fmla="*/ 1222778 h 1248656"/>
              <a:gd name="connsiteX44" fmla="*/ 851671 w 2427462"/>
              <a:gd name="connsiteY44" fmla="*/ 1193856 h 1248656"/>
              <a:gd name="connsiteX45" fmla="*/ 1171281 w 2427462"/>
              <a:gd name="connsiteY45" fmla="*/ 941999 h 1248656"/>
              <a:gd name="connsiteX46" fmla="*/ 1243084 w 2427462"/>
              <a:gd name="connsiteY46" fmla="*/ 942775 h 1248656"/>
              <a:gd name="connsiteX47" fmla="*/ 1559449 w 2427462"/>
              <a:gd name="connsiteY47" fmla="*/ 1216603 h 1248656"/>
              <a:gd name="connsiteX48" fmla="*/ 1595149 w 2427462"/>
              <a:gd name="connsiteY48" fmla="*/ 1248656 h 1248656"/>
              <a:gd name="connsiteX49" fmla="*/ 1606207 w 2427462"/>
              <a:gd name="connsiteY49" fmla="*/ 1248656 h 1248656"/>
              <a:gd name="connsiteX50" fmla="*/ 1641907 w 2427462"/>
              <a:gd name="connsiteY50" fmla="*/ 1216603 h 1248656"/>
              <a:gd name="connsiteX51" fmla="*/ 1997706 w 2427462"/>
              <a:gd name="connsiteY51" fmla="*/ 940793 h 1248656"/>
              <a:gd name="connsiteX52" fmla="*/ 2353447 w 2427462"/>
              <a:gd name="connsiteY52" fmla="*/ 1216603 h 1248656"/>
              <a:gd name="connsiteX53" fmla="*/ 2389148 w 2427462"/>
              <a:gd name="connsiteY53" fmla="*/ 1248656 h 1248656"/>
              <a:gd name="connsiteX54" fmla="*/ 2390986 w 2427462"/>
              <a:gd name="connsiteY54" fmla="*/ 1248656 h 1248656"/>
              <a:gd name="connsiteX55" fmla="*/ 2391560 w 2427462"/>
              <a:gd name="connsiteY55" fmla="*/ 1248656 h 1248656"/>
              <a:gd name="connsiteX56" fmla="*/ 2427462 w 2427462"/>
              <a:gd name="connsiteY56" fmla="*/ 1212755 h 1248656"/>
              <a:gd name="connsiteX57" fmla="*/ 2426859 w 2427462"/>
              <a:gd name="connsiteY57" fmla="*/ 1206235 h 1248656"/>
              <a:gd name="connsiteX58" fmla="*/ 88978 w 2427462"/>
              <a:gd name="connsiteY58" fmla="*/ 1014664 h 1248656"/>
              <a:gd name="connsiteX59" fmla="*/ 920889 w 2427462"/>
              <a:gd name="connsiteY59" fmla="*/ 109256 h 1248656"/>
              <a:gd name="connsiteX60" fmla="*/ 393050 w 2427462"/>
              <a:gd name="connsiteY60" fmla="*/ 870828 h 1248656"/>
              <a:gd name="connsiteX61" fmla="*/ 88978 w 2427462"/>
              <a:gd name="connsiteY61" fmla="*/ 1014664 h 1248656"/>
              <a:gd name="connsiteX62" fmla="*/ 467237 w 2427462"/>
              <a:gd name="connsiteY62" fmla="*/ 870598 h 1248656"/>
              <a:gd name="connsiteX63" fmla="*/ 1122800 w 2427462"/>
              <a:gd name="connsiteY63" fmla="*/ 102276 h 1248656"/>
              <a:gd name="connsiteX64" fmla="*/ 790409 w 2427462"/>
              <a:gd name="connsiteY64" fmla="*/ 1041834 h 1248656"/>
              <a:gd name="connsiteX65" fmla="*/ 467237 w 2427462"/>
              <a:gd name="connsiteY65" fmla="*/ 870598 h 1248656"/>
              <a:gd name="connsiteX66" fmla="*/ 863217 w 2427462"/>
              <a:gd name="connsiteY66" fmla="*/ 1015755 h 1248656"/>
              <a:gd name="connsiteX67" fmla="*/ 1171281 w 2427462"/>
              <a:gd name="connsiteY67" fmla="*/ 156617 h 1248656"/>
              <a:gd name="connsiteX68" fmla="*/ 1171281 w 2427462"/>
              <a:gd name="connsiteY68" fmla="*/ 870081 h 1248656"/>
              <a:gd name="connsiteX69" fmla="*/ 863217 w 2427462"/>
              <a:gd name="connsiteY69" fmla="*/ 1015755 h 1248656"/>
              <a:gd name="connsiteX70" fmla="*/ 1243084 w 2427462"/>
              <a:gd name="connsiteY70" fmla="*/ 870713 h 1248656"/>
              <a:gd name="connsiteX71" fmla="*/ 1243084 w 2427462"/>
              <a:gd name="connsiteY71" fmla="*/ 146048 h 1248656"/>
              <a:gd name="connsiteX72" fmla="*/ 1560368 w 2427462"/>
              <a:gd name="connsiteY72" fmla="*/ 1035085 h 1248656"/>
              <a:gd name="connsiteX73" fmla="*/ 1243084 w 2427462"/>
              <a:gd name="connsiteY73" fmla="*/ 870713 h 1248656"/>
              <a:gd name="connsiteX74" fmla="*/ 1632659 w 2427462"/>
              <a:gd name="connsiteY74" fmla="*/ 1046372 h 1248656"/>
              <a:gd name="connsiteX75" fmla="*/ 1300096 w 2427462"/>
              <a:gd name="connsiteY75" fmla="*/ 102276 h 1248656"/>
              <a:gd name="connsiteX76" fmla="*/ 1955744 w 2427462"/>
              <a:gd name="connsiteY76" fmla="*/ 870972 h 1248656"/>
              <a:gd name="connsiteX77" fmla="*/ 1632659 w 2427462"/>
              <a:gd name="connsiteY77" fmla="*/ 1046372 h 1248656"/>
              <a:gd name="connsiteX78" fmla="*/ 2029759 w 2427462"/>
              <a:gd name="connsiteY78" fmla="*/ 870627 h 1248656"/>
              <a:gd name="connsiteX79" fmla="*/ 1498789 w 2427462"/>
              <a:gd name="connsiteY79" fmla="*/ 107446 h 1248656"/>
              <a:gd name="connsiteX80" fmla="*/ 2337909 w 2427462"/>
              <a:gd name="connsiteY80" fmla="*/ 1014664 h 1248656"/>
              <a:gd name="connsiteX81" fmla="*/ 2029759 w 2427462"/>
              <a:gd name="connsiteY81" fmla="*/ 870627 h 1248656"/>
              <a:gd name="connsiteX0" fmla="*/ 2426859 w 2427462"/>
              <a:gd name="connsiteY0" fmla="*/ 1206235 h 1248656"/>
              <a:gd name="connsiteX1" fmla="*/ 2275440 w 2427462"/>
              <a:gd name="connsiteY1" fmla="*/ 626353 h 1248656"/>
              <a:gd name="connsiteX2" fmla="*/ 2275440 w 2427462"/>
              <a:gd name="connsiteY2" fmla="*/ 417952 h 1248656"/>
              <a:gd name="connsiteX3" fmla="*/ 2203637 w 2427462"/>
              <a:gd name="connsiteY3" fmla="*/ 417952 h 1248656"/>
              <a:gd name="connsiteX4" fmla="*/ 2203637 w 2427462"/>
              <a:gd name="connsiteY4" fmla="*/ 512617 h 1248656"/>
              <a:gd name="connsiteX5" fmla="*/ 2122988 w 2427462"/>
              <a:gd name="connsiteY5" fmla="*/ 410800 h 1248656"/>
              <a:gd name="connsiteX6" fmla="*/ 2122988 w 2427462"/>
              <a:gd name="connsiteY6" fmla="*/ 254643 h 1248656"/>
              <a:gd name="connsiteX7" fmla="*/ 2051185 w 2427462"/>
              <a:gd name="connsiteY7" fmla="*/ 254643 h 1248656"/>
              <a:gd name="connsiteX8" fmla="*/ 2051185 w 2427462"/>
              <a:gd name="connsiteY8" fmla="*/ 336096 h 1248656"/>
              <a:gd name="connsiteX9" fmla="*/ 1956204 w 2427462"/>
              <a:gd name="connsiteY9" fmla="*/ 254183 h 1248656"/>
              <a:gd name="connsiteX10" fmla="*/ 1956204 w 2427462"/>
              <a:gd name="connsiteY10" fmla="*/ 125914 h 1248656"/>
              <a:gd name="connsiteX11" fmla="*/ 1884401 w 2427462"/>
              <a:gd name="connsiteY11" fmla="*/ 125914 h 1248656"/>
              <a:gd name="connsiteX12" fmla="*/ 1884401 w 2427462"/>
              <a:gd name="connsiteY12" fmla="*/ 202226 h 1248656"/>
              <a:gd name="connsiteX13" fmla="*/ 1814350 w 2427462"/>
              <a:gd name="connsiteY13" fmla="*/ 159144 h 1248656"/>
              <a:gd name="connsiteX14" fmla="*/ 1814350 w 2427462"/>
              <a:gd name="connsiteY14" fmla="*/ 73239 h 1248656"/>
              <a:gd name="connsiteX15" fmla="*/ 1742546 w 2427462"/>
              <a:gd name="connsiteY15" fmla="*/ 73239 h 1248656"/>
              <a:gd name="connsiteX16" fmla="*/ 1742546 w 2427462"/>
              <a:gd name="connsiteY16" fmla="*/ 120916 h 1248656"/>
              <a:gd name="connsiteX17" fmla="*/ 1684616 w 2427462"/>
              <a:gd name="connsiteY17" fmla="*/ 94493 h 1248656"/>
              <a:gd name="connsiteX18" fmla="*/ 1612813 w 2427462"/>
              <a:gd name="connsiteY18" fmla="*/ 39664 h 1248656"/>
              <a:gd name="connsiteX19" fmla="*/ 1612813 w 2427462"/>
              <a:gd name="connsiteY19" fmla="*/ 67093 h 1248656"/>
              <a:gd name="connsiteX20" fmla="*/ 1543795 w 2427462"/>
              <a:gd name="connsiteY20" fmla="*/ 45351 h 1248656"/>
              <a:gd name="connsiteX21" fmla="*/ 1471992 w 2427462"/>
              <a:gd name="connsiteY21" fmla="*/ 27257 h 1248656"/>
              <a:gd name="connsiteX22" fmla="*/ 1243084 w 2427462"/>
              <a:gd name="connsiteY22" fmla="*/ 0 h 1248656"/>
              <a:gd name="connsiteX23" fmla="*/ 1171281 w 2427462"/>
              <a:gd name="connsiteY23" fmla="*/ 316 h 1248656"/>
              <a:gd name="connsiteX24" fmla="*/ 958973 w 2427462"/>
              <a:gd name="connsiteY24" fmla="*/ 26309 h 1248656"/>
              <a:gd name="connsiteX25" fmla="*/ 887170 w 2427462"/>
              <a:gd name="connsiteY25" fmla="*/ 44173 h 1248656"/>
              <a:gd name="connsiteX26" fmla="*/ 817493 w 2427462"/>
              <a:gd name="connsiteY26" fmla="*/ 65944 h 1248656"/>
              <a:gd name="connsiteX27" fmla="*/ 745690 w 2427462"/>
              <a:gd name="connsiteY27" fmla="*/ 93143 h 1248656"/>
              <a:gd name="connsiteX28" fmla="*/ 687156 w 2427462"/>
              <a:gd name="connsiteY28" fmla="*/ 119452 h 1248656"/>
              <a:gd name="connsiteX29" fmla="*/ 615353 w 2427462"/>
              <a:gd name="connsiteY29" fmla="*/ 157536 h 1248656"/>
              <a:gd name="connsiteX30" fmla="*/ 544641 w 2427462"/>
              <a:gd name="connsiteY30" fmla="*/ 200905 h 1248656"/>
              <a:gd name="connsiteX31" fmla="*/ 472838 w 2427462"/>
              <a:gd name="connsiteY31" fmla="*/ 252460 h 1248656"/>
              <a:gd name="connsiteX32" fmla="*/ 377110 w 2427462"/>
              <a:gd name="connsiteY32" fmla="*/ 334746 h 1248656"/>
              <a:gd name="connsiteX33" fmla="*/ 305307 w 2427462"/>
              <a:gd name="connsiteY33" fmla="*/ 409105 h 1248656"/>
              <a:gd name="connsiteX34" fmla="*/ 223940 w 2427462"/>
              <a:gd name="connsiteY34" fmla="*/ 511640 h 1248656"/>
              <a:gd name="connsiteX35" fmla="*/ 152136 w 2427462"/>
              <a:gd name="connsiteY35" fmla="*/ 623940 h 1248656"/>
              <a:gd name="connsiteX36" fmla="*/ 152912 w 2427462"/>
              <a:gd name="connsiteY36" fmla="*/ 623940 h 1248656"/>
              <a:gd name="connsiteX37" fmla="*/ 0 w 2427462"/>
              <a:gd name="connsiteY37" fmla="*/ 1212726 h 1248656"/>
              <a:gd name="connsiteX38" fmla="*/ 37740 w 2427462"/>
              <a:gd name="connsiteY38" fmla="*/ 1248627 h 1248656"/>
              <a:gd name="connsiteX39" fmla="*/ 73440 w 2427462"/>
              <a:gd name="connsiteY39" fmla="*/ 1216574 h 1248656"/>
              <a:gd name="connsiteX40" fmla="*/ 429210 w 2427462"/>
              <a:gd name="connsiteY40" fmla="*/ 940764 h 1248656"/>
              <a:gd name="connsiteX41" fmla="*/ 781246 w 2427462"/>
              <a:gd name="connsiteY41" fmla="*/ 1193856 h 1248656"/>
              <a:gd name="connsiteX42" fmla="*/ 816459 w 2427462"/>
              <a:gd name="connsiteY42" fmla="*/ 1222778 h 1248656"/>
              <a:gd name="connsiteX43" fmla="*/ 851671 w 2427462"/>
              <a:gd name="connsiteY43" fmla="*/ 1193856 h 1248656"/>
              <a:gd name="connsiteX44" fmla="*/ 1171281 w 2427462"/>
              <a:gd name="connsiteY44" fmla="*/ 941999 h 1248656"/>
              <a:gd name="connsiteX45" fmla="*/ 1243084 w 2427462"/>
              <a:gd name="connsiteY45" fmla="*/ 942775 h 1248656"/>
              <a:gd name="connsiteX46" fmla="*/ 1559449 w 2427462"/>
              <a:gd name="connsiteY46" fmla="*/ 1216603 h 1248656"/>
              <a:gd name="connsiteX47" fmla="*/ 1595149 w 2427462"/>
              <a:gd name="connsiteY47" fmla="*/ 1248656 h 1248656"/>
              <a:gd name="connsiteX48" fmla="*/ 1606207 w 2427462"/>
              <a:gd name="connsiteY48" fmla="*/ 1248656 h 1248656"/>
              <a:gd name="connsiteX49" fmla="*/ 1641907 w 2427462"/>
              <a:gd name="connsiteY49" fmla="*/ 1216603 h 1248656"/>
              <a:gd name="connsiteX50" fmla="*/ 1997706 w 2427462"/>
              <a:gd name="connsiteY50" fmla="*/ 940793 h 1248656"/>
              <a:gd name="connsiteX51" fmla="*/ 2353447 w 2427462"/>
              <a:gd name="connsiteY51" fmla="*/ 1216603 h 1248656"/>
              <a:gd name="connsiteX52" fmla="*/ 2389148 w 2427462"/>
              <a:gd name="connsiteY52" fmla="*/ 1248656 h 1248656"/>
              <a:gd name="connsiteX53" fmla="*/ 2390986 w 2427462"/>
              <a:gd name="connsiteY53" fmla="*/ 1248656 h 1248656"/>
              <a:gd name="connsiteX54" fmla="*/ 2391560 w 2427462"/>
              <a:gd name="connsiteY54" fmla="*/ 1248656 h 1248656"/>
              <a:gd name="connsiteX55" fmla="*/ 2427462 w 2427462"/>
              <a:gd name="connsiteY55" fmla="*/ 1212755 h 1248656"/>
              <a:gd name="connsiteX56" fmla="*/ 2426859 w 2427462"/>
              <a:gd name="connsiteY56" fmla="*/ 1206235 h 1248656"/>
              <a:gd name="connsiteX57" fmla="*/ 88978 w 2427462"/>
              <a:gd name="connsiteY57" fmla="*/ 1014664 h 1248656"/>
              <a:gd name="connsiteX58" fmla="*/ 920889 w 2427462"/>
              <a:gd name="connsiteY58" fmla="*/ 109256 h 1248656"/>
              <a:gd name="connsiteX59" fmla="*/ 393050 w 2427462"/>
              <a:gd name="connsiteY59" fmla="*/ 870828 h 1248656"/>
              <a:gd name="connsiteX60" fmla="*/ 88978 w 2427462"/>
              <a:gd name="connsiteY60" fmla="*/ 1014664 h 1248656"/>
              <a:gd name="connsiteX61" fmla="*/ 467237 w 2427462"/>
              <a:gd name="connsiteY61" fmla="*/ 870598 h 1248656"/>
              <a:gd name="connsiteX62" fmla="*/ 1122800 w 2427462"/>
              <a:gd name="connsiteY62" fmla="*/ 102276 h 1248656"/>
              <a:gd name="connsiteX63" fmla="*/ 790409 w 2427462"/>
              <a:gd name="connsiteY63" fmla="*/ 1041834 h 1248656"/>
              <a:gd name="connsiteX64" fmla="*/ 467237 w 2427462"/>
              <a:gd name="connsiteY64" fmla="*/ 870598 h 1248656"/>
              <a:gd name="connsiteX65" fmla="*/ 863217 w 2427462"/>
              <a:gd name="connsiteY65" fmla="*/ 1015755 h 1248656"/>
              <a:gd name="connsiteX66" fmla="*/ 1171281 w 2427462"/>
              <a:gd name="connsiteY66" fmla="*/ 156617 h 1248656"/>
              <a:gd name="connsiteX67" fmla="*/ 1171281 w 2427462"/>
              <a:gd name="connsiteY67" fmla="*/ 870081 h 1248656"/>
              <a:gd name="connsiteX68" fmla="*/ 863217 w 2427462"/>
              <a:gd name="connsiteY68" fmla="*/ 1015755 h 1248656"/>
              <a:gd name="connsiteX69" fmla="*/ 1243084 w 2427462"/>
              <a:gd name="connsiteY69" fmla="*/ 870713 h 1248656"/>
              <a:gd name="connsiteX70" fmla="*/ 1243084 w 2427462"/>
              <a:gd name="connsiteY70" fmla="*/ 146048 h 1248656"/>
              <a:gd name="connsiteX71" fmla="*/ 1560368 w 2427462"/>
              <a:gd name="connsiteY71" fmla="*/ 1035085 h 1248656"/>
              <a:gd name="connsiteX72" fmla="*/ 1243084 w 2427462"/>
              <a:gd name="connsiteY72" fmla="*/ 870713 h 1248656"/>
              <a:gd name="connsiteX73" fmla="*/ 1632659 w 2427462"/>
              <a:gd name="connsiteY73" fmla="*/ 1046372 h 1248656"/>
              <a:gd name="connsiteX74" fmla="*/ 1300096 w 2427462"/>
              <a:gd name="connsiteY74" fmla="*/ 102276 h 1248656"/>
              <a:gd name="connsiteX75" fmla="*/ 1955744 w 2427462"/>
              <a:gd name="connsiteY75" fmla="*/ 870972 h 1248656"/>
              <a:gd name="connsiteX76" fmla="*/ 1632659 w 2427462"/>
              <a:gd name="connsiteY76" fmla="*/ 1046372 h 1248656"/>
              <a:gd name="connsiteX77" fmla="*/ 2029759 w 2427462"/>
              <a:gd name="connsiteY77" fmla="*/ 870627 h 1248656"/>
              <a:gd name="connsiteX78" fmla="*/ 1498789 w 2427462"/>
              <a:gd name="connsiteY78" fmla="*/ 107446 h 1248656"/>
              <a:gd name="connsiteX79" fmla="*/ 2337909 w 2427462"/>
              <a:gd name="connsiteY79" fmla="*/ 1014664 h 1248656"/>
              <a:gd name="connsiteX80" fmla="*/ 2029759 w 2427462"/>
              <a:gd name="connsiteY80" fmla="*/ 870627 h 1248656"/>
              <a:gd name="connsiteX0" fmla="*/ 2426859 w 2427462"/>
              <a:gd name="connsiteY0" fmla="*/ 1206235 h 1248656"/>
              <a:gd name="connsiteX1" fmla="*/ 2275440 w 2427462"/>
              <a:gd name="connsiteY1" fmla="*/ 626353 h 1248656"/>
              <a:gd name="connsiteX2" fmla="*/ 2275440 w 2427462"/>
              <a:gd name="connsiteY2" fmla="*/ 417952 h 1248656"/>
              <a:gd name="connsiteX3" fmla="*/ 2203637 w 2427462"/>
              <a:gd name="connsiteY3" fmla="*/ 417952 h 1248656"/>
              <a:gd name="connsiteX4" fmla="*/ 2203637 w 2427462"/>
              <a:gd name="connsiteY4" fmla="*/ 512617 h 1248656"/>
              <a:gd name="connsiteX5" fmla="*/ 2122988 w 2427462"/>
              <a:gd name="connsiteY5" fmla="*/ 410800 h 1248656"/>
              <a:gd name="connsiteX6" fmla="*/ 2122988 w 2427462"/>
              <a:gd name="connsiteY6" fmla="*/ 254643 h 1248656"/>
              <a:gd name="connsiteX7" fmla="*/ 2051185 w 2427462"/>
              <a:gd name="connsiteY7" fmla="*/ 254643 h 1248656"/>
              <a:gd name="connsiteX8" fmla="*/ 2051185 w 2427462"/>
              <a:gd name="connsiteY8" fmla="*/ 336096 h 1248656"/>
              <a:gd name="connsiteX9" fmla="*/ 1956204 w 2427462"/>
              <a:gd name="connsiteY9" fmla="*/ 254183 h 1248656"/>
              <a:gd name="connsiteX10" fmla="*/ 1956204 w 2427462"/>
              <a:gd name="connsiteY10" fmla="*/ 125914 h 1248656"/>
              <a:gd name="connsiteX11" fmla="*/ 1884401 w 2427462"/>
              <a:gd name="connsiteY11" fmla="*/ 125914 h 1248656"/>
              <a:gd name="connsiteX12" fmla="*/ 1884401 w 2427462"/>
              <a:gd name="connsiteY12" fmla="*/ 202226 h 1248656"/>
              <a:gd name="connsiteX13" fmla="*/ 1814350 w 2427462"/>
              <a:gd name="connsiteY13" fmla="*/ 159144 h 1248656"/>
              <a:gd name="connsiteX14" fmla="*/ 1742546 w 2427462"/>
              <a:gd name="connsiteY14" fmla="*/ 73239 h 1248656"/>
              <a:gd name="connsiteX15" fmla="*/ 1742546 w 2427462"/>
              <a:gd name="connsiteY15" fmla="*/ 120916 h 1248656"/>
              <a:gd name="connsiteX16" fmla="*/ 1684616 w 2427462"/>
              <a:gd name="connsiteY16" fmla="*/ 94493 h 1248656"/>
              <a:gd name="connsiteX17" fmla="*/ 1612813 w 2427462"/>
              <a:gd name="connsiteY17" fmla="*/ 39664 h 1248656"/>
              <a:gd name="connsiteX18" fmla="*/ 1612813 w 2427462"/>
              <a:gd name="connsiteY18" fmla="*/ 67093 h 1248656"/>
              <a:gd name="connsiteX19" fmla="*/ 1543795 w 2427462"/>
              <a:gd name="connsiteY19" fmla="*/ 45351 h 1248656"/>
              <a:gd name="connsiteX20" fmla="*/ 1471992 w 2427462"/>
              <a:gd name="connsiteY20" fmla="*/ 27257 h 1248656"/>
              <a:gd name="connsiteX21" fmla="*/ 1243084 w 2427462"/>
              <a:gd name="connsiteY21" fmla="*/ 0 h 1248656"/>
              <a:gd name="connsiteX22" fmla="*/ 1171281 w 2427462"/>
              <a:gd name="connsiteY22" fmla="*/ 316 h 1248656"/>
              <a:gd name="connsiteX23" fmla="*/ 958973 w 2427462"/>
              <a:gd name="connsiteY23" fmla="*/ 26309 h 1248656"/>
              <a:gd name="connsiteX24" fmla="*/ 887170 w 2427462"/>
              <a:gd name="connsiteY24" fmla="*/ 44173 h 1248656"/>
              <a:gd name="connsiteX25" fmla="*/ 817493 w 2427462"/>
              <a:gd name="connsiteY25" fmla="*/ 65944 h 1248656"/>
              <a:gd name="connsiteX26" fmla="*/ 745690 w 2427462"/>
              <a:gd name="connsiteY26" fmla="*/ 93143 h 1248656"/>
              <a:gd name="connsiteX27" fmla="*/ 687156 w 2427462"/>
              <a:gd name="connsiteY27" fmla="*/ 119452 h 1248656"/>
              <a:gd name="connsiteX28" fmla="*/ 615353 w 2427462"/>
              <a:gd name="connsiteY28" fmla="*/ 157536 h 1248656"/>
              <a:gd name="connsiteX29" fmla="*/ 544641 w 2427462"/>
              <a:gd name="connsiteY29" fmla="*/ 200905 h 1248656"/>
              <a:gd name="connsiteX30" fmla="*/ 472838 w 2427462"/>
              <a:gd name="connsiteY30" fmla="*/ 252460 h 1248656"/>
              <a:gd name="connsiteX31" fmla="*/ 377110 w 2427462"/>
              <a:gd name="connsiteY31" fmla="*/ 334746 h 1248656"/>
              <a:gd name="connsiteX32" fmla="*/ 305307 w 2427462"/>
              <a:gd name="connsiteY32" fmla="*/ 409105 h 1248656"/>
              <a:gd name="connsiteX33" fmla="*/ 223940 w 2427462"/>
              <a:gd name="connsiteY33" fmla="*/ 511640 h 1248656"/>
              <a:gd name="connsiteX34" fmla="*/ 152136 w 2427462"/>
              <a:gd name="connsiteY34" fmla="*/ 623940 h 1248656"/>
              <a:gd name="connsiteX35" fmla="*/ 152912 w 2427462"/>
              <a:gd name="connsiteY35" fmla="*/ 623940 h 1248656"/>
              <a:gd name="connsiteX36" fmla="*/ 0 w 2427462"/>
              <a:gd name="connsiteY36" fmla="*/ 1212726 h 1248656"/>
              <a:gd name="connsiteX37" fmla="*/ 37740 w 2427462"/>
              <a:gd name="connsiteY37" fmla="*/ 1248627 h 1248656"/>
              <a:gd name="connsiteX38" fmla="*/ 73440 w 2427462"/>
              <a:gd name="connsiteY38" fmla="*/ 1216574 h 1248656"/>
              <a:gd name="connsiteX39" fmla="*/ 429210 w 2427462"/>
              <a:gd name="connsiteY39" fmla="*/ 940764 h 1248656"/>
              <a:gd name="connsiteX40" fmla="*/ 781246 w 2427462"/>
              <a:gd name="connsiteY40" fmla="*/ 1193856 h 1248656"/>
              <a:gd name="connsiteX41" fmla="*/ 816459 w 2427462"/>
              <a:gd name="connsiteY41" fmla="*/ 1222778 h 1248656"/>
              <a:gd name="connsiteX42" fmla="*/ 851671 w 2427462"/>
              <a:gd name="connsiteY42" fmla="*/ 1193856 h 1248656"/>
              <a:gd name="connsiteX43" fmla="*/ 1171281 w 2427462"/>
              <a:gd name="connsiteY43" fmla="*/ 941999 h 1248656"/>
              <a:gd name="connsiteX44" fmla="*/ 1243084 w 2427462"/>
              <a:gd name="connsiteY44" fmla="*/ 942775 h 1248656"/>
              <a:gd name="connsiteX45" fmla="*/ 1559449 w 2427462"/>
              <a:gd name="connsiteY45" fmla="*/ 1216603 h 1248656"/>
              <a:gd name="connsiteX46" fmla="*/ 1595149 w 2427462"/>
              <a:gd name="connsiteY46" fmla="*/ 1248656 h 1248656"/>
              <a:gd name="connsiteX47" fmla="*/ 1606207 w 2427462"/>
              <a:gd name="connsiteY47" fmla="*/ 1248656 h 1248656"/>
              <a:gd name="connsiteX48" fmla="*/ 1641907 w 2427462"/>
              <a:gd name="connsiteY48" fmla="*/ 1216603 h 1248656"/>
              <a:gd name="connsiteX49" fmla="*/ 1997706 w 2427462"/>
              <a:gd name="connsiteY49" fmla="*/ 940793 h 1248656"/>
              <a:gd name="connsiteX50" fmla="*/ 2353447 w 2427462"/>
              <a:gd name="connsiteY50" fmla="*/ 1216603 h 1248656"/>
              <a:gd name="connsiteX51" fmla="*/ 2389148 w 2427462"/>
              <a:gd name="connsiteY51" fmla="*/ 1248656 h 1248656"/>
              <a:gd name="connsiteX52" fmla="*/ 2390986 w 2427462"/>
              <a:gd name="connsiteY52" fmla="*/ 1248656 h 1248656"/>
              <a:gd name="connsiteX53" fmla="*/ 2391560 w 2427462"/>
              <a:gd name="connsiteY53" fmla="*/ 1248656 h 1248656"/>
              <a:gd name="connsiteX54" fmla="*/ 2427462 w 2427462"/>
              <a:gd name="connsiteY54" fmla="*/ 1212755 h 1248656"/>
              <a:gd name="connsiteX55" fmla="*/ 2426859 w 2427462"/>
              <a:gd name="connsiteY55" fmla="*/ 1206235 h 1248656"/>
              <a:gd name="connsiteX56" fmla="*/ 88978 w 2427462"/>
              <a:gd name="connsiteY56" fmla="*/ 1014664 h 1248656"/>
              <a:gd name="connsiteX57" fmla="*/ 920889 w 2427462"/>
              <a:gd name="connsiteY57" fmla="*/ 109256 h 1248656"/>
              <a:gd name="connsiteX58" fmla="*/ 393050 w 2427462"/>
              <a:gd name="connsiteY58" fmla="*/ 870828 h 1248656"/>
              <a:gd name="connsiteX59" fmla="*/ 88978 w 2427462"/>
              <a:gd name="connsiteY59" fmla="*/ 1014664 h 1248656"/>
              <a:gd name="connsiteX60" fmla="*/ 467237 w 2427462"/>
              <a:gd name="connsiteY60" fmla="*/ 870598 h 1248656"/>
              <a:gd name="connsiteX61" fmla="*/ 1122800 w 2427462"/>
              <a:gd name="connsiteY61" fmla="*/ 102276 h 1248656"/>
              <a:gd name="connsiteX62" fmla="*/ 790409 w 2427462"/>
              <a:gd name="connsiteY62" fmla="*/ 1041834 h 1248656"/>
              <a:gd name="connsiteX63" fmla="*/ 467237 w 2427462"/>
              <a:gd name="connsiteY63" fmla="*/ 870598 h 1248656"/>
              <a:gd name="connsiteX64" fmla="*/ 863217 w 2427462"/>
              <a:gd name="connsiteY64" fmla="*/ 1015755 h 1248656"/>
              <a:gd name="connsiteX65" fmla="*/ 1171281 w 2427462"/>
              <a:gd name="connsiteY65" fmla="*/ 156617 h 1248656"/>
              <a:gd name="connsiteX66" fmla="*/ 1171281 w 2427462"/>
              <a:gd name="connsiteY66" fmla="*/ 870081 h 1248656"/>
              <a:gd name="connsiteX67" fmla="*/ 863217 w 2427462"/>
              <a:gd name="connsiteY67" fmla="*/ 1015755 h 1248656"/>
              <a:gd name="connsiteX68" fmla="*/ 1243084 w 2427462"/>
              <a:gd name="connsiteY68" fmla="*/ 870713 h 1248656"/>
              <a:gd name="connsiteX69" fmla="*/ 1243084 w 2427462"/>
              <a:gd name="connsiteY69" fmla="*/ 146048 h 1248656"/>
              <a:gd name="connsiteX70" fmla="*/ 1560368 w 2427462"/>
              <a:gd name="connsiteY70" fmla="*/ 1035085 h 1248656"/>
              <a:gd name="connsiteX71" fmla="*/ 1243084 w 2427462"/>
              <a:gd name="connsiteY71" fmla="*/ 870713 h 1248656"/>
              <a:gd name="connsiteX72" fmla="*/ 1632659 w 2427462"/>
              <a:gd name="connsiteY72" fmla="*/ 1046372 h 1248656"/>
              <a:gd name="connsiteX73" fmla="*/ 1300096 w 2427462"/>
              <a:gd name="connsiteY73" fmla="*/ 102276 h 1248656"/>
              <a:gd name="connsiteX74" fmla="*/ 1955744 w 2427462"/>
              <a:gd name="connsiteY74" fmla="*/ 870972 h 1248656"/>
              <a:gd name="connsiteX75" fmla="*/ 1632659 w 2427462"/>
              <a:gd name="connsiteY75" fmla="*/ 1046372 h 1248656"/>
              <a:gd name="connsiteX76" fmla="*/ 2029759 w 2427462"/>
              <a:gd name="connsiteY76" fmla="*/ 870627 h 1248656"/>
              <a:gd name="connsiteX77" fmla="*/ 1498789 w 2427462"/>
              <a:gd name="connsiteY77" fmla="*/ 107446 h 1248656"/>
              <a:gd name="connsiteX78" fmla="*/ 2337909 w 2427462"/>
              <a:gd name="connsiteY78" fmla="*/ 1014664 h 1248656"/>
              <a:gd name="connsiteX79" fmla="*/ 2029759 w 2427462"/>
              <a:gd name="connsiteY79" fmla="*/ 870627 h 1248656"/>
              <a:gd name="connsiteX0" fmla="*/ 2426859 w 2427462"/>
              <a:gd name="connsiteY0" fmla="*/ 1206235 h 1248656"/>
              <a:gd name="connsiteX1" fmla="*/ 2275440 w 2427462"/>
              <a:gd name="connsiteY1" fmla="*/ 626353 h 1248656"/>
              <a:gd name="connsiteX2" fmla="*/ 2275440 w 2427462"/>
              <a:gd name="connsiteY2" fmla="*/ 417952 h 1248656"/>
              <a:gd name="connsiteX3" fmla="*/ 2203637 w 2427462"/>
              <a:gd name="connsiteY3" fmla="*/ 417952 h 1248656"/>
              <a:gd name="connsiteX4" fmla="*/ 2203637 w 2427462"/>
              <a:gd name="connsiteY4" fmla="*/ 512617 h 1248656"/>
              <a:gd name="connsiteX5" fmla="*/ 2122988 w 2427462"/>
              <a:gd name="connsiteY5" fmla="*/ 410800 h 1248656"/>
              <a:gd name="connsiteX6" fmla="*/ 2122988 w 2427462"/>
              <a:gd name="connsiteY6" fmla="*/ 254643 h 1248656"/>
              <a:gd name="connsiteX7" fmla="*/ 2051185 w 2427462"/>
              <a:gd name="connsiteY7" fmla="*/ 254643 h 1248656"/>
              <a:gd name="connsiteX8" fmla="*/ 2051185 w 2427462"/>
              <a:gd name="connsiteY8" fmla="*/ 336096 h 1248656"/>
              <a:gd name="connsiteX9" fmla="*/ 1956204 w 2427462"/>
              <a:gd name="connsiteY9" fmla="*/ 254183 h 1248656"/>
              <a:gd name="connsiteX10" fmla="*/ 1884401 w 2427462"/>
              <a:gd name="connsiteY10" fmla="*/ 125914 h 1248656"/>
              <a:gd name="connsiteX11" fmla="*/ 1884401 w 2427462"/>
              <a:gd name="connsiteY11" fmla="*/ 202226 h 1248656"/>
              <a:gd name="connsiteX12" fmla="*/ 1814350 w 2427462"/>
              <a:gd name="connsiteY12" fmla="*/ 159144 h 1248656"/>
              <a:gd name="connsiteX13" fmla="*/ 1742546 w 2427462"/>
              <a:gd name="connsiteY13" fmla="*/ 73239 h 1248656"/>
              <a:gd name="connsiteX14" fmla="*/ 1742546 w 2427462"/>
              <a:gd name="connsiteY14" fmla="*/ 120916 h 1248656"/>
              <a:gd name="connsiteX15" fmla="*/ 1684616 w 2427462"/>
              <a:gd name="connsiteY15" fmla="*/ 94493 h 1248656"/>
              <a:gd name="connsiteX16" fmla="*/ 1612813 w 2427462"/>
              <a:gd name="connsiteY16" fmla="*/ 39664 h 1248656"/>
              <a:gd name="connsiteX17" fmla="*/ 1612813 w 2427462"/>
              <a:gd name="connsiteY17" fmla="*/ 67093 h 1248656"/>
              <a:gd name="connsiteX18" fmla="*/ 1543795 w 2427462"/>
              <a:gd name="connsiteY18" fmla="*/ 45351 h 1248656"/>
              <a:gd name="connsiteX19" fmla="*/ 1471992 w 2427462"/>
              <a:gd name="connsiteY19" fmla="*/ 27257 h 1248656"/>
              <a:gd name="connsiteX20" fmla="*/ 1243084 w 2427462"/>
              <a:gd name="connsiteY20" fmla="*/ 0 h 1248656"/>
              <a:gd name="connsiteX21" fmla="*/ 1171281 w 2427462"/>
              <a:gd name="connsiteY21" fmla="*/ 316 h 1248656"/>
              <a:gd name="connsiteX22" fmla="*/ 958973 w 2427462"/>
              <a:gd name="connsiteY22" fmla="*/ 26309 h 1248656"/>
              <a:gd name="connsiteX23" fmla="*/ 887170 w 2427462"/>
              <a:gd name="connsiteY23" fmla="*/ 44173 h 1248656"/>
              <a:gd name="connsiteX24" fmla="*/ 817493 w 2427462"/>
              <a:gd name="connsiteY24" fmla="*/ 65944 h 1248656"/>
              <a:gd name="connsiteX25" fmla="*/ 745690 w 2427462"/>
              <a:gd name="connsiteY25" fmla="*/ 93143 h 1248656"/>
              <a:gd name="connsiteX26" fmla="*/ 687156 w 2427462"/>
              <a:gd name="connsiteY26" fmla="*/ 119452 h 1248656"/>
              <a:gd name="connsiteX27" fmla="*/ 615353 w 2427462"/>
              <a:gd name="connsiteY27" fmla="*/ 157536 h 1248656"/>
              <a:gd name="connsiteX28" fmla="*/ 544641 w 2427462"/>
              <a:gd name="connsiteY28" fmla="*/ 200905 h 1248656"/>
              <a:gd name="connsiteX29" fmla="*/ 472838 w 2427462"/>
              <a:gd name="connsiteY29" fmla="*/ 252460 h 1248656"/>
              <a:gd name="connsiteX30" fmla="*/ 377110 w 2427462"/>
              <a:gd name="connsiteY30" fmla="*/ 334746 h 1248656"/>
              <a:gd name="connsiteX31" fmla="*/ 305307 w 2427462"/>
              <a:gd name="connsiteY31" fmla="*/ 409105 h 1248656"/>
              <a:gd name="connsiteX32" fmla="*/ 223940 w 2427462"/>
              <a:gd name="connsiteY32" fmla="*/ 511640 h 1248656"/>
              <a:gd name="connsiteX33" fmla="*/ 152136 w 2427462"/>
              <a:gd name="connsiteY33" fmla="*/ 623940 h 1248656"/>
              <a:gd name="connsiteX34" fmla="*/ 152912 w 2427462"/>
              <a:gd name="connsiteY34" fmla="*/ 623940 h 1248656"/>
              <a:gd name="connsiteX35" fmla="*/ 0 w 2427462"/>
              <a:gd name="connsiteY35" fmla="*/ 1212726 h 1248656"/>
              <a:gd name="connsiteX36" fmla="*/ 37740 w 2427462"/>
              <a:gd name="connsiteY36" fmla="*/ 1248627 h 1248656"/>
              <a:gd name="connsiteX37" fmla="*/ 73440 w 2427462"/>
              <a:gd name="connsiteY37" fmla="*/ 1216574 h 1248656"/>
              <a:gd name="connsiteX38" fmla="*/ 429210 w 2427462"/>
              <a:gd name="connsiteY38" fmla="*/ 940764 h 1248656"/>
              <a:gd name="connsiteX39" fmla="*/ 781246 w 2427462"/>
              <a:gd name="connsiteY39" fmla="*/ 1193856 h 1248656"/>
              <a:gd name="connsiteX40" fmla="*/ 816459 w 2427462"/>
              <a:gd name="connsiteY40" fmla="*/ 1222778 h 1248656"/>
              <a:gd name="connsiteX41" fmla="*/ 851671 w 2427462"/>
              <a:gd name="connsiteY41" fmla="*/ 1193856 h 1248656"/>
              <a:gd name="connsiteX42" fmla="*/ 1171281 w 2427462"/>
              <a:gd name="connsiteY42" fmla="*/ 941999 h 1248656"/>
              <a:gd name="connsiteX43" fmla="*/ 1243084 w 2427462"/>
              <a:gd name="connsiteY43" fmla="*/ 942775 h 1248656"/>
              <a:gd name="connsiteX44" fmla="*/ 1559449 w 2427462"/>
              <a:gd name="connsiteY44" fmla="*/ 1216603 h 1248656"/>
              <a:gd name="connsiteX45" fmla="*/ 1595149 w 2427462"/>
              <a:gd name="connsiteY45" fmla="*/ 1248656 h 1248656"/>
              <a:gd name="connsiteX46" fmla="*/ 1606207 w 2427462"/>
              <a:gd name="connsiteY46" fmla="*/ 1248656 h 1248656"/>
              <a:gd name="connsiteX47" fmla="*/ 1641907 w 2427462"/>
              <a:gd name="connsiteY47" fmla="*/ 1216603 h 1248656"/>
              <a:gd name="connsiteX48" fmla="*/ 1997706 w 2427462"/>
              <a:gd name="connsiteY48" fmla="*/ 940793 h 1248656"/>
              <a:gd name="connsiteX49" fmla="*/ 2353447 w 2427462"/>
              <a:gd name="connsiteY49" fmla="*/ 1216603 h 1248656"/>
              <a:gd name="connsiteX50" fmla="*/ 2389148 w 2427462"/>
              <a:gd name="connsiteY50" fmla="*/ 1248656 h 1248656"/>
              <a:gd name="connsiteX51" fmla="*/ 2390986 w 2427462"/>
              <a:gd name="connsiteY51" fmla="*/ 1248656 h 1248656"/>
              <a:gd name="connsiteX52" fmla="*/ 2391560 w 2427462"/>
              <a:gd name="connsiteY52" fmla="*/ 1248656 h 1248656"/>
              <a:gd name="connsiteX53" fmla="*/ 2427462 w 2427462"/>
              <a:gd name="connsiteY53" fmla="*/ 1212755 h 1248656"/>
              <a:gd name="connsiteX54" fmla="*/ 2426859 w 2427462"/>
              <a:gd name="connsiteY54" fmla="*/ 1206235 h 1248656"/>
              <a:gd name="connsiteX55" fmla="*/ 88978 w 2427462"/>
              <a:gd name="connsiteY55" fmla="*/ 1014664 h 1248656"/>
              <a:gd name="connsiteX56" fmla="*/ 920889 w 2427462"/>
              <a:gd name="connsiteY56" fmla="*/ 109256 h 1248656"/>
              <a:gd name="connsiteX57" fmla="*/ 393050 w 2427462"/>
              <a:gd name="connsiteY57" fmla="*/ 870828 h 1248656"/>
              <a:gd name="connsiteX58" fmla="*/ 88978 w 2427462"/>
              <a:gd name="connsiteY58" fmla="*/ 1014664 h 1248656"/>
              <a:gd name="connsiteX59" fmla="*/ 467237 w 2427462"/>
              <a:gd name="connsiteY59" fmla="*/ 870598 h 1248656"/>
              <a:gd name="connsiteX60" fmla="*/ 1122800 w 2427462"/>
              <a:gd name="connsiteY60" fmla="*/ 102276 h 1248656"/>
              <a:gd name="connsiteX61" fmla="*/ 790409 w 2427462"/>
              <a:gd name="connsiteY61" fmla="*/ 1041834 h 1248656"/>
              <a:gd name="connsiteX62" fmla="*/ 467237 w 2427462"/>
              <a:gd name="connsiteY62" fmla="*/ 870598 h 1248656"/>
              <a:gd name="connsiteX63" fmla="*/ 863217 w 2427462"/>
              <a:gd name="connsiteY63" fmla="*/ 1015755 h 1248656"/>
              <a:gd name="connsiteX64" fmla="*/ 1171281 w 2427462"/>
              <a:gd name="connsiteY64" fmla="*/ 156617 h 1248656"/>
              <a:gd name="connsiteX65" fmla="*/ 1171281 w 2427462"/>
              <a:gd name="connsiteY65" fmla="*/ 870081 h 1248656"/>
              <a:gd name="connsiteX66" fmla="*/ 863217 w 2427462"/>
              <a:gd name="connsiteY66" fmla="*/ 1015755 h 1248656"/>
              <a:gd name="connsiteX67" fmla="*/ 1243084 w 2427462"/>
              <a:gd name="connsiteY67" fmla="*/ 870713 h 1248656"/>
              <a:gd name="connsiteX68" fmla="*/ 1243084 w 2427462"/>
              <a:gd name="connsiteY68" fmla="*/ 146048 h 1248656"/>
              <a:gd name="connsiteX69" fmla="*/ 1560368 w 2427462"/>
              <a:gd name="connsiteY69" fmla="*/ 1035085 h 1248656"/>
              <a:gd name="connsiteX70" fmla="*/ 1243084 w 2427462"/>
              <a:gd name="connsiteY70" fmla="*/ 870713 h 1248656"/>
              <a:gd name="connsiteX71" fmla="*/ 1632659 w 2427462"/>
              <a:gd name="connsiteY71" fmla="*/ 1046372 h 1248656"/>
              <a:gd name="connsiteX72" fmla="*/ 1300096 w 2427462"/>
              <a:gd name="connsiteY72" fmla="*/ 102276 h 1248656"/>
              <a:gd name="connsiteX73" fmla="*/ 1955744 w 2427462"/>
              <a:gd name="connsiteY73" fmla="*/ 870972 h 1248656"/>
              <a:gd name="connsiteX74" fmla="*/ 1632659 w 2427462"/>
              <a:gd name="connsiteY74" fmla="*/ 1046372 h 1248656"/>
              <a:gd name="connsiteX75" fmla="*/ 2029759 w 2427462"/>
              <a:gd name="connsiteY75" fmla="*/ 870627 h 1248656"/>
              <a:gd name="connsiteX76" fmla="*/ 1498789 w 2427462"/>
              <a:gd name="connsiteY76" fmla="*/ 107446 h 1248656"/>
              <a:gd name="connsiteX77" fmla="*/ 2337909 w 2427462"/>
              <a:gd name="connsiteY77" fmla="*/ 1014664 h 1248656"/>
              <a:gd name="connsiteX78" fmla="*/ 2029759 w 2427462"/>
              <a:gd name="connsiteY78" fmla="*/ 870627 h 1248656"/>
              <a:gd name="connsiteX0" fmla="*/ 2426859 w 2427462"/>
              <a:gd name="connsiteY0" fmla="*/ 1206235 h 1248656"/>
              <a:gd name="connsiteX1" fmla="*/ 2275440 w 2427462"/>
              <a:gd name="connsiteY1" fmla="*/ 626353 h 1248656"/>
              <a:gd name="connsiteX2" fmla="*/ 2275440 w 2427462"/>
              <a:gd name="connsiteY2" fmla="*/ 417952 h 1248656"/>
              <a:gd name="connsiteX3" fmla="*/ 2203637 w 2427462"/>
              <a:gd name="connsiteY3" fmla="*/ 417952 h 1248656"/>
              <a:gd name="connsiteX4" fmla="*/ 2203637 w 2427462"/>
              <a:gd name="connsiteY4" fmla="*/ 512617 h 1248656"/>
              <a:gd name="connsiteX5" fmla="*/ 2122988 w 2427462"/>
              <a:gd name="connsiteY5" fmla="*/ 410800 h 1248656"/>
              <a:gd name="connsiteX6" fmla="*/ 2051185 w 2427462"/>
              <a:gd name="connsiteY6" fmla="*/ 254643 h 1248656"/>
              <a:gd name="connsiteX7" fmla="*/ 2051185 w 2427462"/>
              <a:gd name="connsiteY7" fmla="*/ 336096 h 1248656"/>
              <a:gd name="connsiteX8" fmla="*/ 1956204 w 2427462"/>
              <a:gd name="connsiteY8" fmla="*/ 254183 h 1248656"/>
              <a:gd name="connsiteX9" fmla="*/ 1884401 w 2427462"/>
              <a:gd name="connsiteY9" fmla="*/ 125914 h 1248656"/>
              <a:gd name="connsiteX10" fmla="*/ 1884401 w 2427462"/>
              <a:gd name="connsiteY10" fmla="*/ 202226 h 1248656"/>
              <a:gd name="connsiteX11" fmla="*/ 1814350 w 2427462"/>
              <a:gd name="connsiteY11" fmla="*/ 159144 h 1248656"/>
              <a:gd name="connsiteX12" fmla="*/ 1742546 w 2427462"/>
              <a:gd name="connsiteY12" fmla="*/ 73239 h 1248656"/>
              <a:gd name="connsiteX13" fmla="*/ 1742546 w 2427462"/>
              <a:gd name="connsiteY13" fmla="*/ 120916 h 1248656"/>
              <a:gd name="connsiteX14" fmla="*/ 1684616 w 2427462"/>
              <a:gd name="connsiteY14" fmla="*/ 94493 h 1248656"/>
              <a:gd name="connsiteX15" fmla="*/ 1612813 w 2427462"/>
              <a:gd name="connsiteY15" fmla="*/ 39664 h 1248656"/>
              <a:gd name="connsiteX16" fmla="*/ 1612813 w 2427462"/>
              <a:gd name="connsiteY16" fmla="*/ 67093 h 1248656"/>
              <a:gd name="connsiteX17" fmla="*/ 1543795 w 2427462"/>
              <a:gd name="connsiteY17" fmla="*/ 45351 h 1248656"/>
              <a:gd name="connsiteX18" fmla="*/ 1471992 w 2427462"/>
              <a:gd name="connsiteY18" fmla="*/ 27257 h 1248656"/>
              <a:gd name="connsiteX19" fmla="*/ 1243084 w 2427462"/>
              <a:gd name="connsiteY19" fmla="*/ 0 h 1248656"/>
              <a:gd name="connsiteX20" fmla="*/ 1171281 w 2427462"/>
              <a:gd name="connsiteY20" fmla="*/ 316 h 1248656"/>
              <a:gd name="connsiteX21" fmla="*/ 958973 w 2427462"/>
              <a:gd name="connsiteY21" fmla="*/ 26309 h 1248656"/>
              <a:gd name="connsiteX22" fmla="*/ 887170 w 2427462"/>
              <a:gd name="connsiteY22" fmla="*/ 44173 h 1248656"/>
              <a:gd name="connsiteX23" fmla="*/ 817493 w 2427462"/>
              <a:gd name="connsiteY23" fmla="*/ 65944 h 1248656"/>
              <a:gd name="connsiteX24" fmla="*/ 745690 w 2427462"/>
              <a:gd name="connsiteY24" fmla="*/ 93143 h 1248656"/>
              <a:gd name="connsiteX25" fmla="*/ 687156 w 2427462"/>
              <a:gd name="connsiteY25" fmla="*/ 119452 h 1248656"/>
              <a:gd name="connsiteX26" fmla="*/ 615353 w 2427462"/>
              <a:gd name="connsiteY26" fmla="*/ 157536 h 1248656"/>
              <a:gd name="connsiteX27" fmla="*/ 544641 w 2427462"/>
              <a:gd name="connsiteY27" fmla="*/ 200905 h 1248656"/>
              <a:gd name="connsiteX28" fmla="*/ 472838 w 2427462"/>
              <a:gd name="connsiteY28" fmla="*/ 252460 h 1248656"/>
              <a:gd name="connsiteX29" fmla="*/ 377110 w 2427462"/>
              <a:gd name="connsiteY29" fmla="*/ 334746 h 1248656"/>
              <a:gd name="connsiteX30" fmla="*/ 305307 w 2427462"/>
              <a:gd name="connsiteY30" fmla="*/ 409105 h 1248656"/>
              <a:gd name="connsiteX31" fmla="*/ 223940 w 2427462"/>
              <a:gd name="connsiteY31" fmla="*/ 511640 h 1248656"/>
              <a:gd name="connsiteX32" fmla="*/ 152136 w 2427462"/>
              <a:gd name="connsiteY32" fmla="*/ 623940 h 1248656"/>
              <a:gd name="connsiteX33" fmla="*/ 152912 w 2427462"/>
              <a:gd name="connsiteY33" fmla="*/ 623940 h 1248656"/>
              <a:gd name="connsiteX34" fmla="*/ 0 w 2427462"/>
              <a:gd name="connsiteY34" fmla="*/ 1212726 h 1248656"/>
              <a:gd name="connsiteX35" fmla="*/ 37740 w 2427462"/>
              <a:gd name="connsiteY35" fmla="*/ 1248627 h 1248656"/>
              <a:gd name="connsiteX36" fmla="*/ 73440 w 2427462"/>
              <a:gd name="connsiteY36" fmla="*/ 1216574 h 1248656"/>
              <a:gd name="connsiteX37" fmla="*/ 429210 w 2427462"/>
              <a:gd name="connsiteY37" fmla="*/ 940764 h 1248656"/>
              <a:gd name="connsiteX38" fmla="*/ 781246 w 2427462"/>
              <a:gd name="connsiteY38" fmla="*/ 1193856 h 1248656"/>
              <a:gd name="connsiteX39" fmla="*/ 816459 w 2427462"/>
              <a:gd name="connsiteY39" fmla="*/ 1222778 h 1248656"/>
              <a:gd name="connsiteX40" fmla="*/ 851671 w 2427462"/>
              <a:gd name="connsiteY40" fmla="*/ 1193856 h 1248656"/>
              <a:gd name="connsiteX41" fmla="*/ 1171281 w 2427462"/>
              <a:gd name="connsiteY41" fmla="*/ 941999 h 1248656"/>
              <a:gd name="connsiteX42" fmla="*/ 1243084 w 2427462"/>
              <a:gd name="connsiteY42" fmla="*/ 942775 h 1248656"/>
              <a:gd name="connsiteX43" fmla="*/ 1559449 w 2427462"/>
              <a:gd name="connsiteY43" fmla="*/ 1216603 h 1248656"/>
              <a:gd name="connsiteX44" fmla="*/ 1595149 w 2427462"/>
              <a:gd name="connsiteY44" fmla="*/ 1248656 h 1248656"/>
              <a:gd name="connsiteX45" fmla="*/ 1606207 w 2427462"/>
              <a:gd name="connsiteY45" fmla="*/ 1248656 h 1248656"/>
              <a:gd name="connsiteX46" fmla="*/ 1641907 w 2427462"/>
              <a:gd name="connsiteY46" fmla="*/ 1216603 h 1248656"/>
              <a:gd name="connsiteX47" fmla="*/ 1997706 w 2427462"/>
              <a:gd name="connsiteY47" fmla="*/ 940793 h 1248656"/>
              <a:gd name="connsiteX48" fmla="*/ 2353447 w 2427462"/>
              <a:gd name="connsiteY48" fmla="*/ 1216603 h 1248656"/>
              <a:gd name="connsiteX49" fmla="*/ 2389148 w 2427462"/>
              <a:gd name="connsiteY49" fmla="*/ 1248656 h 1248656"/>
              <a:gd name="connsiteX50" fmla="*/ 2390986 w 2427462"/>
              <a:gd name="connsiteY50" fmla="*/ 1248656 h 1248656"/>
              <a:gd name="connsiteX51" fmla="*/ 2391560 w 2427462"/>
              <a:gd name="connsiteY51" fmla="*/ 1248656 h 1248656"/>
              <a:gd name="connsiteX52" fmla="*/ 2427462 w 2427462"/>
              <a:gd name="connsiteY52" fmla="*/ 1212755 h 1248656"/>
              <a:gd name="connsiteX53" fmla="*/ 2426859 w 2427462"/>
              <a:gd name="connsiteY53" fmla="*/ 1206235 h 1248656"/>
              <a:gd name="connsiteX54" fmla="*/ 88978 w 2427462"/>
              <a:gd name="connsiteY54" fmla="*/ 1014664 h 1248656"/>
              <a:gd name="connsiteX55" fmla="*/ 920889 w 2427462"/>
              <a:gd name="connsiteY55" fmla="*/ 109256 h 1248656"/>
              <a:gd name="connsiteX56" fmla="*/ 393050 w 2427462"/>
              <a:gd name="connsiteY56" fmla="*/ 870828 h 1248656"/>
              <a:gd name="connsiteX57" fmla="*/ 88978 w 2427462"/>
              <a:gd name="connsiteY57" fmla="*/ 1014664 h 1248656"/>
              <a:gd name="connsiteX58" fmla="*/ 467237 w 2427462"/>
              <a:gd name="connsiteY58" fmla="*/ 870598 h 1248656"/>
              <a:gd name="connsiteX59" fmla="*/ 1122800 w 2427462"/>
              <a:gd name="connsiteY59" fmla="*/ 102276 h 1248656"/>
              <a:gd name="connsiteX60" fmla="*/ 790409 w 2427462"/>
              <a:gd name="connsiteY60" fmla="*/ 1041834 h 1248656"/>
              <a:gd name="connsiteX61" fmla="*/ 467237 w 2427462"/>
              <a:gd name="connsiteY61" fmla="*/ 870598 h 1248656"/>
              <a:gd name="connsiteX62" fmla="*/ 863217 w 2427462"/>
              <a:gd name="connsiteY62" fmla="*/ 1015755 h 1248656"/>
              <a:gd name="connsiteX63" fmla="*/ 1171281 w 2427462"/>
              <a:gd name="connsiteY63" fmla="*/ 156617 h 1248656"/>
              <a:gd name="connsiteX64" fmla="*/ 1171281 w 2427462"/>
              <a:gd name="connsiteY64" fmla="*/ 870081 h 1248656"/>
              <a:gd name="connsiteX65" fmla="*/ 863217 w 2427462"/>
              <a:gd name="connsiteY65" fmla="*/ 1015755 h 1248656"/>
              <a:gd name="connsiteX66" fmla="*/ 1243084 w 2427462"/>
              <a:gd name="connsiteY66" fmla="*/ 870713 h 1248656"/>
              <a:gd name="connsiteX67" fmla="*/ 1243084 w 2427462"/>
              <a:gd name="connsiteY67" fmla="*/ 146048 h 1248656"/>
              <a:gd name="connsiteX68" fmla="*/ 1560368 w 2427462"/>
              <a:gd name="connsiteY68" fmla="*/ 1035085 h 1248656"/>
              <a:gd name="connsiteX69" fmla="*/ 1243084 w 2427462"/>
              <a:gd name="connsiteY69" fmla="*/ 870713 h 1248656"/>
              <a:gd name="connsiteX70" fmla="*/ 1632659 w 2427462"/>
              <a:gd name="connsiteY70" fmla="*/ 1046372 h 1248656"/>
              <a:gd name="connsiteX71" fmla="*/ 1300096 w 2427462"/>
              <a:gd name="connsiteY71" fmla="*/ 102276 h 1248656"/>
              <a:gd name="connsiteX72" fmla="*/ 1955744 w 2427462"/>
              <a:gd name="connsiteY72" fmla="*/ 870972 h 1248656"/>
              <a:gd name="connsiteX73" fmla="*/ 1632659 w 2427462"/>
              <a:gd name="connsiteY73" fmla="*/ 1046372 h 1248656"/>
              <a:gd name="connsiteX74" fmla="*/ 2029759 w 2427462"/>
              <a:gd name="connsiteY74" fmla="*/ 870627 h 1248656"/>
              <a:gd name="connsiteX75" fmla="*/ 1498789 w 2427462"/>
              <a:gd name="connsiteY75" fmla="*/ 107446 h 1248656"/>
              <a:gd name="connsiteX76" fmla="*/ 2337909 w 2427462"/>
              <a:gd name="connsiteY76" fmla="*/ 1014664 h 1248656"/>
              <a:gd name="connsiteX77" fmla="*/ 2029759 w 2427462"/>
              <a:gd name="connsiteY77" fmla="*/ 870627 h 1248656"/>
              <a:gd name="connsiteX0" fmla="*/ 2426859 w 2427462"/>
              <a:gd name="connsiteY0" fmla="*/ 1206235 h 1248656"/>
              <a:gd name="connsiteX1" fmla="*/ 2275440 w 2427462"/>
              <a:gd name="connsiteY1" fmla="*/ 626353 h 1248656"/>
              <a:gd name="connsiteX2" fmla="*/ 2203637 w 2427462"/>
              <a:gd name="connsiteY2" fmla="*/ 417952 h 1248656"/>
              <a:gd name="connsiteX3" fmla="*/ 2203637 w 2427462"/>
              <a:gd name="connsiteY3" fmla="*/ 512617 h 1248656"/>
              <a:gd name="connsiteX4" fmla="*/ 2122988 w 2427462"/>
              <a:gd name="connsiteY4" fmla="*/ 410800 h 1248656"/>
              <a:gd name="connsiteX5" fmla="*/ 2051185 w 2427462"/>
              <a:gd name="connsiteY5" fmla="*/ 254643 h 1248656"/>
              <a:gd name="connsiteX6" fmla="*/ 2051185 w 2427462"/>
              <a:gd name="connsiteY6" fmla="*/ 336096 h 1248656"/>
              <a:gd name="connsiteX7" fmla="*/ 1956204 w 2427462"/>
              <a:gd name="connsiteY7" fmla="*/ 254183 h 1248656"/>
              <a:gd name="connsiteX8" fmla="*/ 1884401 w 2427462"/>
              <a:gd name="connsiteY8" fmla="*/ 125914 h 1248656"/>
              <a:gd name="connsiteX9" fmla="*/ 1884401 w 2427462"/>
              <a:gd name="connsiteY9" fmla="*/ 202226 h 1248656"/>
              <a:gd name="connsiteX10" fmla="*/ 1814350 w 2427462"/>
              <a:gd name="connsiteY10" fmla="*/ 159144 h 1248656"/>
              <a:gd name="connsiteX11" fmla="*/ 1742546 w 2427462"/>
              <a:gd name="connsiteY11" fmla="*/ 73239 h 1248656"/>
              <a:gd name="connsiteX12" fmla="*/ 1742546 w 2427462"/>
              <a:gd name="connsiteY12" fmla="*/ 120916 h 1248656"/>
              <a:gd name="connsiteX13" fmla="*/ 1684616 w 2427462"/>
              <a:gd name="connsiteY13" fmla="*/ 94493 h 1248656"/>
              <a:gd name="connsiteX14" fmla="*/ 1612813 w 2427462"/>
              <a:gd name="connsiteY14" fmla="*/ 39664 h 1248656"/>
              <a:gd name="connsiteX15" fmla="*/ 1612813 w 2427462"/>
              <a:gd name="connsiteY15" fmla="*/ 67093 h 1248656"/>
              <a:gd name="connsiteX16" fmla="*/ 1543795 w 2427462"/>
              <a:gd name="connsiteY16" fmla="*/ 45351 h 1248656"/>
              <a:gd name="connsiteX17" fmla="*/ 1471992 w 2427462"/>
              <a:gd name="connsiteY17" fmla="*/ 27257 h 1248656"/>
              <a:gd name="connsiteX18" fmla="*/ 1243084 w 2427462"/>
              <a:gd name="connsiteY18" fmla="*/ 0 h 1248656"/>
              <a:gd name="connsiteX19" fmla="*/ 1171281 w 2427462"/>
              <a:gd name="connsiteY19" fmla="*/ 316 h 1248656"/>
              <a:gd name="connsiteX20" fmla="*/ 958973 w 2427462"/>
              <a:gd name="connsiteY20" fmla="*/ 26309 h 1248656"/>
              <a:gd name="connsiteX21" fmla="*/ 887170 w 2427462"/>
              <a:gd name="connsiteY21" fmla="*/ 44173 h 1248656"/>
              <a:gd name="connsiteX22" fmla="*/ 817493 w 2427462"/>
              <a:gd name="connsiteY22" fmla="*/ 65944 h 1248656"/>
              <a:gd name="connsiteX23" fmla="*/ 745690 w 2427462"/>
              <a:gd name="connsiteY23" fmla="*/ 93143 h 1248656"/>
              <a:gd name="connsiteX24" fmla="*/ 687156 w 2427462"/>
              <a:gd name="connsiteY24" fmla="*/ 119452 h 1248656"/>
              <a:gd name="connsiteX25" fmla="*/ 615353 w 2427462"/>
              <a:gd name="connsiteY25" fmla="*/ 157536 h 1248656"/>
              <a:gd name="connsiteX26" fmla="*/ 544641 w 2427462"/>
              <a:gd name="connsiteY26" fmla="*/ 200905 h 1248656"/>
              <a:gd name="connsiteX27" fmla="*/ 472838 w 2427462"/>
              <a:gd name="connsiteY27" fmla="*/ 252460 h 1248656"/>
              <a:gd name="connsiteX28" fmla="*/ 377110 w 2427462"/>
              <a:gd name="connsiteY28" fmla="*/ 334746 h 1248656"/>
              <a:gd name="connsiteX29" fmla="*/ 305307 w 2427462"/>
              <a:gd name="connsiteY29" fmla="*/ 409105 h 1248656"/>
              <a:gd name="connsiteX30" fmla="*/ 223940 w 2427462"/>
              <a:gd name="connsiteY30" fmla="*/ 511640 h 1248656"/>
              <a:gd name="connsiteX31" fmla="*/ 152136 w 2427462"/>
              <a:gd name="connsiteY31" fmla="*/ 623940 h 1248656"/>
              <a:gd name="connsiteX32" fmla="*/ 152912 w 2427462"/>
              <a:gd name="connsiteY32" fmla="*/ 623940 h 1248656"/>
              <a:gd name="connsiteX33" fmla="*/ 0 w 2427462"/>
              <a:gd name="connsiteY33" fmla="*/ 1212726 h 1248656"/>
              <a:gd name="connsiteX34" fmla="*/ 37740 w 2427462"/>
              <a:gd name="connsiteY34" fmla="*/ 1248627 h 1248656"/>
              <a:gd name="connsiteX35" fmla="*/ 73440 w 2427462"/>
              <a:gd name="connsiteY35" fmla="*/ 1216574 h 1248656"/>
              <a:gd name="connsiteX36" fmla="*/ 429210 w 2427462"/>
              <a:gd name="connsiteY36" fmla="*/ 940764 h 1248656"/>
              <a:gd name="connsiteX37" fmla="*/ 781246 w 2427462"/>
              <a:gd name="connsiteY37" fmla="*/ 1193856 h 1248656"/>
              <a:gd name="connsiteX38" fmla="*/ 816459 w 2427462"/>
              <a:gd name="connsiteY38" fmla="*/ 1222778 h 1248656"/>
              <a:gd name="connsiteX39" fmla="*/ 851671 w 2427462"/>
              <a:gd name="connsiteY39" fmla="*/ 1193856 h 1248656"/>
              <a:gd name="connsiteX40" fmla="*/ 1171281 w 2427462"/>
              <a:gd name="connsiteY40" fmla="*/ 941999 h 1248656"/>
              <a:gd name="connsiteX41" fmla="*/ 1243084 w 2427462"/>
              <a:gd name="connsiteY41" fmla="*/ 942775 h 1248656"/>
              <a:gd name="connsiteX42" fmla="*/ 1559449 w 2427462"/>
              <a:gd name="connsiteY42" fmla="*/ 1216603 h 1248656"/>
              <a:gd name="connsiteX43" fmla="*/ 1595149 w 2427462"/>
              <a:gd name="connsiteY43" fmla="*/ 1248656 h 1248656"/>
              <a:gd name="connsiteX44" fmla="*/ 1606207 w 2427462"/>
              <a:gd name="connsiteY44" fmla="*/ 1248656 h 1248656"/>
              <a:gd name="connsiteX45" fmla="*/ 1641907 w 2427462"/>
              <a:gd name="connsiteY45" fmla="*/ 1216603 h 1248656"/>
              <a:gd name="connsiteX46" fmla="*/ 1997706 w 2427462"/>
              <a:gd name="connsiteY46" fmla="*/ 940793 h 1248656"/>
              <a:gd name="connsiteX47" fmla="*/ 2353447 w 2427462"/>
              <a:gd name="connsiteY47" fmla="*/ 1216603 h 1248656"/>
              <a:gd name="connsiteX48" fmla="*/ 2389148 w 2427462"/>
              <a:gd name="connsiteY48" fmla="*/ 1248656 h 1248656"/>
              <a:gd name="connsiteX49" fmla="*/ 2390986 w 2427462"/>
              <a:gd name="connsiteY49" fmla="*/ 1248656 h 1248656"/>
              <a:gd name="connsiteX50" fmla="*/ 2391560 w 2427462"/>
              <a:gd name="connsiteY50" fmla="*/ 1248656 h 1248656"/>
              <a:gd name="connsiteX51" fmla="*/ 2427462 w 2427462"/>
              <a:gd name="connsiteY51" fmla="*/ 1212755 h 1248656"/>
              <a:gd name="connsiteX52" fmla="*/ 2426859 w 2427462"/>
              <a:gd name="connsiteY52" fmla="*/ 1206235 h 1248656"/>
              <a:gd name="connsiteX53" fmla="*/ 88978 w 2427462"/>
              <a:gd name="connsiteY53" fmla="*/ 1014664 h 1248656"/>
              <a:gd name="connsiteX54" fmla="*/ 920889 w 2427462"/>
              <a:gd name="connsiteY54" fmla="*/ 109256 h 1248656"/>
              <a:gd name="connsiteX55" fmla="*/ 393050 w 2427462"/>
              <a:gd name="connsiteY55" fmla="*/ 870828 h 1248656"/>
              <a:gd name="connsiteX56" fmla="*/ 88978 w 2427462"/>
              <a:gd name="connsiteY56" fmla="*/ 1014664 h 1248656"/>
              <a:gd name="connsiteX57" fmla="*/ 467237 w 2427462"/>
              <a:gd name="connsiteY57" fmla="*/ 870598 h 1248656"/>
              <a:gd name="connsiteX58" fmla="*/ 1122800 w 2427462"/>
              <a:gd name="connsiteY58" fmla="*/ 102276 h 1248656"/>
              <a:gd name="connsiteX59" fmla="*/ 790409 w 2427462"/>
              <a:gd name="connsiteY59" fmla="*/ 1041834 h 1248656"/>
              <a:gd name="connsiteX60" fmla="*/ 467237 w 2427462"/>
              <a:gd name="connsiteY60" fmla="*/ 870598 h 1248656"/>
              <a:gd name="connsiteX61" fmla="*/ 863217 w 2427462"/>
              <a:gd name="connsiteY61" fmla="*/ 1015755 h 1248656"/>
              <a:gd name="connsiteX62" fmla="*/ 1171281 w 2427462"/>
              <a:gd name="connsiteY62" fmla="*/ 156617 h 1248656"/>
              <a:gd name="connsiteX63" fmla="*/ 1171281 w 2427462"/>
              <a:gd name="connsiteY63" fmla="*/ 870081 h 1248656"/>
              <a:gd name="connsiteX64" fmla="*/ 863217 w 2427462"/>
              <a:gd name="connsiteY64" fmla="*/ 1015755 h 1248656"/>
              <a:gd name="connsiteX65" fmla="*/ 1243084 w 2427462"/>
              <a:gd name="connsiteY65" fmla="*/ 870713 h 1248656"/>
              <a:gd name="connsiteX66" fmla="*/ 1243084 w 2427462"/>
              <a:gd name="connsiteY66" fmla="*/ 146048 h 1248656"/>
              <a:gd name="connsiteX67" fmla="*/ 1560368 w 2427462"/>
              <a:gd name="connsiteY67" fmla="*/ 1035085 h 1248656"/>
              <a:gd name="connsiteX68" fmla="*/ 1243084 w 2427462"/>
              <a:gd name="connsiteY68" fmla="*/ 870713 h 1248656"/>
              <a:gd name="connsiteX69" fmla="*/ 1632659 w 2427462"/>
              <a:gd name="connsiteY69" fmla="*/ 1046372 h 1248656"/>
              <a:gd name="connsiteX70" fmla="*/ 1300096 w 2427462"/>
              <a:gd name="connsiteY70" fmla="*/ 102276 h 1248656"/>
              <a:gd name="connsiteX71" fmla="*/ 1955744 w 2427462"/>
              <a:gd name="connsiteY71" fmla="*/ 870972 h 1248656"/>
              <a:gd name="connsiteX72" fmla="*/ 1632659 w 2427462"/>
              <a:gd name="connsiteY72" fmla="*/ 1046372 h 1248656"/>
              <a:gd name="connsiteX73" fmla="*/ 2029759 w 2427462"/>
              <a:gd name="connsiteY73" fmla="*/ 870627 h 1248656"/>
              <a:gd name="connsiteX74" fmla="*/ 1498789 w 2427462"/>
              <a:gd name="connsiteY74" fmla="*/ 107446 h 1248656"/>
              <a:gd name="connsiteX75" fmla="*/ 2337909 w 2427462"/>
              <a:gd name="connsiteY75" fmla="*/ 1014664 h 1248656"/>
              <a:gd name="connsiteX76" fmla="*/ 2029759 w 2427462"/>
              <a:gd name="connsiteY76" fmla="*/ 870627 h 1248656"/>
              <a:gd name="connsiteX0" fmla="*/ 2426859 w 2427462"/>
              <a:gd name="connsiteY0" fmla="*/ 1206235 h 1248656"/>
              <a:gd name="connsiteX1" fmla="*/ 2275440 w 2427462"/>
              <a:gd name="connsiteY1" fmla="*/ 626353 h 1248656"/>
              <a:gd name="connsiteX2" fmla="*/ 2203637 w 2427462"/>
              <a:gd name="connsiteY2" fmla="*/ 512617 h 1248656"/>
              <a:gd name="connsiteX3" fmla="*/ 2122988 w 2427462"/>
              <a:gd name="connsiteY3" fmla="*/ 410800 h 1248656"/>
              <a:gd name="connsiteX4" fmla="*/ 2051185 w 2427462"/>
              <a:gd name="connsiteY4" fmla="*/ 254643 h 1248656"/>
              <a:gd name="connsiteX5" fmla="*/ 2051185 w 2427462"/>
              <a:gd name="connsiteY5" fmla="*/ 336096 h 1248656"/>
              <a:gd name="connsiteX6" fmla="*/ 1956204 w 2427462"/>
              <a:gd name="connsiteY6" fmla="*/ 254183 h 1248656"/>
              <a:gd name="connsiteX7" fmla="*/ 1884401 w 2427462"/>
              <a:gd name="connsiteY7" fmla="*/ 125914 h 1248656"/>
              <a:gd name="connsiteX8" fmla="*/ 1884401 w 2427462"/>
              <a:gd name="connsiteY8" fmla="*/ 202226 h 1248656"/>
              <a:gd name="connsiteX9" fmla="*/ 1814350 w 2427462"/>
              <a:gd name="connsiteY9" fmla="*/ 159144 h 1248656"/>
              <a:gd name="connsiteX10" fmla="*/ 1742546 w 2427462"/>
              <a:gd name="connsiteY10" fmla="*/ 73239 h 1248656"/>
              <a:gd name="connsiteX11" fmla="*/ 1742546 w 2427462"/>
              <a:gd name="connsiteY11" fmla="*/ 120916 h 1248656"/>
              <a:gd name="connsiteX12" fmla="*/ 1684616 w 2427462"/>
              <a:gd name="connsiteY12" fmla="*/ 94493 h 1248656"/>
              <a:gd name="connsiteX13" fmla="*/ 1612813 w 2427462"/>
              <a:gd name="connsiteY13" fmla="*/ 39664 h 1248656"/>
              <a:gd name="connsiteX14" fmla="*/ 1612813 w 2427462"/>
              <a:gd name="connsiteY14" fmla="*/ 67093 h 1248656"/>
              <a:gd name="connsiteX15" fmla="*/ 1543795 w 2427462"/>
              <a:gd name="connsiteY15" fmla="*/ 45351 h 1248656"/>
              <a:gd name="connsiteX16" fmla="*/ 1471992 w 2427462"/>
              <a:gd name="connsiteY16" fmla="*/ 27257 h 1248656"/>
              <a:gd name="connsiteX17" fmla="*/ 1243084 w 2427462"/>
              <a:gd name="connsiteY17" fmla="*/ 0 h 1248656"/>
              <a:gd name="connsiteX18" fmla="*/ 1171281 w 2427462"/>
              <a:gd name="connsiteY18" fmla="*/ 316 h 1248656"/>
              <a:gd name="connsiteX19" fmla="*/ 958973 w 2427462"/>
              <a:gd name="connsiteY19" fmla="*/ 26309 h 1248656"/>
              <a:gd name="connsiteX20" fmla="*/ 887170 w 2427462"/>
              <a:gd name="connsiteY20" fmla="*/ 44173 h 1248656"/>
              <a:gd name="connsiteX21" fmla="*/ 817493 w 2427462"/>
              <a:gd name="connsiteY21" fmla="*/ 65944 h 1248656"/>
              <a:gd name="connsiteX22" fmla="*/ 745690 w 2427462"/>
              <a:gd name="connsiteY22" fmla="*/ 93143 h 1248656"/>
              <a:gd name="connsiteX23" fmla="*/ 687156 w 2427462"/>
              <a:gd name="connsiteY23" fmla="*/ 119452 h 1248656"/>
              <a:gd name="connsiteX24" fmla="*/ 615353 w 2427462"/>
              <a:gd name="connsiteY24" fmla="*/ 157536 h 1248656"/>
              <a:gd name="connsiteX25" fmla="*/ 544641 w 2427462"/>
              <a:gd name="connsiteY25" fmla="*/ 200905 h 1248656"/>
              <a:gd name="connsiteX26" fmla="*/ 472838 w 2427462"/>
              <a:gd name="connsiteY26" fmla="*/ 252460 h 1248656"/>
              <a:gd name="connsiteX27" fmla="*/ 377110 w 2427462"/>
              <a:gd name="connsiteY27" fmla="*/ 334746 h 1248656"/>
              <a:gd name="connsiteX28" fmla="*/ 305307 w 2427462"/>
              <a:gd name="connsiteY28" fmla="*/ 409105 h 1248656"/>
              <a:gd name="connsiteX29" fmla="*/ 223940 w 2427462"/>
              <a:gd name="connsiteY29" fmla="*/ 511640 h 1248656"/>
              <a:gd name="connsiteX30" fmla="*/ 152136 w 2427462"/>
              <a:gd name="connsiteY30" fmla="*/ 623940 h 1248656"/>
              <a:gd name="connsiteX31" fmla="*/ 152912 w 2427462"/>
              <a:gd name="connsiteY31" fmla="*/ 623940 h 1248656"/>
              <a:gd name="connsiteX32" fmla="*/ 0 w 2427462"/>
              <a:gd name="connsiteY32" fmla="*/ 1212726 h 1248656"/>
              <a:gd name="connsiteX33" fmla="*/ 37740 w 2427462"/>
              <a:gd name="connsiteY33" fmla="*/ 1248627 h 1248656"/>
              <a:gd name="connsiteX34" fmla="*/ 73440 w 2427462"/>
              <a:gd name="connsiteY34" fmla="*/ 1216574 h 1248656"/>
              <a:gd name="connsiteX35" fmla="*/ 429210 w 2427462"/>
              <a:gd name="connsiteY35" fmla="*/ 940764 h 1248656"/>
              <a:gd name="connsiteX36" fmla="*/ 781246 w 2427462"/>
              <a:gd name="connsiteY36" fmla="*/ 1193856 h 1248656"/>
              <a:gd name="connsiteX37" fmla="*/ 816459 w 2427462"/>
              <a:gd name="connsiteY37" fmla="*/ 1222778 h 1248656"/>
              <a:gd name="connsiteX38" fmla="*/ 851671 w 2427462"/>
              <a:gd name="connsiteY38" fmla="*/ 1193856 h 1248656"/>
              <a:gd name="connsiteX39" fmla="*/ 1171281 w 2427462"/>
              <a:gd name="connsiteY39" fmla="*/ 941999 h 1248656"/>
              <a:gd name="connsiteX40" fmla="*/ 1243084 w 2427462"/>
              <a:gd name="connsiteY40" fmla="*/ 942775 h 1248656"/>
              <a:gd name="connsiteX41" fmla="*/ 1559449 w 2427462"/>
              <a:gd name="connsiteY41" fmla="*/ 1216603 h 1248656"/>
              <a:gd name="connsiteX42" fmla="*/ 1595149 w 2427462"/>
              <a:gd name="connsiteY42" fmla="*/ 1248656 h 1248656"/>
              <a:gd name="connsiteX43" fmla="*/ 1606207 w 2427462"/>
              <a:gd name="connsiteY43" fmla="*/ 1248656 h 1248656"/>
              <a:gd name="connsiteX44" fmla="*/ 1641907 w 2427462"/>
              <a:gd name="connsiteY44" fmla="*/ 1216603 h 1248656"/>
              <a:gd name="connsiteX45" fmla="*/ 1997706 w 2427462"/>
              <a:gd name="connsiteY45" fmla="*/ 940793 h 1248656"/>
              <a:gd name="connsiteX46" fmla="*/ 2353447 w 2427462"/>
              <a:gd name="connsiteY46" fmla="*/ 1216603 h 1248656"/>
              <a:gd name="connsiteX47" fmla="*/ 2389148 w 2427462"/>
              <a:gd name="connsiteY47" fmla="*/ 1248656 h 1248656"/>
              <a:gd name="connsiteX48" fmla="*/ 2390986 w 2427462"/>
              <a:gd name="connsiteY48" fmla="*/ 1248656 h 1248656"/>
              <a:gd name="connsiteX49" fmla="*/ 2391560 w 2427462"/>
              <a:gd name="connsiteY49" fmla="*/ 1248656 h 1248656"/>
              <a:gd name="connsiteX50" fmla="*/ 2427462 w 2427462"/>
              <a:gd name="connsiteY50" fmla="*/ 1212755 h 1248656"/>
              <a:gd name="connsiteX51" fmla="*/ 2426859 w 2427462"/>
              <a:gd name="connsiteY51" fmla="*/ 1206235 h 1248656"/>
              <a:gd name="connsiteX52" fmla="*/ 88978 w 2427462"/>
              <a:gd name="connsiteY52" fmla="*/ 1014664 h 1248656"/>
              <a:gd name="connsiteX53" fmla="*/ 920889 w 2427462"/>
              <a:gd name="connsiteY53" fmla="*/ 109256 h 1248656"/>
              <a:gd name="connsiteX54" fmla="*/ 393050 w 2427462"/>
              <a:gd name="connsiteY54" fmla="*/ 870828 h 1248656"/>
              <a:gd name="connsiteX55" fmla="*/ 88978 w 2427462"/>
              <a:gd name="connsiteY55" fmla="*/ 1014664 h 1248656"/>
              <a:gd name="connsiteX56" fmla="*/ 467237 w 2427462"/>
              <a:gd name="connsiteY56" fmla="*/ 870598 h 1248656"/>
              <a:gd name="connsiteX57" fmla="*/ 1122800 w 2427462"/>
              <a:gd name="connsiteY57" fmla="*/ 102276 h 1248656"/>
              <a:gd name="connsiteX58" fmla="*/ 790409 w 2427462"/>
              <a:gd name="connsiteY58" fmla="*/ 1041834 h 1248656"/>
              <a:gd name="connsiteX59" fmla="*/ 467237 w 2427462"/>
              <a:gd name="connsiteY59" fmla="*/ 870598 h 1248656"/>
              <a:gd name="connsiteX60" fmla="*/ 863217 w 2427462"/>
              <a:gd name="connsiteY60" fmla="*/ 1015755 h 1248656"/>
              <a:gd name="connsiteX61" fmla="*/ 1171281 w 2427462"/>
              <a:gd name="connsiteY61" fmla="*/ 156617 h 1248656"/>
              <a:gd name="connsiteX62" fmla="*/ 1171281 w 2427462"/>
              <a:gd name="connsiteY62" fmla="*/ 870081 h 1248656"/>
              <a:gd name="connsiteX63" fmla="*/ 863217 w 2427462"/>
              <a:gd name="connsiteY63" fmla="*/ 1015755 h 1248656"/>
              <a:gd name="connsiteX64" fmla="*/ 1243084 w 2427462"/>
              <a:gd name="connsiteY64" fmla="*/ 870713 h 1248656"/>
              <a:gd name="connsiteX65" fmla="*/ 1243084 w 2427462"/>
              <a:gd name="connsiteY65" fmla="*/ 146048 h 1248656"/>
              <a:gd name="connsiteX66" fmla="*/ 1560368 w 2427462"/>
              <a:gd name="connsiteY66" fmla="*/ 1035085 h 1248656"/>
              <a:gd name="connsiteX67" fmla="*/ 1243084 w 2427462"/>
              <a:gd name="connsiteY67" fmla="*/ 870713 h 1248656"/>
              <a:gd name="connsiteX68" fmla="*/ 1632659 w 2427462"/>
              <a:gd name="connsiteY68" fmla="*/ 1046372 h 1248656"/>
              <a:gd name="connsiteX69" fmla="*/ 1300096 w 2427462"/>
              <a:gd name="connsiteY69" fmla="*/ 102276 h 1248656"/>
              <a:gd name="connsiteX70" fmla="*/ 1955744 w 2427462"/>
              <a:gd name="connsiteY70" fmla="*/ 870972 h 1248656"/>
              <a:gd name="connsiteX71" fmla="*/ 1632659 w 2427462"/>
              <a:gd name="connsiteY71" fmla="*/ 1046372 h 1248656"/>
              <a:gd name="connsiteX72" fmla="*/ 2029759 w 2427462"/>
              <a:gd name="connsiteY72" fmla="*/ 870627 h 1248656"/>
              <a:gd name="connsiteX73" fmla="*/ 1498789 w 2427462"/>
              <a:gd name="connsiteY73" fmla="*/ 107446 h 1248656"/>
              <a:gd name="connsiteX74" fmla="*/ 2337909 w 2427462"/>
              <a:gd name="connsiteY74" fmla="*/ 1014664 h 1248656"/>
              <a:gd name="connsiteX75" fmla="*/ 2029759 w 2427462"/>
              <a:gd name="connsiteY75" fmla="*/ 870627 h 1248656"/>
              <a:gd name="connsiteX0" fmla="*/ 2426859 w 2427462"/>
              <a:gd name="connsiteY0" fmla="*/ 1206235 h 1248656"/>
              <a:gd name="connsiteX1" fmla="*/ 2275440 w 2427462"/>
              <a:gd name="connsiteY1" fmla="*/ 626353 h 1248656"/>
              <a:gd name="connsiteX2" fmla="*/ 2203637 w 2427462"/>
              <a:gd name="connsiteY2" fmla="*/ 512617 h 1248656"/>
              <a:gd name="connsiteX3" fmla="*/ 2122988 w 2427462"/>
              <a:gd name="connsiteY3" fmla="*/ 410800 h 1248656"/>
              <a:gd name="connsiteX4" fmla="*/ 2051185 w 2427462"/>
              <a:gd name="connsiteY4" fmla="*/ 336096 h 1248656"/>
              <a:gd name="connsiteX5" fmla="*/ 1956204 w 2427462"/>
              <a:gd name="connsiteY5" fmla="*/ 254183 h 1248656"/>
              <a:gd name="connsiteX6" fmla="*/ 1884401 w 2427462"/>
              <a:gd name="connsiteY6" fmla="*/ 125914 h 1248656"/>
              <a:gd name="connsiteX7" fmla="*/ 1884401 w 2427462"/>
              <a:gd name="connsiteY7" fmla="*/ 202226 h 1248656"/>
              <a:gd name="connsiteX8" fmla="*/ 1814350 w 2427462"/>
              <a:gd name="connsiteY8" fmla="*/ 159144 h 1248656"/>
              <a:gd name="connsiteX9" fmla="*/ 1742546 w 2427462"/>
              <a:gd name="connsiteY9" fmla="*/ 73239 h 1248656"/>
              <a:gd name="connsiteX10" fmla="*/ 1742546 w 2427462"/>
              <a:gd name="connsiteY10" fmla="*/ 120916 h 1248656"/>
              <a:gd name="connsiteX11" fmla="*/ 1684616 w 2427462"/>
              <a:gd name="connsiteY11" fmla="*/ 94493 h 1248656"/>
              <a:gd name="connsiteX12" fmla="*/ 1612813 w 2427462"/>
              <a:gd name="connsiteY12" fmla="*/ 39664 h 1248656"/>
              <a:gd name="connsiteX13" fmla="*/ 1612813 w 2427462"/>
              <a:gd name="connsiteY13" fmla="*/ 67093 h 1248656"/>
              <a:gd name="connsiteX14" fmla="*/ 1543795 w 2427462"/>
              <a:gd name="connsiteY14" fmla="*/ 45351 h 1248656"/>
              <a:gd name="connsiteX15" fmla="*/ 1471992 w 2427462"/>
              <a:gd name="connsiteY15" fmla="*/ 27257 h 1248656"/>
              <a:gd name="connsiteX16" fmla="*/ 1243084 w 2427462"/>
              <a:gd name="connsiteY16" fmla="*/ 0 h 1248656"/>
              <a:gd name="connsiteX17" fmla="*/ 1171281 w 2427462"/>
              <a:gd name="connsiteY17" fmla="*/ 316 h 1248656"/>
              <a:gd name="connsiteX18" fmla="*/ 958973 w 2427462"/>
              <a:gd name="connsiteY18" fmla="*/ 26309 h 1248656"/>
              <a:gd name="connsiteX19" fmla="*/ 887170 w 2427462"/>
              <a:gd name="connsiteY19" fmla="*/ 44173 h 1248656"/>
              <a:gd name="connsiteX20" fmla="*/ 817493 w 2427462"/>
              <a:gd name="connsiteY20" fmla="*/ 65944 h 1248656"/>
              <a:gd name="connsiteX21" fmla="*/ 745690 w 2427462"/>
              <a:gd name="connsiteY21" fmla="*/ 93143 h 1248656"/>
              <a:gd name="connsiteX22" fmla="*/ 687156 w 2427462"/>
              <a:gd name="connsiteY22" fmla="*/ 119452 h 1248656"/>
              <a:gd name="connsiteX23" fmla="*/ 615353 w 2427462"/>
              <a:gd name="connsiteY23" fmla="*/ 157536 h 1248656"/>
              <a:gd name="connsiteX24" fmla="*/ 544641 w 2427462"/>
              <a:gd name="connsiteY24" fmla="*/ 200905 h 1248656"/>
              <a:gd name="connsiteX25" fmla="*/ 472838 w 2427462"/>
              <a:gd name="connsiteY25" fmla="*/ 252460 h 1248656"/>
              <a:gd name="connsiteX26" fmla="*/ 377110 w 2427462"/>
              <a:gd name="connsiteY26" fmla="*/ 334746 h 1248656"/>
              <a:gd name="connsiteX27" fmla="*/ 305307 w 2427462"/>
              <a:gd name="connsiteY27" fmla="*/ 409105 h 1248656"/>
              <a:gd name="connsiteX28" fmla="*/ 223940 w 2427462"/>
              <a:gd name="connsiteY28" fmla="*/ 511640 h 1248656"/>
              <a:gd name="connsiteX29" fmla="*/ 152136 w 2427462"/>
              <a:gd name="connsiteY29" fmla="*/ 623940 h 1248656"/>
              <a:gd name="connsiteX30" fmla="*/ 152912 w 2427462"/>
              <a:gd name="connsiteY30" fmla="*/ 623940 h 1248656"/>
              <a:gd name="connsiteX31" fmla="*/ 0 w 2427462"/>
              <a:gd name="connsiteY31" fmla="*/ 1212726 h 1248656"/>
              <a:gd name="connsiteX32" fmla="*/ 37740 w 2427462"/>
              <a:gd name="connsiteY32" fmla="*/ 1248627 h 1248656"/>
              <a:gd name="connsiteX33" fmla="*/ 73440 w 2427462"/>
              <a:gd name="connsiteY33" fmla="*/ 1216574 h 1248656"/>
              <a:gd name="connsiteX34" fmla="*/ 429210 w 2427462"/>
              <a:gd name="connsiteY34" fmla="*/ 940764 h 1248656"/>
              <a:gd name="connsiteX35" fmla="*/ 781246 w 2427462"/>
              <a:gd name="connsiteY35" fmla="*/ 1193856 h 1248656"/>
              <a:gd name="connsiteX36" fmla="*/ 816459 w 2427462"/>
              <a:gd name="connsiteY36" fmla="*/ 1222778 h 1248656"/>
              <a:gd name="connsiteX37" fmla="*/ 851671 w 2427462"/>
              <a:gd name="connsiteY37" fmla="*/ 1193856 h 1248656"/>
              <a:gd name="connsiteX38" fmla="*/ 1171281 w 2427462"/>
              <a:gd name="connsiteY38" fmla="*/ 941999 h 1248656"/>
              <a:gd name="connsiteX39" fmla="*/ 1243084 w 2427462"/>
              <a:gd name="connsiteY39" fmla="*/ 942775 h 1248656"/>
              <a:gd name="connsiteX40" fmla="*/ 1559449 w 2427462"/>
              <a:gd name="connsiteY40" fmla="*/ 1216603 h 1248656"/>
              <a:gd name="connsiteX41" fmla="*/ 1595149 w 2427462"/>
              <a:gd name="connsiteY41" fmla="*/ 1248656 h 1248656"/>
              <a:gd name="connsiteX42" fmla="*/ 1606207 w 2427462"/>
              <a:gd name="connsiteY42" fmla="*/ 1248656 h 1248656"/>
              <a:gd name="connsiteX43" fmla="*/ 1641907 w 2427462"/>
              <a:gd name="connsiteY43" fmla="*/ 1216603 h 1248656"/>
              <a:gd name="connsiteX44" fmla="*/ 1997706 w 2427462"/>
              <a:gd name="connsiteY44" fmla="*/ 940793 h 1248656"/>
              <a:gd name="connsiteX45" fmla="*/ 2353447 w 2427462"/>
              <a:gd name="connsiteY45" fmla="*/ 1216603 h 1248656"/>
              <a:gd name="connsiteX46" fmla="*/ 2389148 w 2427462"/>
              <a:gd name="connsiteY46" fmla="*/ 1248656 h 1248656"/>
              <a:gd name="connsiteX47" fmla="*/ 2390986 w 2427462"/>
              <a:gd name="connsiteY47" fmla="*/ 1248656 h 1248656"/>
              <a:gd name="connsiteX48" fmla="*/ 2391560 w 2427462"/>
              <a:gd name="connsiteY48" fmla="*/ 1248656 h 1248656"/>
              <a:gd name="connsiteX49" fmla="*/ 2427462 w 2427462"/>
              <a:gd name="connsiteY49" fmla="*/ 1212755 h 1248656"/>
              <a:gd name="connsiteX50" fmla="*/ 2426859 w 2427462"/>
              <a:gd name="connsiteY50" fmla="*/ 1206235 h 1248656"/>
              <a:gd name="connsiteX51" fmla="*/ 88978 w 2427462"/>
              <a:gd name="connsiteY51" fmla="*/ 1014664 h 1248656"/>
              <a:gd name="connsiteX52" fmla="*/ 920889 w 2427462"/>
              <a:gd name="connsiteY52" fmla="*/ 109256 h 1248656"/>
              <a:gd name="connsiteX53" fmla="*/ 393050 w 2427462"/>
              <a:gd name="connsiteY53" fmla="*/ 870828 h 1248656"/>
              <a:gd name="connsiteX54" fmla="*/ 88978 w 2427462"/>
              <a:gd name="connsiteY54" fmla="*/ 1014664 h 1248656"/>
              <a:gd name="connsiteX55" fmla="*/ 467237 w 2427462"/>
              <a:gd name="connsiteY55" fmla="*/ 870598 h 1248656"/>
              <a:gd name="connsiteX56" fmla="*/ 1122800 w 2427462"/>
              <a:gd name="connsiteY56" fmla="*/ 102276 h 1248656"/>
              <a:gd name="connsiteX57" fmla="*/ 790409 w 2427462"/>
              <a:gd name="connsiteY57" fmla="*/ 1041834 h 1248656"/>
              <a:gd name="connsiteX58" fmla="*/ 467237 w 2427462"/>
              <a:gd name="connsiteY58" fmla="*/ 870598 h 1248656"/>
              <a:gd name="connsiteX59" fmla="*/ 863217 w 2427462"/>
              <a:gd name="connsiteY59" fmla="*/ 1015755 h 1248656"/>
              <a:gd name="connsiteX60" fmla="*/ 1171281 w 2427462"/>
              <a:gd name="connsiteY60" fmla="*/ 156617 h 1248656"/>
              <a:gd name="connsiteX61" fmla="*/ 1171281 w 2427462"/>
              <a:gd name="connsiteY61" fmla="*/ 870081 h 1248656"/>
              <a:gd name="connsiteX62" fmla="*/ 863217 w 2427462"/>
              <a:gd name="connsiteY62" fmla="*/ 1015755 h 1248656"/>
              <a:gd name="connsiteX63" fmla="*/ 1243084 w 2427462"/>
              <a:gd name="connsiteY63" fmla="*/ 870713 h 1248656"/>
              <a:gd name="connsiteX64" fmla="*/ 1243084 w 2427462"/>
              <a:gd name="connsiteY64" fmla="*/ 146048 h 1248656"/>
              <a:gd name="connsiteX65" fmla="*/ 1560368 w 2427462"/>
              <a:gd name="connsiteY65" fmla="*/ 1035085 h 1248656"/>
              <a:gd name="connsiteX66" fmla="*/ 1243084 w 2427462"/>
              <a:gd name="connsiteY66" fmla="*/ 870713 h 1248656"/>
              <a:gd name="connsiteX67" fmla="*/ 1632659 w 2427462"/>
              <a:gd name="connsiteY67" fmla="*/ 1046372 h 1248656"/>
              <a:gd name="connsiteX68" fmla="*/ 1300096 w 2427462"/>
              <a:gd name="connsiteY68" fmla="*/ 102276 h 1248656"/>
              <a:gd name="connsiteX69" fmla="*/ 1955744 w 2427462"/>
              <a:gd name="connsiteY69" fmla="*/ 870972 h 1248656"/>
              <a:gd name="connsiteX70" fmla="*/ 1632659 w 2427462"/>
              <a:gd name="connsiteY70" fmla="*/ 1046372 h 1248656"/>
              <a:gd name="connsiteX71" fmla="*/ 2029759 w 2427462"/>
              <a:gd name="connsiteY71" fmla="*/ 870627 h 1248656"/>
              <a:gd name="connsiteX72" fmla="*/ 1498789 w 2427462"/>
              <a:gd name="connsiteY72" fmla="*/ 107446 h 1248656"/>
              <a:gd name="connsiteX73" fmla="*/ 2337909 w 2427462"/>
              <a:gd name="connsiteY73" fmla="*/ 1014664 h 1248656"/>
              <a:gd name="connsiteX74" fmla="*/ 2029759 w 2427462"/>
              <a:gd name="connsiteY74" fmla="*/ 870627 h 1248656"/>
              <a:gd name="connsiteX0" fmla="*/ 2426859 w 2427462"/>
              <a:gd name="connsiteY0" fmla="*/ 1206235 h 1248656"/>
              <a:gd name="connsiteX1" fmla="*/ 2275440 w 2427462"/>
              <a:gd name="connsiteY1" fmla="*/ 626353 h 1248656"/>
              <a:gd name="connsiteX2" fmla="*/ 2203637 w 2427462"/>
              <a:gd name="connsiteY2" fmla="*/ 512617 h 1248656"/>
              <a:gd name="connsiteX3" fmla="*/ 2122988 w 2427462"/>
              <a:gd name="connsiteY3" fmla="*/ 410800 h 1248656"/>
              <a:gd name="connsiteX4" fmla="*/ 2051185 w 2427462"/>
              <a:gd name="connsiteY4" fmla="*/ 336096 h 1248656"/>
              <a:gd name="connsiteX5" fmla="*/ 1956204 w 2427462"/>
              <a:gd name="connsiteY5" fmla="*/ 254183 h 1248656"/>
              <a:gd name="connsiteX6" fmla="*/ 1884401 w 2427462"/>
              <a:gd name="connsiteY6" fmla="*/ 202226 h 1248656"/>
              <a:gd name="connsiteX7" fmla="*/ 1814350 w 2427462"/>
              <a:gd name="connsiteY7" fmla="*/ 159144 h 1248656"/>
              <a:gd name="connsiteX8" fmla="*/ 1742546 w 2427462"/>
              <a:gd name="connsiteY8" fmla="*/ 73239 h 1248656"/>
              <a:gd name="connsiteX9" fmla="*/ 1742546 w 2427462"/>
              <a:gd name="connsiteY9" fmla="*/ 120916 h 1248656"/>
              <a:gd name="connsiteX10" fmla="*/ 1684616 w 2427462"/>
              <a:gd name="connsiteY10" fmla="*/ 94493 h 1248656"/>
              <a:gd name="connsiteX11" fmla="*/ 1612813 w 2427462"/>
              <a:gd name="connsiteY11" fmla="*/ 39664 h 1248656"/>
              <a:gd name="connsiteX12" fmla="*/ 1612813 w 2427462"/>
              <a:gd name="connsiteY12" fmla="*/ 67093 h 1248656"/>
              <a:gd name="connsiteX13" fmla="*/ 1543795 w 2427462"/>
              <a:gd name="connsiteY13" fmla="*/ 45351 h 1248656"/>
              <a:gd name="connsiteX14" fmla="*/ 1471992 w 2427462"/>
              <a:gd name="connsiteY14" fmla="*/ 27257 h 1248656"/>
              <a:gd name="connsiteX15" fmla="*/ 1243084 w 2427462"/>
              <a:gd name="connsiteY15" fmla="*/ 0 h 1248656"/>
              <a:gd name="connsiteX16" fmla="*/ 1171281 w 2427462"/>
              <a:gd name="connsiteY16" fmla="*/ 316 h 1248656"/>
              <a:gd name="connsiteX17" fmla="*/ 958973 w 2427462"/>
              <a:gd name="connsiteY17" fmla="*/ 26309 h 1248656"/>
              <a:gd name="connsiteX18" fmla="*/ 887170 w 2427462"/>
              <a:gd name="connsiteY18" fmla="*/ 44173 h 1248656"/>
              <a:gd name="connsiteX19" fmla="*/ 817493 w 2427462"/>
              <a:gd name="connsiteY19" fmla="*/ 65944 h 1248656"/>
              <a:gd name="connsiteX20" fmla="*/ 745690 w 2427462"/>
              <a:gd name="connsiteY20" fmla="*/ 93143 h 1248656"/>
              <a:gd name="connsiteX21" fmla="*/ 687156 w 2427462"/>
              <a:gd name="connsiteY21" fmla="*/ 119452 h 1248656"/>
              <a:gd name="connsiteX22" fmla="*/ 615353 w 2427462"/>
              <a:gd name="connsiteY22" fmla="*/ 157536 h 1248656"/>
              <a:gd name="connsiteX23" fmla="*/ 544641 w 2427462"/>
              <a:gd name="connsiteY23" fmla="*/ 200905 h 1248656"/>
              <a:gd name="connsiteX24" fmla="*/ 472838 w 2427462"/>
              <a:gd name="connsiteY24" fmla="*/ 252460 h 1248656"/>
              <a:gd name="connsiteX25" fmla="*/ 377110 w 2427462"/>
              <a:gd name="connsiteY25" fmla="*/ 334746 h 1248656"/>
              <a:gd name="connsiteX26" fmla="*/ 305307 w 2427462"/>
              <a:gd name="connsiteY26" fmla="*/ 409105 h 1248656"/>
              <a:gd name="connsiteX27" fmla="*/ 223940 w 2427462"/>
              <a:gd name="connsiteY27" fmla="*/ 511640 h 1248656"/>
              <a:gd name="connsiteX28" fmla="*/ 152136 w 2427462"/>
              <a:gd name="connsiteY28" fmla="*/ 623940 h 1248656"/>
              <a:gd name="connsiteX29" fmla="*/ 152912 w 2427462"/>
              <a:gd name="connsiteY29" fmla="*/ 623940 h 1248656"/>
              <a:gd name="connsiteX30" fmla="*/ 0 w 2427462"/>
              <a:gd name="connsiteY30" fmla="*/ 1212726 h 1248656"/>
              <a:gd name="connsiteX31" fmla="*/ 37740 w 2427462"/>
              <a:gd name="connsiteY31" fmla="*/ 1248627 h 1248656"/>
              <a:gd name="connsiteX32" fmla="*/ 73440 w 2427462"/>
              <a:gd name="connsiteY32" fmla="*/ 1216574 h 1248656"/>
              <a:gd name="connsiteX33" fmla="*/ 429210 w 2427462"/>
              <a:gd name="connsiteY33" fmla="*/ 940764 h 1248656"/>
              <a:gd name="connsiteX34" fmla="*/ 781246 w 2427462"/>
              <a:gd name="connsiteY34" fmla="*/ 1193856 h 1248656"/>
              <a:gd name="connsiteX35" fmla="*/ 816459 w 2427462"/>
              <a:gd name="connsiteY35" fmla="*/ 1222778 h 1248656"/>
              <a:gd name="connsiteX36" fmla="*/ 851671 w 2427462"/>
              <a:gd name="connsiteY36" fmla="*/ 1193856 h 1248656"/>
              <a:gd name="connsiteX37" fmla="*/ 1171281 w 2427462"/>
              <a:gd name="connsiteY37" fmla="*/ 941999 h 1248656"/>
              <a:gd name="connsiteX38" fmla="*/ 1243084 w 2427462"/>
              <a:gd name="connsiteY38" fmla="*/ 942775 h 1248656"/>
              <a:gd name="connsiteX39" fmla="*/ 1559449 w 2427462"/>
              <a:gd name="connsiteY39" fmla="*/ 1216603 h 1248656"/>
              <a:gd name="connsiteX40" fmla="*/ 1595149 w 2427462"/>
              <a:gd name="connsiteY40" fmla="*/ 1248656 h 1248656"/>
              <a:gd name="connsiteX41" fmla="*/ 1606207 w 2427462"/>
              <a:gd name="connsiteY41" fmla="*/ 1248656 h 1248656"/>
              <a:gd name="connsiteX42" fmla="*/ 1641907 w 2427462"/>
              <a:gd name="connsiteY42" fmla="*/ 1216603 h 1248656"/>
              <a:gd name="connsiteX43" fmla="*/ 1997706 w 2427462"/>
              <a:gd name="connsiteY43" fmla="*/ 940793 h 1248656"/>
              <a:gd name="connsiteX44" fmla="*/ 2353447 w 2427462"/>
              <a:gd name="connsiteY44" fmla="*/ 1216603 h 1248656"/>
              <a:gd name="connsiteX45" fmla="*/ 2389148 w 2427462"/>
              <a:gd name="connsiteY45" fmla="*/ 1248656 h 1248656"/>
              <a:gd name="connsiteX46" fmla="*/ 2390986 w 2427462"/>
              <a:gd name="connsiteY46" fmla="*/ 1248656 h 1248656"/>
              <a:gd name="connsiteX47" fmla="*/ 2391560 w 2427462"/>
              <a:gd name="connsiteY47" fmla="*/ 1248656 h 1248656"/>
              <a:gd name="connsiteX48" fmla="*/ 2427462 w 2427462"/>
              <a:gd name="connsiteY48" fmla="*/ 1212755 h 1248656"/>
              <a:gd name="connsiteX49" fmla="*/ 2426859 w 2427462"/>
              <a:gd name="connsiteY49" fmla="*/ 1206235 h 1248656"/>
              <a:gd name="connsiteX50" fmla="*/ 88978 w 2427462"/>
              <a:gd name="connsiteY50" fmla="*/ 1014664 h 1248656"/>
              <a:gd name="connsiteX51" fmla="*/ 920889 w 2427462"/>
              <a:gd name="connsiteY51" fmla="*/ 109256 h 1248656"/>
              <a:gd name="connsiteX52" fmla="*/ 393050 w 2427462"/>
              <a:gd name="connsiteY52" fmla="*/ 870828 h 1248656"/>
              <a:gd name="connsiteX53" fmla="*/ 88978 w 2427462"/>
              <a:gd name="connsiteY53" fmla="*/ 1014664 h 1248656"/>
              <a:gd name="connsiteX54" fmla="*/ 467237 w 2427462"/>
              <a:gd name="connsiteY54" fmla="*/ 870598 h 1248656"/>
              <a:gd name="connsiteX55" fmla="*/ 1122800 w 2427462"/>
              <a:gd name="connsiteY55" fmla="*/ 102276 h 1248656"/>
              <a:gd name="connsiteX56" fmla="*/ 790409 w 2427462"/>
              <a:gd name="connsiteY56" fmla="*/ 1041834 h 1248656"/>
              <a:gd name="connsiteX57" fmla="*/ 467237 w 2427462"/>
              <a:gd name="connsiteY57" fmla="*/ 870598 h 1248656"/>
              <a:gd name="connsiteX58" fmla="*/ 863217 w 2427462"/>
              <a:gd name="connsiteY58" fmla="*/ 1015755 h 1248656"/>
              <a:gd name="connsiteX59" fmla="*/ 1171281 w 2427462"/>
              <a:gd name="connsiteY59" fmla="*/ 156617 h 1248656"/>
              <a:gd name="connsiteX60" fmla="*/ 1171281 w 2427462"/>
              <a:gd name="connsiteY60" fmla="*/ 870081 h 1248656"/>
              <a:gd name="connsiteX61" fmla="*/ 863217 w 2427462"/>
              <a:gd name="connsiteY61" fmla="*/ 1015755 h 1248656"/>
              <a:gd name="connsiteX62" fmla="*/ 1243084 w 2427462"/>
              <a:gd name="connsiteY62" fmla="*/ 870713 h 1248656"/>
              <a:gd name="connsiteX63" fmla="*/ 1243084 w 2427462"/>
              <a:gd name="connsiteY63" fmla="*/ 146048 h 1248656"/>
              <a:gd name="connsiteX64" fmla="*/ 1560368 w 2427462"/>
              <a:gd name="connsiteY64" fmla="*/ 1035085 h 1248656"/>
              <a:gd name="connsiteX65" fmla="*/ 1243084 w 2427462"/>
              <a:gd name="connsiteY65" fmla="*/ 870713 h 1248656"/>
              <a:gd name="connsiteX66" fmla="*/ 1632659 w 2427462"/>
              <a:gd name="connsiteY66" fmla="*/ 1046372 h 1248656"/>
              <a:gd name="connsiteX67" fmla="*/ 1300096 w 2427462"/>
              <a:gd name="connsiteY67" fmla="*/ 102276 h 1248656"/>
              <a:gd name="connsiteX68" fmla="*/ 1955744 w 2427462"/>
              <a:gd name="connsiteY68" fmla="*/ 870972 h 1248656"/>
              <a:gd name="connsiteX69" fmla="*/ 1632659 w 2427462"/>
              <a:gd name="connsiteY69" fmla="*/ 1046372 h 1248656"/>
              <a:gd name="connsiteX70" fmla="*/ 2029759 w 2427462"/>
              <a:gd name="connsiteY70" fmla="*/ 870627 h 1248656"/>
              <a:gd name="connsiteX71" fmla="*/ 1498789 w 2427462"/>
              <a:gd name="connsiteY71" fmla="*/ 107446 h 1248656"/>
              <a:gd name="connsiteX72" fmla="*/ 2337909 w 2427462"/>
              <a:gd name="connsiteY72" fmla="*/ 1014664 h 1248656"/>
              <a:gd name="connsiteX73" fmla="*/ 2029759 w 2427462"/>
              <a:gd name="connsiteY73" fmla="*/ 870627 h 1248656"/>
              <a:gd name="connsiteX0" fmla="*/ 2426859 w 2427462"/>
              <a:gd name="connsiteY0" fmla="*/ 1206235 h 1248656"/>
              <a:gd name="connsiteX1" fmla="*/ 2275440 w 2427462"/>
              <a:gd name="connsiteY1" fmla="*/ 626353 h 1248656"/>
              <a:gd name="connsiteX2" fmla="*/ 2203637 w 2427462"/>
              <a:gd name="connsiteY2" fmla="*/ 512617 h 1248656"/>
              <a:gd name="connsiteX3" fmla="*/ 2122988 w 2427462"/>
              <a:gd name="connsiteY3" fmla="*/ 410800 h 1248656"/>
              <a:gd name="connsiteX4" fmla="*/ 2051185 w 2427462"/>
              <a:gd name="connsiteY4" fmla="*/ 336096 h 1248656"/>
              <a:gd name="connsiteX5" fmla="*/ 1956204 w 2427462"/>
              <a:gd name="connsiteY5" fmla="*/ 254183 h 1248656"/>
              <a:gd name="connsiteX6" fmla="*/ 1884401 w 2427462"/>
              <a:gd name="connsiteY6" fmla="*/ 202226 h 1248656"/>
              <a:gd name="connsiteX7" fmla="*/ 1814350 w 2427462"/>
              <a:gd name="connsiteY7" fmla="*/ 159144 h 1248656"/>
              <a:gd name="connsiteX8" fmla="*/ 1742546 w 2427462"/>
              <a:gd name="connsiteY8" fmla="*/ 120916 h 1248656"/>
              <a:gd name="connsiteX9" fmla="*/ 1684616 w 2427462"/>
              <a:gd name="connsiteY9" fmla="*/ 94493 h 1248656"/>
              <a:gd name="connsiteX10" fmla="*/ 1612813 w 2427462"/>
              <a:gd name="connsiteY10" fmla="*/ 39664 h 1248656"/>
              <a:gd name="connsiteX11" fmla="*/ 1612813 w 2427462"/>
              <a:gd name="connsiteY11" fmla="*/ 67093 h 1248656"/>
              <a:gd name="connsiteX12" fmla="*/ 1543795 w 2427462"/>
              <a:gd name="connsiteY12" fmla="*/ 45351 h 1248656"/>
              <a:gd name="connsiteX13" fmla="*/ 1471992 w 2427462"/>
              <a:gd name="connsiteY13" fmla="*/ 27257 h 1248656"/>
              <a:gd name="connsiteX14" fmla="*/ 1243084 w 2427462"/>
              <a:gd name="connsiteY14" fmla="*/ 0 h 1248656"/>
              <a:gd name="connsiteX15" fmla="*/ 1171281 w 2427462"/>
              <a:gd name="connsiteY15" fmla="*/ 316 h 1248656"/>
              <a:gd name="connsiteX16" fmla="*/ 958973 w 2427462"/>
              <a:gd name="connsiteY16" fmla="*/ 26309 h 1248656"/>
              <a:gd name="connsiteX17" fmla="*/ 887170 w 2427462"/>
              <a:gd name="connsiteY17" fmla="*/ 44173 h 1248656"/>
              <a:gd name="connsiteX18" fmla="*/ 817493 w 2427462"/>
              <a:gd name="connsiteY18" fmla="*/ 65944 h 1248656"/>
              <a:gd name="connsiteX19" fmla="*/ 745690 w 2427462"/>
              <a:gd name="connsiteY19" fmla="*/ 93143 h 1248656"/>
              <a:gd name="connsiteX20" fmla="*/ 687156 w 2427462"/>
              <a:gd name="connsiteY20" fmla="*/ 119452 h 1248656"/>
              <a:gd name="connsiteX21" fmla="*/ 615353 w 2427462"/>
              <a:gd name="connsiteY21" fmla="*/ 157536 h 1248656"/>
              <a:gd name="connsiteX22" fmla="*/ 544641 w 2427462"/>
              <a:gd name="connsiteY22" fmla="*/ 200905 h 1248656"/>
              <a:gd name="connsiteX23" fmla="*/ 472838 w 2427462"/>
              <a:gd name="connsiteY23" fmla="*/ 252460 h 1248656"/>
              <a:gd name="connsiteX24" fmla="*/ 377110 w 2427462"/>
              <a:gd name="connsiteY24" fmla="*/ 334746 h 1248656"/>
              <a:gd name="connsiteX25" fmla="*/ 305307 w 2427462"/>
              <a:gd name="connsiteY25" fmla="*/ 409105 h 1248656"/>
              <a:gd name="connsiteX26" fmla="*/ 223940 w 2427462"/>
              <a:gd name="connsiteY26" fmla="*/ 511640 h 1248656"/>
              <a:gd name="connsiteX27" fmla="*/ 152136 w 2427462"/>
              <a:gd name="connsiteY27" fmla="*/ 623940 h 1248656"/>
              <a:gd name="connsiteX28" fmla="*/ 152912 w 2427462"/>
              <a:gd name="connsiteY28" fmla="*/ 623940 h 1248656"/>
              <a:gd name="connsiteX29" fmla="*/ 0 w 2427462"/>
              <a:gd name="connsiteY29" fmla="*/ 1212726 h 1248656"/>
              <a:gd name="connsiteX30" fmla="*/ 37740 w 2427462"/>
              <a:gd name="connsiteY30" fmla="*/ 1248627 h 1248656"/>
              <a:gd name="connsiteX31" fmla="*/ 73440 w 2427462"/>
              <a:gd name="connsiteY31" fmla="*/ 1216574 h 1248656"/>
              <a:gd name="connsiteX32" fmla="*/ 429210 w 2427462"/>
              <a:gd name="connsiteY32" fmla="*/ 940764 h 1248656"/>
              <a:gd name="connsiteX33" fmla="*/ 781246 w 2427462"/>
              <a:gd name="connsiteY33" fmla="*/ 1193856 h 1248656"/>
              <a:gd name="connsiteX34" fmla="*/ 816459 w 2427462"/>
              <a:gd name="connsiteY34" fmla="*/ 1222778 h 1248656"/>
              <a:gd name="connsiteX35" fmla="*/ 851671 w 2427462"/>
              <a:gd name="connsiteY35" fmla="*/ 1193856 h 1248656"/>
              <a:gd name="connsiteX36" fmla="*/ 1171281 w 2427462"/>
              <a:gd name="connsiteY36" fmla="*/ 941999 h 1248656"/>
              <a:gd name="connsiteX37" fmla="*/ 1243084 w 2427462"/>
              <a:gd name="connsiteY37" fmla="*/ 942775 h 1248656"/>
              <a:gd name="connsiteX38" fmla="*/ 1559449 w 2427462"/>
              <a:gd name="connsiteY38" fmla="*/ 1216603 h 1248656"/>
              <a:gd name="connsiteX39" fmla="*/ 1595149 w 2427462"/>
              <a:gd name="connsiteY39" fmla="*/ 1248656 h 1248656"/>
              <a:gd name="connsiteX40" fmla="*/ 1606207 w 2427462"/>
              <a:gd name="connsiteY40" fmla="*/ 1248656 h 1248656"/>
              <a:gd name="connsiteX41" fmla="*/ 1641907 w 2427462"/>
              <a:gd name="connsiteY41" fmla="*/ 1216603 h 1248656"/>
              <a:gd name="connsiteX42" fmla="*/ 1997706 w 2427462"/>
              <a:gd name="connsiteY42" fmla="*/ 940793 h 1248656"/>
              <a:gd name="connsiteX43" fmla="*/ 2353447 w 2427462"/>
              <a:gd name="connsiteY43" fmla="*/ 1216603 h 1248656"/>
              <a:gd name="connsiteX44" fmla="*/ 2389148 w 2427462"/>
              <a:gd name="connsiteY44" fmla="*/ 1248656 h 1248656"/>
              <a:gd name="connsiteX45" fmla="*/ 2390986 w 2427462"/>
              <a:gd name="connsiteY45" fmla="*/ 1248656 h 1248656"/>
              <a:gd name="connsiteX46" fmla="*/ 2391560 w 2427462"/>
              <a:gd name="connsiteY46" fmla="*/ 1248656 h 1248656"/>
              <a:gd name="connsiteX47" fmla="*/ 2427462 w 2427462"/>
              <a:gd name="connsiteY47" fmla="*/ 1212755 h 1248656"/>
              <a:gd name="connsiteX48" fmla="*/ 2426859 w 2427462"/>
              <a:gd name="connsiteY48" fmla="*/ 1206235 h 1248656"/>
              <a:gd name="connsiteX49" fmla="*/ 88978 w 2427462"/>
              <a:gd name="connsiteY49" fmla="*/ 1014664 h 1248656"/>
              <a:gd name="connsiteX50" fmla="*/ 920889 w 2427462"/>
              <a:gd name="connsiteY50" fmla="*/ 109256 h 1248656"/>
              <a:gd name="connsiteX51" fmla="*/ 393050 w 2427462"/>
              <a:gd name="connsiteY51" fmla="*/ 870828 h 1248656"/>
              <a:gd name="connsiteX52" fmla="*/ 88978 w 2427462"/>
              <a:gd name="connsiteY52" fmla="*/ 1014664 h 1248656"/>
              <a:gd name="connsiteX53" fmla="*/ 467237 w 2427462"/>
              <a:gd name="connsiteY53" fmla="*/ 870598 h 1248656"/>
              <a:gd name="connsiteX54" fmla="*/ 1122800 w 2427462"/>
              <a:gd name="connsiteY54" fmla="*/ 102276 h 1248656"/>
              <a:gd name="connsiteX55" fmla="*/ 790409 w 2427462"/>
              <a:gd name="connsiteY55" fmla="*/ 1041834 h 1248656"/>
              <a:gd name="connsiteX56" fmla="*/ 467237 w 2427462"/>
              <a:gd name="connsiteY56" fmla="*/ 870598 h 1248656"/>
              <a:gd name="connsiteX57" fmla="*/ 863217 w 2427462"/>
              <a:gd name="connsiteY57" fmla="*/ 1015755 h 1248656"/>
              <a:gd name="connsiteX58" fmla="*/ 1171281 w 2427462"/>
              <a:gd name="connsiteY58" fmla="*/ 156617 h 1248656"/>
              <a:gd name="connsiteX59" fmla="*/ 1171281 w 2427462"/>
              <a:gd name="connsiteY59" fmla="*/ 870081 h 1248656"/>
              <a:gd name="connsiteX60" fmla="*/ 863217 w 2427462"/>
              <a:gd name="connsiteY60" fmla="*/ 1015755 h 1248656"/>
              <a:gd name="connsiteX61" fmla="*/ 1243084 w 2427462"/>
              <a:gd name="connsiteY61" fmla="*/ 870713 h 1248656"/>
              <a:gd name="connsiteX62" fmla="*/ 1243084 w 2427462"/>
              <a:gd name="connsiteY62" fmla="*/ 146048 h 1248656"/>
              <a:gd name="connsiteX63" fmla="*/ 1560368 w 2427462"/>
              <a:gd name="connsiteY63" fmla="*/ 1035085 h 1248656"/>
              <a:gd name="connsiteX64" fmla="*/ 1243084 w 2427462"/>
              <a:gd name="connsiteY64" fmla="*/ 870713 h 1248656"/>
              <a:gd name="connsiteX65" fmla="*/ 1632659 w 2427462"/>
              <a:gd name="connsiteY65" fmla="*/ 1046372 h 1248656"/>
              <a:gd name="connsiteX66" fmla="*/ 1300096 w 2427462"/>
              <a:gd name="connsiteY66" fmla="*/ 102276 h 1248656"/>
              <a:gd name="connsiteX67" fmla="*/ 1955744 w 2427462"/>
              <a:gd name="connsiteY67" fmla="*/ 870972 h 1248656"/>
              <a:gd name="connsiteX68" fmla="*/ 1632659 w 2427462"/>
              <a:gd name="connsiteY68" fmla="*/ 1046372 h 1248656"/>
              <a:gd name="connsiteX69" fmla="*/ 2029759 w 2427462"/>
              <a:gd name="connsiteY69" fmla="*/ 870627 h 1248656"/>
              <a:gd name="connsiteX70" fmla="*/ 1498789 w 2427462"/>
              <a:gd name="connsiteY70" fmla="*/ 107446 h 1248656"/>
              <a:gd name="connsiteX71" fmla="*/ 2337909 w 2427462"/>
              <a:gd name="connsiteY71" fmla="*/ 1014664 h 1248656"/>
              <a:gd name="connsiteX72" fmla="*/ 2029759 w 2427462"/>
              <a:gd name="connsiteY72" fmla="*/ 870627 h 1248656"/>
              <a:gd name="connsiteX0" fmla="*/ 2426859 w 2427462"/>
              <a:gd name="connsiteY0" fmla="*/ 1206235 h 1248656"/>
              <a:gd name="connsiteX1" fmla="*/ 2275440 w 2427462"/>
              <a:gd name="connsiteY1" fmla="*/ 626353 h 1248656"/>
              <a:gd name="connsiteX2" fmla="*/ 2203637 w 2427462"/>
              <a:gd name="connsiteY2" fmla="*/ 512617 h 1248656"/>
              <a:gd name="connsiteX3" fmla="*/ 2122988 w 2427462"/>
              <a:gd name="connsiteY3" fmla="*/ 410800 h 1248656"/>
              <a:gd name="connsiteX4" fmla="*/ 2051185 w 2427462"/>
              <a:gd name="connsiteY4" fmla="*/ 336096 h 1248656"/>
              <a:gd name="connsiteX5" fmla="*/ 1956204 w 2427462"/>
              <a:gd name="connsiteY5" fmla="*/ 254183 h 1248656"/>
              <a:gd name="connsiteX6" fmla="*/ 1884401 w 2427462"/>
              <a:gd name="connsiteY6" fmla="*/ 202226 h 1248656"/>
              <a:gd name="connsiteX7" fmla="*/ 1814350 w 2427462"/>
              <a:gd name="connsiteY7" fmla="*/ 159144 h 1248656"/>
              <a:gd name="connsiteX8" fmla="*/ 1742546 w 2427462"/>
              <a:gd name="connsiteY8" fmla="*/ 120916 h 1248656"/>
              <a:gd name="connsiteX9" fmla="*/ 1684616 w 2427462"/>
              <a:gd name="connsiteY9" fmla="*/ 94493 h 1248656"/>
              <a:gd name="connsiteX10" fmla="*/ 1612813 w 2427462"/>
              <a:gd name="connsiteY10" fmla="*/ 67093 h 1248656"/>
              <a:gd name="connsiteX11" fmla="*/ 1543795 w 2427462"/>
              <a:gd name="connsiteY11" fmla="*/ 45351 h 1248656"/>
              <a:gd name="connsiteX12" fmla="*/ 1471992 w 2427462"/>
              <a:gd name="connsiteY12" fmla="*/ 27257 h 1248656"/>
              <a:gd name="connsiteX13" fmla="*/ 1243084 w 2427462"/>
              <a:gd name="connsiteY13" fmla="*/ 0 h 1248656"/>
              <a:gd name="connsiteX14" fmla="*/ 1171281 w 2427462"/>
              <a:gd name="connsiteY14" fmla="*/ 316 h 1248656"/>
              <a:gd name="connsiteX15" fmla="*/ 958973 w 2427462"/>
              <a:gd name="connsiteY15" fmla="*/ 26309 h 1248656"/>
              <a:gd name="connsiteX16" fmla="*/ 887170 w 2427462"/>
              <a:gd name="connsiteY16" fmla="*/ 44173 h 1248656"/>
              <a:gd name="connsiteX17" fmla="*/ 817493 w 2427462"/>
              <a:gd name="connsiteY17" fmla="*/ 65944 h 1248656"/>
              <a:gd name="connsiteX18" fmla="*/ 745690 w 2427462"/>
              <a:gd name="connsiteY18" fmla="*/ 93143 h 1248656"/>
              <a:gd name="connsiteX19" fmla="*/ 687156 w 2427462"/>
              <a:gd name="connsiteY19" fmla="*/ 119452 h 1248656"/>
              <a:gd name="connsiteX20" fmla="*/ 615353 w 2427462"/>
              <a:gd name="connsiteY20" fmla="*/ 157536 h 1248656"/>
              <a:gd name="connsiteX21" fmla="*/ 544641 w 2427462"/>
              <a:gd name="connsiteY21" fmla="*/ 200905 h 1248656"/>
              <a:gd name="connsiteX22" fmla="*/ 472838 w 2427462"/>
              <a:gd name="connsiteY22" fmla="*/ 252460 h 1248656"/>
              <a:gd name="connsiteX23" fmla="*/ 377110 w 2427462"/>
              <a:gd name="connsiteY23" fmla="*/ 334746 h 1248656"/>
              <a:gd name="connsiteX24" fmla="*/ 305307 w 2427462"/>
              <a:gd name="connsiteY24" fmla="*/ 409105 h 1248656"/>
              <a:gd name="connsiteX25" fmla="*/ 223940 w 2427462"/>
              <a:gd name="connsiteY25" fmla="*/ 511640 h 1248656"/>
              <a:gd name="connsiteX26" fmla="*/ 152136 w 2427462"/>
              <a:gd name="connsiteY26" fmla="*/ 623940 h 1248656"/>
              <a:gd name="connsiteX27" fmla="*/ 152912 w 2427462"/>
              <a:gd name="connsiteY27" fmla="*/ 623940 h 1248656"/>
              <a:gd name="connsiteX28" fmla="*/ 0 w 2427462"/>
              <a:gd name="connsiteY28" fmla="*/ 1212726 h 1248656"/>
              <a:gd name="connsiteX29" fmla="*/ 37740 w 2427462"/>
              <a:gd name="connsiteY29" fmla="*/ 1248627 h 1248656"/>
              <a:gd name="connsiteX30" fmla="*/ 73440 w 2427462"/>
              <a:gd name="connsiteY30" fmla="*/ 1216574 h 1248656"/>
              <a:gd name="connsiteX31" fmla="*/ 429210 w 2427462"/>
              <a:gd name="connsiteY31" fmla="*/ 940764 h 1248656"/>
              <a:gd name="connsiteX32" fmla="*/ 781246 w 2427462"/>
              <a:gd name="connsiteY32" fmla="*/ 1193856 h 1248656"/>
              <a:gd name="connsiteX33" fmla="*/ 816459 w 2427462"/>
              <a:gd name="connsiteY33" fmla="*/ 1222778 h 1248656"/>
              <a:gd name="connsiteX34" fmla="*/ 851671 w 2427462"/>
              <a:gd name="connsiteY34" fmla="*/ 1193856 h 1248656"/>
              <a:gd name="connsiteX35" fmla="*/ 1171281 w 2427462"/>
              <a:gd name="connsiteY35" fmla="*/ 941999 h 1248656"/>
              <a:gd name="connsiteX36" fmla="*/ 1243084 w 2427462"/>
              <a:gd name="connsiteY36" fmla="*/ 942775 h 1248656"/>
              <a:gd name="connsiteX37" fmla="*/ 1559449 w 2427462"/>
              <a:gd name="connsiteY37" fmla="*/ 1216603 h 1248656"/>
              <a:gd name="connsiteX38" fmla="*/ 1595149 w 2427462"/>
              <a:gd name="connsiteY38" fmla="*/ 1248656 h 1248656"/>
              <a:gd name="connsiteX39" fmla="*/ 1606207 w 2427462"/>
              <a:gd name="connsiteY39" fmla="*/ 1248656 h 1248656"/>
              <a:gd name="connsiteX40" fmla="*/ 1641907 w 2427462"/>
              <a:gd name="connsiteY40" fmla="*/ 1216603 h 1248656"/>
              <a:gd name="connsiteX41" fmla="*/ 1997706 w 2427462"/>
              <a:gd name="connsiteY41" fmla="*/ 940793 h 1248656"/>
              <a:gd name="connsiteX42" fmla="*/ 2353447 w 2427462"/>
              <a:gd name="connsiteY42" fmla="*/ 1216603 h 1248656"/>
              <a:gd name="connsiteX43" fmla="*/ 2389148 w 2427462"/>
              <a:gd name="connsiteY43" fmla="*/ 1248656 h 1248656"/>
              <a:gd name="connsiteX44" fmla="*/ 2390986 w 2427462"/>
              <a:gd name="connsiteY44" fmla="*/ 1248656 h 1248656"/>
              <a:gd name="connsiteX45" fmla="*/ 2391560 w 2427462"/>
              <a:gd name="connsiteY45" fmla="*/ 1248656 h 1248656"/>
              <a:gd name="connsiteX46" fmla="*/ 2427462 w 2427462"/>
              <a:gd name="connsiteY46" fmla="*/ 1212755 h 1248656"/>
              <a:gd name="connsiteX47" fmla="*/ 2426859 w 2427462"/>
              <a:gd name="connsiteY47" fmla="*/ 1206235 h 1248656"/>
              <a:gd name="connsiteX48" fmla="*/ 88978 w 2427462"/>
              <a:gd name="connsiteY48" fmla="*/ 1014664 h 1248656"/>
              <a:gd name="connsiteX49" fmla="*/ 920889 w 2427462"/>
              <a:gd name="connsiteY49" fmla="*/ 109256 h 1248656"/>
              <a:gd name="connsiteX50" fmla="*/ 393050 w 2427462"/>
              <a:gd name="connsiteY50" fmla="*/ 870828 h 1248656"/>
              <a:gd name="connsiteX51" fmla="*/ 88978 w 2427462"/>
              <a:gd name="connsiteY51" fmla="*/ 1014664 h 1248656"/>
              <a:gd name="connsiteX52" fmla="*/ 467237 w 2427462"/>
              <a:gd name="connsiteY52" fmla="*/ 870598 h 1248656"/>
              <a:gd name="connsiteX53" fmla="*/ 1122800 w 2427462"/>
              <a:gd name="connsiteY53" fmla="*/ 102276 h 1248656"/>
              <a:gd name="connsiteX54" fmla="*/ 790409 w 2427462"/>
              <a:gd name="connsiteY54" fmla="*/ 1041834 h 1248656"/>
              <a:gd name="connsiteX55" fmla="*/ 467237 w 2427462"/>
              <a:gd name="connsiteY55" fmla="*/ 870598 h 1248656"/>
              <a:gd name="connsiteX56" fmla="*/ 863217 w 2427462"/>
              <a:gd name="connsiteY56" fmla="*/ 1015755 h 1248656"/>
              <a:gd name="connsiteX57" fmla="*/ 1171281 w 2427462"/>
              <a:gd name="connsiteY57" fmla="*/ 156617 h 1248656"/>
              <a:gd name="connsiteX58" fmla="*/ 1171281 w 2427462"/>
              <a:gd name="connsiteY58" fmla="*/ 870081 h 1248656"/>
              <a:gd name="connsiteX59" fmla="*/ 863217 w 2427462"/>
              <a:gd name="connsiteY59" fmla="*/ 1015755 h 1248656"/>
              <a:gd name="connsiteX60" fmla="*/ 1243084 w 2427462"/>
              <a:gd name="connsiteY60" fmla="*/ 870713 h 1248656"/>
              <a:gd name="connsiteX61" fmla="*/ 1243084 w 2427462"/>
              <a:gd name="connsiteY61" fmla="*/ 146048 h 1248656"/>
              <a:gd name="connsiteX62" fmla="*/ 1560368 w 2427462"/>
              <a:gd name="connsiteY62" fmla="*/ 1035085 h 1248656"/>
              <a:gd name="connsiteX63" fmla="*/ 1243084 w 2427462"/>
              <a:gd name="connsiteY63" fmla="*/ 870713 h 1248656"/>
              <a:gd name="connsiteX64" fmla="*/ 1632659 w 2427462"/>
              <a:gd name="connsiteY64" fmla="*/ 1046372 h 1248656"/>
              <a:gd name="connsiteX65" fmla="*/ 1300096 w 2427462"/>
              <a:gd name="connsiteY65" fmla="*/ 102276 h 1248656"/>
              <a:gd name="connsiteX66" fmla="*/ 1955744 w 2427462"/>
              <a:gd name="connsiteY66" fmla="*/ 870972 h 1248656"/>
              <a:gd name="connsiteX67" fmla="*/ 1632659 w 2427462"/>
              <a:gd name="connsiteY67" fmla="*/ 1046372 h 1248656"/>
              <a:gd name="connsiteX68" fmla="*/ 2029759 w 2427462"/>
              <a:gd name="connsiteY68" fmla="*/ 870627 h 1248656"/>
              <a:gd name="connsiteX69" fmla="*/ 1498789 w 2427462"/>
              <a:gd name="connsiteY69" fmla="*/ 107446 h 1248656"/>
              <a:gd name="connsiteX70" fmla="*/ 2337909 w 2427462"/>
              <a:gd name="connsiteY70" fmla="*/ 1014664 h 1248656"/>
              <a:gd name="connsiteX71" fmla="*/ 2029759 w 2427462"/>
              <a:gd name="connsiteY71" fmla="*/ 870627 h 124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427462" h="1248656">
                <a:moveTo>
                  <a:pt x="2426859" y="1206235"/>
                </a:moveTo>
                <a:cubicBezTo>
                  <a:pt x="2425767" y="996110"/>
                  <a:pt x="2370852" y="798479"/>
                  <a:pt x="2275440" y="626353"/>
                </a:cubicBezTo>
                <a:lnTo>
                  <a:pt x="2203637" y="512617"/>
                </a:lnTo>
                <a:cubicBezTo>
                  <a:pt x="2178564" y="477232"/>
                  <a:pt x="2151623" y="443255"/>
                  <a:pt x="2122988" y="410800"/>
                </a:cubicBezTo>
                <a:lnTo>
                  <a:pt x="2051185" y="336096"/>
                </a:lnTo>
                <a:cubicBezTo>
                  <a:pt x="2020970" y="307202"/>
                  <a:pt x="1989291" y="279860"/>
                  <a:pt x="1956204" y="254183"/>
                </a:cubicBezTo>
                <a:lnTo>
                  <a:pt x="1884401" y="202226"/>
                </a:lnTo>
                <a:cubicBezTo>
                  <a:pt x="1861625" y="187033"/>
                  <a:pt x="1838188" y="172816"/>
                  <a:pt x="1814350" y="159144"/>
                </a:cubicBezTo>
                <a:lnTo>
                  <a:pt x="1742546" y="120916"/>
                </a:lnTo>
                <a:cubicBezTo>
                  <a:pt x="1723504" y="111640"/>
                  <a:pt x="1704204" y="102765"/>
                  <a:pt x="1684616" y="94493"/>
                </a:cubicBezTo>
                <a:lnTo>
                  <a:pt x="1612813" y="67093"/>
                </a:lnTo>
                <a:cubicBezTo>
                  <a:pt x="1590123" y="59166"/>
                  <a:pt x="1567088" y="51928"/>
                  <a:pt x="1543795" y="45351"/>
                </a:cubicBezTo>
                <a:lnTo>
                  <a:pt x="1471992" y="27257"/>
                </a:lnTo>
                <a:cubicBezTo>
                  <a:pt x="1397978" y="11115"/>
                  <a:pt x="1321436" y="1896"/>
                  <a:pt x="1243084" y="0"/>
                </a:cubicBezTo>
                <a:lnTo>
                  <a:pt x="1171281" y="316"/>
                </a:lnTo>
                <a:cubicBezTo>
                  <a:pt x="1098731" y="2815"/>
                  <a:pt x="1027761" y="11575"/>
                  <a:pt x="958973" y="26309"/>
                </a:cubicBezTo>
                <a:lnTo>
                  <a:pt x="887170" y="44173"/>
                </a:lnTo>
                <a:cubicBezTo>
                  <a:pt x="863648" y="50750"/>
                  <a:pt x="840412" y="57988"/>
                  <a:pt x="817493" y="65944"/>
                </a:cubicBezTo>
                <a:lnTo>
                  <a:pt x="745690" y="93143"/>
                </a:lnTo>
                <a:cubicBezTo>
                  <a:pt x="725929" y="101443"/>
                  <a:pt x="706370" y="110175"/>
                  <a:pt x="687156" y="119452"/>
                </a:cubicBezTo>
                <a:lnTo>
                  <a:pt x="615353" y="157536"/>
                </a:lnTo>
                <a:cubicBezTo>
                  <a:pt x="591284" y="171236"/>
                  <a:pt x="567647" y="185625"/>
                  <a:pt x="544641" y="200905"/>
                </a:cubicBezTo>
                <a:lnTo>
                  <a:pt x="472838" y="252460"/>
                </a:lnTo>
                <a:cubicBezTo>
                  <a:pt x="439492" y="278223"/>
                  <a:pt x="407583" y="305709"/>
                  <a:pt x="377110" y="334746"/>
                </a:cubicBezTo>
                <a:lnTo>
                  <a:pt x="305307" y="409105"/>
                </a:lnTo>
                <a:cubicBezTo>
                  <a:pt x="276384" y="441761"/>
                  <a:pt x="249272" y="476026"/>
                  <a:pt x="223940" y="511640"/>
                </a:cubicBezTo>
                <a:lnTo>
                  <a:pt x="152136" y="623940"/>
                </a:lnTo>
                <a:lnTo>
                  <a:pt x="152912" y="623940"/>
                </a:lnTo>
                <a:cubicBezTo>
                  <a:pt x="55633" y="798451"/>
                  <a:pt x="0" y="999183"/>
                  <a:pt x="0" y="1212726"/>
                </a:cubicBezTo>
                <a:cubicBezTo>
                  <a:pt x="0" y="1232543"/>
                  <a:pt x="17922" y="1248627"/>
                  <a:pt x="37740" y="1248627"/>
                </a:cubicBezTo>
                <a:cubicBezTo>
                  <a:pt x="56093" y="1248627"/>
                  <a:pt x="71487" y="1234812"/>
                  <a:pt x="73440" y="1216574"/>
                </a:cubicBezTo>
                <a:cubicBezTo>
                  <a:pt x="90070" y="1061910"/>
                  <a:pt x="246342" y="940764"/>
                  <a:pt x="429210" y="940764"/>
                </a:cubicBezTo>
                <a:cubicBezTo>
                  <a:pt x="604123" y="940764"/>
                  <a:pt x="752181" y="1047205"/>
                  <a:pt x="781246" y="1193856"/>
                </a:cubicBezTo>
                <a:cubicBezTo>
                  <a:pt x="784578" y="1210658"/>
                  <a:pt x="799312" y="1222778"/>
                  <a:pt x="816459" y="1222778"/>
                </a:cubicBezTo>
                <a:cubicBezTo>
                  <a:pt x="833605" y="1222778"/>
                  <a:pt x="848339" y="1210658"/>
                  <a:pt x="851671" y="1193856"/>
                </a:cubicBezTo>
                <a:cubicBezTo>
                  <a:pt x="878927" y="1056367"/>
                  <a:pt x="1010787" y="954206"/>
                  <a:pt x="1171281" y="941999"/>
                </a:cubicBezTo>
                <a:lnTo>
                  <a:pt x="1243084" y="942775"/>
                </a:lnTo>
                <a:cubicBezTo>
                  <a:pt x="1410787" y="958169"/>
                  <a:pt x="1543767" y="1070642"/>
                  <a:pt x="1559449" y="1216603"/>
                </a:cubicBezTo>
                <a:cubicBezTo>
                  <a:pt x="1561402" y="1234841"/>
                  <a:pt x="1576796" y="1248656"/>
                  <a:pt x="1595149" y="1248656"/>
                </a:cubicBezTo>
                <a:lnTo>
                  <a:pt x="1606207" y="1248656"/>
                </a:lnTo>
                <a:cubicBezTo>
                  <a:pt x="1624560" y="1248656"/>
                  <a:pt x="1639954" y="1234841"/>
                  <a:pt x="1641907" y="1216603"/>
                </a:cubicBezTo>
                <a:cubicBezTo>
                  <a:pt x="1658537" y="1061939"/>
                  <a:pt x="1814838" y="940793"/>
                  <a:pt x="1997706" y="940793"/>
                </a:cubicBezTo>
                <a:cubicBezTo>
                  <a:pt x="2180545" y="940793"/>
                  <a:pt x="2336818" y="1061939"/>
                  <a:pt x="2353447" y="1216603"/>
                </a:cubicBezTo>
                <a:cubicBezTo>
                  <a:pt x="2355400" y="1234841"/>
                  <a:pt x="2370795" y="1248656"/>
                  <a:pt x="2389148" y="1248656"/>
                </a:cubicBezTo>
                <a:lnTo>
                  <a:pt x="2390986" y="1248656"/>
                </a:lnTo>
                <a:lnTo>
                  <a:pt x="2391560" y="1248656"/>
                </a:lnTo>
                <a:cubicBezTo>
                  <a:pt x="2411378" y="1248656"/>
                  <a:pt x="2427462" y="1232572"/>
                  <a:pt x="2427462" y="1212755"/>
                </a:cubicBezTo>
                <a:cubicBezTo>
                  <a:pt x="2427462" y="1210543"/>
                  <a:pt x="2427261" y="1208360"/>
                  <a:pt x="2426859" y="1206235"/>
                </a:cubicBezTo>
                <a:close/>
                <a:moveTo>
                  <a:pt x="88978" y="1014664"/>
                </a:moveTo>
                <a:cubicBezTo>
                  <a:pt x="166124" y="575574"/>
                  <a:pt x="495097" y="222274"/>
                  <a:pt x="920889" y="109256"/>
                </a:cubicBezTo>
                <a:cubicBezTo>
                  <a:pt x="664638" y="252948"/>
                  <a:pt x="469793" y="526891"/>
                  <a:pt x="393050" y="870828"/>
                </a:cubicBezTo>
                <a:cubicBezTo>
                  <a:pt x="269520" y="879760"/>
                  <a:pt x="160552" y="933326"/>
                  <a:pt x="88978" y="1014664"/>
                </a:cubicBezTo>
                <a:close/>
                <a:moveTo>
                  <a:pt x="467237" y="870598"/>
                </a:moveTo>
                <a:cubicBezTo>
                  <a:pt x="558628" y="483350"/>
                  <a:pt x="808015" y="194184"/>
                  <a:pt x="1122800" y="102276"/>
                </a:cubicBezTo>
                <a:cubicBezTo>
                  <a:pt x="867812" y="410743"/>
                  <a:pt x="798996" y="698903"/>
                  <a:pt x="790409" y="1041834"/>
                </a:cubicBezTo>
                <a:cubicBezTo>
                  <a:pt x="720185" y="945733"/>
                  <a:pt x="602026" y="880967"/>
                  <a:pt x="467237" y="870598"/>
                </a:cubicBezTo>
                <a:close/>
                <a:moveTo>
                  <a:pt x="863217" y="1015755"/>
                </a:moveTo>
                <a:cubicBezTo>
                  <a:pt x="874504" y="703843"/>
                  <a:pt x="941913" y="438286"/>
                  <a:pt x="1171281" y="156617"/>
                </a:cubicBezTo>
                <a:lnTo>
                  <a:pt x="1171281" y="870081"/>
                </a:lnTo>
                <a:cubicBezTo>
                  <a:pt x="1046746" y="878209"/>
                  <a:pt x="935853" y="932780"/>
                  <a:pt x="863217" y="1015755"/>
                </a:cubicBezTo>
                <a:close/>
                <a:moveTo>
                  <a:pt x="1243084" y="870713"/>
                </a:moveTo>
                <a:lnTo>
                  <a:pt x="1243084" y="146048"/>
                </a:lnTo>
                <a:cubicBezTo>
                  <a:pt x="1484285" y="437482"/>
                  <a:pt x="1551062" y="710793"/>
                  <a:pt x="1560368" y="1035085"/>
                </a:cubicBezTo>
                <a:cubicBezTo>
                  <a:pt x="1490230" y="943206"/>
                  <a:pt x="1375317" y="881082"/>
                  <a:pt x="1243084" y="870713"/>
                </a:cubicBezTo>
                <a:close/>
                <a:moveTo>
                  <a:pt x="1632659" y="1046372"/>
                </a:moveTo>
                <a:cubicBezTo>
                  <a:pt x="1624560" y="701430"/>
                  <a:pt x="1556232" y="412121"/>
                  <a:pt x="1300096" y="102276"/>
                </a:cubicBezTo>
                <a:cubicBezTo>
                  <a:pt x="1614995" y="194242"/>
                  <a:pt x="1864411" y="483522"/>
                  <a:pt x="1955744" y="870972"/>
                </a:cubicBezTo>
                <a:cubicBezTo>
                  <a:pt x="1819261" y="882403"/>
                  <a:pt x="1701389" y="948950"/>
                  <a:pt x="1632659" y="1046372"/>
                </a:cubicBezTo>
                <a:close/>
                <a:moveTo>
                  <a:pt x="2029759" y="870627"/>
                </a:moveTo>
                <a:cubicBezTo>
                  <a:pt x="1952700" y="525340"/>
                  <a:pt x="1756591" y="250622"/>
                  <a:pt x="1498789" y="107446"/>
                </a:cubicBezTo>
                <a:cubicBezTo>
                  <a:pt x="1928057" y="218339"/>
                  <a:pt x="2260333" y="573104"/>
                  <a:pt x="2337909" y="1014664"/>
                </a:cubicBezTo>
                <a:cubicBezTo>
                  <a:pt x="2265532" y="932435"/>
                  <a:pt x="2154926" y="878640"/>
                  <a:pt x="2029759" y="870627"/>
                </a:cubicBezTo>
                <a:close/>
              </a:path>
            </a:pathLst>
          </a:custGeom>
          <a:solidFill>
            <a:schemeClr val="bg2"/>
          </a:solidFill>
          <a:ln w="28670" cap="flat">
            <a:noFill/>
            <a:prstDash val="solid"/>
            <a:miter/>
          </a:ln>
        </p:spPr>
        <p:txBody>
          <a:bodyPr rtlCol="0" anchor="ctr"/>
          <a:lstStyle/>
          <a:p>
            <a:endParaRPr lang="en-US" dirty="0"/>
          </a:p>
        </p:txBody>
      </p:sp>
      <p:sp>
        <p:nvSpPr>
          <p:cNvPr id="470" name="Rectangle: Rounded Corners 1">
            <a:extLst>
              <a:ext uri="{FF2B5EF4-FFF2-40B4-BE49-F238E27FC236}">
                <a16:creationId xmlns:a16="http://schemas.microsoft.com/office/drawing/2014/main" id="{59374264-68DB-47BA-89FD-80214EC942E6}"/>
              </a:ext>
            </a:extLst>
          </p:cNvPr>
          <p:cNvSpPr/>
          <p:nvPr/>
        </p:nvSpPr>
        <p:spPr>
          <a:xfrm flipH="1">
            <a:off x="1415246" y="3406284"/>
            <a:ext cx="3467746" cy="2104162"/>
          </a:xfrm>
          <a:custGeom>
            <a:avLst/>
            <a:gdLst>
              <a:gd name="connsiteX0" fmla="*/ 0 w 3941976"/>
              <a:gd name="connsiteY0" fmla="*/ 131288 h 2212465"/>
              <a:gd name="connsiteX1" fmla="*/ 131288 w 3941976"/>
              <a:gd name="connsiteY1" fmla="*/ 0 h 2212465"/>
              <a:gd name="connsiteX2" fmla="*/ 3810688 w 3941976"/>
              <a:gd name="connsiteY2" fmla="*/ 0 h 2212465"/>
              <a:gd name="connsiteX3" fmla="*/ 3941976 w 3941976"/>
              <a:gd name="connsiteY3" fmla="*/ 131288 h 2212465"/>
              <a:gd name="connsiteX4" fmla="*/ 3941976 w 3941976"/>
              <a:gd name="connsiteY4" fmla="*/ 2081177 h 2212465"/>
              <a:gd name="connsiteX5" fmla="*/ 3810688 w 3941976"/>
              <a:gd name="connsiteY5" fmla="*/ 2212465 h 2212465"/>
              <a:gd name="connsiteX6" fmla="*/ 131288 w 3941976"/>
              <a:gd name="connsiteY6" fmla="*/ 2212465 h 2212465"/>
              <a:gd name="connsiteX7" fmla="*/ 0 w 3941976"/>
              <a:gd name="connsiteY7" fmla="*/ 2081177 h 2212465"/>
              <a:gd name="connsiteX8" fmla="*/ 0 w 3941976"/>
              <a:gd name="connsiteY8" fmla="*/ 131288 h 2212465"/>
              <a:gd name="connsiteX0" fmla="*/ 3941976 w 4033416"/>
              <a:gd name="connsiteY0" fmla="*/ 131288 h 2212465"/>
              <a:gd name="connsiteX1" fmla="*/ 3941976 w 4033416"/>
              <a:gd name="connsiteY1" fmla="*/ 2081177 h 2212465"/>
              <a:gd name="connsiteX2" fmla="*/ 3810688 w 4033416"/>
              <a:gd name="connsiteY2" fmla="*/ 2212465 h 2212465"/>
              <a:gd name="connsiteX3" fmla="*/ 131288 w 4033416"/>
              <a:gd name="connsiteY3" fmla="*/ 2212465 h 2212465"/>
              <a:gd name="connsiteX4" fmla="*/ 0 w 4033416"/>
              <a:gd name="connsiteY4" fmla="*/ 2081177 h 2212465"/>
              <a:gd name="connsiteX5" fmla="*/ 0 w 4033416"/>
              <a:gd name="connsiteY5" fmla="*/ 131288 h 2212465"/>
              <a:gd name="connsiteX6" fmla="*/ 131288 w 4033416"/>
              <a:gd name="connsiteY6" fmla="*/ 0 h 2212465"/>
              <a:gd name="connsiteX7" fmla="*/ 3810688 w 4033416"/>
              <a:gd name="connsiteY7" fmla="*/ 0 h 2212465"/>
              <a:gd name="connsiteX8" fmla="*/ 4033416 w 4033416"/>
              <a:gd name="connsiteY8" fmla="*/ 222728 h 2212465"/>
              <a:gd name="connsiteX0" fmla="*/ 3941976 w 4033416"/>
              <a:gd name="connsiteY0" fmla="*/ 2081177 h 2212465"/>
              <a:gd name="connsiteX1" fmla="*/ 3810688 w 4033416"/>
              <a:gd name="connsiteY1" fmla="*/ 2212465 h 2212465"/>
              <a:gd name="connsiteX2" fmla="*/ 131288 w 4033416"/>
              <a:gd name="connsiteY2" fmla="*/ 2212465 h 2212465"/>
              <a:gd name="connsiteX3" fmla="*/ 0 w 4033416"/>
              <a:gd name="connsiteY3" fmla="*/ 2081177 h 2212465"/>
              <a:gd name="connsiteX4" fmla="*/ 0 w 4033416"/>
              <a:gd name="connsiteY4" fmla="*/ 131288 h 2212465"/>
              <a:gd name="connsiteX5" fmla="*/ 131288 w 4033416"/>
              <a:gd name="connsiteY5" fmla="*/ 0 h 2212465"/>
              <a:gd name="connsiteX6" fmla="*/ 3810688 w 4033416"/>
              <a:gd name="connsiteY6" fmla="*/ 0 h 2212465"/>
              <a:gd name="connsiteX7" fmla="*/ 4033416 w 4033416"/>
              <a:gd name="connsiteY7" fmla="*/ 222728 h 2212465"/>
              <a:gd name="connsiteX0" fmla="*/ 3941976 w 3941976"/>
              <a:gd name="connsiteY0" fmla="*/ 2081177 h 2212465"/>
              <a:gd name="connsiteX1" fmla="*/ 3810688 w 3941976"/>
              <a:gd name="connsiteY1" fmla="*/ 2212465 h 2212465"/>
              <a:gd name="connsiteX2" fmla="*/ 131288 w 3941976"/>
              <a:gd name="connsiteY2" fmla="*/ 2212465 h 2212465"/>
              <a:gd name="connsiteX3" fmla="*/ 0 w 3941976"/>
              <a:gd name="connsiteY3" fmla="*/ 2081177 h 2212465"/>
              <a:gd name="connsiteX4" fmla="*/ 0 w 3941976"/>
              <a:gd name="connsiteY4" fmla="*/ 131288 h 2212465"/>
              <a:gd name="connsiteX5" fmla="*/ 131288 w 3941976"/>
              <a:gd name="connsiteY5" fmla="*/ 0 h 2212465"/>
              <a:gd name="connsiteX6" fmla="*/ 3810688 w 3941976"/>
              <a:gd name="connsiteY6" fmla="*/ 0 h 2212465"/>
              <a:gd name="connsiteX0" fmla="*/ 3810688 w 3810688"/>
              <a:gd name="connsiteY0" fmla="*/ 2212465 h 2212465"/>
              <a:gd name="connsiteX1" fmla="*/ 131288 w 3810688"/>
              <a:gd name="connsiteY1" fmla="*/ 2212465 h 2212465"/>
              <a:gd name="connsiteX2" fmla="*/ 0 w 3810688"/>
              <a:gd name="connsiteY2" fmla="*/ 2081177 h 2212465"/>
              <a:gd name="connsiteX3" fmla="*/ 0 w 3810688"/>
              <a:gd name="connsiteY3" fmla="*/ 131288 h 2212465"/>
              <a:gd name="connsiteX4" fmla="*/ 131288 w 3810688"/>
              <a:gd name="connsiteY4" fmla="*/ 0 h 2212465"/>
              <a:gd name="connsiteX5" fmla="*/ 3810688 w 3810688"/>
              <a:gd name="connsiteY5" fmla="*/ 0 h 2212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0688" h="2212465">
                <a:moveTo>
                  <a:pt x="3810688" y="2212465"/>
                </a:moveTo>
                <a:lnTo>
                  <a:pt x="131288" y="2212465"/>
                </a:lnTo>
                <a:cubicBezTo>
                  <a:pt x="58780" y="2212465"/>
                  <a:pt x="0" y="2153685"/>
                  <a:pt x="0" y="2081177"/>
                </a:cubicBezTo>
                <a:lnTo>
                  <a:pt x="0" y="131288"/>
                </a:lnTo>
                <a:cubicBezTo>
                  <a:pt x="0" y="58780"/>
                  <a:pt x="58780" y="0"/>
                  <a:pt x="131288" y="0"/>
                </a:cubicBezTo>
                <a:lnTo>
                  <a:pt x="3810688" y="0"/>
                </a:lnTo>
              </a:path>
            </a:pathLst>
          </a:custGeom>
          <a:solidFill>
            <a:schemeClr val="bg2">
              <a:alpha val="50000"/>
            </a:schemeClr>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231775" indent="-231775">
              <a:spcBef>
                <a:spcPts val="600"/>
              </a:spcBef>
              <a:buFont typeface="Arial" panose="020B0604020202020204" pitchFamily="34" charset="0"/>
              <a:buChar char="•"/>
            </a:pPr>
            <a:r>
              <a:rPr lang="en-US" dirty="0"/>
              <a:t>AMP and Umbrella work together to flag information in a similar way</a:t>
            </a:r>
          </a:p>
          <a:p>
            <a:pPr marL="231775" indent="-231775">
              <a:spcBef>
                <a:spcPts val="600"/>
              </a:spcBef>
              <a:buFont typeface="Arial" panose="020B0604020202020204" pitchFamily="34" charset="0"/>
              <a:buChar char="•"/>
            </a:pPr>
            <a:r>
              <a:rPr lang="en-US" dirty="0"/>
              <a:t>Umbrella can block threats on the internet, AMP for Endpoints finds and stops the root cause on the endpoint. </a:t>
            </a:r>
          </a:p>
        </p:txBody>
      </p:sp>
      <p:grpSp>
        <p:nvGrpSpPr>
          <p:cNvPr id="468" name="Group 467">
            <a:extLst>
              <a:ext uri="{FF2B5EF4-FFF2-40B4-BE49-F238E27FC236}">
                <a16:creationId xmlns:a16="http://schemas.microsoft.com/office/drawing/2014/main" id="{78823241-DA0F-4EC6-94F5-4732633694D6}"/>
              </a:ext>
            </a:extLst>
          </p:cNvPr>
          <p:cNvGrpSpPr/>
          <p:nvPr/>
        </p:nvGrpSpPr>
        <p:grpSpPr>
          <a:xfrm>
            <a:off x="1164845" y="1447035"/>
            <a:ext cx="1264145" cy="1282553"/>
            <a:chOff x="7824283" y="1928881"/>
            <a:chExt cx="1264145" cy="1282553"/>
          </a:xfrm>
        </p:grpSpPr>
        <p:sp>
          <p:nvSpPr>
            <p:cNvPr id="469" name="Freeform: Shape 468">
              <a:extLst>
                <a:ext uri="{FF2B5EF4-FFF2-40B4-BE49-F238E27FC236}">
                  <a16:creationId xmlns:a16="http://schemas.microsoft.com/office/drawing/2014/main" id="{19B5D303-B55D-4406-9E93-DE5FAA11F6D3}"/>
                </a:ext>
              </a:extLst>
            </p:cNvPr>
            <p:cNvSpPr>
              <a:spLocks/>
            </p:cNvSpPr>
            <p:nvPr/>
          </p:nvSpPr>
          <p:spPr bwMode="auto">
            <a:xfrm>
              <a:off x="7824283" y="1928881"/>
              <a:ext cx="1264145" cy="1282553"/>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71" name="Oval 470">
              <a:extLst>
                <a:ext uri="{FF2B5EF4-FFF2-40B4-BE49-F238E27FC236}">
                  <a16:creationId xmlns:a16="http://schemas.microsoft.com/office/drawing/2014/main" id="{E5F94E09-F0B9-4F5E-A0B5-AED0174F5B37}"/>
                </a:ext>
              </a:extLst>
            </p:cNvPr>
            <p:cNvSpPr/>
            <p:nvPr/>
          </p:nvSpPr>
          <p:spPr>
            <a:xfrm>
              <a:off x="7939719" y="2053521"/>
              <a:ext cx="1033272" cy="1033272"/>
            </a:xfrm>
            <a:prstGeom prst="ellipse">
              <a:avLst/>
            </a:prstGeom>
            <a:solidFill>
              <a:schemeClr val="tx2">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72" name="Group 471">
              <a:extLst>
                <a:ext uri="{FF2B5EF4-FFF2-40B4-BE49-F238E27FC236}">
                  <a16:creationId xmlns:a16="http://schemas.microsoft.com/office/drawing/2014/main" id="{E66EA85D-9E4D-4E77-AD47-5F801F9E47D1}"/>
                </a:ext>
              </a:extLst>
            </p:cNvPr>
            <p:cNvGrpSpPr/>
            <p:nvPr/>
          </p:nvGrpSpPr>
          <p:grpSpPr>
            <a:xfrm>
              <a:off x="8098190" y="2243725"/>
              <a:ext cx="708323" cy="693721"/>
              <a:chOff x="6330560" y="3409386"/>
              <a:chExt cx="899461" cy="880919"/>
            </a:xfrm>
          </p:grpSpPr>
          <p:grpSp>
            <p:nvGrpSpPr>
              <p:cNvPr id="473" name="Group 472">
                <a:extLst>
                  <a:ext uri="{FF2B5EF4-FFF2-40B4-BE49-F238E27FC236}">
                    <a16:creationId xmlns:a16="http://schemas.microsoft.com/office/drawing/2014/main" id="{6BA4B386-F5A1-4E04-A3FF-3EDBF35EC2D2}"/>
                  </a:ext>
                </a:extLst>
              </p:cNvPr>
              <p:cNvGrpSpPr/>
              <p:nvPr/>
            </p:nvGrpSpPr>
            <p:grpSpPr>
              <a:xfrm>
                <a:off x="6371627" y="3409386"/>
                <a:ext cx="858394" cy="846581"/>
                <a:chOff x="6736081" y="-2000249"/>
                <a:chExt cx="1188722" cy="1188718"/>
              </a:xfrm>
              <a:solidFill>
                <a:schemeClr val="bg2"/>
              </a:solidFill>
            </p:grpSpPr>
            <p:sp>
              <p:nvSpPr>
                <p:cNvPr id="476" name="Freeform: Shape 475">
                  <a:extLst>
                    <a:ext uri="{FF2B5EF4-FFF2-40B4-BE49-F238E27FC236}">
                      <a16:creationId xmlns:a16="http://schemas.microsoft.com/office/drawing/2014/main" id="{90EC6D7A-4114-4CC7-8F48-0EEBE642A4DC}"/>
                    </a:ext>
                  </a:extLst>
                </p:cNvPr>
                <p:cNvSpPr/>
                <p:nvPr/>
              </p:nvSpPr>
              <p:spPr>
                <a:xfrm>
                  <a:off x="7139942" y="-1592579"/>
                  <a:ext cx="381000" cy="380999"/>
                </a:xfrm>
                <a:custGeom>
                  <a:avLst/>
                  <a:gdLst>
                    <a:gd name="connsiteX0" fmla="*/ 190500 w 381000"/>
                    <a:gd name="connsiteY0" fmla="*/ 380999 h 380999"/>
                    <a:gd name="connsiteX1" fmla="*/ 0 w 381000"/>
                    <a:gd name="connsiteY1" fmla="*/ 190500 h 380999"/>
                    <a:gd name="connsiteX2" fmla="*/ 190500 w 381000"/>
                    <a:gd name="connsiteY2" fmla="*/ 0 h 380999"/>
                    <a:gd name="connsiteX3" fmla="*/ 381001 w 381000"/>
                    <a:gd name="connsiteY3" fmla="*/ 190500 h 380999"/>
                    <a:gd name="connsiteX4" fmla="*/ 190500 w 381000"/>
                    <a:gd name="connsiteY4" fmla="*/ 380999 h 380999"/>
                    <a:gd name="connsiteX5" fmla="*/ 190500 w 381000"/>
                    <a:gd name="connsiteY5" fmla="*/ 38100 h 380999"/>
                    <a:gd name="connsiteX6" fmla="*/ 38100 w 381000"/>
                    <a:gd name="connsiteY6" fmla="*/ 190500 h 380999"/>
                    <a:gd name="connsiteX7" fmla="*/ 190500 w 381000"/>
                    <a:gd name="connsiteY7" fmla="*/ 342900 h 380999"/>
                    <a:gd name="connsiteX8" fmla="*/ 342901 w 381000"/>
                    <a:gd name="connsiteY8" fmla="*/ 190500 h 380999"/>
                    <a:gd name="connsiteX9" fmla="*/ 190500 w 381000"/>
                    <a:gd name="connsiteY9" fmla="*/ 38100 h 38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380999">
                      <a:moveTo>
                        <a:pt x="190500" y="380999"/>
                      </a:moveTo>
                      <a:cubicBezTo>
                        <a:pt x="83820" y="380999"/>
                        <a:pt x="0" y="297180"/>
                        <a:pt x="0" y="190500"/>
                      </a:cubicBezTo>
                      <a:cubicBezTo>
                        <a:pt x="0" y="83820"/>
                        <a:pt x="83820" y="0"/>
                        <a:pt x="190500" y="0"/>
                      </a:cubicBezTo>
                      <a:cubicBezTo>
                        <a:pt x="297180" y="0"/>
                        <a:pt x="381001" y="83820"/>
                        <a:pt x="381001" y="190500"/>
                      </a:cubicBezTo>
                      <a:cubicBezTo>
                        <a:pt x="377191" y="293370"/>
                        <a:pt x="293370" y="380999"/>
                        <a:pt x="190500" y="380999"/>
                      </a:cubicBezTo>
                      <a:close/>
                      <a:moveTo>
                        <a:pt x="190500" y="38100"/>
                      </a:moveTo>
                      <a:cubicBezTo>
                        <a:pt x="106680" y="38100"/>
                        <a:pt x="38100" y="106680"/>
                        <a:pt x="38100" y="190500"/>
                      </a:cubicBezTo>
                      <a:cubicBezTo>
                        <a:pt x="38100" y="274320"/>
                        <a:pt x="106680" y="342900"/>
                        <a:pt x="190500" y="342900"/>
                      </a:cubicBezTo>
                      <a:cubicBezTo>
                        <a:pt x="274320" y="342900"/>
                        <a:pt x="342901" y="274320"/>
                        <a:pt x="342901" y="190500"/>
                      </a:cubicBezTo>
                      <a:cubicBezTo>
                        <a:pt x="339091" y="106680"/>
                        <a:pt x="274320" y="38100"/>
                        <a:pt x="190500" y="38100"/>
                      </a:cubicBezTo>
                      <a:close/>
                    </a:path>
                  </a:pathLst>
                </a:custGeom>
                <a:grpFill/>
                <a:ln w="38100" cap="flat">
                  <a:noFill/>
                  <a:prstDash val="solid"/>
                  <a:miter/>
                </a:ln>
              </p:spPr>
              <p:txBody>
                <a:bodyPr rtlCol="0" anchor="ctr"/>
                <a:lstStyle/>
                <a:p>
                  <a:endParaRPr lang="en-IN" dirty="0"/>
                </a:p>
              </p:txBody>
            </p:sp>
            <p:sp>
              <p:nvSpPr>
                <p:cNvPr id="478" name="Freeform: Shape 477">
                  <a:extLst>
                    <a:ext uri="{FF2B5EF4-FFF2-40B4-BE49-F238E27FC236}">
                      <a16:creationId xmlns:a16="http://schemas.microsoft.com/office/drawing/2014/main" id="{4D4AA14C-B5FB-47DD-94B6-3E6296F2304D}"/>
                    </a:ext>
                  </a:extLst>
                </p:cNvPr>
                <p:cNvSpPr/>
                <p:nvPr/>
              </p:nvSpPr>
              <p:spPr>
                <a:xfrm>
                  <a:off x="6926581" y="-1809749"/>
                  <a:ext cx="807721" cy="811528"/>
                </a:xfrm>
                <a:custGeom>
                  <a:avLst/>
                  <a:gdLst>
                    <a:gd name="connsiteX0" fmla="*/ 403861 w 807721"/>
                    <a:gd name="connsiteY0" fmla="*/ 811529 h 811528"/>
                    <a:gd name="connsiteX1" fmla="*/ 0 w 807721"/>
                    <a:gd name="connsiteY1" fmla="*/ 407669 h 811528"/>
                    <a:gd name="connsiteX2" fmla="*/ 403861 w 807721"/>
                    <a:gd name="connsiteY2" fmla="*/ 0 h 811528"/>
                    <a:gd name="connsiteX3" fmla="*/ 807722 w 807721"/>
                    <a:gd name="connsiteY3" fmla="*/ 403859 h 811528"/>
                    <a:gd name="connsiteX4" fmla="*/ 403861 w 807721"/>
                    <a:gd name="connsiteY4" fmla="*/ 811529 h 811528"/>
                    <a:gd name="connsiteX5" fmla="*/ 403861 w 807721"/>
                    <a:gd name="connsiteY5" fmla="*/ 38100 h 811528"/>
                    <a:gd name="connsiteX6" fmla="*/ 38100 w 807721"/>
                    <a:gd name="connsiteY6" fmla="*/ 403859 h 811528"/>
                    <a:gd name="connsiteX7" fmla="*/ 403861 w 807721"/>
                    <a:gd name="connsiteY7" fmla="*/ 769619 h 811528"/>
                    <a:gd name="connsiteX8" fmla="*/ 769621 w 807721"/>
                    <a:gd name="connsiteY8" fmla="*/ 403859 h 811528"/>
                    <a:gd name="connsiteX9" fmla="*/ 403861 w 807721"/>
                    <a:gd name="connsiteY9" fmla="*/ 38100 h 81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721" h="811528">
                      <a:moveTo>
                        <a:pt x="403861" y="811529"/>
                      </a:moveTo>
                      <a:cubicBezTo>
                        <a:pt x="179070" y="811529"/>
                        <a:pt x="0" y="628649"/>
                        <a:pt x="0" y="407669"/>
                      </a:cubicBezTo>
                      <a:cubicBezTo>
                        <a:pt x="0" y="186690"/>
                        <a:pt x="179070" y="0"/>
                        <a:pt x="403861" y="0"/>
                      </a:cubicBezTo>
                      <a:cubicBezTo>
                        <a:pt x="628651" y="0"/>
                        <a:pt x="807722" y="182880"/>
                        <a:pt x="807722" y="403859"/>
                      </a:cubicBezTo>
                      <a:cubicBezTo>
                        <a:pt x="807722" y="624839"/>
                        <a:pt x="624841" y="811529"/>
                        <a:pt x="403861" y="811529"/>
                      </a:cubicBezTo>
                      <a:close/>
                      <a:moveTo>
                        <a:pt x="403861" y="38100"/>
                      </a:moveTo>
                      <a:cubicBezTo>
                        <a:pt x="201930" y="38100"/>
                        <a:pt x="38100" y="201930"/>
                        <a:pt x="38100" y="403859"/>
                      </a:cubicBezTo>
                      <a:cubicBezTo>
                        <a:pt x="38100" y="605789"/>
                        <a:pt x="201930" y="769619"/>
                        <a:pt x="403861" y="769619"/>
                      </a:cubicBezTo>
                      <a:cubicBezTo>
                        <a:pt x="605791" y="769619"/>
                        <a:pt x="769621" y="605789"/>
                        <a:pt x="769621" y="403859"/>
                      </a:cubicBezTo>
                      <a:cubicBezTo>
                        <a:pt x="769621" y="205740"/>
                        <a:pt x="605791" y="38100"/>
                        <a:pt x="403861" y="38100"/>
                      </a:cubicBezTo>
                      <a:close/>
                    </a:path>
                  </a:pathLst>
                </a:custGeom>
                <a:grpFill/>
                <a:ln w="38100" cap="flat">
                  <a:noFill/>
                  <a:prstDash val="solid"/>
                  <a:miter/>
                </a:ln>
              </p:spPr>
              <p:txBody>
                <a:bodyPr rtlCol="0" anchor="ctr"/>
                <a:lstStyle/>
                <a:p>
                  <a:endParaRPr lang="en-IN" dirty="0"/>
                </a:p>
              </p:txBody>
            </p:sp>
            <p:sp>
              <p:nvSpPr>
                <p:cNvPr id="479" name="Freeform: Shape 478">
                  <a:extLst>
                    <a:ext uri="{FF2B5EF4-FFF2-40B4-BE49-F238E27FC236}">
                      <a16:creationId xmlns:a16="http://schemas.microsoft.com/office/drawing/2014/main" id="{3A24CE35-E5D0-4566-A66F-EA2283D52C42}"/>
                    </a:ext>
                  </a:extLst>
                </p:cNvPr>
                <p:cNvSpPr/>
                <p:nvPr/>
              </p:nvSpPr>
              <p:spPr>
                <a:xfrm>
                  <a:off x="6736081" y="-2000249"/>
                  <a:ext cx="1188722" cy="1188718"/>
                </a:xfrm>
                <a:custGeom>
                  <a:avLst/>
                  <a:gdLst>
                    <a:gd name="connsiteX0" fmla="*/ 594361 w 1188722"/>
                    <a:gd name="connsiteY0" fmla="*/ 1188718 h 1188718"/>
                    <a:gd name="connsiteX1" fmla="*/ 0 w 1188722"/>
                    <a:gd name="connsiteY1" fmla="*/ 594359 h 1188718"/>
                    <a:gd name="connsiteX2" fmla="*/ 594361 w 1188722"/>
                    <a:gd name="connsiteY2" fmla="*/ 0 h 1188718"/>
                    <a:gd name="connsiteX3" fmla="*/ 1188722 w 1188722"/>
                    <a:gd name="connsiteY3" fmla="*/ 594359 h 1188718"/>
                    <a:gd name="connsiteX4" fmla="*/ 594361 w 1188722"/>
                    <a:gd name="connsiteY4" fmla="*/ 1188718 h 1188718"/>
                    <a:gd name="connsiteX5" fmla="*/ 594361 w 1188722"/>
                    <a:gd name="connsiteY5" fmla="*/ 41910 h 1188718"/>
                    <a:gd name="connsiteX6" fmla="*/ 38100 w 1188722"/>
                    <a:gd name="connsiteY6" fmla="*/ 598169 h 1188718"/>
                    <a:gd name="connsiteX7" fmla="*/ 594361 w 1188722"/>
                    <a:gd name="connsiteY7" fmla="*/ 1154428 h 1188718"/>
                    <a:gd name="connsiteX8" fmla="*/ 1150622 w 1188722"/>
                    <a:gd name="connsiteY8" fmla="*/ 598169 h 1188718"/>
                    <a:gd name="connsiteX9" fmla="*/ 594361 w 1188722"/>
                    <a:gd name="connsiteY9" fmla="*/ 41910 h 118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8722" h="1188718">
                      <a:moveTo>
                        <a:pt x="594361" y="1188718"/>
                      </a:moveTo>
                      <a:cubicBezTo>
                        <a:pt x="266701" y="1188718"/>
                        <a:pt x="0" y="922019"/>
                        <a:pt x="0" y="594359"/>
                      </a:cubicBezTo>
                      <a:cubicBezTo>
                        <a:pt x="0" y="266700"/>
                        <a:pt x="266701" y="0"/>
                        <a:pt x="594361" y="0"/>
                      </a:cubicBezTo>
                      <a:cubicBezTo>
                        <a:pt x="922022" y="0"/>
                        <a:pt x="1188722" y="266700"/>
                        <a:pt x="1188722" y="594359"/>
                      </a:cubicBezTo>
                      <a:cubicBezTo>
                        <a:pt x="1188722" y="922019"/>
                        <a:pt x="918212" y="1188718"/>
                        <a:pt x="594361" y="1188718"/>
                      </a:cubicBezTo>
                      <a:close/>
                      <a:moveTo>
                        <a:pt x="594361" y="41910"/>
                      </a:moveTo>
                      <a:cubicBezTo>
                        <a:pt x="289561" y="41910"/>
                        <a:pt x="38100" y="289560"/>
                        <a:pt x="38100" y="598169"/>
                      </a:cubicBezTo>
                      <a:cubicBezTo>
                        <a:pt x="38100" y="906779"/>
                        <a:pt x="285751" y="1154428"/>
                        <a:pt x="594361" y="1154428"/>
                      </a:cubicBezTo>
                      <a:cubicBezTo>
                        <a:pt x="902972" y="1154428"/>
                        <a:pt x="1150622" y="906779"/>
                        <a:pt x="1150622" y="598169"/>
                      </a:cubicBezTo>
                      <a:cubicBezTo>
                        <a:pt x="1150622" y="289560"/>
                        <a:pt x="899162" y="41910"/>
                        <a:pt x="594361" y="41910"/>
                      </a:cubicBezTo>
                      <a:close/>
                    </a:path>
                  </a:pathLst>
                </a:custGeom>
                <a:grpFill/>
                <a:ln w="38100" cap="flat">
                  <a:noFill/>
                  <a:prstDash val="solid"/>
                  <a:miter/>
                </a:ln>
              </p:spPr>
              <p:txBody>
                <a:bodyPr rtlCol="0" anchor="ctr"/>
                <a:lstStyle/>
                <a:p>
                  <a:endParaRPr lang="en-IN" dirty="0"/>
                </a:p>
              </p:txBody>
            </p:sp>
          </p:grpSp>
          <p:cxnSp>
            <p:nvCxnSpPr>
              <p:cNvPr id="474" name="Straight Connector 473">
                <a:extLst>
                  <a:ext uri="{FF2B5EF4-FFF2-40B4-BE49-F238E27FC236}">
                    <a16:creationId xmlns:a16="http://schemas.microsoft.com/office/drawing/2014/main" id="{B61356BB-A135-415C-BEE2-81255512485E}"/>
                  </a:ext>
                </a:extLst>
              </p:cNvPr>
              <p:cNvCxnSpPr>
                <a:cxnSpLocks/>
              </p:cNvCxnSpPr>
              <p:nvPr/>
            </p:nvCxnSpPr>
            <p:spPr>
              <a:xfrm flipV="1">
                <a:off x="6399434" y="3800584"/>
                <a:ext cx="819367" cy="1"/>
              </a:xfrm>
              <a:prstGeom prst="line">
                <a:avLst/>
              </a:prstGeom>
              <a:ln w="34925">
                <a:solidFill>
                  <a:schemeClr val="bg2"/>
                </a:solidFill>
              </a:ln>
            </p:spPr>
            <p:style>
              <a:lnRef idx="1">
                <a:schemeClr val="accent1"/>
              </a:lnRef>
              <a:fillRef idx="0">
                <a:schemeClr val="accent1"/>
              </a:fillRef>
              <a:effectRef idx="0">
                <a:schemeClr val="accent1"/>
              </a:effectRef>
              <a:fontRef idx="minor">
                <a:schemeClr val="tx1"/>
              </a:fontRef>
            </p:style>
          </p:cxnSp>
          <p:sp>
            <p:nvSpPr>
              <p:cNvPr id="475" name="Rectangle 474">
                <a:extLst>
                  <a:ext uri="{FF2B5EF4-FFF2-40B4-BE49-F238E27FC236}">
                    <a16:creationId xmlns:a16="http://schemas.microsoft.com/office/drawing/2014/main" id="{F86C40DA-4BF1-415D-87F0-4F372F26DC4A}"/>
                  </a:ext>
                </a:extLst>
              </p:cNvPr>
              <p:cNvSpPr/>
              <p:nvPr/>
            </p:nvSpPr>
            <p:spPr>
              <a:xfrm>
                <a:off x="6330560" y="3814529"/>
                <a:ext cx="899461" cy="475776"/>
              </a:xfrm>
              <a:prstGeom prst="rect">
                <a:avLst/>
              </a:prstGeom>
              <a:solidFill>
                <a:srgbClr val="3D7A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480" name="Freeform: Shape 499">
            <a:extLst>
              <a:ext uri="{FF2B5EF4-FFF2-40B4-BE49-F238E27FC236}">
                <a16:creationId xmlns:a16="http://schemas.microsoft.com/office/drawing/2014/main" id="{6345C96F-9D4C-A049-A59F-BE1AF9576AB3}"/>
              </a:ext>
            </a:extLst>
          </p:cNvPr>
          <p:cNvSpPr/>
          <p:nvPr/>
        </p:nvSpPr>
        <p:spPr>
          <a:xfrm rot="1114717">
            <a:off x="2441919" y="1886643"/>
            <a:ext cx="618344" cy="1156762"/>
          </a:xfrm>
          <a:custGeom>
            <a:avLst/>
            <a:gdLst>
              <a:gd name="connsiteX0" fmla="*/ 0 w 656476"/>
              <a:gd name="connsiteY0" fmla="*/ 44270 h 1228097"/>
              <a:gd name="connsiteX1" fmla="*/ 0 w 656476"/>
              <a:gd name="connsiteY1" fmla="*/ 1183829 h 1228097"/>
              <a:gd name="connsiteX2" fmla="*/ 75455 w 656476"/>
              <a:gd name="connsiteY2" fmla="*/ 1215075 h 1228097"/>
              <a:gd name="connsiteX3" fmla="*/ 643521 w 656476"/>
              <a:gd name="connsiteY3" fmla="*/ 647009 h 1228097"/>
              <a:gd name="connsiteX4" fmla="*/ 643627 w 656476"/>
              <a:gd name="connsiteY4" fmla="*/ 584622 h 1228097"/>
              <a:gd name="connsiteX5" fmla="*/ 75560 w 656476"/>
              <a:gd name="connsiteY5" fmla="*/ 13130 h 1228097"/>
              <a:gd name="connsiteX6" fmla="*/ 0 w 656476"/>
              <a:gd name="connsiteY6" fmla="*/ 44270 h 122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476" h="1228097">
                <a:moveTo>
                  <a:pt x="0" y="44270"/>
                </a:moveTo>
                <a:lnTo>
                  <a:pt x="0" y="1183829"/>
                </a:lnTo>
                <a:cubicBezTo>
                  <a:pt x="0" y="1223190"/>
                  <a:pt x="47581" y="1242896"/>
                  <a:pt x="75455" y="1215075"/>
                </a:cubicBezTo>
                <a:lnTo>
                  <a:pt x="643521" y="647009"/>
                </a:lnTo>
                <a:cubicBezTo>
                  <a:pt x="660751" y="629778"/>
                  <a:pt x="660804" y="601852"/>
                  <a:pt x="643627" y="584622"/>
                </a:cubicBezTo>
                <a:lnTo>
                  <a:pt x="75560" y="13130"/>
                </a:lnTo>
                <a:cubicBezTo>
                  <a:pt x="47739" y="-14849"/>
                  <a:pt x="0" y="4857"/>
                  <a:pt x="0" y="44270"/>
                </a:cubicBezTo>
                <a:close/>
              </a:path>
            </a:pathLst>
          </a:custGeom>
          <a:solidFill>
            <a:srgbClr val="21BDEA"/>
          </a:solidFill>
          <a:ln w="5266" cap="flat">
            <a:noFill/>
            <a:prstDash val="solid"/>
            <a:miter/>
          </a:ln>
        </p:spPr>
        <p:txBody>
          <a:bodyPr rtlCol="0" anchor="ctr"/>
          <a:lstStyle/>
          <a:p>
            <a:endParaRPr lang="en-IN" dirty="0"/>
          </a:p>
        </p:txBody>
      </p:sp>
    </p:spTree>
    <p:extLst>
      <p:ext uri="{BB962C8B-B14F-4D97-AF65-F5344CB8AC3E}">
        <p14:creationId xmlns:p14="http://schemas.microsoft.com/office/powerpoint/2010/main" val="27629594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20FD3A7-CA9C-4960-A713-67B4CA3FFE9D}"/>
              </a:ext>
            </a:extLst>
          </p:cNvPr>
          <p:cNvSpPr>
            <a:spLocks noGrp="1"/>
          </p:cNvSpPr>
          <p:nvPr>
            <p:ph type="ftr" sz="quarter" idx="10"/>
          </p:nvPr>
        </p:nvSpPr>
        <p:spPr/>
        <p:txBody>
          <a:bodyPr/>
          <a:lstStyle/>
          <a:p>
            <a:r>
              <a:rPr lang="en-US" dirty="0"/>
              <a:t>© 2020 Cisco and/or its affiliates. All rights reserved. Cisco Confidential</a:t>
            </a:r>
          </a:p>
        </p:txBody>
      </p:sp>
      <p:sp>
        <p:nvSpPr>
          <p:cNvPr id="18" name="Title 2">
            <a:extLst>
              <a:ext uri="{FF2B5EF4-FFF2-40B4-BE49-F238E27FC236}">
                <a16:creationId xmlns:a16="http://schemas.microsoft.com/office/drawing/2014/main" id="{643B647D-BD9B-F144-AD15-3178C5FE1088}"/>
              </a:ext>
            </a:extLst>
          </p:cNvPr>
          <p:cNvSpPr>
            <a:spLocks noGrp="1"/>
          </p:cNvSpPr>
          <p:nvPr>
            <p:ph type="title"/>
          </p:nvPr>
        </p:nvSpPr>
        <p:spPr>
          <a:xfrm>
            <a:off x="533400" y="481807"/>
            <a:ext cx="11127317" cy="797782"/>
          </a:xfrm>
        </p:spPr>
        <p:txBody>
          <a:bodyPr/>
          <a:lstStyle/>
          <a:p>
            <a:r>
              <a:rPr lang="en-SG" sz="3200" dirty="0"/>
              <a:t>These offerings are backed by the </a:t>
            </a:r>
            <a:r>
              <a:rPr lang="en-US" sz="3200" dirty="0"/>
              <a:t>largest non-government threat intelligence organization on the planet…</a:t>
            </a:r>
            <a:endParaRPr lang="en-SG" sz="3200" dirty="0"/>
          </a:p>
        </p:txBody>
      </p:sp>
      <p:sp>
        <p:nvSpPr>
          <p:cNvPr id="39" name="Rectangle 38">
            <a:extLst>
              <a:ext uri="{FF2B5EF4-FFF2-40B4-BE49-F238E27FC236}">
                <a16:creationId xmlns:a16="http://schemas.microsoft.com/office/drawing/2014/main" id="{199C814D-9A4A-46FD-B737-28A939B9DCC2}"/>
              </a:ext>
            </a:extLst>
          </p:cNvPr>
          <p:cNvSpPr/>
          <p:nvPr/>
        </p:nvSpPr>
        <p:spPr>
          <a:xfrm>
            <a:off x="0" y="4401312"/>
            <a:ext cx="12192000" cy="1783824"/>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51" name="Straight Connector 50">
            <a:extLst>
              <a:ext uri="{FF2B5EF4-FFF2-40B4-BE49-F238E27FC236}">
                <a16:creationId xmlns:a16="http://schemas.microsoft.com/office/drawing/2014/main" id="{24EDA953-AB0D-432E-8807-A75489CCD31F}"/>
              </a:ext>
            </a:extLst>
          </p:cNvPr>
          <p:cNvCxnSpPr/>
          <p:nvPr/>
        </p:nvCxnSpPr>
        <p:spPr>
          <a:xfrm>
            <a:off x="4141040" y="4596738"/>
            <a:ext cx="0" cy="1392972"/>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70CA6EC-9D5C-47A1-A473-0179CF26503A}"/>
              </a:ext>
            </a:extLst>
          </p:cNvPr>
          <p:cNvCxnSpPr/>
          <p:nvPr/>
        </p:nvCxnSpPr>
        <p:spPr>
          <a:xfrm>
            <a:off x="8053076" y="4596738"/>
            <a:ext cx="0" cy="1392972"/>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11" name="Rectangle 210">
            <a:extLst>
              <a:ext uri="{FF2B5EF4-FFF2-40B4-BE49-F238E27FC236}">
                <a16:creationId xmlns:a16="http://schemas.microsoft.com/office/drawing/2014/main" id="{403F7FFB-0B91-49C4-A12C-A116F8CF757D}"/>
              </a:ext>
            </a:extLst>
          </p:cNvPr>
          <p:cNvSpPr/>
          <p:nvPr/>
        </p:nvSpPr>
        <p:spPr>
          <a:xfrm>
            <a:off x="533400" y="4798443"/>
            <a:ext cx="3303244" cy="9895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solidFill>
                  <a:schemeClr val="tx1"/>
                </a:solidFill>
              </a:rPr>
              <a:t>300+ full-time threat researchers and</a:t>
            </a:r>
            <a:br>
              <a:rPr lang="en-US" sz="2400" dirty="0">
                <a:solidFill>
                  <a:schemeClr val="tx1"/>
                </a:solidFill>
              </a:rPr>
            </a:br>
            <a:r>
              <a:rPr lang="en-US" sz="2400" dirty="0">
                <a:solidFill>
                  <a:schemeClr val="tx1"/>
                </a:solidFill>
              </a:rPr>
              <a:t>data scientists </a:t>
            </a:r>
          </a:p>
        </p:txBody>
      </p:sp>
      <p:sp>
        <p:nvSpPr>
          <p:cNvPr id="212" name="Rectangle 211">
            <a:extLst>
              <a:ext uri="{FF2B5EF4-FFF2-40B4-BE49-F238E27FC236}">
                <a16:creationId xmlns:a16="http://schemas.microsoft.com/office/drawing/2014/main" id="{8560D3F1-3DE2-45AD-A0B0-9AEA63C609EA}"/>
              </a:ext>
            </a:extLst>
          </p:cNvPr>
          <p:cNvSpPr/>
          <p:nvPr/>
        </p:nvSpPr>
        <p:spPr>
          <a:xfrm>
            <a:off x="4445436" y="4798443"/>
            <a:ext cx="3303244" cy="9895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solidFill>
                  <a:schemeClr val="tx1"/>
                </a:solidFill>
              </a:rPr>
              <a:t>Analyzing 1.5 million unique malware</a:t>
            </a:r>
            <a:br>
              <a:rPr lang="en-US" sz="2400" dirty="0">
                <a:solidFill>
                  <a:schemeClr val="tx1"/>
                </a:solidFill>
              </a:rPr>
            </a:br>
            <a:r>
              <a:rPr lang="en-US" sz="2400" dirty="0">
                <a:solidFill>
                  <a:schemeClr val="tx1"/>
                </a:solidFill>
              </a:rPr>
              <a:t>samples daily</a:t>
            </a:r>
          </a:p>
        </p:txBody>
      </p:sp>
      <p:sp>
        <p:nvSpPr>
          <p:cNvPr id="213" name="Rectangle 212">
            <a:extLst>
              <a:ext uri="{FF2B5EF4-FFF2-40B4-BE49-F238E27FC236}">
                <a16:creationId xmlns:a16="http://schemas.microsoft.com/office/drawing/2014/main" id="{E7C7957A-6B0B-491F-B230-D8B22FE9E7DC}"/>
              </a:ext>
            </a:extLst>
          </p:cNvPr>
          <p:cNvSpPr/>
          <p:nvPr/>
        </p:nvSpPr>
        <p:spPr>
          <a:xfrm>
            <a:off x="8357473" y="4798443"/>
            <a:ext cx="3303244" cy="9895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dirty="0">
                <a:solidFill>
                  <a:schemeClr val="tx1"/>
                </a:solidFill>
              </a:rPr>
              <a:t>Blocking 20 billion </a:t>
            </a:r>
          </a:p>
          <a:p>
            <a:pPr algn="ctr"/>
            <a:r>
              <a:rPr lang="en-US" sz="2400" dirty="0">
                <a:solidFill>
                  <a:schemeClr val="tx1"/>
                </a:solidFill>
              </a:rPr>
              <a:t>threats daily. More than 20x any other vendor</a:t>
            </a:r>
          </a:p>
        </p:txBody>
      </p:sp>
      <p:grpSp>
        <p:nvGrpSpPr>
          <p:cNvPr id="8" name="Group 7">
            <a:extLst>
              <a:ext uri="{FF2B5EF4-FFF2-40B4-BE49-F238E27FC236}">
                <a16:creationId xmlns:a16="http://schemas.microsoft.com/office/drawing/2014/main" id="{BBB95C50-C5C6-4454-806B-F6665E830768}"/>
              </a:ext>
            </a:extLst>
          </p:cNvPr>
          <p:cNvGrpSpPr/>
          <p:nvPr/>
        </p:nvGrpSpPr>
        <p:grpSpPr>
          <a:xfrm>
            <a:off x="671010" y="1666846"/>
            <a:ext cx="2993501" cy="2656476"/>
            <a:chOff x="783929" y="1833907"/>
            <a:chExt cx="2779584" cy="2466644"/>
          </a:xfrm>
        </p:grpSpPr>
        <p:grpSp>
          <p:nvGrpSpPr>
            <p:cNvPr id="101" name="Graphic 6">
              <a:extLst>
                <a:ext uri="{FF2B5EF4-FFF2-40B4-BE49-F238E27FC236}">
                  <a16:creationId xmlns:a16="http://schemas.microsoft.com/office/drawing/2014/main" id="{F5E984F6-AFFB-405B-95D0-1D45B59C21D8}"/>
                </a:ext>
              </a:extLst>
            </p:cNvPr>
            <p:cNvGrpSpPr/>
            <p:nvPr/>
          </p:nvGrpSpPr>
          <p:grpSpPr>
            <a:xfrm>
              <a:off x="1037678" y="1833907"/>
              <a:ext cx="2242822" cy="2466644"/>
              <a:chOff x="2090144" y="63500"/>
              <a:chExt cx="2817322" cy="3098479"/>
            </a:xfrm>
            <a:solidFill>
              <a:srgbClr val="1C4572"/>
            </a:solidFill>
          </p:grpSpPr>
          <p:sp>
            <p:nvSpPr>
              <p:cNvPr id="134" name="Freeform: Shape 133">
                <a:extLst>
                  <a:ext uri="{FF2B5EF4-FFF2-40B4-BE49-F238E27FC236}">
                    <a16:creationId xmlns:a16="http://schemas.microsoft.com/office/drawing/2014/main" id="{D883932C-713E-4D63-B384-2D4AAC3CF9DB}"/>
                  </a:ext>
                </a:extLst>
              </p:cNvPr>
              <p:cNvSpPr/>
              <p:nvPr/>
            </p:nvSpPr>
            <p:spPr>
              <a:xfrm>
                <a:off x="2090144" y="593648"/>
                <a:ext cx="2817322" cy="2568331"/>
              </a:xfrm>
              <a:custGeom>
                <a:avLst/>
                <a:gdLst>
                  <a:gd name="connsiteX0" fmla="*/ 1408661 w 2817322"/>
                  <a:gd name="connsiteY0" fmla="*/ 2568332 h 2568331"/>
                  <a:gd name="connsiteX1" fmla="*/ 989308 w 2817322"/>
                  <a:gd name="connsiteY1" fmla="*/ 2326178 h 2568331"/>
                  <a:gd name="connsiteX2" fmla="*/ 65653 w 2817322"/>
                  <a:gd name="connsiteY2" fmla="*/ 726358 h 2568331"/>
                  <a:gd name="connsiteX3" fmla="*/ 65653 w 2817322"/>
                  <a:gd name="connsiteY3" fmla="*/ 242154 h 2568331"/>
                  <a:gd name="connsiteX4" fmla="*/ 485007 w 2817322"/>
                  <a:gd name="connsiteY4" fmla="*/ 0 h 2568331"/>
                  <a:gd name="connsiteX5" fmla="*/ 2332316 w 2817322"/>
                  <a:gd name="connsiteY5" fmla="*/ 0 h 2568331"/>
                  <a:gd name="connsiteX6" fmla="*/ 2751669 w 2817322"/>
                  <a:gd name="connsiteY6" fmla="*/ 242154 h 2568331"/>
                  <a:gd name="connsiteX7" fmla="*/ 2751669 w 2817322"/>
                  <a:gd name="connsiteY7" fmla="*/ 726358 h 2568331"/>
                  <a:gd name="connsiteX8" fmla="*/ 1828015 w 2817322"/>
                  <a:gd name="connsiteY8" fmla="*/ 2326178 h 2568331"/>
                  <a:gd name="connsiteX9" fmla="*/ 1408661 w 2817322"/>
                  <a:gd name="connsiteY9" fmla="*/ 2568332 h 2568331"/>
                  <a:gd name="connsiteX10" fmla="*/ 485007 w 2817322"/>
                  <a:gd name="connsiteY10" fmla="*/ 20978 h 2568331"/>
                  <a:gd name="connsiteX11" fmla="*/ 83834 w 2817322"/>
                  <a:gd name="connsiteY11" fmla="*/ 252617 h 2568331"/>
                  <a:gd name="connsiteX12" fmla="*/ 83834 w 2817322"/>
                  <a:gd name="connsiteY12" fmla="*/ 715894 h 2568331"/>
                  <a:gd name="connsiteX13" fmla="*/ 1007489 w 2817322"/>
                  <a:gd name="connsiteY13" fmla="*/ 2315715 h 2568331"/>
                  <a:gd name="connsiteX14" fmla="*/ 1408661 w 2817322"/>
                  <a:gd name="connsiteY14" fmla="*/ 2547354 h 2568331"/>
                  <a:gd name="connsiteX15" fmla="*/ 1809834 w 2817322"/>
                  <a:gd name="connsiteY15" fmla="*/ 2315715 h 2568331"/>
                  <a:gd name="connsiteX16" fmla="*/ 2733488 w 2817322"/>
                  <a:gd name="connsiteY16" fmla="*/ 715894 h 2568331"/>
                  <a:gd name="connsiteX17" fmla="*/ 2733488 w 2817322"/>
                  <a:gd name="connsiteY17" fmla="*/ 252617 h 2568331"/>
                  <a:gd name="connsiteX18" fmla="*/ 2332316 w 2817322"/>
                  <a:gd name="connsiteY18" fmla="*/ 20978 h 2568331"/>
                  <a:gd name="connsiteX19" fmla="*/ 485007 w 2817322"/>
                  <a:gd name="connsiteY19" fmla="*/ 20978 h 2568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17322" h="2568331">
                    <a:moveTo>
                      <a:pt x="1408661" y="2568332"/>
                    </a:moveTo>
                    <a:cubicBezTo>
                      <a:pt x="1233585" y="2568332"/>
                      <a:pt x="1076846" y="2477789"/>
                      <a:pt x="989308" y="2326178"/>
                    </a:cubicBezTo>
                    <a:lnTo>
                      <a:pt x="65653" y="726358"/>
                    </a:lnTo>
                    <a:cubicBezTo>
                      <a:pt x="-21884" y="574798"/>
                      <a:pt x="-21884" y="393765"/>
                      <a:pt x="65653" y="242154"/>
                    </a:cubicBezTo>
                    <a:cubicBezTo>
                      <a:pt x="153140" y="90542"/>
                      <a:pt x="309931" y="0"/>
                      <a:pt x="485007" y="0"/>
                    </a:cubicBezTo>
                    <a:lnTo>
                      <a:pt x="2332316" y="0"/>
                    </a:lnTo>
                    <a:cubicBezTo>
                      <a:pt x="2507392" y="0"/>
                      <a:pt x="2664183" y="90542"/>
                      <a:pt x="2751669" y="242154"/>
                    </a:cubicBezTo>
                    <a:cubicBezTo>
                      <a:pt x="2839207" y="393765"/>
                      <a:pt x="2839207" y="574798"/>
                      <a:pt x="2751669" y="726358"/>
                    </a:cubicBezTo>
                    <a:lnTo>
                      <a:pt x="1828015" y="2326178"/>
                    </a:lnTo>
                    <a:cubicBezTo>
                      <a:pt x="1740477" y="2477789"/>
                      <a:pt x="1583685" y="2568332"/>
                      <a:pt x="1408661" y="2568332"/>
                    </a:cubicBezTo>
                    <a:moveTo>
                      <a:pt x="485007" y="20978"/>
                    </a:moveTo>
                    <a:cubicBezTo>
                      <a:pt x="317493" y="20978"/>
                      <a:pt x="167539" y="107584"/>
                      <a:pt x="83834" y="252617"/>
                    </a:cubicBezTo>
                    <a:cubicBezTo>
                      <a:pt x="130" y="397650"/>
                      <a:pt x="78" y="570809"/>
                      <a:pt x="83834" y="715894"/>
                    </a:cubicBezTo>
                    <a:lnTo>
                      <a:pt x="1007489" y="2315715"/>
                    </a:lnTo>
                    <a:cubicBezTo>
                      <a:pt x="1091246" y="2460748"/>
                      <a:pt x="1241200" y="2547354"/>
                      <a:pt x="1408661" y="2547354"/>
                    </a:cubicBezTo>
                    <a:cubicBezTo>
                      <a:pt x="1576123" y="2547354"/>
                      <a:pt x="1726128" y="2460748"/>
                      <a:pt x="1809834" y="2315715"/>
                    </a:cubicBezTo>
                    <a:lnTo>
                      <a:pt x="2733488" y="715894"/>
                    </a:lnTo>
                    <a:cubicBezTo>
                      <a:pt x="2817245" y="570809"/>
                      <a:pt x="2817245" y="397650"/>
                      <a:pt x="2733488" y="252617"/>
                    </a:cubicBezTo>
                    <a:cubicBezTo>
                      <a:pt x="2649783" y="107584"/>
                      <a:pt x="2499778" y="20978"/>
                      <a:pt x="2332316" y="20978"/>
                    </a:cubicBezTo>
                    <a:lnTo>
                      <a:pt x="485007" y="20978"/>
                    </a:lnTo>
                    <a:close/>
                  </a:path>
                </a:pathLst>
              </a:custGeom>
              <a:solidFill>
                <a:srgbClr val="1C4572"/>
              </a:solidFill>
              <a:ln w="5175" cap="flat">
                <a:noFill/>
                <a:prstDash val="solid"/>
                <a:miter/>
              </a:ln>
            </p:spPr>
            <p:txBody>
              <a:bodyPr rtlCol="0" anchor="ctr"/>
              <a:lstStyle/>
              <a:p>
                <a:endParaRPr lang="en-IN" dirty="0"/>
              </a:p>
            </p:txBody>
          </p:sp>
          <p:sp>
            <p:nvSpPr>
              <p:cNvPr id="135" name="Freeform: Shape 134">
                <a:extLst>
                  <a:ext uri="{FF2B5EF4-FFF2-40B4-BE49-F238E27FC236}">
                    <a16:creationId xmlns:a16="http://schemas.microsoft.com/office/drawing/2014/main" id="{BD8B8B0A-AD03-4E3C-878B-C934EB21C00F}"/>
                  </a:ext>
                </a:extLst>
              </p:cNvPr>
              <p:cNvSpPr/>
              <p:nvPr/>
            </p:nvSpPr>
            <p:spPr>
              <a:xfrm>
                <a:off x="2090144" y="63500"/>
                <a:ext cx="2817322" cy="2568331"/>
              </a:xfrm>
              <a:custGeom>
                <a:avLst/>
                <a:gdLst>
                  <a:gd name="connsiteX0" fmla="*/ 2332316 w 2817322"/>
                  <a:gd name="connsiteY0" fmla="*/ 2568331 h 2568331"/>
                  <a:gd name="connsiteX1" fmla="*/ 485007 w 2817322"/>
                  <a:gd name="connsiteY1" fmla="*/ 2568331 h 2568331"/>
                  <a:gd name="connsiteX2" fmla="*/ 65653 w 2817322"/>
                  <a:gd name="connsiteY2" fmla="*/ 2326178 h 2568331"/>
                  <a:gd name="connsiteX3" fmla="*/ 65653 w 2817322"/>
                  <a:gd name="connsiteY3" fmla="*/ 1841974 h 2568331"/>
                  <a:gd name="connsiteX4" fmla="*/ 989308 w 2817322"/>
                  <a:gd name="connsiteY4" fmla="*/ 242102 h 2568331"/>
                  <a:gd name="connsiteX5" fmla="*/ 998373 w 2817322"/>
                  <a:gd name="connsiteY5" fmla="*/ 247333 h 2568331"/>
                  <a:gd name="connsiteX6" fmla="*/ 989308 w 2817322"/>
                  <a:gd name="connsiteY6" fmla="*/ 242102 h 2568331"/>
                  <a:gd name="connsiteX7" fmla="*/ 1408661 w 2817322"/>
                  <a:gd name="connsiteY7" fmla="*/ 0 h 2568331"/>
                  <a:gd name="connsiteX8" fmla="*/ 1408661 w 2817322"/>
                  <a:gd name="connsiteY8" fmla="*/ 0 h 2568331"/>
                  <a:gd name="connsiteX9" fmla="*/ 1828015 w 2817322"/>
                  <a:gd name="connsiteY9" fmla="*/ 242102 h 2568331"/>
                  <a:gd name="connsiteX10" fmla="*/ 2751669 w 2817322"/>
                  <a:gd name="connsiteY10" fmla="*/ 1841922 h 2568331"/>
                  <a:gd name="connsiteX11" fmla="*/ 2751669 w 2817322"/>
                  <a:gd name="connsiteY11" fmla="*/ 2326126 h 2568331"/>
                  <a:gd name="connsiteX12" fmla="*/ 2332316 w 2817322"/>
                  <a:gd name="connsiteY12" fmla="*/ 2568331 h 2568331"/>
                  <a:gd name="connsiteX13" fmla="*/ 1408661 w 2817322"/>
                  <a:gd name="connsiteY13" fmla="*/ 20978 h 2568331"/>
                  <a:gd name="connsiteX14" fmla="*/ 1007489 w 2817322"/>
                  <a:gd name="connsiteY14" fmla="*/ 252617 h 2568331"/>
                  <a:gd name="connsiteX15" fmla="*/ 83783 w 2817322"/>
                  <a:gd name="connsiteY15" fmla="*/ 1852437 h 2568331"/>
                  <a:gd name="connsiteX16" fmla="*/ 83783 w 2817322"/>
                  <a:gd name="connsiteY16" fmla="*/ 2315715 h 2568331"/>
                  <a:gd name="connsiteX17" fmla="*/ 484955 w 2817322"/>
                  <a:gd name="connsiteY17" fmla="*/ 2547354 h 2568331"/>
                  <a:gd name="connsiteX18" fmla="*/ 2332264 w 2817322"/>
                  <a:gd name="connsiteY18" fmla="*/ 2547354 h 2568331"/>
                  <a:gd name="connsiteX19" fmla="*/ 2733436 w 2817322"/>
                  <a:gd name="connsiteY19" fmla="*/ 2315715 h 2568331"/>
                  <a:gd name="connsiteX20" fmla="*/ 2733436 w 2817322"/>
                  <a:gd name="connsiteY20" fmla="*/ 1852437 h 2568331"/>
                  <a:gd name="connsiteX21" fmla="*/ 1809834 w 2817322"/>
                  <a:gd name="connsiteY21" fmla="*/ 252617 h 2568331"/>
                  <a:gd name="connsiteX22" fmla="*/ 1408661 w 2817322"/>
                  <a:gd name="connsiteY22" fmla="*/ 20978 h 2568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17322" h="2568331">
                    <a:moveTo>
                      <a:pt x="2332316" y="2568331"/>
                    </a:moveTo>
                    <a:lnTo>
                      <a:pt x="485007" y="2568331"/>
                    </a:lnTo>
                    <a:cubicBezTo>
                      <a:pt x="309931" y="2568331"/>
                      <a:pt x="153140" y="2477789"/>
                      <a:pt x="65653" y="2326178"/>
                    </a:cubicBezTo>
                    <a:cubicBezTo>
                      <a:pt x="-21884" y="2174566"/>
                      <a:pt x="-21884" y="1993585"/>
                      <a:pt x="65653" y="1841974"/>
                    </a:cubicBezTo>
                    <a:lnTo>
                      <a:pt x="989308" y="242102"/>
                    </a:lnTo>
                    <a:lnTo>
                      <a:pt x="998373" y="247333"/>
                    </a:lnTo>
                    <a:lnTo>
                      <a:pt x="989308" y="242102"/>
                    </a:lnTo>
                    <a:cubicBezTo>
                      <a:pt x="1076794" y="90542"/>
                      <a:pt x="1233585" y="0"/>
                      <a:pt x="1408661" y="0"/>
                    </a:cubicBezTo>
                    <a:lnTo>
                      <a:pt x="1408661" y="0"/>
                    </a:lnTo>
                    <a:cubicBezTo>
                      <a:pt x="1583737" y="0"/>
                      <a:pt x="1740477" y="90490"/>
                      <a:pt x="1828015" y="242102"/>
                    </a:cubicBezTo>
                    <a:lnTo>
                      <a:pt x="2751669" y="1841922"/>
                    </a:lnTo>
                    <a:cubicBezTo>
                      <a:pt x="2839207" y="1993534"/>
                      <a:pt x="2839207" y="2174514"/>
                      <a:pt x="2751669" y="2326126"/>
                    </a:cubicBezTo>
                    <a:cubicBezTo>
                      <a:pt x="2664183" y="2477789"/>
                      <a:pt x="2507392" y="2568331"/>
                      <a:pt x="2332316" y="2568331"/>
                    </a:cubicBezTo>
                    <a:moveTo>
                      <a:pt x="1408661" y="20978"/>
                    </a:moveTo>
                    <a:cubicBezTo>
                      <a:pt x="1241148" y="20978"/>
                      <a:pt x="1091194" y="107584"/>
                      <a:pt x="1007489" y="252617"/>
                    </a:cubicBezTo>
                    <a:lnTo>
                      <a:pt x="83783" y="1852437"/>
                    </a:lnTo>
                    <a:cubicBezTo>
                      <a:pt x="26" y="1997470"/>
                      <a:pt x="26" y="2170681"/>
                      <a:pt x="83783" y="2315715"/>
                    </a:cubicBezTo>
                    <a:cubicBezTo>
                      <a:pt x="167487" y="2460748"/>
                      <a:pt x="317493" y="2547354"/>
                      <a:pt x="484955" y="2547354"/>
                    </a:cubicBezTo>
                    <a:lnTo>
                      <a:pt x="2332264" y="2547354"/>
                    </a:lnTo>
                    <a:cubicBezTo>
                      <a:pt x="2499778" y="2547354"/>
                      <a:pt x="2649731" y="2460748"/>
                      <a:pt x="2733436" y="2315715"/>
                    </a:cubicBezTo>
                    <a:cubicBezTo>
                      <a:pt x="2817193" y="2170681"/>
                      <a:pt x="2817193" y="1997470"/>
                      <a:pt x="2733436" y="1852437"/>
                    </a:cubicBezTo>
                    <a:lnTo>
                      <a:pt x="1809834" y="252617"/>
                    </a:lnTo>
                    <a:cubicBezTo>
                      <a:pt x="1726128" y="107584"/>
                      <a:pt x="1576123" y="20978"/>
                      <a:pt x="1408661" y="20978"/>
                    </a:cubicBezTo>
                  </a:path>
                </a:pathLst>
              </a:custGeom>
              <a:solidFill>
                <a:srgbClr val="1C4572"/>
              </a:solidFill>
              <a:ln w="5175" cap="flat">
                <a:noFill/>
                <a:prstDash val="solid"/>
                <a:miter/>
              </a:ln>
            </p:spPr>
            <p:txBody>
              <a:bodyPr rtlCol="0" anchor="ctr"/>
              <a:lstStyle/>
              <a:p>
                <a:endParaRPr lang="en-IN" dirty="0"/>
              </a:p>
            </p:txBody>
          </p:sp>
        </p:grpSp>
        <p:pic>
          <p:nvPicPr>
            <p:cNvPr id="4" name="Picture 3" descr="A person wearing a uniform&#10;&#10;Description automatically generated">
              <a:extLst>
                <a:ext uri="{FF2B5EF4-FFF2-40B4-BE49-F238E27FC236}">
                  <a16:creationId xmlns:a16="http://schemas.microsoft.com/office/drawing/2014/main" id="{C5F701E8-F4CB-4144-B64F-64BE7E80CF8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2914" y="2043157"/>
              <a:ext cx="2734950" cy="1823130"/>
            </a:xfrm>
            <a:prstGeom prst="rect">
              <a:avLst/>
            </a:prstGeom>
          </p:spPr>
        </p:pic>
        <p:grpSp>
          <p:nvGrpSpPr>
            <p:cNvPr id="167" name="Group 166">
              <a:extLst>
                <a:ext uri="{FF2B5EF4-FFF2-40B4-BE49-F238E27FC236}">
                  <a16:creationId xmlns:a16="http://schemas.microsoft.com/office/drawing/2014/main" id="{93722728-D829-4A5B-A4D8-A76C28E7BBE0}"/>
                </a:ext>
              </a:extLst>
            </p:cNvPr>
            <p:cNvGrpSpPr/>
            <p:nvPr/>
          </p:nvGrpSpPr>
          <p:grpSpPr>
            <a:xfrm rot="7307471" flipH="1">
              <a:off x="656951" y="2792641"/>
              <a:ext cx="829239" cy="575284"/>
              <a:chOff x="3729441" y="1578111"/>
              <a:chExt cx="829404" cy="575399"/>
            </a:xfrm>
          </p:grpSpPr>
          <p:sp>
            <p:nvSpPr>
              <p:cNvPr id="168" name="Freeform: Shape 167">
                <a:extLst>
                  <a:ext uri="{FF2B5EF4-FFF2-40B4-BE49-F238E27FC236}">
                    <a16:creationId xmlns:a16="http://schemas.microsoft.com/office/drawing/2014/main" id="{638137BB-2D73-4E39-A940-24E3D4A513C8}"/>
                  </a:ext>
                </a:extLst>
              </p:cNvPr>
              <p:cNvSpPr/>
              <p:nvPr/>
            </p:nvSpPr>
            <p:spPr>
              <a:xfrm>
                <a:off x="4221964" y="1861804"/>
                <a:ext cx="336881" cy="291706"/>
              </a:xfrm>
              <a:custGeom>
                <a:avLst/>
                <a:gdLst>
                  <a:gd name="connsiteX0" fmla="*/ 252661 w 336881"/>
                  <a:gd name="connsiteY0" fmla="*/ 291706 h 291706"/>
                  <a:gd name="connsiteX1" fmla="*/ 84220 w 336881"/>
                  <a:gd name="connsiteY1" fmla="*/ 291706 h 291706"/>
                  <a:gd name="connsiteX2" fmla="*/ 0 w 336881"/>
                  <a:gd name="connsiteY2" fmla="*/ 145853 h 291706"/>
                  <a:gd name="connsiteX3" fmla="*/ 84220 w 336881"/>
                  <a:gd name="connsiteY3" fmla="*/ 0 h 291706"/>
                  <a:gd name="connsiteX4" fmla="*/ 252661 w 336881"/>
                  <a:gd name="connsiteY4" fmla="*/ 0 h 291706"/>
                  <a:gd name="connsiteX5" fmla="*/ 336882 w 336881"/>
                  <a:gd name="connsiteY5" fmla="*/ 145853 h 291706"/>
                  <a:gd name="connsiteX6" fmla="*/ 252661 w 336881"/>
                  <a:gd name="connsiteY6" fmla="*/ 291706 h 291706"/>
                  <a:gd name="connsiteX7" fmla="*/ 88899 w 336881"/>
                  <a:gd name="connsiteY7" fmla="*/ 283639 h 291706"/>
                  <a:gd name="connsiteX8" fmla="*/ 248036 w 336881"/>
                  <a:gd name="connsiteY8" fmla="*/ 283639 h 291706"/>
                  <a:gd name="connsiteX9" fmla="*/ 327578 w 336881"/>
                  <a:gd name="connsiteY9" fmla="*/ 145853 h 291706"/>
                  <a:gd name="connsiteX10" fmla="*/ 248036 w 336881"/>
                  <a:gd name="connsiteY10" fmla="*/ 8067 h 291706"/>
                  <a:gd name="connsiteX11" fmla="*/ 88899 w 336881"/>
                  <a:gd name="connsiteY11" fmla="*/ 8067 h 291706"/>
                  <a:gd name="connsiteX12" fmla="*/ 9358 w 336881"/>
                  <a:gd name="connsiteY12" fmla="*/ 145853 h 291706"/>
                  <a:gd name="connsiteX13" fmla="*/ 88899 w 336881"/>
                  <a:gd name="connsiteY13" fmla="*/ 283639 h 29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6881" h="291706">
                    <a:moveTo>
                      <a:pt x="252661" y="291706"/>
                    </a:moveTo>
                    <a:lnTo>
                      <a:pt x="84220" y="291706"/>
                    </a:lnTo>
                    <a:lnTo>
                      <a:pt x="0" y="145853"/>
                    </a:lnTo>
                    <a:lnTo>
                      <a:pt x="84220" y="0"/>
                    </a:lnTo>
                    <a:lnTo>
                      <a:pt x="252661" y="0"/>
                    </a:lnTo>
                    <a:lnTo>
                      <a:pt x="336882" y="145853"/>
                    </a:lnTo>
                    <a:lnTo>
                      <a:pt x="252661" y="291706"/>
                    </a:lnTo>
                    <a:close/>
                    <a:moveTo>
                      <a:pt x="88899" y="283639"/>
                    </a:moveTo>
                    <a:lnTo>
                      <a:pt x="248036" y="283639"/>
                    </a:lnTo>
                    <a:lnTo>
                      <a:pt x="327578" y="145853"/>
                    </a:lnTo>
                    <a:lnTo>
                      <a:pt x="248036" y="8067"/>
                    </a:lnTo>
                    <a:lnTo>
                      <a:pt x="88899" y="8067"/>
                    </a:lnTo>
                    <a:lnTo>
                      <a:pt x="9358" y="145853"/>
                    </a:lnTo>
                    <a:lnTo>
                      <a:pt x="88899" y="283639"/>
                    </a:lnTo>
                    <a:close/>
                  </a:path>
                </a:pathLst>
              </a:custGeom>
              <a:solidFill>
                <a:schemeClr val="accent2"/>
              </a:solidFill>
              <a:ln w="5377" cap="flat">
                <a:noFill/>
                <a:prstDash val="solid"/>
                <a:miter/>
              </a:ln>
            </p:spPr>
            <p:txBody>
              <a:bodyPr rtlCol="0" anchor="ctr"/>
              <a:lstStyle/>
              <a:p>
                <a:endParaRPr lang="en-IN" dirty="0"/>
              </a:p>
            </p:txBody>
          </p:sp>
          <p:sp>
            <p:nvSpPr>
              <p:cNvPr id="169" name="Freeform: Shape 168">
                <a:extLst>
                  <a:ext uri="{FF2B5EF4-FFF2-40B4-BE49-F238E27FC236}">
                    <a16:creationId xmlns:a16="http://schemas.microsoft.com/office/drawing/2014/main" id="{4908CA02-43F2-47AA-A46B-5B5C3F48F1E7}"/>
                  </a:ext>
                </a:extLst>
              </p:cNvPr>
              <p:cNvSpPr/>
              <p:nvPr/>
            </p:nvSpPr>
            <p:spPr>
              <a:xfrm>
                <a:off x="3729441" y="1861804"/>
                <a:ext cx="336882" cy="291706"/>
              </a:xfrm>
              <a:custGeom>
                <a:avLst/>
                <a:gdLst>
                  <a:gd name="connsiteX0" fmla="*/ 252661 w 336882"/>
                  <a:gd name="connsiteY0" fmla="*/ 291706 h 291706"/>
                  <a:gd name="connsiteX1" fmla="*/ 84220 w 336882"/>
                  <a:gd name="connsiteY1" fmla="*/ 291706 h 291706"/>
                  <a:gd name="connsiteX2" fmla="*/ 0 w 336882"/>
                  <a:gd name="connsiteY2" fmla="*/ 145853 h 291706"/>
                  <a:gd name="connsiteX3" fmla="*/ 84220 w 336882"/>
                  <a:gd name="connsiteY3" fmla="*/ 0 h 291706"/>
                  <a:gd name="connsiteX4" fmla="*/ 252661 w 336882"/>
                  <a:gd name="connsiteY4" fmla="*/ 0 h 291706"/>
                  <a:gd name="connsiteX5" fmla="*/ 336882 w 336882"/>
                  <a:gd name="connsiteY5" fmla="*/ 145853 h 291706"/>
                  <a:gd name="connsiteX6" fmla="*/ 252661 w 336882"/>
                  <a:gd name="connsiteY6" fmla="*/ 291706 h 291706"/>
                  <a:gd name="connsiteX7" fmla="*/ 88899 w 336882"/>
                  <a:gd name="connsiteY7" fmla="*/ 283639 h 291706"/>
                  <a:gd name="connsiteX8" fmla="*/ 248036 w 336882"/>
                  <a:gd name="connsiteY8" fmla="*/ 283639 h 291706"/>
                  <a:gd name="connsiteX9" fmla="*/ 327578 w 336882"/>
                  <a:gd name="connsiteY9" fmla="*/ 145853 h 291706"/>
                  <a:gd name="connsiteX10" fmla="*/ 248036 w 336882"/>
                  <a:gd name="connsiteY10" fmla="*/ 8067 h 291706"/>
                  <a:gd name="connsiteX11" fmla="*/ 88899 w 336882"/>
                  <a:gd name="connsiteY11" fmla="*/ 8067 h 291706"/>
                  <a:gd name="connsiteX12" fmla="*/ 9358 w 336882"/>
                  <a:gd name="connsiteY12" fmla="*/ 145853 h 291706"/>
                  <a:gd name="connsiteX13" fmla="*/ 88899 w 336882"/>
                  <a:gd name="connsiteY13" fmla="*/ 283639 h 29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6882" h="291706">
                    <a:moveTo>
                      <a:pt x="252661" y="291706"/>
                    </a:moveTo>
                    <a:lnTo>
                      <a:pt x="84220" y="291706"/>
                    </a:lnTo>
                    <a:lnTo>
                      <a:pt x="0" y="145853"/>
                    </a:lnTo>
                    <a:lnTo>
                      <a:pt x="84220" y="0"/>
                    </a:lnTo>
                    <a:lnTo>
                      <a:pt x="252661" y="0"/>
                    </a:lnTo>
                    <a:lnTo>
                      <a:pt x="336882" y="145853"/>
                    </a:lnTo>
                    <a:lnTo>
                      <a:pt x="252661" y="291706"/>
                    </a:lnTo>
                    <a:close/>
                    <a:moveTo>
                      <a:pt x="88899" y="283639"/>
                    </a:moveTo>
                    <a:lnTo>
                      <a:pt x="248036" y="283639"/>
                    </a:lnTo>
                    <a:lnTo>
                      <a:pt x="327578" y="145853"/>
                    </a:lnTo>
                    <a:lnTo>
                      <a:pt x="248036" y="8067"/>
                    </a:lnTo>
                    <a:lnTo>
                      <a:pt x="88899" y="8067"/>
                    </a:lnTo>
                    <a:lnTo>
                      <a:pt x="9358" y="145853"/>
                    </a:lnTo>
                    <a:lnTo>
                      <a:pt x="88899" y="283639"/>
                    </a:lnTo>
                    <a:close/>
                  </a:path>
                </a:pathLst>
              </a:custGeom>
              <a:solidFill>
                <a:srgbClr val="6CBE4C"/>
              </a:solidFill>
              <a:ln w="5377" cap="flat">
                <a:noFill/>
                <a:prstDash val="solid"/>
                <a:miter/>
              </a:ln>
            </p:spPr>
            <p:txBody>
              <a:bodyPr rtlCol="0" anchor="ctr"/>
              <a:lstStyle/>
              <a:p>
                <a:endParaRPr lang="en-IN" dirty="0"/>
              </a:p>
            </p:txBody>
          </p:sp>
          <p:sp>
            <p:nvSpPr>
              <p:cNvPr id="170" name="Freeform: Shape 169">
                <a:extLst>
                  <a:ext uri="{FF2B5EF4-FFF2-40B4-BE49-F238E27FC236}">
                    <a16:creationId xmlns:a16="http://schemas.microsoft.com/office/drawing/2014/main" id="{93BA5A93-D640-4B45-B010-B5C336D00DF8}"/>
                  </a:ext>
                </a:extLst>
              </p:cNvPr>
              <p:cNvSpPr/>
              <p:nvPr/>
            </p:nvSpPr>
            <p:spPr>
              <a:xfrm>
                <a:off x="3729441" y="1578111"/>
                <a:ext cx="336882" cy="291760"/>
              </a:xfrm>
              <a:custGeom>
                <a:avLst/>
                <a:gdLst>
                  <a:gd name="connsiteX0" fmla="*/ 252661 w 336882"/>
                  <a:gd name="connsiteY0" fmla="*/ 0 h 291760"/>
                  <a:gd name="connsiteX1" fmla="*/ 84220 w 336882"/>
                  <a:gd name="connsiteY1" fmla="*/ 0 h 291760"/>
                  <a:gd name="connsiteX2" fmla="*/ 0 w 336882"/>
                  <a:gd name="connsiteY2" fmla="*/ 145853 h 291760"/>
                  <a:gd name="connsiteX3" fmla="*/ 84220 w 336882"/>
                  <a:gd name="connsiteY3" fmla="*/ 291760 h 291760"/>
                  <a:gd name="connsiteX4" fmla="*/ 252661 w 336882"/>
                  <a:gd name="connsiteY4" fmla="*/ 291760 h 291760"/>
                  <a:gd name="connsiteX5" fmla="*/ 336882 w 336882"/>
                  <a:gd name="connsiteY5" fmla="*/ 145853 h 291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882" h="291760">
                    <a:moveTo>
                      <a:pt x="252661" y="0"/>
                    </a:moveTo>
                    <a:lnTo>
                      <a:pt x="84220" y="0"/>
                    </a:lnTo>
                    <a:lnTo>
                      <a:pt x="0" y="145853"/>
                    </a:lnTo>
                    <a:lnTo>
                      <a:pt x="84220" y="291760"/>
                    </a:lnTo>
                    <a:lnTo>
                      <a:pt x="252661" y="291760"/>
                    </a:lnTo>
                    <a:lnTo>
                      <a:pt x="336882" y="145853"/>
                    </a:lnTo>
                    <a:close/>
                  </a:path>
                </a:pathLst>
              </a:custGeom>
              <a:solidFill>
                <a:srgbClr val="6CBE4C"/>
              </a:solidFill>
              <a:ln w="5377" cap="flat">
                <a:noFill/>
                <a:prstDash val="solid"/>
                <a:miter/>
              </a:ln>
            </p:spPr>
            <p:txBody>
              <a:bodyPr rtlCol="0" anchor="ctr"/>
              <a:lstStyle/>
              <a:p>
                <a:endParaRPr lang="en-IN" dirty="0"/>
              </a:p>
            </p:txBody>
          </p:sp>
          <p:sp>
            <p:nvSpPr>
              <p:cNvPr id="171" name="Freeform: Shape 170">
                <a:extLst>
                  <a:ext uri="{FF2B5EF4-FFF2-40B4-BE49-F238E27FC236}">
                    <a16:creationId xmlns:a16="http://schemas.microsoft.com/office/drawing/2014/main" id="{308E3E0B-AC1B-48AB-8C7A-725A5FF3F986}"/>
                  </a:ext>
                </a:extLst>
              </p:cNvPr>
              <p:cNvSpPr/>
              <p:nvPr/>
            </p:nvSpPr>
            <p:spPr>
              <a:xfrm>
                <a:off x="3976617" y="1723911"/>
                <a:ext cx="336881" cy="291706"/>
              </a:xfrm>
              <a:custGeom>
                <a:avLst/>
                <a:gdLst>
                  <a:gd name="connsiteX0" fmla="*/ 252661 w 336881"/>
                  <a:gd name="connsiteY0" fmla="*/ 291706 h 291706"/>
                  <a:gd name="connsiteX1" fmla="*/ 84220 w 336881"/>
                  <a:gd name="connsiteY1" fmla="*/ 291706 h 291706"/>
                  <a:gd name="connsiteX2" fmla="*/ 0 w 336881"/>
                  <a:gd name="connsiteY2" fmla="*/ 145853 h 291706"/>
                  <a:gd name="connsiteX3" fmla="*/ 84220 w 336881"/>
                  <a:gd name="connsiteY3" fmla="*/ 0 h 291706"/>
                  <a:gd name="connsiteX4" fmla="*/ 252661 w 336881"/>
                  <a:gd name="connsiteY4" fmla="*/ 0 h 291706"/>
                  <a:gd name="connsiteX5" fmla="*/ 336882 w 336881"/>
                  <a:gd name="connsiteY5" fmla="*/ 145853 h 291706"/>
                  <a:gd name="connsiteX6" fmla="*/ 252661 w 336881"/>
                  <a:gd name="connsiteY6" fmla="*/ 291706 h 291706"/>
                  <a:gd name="connsiteX7" fmla="*/ 88899 w 336881"/>
                  <a:gd name="connsiteY7" fmla="*/ 283639 h 291706"/>
                  <a:gd name="connsiteX8" fmla="*/ 248036 w 336881"/>
                  <a:gd name="connsiteY8" fmla="*/ 283639 h 291706"/>
                  <a:gd name="connsiteX9" fmla="*/ 327578 w 336881"/>
                  <a:gd name="connsiteY9" fmla="*/ 145853 h 291706"/>
                  <a:gd name="connsiteX10" fmla="*/ 248036 w 336881"/>
                  <a:gd name="connsiteY10" fmla="*/ 8067 h 291706"/>
                  <a:gd name="connsiteX11" fmla="*/ 88899 w 336881"/>
                  <a:gd name="connsiteY11" fmla="*/ 8067 h 291706"/>
                  <a:gd name="connsiteX12" fmla="*/ 9358 w 336881"/>
                  <a:gd name="connsiteY12" fmla="*/ 145853 h 291706"/>
                  <a:gd name="connsiteX13" fmla="*/ 88899 w 336881"/>
                  <a:gd name="connsiteY13" fmla="*/ 283639 h 29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6881" h="291706">
                    <a:moveTo>
                      <a:pt x="252661" y="291706"/>
                    </a:moveTo>
                    <a:lnTo>
                      <a:pt x="84220" y="291706"/>
                    </a:lnTo>
                    <a:lnTo>
                      <a:pt x="0" y="145853"/>
                    </a:lnTo>
                    <a:lnTo>
                      <a:pt x="84220" y="0"/>
                    </a:lnTo>
                    <a:lnTo>
                      <a:pt x="252661" y="0"/>
                    </a:lnTo>
                    <a:lnTo>
                      <a:pt x="336882" y="145853"/>
                    </a:lnTo>
                    <a:lnTo>
                      <a:pt x="252661" y="291706"/>
                    </a:lnTo>
                    <a:close/>
                    <a:moveTo>
                      <a:pt x="88899" y="283639"/>
                    </a:moveTo>
                    <a:lnTo>
                      <a:pt x="248036" y="283639"/>
                    </a:lnTo>
                    <a:lnTo>
                      <a:pt x="327578" y="145853"/>
                    </a:lnTo>
                    <a:lnTo>
                      <a:pt x="248036" y="8067"/>
                    </a:lnTo>
                    <a:lnTo>
                      <a:pt x="88899" y="8067"/>
                    </a:lnTo>
                    <a:lnTo>
                      <a:pt x="9358" y="145853"/>
                    </a:lnTo>
                    <a:lnTo>
                      <a:pt x="88899" y="283639"/>
                    </a:lnTo>
                    <a:close/>
                  </a:path>
                </a:pathLst>
              </a:custGeom>
              <a:solidFill>
                <a:srgbClr val="6CBE4C"/>
              </a:solidFill>
              <a:ln w="5377" cap="flat">
                <a:noFill/>
                <a:prstDash val="solid"/>
                <a:miter/>
              </a:ln>
            </p:spPr>
            <p:txBody>
              <a:bodyPr rtlCol="0" anchor="ctr"/>
              <a:lstStyle/>
              <a:p>
                <a:endParaRPr lang="en-IN" dirty="0"/>
              </a:p>
            </p:txBody>
          </p:sp>
        </p:grpSp>
        <p:sp>
          <p:nvSpPr>
            <p:cNvPr id="173" name="Oval 172">
              <a:extLst>
                <a:ext uri="{FF2B5EF4-FFF2-40B4-BE49-F238E27FC236}">
                  <a16:creationId xmlns:a16="http://schemas.microsoft.com/office/drawing/2014/main" id="{87D0AA3B-8E40-4DE1-9A3F-F79749DF3932}"/>
                </a:ext>
              </a:extLst>
            </p:cNvPr>
            <p:cNvSpPr/>
            <p:nvPr/>
          </p:nvSpPr>
          <p:spPr>
            <a:xfrm>
              <a:off x="1493005" y="2042799"/>
              <a:ext cx="179222" cy="17922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5" name="Oval 174">
              <a:extLst>
                <a:ext uri="{FF2B5EF4-FFF2-40B4-BE49-F238E27FC236}">
                  <a16:creationId xmlns:a16="http://schemas.microsoft.com/office/drawing/2014/main" id="{0A80C750-F78A-4ED2-8B57-3FCDA08BAABD}"/>
                </a:ext>
              </a:extLst>
            </p:cNvPr>
            <p:cNvSpPr/>
            <p:nvPr/>
          </p:nvSpPr>
          <p:spPr>
            <a:xfrm>
              <a:off x="2521546" y="2104541"/>
              <a:ext cx="179222" cy="17922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7" name="Group 6">
              <a:extLst>
                <a:ext uri="{FF2B5EF4-FFF2-40B4-BE49-F238E27FC236}">
                  <a16:creationId xmlns:a16="http://schemas.microsoft.com/office/drawing/2014/main" id="{A4DF2F15-1B23-4D9C-9CE6-286C59A2F53F}"/>
                </a:ext>
              </a:extLst>
            </p:cNvPr>
            <p:cNvGrpSpPr/>
            <p:nvPr/>
          </p:nvGrpSpPr>
          <p:grpSpPr>
            <a:xfrm>
              <a:off x="1411879" y="3507491"/>
              <a:ext cx="2151634" cy="371377"/>
              <a:chOff x="-1775685" y="2627227"/>
              <a:chExt cx="2151634" cy="371377"/>
            </a:xfrm>
          </p:grpSpPr>
          <p:sp>
            <p:nvSpPr>
              <p:cNvPr id="174" name="Oval 173">
                <a:extLst>
                  <a:ext uri="{FF2B5EF4-FFF2-40B4-BE49-F238E27FC236}">
                    <a16:creationId xmlns:a16="http://schemas.microsoft.com/office/drawing/2014/main" id="{17DC4A71-5A0E-4463-963B-DA60621A6BE1}"/>
                  </a:ext>
                </a:extLst>
              </p:cNvPr>
              <p:cNvSpPr/>
              <p:nvPr/>
            </p:nvSpPr>
            <p:spPr>
              <a:xfrm>
                <a:off x="-1775685" y="2727516"/>
                <a:ext cx="179222" cy="17922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76" name="Group 175">
                <a:extLst>
                  <a:ext uri="{FF2B5EF4-FFF2-40B4-BE49-F238E27FC236}">
                    <a16:creationId xmlns:a16="http://schemas.microsoft.com/office/drawing/2014/main" id="{669E83A9-D77D-49CE-AEF6-6600BB685829}"/>
                  </a:ext>
                </a:extLst>
              </p:cNvPr>
              <p:cNvGrpSpPr/>
              <p:nvPr/>
            </p:nvGrpSpPr>
            <p:grpSpPr>
              <a:xfrm>
                <a:off x="-1502845" y="2627227"/>
                <a:ext cx="1878794" cy="371377"/>
                <a:chOff x="1874520" y="3229261"/>
                <a:chExt cx="3131187" cy="618934"/>
              </a:xfrm>
              <a:solidFill>
                <a:schemeClr val="accent2"/>
              </a:solidFill>
            </p:grpSpPr>
            <p:sp>
              <p:nvSpPr>
                <p:cNvPr id="177" name="Oval 176">
                  <a:extLst>
                    <a:ext uri="{FF2B5EF4-FFF2-40B4-BE49-F238E27FC236}">
                      <a16:creationId xmlns:a16="http://schemas.microsoft.com/office/drawing/2014/main" id="{3ADD2934-39B3-47EC-AD46-38A72EC92657}"/>
                    </a:ext>
                  </a:extLst>
                </p:cNvPr>
                <p:cNvSpPr/>
                <p:nvPr/>
              </p:nvSpPr>
              <p:spPr>
                <a:xfrm>
                  <a:off x="1874520" y="3229261"/>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78" name="Oval 177">
                  <a:extLst>
                    <a:ext uri="{FF2B5EF4-FFF2-40B4-BE49-F238E27FC236}">
                      <a16:creationId xmlns:a16="http://schemas.microsoft.com/office/drawing/2014/main" id="{9E8E481E-032E-40EA-B086-48FA707B5299}"/>
                    </a:ext>
                  </a:extLst>
                </p:cNvPr>
                <p:cNvSpPr/>
                <p:nvPr/>
              </p:nvSpPr>
              <p:spPr>
                <a:xfrm>
                  <a:off x="1874520" y="3467862"/>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79" name="Oval 178">
                  <a:extLst>
                    <a:ext uri="{FF2B5EF4-FFF2-40B4-BE49-F238E27FC236}">
                      <a16:creationId xmlns:a16="http://schemas.microsoft.com/office/drawing/2014/main" id="{C67A1205-7BC9-481F-AF72-89C909175A7C}"/>
                    </a:ext>
                  </a:extLst>
                </p:cNvPr>
                <p:cNvSpPr/>
                <p:nvPr/>
              </p:nvSpPr>
              <p:spPr>
                <a:xfrm>
                  <a:off x="1874520" y="3706463"/>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80" name="Oval 179">
                  <a:extLst>
                    <a:ext uri="{FF2B5EF4-FFF2-40B4-BE49-F238E27FC236}">
                      <a16:creationId xmlns:a16="http://schemas.microsoft.com/office/drawing/2014/main" id="{B5770363-19D8-4B38-B806-0C239F24022F}"/>
                    </a:ext>
                  </a:extLst>
                </p:cNvPr>
                <p:cNvSpPr/>
                <p:nvPr/>
              </p:nvSpPr>
              <p:spPr>
                <a:xfrm>
                  <a:off x="2133600" y="3229261"/>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81" name="Oval 180">
                  <a:extLst>
                    <a:ext uri="{FF2B5EF4-FFF2-40B4-BE49-F238E27FC236}">
                      <a16:creationId xmlns:a16="http://schemas.microsoft.com/office/drawing/2014/main" id="{AA9E87D3-E9AF-46F8-AAFC-5BA85F5EA9E7}"/>
                    </a:ext>
                  </a:extLst>
                </p:cNvPr>
                <p:cNvSpPr/>
                <p:nvPr/>
              </p:nvSpPr>
              <p:spPr>
                <a:xfrm>
                  <a:off x="2133600" y="3467862"/>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82" name="Oval 181">
                  <a:extLst>
                    <a:ext uri="{FF2B5EF4-FFF2-40B4-BE49-F238E27FC236}">
                      <a16:creationId xmlns:a16="http://schemas.microsoft.com/office/drawing/2014/main" id="{080D6A14-88B5-4BF5-8B8C-21B1473BA5D0}"/>
                    </a:ext>
                  </a:extLst>
                </p:cNvPr>
                <p:cNvSpPr/>
                <p:nvPr/>
              </p:nvSpPr>
              <p:spPr>
                <a:xfrm>
                  <a:off x="2133600" y="3706463"/>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83" name="Oval 182">
                  <a:extLst>
                    <a:ext uri="{FF2B5EF4-FFF2-40B4-BE49-F238E27FC236}">
                      <a16:creationId xmlns:a16="http://schemas.microsoft.com/office/drawing/2014/main" id="{47BF3259-AFA6-4116-8984-76BB83D58A02}"/>
                    </a:ext>
                  </a:extLst>
                </p:cNvPr>
                <p:cNvSpPr/>
                <p:nvPr/>
              </p:nvSpPr>
              <p:spPr>
                <a:xfrm>
                  <a:off x="2392680" y="3229261"/>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84" name="Oval 183">
                  <a:extLst>
                    <a:ext uri="{FF2B5EF4-FFF2-40B4-BE49-F238E27FC236}">
                      <a16:creationId xmlns:a16="http://schemas.microsoft.com/office/drawing/2014/main" id="{5F76117A-9575-4278-8955-2B8B164FB5BC}"/>
                    </a:ext>
                  </a:extLst>
                </p:cNvPr>
                <p:cNvSpPr/>
                <p:nvPr/>
              </p:nvSpPr>
              <p:spPr>
                <a:xfrm>
                  <a:off x="2392680" y="3467862"/>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85" name="Oval 184">
                  <a:extLst>
                    <a:ext uri="{FF2B5EF4-FFF2-40B4-BE49-F238E27FC236}">
                      <a16:creationId xmlns:a16="http://schemas.microsoft.com/office/drawing/2014/main" id="{47118EFA-6811-4F76-B949-54A51BBF4569}"/>
                    </a:ext>
                  </a:extLst>
                </p:cNvPr>
                <p:cNvSpPr/>
                <p:nvPr/>
              </p:nvSpPr>
              <p:spPr>
                <a:xfrm>
                  <a:off x="2392680" y="3706463"/>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86" name="Oval 185">
                  <a:extLst>
                    <a:ext uri="{FF2B5EF4-FFF2-40B4-BE49-F238E27FC236}">
                      <a16:creationId xmlns:a16="http://schemas.microsoft.com/office/drawing/2014/main" id="{B90822BE-C5B7-4A27-8A50-1CF4466A8D3B}"/>
                    </a:ext>
                  </a:extLst>
                </p:cNvPr>
                <p:cNvSpPr/>
                <p:nvPr/>
              </p:nvSpPr>
              <p:spPr>
                <a:xfrm>
                  <a:off x="2651760" y="3229261"/>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87" name="Oval 186">
                  <a:extLst>
                    <a:ext uri="{FF2B5EF4-FFF2-40B4-BE49-F238E27FC236}">
                      <a16:creationId xmlns:a16="http://schemas.microsoft.com/office/drawing/2014/main" id="{82A87481-F92D-48E7-9A99-EFCD4BEF2FDC}"/>
                    </a:ext>
                  </a:extLst>
                </p:cNvPr>
                <p:cNvSpPr/>
                <p:nvPr/>
              </p:nvSpPr>
              <p:spPr>
                <a:xfrm>
                  <a:off x="2651760" y="3467862"/>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88" name="Oval 187">
                  <a:extLst>
                    <a:ext uri="{FF2B5EF4-FFF2-40B4-BE49-F238E27FC236}">
                      <a16:creationId xmlns:a16="http://schemas.microsoft.com/office/drawing/2014/main" id="{EDDAC4B5-93B5-4969-8E7B-2684CADDEF34}"/>
                    </a:ext>
                  </a:extLst>
                </p:cNvPr>
                <p:cNvSpPr/>
                <p:nvPr/>
              </p:nvSpPr>
              <p:spPr>
                <a:xfrm>
                  <a:off x="2651760" y="3706463"/>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89" name="Oval 188">
                  <a:extLst>
                    <a:ext uri="{FF2B5EF4-FFF2-40B4-BE49-F238E27FC236}">
                      <a16:creationId xmlns:a16="http://schemas.microsoft.com/office/drawing/2014/main" id="{25D320C6-224C-47F5-9D5C-308D1841A32C}"/>
                    </a:ext>
                  </a:extLst>
                </p:cNvPr>
                <p:cNvSpPr/>
                <p:nvPr/>
              </p:nvSpPr>
              <p:spPr>
                <a:xfrm>
                  <a:off x="2910840" y="3229261"/>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90" name="Oval 189">
                  <a:extLst>
                    <a:ext uri="{FF2B5EF4-FFF2-40B4-BE49-F238E27FC236}">
                      <a16:creationId xmlns:a16="http://schemas.microsoft.com/office/drawing/2014/main" id="{1DA2DBF9-0C78-421E-A683-88FE3B5C4F9E}"/>
                    </a:ext>
                  </a:extLst>
                </p:cNvPr>
                <p:cNvSpPr/>
                <p:nvPr/>
              </p:nvSpPr>
              <p:spPr>
                <a:xfrm>
                  <a:off x="2910840" y="3467862"/>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91" name="Oval 190">
                  <a:extLst>
                    <a:ext uri="{FF2B5EF4-FFF2-40B4-BE49-F238E27FC236}">
                      <a16:creationId xmlns:a16="http://schemas.microsoft.com/office/drawing/2014/main" id="{FA80520B-E1AB-42E3-BD27-27E148153362}"/>
                    </a:ext>
                  </a:extLst>
                </p:cNvPr>
                <p:cNvSpPr/>
                <p:nvPr/>
              </p:nvSpPr>
              <p:spPr>
                <a:xfrm>
                  <a:off x="2910840" y="3706463"/>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92" name="Oval 191">
                  <a:extLst>
                    <a:ext uri="{FF2B5EF4-FFF2-40B4-BE49-F238E27FC236}">
                      <a16:creationId xmlns:a16="http://schemas.microsoft.com/office/drawing/2014/main" id="{2D474755-9338-47C6-9666-D8AED0D57438}"/>
                    </a:ext>
                  </a:extLst>
                </p:cNvPr>
                <p:cNvSpPr/>
                <p:nvPr/>
              </p:nvSpPr>
              <p:spPr>
                <a:xfrm>
                  <a:off x="3169920" y="3229261"/>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93" name="Oval 192">
                  <a:extLst>
                    <a:ext uri="{FF2B5EF4-FFF2-40B4-BE49-F238E27FC236}">
                      <a16:creationId xmlns:a16="http://schemas.microsoft.com/office/drawing/2014/main" id="{FF28E9BC-DB11-4981-8538-D21D032A4218}"/>
                    </a:ext>
                  </a:extLst>
                </p:cNvPr>
                <p:cNvSpPr/>
                <p:nvPr/>
              </p:nvSpPr>
              <p:spPr>
                <a:xfrm>
                  <a:off x="3169920" y="3467862"/>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94" name="Oval 193">
                  <a:extLst>
                    <a:ext uri="{FF2B5EF4-FFF2-40B4-BE49-F238E27FC236}">
                      <a16:creationId xmlns:a16="http://schemas.microsoft.com/office/drawing/2014/main" id="{047A2189-09B1-4DB3-9AAA-5FB11C154FD4}"/>
                    </a:ext>
                  </a:extLst>
                </p:cNvPr>
                <p:cNvSpPr/>
                <p:nvPr/>
              </p:nvSpPr>
              <p:spPr>
                <a:xfrm>
                  <a:off x="3169920" y="3706463"/>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95" name="Oval 194">
                  <a:extLst>
                    <a:ext uri="{FF2B5EF4-FFF2-40B4-BE49-F238E27FC236}">
                      <a16:creationId xmlns:a16="http://schemas.microsoft.com/office/drawing/2014/main" id="{5D7980EF-FB6E-4035-AA55-A320F1B4C095}"/>
                    </a:ext>
                  </a:extLst>
                </p:cNvPr>
                <p:cNvSpPr/>
                <p:nvPr/>
              </p:nvSpPr>
              <p:spPr>
                <a:xfrm>
                  <a:off x="3429000" y="3229261"/>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96" name="Oval 195">
                  <a:extLst>
                    <a:ext uri="{FF2B5EF4-FFF2-40B4-BE49-F238E27FC236}">
                      <a16:creationId xmlns:a16="http://schemas.microsoft.com/office/drawing/2014/main" id="{2061D28E-9162-4D89-BED8-490E4B2AAD4E}"/>
                    </a:ext>
                  </a:extLst>
                </p:cNvPr>
                <p:cNvSpPr/>
                <p:nvPr/>
              </p:nvSpPr>
              <p:spPr>
                <a:xfrm>
                  <a:off x="3429000" y="3467862"/>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97" name="Oval 196">
                  <a:extLst>
                    <a:ext uri="{FF2B5EF4-FFF2-40B4-BE49-F238E27FC236}">
                      <a16:creationId xmlns:a16="http://schemas.microsoft.com/office/drawing/2014/main" id="{D2D3F8E5-7D89-4226-A203-188F32DEF756}"/>
                    </a:ext>
                  </a:extLst>
                </p:cNvPr>
                <p:cNvSpPr/>
                <p:nvPr/>
              </p:nvSpPr>
              <p:spPr>
                <a:xfrm>
                  <a:off x="3429000" y="3706463"/>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98" name="Oval 197">
                  <a:extLst>
                    <a:ext uri="{FF2B5EF4-FFF2-40B4-BE49-F238E27FC236}">
                      <a16:creationId xmlns:a16="http://schemas.microsoft.com/office/drawing/2014/main" id="{25F4CD19-7ACB-4A2D-A5ED-99E6848CD7C9}"/>
                    </a:ext>
                  </a:extLst>
                </p:cNvPr>
                <p:cNvSpPr/>
                <p:nvPr/>
              </p:nvSpPr>
              <p:spPr>
                <a:xfrm>
                  <a:off x="3688080" y="3467862"/>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199" name="Oval 198">
                  <a:extLst>
                    <a:ext uri="{FF2B5EF4-FFF2-40B4-BE49-F238E27FC236}">
                      <a16:creationId xmlns:a16="http://schemas.microsoft.com/office/drawing/2014/main" id="{F6A5E898-52A7-45AE-8102-3C3D3116310C}"/>
                    </a:ext>
                  </a:extLst>
                </p:cNvPr>
                <p:cNvSpPr/>
                <p:nvPr/>
              </p:nvSpPr>
              <p:spPr>
                <a:xfrm>
                  <a:off x="3947160" y="3467862"/>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200" name="Oval 199">
                  <a:extLst>
                    <a:ext uri="{FF2B5EF4-FFF2-40B4-BE49-F238E27FC236}">
                      <a16:creationId xmlns:a16="http://schemas.microsoft.com/office/drawing/2014/main" id="{DCAB6FEB-5C69-48C6-84BC-14AA970BDB9F}"/>
                    </a:ext>
                  </a:extLst>
                </p:cNvPr>
                <p:cNvSpPr/>
                <p:nvPr/>
              </p:nvSpPr>
              <p:spPr>
                <a:xfrm>
                  <a:off x="4454278" y="3706463"/>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endParaRPr lang="en-IN" sz="1050" dirty="0"/>
                </a:p>
              </p:txBody>
            </p:sp>
            <p:sp>
              <p:nvSpPr>
                <p:cNvPr id="201" name="Oval 200">
                  <a:extLst>
                    <a:ext uri="{FF2B5EF4-FFF2-40B4-BE49-F238E27FC236}">
                      <a16:creationId xmlns:a16="http://schemas.microsoft.com/office/drawing/2014/main" id="{EB9283EE-CECB-4F10-94DE-EA87252C61CB}"/>
                    </a:ext>
                  </a:extLst>
                </p:cNvPr>
                <p:cNvSpPr/>
                <p:nvPr/>
              </p:nvSpPr>
              <p:spPr>
                <a:xfrm>
                  <a:off x="4863975" y="3470242"/>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endParaRPr lang="en-IN" sz="1050" dirty="0"/>
                </a:p>
              </p:txBody>
            </p:sp>
            <p:sp>
              <p:nvSpPr>
                <p:cNvPr id="202" name="Oval 201">
                  <a:extLst>
                    <a:ext uri="{FF2B5EF4-FFF2-40B4-BE49-F238E27FC236}">
                      <a16:creationId xmlns:a16="http://schemas.microsoft.com/office/drawing/2014/main" id="{8C6A3CD3-5ACE-48ED-8B9E-14C1E2671B14}"/>
                    </a:ext>
                  </a:extLst>
                </p:cNvPr>
                <p:cNvSpPr/>
                <p:nvPr/>
              </p:nvSpPr>
              <p:spPr>
                <a:xfrm>
                  <a:off x="4189541" y="3229261"/>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sp>
              <p:nvSpPr>
                <p:cNvPr id="203" name="Oval 202">
                  <a:extLst>
                    <a:ext uri="{FF2B5EF4-FFF2-40B4-BE49-F238E27FC236}">
                      <a16:creationId xmlns:a16="http://schemas.microsoft.com/office/drawing/2014/main" id="{3E2A65A6-613A-4C60-9808-9A30F13CF8A4}"/>
                    </a:ext>
                  </a:extLst>
                </p:cNvPr>
                <p:cNvSpPr/>
                <p:nvPr/>
              </p:nvSpPr>
              <p:spPr>
                <a:xfrm>
                  <a:off x="4448621" y="3229261"/>
                  <a:ext cx="141732" cy="14173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sz="1050" dirty="0"/>
                </a:p>
              </p:txBody>
            </p:sp>
          </p:grpSp>
        </p:grpSp>
      </p:grpSp>
      <p:grpSp>
        <p:nvGrpSpPr>
          <p:cNvPr id="31" name="Group 30">
            <a:extLst>
              <a:ext uri="{FF2B5EF4-FFF2-40B4-BE49-F238E27FC236}">
                <a16:creationId xmlns:a16="http://schemas.microsoft.com/office/drawing/2014/main" id="{4937EA2E-C9C2-4A43-B4F6-F2B086DCF566}"/>
              </a:ext>
            </a:extLst>
          </p:cNvPr>
          <p:cNvGrpSpPr/>
          <p:nvPr/>
        </p:nvGrpSpPr>
        <p:grpSpPr>
          <a:xfrm>
            <a:off x="4672220" y="1458367"/>
            <a:ext cx="2921943" cy="2818127"/>
            <a:chOff x="4672220" y="1458367"/>
            <a:chExt cx="2921943" cy="2818127"/>
          </a:xfrm>
        </p:grpSpPr>
        <p:grpSp>
          <p:nvGrpSpPr>
            <p:cNvPr id="604" name="Group 603">
              <a:extLst>
                <a:ext uri="{FF2B5EF4-FFF2-40B4-BE49-F238E27FC236}">
                  <a16:creationId xmlns:a16="http://schemas.microsoft.com/office/drawing/2014/main" id="{93B66FCA-BDC3-425E-94A3-6A0A37367FAE}"/>
                </a:ext>
              </a:extLst>
            </p:cNvPr>
            <p:cNvGrpSpPr/>
            <p:nvPr/>
          </p:nvGrpSpPr>
          <p:grpSpPr>
            <a:xfrm>
              <a:off x="4672220" y="1458367"/>
              <a:ext cx="2889148" cy="2816180"/>
              <a:chOff x="-9030239" y="1802989"/>
              <a:chExt cx="2593994" cy="2528480"/>
            </a:xfrm>
          </p:grpSpPr>
          <p:grpSp>
            <p:nvGrpSpPr>
              <p:cNvPr id="605" name="Graphic 37">
                <a:extLst>
                  <a:ext uri="{FF2B5EF4-FFF2-40B4-BE49-F238E27FC236}">
                    <a16:creationId xmlns:a16="http://schemas.microsoft.com/office/drawing/2014/main" id="{C31BCAAB-4710-4E2D-882A-22CBD9327BDF}"/>
                  </a:ext>
                </a:extLst>
              </p:cNvPr>
              <p:cNvGrpSpPr/>
              <p:nvPr/>
            </p:nvGrpSpPr>
            <p:grpSpPr>
              <a:xfrm>
                <a:off x="-8723792" y="2043924"/>
                <a:ext cx="2287547" cy="2287545"/>
                <a:chOff x="1312875" y="174181"/>
                <a:chExt cx="2034979" cy="2034979"/>
              </a:xfrm>
              <a:solidFill>
                <a:schemeClr val="accent3"/>
              </a:solidFill>
            </p:grpSpPr>
            <p:sp>
              <p:nvSpPr>
                <p:cNvPr id="651" name="Freeform: Shape 650">
                  <a:extLst>
                    <a:ext uri="{FF2B5EF4-FFF2-40B4-BE49-F238E27FC236}">
                      <a16:creationId xmlns:a16="http://schemas.microsoft.com/office/drawing/2014/main" id="{85341A74-F869-4263-A793-7452E712880E}"/>
                    </a:ext>
                  </a:extLst>
                </p:cNvPr>
                <p:cNvSpPr/>
                <p:nvPr/>
              </p:nvSpPr>
              <p:spPr>
                <a:xfrm>
                  <a:off x="1975076" y="836382"/>
                  <a:ext cx="1313457" cy="1313457"/>
                </a:xfrm>
                <a:custGeom>
                  <a:avLst/>
                  <a:gdLst>
                    <a:gd name="connsiteX0" fmla="*/ 1287872 w 1313457"/>
                    <a:gd name="connsiteY0" fmla="*/ 4397 h 1313457"/>
                    <a:gd name="connsiteX1" fmla="*/ 4397 w 1313457"/>
                    <a:gd name="connsiteY1" fmla="*/ 1287872 h 1313457"/>
                    <a:gd name="connsiteX2" fmla="*/ 4397 w 1313457"/>
                    <a:gd name="connsiteY2" fmla="*/ 1309061 h 1313457"/>
                    <a:gd name="connsiteX3" fmla="*/ 25586 w 1313457"/>
                    <a:gd name="connsiteY3" fmla="*/ 1309061 h 1313457"/>
                    <a:gd name="connsiteX4" fmla="*/ 1309062 w 1313457"/>
                    <a:gd name="connsiteY4" fmla="*/ 25586 h 1313457"/>
                    <a:gd name="connsiteX5" fmla="*/ 1309062 w 1313457"/>
                    <a:gd name="connsiteY5" fmla="*/ 4397 h 1313457"/>
                    <a:gd name="connsiteX6" fmla="*/ 1287872 w 1313457"/>
                    <a:gd name="connsiteY6" fmla="*/ 4397 h 131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457" h="1313457">
                      <a:moveTo>
                        <a:pt x="1287872" y="4397"/>
                      </a:moveTo>
                      <a:lnTo>
                        <a:pt x="4397" y="1287872"/>
                      </a:lnTo>
                      <a:cubicBezTo>
                        <a:pt x="-1466" y="1293734"/>
                        <a:pt x="-1466" y="1303199"/>
                        <a:pt x="4397" y="1309061"/>
                      </a:cubicBezTo>
                      <a:cubicBezTo>
                        <a:pt x="10259" y="1314924"/>
                        <a:pt x="19724" y="1314924"/>
                        <a:pt x="25586" y="1309061"/>
                      </a:cubicBezTo>
                      <a:lnTo>
                        <a:pt x="1309062" y="25586"/>
                      </a:lnTo>
                      <a:cubicBezTo>
                        <a:pt x="1314924" y="19724"/>
                        <a:pt x="1314924" y="10259"/>
                        <a:pt x="1309062" y="4397"/>
                      </a:cubicBezTo>
                      <a:cubicBezTo>
                        <a:pt x="1303199" y="-1466"/>
                        <a:pt x="1293734" y="-1466"/>
                        <a:pt x="1287872" y="4397"/>
                      </a:cubicBezTo>
                    </a:path>
                  </a:pathLst>
                </a:custGeom>
                <a:grpFill/>
                <a:ln w="5377" cap="flat">
                  <a:noFill/>
                  <a:prstDash val="solid"/>
                  <a:miter/>
                </a:ln>
              </p:spPr>
              <p:txBody>
                <a:bodyPr rtlCol="0" anchor="ctr"/>
                <a:lstStyle/>
                <a:p>
                  <a:endParaRPr lang="en-IN" dirty="0"/>
                </a:p>
              </p:txBody>
            </p:sp>
            <p:sp>
              <p:nvSpPr>
                <p:cNvPr id="652" name="Freeform: Shape 651">
                  <a:extLst>
                    <a:ext uri="{FF2B5EF4-FFF2-40B4-BE49-F238E27FC236}">
                      <a16:creationId xmlns:a16="http://schemas.microsoft.com/office/drawing/2014/main" id="{5F61125E-9CEC-4585-B8D3-EAB4F012731D}"/>
                    </a:ext>
                  </a:extLst>
                </p:cNvPr>
                <p:cNvSpPr/>
                <p:nvPr/>
              </p:nvSpPr>
              <p:spPr>
                <a:xfrm>
                  <a:off x="1880677" y="741997"/>
                  <a:ext cx="1368273" cy="1368260"/>
                </a:xfrm>
                <a:custGeom>
                  <a:avLst/>
                  <a:gdLst>
                    <a:gd name="connsiteX0" fmla="*/ 1342688 w 1368273"/>
                    <a:gd name="connsiteY0" fmla="*/ 4397 h 1368260"/>
                    <a:gd name="connsiteX1" fmla="*/ 4356 w 1368273"/>
                    <a:gd name="connsiteY1" fmla="*/ 1342674 h 1368260"/>
                    <a:gd name="connsiteX2" fmla="*/ 4356 w 1368273"/>
                    <a:gd name="connsiteY2" fmla="*/ 1363864 h 1368260"/>
                    <a:gd name="connsiteX3" fmla="*/ 25546 w 1368273"/>
                    <a:gd name="connsiteY3" fmla="*/ 1363864 h 1368260"/>
                    <a:gd name="connsiteX4" fmla="*/ 1363877 w 1368273"/>
                    <a:gd name="connsiteY4" fmla="*/ 25586 h 1368260"/>
                    <a:gd name="connsiteX5" fmla="*/ 1363877 w 1368273"/>
                    <a:gd name="connsiteY5" fmla="*/ 4397 h 1368260"/>
                    <a:gd name="connsiteX6" fmla="*/ 1342688 w 1368273"/>
                    <a:gd name="connsiteY6" fmla="*/ 4397 h 1368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8273" h="1368260">
                      <a:moveTo>
                        <a:pt x="1342688" y="4397"/>
                      </a:moveTo>
                      <a:lnTo>
                        <a:pt x="4356" y="1342674"/>
                      </a:lnTo>
                      <a:cubicBezTo>
                        <a:pt x="-1452" y="1348536"/>
                        <a:pt x="-1452" y="1358002"/>
                        <a:pt x="4356" y="1363864"/>
                      </a:cubicBezTo>
                      <a:cubicBezTo>
                        <a:pt x="10218" y="1369726"/>
                        <a:pt x="19684" y="1369726"/>
                        <a:pt x="25546" y="1363864"/>
                      </a:cubicBezTo>
                      <a:lnTo>
                        <a:pt x="1363877" y="25586"/>
                      </a:lnTo>
                      <a:cubicBezTo>
                        <a:pt x="1369739" y="19724"/>
                        <a:pt x="1369739" y="10259"/>
                        <a:pt x="1363877" y="4397"/>
                      </a:cubicBezTo>
                      <a:cubicBezTo>
                        <a:pt x="1358015" y="-1466"/>
                        <a:pt x="1348550" y="-1466"/>
                        <a:pt x="1342688" y="4397"/>
                      </a:cubicBezTo>
                    </a:path>
                  </a:pathLst>
                </a:custGeom>
                <a:grpFill/>
                <a:ln w="5377" cap="flat">
                  <a:noFill/>
                  <a:prstDash val="solid"/>
                  <a:miter/>
                </a:ln>
              </p:spPr>
              <p:txBody>
                <a:bodyPr rtlCol="0" anchor="ctr"/>
                <a:lstStyle/>
                <a:p>
                  <a:endParaRPr lang="en-IN" dirty="0"/>
                </a:p>
              </p:txBody>
            </p:sp>
            <p:sp>
              <p:nvSpPr>
                <p:cNvPr id="653" name="Freeform: Shape 652">
                  <a:extLst>
                    <a:ext uri="{FF2B5EF4-FFF2-40B4-BE49-F238E27FC236}">
                      <a16:creationId xmlns:a16="http://schemas.microsoft.com/office/drawing/2014/main" id="{F52A3DB8-537B-4660-908C-872611BD9BFF}"/>
                    </a:ext>
                  </a:extLst>
                </p:cNvPr>
                <p:cNvSpPr/>
                <p:nvPr/>
              </p:nvSpPr>
              <p:spPr>
                <a:xfrm>
                  <a:off x="1793943" y="655195"/>
                  <a:ext cx="1407843" cy="1407842"/>
                </a:xfrm>
                <a:custGeom>
                  <a:avLst/>
                  <a:gdLst>
                    <a:gd name="connsiteX0" fmla="*/ 1382257 w 1407843"/>
                    <a:gd name="connsiteY0" fmla="*/ 4397 h 1407842"/>
                    <a:gd name="connsiteX1" fmla="*/ 4397 w 1407843"/>
                    <a:gd name="connsiteY1" fmla="*/ 1382257 h 1407842"/>
                    <a:gd name="connsiteX2" fmla="*/ 4397 w 1407843"/>
                    <a:gd name="connsiteY2" fmla="*/ 1403446 h 1407842"/>
                    <a:gd name="connsiteX3" fmla="*/ 25586 w 1407843"/>
                    <a:gd name="connsiteY3" fmla="*/ 1403446 h 1407842"/>
                    <a:gd name="connsiteX4" fmla="*/ 1403447 w 1407843"/>
                    <a:gd name="connsiteY4" fmla="*/ 25586 h 1407842"/>
                    <a:gd name="connsiteX5" fmla="*/ 1403447 w 1407843"/>
                    <a:gd name="connsiteY5" fmla="*/ 4397 h 1407842"/>
                    <a:gd name="connsiteX6" fmla="*/ 1382257 w 1407843"/>
                    <a:gd name="connsiteY6" fmla="*/ 4397 h 140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843" h="1407842">
                      <a:moveTo>
                        <a:pt x="1382257" y="4397"/>
                      </a:moveTo>
                      <a:lnTo>
                        <a:pt x="4397" y="1382257"/>
                      </a:lnTo>
                      <a:cubicBezTo>
                        <a:pt x="-1466" y="1388119"/>
                        <a:pt x="-1466" y="1397584"/>
                        <a:pt x="4397" y="1403446"/>
                      </a:cubicBezTo>
                      <a:cubicBezTo>
                        <a:pt x="10205" y="1409308"/>
                        <a:pt x="19724" y="1409308"/>
                        <a:pt x="25586" y="1403446"/>
                      </a:cubicBezTo>
                      <a:lnTo>
                        <a:pt x="1403447" y="25586"/>
                      </a:lnTo>
                      <a:cubicBezTo>
                        <a:pt x="1409309" y="19724"/>
                        <a:pt x="1409309" y="10259"/>
                        <a:pt x="1403447" y="4397"/>
                      </a:cubicBezTo>
                      <a:cubicBezTo>
                        <a:pt x="1397531" y="-1466"/>
                        <a:pt x="1388065" y="-1466"/>
                        <a:pt x="1382257" y="4397"/>
                      </a:cubicBezTo>
                    </a:path>
                  </a:pathLst>
                </a:custGeom>
                <a:grpFill/>
                <a:ln w="5377" cap="flat">
                  <a:noFill/>
                  <a:prstDash val="solid"/>
                  <a:miter/>
                </a:ln>
              </p:spPr>
              <p:txBody>
                <a:bodyPr rtlCol="0" anchor="ctr"/>
                <a:lstStyle/>
                <a:p>
                  <a:endParaRPr lang="en-IN" dirty="0"/>
                </a:p>
              </p:txBody>
            </p:sp>
            <p:sp>
              <p:nvSpPr>
                <p:cNvPr id="654" name="Freeform: Shape 653">
                  <a:extLst>
                    <a:ext uri="{FF2B5EF4-FFF2-40B4-BE49-F238E27FC236}">
                      <a16:creationId xmlns:a16="http://schemas.microsoft.com/office/drawing/2014/main" id="{D111513A-42B9-4541-808F-A983C8BB1739}"/>
                    </a:ext>
                  </a:extLst>
                </p:cNvPr>
                <p:cNvSpPr/>
                <p:nvPr/>
              </p:nvSpPr>
              <p:spPr>
                <a:xfrm>
                  <a:off x="2078066" y="939372"/>
                  <a:ext cx="1241445" cy="1241445"/>
                </a:xfrm>
                <a:custGeom>
                  <a:avLst/>
                  <a:gdLst>
                    <a:gd name="connsiteX0" fmla="*/ 1215860 w 1241445"/>
                    <a:gd name="connsiteY0" fmla="*/ 4397 h 1241445"/>
                    <a:gd name="connsiteX1" fmla="*/ 4397 w 1241445"/>
                    <a:gd name="connsiteY1" fmla="*/ 1215859 h 1241445"/>
                    <a:gd name="connsiteX2" fmla="*/ 4397 w 1241445"/>
                    <a:gd name="connsiteY2" fmla="*/ 1237049 h 1241445"/>
                    <a:gd name="connsiteX3" fmla="*/ 25586 w 1241445"/>
                    <a:gd name="connsiteY3" fmla="*/ 1237049 h 1241445"/>
                    <a:gd name="connsiteX4" fmla="*/ 1237049 w 1241445"/>
                    <a:gd name="connsiteY4" fmla="*/ 25586 h 1241445"/>
                    <a:gd name="connsiteX5" fmla="*/ 1237049 w 1241445"/>
                    <a:gd name="connsiteY5" fmla="*/ 4397 h 1241445"/>
                    <a:gd name="connsiteX6" fmla="*/ 1215860 w 1241445"/>
                    <a:gd name="connsiteY6" fmla="*/ 4397 h 124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445" h="1241445">
                      <a:moveTo>
                        <a:pt x="1215860" y="4397"/>
                      </a:moveTo>
                      <a:lnTo>
                        <a:pt x="4397" y="1215859"/>
                      </a:lnTo>
                      <a:cubicBezTo>
                        <a:pt x="-1466" y="1221722"/>
                        <a:pt x="-1466" y="1231187"/>
                        <a:pt x="4397" y="1237049"/>
                      </a:cubicBezTo>
                      <a:cubicBezTo>
                        <a:pt x="10259" y="1242911"/>
                        <a:pt x="19724" y="1242911"/>
                        <a:pt x="25586" y="1237049"/>
                      </a:cubicBezTo>
                      <a:lnTo>
                        <a:pt x="1237049" y="25586"/>
                      </a:lnTo>
                      <a:cubicBezTo>
                        <a:pt x="1242911" y="19724"/>
                        <a:pt x="1242911" y="10259"/>
                        <a:pt x="1237049" y="4397"/>
                      </a:cubicBezTo>
                      <a:cubicBezTo>
                        <a:pt x="1231187" y="-1466"/>
                        <a:pt x="1221722" y="-1466"/>
                        <a:pt x="1215860" y="4397"/>
                      </a:cubicBezTo>
                    </a:path>
                  </a:pathLst>
                </a:custGeom>
                <a:grpFill/>
                <a:ln w="5377" cap="flat">
                  <a:noFill/>
                  <a:prstDash val="solid"/>
                  <a:miter/>
                </a:ln>
              </p:spPr>
              <p:txBody>
                <a:bodyPr rtlCol="0" anchor="ctr"/>
                <a:lstStyle/>
                <a:p>
                  <a:endParaRPr lang="en-IN" dirty="0"/>
                </a:p>
              </p:txBody>
            </p:sp>
            <p:sp>
              <p:nvSpPr>
                <p:cNvPr id="655" name="Freeform: Shape 654">
                  <a:extLst>
                    <a:ext uri="{FF2B5EF4-FFF2-40B4-BE49-F238E27FC236}">
                      <a16:creationId xmlns:a16="http://schemas.microsoft.com/office/drawing/2014/main" id="{07B8C3B0-7AA0-44FF-95B9-D7707B6BBCED}"/>
                    </a:ext>
                  </a:extLst>
                </p:cNvPr>
                <p:cNvSpPr/>
                <p:nvPr/>
              </p:nvSpPr>
              <p:spPr>
                <a:xfrm>
                  <a:off x="2930059" y="1791405"/>
                  <a:ext cx="207297" cy="207310"/>
                </a:xfrm>
                <a:custGeom>
                  <a:avLst/>
                  <a:gdLst>
                    <a:gd name="connsiteX0" fmla="*/ 181765 w 207297"/>
                    <a:gd name="connsiteY0" fmla="*/ 4356 h 207310"/>
                    <a:gd name="connsiteX1" fmla="*/ 4397 w 207297"/>
                    <a:gd name="connsiteY1" fmla="*/ 181725 h 207310"/>
                    <a:gd name="connsiteX2" fmla="*/ 4397 w 207297"/>
                    <a:gd name="connsiteY2" fmla="*/ 202914 h 207310"/>
                    <a:gd name="connsiteX3" fmla="*/ 25586 w 207297"/>
                    <a:gd name="connsiteY3" fmla="*/ 202914 h 207310"/>
                    <a:gd name="connsiteX4" fmla="*/ 202901 w 207297"/>
                    <a:gd name="connsiteY4" fmla="*/ 25546 h 207310"/>
                    <a:gd name="connsiteX5" fmla="*/ 202901 w 207297"/>
                    <a:gd name="connsiteY5" fmla="*/ 4356 h 207310"/>
                    <a:gd name="connsiteX6" fmla="*/ 181765 w 207297"/>
                    <a:gd name="connsiteY6" fmla="*/ 4356 h 20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297" h="207310">
                      <a:moveTo>
                        <a:pt x="181765" y="4356"/>
                      </a:moveTo>
                      <a:lnTo>
                        <a:pt x="4397" y="181725"/>
                      </a:lnTo>
                      <a:cubicBezTo>
                        <a:pt x="-1466" y="187587"/>
                        <a:pt x="-1466" y="197052"/>
                        <a:pt x="4397" y="202914"/>
                      </a:cubicBezTo>
                      <a:cubicBezTo>
                        <a:pt x="10259" y="208776"/>
                        <a:pt x="19724" y="208776"/>
                        <a:pt x="25586" y="202914"/>
                      </a:cubicBezTo>
                      <a:lnTo>
                        <a:pt x="202901" y="25546"/>
                      </a:lnTo>
                      <a:cubicBezTo>
                        <a:pt x="208763" y="19684"/>
                        <a:pt x="208763" y="10218"/>
                        <a:pt x="202901" y="4356"/>
                      </a:cubicBezTo>
                      <a:cubicBezTo>
                        <a:pt x="197093" y="-1452"/>
                        <a:pt x="187573" y="-1452"/>
                        <a:pt x="181765" y="4356"/>
                      </a:cubicBezTo>
                    </a:path>
                  </a:pathLst>
                </a:custGeom>
                <a:grpFill/>
                <a:ln w="5377" cap="flat">
                  <a:noFill/>
                  <a:prstDash val="solid"/>
                  <a:miter/>
                </a:ln>
              </p:spPr>
              <p:txBody>
                <a:bodyPr rtlCol="0" anchor="ctr"/>
                <a:lstStyle/>
                <a:p>
                  <a:endParaRPr lang="en-IN" dirty="0"/>
                </a:p>
              </p:txBody>
            </p:sp>
            <p:sp>
              <p:nvSpPr>
                <p:cNvPr id="656" name="Freeform: Shape 655">
                  <a:extLst>
                    <a:ext uri="{FF2B5EF4-FFF2-40B4-BE49-F238E27FC236}">
                      <a16:creationId xmlns:a16="http://schemas.microsoft.com/office/drawing/2014/main" id="{158697F5-2237-4C56-906C-C1BD3E6C552B}"/>
                    </a:ext>
                  </a:extLst>
                </p:cNvPr>
                <p:cNvSpPr/>
                <p:nvPr/>
              </p:nvSpPr>
              <p:spPr>
                <a:xfrm>
                  <a:off x="2639159" y="1500519"/>
                  <a:ext cx="655128" cy="655075"/>
                </a:xfrm>
                <a:custGeom>
                  <a:avLst/>
                  <a:gdLst>
                    <a:gd name="connsiteX0" fmla="*/ 629543 w 655128"/>
                    <a:gd name="connsiteY0" fmla="*/ 4397 h 655075"/>
                    <a:gd name="connsiteX1" fmla="*/ 4397 w 655128"/>
                    <a:gd name="connsiteY1" fmla="*/ 629489 h 655075"/>
                    <a:gd name="connsiteX2" fmla="*/ 4397 w 655128"/>
                    <a:gd name="connsiteY2" fmla="*/ 650679 h 655075"/>
                    <a:gd name="connsiteX3" fmla="*/ 25586 w 655128"/>
                    <a:gd name="connsiteY3" fmla="*/ 650679 h 655075"/>
                    <a:gd name="connsiteX4" fmla="*/ 650733 w 655128"/>
                    <a:gd name="connsiteY4" fmla="*/ 25586 h 655075"/>
                    <a:gd name="connsiteX5" fmla="*/ 650733 w 655128"/>
                    <a:gd name="connsiteY5" fmla="*/ 4397 h 655075"/>
                    <a:gd name="connsiteX6" fmla="*/ 629543 w 655128"/>
                    <a:gd name="connsiteY6" fmla="*/ 4397 h 65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128" h="655075">
                      <a:moveTo>
                        <a:pt x="629543" y="4397"/>
                      </a:moveTo>
                      <a:lnTo>
                        <a:pt x="4397" y="629489"/>
                      </a:lnTo>
                      <a:cubicBezTo>
                        <a:pt x="-1466" y="635351"/>
                        <a:pt x="-1466" y="644816"/>
                        <a:pt x="4397" y="650679"/>
                      </a:cubicBezTo>
                      <a:cubicBezTo>
                        <a:pt x="10259" y="656541"/>
                        <a:pt x="19724" y="656541"/>
                        <a:pt x="25586" y="650679"/>
                      </a:cubicBezTo>
                      <a:lnTo>
                        <a:pt x="650733" y="25586"/>
                      </a:lnTo>
                      <a:cubicBezTo>
                        <a:pt x="656594" y="19724"/>
                        <a:pt x="656594" y="10259"/>
                        <a:pt x="650733" y="4397"/>
                      </a:cubicBezTo>
                      <a:cubicBezTo>
                        <a:pt x="644870" y="-1466"/>
                        <a:pt x="635405" y="-1466"/>
                        <a:pt x="629543" y="4397"/>
                      </a:cubicBezTo>
                    </a:path>
                  </a:pathLst>
                </a:custGeom>
                <a:grpFill/>
                <a:ln w="5377" cap="flat">
                  <a:noFill/>
                  <a:prstDash val="solid"/>
                  <a:miter/>
                </a:ln>
              </p:spPr>
              <p:txBody>
                <a:bodyPr rtlCol="0" anchor="ctr"/>
                <a:lstStyle/>
                <a:p>
                  <a:endParaRPr lang="en-IN" dirty="0"/>
                </a:p>
              </p:txBody>
            </p:sp>
            <p:sp>
              <p:nvSpPr>
                <p:cNvPr id="657" name="Freeform: Shape 656">
                  <a:extLst>
                    <a:ext uri="{FF2B5EF4-FFF2-40B4-BE49-F238E27FC236}">
                      <a16:creationId xmlns:a16="http://schemas.microsoft.com/office/drawing/2014/main" id="{5259FC4D-E56A-42E6-9016-452B269E9F72}"/>
                    </a:ext>
                  </a:extLst>
                </p:cNvPr>
                <p:cNvSpPr/>
                <p:nvPr/>
              </p:nvSpPr>
              <p:spPr>
                <a:xfrm>
                  <a:off x="2191382" y="1052695"/>
                  <a:ext cx="1148781" cy="1148828"/>
                </a:xfrm>
                <a:custGeom>
                  <a:avLst/>
                  <a:gdLst>
                    <a:gd name="connsiteX0" fmla="*/ 1123196 w 1148781"/>
                    <a:gd name="connsiteY0" fmla="*/ 4390 h 1148828"/>
                    <a:gd name="connsiteX1" fmla="*/ 4397 w 1148781"/>
                    <a:gd name="connsiteY1" fmla="*/ 1123243 h 1148828"/>
                    <a:gd name="connsiteX2" fmla="*/ 4397 w 1148781"/>
                    <a:gd name="connsiteY2" fmla="*/ 1144432 h 1148828"/>
                    <a:gd name="connsiteX3" fmla="*/ 25586 w 1148781"/>
                    <a:gd name="connsiteY3" fmla="*/ 1144432 h 1148828"/>
                    <a:gd name="connsiteX4" fmla="*/ 1144385 w 1148781"/>
                    <a:gd name="connsiteY4" fmla="*/ 25633 h 1148828"/>
                    <a:gd name="connsiteX5" fmla="*/ 1144385 w 1148781"/>
                    <a:gd name="connsiteY5" fmla="*/ 4444 h 1148828"/>
                    <a:gd name="connsiteX6" fmla="*/ 1123196 w 1148781"/>
                    <a:gd name="connsiteY6" fmla="*/ 4390 h 114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8781" h="1148828">
                      <a:moveTo>
                        <a:pt x="1123196" y="4390"/>
                      </a:moveTo>
                      <a:lnTo>
                        <a:pt x="4397" y="1123243"/>
                      </a:lnTo>
                      <a:cubicBezTo>
                        <a:pt x="-1466" y="1129105"/>
                        <a:pt x="-1466" y="1138570"/>
                        <a:pt x="4397" y="1144432"/>
                      </a:cubicBezTo>
                      <a:cubicBezTo>
                        <a:pt x="10259" y="1150294"/>
                        <a:pt x="19724" y="1150294"/>
                        <a:pt x="25586" y="1144432"/>
                      </a:cubicBezTo>
                      <a:lnTo>
                        <a:pt x="1144385" y="25633"/>
                      </a:lnTo>
                      <a:cubicBezTo>
                        <a:pt x="1150247" y="19771"/>
                        <a:pt x="1150247" y="10306"/>
                        <a:pt x="1144385" y="4444"/>
                      </a:cubicBezTo>
                      <a:cubicBezTo>
                        <a:pt x="1138523" y="-1472"/>
                        <a:pt x="1129058" y="-1472"/>
                        <a:pt x="1123196" y="4390"/>
                      </a:cubicBezTo>
                    </a:path>
                  </a:pathLst>
                </a:custGeom>
                <a:grpFill/>
                <a:ln w="5377" cap="flat">
                  <a:noFill/>
                  <a:prstDash val="solid"/>
                  <a:miter/>
                </a:ln>
              </p:spPr>
              <p:txBody>
                <a:bodyPr rtlCol="0" anchor="ctr"/>
                <a:lstStyle/>
                <a:p>
                  <a:endParaRPr lang="en-IN" dirty="0"/>
                </a:p>
              </p:txBody>
            </p:sp>
            <p:sp>
              <p:nvSpPr>
                <p:cNvPr id="658" name="Freeform: Shape 657">
                  <a:extLst>
                    <a:ext uri="{FF2B5EF4-FFF2-40B4-BE49-F238E27FC236}">
                      <a16:creationId xmlns:a16="http://schemas.microsoft.com/office/drawing/2014/main" id="{6C376493-D4B1-4DF0-9AB8-1BF4A432EA1D}"/>
                    </a:ext>
                  </a:extLst>
                </p:cNvPr>
                <p:cNvSpPr/>
                <p:nvPr/>
              </p:nvSpPr>
              <p:spPr>
                <a:xfrm>
                  <a:off x="2462436" y="1323796"/>
                  <a:ext cx="874607" cy="874553"/>
                </a:xfrm>
                <a:custGeom>
                  <a:avLst/>
                  <a:gdLst>
                    <a:gd name="connsiteX0" fmla="*/ 849022 w 874607"/>
                    <a:gd name="connsiteY0" fmla="*/ 4397 h 874553"/>
                    <a:gd name="connsiteX1" fmla="*/ 4397 w 874607"/>
                    <a:gd name="connsiteY1" fmla="*/ 848968 h 874553"/>
                    <a:gd name="connsiteX2" fmla="*/ 4397 w 874607"/>
                    <a:gd name="connsiteY2" fmla="*/ 870157 h 874553"/>
                    <a:gd name="connsiteX3" fmla="*/ 25586 w 874607"/>
                    <a:gd name="connsiteY3" fmla="*/ 870157 h 874553"/>
                    <a:gd name="connsiteX4" fmla="*/ 870211 w 874607"/>
                    <a:gd name="connsiteY4" fmla="*/ 25586 h 874553"/>
                    <a:gd name="connsiteX5" fmla="*/ 870211 w 874607"/>
                    <a:gd name="connsiteY5" fmla="*/ 4397 h 874553"/>
                    <a:gd name="connsiteX6" fmla="*/ 849022 w 874607"/>
                    <a:gd name="connsiteY6" fmla="*/ 4397 h 87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4607" h="874553">
                      <a:moveTo>
                        <a:pt x="849022" y="4397"/>
                      </a:moveTo>
                      <a:lnTo>
                        <a:pt x="4397" y="848968"/>
                      </a:lnTo>
                      <a:cubicBezTo>
                        <a:pt x="-1466" y="854830"/>
                        <a:pt x="-1466" y="864295"/>
                        <a:pt x="4397" y="870157"/>
                      </a:cubicBezTo>
                      <a:cubicBezTo>
                        <a:pt x="10205" y="876020"/>
                        <a:pt x="19724" y="876020"/>
                        <a:pt x="25586" y="870157"/>
                      </a:cubicBezTo>
                      <a:lnTo>
                        <a:pt x="870211" y="25586"/>
                      </a:lnTo>
                      <a:cubicBezTo>
                        <a:pt x="876073" y="19724"/>
                        <a:pt x="876073" y="10259"/>
                        <a:pt x="870211" y="4397"/>
                      </a:cubicBezTo>
                      <a:cubicBezTo>
                        <a:pt x="864349" y="-1466"/>
                        <a:pt x="854884" y="-1466"/>
                        <a:pt x="849022" y="4397"/>
                      </a:cubicBezTo>
                    </a:path>
                  </a:pathLst>
                </a:custGeom>
                <a:grpFill/>
                <a:ln w="5377" cap="flat">
                  <a:noFill/>
                  <a:prstDash val="solid"/>
                  <a:miter/>
                </a:ln>
              </p:spPr>
              <p:txBody>
                <a:bodyPr rtlCol="0" anchor="ctr"/>
                <a:lstStyle/>
                <a:p>
                  <a:endParaRPr lang="en-IN" dirty="0"/>
                </a:p>
              </p:txBody>
            </p:sp>
            <p:sp>
              <p:nvSpPr>
                <p:cNvPr id="659" name="Freeform: Shape 658">
                  <a:extLst>
                    <a:ext uri="{FF2B5EF4-FFF2-40B4-BE49-F238E27FC236}">
                      <a16:creationId xmlns:a16="http://schemas.microsoft.com/office/drawing/2014/main" id="{CF4FE6A6-200B-4F1F-9219-80E176EC2AAE}"/>
                    </a:ext>
                  </a:extLst>
                </p:cNvPr>
                <p:cNvSpPr/>
                <p:nvPr/>
              </p:nvSpPr>
              <p:spPr>
                <a:xfrm>
                  <a:off x="2317712" y="1179019"/>
                  <a:ext cx="1030141" cy="1030141"/>
                </a:xfrm>
                <a:custGeom>
                  <a:avLst/>
                  <a:gdLst>
                    <a:gd name="connsiteX0" fmla="*/ 1004555 w 1030141"/>
                    <a:gd name="connsiteY0" fmla="*/ 4397 h 1030141"/>
                    <a:gd name="connsiteX1" fmla="*/ 4397 w 1030141"/>
                    <a:gd name="connsiteY1" fmla="*/ 1004555 h 1030141"/>
                    <a:gd name="connsiteX2" fmla="*/ 4397 w 1030141"/>
                    <a:gd name="connsiteY2" fmla="*/ 1025745 h 1030141"/>
                    <a:gd name="connsiteX3" fmla="*/ 25586 w 1030141"/>
                    <a:gd name="connsiteY3" fmla="*/ 1025745 h 1030141"/>
                    <a:gd name="connsiteX4" fmla="*/ 1025745 w 1030141"/>
                    <a:gd name="connsiteY4" fmla="*/ 25586 h 1030141"/>
                    <a:gd name="connsiteX5" fmla="*/ 1025745 w 1030141"/>
                    <a:gd name="connsiteY5" fmla="*/ 4397 h 1030141"/>
                    <a:gd name="connsiteX6" fmla="*/ 1004555 w 1030141"/>
                    <a:gd name="connsiteY6" fmla="*/ 4397 h 103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141" h="1030141">
                      <a:moveTo>
                        <a:pt x="1004555" y="4397"/>
                      </a:moveTo>
                      <a:lnTo>
                        <a:pt x="4397" y="1004555"/>
                      </a:lnTo>
                      <a:cubicBezTo>
                        <a:pt x="-1466" y="1010417"/>
                        <a:pt x="-1466" y="1019883"/>
                        <a:pt x="4397" y="1025745"/>
                      </a:cubicBezTo>
                      <a:cubicBezTo>
                        <a:pt x="10259" y="1031607"/>
                        <a:pt x="19724" y="1031607"/>
                        <a:pt x="25586" y="1025745"/>
                      </a:cubicBezTo>
                      <a:lnTo>
                        <a:pt x="1025745" y="25586"/>
                      </a:lnTo>
                      <a:cubicBezTo>
                        <a:pt x="1031607" y="19724"/>
                        <a:pt x="1031607" y="10259"/>
                        <a:pt x="1025745" y="4397"/>
                      </a:cubicBezTo>
                      <a:cubicBezTo>
                        <a:pt x="1019883" y="-1466"/>
                        <a:pt x="1010364" y="-1466"/>
                        <a:pt x="1004555" y="4397"/>
                      </a:cubicBezTo>
                    </a:path>
                  </a:pathLst>
                </a:custGeom>
                <a:grpFill/>
                <a:ln w="5377" cap="flat">
                  <a:noFill/>
                  <a:prstDash val="solid"/>
                  <a:miter/>
                </a:ln>
              </p:spPr>
              <p:txBody>
                <a:bodyPr rtlCol="0" anchor="ctr"/>
                <a:lstStyle/>
                <a:p>
                  <a:endParaRPr lang="en-IN" dirty="0"/>
                </a:p>
              </p:txBody>
            </p:sp>
            <p:sp>
              <p:nvSpPr>
                <p:cNvPr id="660" name="Freeform: Shape 659">
                  <a:extLst>
                    <a:ext uri="{FF2B5EF4-FFF2-40B4-BE49-F238E27FC236}">
                      <a16:creationId xmlns:a16="http://schemas.microsoft.com/office/drawing/2014/main" id="{7ED24FAE-46CE-4704-8C2C-14D06A58D456}"/>
                    </a:ext>
                  </a:extLst>
                </p:cNvPr>
                <p:cNvSpPr/>
                <p:nvPr/>
              </p:nvSpPr>
              <p:spPr>
                <a:xfrm>
                  <a:off x="1714078" y="575385"/>
                  <a:ext cx="1433496" cy="1433550"/>
                </a:xfrm>
                <a:custGeom>
                  <a:avLst/>
                  <a:gdLst>
                    <a:gd name="connsiteX0" fmla="*/ 1407910 w 1433496"/>
                    <a:gd name="connsiteY0" fmla="*/ 4397 h 1433550"/>
                    <a:gd name="connsiteX1" fmla="*/ 4397 w 1433496"/>
                    <a:gd name="connsiteY1" fmla="*/ 1407964 h 1433550"/>
                    <a:gd name="connsiteX2" fmla="*/ 4397 w 1433496"/>
                    <a:gd name="connsiteY2" fmla="*/ 1429154 h 1433550"/>
                    <a:gd name="connsiteX3" fmla="*/ 25586 w 1433496"/>
                    <a:gd name="connsiteY3" fmla="*/ 1429154 h 1433550"/>
                    <a:gd name="connsiteX4" fmla="*/ 1429100 w 1433496"/>
                    <a:gd name="connsiteY4" fmla="*/ 25586 h 1433550"/>
                    <a:gd name="connsiteX5" fmla="*/ 1429100 w 1433496"/>
                    <a:gd name="connsiteY5" fmla="*/ 4397 h 1433550"/>
                    <a:gd name="connsiteX6" fmla="*/ 1407910 w 1433496"/>
                    <a:gd name="connsiteY6" fmla="*/ 4397 h 14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3496" h="1433550">
                      <a:moveTo>
                        <a:pt x="1407910" y="4397"/>
                      </a:moveTo>
                      <a:lnTo>
                        <a:pt x="4397" y="1407964"/>
                      </a:lnTo>
                      <a:cubicBezTo>
                        <a:pt x="-1466" y="1413826"/>
                        <a:pt x="-1466" y="1423291"/>
                        <a:pt x="4397" y="1429154"/>
                      </a:cubicBezTo>
                      <a:cubicBezTo>
                        <a:pt x="10205" y="1435016"/>
                        <a:pt x="19724" y="1435016"/>
                        <a:pt x="25586" y="1429154"/>
                      </a:cubicBezTo>
                      <a:lnTo>
                        <a:pt x="1429100" y="25586"/>
                      </a:lnTo>
                      <a:cubicBezTo>
                        <a:pt x="1434962" y="19724"/>
                        <a:pt x="1434962" y="10259"/>
                        <a:pt x="1429100" y="4397"/>
                      </a:cubicBezTo>
                      <a:cubicBezTo>
                        <a:pt x="1423238" y="-1466"/>
                        <a:pt x="1413772" y="-1466"/>
                        <a:pt x="1407910" y="4397"/>
                      </a:cubicBezTo>
                    </a:path>
                  </a:pathLst>
                </a:custGeom>
                <a:grpFill/>
                <a:ln w="5377" cap="flat">
                  <a:noFill/>
                  <a:prstDash val="solid"/>
                  <a:miter/>
                </a:ln>
              </p:spPr>
              <p:txBody>
                <a:bodyPr rtlCol="0" anchor="ctr"/>
                <a:lstStyle/>
                <a:p>
                  <a:endParaRPr lang="en-IN" dirty="0"/>
                </a:p>
              </p:txBody>
            </p:sp>
            <p:sp>
              <p:nvSpPr>
                <p:cNvPr id="661" name="Freeform: Shape 660">
                  <a:extLst>
                    <a:ext uri="{FF2B5EF4-FFF2-40B4-BE49-F238E27FC236}">
                      <a16:creationId xmlns:a16="http://schemas.microsoft.com/office/drawing/2014/main" id="{FE8C0D17-D591-484B-B1C1-BAE3D6106A26}"/>
                    </a:ext>
                  </a:extLst>
                </p:cNvPr>
                <p:cNvSpPr/>
                <p:nvPr/>
              </p:nvSpPr>
              <p:spPr>
                <a:xfrm>
                  <a:off x="1640775" y="502082"/>
                  <a:ext cx="1446134" cy="1446188"/>
                </a:xfrm>
                <a:custGeom>
                  <a:avLst/>
                  <a:gdLst>
                    <a:gd name="connsiteX0" fmla="*/ 1420549 w 1446134"/>
                    <a:gd name="connsiteY0" fmla="*/ 4397 h 1446188"/>
                    <a:gd name="connsiteX1" fmla="*/ 4397 w 1446134"/>
                    <a:gd name="connsiteY1" fmla="*/ 1420602 h 1446188"/>
                    <a:gd name="connsiteX2" fmla="*/ 4397 w 1446134"/>
                    <a:gd name="connsiteY2" fmla="*/ 1441792 h 1446188"/>
                    <a:gd name="connsiteX3" fmla="*/ 25586 w 1446134"/>
                    <a:gd name="connsiteY3" fmla="*/ 1441792 h 1446188"/>
                    <a:gd name="connsiteX4" fmla="*/ 1441738 w 1446134"/>
                    <a:gd name="connsiteY4" fmla="*/ 25586 h 1446188"/>
                    <a:gd name="connsiteX5" fmla="*/ 1441738 w 1446134"/>
                    <a:gd name="connsiteY5" fmla="*/ 4397 h 1446188"/>
                    <a:gd name="connsiteX6" fmla="*/ 1420549 w 1446134"/>
                    <a:gd name="connsiteY6" fmla="*/ 4397 h 144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134" h="1446188">
                      <a:moveTo>
                        <a:pt x="1420549" y="4397"/>
                      </a:moveTo>
                      <a:lnTo>
                        <a:pt x="4397" y="1420602"/>
                      </a:lnTo>
                      <a:cubicBezTo>
                        <a:pt x="-1466" y="1426465"/>
                        <a:pt x="-1466" y="1435930"/>
                        <a:pt x="4397" y="1441792"/>
                      </a:cubicBezTo>
                      <a:cubicBezTo>
                        <a:pt x="10259" y="1447654"/>
                        <a:pt x="19724" y="1447654"/>
                        <a:pt x="25586" y="1441792"/>
                      </a:cubicBezTo>
                      <a:lnTo>
                        <a:pt x="1441738" y="25586"/>
                      </a:lnTo>
                      <a:cubicBezTo>
                        <a:pt x="1447600" y="19724"/>
                        <a:pt x="1447600" y="10259"/>
                        <a:pt x="1441738" y="4397"/>
                      </a:cubicBezTo>
                      <a:cubicBezTo>
                        <a:pt x="1435876" y="-1466"/>
                        <a:pt x="1426411" y="-1466"/>
                        <a:pt x="1420549" y="4397"/>
                      </a:cubicBezTo>
                    </a:path>
                  </a:pathLst>
                </a:custGeom>
                <a:grpFill/>
                <a:ln w="5377" cap="flat">
                  <a:noFill/>
                  <a:prstDash val="solid"/>
                  <a:miter/>
                </a:ln>
              </p:spPr>
              <p:txBody>
                <a:bodyPr rtlCol="0" anchor="ctr"/>
                <a:lstStyle/>
                <a:p>
                  <a:endParaRPr lang="en-IN" dirty="0"/>
                </a:p>
              </p:txBody>
            </p:sp>
            <p:sp>
              <p:nvSpPr>
                <p:cNvPr id="662" name="Freeform: Shape 661">
                  <a:extLst>
                    <a:ext uri="{FF2B5EF4-FFF2-40B4-BE49-F238E27FC236}">
                      <a16:creationId xmlns:a16="http://schemas.microsoft.com/office/drawing/2014/main" id="{BB898742-4F0A-4DA0-AD19-0F51A1D07325}"/>
                    </a:ext>
                  </a:extLst>
                </p:cNvPr>
                <p:cNvSpPr/>
                <p:nvPr/>
              </p:nvSpPr>
              <p:spPr>
                <a:xfrm>
                  <a:off x="1366386" y="227693"/>
                  <a:ext cx="655128" cy="655081"/>
                </a:xfrm>
                <a:custGeom>
                  <a:avLst/>
                  <a:gdLst>
                    <a:gd name="connsiteX0" fmla="*/ 25586 w 655128"/>
                    <a:gd name="connsiteY0" fmla="*/ 650679 h 655081"/>
                    <a:gd name="connsiteX1" fmla="*/ 650732 w 655128"/>
                    <a:gd name="connsiteY1" fmla="*/ 25586 h 655081"/>
                    <a:gd name="connsiteX2" fmla="*/ 650732 w 655128"/>
                    <a:gd name="connsiteY2" fmla="*/ 4397 h 655081"/>
                    <a:gd name="connsiteX3" fmla="*/ 629543 w 655128"/>
                    <a:gd name="connsiteY3" fmla="*/ 4397 h 655081"/>
                    <a:gd name="connsiteX4" fmla="*/ 4397 w 655128"/>
                    <a:gd name="connsiteY4" fmla="*/ 629543 h 655081"/>
                    <a:gd name="connsiteX5" fmla="*/ 4397 w 655128"/>
                    <a:gd name="connsiteY5" fmla="*/ 650732 h 655081"/>
                    <a:gd name="connsiteX6" fmla="*/ 25586 w 655128"/>
                    <a:gd name="connsiteY6" fmla="*/ 650679 h 655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128" h="655081">
                      <a:moveTo>
                        <a:pt x="25586" y="650679"/>
                      </a:moveTo>
                      <a:lnTo>
                        <a:pt x="650732" y="25586"/>
                      </a:lnTo>
                      <a:cubicBezTo>
                        <a:pt x="656594" y="19724"/>
                        <a:pt x="656594" y="10259"/>
                        <a:pt x="650732" y="4397"/>
                      </a:cubicBezTo>
                      <a:cubicBezTo>
                        <a:pt x="644870" y="-1466"/>
                        <a:pt x="635405" y="-1466"/>
                        <a:pt x="629543" y="4397"/>
                      </a:cubicBezTo>
                      <a:lnTo>
                        <a:pt x="4397" y="629543"/>
                      </a:lnTo>
                      <a:cubicBezTo>
                        <a:pt x="-1466" y="635405"/>
                        <a:pt x="-1466" y="644870"/>
                        <a:pt x="4397" y="650732"/>
                      </a:cubicBezTo>
                      <a:cubicBezTo>
                        <a:pt x="10259" y="656541"/>
                        <a:pt x="19724" y="656541"/>
                        <a:pt x="25586" y="650679"/>
                      </a:cubicBezTo>
                    </a:path>
                  </a:pathLst>
                </a:custGeom>
                <a:grpFill/>
                <a:ln w="5377" cap="flat">
                  <a:noFill/>
                  <a:prstDash val="solid"/>
                  <a:miter/>
                </a:ln>
              </p:spPr>
              <p:txBody>
                <a:bodyPr rtlCol="0" anchor="ctr"/>
                <a:lstStyle/>
                <a:p>
                  <a:endParaRPr lang="en-IN" dirty="0"/>
                </a:p>
              </p:txBody>
            </p:sp>
            <p:sp>
              <p:nvSpPr>
                <p:cNvPr id="663" name="Freeform: Shape 662">
                  <a:extLst>
                    <a:ext uri="{FF2B5EF4-FFF2-40B4-BE49-F238E27FC236}">
                      <a16:creationId xmlns:a16="http://schemas.microsoft.com/office/drawing/2014/main" id="{34AC4F24-5986-4C20-B5E6-5F6137ED4A0C}"/>
                    </a:ext>
                  </a:extLst>
                </p:cNvPr>
                <p:cNvSpPr/>
                <p:nvPr/>
              </p:nvSpPr>
              <p:spPr>
                <a:xfrm>
                  <a:off x="1523318" y="384571"/>
                  <a:ext cx="207297" cy="207351"/>
                </a:xfrm>
                <a:custGeom>
                  <a:avLst/>
                  <a:gdLst>
                    <a:gd name="connsiteX0" fmla="*/ 25532 w 207297"/>
                    <a:gd name="connsiteY0" fmla="*/ 202955 h 207351"/>
                    <a:gd name="connsiteX1" fmla="*/ 202901 w 207297"/>
                    <a:gd name="connsiteY1" fmla="*/ 25586 h 207351"/>
                    <a:gd name="connsiteX2" fmla="*/ 202901 w 207297"/>
                    <a:gd name="connsiteY2" fmla="*/ 4397 h 207351"/>
                    <a:gd name="connsiteX3" fmla="*/ 181711 w 207297"/>
                    <a:gd name="connsiteY3" fmla="*/ 4397 h 207351"/>
                    <a:gd name="connsiteX4" fmla="*/ 4397 w 207297"/>
                    <a:gd name="connsiteY4" fmla="*/ 181765 h 207351"/>
                    <a:gd name="connsiteX5" fmla="*/ 4397 w 207297"/>
                    <a:gd name="connsiteY5" fmla="*/ 202955 h 207351"/>
                    <a:gd name="connsiteX6" fmla="*/ 25532 w 207297"/>
                    <a:gd name="connsiteY6" fmla="*/ 202955 h 20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297" h="207351">
                      <a:moveTo>
                        <a:pt x="25532" y="202955"/>
                      </a:moveTo>
                      <a:lnTo>
                        <a:pt x="202901" y="25586"/>
                      </a:lnTo>
                      <a:cubicBezTo>
                        <a:pt x="208763" y="19724"/>
                        <a:pt x="208763" y="10259"/>
                        <a:pt x="202901" y="4397"/>
                      </a:cubicBezTo>
                      <a:cubicBezTo>
                        <a:pt x="197093" y="-1466"/>
                        <a:pt x="187574" y="-1466"/>
                        <a:pt x="181711" y="4397"/>
                      </a:cubicBezTo>
                      <a:lnTo>
                        <a:pt x="4397" y="181765"/>
                      </a:lnTo>
                      <a:cubicBezTo>
                        <a:pt x="-1466" y="187627"/>
                        <a:pt x="-1466" y="197093"/>
                        <a:pt x="4397" y="202955"/>
                      </a:cubicBezTo>
                      <a:cubicBezTo>
                        <a:pt x="10205" y="208817"/>
                        <a:pt x="19670" y="208817"/>
                        <a:pt x="25532" y="202955"/>
                      </a:cubicBezTo>
                    </a:path>
                  </a:pathLst>
                </a:custGeom>
                <a:grpFill/>
                <a:ln w="5377" cap="flat">
                  <a:noFill/>
                  <a:prstDash val="solid"/>
                  <a:miter/>
                </a:ln>
              </p:spPr>
              <p:txBody>
                <a:bodyPr rtlCol="0" anchor="ctr"/>
                <a:lstStyle/>
                <a:p>
                  <a:endParaRPr lang="en-IN" dirty="0"/>
                </a:p>
              </p:txBody>
            </p:sp>
            <p:sp>
              <p:nvSpPr>
                <p:cNvPr id="664" name="Freeform: Shape 663">
                  <a:extLst>
                    <a:ext uri="{FF2B5EF4-FFF2-40B4-BE49-F238E27FC236}">
                      <a16:creationId xmlns:a16="http://schemas.microsoft.com/office/drawing/2014/main" id="{A8038758-C9D1-4DA9-B79F-9ACF92A9CD22}"/>
                    </a:ext>
                  </a:extLst>
                </p:cNvPr>
                <p:cNvSpPr/>
                <p:nvPr/>
              </p:nvSpPr>
              <p:spPr>
                <a:xfrm>
                  <a:off x="1320512" y="181818"/>
                  <a:ext cx="1148781" cy="1148788"/>
                </a:xfrm>
                <a:custGeom>
                  <a:avLst/>
                  <a:gdLst>
                    <a:gd name="connsiteX0" fmla="*/ 25586 w 1148781"/>
                    <a:gd name="connsiteY0" fmla="*/ 1144385 h 1148788"/>
                    <a:gd name="connsiteX1" fmla="*/ 1144385 w 1148781"/>
                    <a:gd name="connsiteY1" fmla="*/ 25586 h 1148788"/>
                    <a:gd name="connsiteX2" fmla="*/ 1144385 w 1148781"/>
                    <a:gd name="connsiteY2" fmla="*/ 4397 h 1148788"/>
                    <a:gd name="connsiteX3" fmla="*/ 1123196 w 1148781"/>
                    <a:gd name="connsiteY3" fmla="*/ 4397 h 1148788"/>
                    <a:gd name="connsiteX4" fmla="*/ 4397 w 1148781"/>
                    <a:gd name="connsiteY4" fmla="*/ 1123249 h 1148788"/>
                    <a:gd name="connsiteX5" fmla="*/ 4397 w 1148781"/>
                    <a:gd name="connsiteY5" fmla="*/ 1144439 h 1148788"/>
                    <a:gd name="connsiteX6" fmla="*/ 25586 w 1148781"/>
                    <a:gd name="connsiteY6" fmla="*/ 1144385 h 114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8781" h="1148788">
                      <a:moveTo>
                        <a:pt x="25586" y="1144385"/>
                      </a:moveTo>
                      <a:lnTo>
                        <a:pt x="1144385" y="25586"/>
                      </a:lnTo>
                      <a:cubicBezTo>
                        <a:pt x="1150247" y="19724"/>
                        <a:pt x="1150247" y="10259"/>
                        <a:pt x="1144385" y="4397"/>
                      </a:cubicBezTo>
                      <a:cubicBezTo>
                        <a:pt x="1138523" y="-1466"/>
                        <a:pt x="1129058" y="-1466"/>
                        <a:pt x="1123196" y="4397"/>
                      </a:cubicBezTo>
                      <a:lnTo>
                        <a:pt x="4397" y="1123249"/>
                      </a:lnTo>
                      <a:cubicBezTo>
                        <a:pt x="-1466" y="1129111"/>
                        <a:pt x="-1466" y="1138577"/>
                        <a:pt x="4397" y="1144439"/>
                      </a:cubicBezTo>
                      <a:cubicBezTo>
                        <a:pt x="10205" y="1150247"/>
                        <a:pt x="19724" y="1150247"/>
                        <a:pt x="25586" y="1144385"/>
                      </a:cubicBezTo>
                    </a:path>
                  </a:pathLst>
                </a:custGeom>
                <a:grpFill/>
                <a:ln w="5377" cap="flat">
                  <a:noFill/>
                  <a:prstDash val="solid"/>
                  <a:miter/>
                </a:ln>
              </p:spPr>
              <p:txBody>
                <a:bodyPr rtlCol="0" anchor="ctr"/>
                <a:lstStyle/>
                <a:p>
                  <a:endParaRPr lang="en-IN" dirty="0"/>
                </a:p>
              </p:txBody>
            </p:sp>
            <p:sp>
              <p:nvSpPr>
                <p:cNvPr id="665" name="Freeform: Shape 664">
                  <a:extLst>
                    <a:ext uri="{FF2B5EF4-FFF2-40B4-BE49-F238E27FC236}">
                      <a16:creationId xmlns:a16="http://schemas.microsoft.com/office/drawing/2014/main" id="{ECEBC688-E32F-4746-AAE3-92E2449FA3D5}"/>
                    </a:ext>
                  </a:extLst>
                </p:cNvPr>
                <p:cNvSpPr/>
                <p:nvPr/>
              </p:nvSpPr>
              <p:spPr>
                <a:xfrm>
                  <a:off x="1312875" y="174181"/>
                  <a:ext cx="1030087" cy="1030101"/>
                </a:xfrm>
                <a:custGeom>
                  <a:avLst/>
                  <a:gdLst>
                    <a:gd name="connsiteX0" fmla="*/ 25532 w 1030087"/>
                    <a:gd name="connsiteY0" fmla="*/ 1025745 h 1030101"/>
                    <a:gd name="connsiteX1" fmla="*/ 1025691 w 1030087"/>
                    <a:gd name="connsiteY1" fmla="*/ 25586 h 1030101"/>
                    <a:gd name="connsiteX2" fmla="*/ 1025691 w 1030087"/>
                    <a:gd name="connsiteY2" fmla="*/ 4397 h 1030101"/>
                    <a:gd name="connsiteX3" fmla="*/ 1004502 w 1030087"/>
                    <a:gd name="connsiteY3" fmla="*/ 4397 h 1030101"/>
                    <a:gd name="connsiteX4" fmla="*/ 4397 w 1030087"/>
                    <a:gd name="connsiteY4" fmla="*/ 1004555 h 1030101"/>
                    <a:gd name="connsiteX5" fmla="*/ 4397 w 1030087"/>
                    <a:gd name="connsiteY5" fmla="*/ 1025745 h 1030101"/>
                    <a:gd name="connsiteX6" fmla="*/ 25532 w 1030087"/>
                    <a:gd name="connsiteY6" fmla="*/ 1025745 h 1030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87" h="1030101">
                      <a:moveTo>
                        <a:pt x="25532" y="1025745"/>
                      </a:moveTo>
                      <a:lnTo>
                        <a:pt x="1025691" y="25586"/>
                      </a:lnTo>
                      <a:cubicBezTo>
                        <a:pt x="1031553" y="19724"/>
                        <a:pt x="1031553" y="10259"/>
                        <a:pt x="1025691" y="4397"/>
                      </a:cubicBezTo>
                      <a:cubicBezTo>
                        <a:pt x="1019829" y="-1466"/>
                        <a:pt x="1010364" y="-1466"/>
                        <a:pt x="1004502" y="4397"/>
                      </a:cubicBezTo>
                      <a:lnTo>
                        <a:pt x="4397" y="1004555"/>
                      </a:lnTo>
                      <a:cubicBezTo>
                        <a:pt x="-1466" y="1010417"/>
                        <a:pt x="-1466" y="1019883"/>
                        <a:pt x="4397" y="1025745"/>
                      </a:cubicBezTo>
                      <a:cubicBezTo>
                        <a:pt x="10205" y="1031553"/>
                        <a:pt x="19670" y="1031553"/>
                        <a:pt x="25532" y="1025745"/>
                      </a:cubicBezTo>
                    </a:path>
                  </a:pathLst>
                </a:custGeom>
                <a:grpFill/>
                <a:ln w="5377" cap="flat">
                  <a:noFill/>
                  <a:prstDash val="solid"/>
                  <a:miter/>
                </a:ln>
              </p:spPr>
              <p:txBody>
                <a:bodyPr rtlCol="0" anchor="ctr"/>
                <a:lstStyle/>
                <a:p>
                  <a:endParaRPr lang="en-IN" dirty="0"/>
                </a:p>
              </p:txBody>
            </p:sp>
            <p:sp>
              <p:nvSpPr>
                <p:cNvPr id="666" name="Freeform: Shape 665">
                  <a:extLst>
                    <a:ext uri="{FF2B5EF4-FFF2-40B4-BE49-F238E27FC236}">
                      <a16:creationId xmlns:a16="http://schemas.microsoft.com/office/drawing/2014/main" id="{2FB55F1E-723B-49C6-9B33-823DE5F18ECF}"/>
                    </a:ext>
                  </a:extLst>
                </p:cNvPr>
                <p:cNvSpPr/>
                <p:nvPr/>
              </p:nvSpPr>
              <p:spPr>
                <a:xfrm>
                  <a:off x="1323631" y="184937"/>
                  <a:ext cx="874554" cy="874607"/>
                </a:xfrm>
                <a:custGeom>
                  <a:avLst/>
                  <a:gdLst>
                    <a:gd name="connsiteX0" fmla="*/ 25586 w 874554"/>
                    <a:gd name="connsiteY0" fmla="*/ 870211 h 874607"/>
                    <a:gd name="connsiteX1" fmla="*/ 870158 w 874554"/>
                    <a:gd name="connsiteY1" fmla="*/ 25586 h 874607"/>
                    <a:gd name="connsiteX2" fmla="*/ 870158 w 874554"/>
                    <a:gd name="connsiteY2" fmla="*/ 4397 h 874607"/>
                    <a:gd name="connsiteX3" fmla="*/ 848968 w 874554"/>
                    <a:gd name="connsiteY3" fmla="*/ 4397 h 874607"/>
                    <a:gd name="connsiteX4" fmla="*/ 4397 w 874554"/>
                    <a:gd name="connsiteY4" fmla="*/ 849022 h 874607"/>
                    <a:gd name="connsiteX5" fmla="*/ 4397 w 874554"/>
                    <a:gd name="connsiteY5" fmla="*/ 870211 h 874607"/>
                    <a:gd name="connsiteX6" fmla="*/ 25586 w 874554"/>
                    <a:gd name="connsiteY6" fmla="*/ 870211 h 874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4554" h="874607">
                      <a:moveTo>
                        <a:pt x="25586" y="870211"/>
                      </a:moveTo>
                      <a:lnTo>
                        <a:pt x="870158" y="25586"/>
                      </a:lnTo>
                      <a:cubicBezTo>
                        <a:pt x="876020" y="19724"/>
                        <a:pt x="876020" y="10259"/>
                        <a:pt x="870158" y="4397"/>
                      </a:cubicBezTo>
                      <a:cubicBezTo>
                        <a:pt x="864349" y="-1466"/>
                        <a:pt x="854830" y="-1466"/>
                        <a:pt x="848968" y="4397"/>
                      </a:cubicBezTo>
                      <a:lnTo>
                        <a:pt x="4397" y="849022"/>
                      </a:lnTo>
                      <a:cubicBezTo>
                        <a:pt x="-1466" y="854884"/>
                        <a:pt x="-1466" y="864349"/>
                        <a:pt x="4397" y="870211"/>
                      </a:cubicBezTo>
                      <a:cubicBezTo>
                        <a:pt x="10259" y="876073"/>
                        <a:pt x="19724" y="876073"/>
                        <a:pt x="25586" y="870211"/>
                      </a:cubicBezTo>
                    </a:path>
                  </a:pathLst>
                </a:custGeom>
                <a:grpFill/>
                <a:ln w="5377" cap="flat">
                  <a:noFill/>
                  <a:prstDash val="solid"/>
                  <a:miter/>
                </a:ln>
              </p:spPr>
              <p:txBody>
                <a:bodyPr rtlCol="0" anchor="ctr"/>
                <a:lstStyle/>
                <a:p>
                  <a:endParaRPr lang="en-IN" dirty="0"/>
                </a:p>
              </p:txBody>
            </p:sp>
            <p:sp>
              <p:nvSpPr>
                <p:cNvPr id="667" name="Freeform: Shape 666">
                  <a:extLst>
                    <a:ext uri="{FF2B5EF4-FFF2-40B4-BE49-F238E27FC236}">
                      <a16:creationId xmlns:a16="http://schemas.microsoft.com/office/drawing/2014/main" id="{9BAB6509-FB9C-47ED-A648-53E4D9C83701}"/>
                    </a:ext>
                  </a:extLst>
                </p:cNvPr>
                <p:cNvSpPr/>
                <p:nvPr/>
              </p:nvSpPr>
              <p:spPr>
                <a:xfrm>
                  <a:off x="1341163" y="202470"/>
                  <a:ext cx="1241445" cy="1241452"/>
                </a:xfrm>
                <a:custGeom>
                  <a:avLst/>
                  <a:gdLst>
                    <a:gd name="connsiteX0" fmla="*/ 25586 w 1241445"/>
                    <a:gd name="connsiteY0" fmla="*/ 1237049 h 1241452"/>
                    <a:gd name="connsiteX1" fmla="*/ 1237049 w 1241445"/>
                    <a:gd name="connsiteY1" fmla="*/ 25586 h 1241452"/>
                    <a:gd name="connsiteX2" fmla="*/ 1237049 w 1241445"/>
                    <a:gd name="connsiteY2" fmla="*/ 4397 h 1241452"/>
                    <a:gd name="connsiteX3" fmla="*/ 1215860 w 1241445"/>
                    <a:gd name="connsiteY3" fmla="*/ 4397 h 1241452"/>
                    <a:gd name="connsiteX4" fmla="*/ 4397 w 1241445"/>
                    <a:gd name="connsiteY4" fmla="*/ 1215913 h 1241452"/>
                    <a:gd name="connsiteX5" fmla="*/ 4397 w 1241445"/>
                    <a:gd name="connsiteY5" fmla="*/ 1237103 h 1241452"/>
                    <a:gd name="connsiteX6" fmla="*/ 25586 w 1241445"/>
                    <a:gd name="connsiteY6" fmla="*/ 1237049 h 124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445" h="1241452">
                      <a:moveTo>
                        <a:pt x="25586" y="1237049"/>
                      </a:moveTo>
                      <a:lnTo>
                        <a:pt x="1237049" y="25586"/>
                      </a:lnTo>
                      <a:cubicBezTo>
                        <a:pt x="1242911" y="19724"/>
                        <a:pt x="1242911" y="10259"/>
                        <a:pt x="1237049" y="4397"/>
                      </a:cubicBezTo>
                      <a:cubicBezTo>
                        <a:pt x="1231187" y="-1466"/>
                        <a:pt x="1221722" y="-1466"/>
                        <a:pt x="1215860" y="4397"/>
                      </a:cubicBezTo>
                      <a:lnTo>
                        <a:pt x="4397" y="1215913"/>
                      </a:lnTo>
                      <a:cubicBezTo>
                        <a:pt x="-1466" y="1221775"/>
                        <a:pt x="-1466" y="1231241"/>
                        <a:pt x="4397" y="1237103"/>
                      </a:cubicBezTo>
                      <a:cubicBezTo>
                        <a:pt x="10259" y="1242911"/>
                        <a:pt x="19724" y="1242911"/>
                        <a:pt x="25586" y="1237049"/>
                      </a:cubicBezTo>
                    </a:path>
                  </a:pathLst>
                </a:custGeom>
                <a:grpFill/>
                <a:ln w="5377" cap="flat">
                  <a:noFill/>
                  <a:prstDash val="solid"/>
                  <a:miter/>
                </a:ln>
              </p:spPr>
              <p:txBody>
                <a:bodyPr rtlCol="0" anchor="ctr"/>
                <a:lstStyle/>
                <a:p>
                  <a:endParaRPr lang="en-IN" dirty="0"/>
                </a:p>
              </p:txBody>
            </p:sp>
            <p:sp>
              <p:nvSpPr>
                <p:cNvPr id="668" name="Freeform: Shape 667">
                  <a:extLst>
                    <a:ext uri="{FF2B5EF4-FFF2-40B4-BE49-F238E27FC236}">
                      <a16:creationId xmlns:a16="http://schemas.microsoft.com/office/drawing/2014/main" id="{84519099-64F9-463E-84B6-17B72BBA4F4D}"/>
                    </a:ext>
                  </a:extLst>
                </p:cNvPr>
                <p:cNvSpPr/>
                <p:nvPr/>
              </p:nvSpPr>
              <p:spPr>
                <a:xfrm>
                  <a:off x="1573765" y="435071"/>
                  <a:ext cx="1446134" cy="1446148"/>
                </a:xfrm>
                <a:custGeom>
                  <a:avLst/>
                  <a:gdLst>
                    <a:gd name="connsiteX0" fmla="*/ 25586 w 1446134"/>
                    <a:gd name="connsiteY0" fmla="*/ 1441792 h 1446148"/>
                    <a:gd name="connsiteX1" fmla="*/ 1441738 w 1446134"/>
                    <a:gd name="connsiteY1" fmla="*/ 25586 h 1446148"/>
                    <a:gd name="connsiteX2" fmla="*/ 1441738 w 1446134"/>
                    <a:gd name="connsiteY2" fmla="*/ 4397 h 1446148"/>
                    <a:gd name="connsiteX3" fmla="*/ 1420549 w 1446134"/>
                    <a:gd name="connsiteY3" fmla="*/ 4397 h 1446148"/>
                    <a:gd name="connsiteX4" fmla="*/ 4397 w 1446134"/>
                    <a:gd name="connsiteY4" fmla="*/ 1420602 h 1446148"/>
                    <a:gd name="connsiteX5" fmla="*/ 4397 w 1446134"/>
                    <a:gd name="connsiteY5" fmla="*/ 1441792 h 1446148"/>
                    <a:gd name="connsiteX6" fmla="*/ 25586 w 1446134"/>
                    <a:gd name="connsiteY6" fmla="*/ 1441792 h 144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6134" h="1446148">
                      <a:moveTo>
                        <a:pt x="25586" y="1441792"/>
                      </a:moveTo>
                      <a:lnTo>
                        <a:pt x="1441738" y="25586"/>
                      </a:lnTo>
                      <a:cubicBezTo>
                        <a:pt x="1447600" y="19724"/>
                        <a:pt x="1447600" y="10259"/>
                        <a:pt x="1441738" y="4397"/>
                      </a:cubicBezTo>
                      <a:cubicBezTo>
                        <a:pt x="1435876" y="-1466"/>
                        <a:pt x="1426411" y="-1466"/>
                        <a:pt x="1420549" y="4397"/>
                      </a:cubicBezTo>
                      <a:lnTo>
                        <a:pt x="4397" y="1420602"/>
                      </a:lnTo>
                      <a:cubicBezTo>
                        <a:pt x="-1466" y="1426465"/>
                        <a:pt x="-1466" y="1435930"/>
                        <a:pt x="4397" y="1441792"/>
                      </a:cubicBezTo>
                      <a:cubicBezTo>
                        <a:pt x="10259" y="1447600"/>
                        <a:pt x="19724" y="1447600"/>
                        <a:pt x="25586" y="1441792"/>
                      </a:cubicBezTo>
                    </a:path>
                  </a:pathLst>
                </a:custGeom>
                <a:grpFill/>
                <a:ln w="5377" cap="flat">
                  <a:noFill/>
                  <a:prstDash val="solid"/>
                  <a:miter/>
                </a:ln>
              </p:spPr>
              <p:txBody>
                <a:bodyPr rtlCol="0" anchor="ctr"/>
                <a:lstStyle/>
                <a:p>
                  <a:endParaRPr lang="en-IN" dirty="0"/>
                </a:p>
              </p:txBody>
            </p:sp>
            <p:sp>
              <p:nvSpPr>
                <p:cNvPr id="669" name="Freeform: Shape 668">
                  <a:extLst>
                    <a:ext uri="{FF2B5EF4-FFF2-40B4-BE49-F238E27FC236}">
                      <a16:creationId xmlns:a16="http://schemas.microsoft.com/office/drawing/2014/main" id="{DD28BC27-E2C5-488D-8571-18B462DE4CCB}"/>
                    </a:ext>
                  </a:extLst>
                </p:cNvPr>
                <p:cNvSpPr/>
                <p:nvPr/>
              </p:nvSpPr>
              <p:spPr>
                <a:xfrm>
                  <a:off x="1513100" y="374406"/>
                  <a:ext cx="1433496" cy="1433509"/>
                </a:xfrm>
                <a:custGeom>
                  <a:avLst/>
                  <a:gdLst>
                    <a:gd name="connsiteX0" fmla="*/ 25586 w 1433496"/>
                    <a:gd name="connsiteY0" fmla="*/ 1429154 h 1433509"/>
                    <a:gd name="connsiteX1" fmla="*/ 1429100 w 1433496"/>
                    <a:gd name="connsiteY1" fmla="*/ 25586 h 1433509"/>
                    <a:gd name="connsiteX2" fmla="*/ 1429100 w 1433496"/>
                    <a:gd name="connsiteY2" fmla="*/ 4397 h 1433509"/>
                    <a:gd name="connsiteX3" fmla="*/ 1407910 w 1433496"/>
                    <a:gd name="connsiteY3" fmla="*/ 4397 h 1433509"/>
                    <a:gd name="connsiteX4" fmla="*/ 4397 w 1433496"/>
                    <a:gd name="connsiteY4" fmla="*/ 1407964 h 1433509"/>
                    <a:gd name="connsiteX5" fmla="*/ 4397 w 1433496"/>
                    <a:gd name="connsiteY5" fmla="*/ 1429154 h 1433509"/>
                    <a:gd name="connsiteX6" fmla="*/ 25586 w 1433496"/>
                    <a:gd name="connsiteY6" fmla="*/ 1429154 h 143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3496" h="1433509">
                      <a:moveTo>
                        <a:pt x="25586" y="1429154"/>
                      </a:moveTo>
                      <a:lnTo>
                        <a:pt x="1429100" y="25586"/>
                      </a:lnTo>
                      <a:cubicBezTo>
                        <a:pt x="1434962" y="19724"/>
                        <a:pt x="1434962" y="10259"/>
                        <a:pt x="1429100" y="4397"/>
                      </a:cubicBezTo>
                      <a:cubicBezTo>
                        <a:pt x="1423292" y="-1466"/>
                        <a:pt x="1413772" y="-1466"/>
                        <a:pt x="1407910" y="4397"/>
                      </a:cubicBezTo>
                      <a:lnTo>
                        <a:pt x="4397" y="1407964"/>
                      </a:lnTo>
                      <a:cubicBezTo>
                        <a:pt x="-1466" y="1413826"/>
                        <a:pt x="-1466" y="1423292"/>
                        <a:pt x="4397" y="1429154"/>
                      </a:cubicBezTo>
                      <a:cubicBezTo>
                        <a:pt x="10259" y="1434962"/>
                        <a:pt x="19724" y="1434962"/>
                        <a:pt x="25586" y="1429154"/>
                      </a:cubicBezTo>
                    </a:path>
                  </a:pathLst>
                </a:custGeom>
                <a:grpFill/>
                <a:ln w="5377" cap="flat">
                  <a:noFill/>
                  <a:prstDash val="solid"/>
                  <a:miter/>
                </a:ln>
              </p:spPr>
              <p:txBody>
                <a:bodyPr rtlCol="0" anchor="ctr"/>
                <a:lstStyle/>
                <a:p>
                  <a:endParaRPr lang="en-IN" dirty="0"/>
                </a:p>
              </p:txBody>
            </p:sp>
            <p:sp>
              <p:nvSpPr>
                <p:cNvPr id="670" name="Freeform: Shape 669">
                  <a:extLst>
                    <a:ext uri="{FF2B5EF4-FFF2-40B4-BE49-F238E27FC236}">
                      <a16:creationId xmlns:a16="http://schemas.microsoft.com/office/drawing/2014/main" id="{BF3B8120-4681-4738-A1FF-2E03B1535F59}"/>
                    </a:ext>
                  </a:extLst>
                </p:cNvPr>
                <p:cNvSpPr/>
                <p:nvPr/>
              </p:nvSpPr>
              <p:spPr>
                <a:xfrm>
                  <a:off x="1372141" y="233447"/>
                  <a:ext cx="1313457" cy="1313457"/>
                </a:xfrm>
                <a:custGeom>
                  <a:avLst/>
                  <a:gdLst>
                    <a:gd name="connsiteX0" fmla="*/ 25586 w 1313457"/>
                    <a:gd name="connsiteY0" fmla="*/ 1309061 h 1313457"/>
                    <a:gd name="connsiteX1" fmla="*/ 1309061 w 1313457"/>
                    <a:gd name="connsiteY1" fmla="*/ 25586 h 1313457"/>
                    <a:gd name="connsiteX2" fmla="*/ 1309061 w 1313457"/>
                    <a:gd name="connsiteY2" fmla="*/ 4397 h 1313457"/>
                    <a:gd name="connsiteX3" fmla="*/ 1287872 w 1313457"/>
                    <a:gd name="connsiteY3" fmla="*/ 4397 h 1313457"/>
                    <a:gd name="connsiteX4" fmla="*/ 4397 w 1313457"/>
                    <a:gd name="connsiteY4" fmla="*/ 1287872 h 1313457"/>
                    <a:gd name="connsiteX5" fmla="*/ 4397 w 1313457"/>
                    <a:gd name="connsiteY5" fmla="*/ 1309061 h 1313457"/>
                    <a:gd name="connsiteX6" fmla="*/ 25586 w 1313457"/>
                    <a:gd name="connsiteY6" fmla="*/ 1309061 h 131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457" h="1313457">
                      <a:moveTo>
                        <a:pt x="25586" y="1309061"/>
                      </a:moveTo>
                      <a:lnTo>
                        <a:pt x="1309061" y="25586"/>
                      </a:lnTo>
                      <a:cubicBezTo>
                        <a:pt x="1314924" y="19724"/>
                        <a:pt x="1314924" y="10259"/>
                        <a:pt x="1309061" y="4397"/>
                      </a:cubicBezTo>
                      <a:cubicBezTo>
                        <a:pt x="1303199" y="-1466"/>
                        <a:pt x="1293734" y="-1466"/>
                        <a:pt x="1287872" y="4397"/>
                      </a:cubicBezTo>
                      <a:lnTo>
                        <a:pt x="4397" y="1287872"/>
                      </a:lnTo>
                      <a:cubicBezTo>
                        <a:pt x="-1466" y="1293734"/>
                        <a:pt x="-1466" y="1303199"/>
                        <a:pt x="4397" y="1309061"/>
                      </a:cubicBezTo>
                      <a:cubicBezTo>
                        <a:pt x="10259" y="1314924"/>
                        <a:pt x="19724" y="1314924"/>
                        <a:pt x="25586" y="1309061"/>
                      </a:cubicBezTo>
                    </a:path>
                  </a:pathLst>
                </a:custGeom>
                <a:grpFill/>
                <a:ln w="5377" cap="flat">
                  <a:noFill/>
                  <a:prstDash val="solid"/>
                  <a:miter/>
                </a:ln>
              </p:spPr>
              <p:txBody>
                <a:bodyPr rtlCol="0" anchor="ctr"/>
                <a:lstStyle/>
                <a:p>
                  <a:endParaRPr lang="en-IN" dirty="0"/>
                </a:p>
              </p:txBody>
            </p:sp>
            <p:sp>
              <p:nvSpPr>
                <p:cNvPr id="671" name="Freeform: Shape 670">
                  <a:extLst>
                    <a:ext uri="{FF2B5EF4-FFF2-40B4-BE49-F238E27FC236}">
                      <a16:creationId xmlns:a16="http://schemas.microsoft.com/office/drawing/2014/main" id="{11E257C3-7D4E-4068-BBC0-86067C41B248}"/>
                    </a:ext>
                  </a:extLst>
                </p:cNvPr>
                <p:cNvSpPr/>
                <p:nvPr/>
              </p:nvSpPr>
              <p:spPr>
                <a:xfrm>
                  <a:off x="1458889" y="320249"/>
                  <a:ext cx="1407842" cy="1407842"/>
                </a:xfrm>
                <a:custGeom>
                  <a:avLst/>
                  <a:gdLst>
                    <a:gd name="connsiteX0" fmla="*/ 25586 w 1407842"/>
                    <a:gd name="connsiteY0" fmla="*/ 1403446 h 1407842"/>
                    <a:gd name="connsiteX1" fmla="*/ 1403446 w 1407842"/>
                    <a:gd name="connsiteY1" fmla="*/ 25586 h 1407842"/>
                    <a:gd name="connsiteX2" fmla="*/ 1403446 w 1407842"/>
                    <a:gd name="connsiteY2" fmla="*/ 4397 h 1407842"/>
                    <a:gd name="connsiteX3" fmla="*/ 1382257 w 1407842"/>
                    <a:gd name="connsiteY3" fmla="*/ 4397 h 1407842"/>
                    <a:gd name="connsiteX4" fmla="*/ 4397 w 1407842"/>
                    <a:gd name="connsiteY4" fmla="*/ 1382257 h 1407842"/>
                    <a:gd name="connsiteX5" fmla="*/ 4397 w 1407842"/>
                    <a:gd name="connsiteY5" fmla="*/ 1403446 h 1407842"/>
                    <a:gd name="connsiteX6" fmla="*/ 25586 w 1407842"/>
                    <a:gd name="connsiteY6" fmla="*/ 1403446 h 140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842" h="1407842">
                      <a:moveTo>
                        <a:pt x="25586" y="1403446"/>
                      </a:moveTo>
                      <a:lnTo>
                        <a:pt x="1403446" y="25586"/>
                      </a:lnTo>
                      <a:cubicBezTo>
                        <a:pt x="1409309" y="19724"/>
                        <a:pt x="1409309" y="10259"/>
                        <a:pt x="1403446" y="4397"/>
                      </a:cubicBezTo>
                      <a:cubicBezTo>
                        <a:pt x="1397638" y="-1466"/>
                        <a:pt x="1388119" y="-1466"/>
                        <a:pt x="1382257" y="4397"/>
                      </a:cubicBezTo>
                      <a:lnTo>
                        <a:pt x="4397" y="1382257"/>
                      </a:lnTo>
                      <a:cubicBezTo>
                        <a:pt x="-1466" y="1388119"/>
                        <a:pt x="-1466" y="1397584"/>
                        <a:pt x="4397" y="1403446"/>
                      </a:cubicBezTo>
                      <a:cubicBezTo>
                        <a:pt x="10259" y="1409308"/>
                        <a:pt x="19778" y="1409308"/>
                        <a:pt x="25586" y="1403446"/>
                      </a:cubicBezTo>
                    </a:path>
                  </a:pathLst>
                </a:custGeom>
                <a:grpFill/>
                <a:ln w="5377" cap="flat">
                  <a:noFill/>
                  <a:prstDash val="solid"/>
                  <a:miter/>
                </a:ln>
              </p:spPr>
              <p:txBody>
                <a:bodyPr rtlCol="0" anchor="ctr"/>
                <a:lstStyle/>
                <a:p>
                  <a:endParaRPr lang="en-IN" dirty="0"/>
                </a:p>
              </p:txBody>
            </p:sp>
            <p:sp>
              <p:nvSpPr>
                <p:cNvPr id="672" name="Freeform: Shape 671">
                  <a:extLst>
                    <a:ext uri="{FF2B5EF4-FFF2-40B4-BE49-F238E27FC236}">
                      <a16:creationId xmlns:a16="http://schemas.microsoft.com/office/drawing/2014/main" id="{20B6DD48-4FFA-4628-BA48-D2A9848649EB}"/>
                    </a:ext>
                  </a:extLst>
                </p:cNvPr>
                <p:cNvSpPr/>
                <p:nvPr/>
              </p:nvSpPr>
              <p:spPr>
                <a:xfrm>
                  <a:off x="1411724" y="273030"/>
                  <a:ext cx="1368273" cy="1368314"/>
                </a:xfrm>
                <a:custGeom>
                  <a:avLst/>
                  <a:gdLst>
                    <a:gd name="connsiteX0" fmla="*/ 25586 w 1368273"/>
                    <a:gd name="connsiteY0" fmla="*/ 1363918 h 1368314"/>
                    <a:gd name="connsiteX1" fmla="*/ 1363918 w 1368273"/>
                    <a:gd name="connsiteY1" fmla="*/ 25586 h 1368314"/>
                    <a:gd name="connsiteX2" fmla="*/ 1363918 w 1368273"/>
                    <a:gd name="connsiteY2" fmla="*/ 4397 h 1368314"/>
                    <a:gd name="connsiteX3" fmla="*/ 1342728 w 1368273"/>
                    <a:gd name="connsiteY3" fmla="*/ 4397 h 1368314"/>
                    <a:gd name="connsiteX4" fmla="*/ 4397 w 1368273"/>
                    <a:gd name="connsiteY4" fmla="*/ 1342728 h 1368314"/>
                    <a:gd name="connsiteX5" fmla="*/ 4397 w 1368273"/>
                    <a:gd name="connsiteY5" fmla="*/ 1363918 h 1368314"/>
                    <a:gd name="connsiteX6" fmla="*/ 25586 w 1368273"/>
                    <a:gd name="connsiteY6" fmla="*/ 1363918 h 1368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8273" h="1368314">
                      <a:moveTo>
                        <a:pt x="25586" y="1363918"/>
                      </a:moveTo>
                      <a:lnTo>
                        <a:pt x="1363918" y="25586"/>
                      </a:lnTo>
                      <a:cubicBezTo>
                        <a:pt x="1369726" y="19724"/>
                        <a:pt x="1369726" y="10259"/>
                        <a:pt x="1363918" y="4397"/>
                      </a:cubicBezTo>
                      <a:cubicBezTo>
                        <a:pt x="1358056" y="-1466"/>
                        <a:pt x="1348590" y="-1466"/>
                        <a:pt x="1342728" y="4397"/>
                      </a:cubicBezTo>
                      <a:lnTo>
                        <a:pt x="4397" y="1342728"/>
                      </a:lnTo>
                      <a:cubicBezTo>
                        <a:pt x="-1466" y="1348590"/>
                        <a:pt x="-1466" y="1358056"/>
                        <a:pt x="4397" y="1363918"/>
                      </a:cubicBezTo>
                      <a:cubicBezTo>
                        <a:pt x="10259" y="1369780"/>
                        <a:pt x="19724" y="1369780"/>
                        <a:pt x="25586" y="1363918"/>
                      </a:cubicBezTo>
                    </a:path>
                  </a:pathLst>
                </a:custGeom>
                <a:grpFill/>
                <a:ln w="5377" cap="flat">
                  <a:noFill/>
                  <a:prstDash val="solid"/>
                  <a:miter/>
                </a:ln>
              </p:spPr>
              <p:txBody>
                <a:bodyPr rtlCol="0" anchor="ctr"/>
                <a:lstStyle/>
                <a:p>
                  <a:endParaRPr lang="en-IN" dirty="0"/>
                </a:p>
              </p:txBody>
            </p:sp>
          </p:grpSp>
          <p:grpSp>
            <p:nvGrpSpPr>
              <p:cNvPr id="606" name="Graphic 6">
                <a:extLst>
                  <a:ext uri="{FF2B5EF4-FFF2-40B4-BE49-F238E27FC236}">
                    <a16:creationId xmlns:a16="http://schemas.microsoft.com/office/drawing/2014/main" id="{BC1ED724-D6C6-4D8D-ADC5-2AA8667AF13A}"/>
                  </a:ext>
                </a:extLst>
              </p:cNvPr>
              <p:cNvGrpSpPr/>
              <p:nvPr/>
            </p:nvGrpSpPr>
            <p:grpSpPr>
              <a:xfrm>
                <a:off x="-9030239" y="1802989"/>
                <a:ext cx="823928" cy="51780"/>
                <a:chOff x="1163719" y="2982552"/>
                <a:chExt cx="926399" cy="58220"/>
              </a:xfrm>
              <a:solidFill>
                <a:srgbClr val="26BCEA"/>
              </a:solidFill>
            </p:grpSpPr>
            <p:sp>
              <p:nvSpPr>
                <p:cNvPr id="645" name="Freeform: Shape 644">
                  <a:extLst>
                    <a:ext uri="{FF2B5EF4-FFF2-40B4-BE49-F238E27FC236}">
                      <a16:creationId xmlns:a16="http://schemas.microsoft.com/office/drawing/2014/main" id="{97340EB5-C353-4426-806D-D8C5579B4DE8}"/>
                    </a:ext>
                  </a:extLst>
                </p:cNvPr>
                <p:cNvSpPr/>
                <p:nvPr/>
              </p:nvSpPr>
              <p:spPr>
                <a:xfrm>
                  <a:off x="2031898"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46" name="Freeform: Shape 645">
                  <a:extLst>
                    <a:ext uri="{FF2B5EF4-FFF2-40B4-BE49-F238E27FC236}">
                      <a16:creationId xmlns:a16="http://schemas.microsoft.com/office/drawing/2014/main" id="{2F4E7183-5A30-400B-8089-95DF6A0F3D62}"/>
                    </a:ext>
                  </a:extLst>
                </p:cNvPr>
                <p:cNvSpPr/>
                <p:nvPr/>
              </p:nvSpPr>
              <p:spPr>
                <a:xfrm>
                  <a:off x="1869927"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647" name="Freeform: Shape 646">
                  <a:extLst>
                    <a:ext uri="{FF2B5EF4-FFF2-40B4-BE49-F238E27FC236}">
                      <a16:creationId xmlns:a16="http://schemas.microsoft.com/office/drawing/2014/main" id="{75D10E44-AFA8-4176-BEB8-36F4C12B19B3}"/>
                    </a:ext>
                  </a:extLst>
                </p:cNvPr>
                <p:cNvSpPr/>
                <p:nvPr/>
              </p:nvSpPr>
              <p:spPr>
                <a:xfrm>
                  <a:off x="1707904"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48" name="Freeform: Shape 647">
                  <a:extLst>
                    <a:ext uri="{FF2B5EF4-FFF2-40B4-BE49-F238E27FC236}">
                      <a16:creationId xmlns:a16="http://schemas.microsoft.com/office/drawing/2014/main" id="{30F65D05-88F9-4165-9631-26F3A0965235}"/>
                    </a:ext>
                  </a:extLst>
                </p:cNvPr>
                <p:cNvSpPr/>
                <p:nvPr/>
              </p:nvSpPr>
              <p:spPr>
                <a:xfrm>
                  <a:off x="1528270"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49" name="Freeform: Shape 648">
                  <a:extLst>
                    <a:ext uri="{FF2B5EF4-FFF2-40B4-BE49-F238E27FC236}">
                      <a16:creationId xmlns:a16="http://schemas.microsoft.com/office/drawing/2014/main" id="{9E2C0F60-BBAD-460F-AF87-AF7CB63AE4E2}"/>
                    </a:ext>
                  </a:extLst>
                </p:cNvPr>
                <p:cNvSpPr/>
                <p:nvPr/>
              </p:nvSpPr>
              <p:spPr>
                <a:xfrm>
                  <a:off x="1340711"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650" name="Freeform: Shape 649">
                  <a:extLst>
                    <a:ext uri="{FF2B5EF4-FFF2-40B4-BE49-F238E27FC236}">
                      <a16:creationId xmlns:a16="http://schemas.microsoft.com/office/drawing/2014/main" id="{628A587A-7FB1-4A4F-A2EB-14E54F1139FB}"/>
                    </a:ext>
                  </a:extLst>
                </p:cNvPr>
                <p:cNvSpPr/>
                <p:nvPr/>
              </p:nvSpPr>
              <p:spPr>
                <a:xfrm>
                  <a:off x="1163719"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607" name="Graphic 6">
                <a:extLst>
                  <a:ext uri="{FF2B5EF4-FFF2-40B4-BE49-F238E27FC236}">
                    <a16:creationId xmlns:a16="http://schemas.microsoft.com/office/drawing/2014/main" id="{B14B8F0C-CFCC-44FD-B206-FA3BE7354EB3}"/>
                  </a:ext>
                </a:extLst>
              </p:cNvPr>
              <p:cNvGrpSpPr/>
              <p:nvPr/>
            </p:nvGrpSpPr>
            <p:grpSpPr>
              <a:xfrm>
                <a:off x="-9030239" y="1962523"/>
                <a:ext cx="823928" cy="51780"/>
                <a:chOff x="1163719" y="3161927"/>
                <a:chExt cx="926399" cy="58220"/>
              </a:xfrm>
              <a:solidFill>
                <a:srgbClr val="26BCEA"/>
              </a:solidFill>
            </p:grpSpPr>
            <p:sp>
              <p:nvSpPr>
                <p:cNvPr id="639" name="Freeform: Shape 638">
                  <a:extLst>
                    <a:ext uri="{FF2B5EF4-FFF2-40B4-BE49-F238E27FC236}">
                      <a16:creationId xmlns:a16="http://schemas.microsoft.com/office/drawing/2014/main" id="{497726AA-B7AE-4EC8-AAD1-547E892202AC}"/>
                    </a:ext>
                  </a:extLst>
                </p:cNvPr>
                <p:cNvSpPr/>
                <p:nvPr/>
              </p:nvSpPr>
              <p:spPr>
                <a:xfrm>
                  <a:off x="2031898"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40" name="Freeform: Shape 639">
                  <a:extLst>
                    <a:ext uri="{FF2B5EF4-FFF2-40B4-BE49-F238E27FC236}">
                      <a16:creationId xmlns:a16="http://schemas.microsoft.com/office/drawing/2014/main" id="{323F0579-C863-44AD-B7E7-282A44949FE3}"/>
                    </a:ext>
                  </a:extLst>
                </p:cNvPr>
                <p:cNvSpPr/>
                <p:nvPr/>
              </p:nvSpPr>
              <p:spPr>
                <a:xfrm>
                  <a:off x="1869927"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641" name="Freeform: Shape 640">
                  <a:extLst>
                    <a:ext uri="{FF2B5EF4-FFF2-40B4-BE49-F238E27FC236}">
                      <a16:creationId xmlns:a16="http://schemas.microsoft.com/office/drawing/2014/main" id="{CFF226C6-1F78-4E26-B3B1-E25E2F82A322}"/>
                    </a:ext>
                  </a:extLst>
                </p:cNvPr>
                <p:cNvSpPr/>
                <p:nvPr/>
              </p:nvSpPr>
              <p:spPr>
                <a:xfrm>
                  <a:off x="1707904"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42" name="Freeform: Shape 641">
                  <a:extLst>
                    <a:ext uri="{FF2B5EF4-FFF2-40B4-BE49-F238E27FC236}">
                      <a16:creationId xmlns:a16="http://schemas.microsoft.com/office/drawing/2014/main" id="{BD007CCC-1073-4AEC-8F26-6AA2BF5B1BE5}"/>
                    </a:ext>
                  </a:extLst>
                </p:cNvPr>
                <p:cNvSpPr/>
                <p:nvPr/>
              </p:nvSpPr>
              <p:spPr>
                <a:xfrm>
                  <a:off x="1528270"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43" name="Freeform: Shape 642">
                  <a:extLst>
                    <a:ext uri="{FF2B5EF4-FFF2-40B4-BE49-F238E27FC236}">
                      <a16:creationId xmlns:a16="http://schemas.microsoft.com/office/drawing/2014/main" id="{C3692E4C-6DFC-4399-A0B5-879BDF1229A2}"/>
                    </a:ext>
                  </a:extLst>
                </p:cNvPr>
                <p:cNvSpPr/>
                <p:nvPr/>
              </p:nvSpPr>
              <p:spPr>
                <a:xfrm>
                  <a:off x="1340711"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644" name="Freeform: Shape 643">
                  <a:extLst>
                    <a:ext uri="{FF2B5EF4-FFF2-40B4-BE49-F238E27FC236}">
                      <a16:creationId xmlns:a16="http://schemas.microsoft.com/office/drawing/2014/main" id="{C12FC3C2-220B-434A-8F0F-8782EA30F7EE}"/>
                    </a:ext>
                  </a:extLst>
                </p:cNvPr>
                <p:cNvSpPr/>
                <p:nvPr/>
              </p:nvSpPr>
              <p:spPr>
                <a:xfrm>
                  <a:off x="1163719"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608" name="Graphic 6">
                <a:extLst>
                  <a:ext uri="{FF2B5EF4-FFF2-40B4-BE49-F238E27FC236}">
                    <a16:creationId xmlns:a16="http://schemas.microsoft.com/office/drawing/2014/main" id="{B58D9A24-1513-40B3-BDE0-ADA017268037}"/>
                  </a:ext>
                </a:extLst>
              </p:cNvPr>
              <p:cNvGrpSpPr/>
              <p:nvPr/>
            </p:nvGrpSpPr>
            <p:grpSpPr>
              <a:xfrm>
                <a:off x="-9030239" y="2122103"/>
                <a:ext cx="823928" cy="51780"/>
                <a:chOff x="1163719" y="3341354"/>
                <a:chExt cx="926399" cy="58220"/>
              </a:xfrm>
              <a:solidFill>
                <a:srgbClr val="26BCEA"/>
              </a:solidFill>
            </p:grpSpPr>
            <p:sp>
              <p:nvSpPr>
                <p:cNvPr id="633" name="Freeform: Shape 632">
                  <a:extLst>
                    <a:ext uri="{FF2B5EF4-FFF2-40B4-BE49-F238E27FC236}">
                      <a16:creationId xmlns:a16="http://schemas.microsoft.com/office/drawing/2014/main" id="{A9573CAA-84C8-4EBD-B881-9CBF01513480}"/>
                    </a:ext>
                  </a:extLst>
                </p:cNvPr>
                <p:cNvSpPr/>
                <p:nvPr/>
              </p:nvSpPr>
              <p:spPr>
                <a:xfrm>
                  <a:off x="2031898"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34" name="Freeform: Shape 633">
                  <a:extLst>
                    <a:ext uri="{FF2B5EF4-FFF2-40B4-BE49-F238E27FC236}">
                      <a16:creationId xmlns:a16="http://schemas.microsoft.com/office/drawing/2014/main" id="{41D801F8-D466-4DF9-BD50-E52C6B38B4C8}"/>
                    </a:ext>
                  </a:extLst>
                </p:cNvPr>
                <p:cNvSpPr/>
                <p:nvPr/>
              </p:nvSpPr>
              <p:spPr>
                <a:xfrm>
                  <a:off x="1869927"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635" name="Freeform: Shape 634">
                  <a:extLst>
                    <a:ext uri="{FF2B5EF4-FFF2-40B4-BE49-F238E27FC236}">
                      <a16:creationId xmlns:a16="http://schemas.microsoft.com/office/drawing/2014/main" id="{18F53E43-6755-45E5-95DE-EF7BD25AFF78}"/>
                    </a:ext>
                  </a:extLst>
                </p:cNvPr>
                <p:cNvSpPr/>
                <p:nvPr/>
              </p:nvSpPr>
              <p:spPr>
                <a:xfrm>
                  <a:off x="1707904"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36" name="Freeform: Shape 635">
                  <a:extLst>
                    <a:ext uri="{FF2B5EF4-FFF2-40B4-BE49-F238E27FC236}">
                      <a16:creationId xmlns:a16="http://schemas.microsoft.com/office/drawing/2014/main" id="{0DE05399-1442-4359-932A-3FBC35BDC34F}"/>
                    </a:ext>
                  </a:extLst>
                </p:cNvPr>
                <p:cNvSpPr/>
                <p:nvPr/>
              </p:nvSpPr>
              <p:spPr>
                <a:xfrm>
                  <a:off x="1528270"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37" name="Freeform: Shape 636">
                  <a:extLst>
                    <a:ext uri="{FF2B5EF4-FFF2-40B4-BE49-F238E27FC236}">
                      <a16:creationId xmlns:a16="http://schemas.microsoft.com/office/drawing/2014/main" id="{95A67AEA-694A-4979-9259-5481E3CE82FF}"/>
                    </a:ext>
                  </a:extLst>
                </p:cNvPr>
                <p:cNvSpPr/>
                <p:nvPr/>
              </p:nvSpPr>
              <p:spPr>
                <a:xfrm>
                  <a:off x="1340711"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638" name="Freeform: Shape 637">
                  <a:extLst>
                    <a:ext uri="{FF2B5EF4-FFF2-40B4-BE49-F238E27FC236}">
                      <a16:creationId xmlns:a16="http://schemas.microsoft.com/office/drawing/2014/main" id="{62878615-9E72-4F68-94EC-0BD1D84837B7}"/>
                    </a:ext>
                  </a:extLst>
                </p:cNvPr>
                <p:cNvSpPr/>
                <p:nvPr/>
              </p:nvSpPr>
              <p:spPr>
                <a:xfrm>
                  <a:off x="1163719"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609" name="Graphic 6">
                <a:extLst>
                  <a:ext uri="{FF2B5EF4-FFF2-40B4-BE49-F238E27FC236}">
                    <a16:creationId xmlns:a16="http://schemas.microsoft.com/office/drawing/2014/main" id="{F869FBD4-E017-4CDC-8E99-69B3384DD15B}"/>
                  </a:ext>
                </a:extLst>
              </p:cNvPr>
              <p:cNvGrpSpPr/>
              <p:nvPr/>
            </p:nvGrpSpPr>
            <p:grpSpPr>
              <a:xfrm>
                <a:off x="-9030239" y="2281683"/>
                <a:ext cx="823928" cy="51780"/>
                <a:chOff x="1163719" y="3520781"/>
                <a:chExt cx="926399" cy="58220"/>
              </a:xfrm>
              <a:solidFill>
                <a:srgbClr val="26BCEA"/>
              </a:solidFill>
            </p:grpSpPr>
            <p:sp>
              <p:nvSpPr>
                <p:cNvPr id="627" name="Freeform: Shape 626">
                  <a:extLst>
                    <a:ext uri="{FF2B5EF4-FFF2-40B4-BE49-F238E27FC236}">
                      <a16:creationId xmlns:a16="http://schemas.microsoft.com/office/drawing/2014/main" id="{C53CB83A-727B-4793-AAED-9F424FFE08C1}"/>
                    </a:ext>
                  </a:extLst>
                </p:cNvPr>
                <p:cNvSpPr/>
                <p:nvPr/>
              </p:nvSpPr>
              <p:spPr>
                <a:xfrm>
                  <a:off x="2031898"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28" name="Freeform: Shape 627">
                  <a:extLst>
                    <a:ext uri="{FF2B5EF4-FFF2-40B4-BE49-F238E27FC236}">
                      <a16:creationId xmlns:a16="http://schemas.microsoft.com/office/drawing/2014/main" id="{BF94FFE1-AB6B-48F5-B93B-76527C2DBE2E}"/>
                    </a:ext>
                  </a:extLst>
                </p:cNvPr>
                <p:cNvSpPr/>
                <p:nvPr/>
              </p:nvSpPr>
              <p:spPr>
                <a:xfrm>
                  <a:off x="1869927"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629" name="Freeform: Shape 628">
                  <a:extLst>
                    <a:ext uri="{FF2B5EF4-FFF2-40B4-BE49-F238E27FC236}">
                      <a16:creationId xmlns:a16="http://schemas.microsoft.com/office/drawing/2014/main" id="{3EC52C5A-B165-4C68-BDDA-E67E016D4C27}"/>
                    </a:ext>
                  </a:extLst>
                </p:cNvPr>
                <p:cNvSpPr/>
                <p:nvPr/>
              </p:nvSpPr>
              <p:spPr>
                <a:xfrm>
                  <a:off x="1707904"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30" name="Freeform: Shape 629">
                  <a:extLst>
                    <a:ext uri="{FF2B5EF4-FFF2-40B4-BE49-F238E27FC236}">
                      <a16:creationId xmlns:a16="http://schemas.microsoft.com/office/drawing/2014/main" id="{25D002D0-0168-4083-8AC8-859BB025C6EC}"/>
                    </a:ext>
                  </a:extLst>
                </p:cNvPr>
                <p:cNvSpPr/>
                <p:nvPr/>
              </p:nvSpPr>
              <p:spPr>
                <a:xfrm>
                  <a:off x="1528270"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31" name="Freeform: Shape 630">
                  <a:extLst>
                    <a:ext uri="{FF2B5EF4-FFF2-40B4-BE49-F238E27FC236}">
                      <a16:creationId xmlns:a16="http://schemas.microsoft.com/office/drawing/2014/main" id="{167E246F-9B66-4341-9FBC-56DAE91E1F88}"/>
                    </a:ext>
                  </a:extLst>
                </p:cNvPr>
                <p:cNvSpPr/>
                <p:nvPr/>
              </p:nvSpPr>
              <p:spPr>
                <a:xfrm>
                  <a:off x="1340711"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632" name="Freeform: Shape 631">
                  <a:extLst>
                    <a:ext uri="{FF2B5EF4-FFF2-40B4-BE49-F238E27FC236}">
                      <a16:creationId xmlns:a16="http://schemas.microsoft.com/office/drawing/2014/main" id="{673C0083-DE8C-4B30-9D96-F8E2395FF547}"/>
                    </a:ext>
                  </a:extLst>
                </p:cNvPr>
                <p:cNvSpPr/>
                <p:nvPr/>
              </p:nvSpPr>
              <p:spPr>
                <a:xfrm>
                  <a:off x="1163719"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610" name="Graphic 6">
                <a:extLst>
                  <a:ext uri="{FF2B5EF4-FFF2-40B4-BE49-F238E27FC236}">
                    <a16:creationId xmlns:a16="http://schemas.microsoft.com/office/drawing/2014/main" id="{B28B6271-84EE-43E6-A361-726DC11CFC3F}"/>
                  </a:ext>
                </a:extLst>
              </p:cNvPr>
              <p:cNvGrpSpPr/>
              <p:nvPr/>
            </p:nvGrpSpPr>
            <p:grpSpPr>
              <a:xfrm>
                <a:off x="-9030239" y="2441264"/>
                <a:ext cx="823928" cy="51780"/>
                <a:chOff x="1163719" y="3700208"/>
                <a:chExt cx="926399" cy="58220"/>
              </a:xfrm>
              <a:solidFill>
                <a:srgbClr val="26BCEA"/>
              </a:solidFill>
            </p:grpSpPr>
            <p:sp>
              <p:nvSpPr>
                <p:cNvPr id="621" name="Freeform: Shape 620">
                  <a:extLst>
                    <a:ext uri="{FF2B5EF4-FFF2-40B4-BE49-F238E27FC236}">
                      <a16:creationId xmlns:a16="http://schemas.microsoft.com/office/drawing/2014/main" id="{A83D13A0-94B9-4D50-A6AF-37E6B9630D0F}"/>
                    </a:ext>
                  </a:extLst>
                </p:cNvPr>
                <p:cNvSpPr/>
                <p:nvPr/>
              </p:nvSpPr>
              <p:spPr>
                <a:xfrm>
                  <a:off x="2031898"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22" name="Freeform: Shape 621">
                  <a:extLst>
                    <a:ext uri="{FF2B5EF4-FFF2-40B4-BE49-F238E27FC236}">
                      <a16:creationId xmlns:a16="http://schemas.microsoft.com/office/drawing/2014/main" id="{A4459951-C2BF-4858-B1EA-323C1F4BB836}"/>
                    </a:ext>
                  </a:extLst>
                </p:cNvPr>
                <p:cNvSpPr/>
                <p:nvPr/>
              </p:nvSpPr>
              <p:spPr>
                <a:xfrm>
                  <a:off x="1869927"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623" name="Freeform: Shape 622">
                  <a:extLst>
                    <a:ext uri="{FF2B5EF4-FFF2-40B4-BE49-F238E27FC236}">
                      <a16:creationId xmlns:a16="http://schemas.microsoft.com/office/drawing/2014/main" id="{CCFC45B0-8345-4279-A699-A463DB85F6D2}"/>
                    </a:ext>
                  </a:extLst>
                </p:cNvPr>
                <p:cNvSpPr/>
                <p:nvPr/>
              </p:nvSpPr>
              <p:spPr>
                <a:xfrm>
                  <a:off x="1707904"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24" name="Freeform: Shape 623">
                  <a:extLst>
                    <a:ext uri="{FF2B5EF4-FFF2-40B4-BE49-F238E27FC236}">
                      <a16:creationId xmlns:a16="http://schemas.microsoft.com/office/drawing/2014/main" id="{B95F23A4-261A-4384-967C-EC39D4C5A4B4}"/>
                    </a:ext>
                  </a:extLst>
                </p:cNvPr>
                <p:cNvSpPr/>
                <p:nvPr/>
              </p:nvSpPr>
              <p:spPr>
                <a:xfrm>
                  <a:off x="1528270"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25" name="Freeform: Shape 624">
                  <a:extLst>
                    <a:ext uri="{FF2B5EF4-FFF2-40B4-BE49-F238E27FC236}">
                      <a16:creationId xmlns:a16="http://schemas.microsoft.com/office/drawing/2014/main" id="{DAEF4BED-039C-4958-AA30-623B30441A4F}"/>
                    </a:ext>
                  </a:extLst>
                </p:cNvPr>
                <p:cNvSpPr/>
                <p:nvPr/>
              </p:nvSpPr>
              <p:spPr>
                <a:xfrm>
                  <a:off x="1340711"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626" name="Freeform: Shape 625">
                  <a:extLst>
                    <a:ext uri="{FF2B5EF4-FFF2-40B4-BE49-F238E27FC236}">
                      <a16:creationId xmlns:a16="http://schemas.microsoft.com/office/drawing/2014/main" id="{44A41C16-A0A8-45E6-B59E-2D7C9ED3B976}"/>
                    </a:ext>
                  </a:extLst>
                </p:cNvPr>
                <p:cNvSpPr/>
                <p:nvPr/>
              </p:nvSpPr>
              <p:spPr>
                <a:xfrm>
                  <a:off x="1163719"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611" name="Graphic 6">
                <a:extLst>
                  <a:ext uri="{FF2B5EF4-FFF2-40B4-BE49-F238E27FC236}">
                    <a16:creationId xmlns:a16="http://schemas.microsoft.com/office/drawing/2014/main" id="{5E2FF2B8-92CF-4E16-81ED-E8B7F2B6E3E4}"/>
                  </a:ext>
                </a:extLst>
              </p:cNvPr>
              <p:cNvGrpSpPr/>
              <p:nvPr/>
            </p:nvGrpSpPr>
            <p:grpSpPr>
              <a:xfrm>
                <a:off x="-9030239" y="2600844"/>
                <a:ext cx="823928" cy="51780"/>
                <a:chOff x="1163719" y="3879635"/>
                <a:chExt cx="926399" cy="58220"/>
              </a:xfrm>
              <a:solidFill>
                <a:srgbClr val="26BCEA"/>
              </a:solidFill>
            </p:grpSpPr>
            <p:sp>
              <p:nvSpPr>
                <p:cNvPr id="615" name="Freeform: Shape 614">
                  <a:extLst>
                    <a:ext uri="{FF2B5EF4-FFF2-40B4-BE49-F238E27FC236}">
                      <a16:creationId xmlns:a16="http://schemas.microsoft.com/office/drawing/2014/main" id="{4715E5B4-4813-4757-9A2B-813E15D19E97}"/>
                    </a:ext>
                  </a:extLst>
                </p:cNvPr>
                <p:cNvSpPr/>
                <p:nvPr/>
              </p:nvSpPr>
              <p:spPr>
                <a:xfrm>
                  <a:off x="2031898"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16" name="Freeform: Shape 615">
                  <a:extLst>
                    <a:ext uri="{FF2B5EF4-FFF2-40B4-BE49-F238E27FC236}">
                      <a16:creationId xmlns:a16="http://schemas.microsoft.com/office/drawing/2014/main" id="{FF742395-40FF-4615-A9DD-3D0A7CBE49E1}"/>
                    </a:ext>
                  </a:extLst>
                </p:cNvPr>
                <p:cNvSpPr/>
                <p:nvPr/>
              </p:nvSpPr>
              <p:spPr>
                <a:xfrm>
                  <a:off x="1869927"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617" name="Freeform: Shape 616">
                  <a:extLst>
                    <a:ext uri="{FF2B5EF4-FFF2-40B4-BE49-F238E27FC236}">
                      <a16:creationId xmlns:a16="http://schemas.microsoft.com/office/drawing/2014/main" id="{A0C58D22-B782-4492-884E-5DED3E4FF15F}"/>
                    </a:ext>
                  </a:extLst>
                </p:cNvPr>
                <p:cNvSpPr/>
                <p:nvPr/>
              </p:nvSpPr>
              <p:spPr>
                <a:xfrm>
                  <a:off x="1707904"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18" name="Freeform: Shape 617">
                  <a:extLst>
                    <a:ext uri="{FF2B5EF4-FFF2-40B4-BE49-F238E27FC236}">
                      <a16:creationId xmlns:a16="http://schemas.microsoft.com/office/drawing/2014/main" id="{B5CE52AE-8A8A-4889-9BBE-DF7C5E9063CA}"/>
                    </a:ext>
                  </a:extLst>
                </p:cNvPr>
                <p:cNvSpPr/>
                <p:nvPr/>
              </p:nvSpPr>
              <p:spPr>
                <a:xfrm>
                  <a:off x="1528270"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19" name="Freeform: Shape 618">
                  <a:extLst>
                    <a:ext uri="{FF2B5EF4-FFF2-40B4-BE49-F238E27FC236}">
                      <a16:creationId xmlns:a16="http://schemas.microsoft.com/office/drawing/2014/main" id="{5C11BD79-237A-477F-82BF-9675ADFB447A}"/>
                    </a:ext>
                  </a:extLst>
                </p:cNvPr>
                <p:cNvSpPr/>
                <p:nvPr/>
              </p:nvSpPr>
              <p:spPr>
                <a:xfrm>
                  <a:off x="1340711"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620" name="Freeform: Shape 619">
                  <a:extLst>
                    <a:ext uri="{FF2B5EF4-FFF2-40B4-BE49-F238E27FC236}">
                      <a16:creationId xmlns:a16="http://schemas.microsoft.com/office/drawing/2014/main" id="{C770E63B-4FB9-4D47-87DC-01FEF23F3B1A}"/>
                    </a:ext>
                  </a:extLst>
                </p:cNvPr>
                <p:cNvSpPr/>
                <p:nvPr/>
              </p:nvSpPr>
              <p:spPr>
                <a:xfrm>
                  <a:off x="1163719"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pic>
            <p:nvPicPr>
              <p:cNvPr id="612" name="Picture 611">
                <a:extLst>
                  <a:ext uri="{FF2B5EF4-FFF2-40B4-BE49-F238E27FC236}">
                    <a16:creationId xmlns:a16="http://schemas.microsoft.com/office/drawing/2014/main" id="{C4D7B098-4083-4D53-A7AD-52AEE633F59C}"/>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717935" y="2121368"/>
                <a:ext cx="2275832" cy="2204244"/>
              </a:xfrm>
              <a:custGeom>
                <a:avLst/>
                <a:gdLst>
                  <a:gd name="connsiteX0" fmla="*/ 743717 w 2275832"/>
                  <a:gd name="connsiteY0" fmla="*/ 0 h 2204244"/>
                  <a:gd name="connsiteX1" fmla="*/ 1532116 w 2275832"/>
                  <a:gd name="connsiteY1" fmla="*/ 0 h 2204244"/>
                  <a:gd name="connsiteX2" fmla="*/ 1580845 w 2275832"/>
                  <a:gd name="connsiteY2" fmla="*/ 17835 h 2204244"/>
                  <a:gd name="connsiteX3" fmla="*/ 2275832 w 2275832"/>
                  <a:gd name="connsiteY3" fmla="*/ 1066328 h 2204244"/>
                  <a:gd name="connsiteX4" fmla="*/ 1137916 w 2275832"/>
                  <a:gd name="connsiteY4" fmla="*/ 2204244 h 2204244"/>
                  <a:gd name="connsiteX5" fmla="*/ 0 w 2275832"/>
                  <a:gd name="connsiteY5" fmla="*/ 1066328 h 2204244"/>
                  <a:gd name="connsiteX6" fmla="*/ 694988 w 2275832"/>
                  <a:gd name="connsiteY6" fmla="*/ 17835 h 2204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5832" h="2204244">
                    <a:moveTo>
                      <a:pt x="743717" y="0"/>
                    </a:moveTo>
                    <a:lnTo>
                      <a:pt x="1532116" y="0"/>
                    </a:lnTo>
                    <a:lnTo>
                      <a:pt x="1580845" y="17835"/>
                    </a:lnTo>
                    <a:cubicBezTo>
                      <a:pt x="1989260" y="190580"/>
                      <a:pt x="2275832" y="594988"/>
                      <a:pt x="2275832" y="1066328"/>
                    </a:cubicBezTo>
                    <a:cubicBezTo>
                      <a:pt x="2275832" y="1694782"/>
                      <a:pt x="1766370" y="2204244"/>
                      <a:pt x="1137916" y="2204244"/>
                    </a:cubicBezTo>
                    <a:cubicBezTo>
                      <a:pt x="509462" y="2204244"/>
                      <a:pt x="0" y="1694782"/>
                      <a:pt x="0" y="1066328"/>
                    </a:cubicBezTo>
                    <a:cubicBezTo>
                      <a:pt x="0" y="594988"/>
                      <a:pt x="286572" y="190580"/>
                      <a:pt x="694988" y="17835"/>
                    </a:cubicBezTo>
                    <a:close/>
                  </a:path>
                </a:pathLst>
              </a:custGeom>
            </p:spPr>
          </p:pic>
          <p:sp>
            <p:nvSpPr>
              <p:cNvPr id="613" name="Oval 612">
                <a:extLst>
                  <a:ext uri="{FF2B5EF4-FFF2-40B4-BE49-F238E27FC236}">
                    <a16:creationId xmlns:a16="http://schemas.microsoft.com/office/drawing/2014/main" id="{28CED17B-3904-4C90-859F-DF1E9327364A}"/>
                  </a:ext>
                </a:extLst>
              </p:cNvPr>
              <p:cNvSpPr/>
              <p:nvPr/>
            </p:nvSpPr>
            <p:spPr>
              <a:xfrm>
                <a:off x="-7325098" y="2347106"/>
                <a:ext cx="885244" cy="885244"/>
              </a:xfrm>
              <a:prstGeom prst="ellipse">
                <a:avLst/>
              </a:prstGeom>
              <a:solidFill>
                <a:srgbClr val="6CBE4C"/>
              </a:solidFill>
              <a:ln w="5377" cap="flat">
                <a:noFill/>
                <a:prstDash val="solid"/>
                <a:miter/>
              </a:ln>
            </p:spPr>
            <p:txBody>
              <a:bodyPr rtlCol="0" anchor="ctr"/>
              <a:lstStyle/>
              <a:p>
                <a:pPr defTabSz="457200" fontAlgn="base">
                  <a:spcBef>
                    <a:spcPct val="0"/>
                  </a:spcBef>
                  <a:spcAft>
                    <a:spcPct val="0"/>
                  </a:spcAft>
                </a:pPr>
                <a:endParaRPr lang="en-IN" dirty="0">
                  <a:latin typeface="Arial" charset="0"/>
                  <a:ea typeface="ＭＳ Ｐゴシック" charset="0"/>
                </a:endParaRPr>
              </a:p>
            </p:txBody>
          </p:sp>
          <p:pic>
            <p:nvPicPr>
              <p:cNvPr id="614" name="Picture 613">
                <a:extLst>
                  <a:ext uri="{FF2B5EF4-FFF2-40B4-BE49-F238E27FC236}">
                    <a16:creationId xmlns:a16="http://schemas.microsoft.com/office/drawing/2014/main" id="{826A7379-64F7-4233-9BCD-F0C40FAC783E}"/>
                  </a:ext>
                </a:extLst>
              </p:cNvPr>
              <p:cNvPicPr>
                <a:picLocks noChangeAspect="1"/>
              </p:cNvPicPr>
              <p:nvPr/>
            </p:nvPicPr>
            <p:blipFill>
              <a:blip r:embed="rId5" cstate="screen">
                <a:duotone>
                  <a:prstClr val="black"/>
                  <a:schemeClr val="accent2">
                    <a:tint val="45000"/>
                    <a:satMod val="400000"/>
                  </a:schemeClr>
                </a:duotone>
                <a:extLst>
                  <a:ext uri="{28A0092B-C50C-407E-A947-70E740481C1C}">
                    <a14:useLocalDpi xmlns:a14="http://schemas.microsoft.com/office/drawing/2010/main"/>
                  </a:ext>
                </a:extLst>
              </a:blip>
              <a:srcRect/>
              <a:stretch/>
            </p:blipFill>
            <p:spPr>
              <a:xfrm>
                <a:off x="-7325097" y="2347106"/>
                <a:ext cx="854679" cy="885244"/>
              </a:xfrm>
              <a:custGeom>
                <a:avLst/>
                <a:gdLst>
                  <a:gd name="connsiteX0" fmla="*/ 879152 w 1647002"/>
                  <a:gd name="connsiteY0" fmla="*/ 0 h 1758305"/>
                  <a:gd name="connsiteX1" fmla="*/ 1608159 w 1647002"/>
                  <a:gd name="connsiteY1" fmla="*/ 387610 h 1758305"/>
                  <a:gd name="connsiteX2" fmla="*/ 1647002 w 1647002"/>
                  <a:gd name="connsiteY2" fmla="*/ 459173 h 1758305"/>
                  <a:gd name="connsiteX3" fmla="*/ 1647002 w 1647002"/>
                  <a:gd name="connsiteY3" fmla="*/ 1299132 h 1758305"/>
                  <a:gd name="connsiteX4" fmla="*/ 1608159 w 1647002"/>
                  <a:gd name="connsiteY4" fmla="*/ 1370695 h 1758305"/>
                  <a:gd name="connsiteX5" fmla="*/ 879152 w 1647002"/>
                  <a:gd name="connsiteY5" fmla="*/ 1758305 h 1758305"/>
                  <a:gd name="connsiteX6" fmla="*/ 0 w 1647002"/>
                  <a:gd name="connsiteY6" fmla="*/ 879152 h 1758305"/>
                  <a:gd name="connsiteX7" fmla="*/ 879152 w 1647002"/>
                  <a:gd name="connsiteY7" fmla="*/ 0 h 175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7002" h="1758305">
                    <a:moveTo>
                      <a:pt x="879152" y="0"/>
                    </a:moveTo>
                    <a:cubicBezTo>
                      <a:pt x="1182617" y="0"/>
                      <a:pt x="1450169" y="153754"/>
                      <a:pt x="1608159" y="387610"/>
                    </a:cubicBezTo>
                    <a:lnTo>
                      <a:pt x="1647002" y="459173"/>
                    </a:lnTo>
                    <a:lnTo>
                      <a:pt x="1647002" y="1299132"/>
                    </a:lnTo>
                    <a:lnTo>
                      <a:pt x="1608159" y="1370695"/>
                    </a:lnTo>
                    <a:cubicBezTo>
                      <a:pt x="1450169" y="1604551"/>
                      <a:pt x="1182617" y="1758305"/>
                      <a:pt x="879152" y="1758305"/>
                    </a:cubicBezTo>
                    <a:cubicBezTo>
                      <a:pt x="393610" y="1758305"/>
                      <a:pt x="0" y="1364695"/>
                      <a:pt x="0" y="879152"/>
                    </a:cubicBezTo>
                    <a:cubicBezTo>
                      <a:pt x="0" y="393610"/>
                      <a:pt x="393610" y="0"/>
                      <a:pt x="879152" y="0"/>
                    </a:cubicBezTo>
                    <a:close/>
                  </a:path>
                </a:pathLst>
              </a:custGeom>
            </p:spPr>
          </p:pic>
        </p:grpSp>
        <p:sp>
          <p:nvSpPr>
            <p:cNvPr id="16" name="Arc 15">
              <a:extLst>
                <a:ext uri="{FF2B5EF4-FFF2-40B4-BE49-F238E27FC236}">
                  <a16:creationId xmlns:a16="http://schemas.microsoft.com/office/drawing/2014/main" id="{B2523A17-CBED-4B05-97F3-7EB9DFBA7AFC}"/>
                </a:ext>
              </a:extLst>
            </p:cNvPr>
            <p:cNvSpPr/>
            <p:nvPr/>
          </p:nvSpPr>
          <p:spPr>
            <a:xfrm>
              <a:off x="5009549" y="1726716"/>
              <a:ext cx="2549778" cy="2549778"/>
            </a:xfrm>
            <a:prstGeom prst="arc">
              <a:avLst>
                <a:gd name="adj1" fmla="val 20786007"/>
                <a:gd name="adj2" fmla="val 18693430"/>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6" name="Freeform: Shape 675">
              <a:extLst>
                <a:ext uri="{FF2B5EF4-FFF2-40B4-BE49-F238E27FC236}">
                  <a16:creationId xmlns:a16="http://schemas.microsoft.com/office/drawing/2014/main" id="{67E5BF68-B792-408C-9C22-378572F12E4C}"/>
                </a:ext>
              </a:extLst>
            </p:cNvPr>
            <p:cNvSpPr/>
            <p:nvPr/>
          </p:nvSpPr>
          <p:spPr>
            <a:xfrm>
              <a:off x="7114822" y="2020314"/>
              <a:ext cx="98014" cy="98014"/>
            </a:xfrm>
            <a:custGeom>
              <a:avLst/>
              <a:gdLst>
                <a:gd name="connsiteX0" fmla="*/ 8048 w 414916"/>
                <a:gd name="connsiteY0" fmla="*/ 208353 h 414916"/>
                <a:gd name="connsiteX1" fmla="*/ 208353 w 414916"/>
                <a:gd name="connsiteY1" fmla="*/ 8048 h 414916"/>
                <a:gd name="connsiteX2" fmla="*/ 408657 w 414916"/>
                <a:gd name="connsiteY2" fmla="*/ 208353 h 414916"/>
                <a:gd name="connsiteX3" fmla="*/ 208353 w 414916"/>
                <a:gd name="connsiteY3" fmla="*/ 408657 h 414916"/>
                <a:gd name="connsiteX4" fmla="*/ 8048 w 414916"/>
                <a:gd name="connsiteY4" fmla="*/ 208353 h 414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916" h="414916">
                  <a:moveTo>
                    <a:pt x="8048" y="208353"/>
                  </a:moveTo>
                  <a:cubicBezTo>
                    <a:pt x="8048" y="97727"/>
                    <a:pt x="97727" y="8048"/>
                    <a:pt x="208353" y="8048"/>
                  </a:cubicBezTo>
                  <a:cubicBezTo>
                    <a:pt x="318978" y="8048"/>
                    <a:pt x="408657" y="97727"/>
                    <a:pt x="408657" y="208353"/>
                  </a:cubicBezTo>
                  <a:cubicBezTo>
                    <a:pt x="408657" y="318978"/>
                    <a:pt x="318978" y="408657"/>
                    <a:pt x="208353" y="408657"/>
                  </a:cubicBezTo>
                  <a:cubicBezTo>
                    <a:pt x="97727" y="408657"/>
                    <a:pt x="8048" y="318978"/>
                    <a:pt x="8048" y="208353"/>
                  </a:cubicBezTo>
                  <a:close/>
                </a:path>
              </a:pathLst>
            </a:custGeom>
            <a:noFill/>
            <a:ln w="7144" cap="flat">
              <a:solidFill>
                <a:srgbClr val="0D274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77" name="Freeform: Shape 676">
              <a:extLst>
                <a:ext uri="{FF2B5EF4-FFF2-40B4-BE49-F238E27FC236}">
                  <a16:creationId xmlns:a16="http://schemas.microsoft.com/office/drawing/2014/main" id="{7FE597AC-0EEF-4369-944C-5EEF7ADA0999}"/>
                </a:ext>
              </a:extLst>
            </p:cNvPr>
            <p:cNvSpPr/>
            <p:nvPr/>
          </p:nvSpPr>
          <p:spPr>
            <a:xfrm>
              <a:off x="7097153" y="1998008"/>
              <a:ext cx="101394" cy="101394"/>
            </a:xfrm>
            <a:custGeom>
              <a:avLst/>
              <a:gdLst>
                <a:gd name="connsiteX0" fmla="*/ 16105 w 429224"/>
                <a:gd name="connsiteY0" fmla="*/ 212110 h 429224"/>
                <a:gd name="connsiteX1" fmla="*/ 220656 w 429224"/>
                <a:gd name="connsiteY1" fmla="*/ 16143 h 429224"/>
                <a:gd name="connsiteX2" fmla="*/ 416623 w 429224"/>
                <a:gd name="connsiteY2" fmla="*/ 220694 h 429224"/>
                <a:gd name="connsiteX3" fmla="*/ 216409 w 429224"/>
                <a:gd name="connsiteY3" fmla="*/ 416706 h 429224"/>
                <a:gd name="connsiteX4" fmla="*/ 16105 w 429224"/>
                <a:gd name="connsiteY4" fmla="*/ 212110 h 429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4" h="429224">
                  <a:moveTo>
                    <a:pt x="16105" y="212110"/>
                  </a:moveTo>
                  <a:cubicBezTo>
                    <a:pt x="18476" y="101510"/>
                    <a:pt x="110056" y="13772"/>
                    <a:pt x="220656" y="16143"/>
                  </a:cubicBezTo>
                  <a:cubicBezTo>
                    <a:pt x="331256" y="18514"/>
                    <a:pt x="418993" y="110094"/>
                    <a:pt x="416623" y="220694"/>
                  </a:cubicBezTo>
                  <a:cubicBezTo>
                    <a:pt x="414288" y="329604"/>
                    <a:pt x="325344" y="416682"/>
                    <a:pt x="216409" y="416706"/>
                  </a:cubicBezTo>
                  <a:cubicBezTo>
                    <a:pt x="104664" y="415370"/>
                    <a:pt x="15072" y="323860"/>
                    <a:pt x="16105" y="212110"/>
                  </a:cubicBezTo>
                  <a:close/>
                </a:path>
              </a:pathLst>
            </a:custGeom>
            <a:solidFill>
              <a:schemeClr val="accent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nvGrpSpPr>
            <p:cNvPr id="17" name="Group 16">
              <a:extLst>
                <a:ext uri="{FF2B5EF4-FFF2-40B4-BE49-F238E27FC236}">
                  <a16:creationId xmlns:a16="http://schemas.microsoft.com/office/drawing/2014/main" id="{24FEB160-20F0-4FB0-AF24-82C0F37C016A}"/>
                </a:ext>
              </a:extLst>
            </p:cNvPr>
            <p:cNvGrpSpPr/>
            <p:nvPr/>
          </p:nvGrpSpPr>
          <p:grpSpPr>
            <a:xfrm>
              <a:off x="7478480" y="2649963"/>
              <a:ext cx="115683" cy="120320"/>
              <a:chOff x="7566259" y="1998008"/>
              <a:chExt cx="115683" cy="120320"/>
            </a:xfrm>
          </p:grpSpPr>
          <p:sp>
            <p:nvSpPr>
              <p:cNvPr id="678" name="Freeform: Shape 677">
                <a:extLst>
                  <a:ext uri="{FF2B5EF4-FFF2-40B4-BE49-F238E27FC236}">
                    <a16:creationId xmlns:a16="http://schemas.microsoft.com/office/drawing/2014/main" id="{30B8A20C-430C-4F13-8532-6AF40D409D02}"/>
                  </a:ext>
                </a:extLst>
              </p:cNvPr>
              <p:cNvSpPr/>
              <p:nvPr/>
            </p:nvSpPr>
            <p:spPr>
              <a:xfrm>
                <a:off x="7583928" y="2020314"/>
                <a:ext cx="98014" cy="98014"/>
              </a:xfrm>
              <a:custGeom>
                <a:avLst/>
                <a:gdLst>
                  <a:gd name="connsiteX0" fmla="*/ 8048 w 414916"/>
                  <a:gd name="connsiteY0" fmla="*/ 208353 h 414916"/>
                  <a:gd name="connsiteX1" fmla="*/ 208353 w 414916"/>
                  <a:gd name="connsiteY1" fmla="*/ 8048 h 414916"/>
                  <a:gd name="connsiteX2" fmla="*/ 408657 w 414916"/>
                  <a:gd name="connsiteY2" fmla="*/ 208353 h 414916"/>
                  <a:gd name="connsiteX3" fmla="*/ 208353 w 414916"/>
                  <a:gd name="connsiteY3" fmla="*/ 408657 h 414916"/>
                  <a:gd name="connsiteX4" fmla="*/ 8048 w 414916"/>
                  <a:gd name="connsiteY4" fmla="*/ 208353 h 414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916" h="414916">
                    <a:moveTo>
                      <a:pt x="8048" y="208353"/>
                    </a:moveTo>
                    <a:cubicBezTo>
                      <a:pt x="8048" y="97727"/>
                      <a:pt x="97727" y="8048"/>
                      <a:pt x="208353" y="8048"/>
                    </a:cubicBezTo>
                    <a:cubicBezTo>
                      <a:pt x="318978" y="8048"/>
                      <a:pt x="408657" y="97727"/>
                      <a:pt x="408657" y="208353"/>
                    </a:cubicBezTo>
                    <a:cubicBezTo>
                      <a:pt x="408657" y="318978"/>
                      <a:pt x="318978" y="408657"/>
                      <a:pt x="208353" y="408657"/>
                    </a:cubicBezTo>
                    <a:cubicBezTo>
                      <a:pt x="97727" y="408657"/>
                      <a:pt x="8048" y="318978"/>
                      <a:pt x="8048" y="208353"/>
                    </a:cubicBezTo>
                    <a:close/>
                  </a:path>
                </a:pathLst>
              </a:custGeom>
              <a:noFill/>
              <a:ln w="7144" cap="flat">
                <a:solidFill>
                  <a:srgbClr val="0D274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79" name="Freeform: Shape 678">
                <a:extLst>
                  <a:ext uri="{FF2B5EF4-FFF2-40B4-BE49-F238E27FC236}">
                    <a16:creationId xmlns:a16="http://schemas.microsoft.com/office/drawing/2014/main" id="{08408E83-49EE-4A49-B7B5-7F04C503E639}"/>
                  </a:ext>
                </a:extLst>
              </p:cNvPr>
              <p:cNvSpPr/>
              <p:nvPr/>
            </p:nvSpPr>
            <p:spPr>
              <a:xfrm>
                <a:off x="7566259" y="1998008"/>
                <a:ext cx="101394" cy="101394"/>
              </a:xfrm>
              <a:custGeom>
                <a:avLst/>
                <a:gdLst>
                  <a:gd name="connsiteX0" fmla="*/ 16105 w 429224"/>
                  <a:gd name="connsiteY0" fmla="*/ 212110 h 429224"/>
                  <a:gd name="connsiteX1" fmla="*/ 220656 w 429224"/>
                  <a:gd name="connsiteY1" fmla="*/ 16143 h 429224"/>
                  <a:gd name="connsiteX2" fmla="*/ 416623 w 429224"/>
                  <a:gd name="connsiteY2" fmla="*/ 220694 h 429224"/>
                  <a:gd name="connsiteX3" fmla="*/ 216409 w 429224"/>
                  <a:gd name="connsiteY3" fmla="*/ 416706 h 429224"/>
                  <a:gd name="connsiteX4" fmla="*/ 16105 w 429224"/>
                  <a:gd name="connsiteY4" fmla="*/ 212110 h 429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4" h="429224">
                    <a:moveTo>
                      <a:pt x="16105" y="212110"/>
                    </a:moveTo>
                    <a:cubicBezTo>
                      <a:pt x="18476" y="101510"/>
                      <a:pt x="110056" y="13772"/>
                      <a:pt x="220656" y="16143"/>
                    </a:cubicBezTo>
                    <a:cubicBezTo>
                      <a:pt x="331256" y="18514"/>
                      <a:pt x="418993" y="110094"/>
                      <a:pt x="416623" y="220694"/>
                    </a:cubicBezTo>
                    <a:cubicBezTo>
                      <a:pt x="414288" y="329604"/>
                      <a:pt x="325344" y="416682"/>
                      <a:pt x="216409" y="416706"/>
                    </a:cubicBezTo>
                    <a:cubicBezTo>
                      <a:pt x="104664" y="415370"/>
                      <a:pt x="15072" y="323860"/>
                      <a:pt x="16105" y="212110"/>
                    </a:cubicBezTo>
                    <a:close/>
                  </a:path>
                </a:pathLst>
              </a:custGeom>
              <a:solidFill>
                <a:schemeClr val="accent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grpSp>
        <p:nvGrpSpPr>
          <p:cNvPr id="38" name="Group 37">
            <a:extLst>
              <a:ext uri="{FF2B5EF4-FFF2-40B4-BE49-F238E27FC236}">
                <a16:creationId xmlns:a16="http://schemas.microsoft.com/office/drawing/2014/main" id="{C2FABB6D-AEC4-4189-967D-C50BCB7F1B02}"/>
              </a:ext>
            </a:extLst>
          </p:cNvPr>
          <p:cNvGrpSpPr/>
          <p:nvPr/>
        </p:nvGrpSpPr>
        <p:grpSpPr>
          <a:xfrm>
            <a:off x="8581318" y="1091987"/>
            <a:ext cx="2913995" cy="3151312"/>
            <a:chOff x="8581318" y="1091987"/>
            <a:chExt cx="2913995" cy="3151312"/>
          </a:xfrm>
        </p:grpSpPr>
        <p:sp>
          <p:nvSpPr>
            <p:cNvPr id="1043" name="Freeform: Shape 1042">
              <a:extLst>
                <a:ext uri="{FF2B5EF4-FFF2-40B4-BE49-F238E27FC236}">
                  <a16:creationId xmlns:a16="http://schemas.microsoft.com/office/drawing/2014/main" id="{D55C0340-DFB1-4B8D-AD8B-B7BC83C50021}"/>
                </a:ext>
              </a:extLst>
            </p:cNvPr>
            <p:cNvSpPr/>
            <p:nvPr/>
          </p:nvSpPr>
          <p:spPr>
            <a:xfrm>
              <a:off x="9093751" y="1091987"/>
              <a:ext cx="848128" cy="848104"/>
            </a:xfrm>
            <a:custGeom>
              <a:avLst/>
              <a:gdLst>
                <a:gd name="connsiteX0" fmla="*/ 2146963 w 2343208"/>
                <a:gd name="connsiteY0" fmla="*/ 1043525 h 2343142"/>
                <a:gd name="connsiteX1" fmla="*/ 1977295 w 2343208"/>
                <a:gd name="connsiteY1" fmla="*/ 1213193 h 2343142"/>
                <a:gd name="connsiteX2" fmla="*/ 2146963 w 2343208"/>
                <a:gd name="connsiteY2" fmla="*/ 1382861 h 2343142"/>
                <a:gd name="connsiteX3" fmla="*/ 2303271 w 2343208"/>
                <a:gd name="connsiteY3" fmla="*/ 1279156 h 2343142"/>
                <a:gd name="connsiteX4" fmla="*/ 2313500 w 2343208"/>
                <a:gd name="connsiteY4" fmla="*/ 1228651 h 2343142"/>
                <a:gd name="connsiteX5" fmla="*/ 2313973 w 2343208"/>
                <a:gd name="connsiteY5" fmla="*/ 1223973 h 2343142"/>
                <a:gd name="connsiteX6" fmla="*/ 2314942 w 2343208"/>
                <a:gd name="connsiteY6" fmla="*/ 1204847 h 2343142"/>
                <a:gd name="connsiteX7" fmla="*/ 2303281 w 2343208"/>
                <a:gd name="connsiteY7" fmla="*/ 1147230 h 2343142"/>
                <a:gd name="connsiteX8" fmla="*/ 2146963 w 2343208"/>
                <a:gd name="connsiteY8" fmla="*/ 1043525 h 2343142"/>
                <a:gd name="connsiteX9" fmla="*/ 1934016 w 2343208"/>
                <a:gd name="connsiteY9" fmla="*/ 830578 h 2343142"/>
                <a:gd name="connsiteX10" fmla="*/ 1551336 w 2343208"/>
                <a:gd name="connsiteY10" fmla="*/ 1213259 h 2343142"/>
                <a:gd name="connsiteX11" fmla="*/ 1934016 w 2343208"/>
                <a:gd name="connsiteY11" fmla="*/ 1595940 h 2343142"/>
                <a:gd name="connsiteX12" fmla="*/ 2286579 w 2343208"/>
                <a:gd name="connsiteY12" fmla="*/ 1362079 h 2343142"/>
                <a:gd name="connsiteX13" fmla="*/ 2293272 w 2343208"/>
                <a:gd name="connsiteY13" fmla="*/ 1340560 h 2343142"/>
                <a:gd name="connsiteX14" fmla="*/ 2285613 w 2343208"/>
                <a:gd name="connsiteY14" fmla="*/ 1351910 h 2343142"/>
                <a:gd name="connsiteX15" fmla="*/ 2146963 w 2343208"/>
                <a:gd name="connsiteY15" fmla="*/ 1409438 h 2343142"/>
                <a:gd name="connsiteX16" fmla="*/ 1950784 w 2343208"/>
                <a:gd name="connsiteY16" fmla="*/ 1213259 h 2343142"/>
                <a:gd name="connsiteX17" fmla="*/ 2146963 w 2343208"/>
                <a:gd name="connsiteY17" fmla="*/ 1017081 h 2343142"/>
                <a:gd name="connsiteX18" fmla="*/ 2285613 w 2343208"/>
                <a:gd name="connsiteY18" fmla="*/ 1074609 h 2343142"/>
                <a:gd name="connsiteX19" fmla="*/ 2293259 w 2343208"/>
                <a:gd name="connsiteY19" fmla="*/ 1085939 h 2343142"/>
                <a:gd name="connsiteX20" fmla="*/ 2286569 w 2343208"/>
                <a:gd name="connsiteY20" fmla="*/ 1064439 h 2343142"/>
                <a:gd name="connsiteX21" fmla="*/ 1934016 w 2343208"/>
                <a:gd name="connsiteY21" fmla="*/ 830578 h 2343142"/>
                <a:gd name="connsiteX22" fmla="*/ 1667850 w 2343208"/>
                <a:gd name="connsiteY22" fmla="*/ 548903 h 2343142"/>
                <a:gd name="connsiteX23" fmla="*/ 1019069 w 2343208"/>
                <a:gd name="connsiteY23" fmla="*/ 1197685 h 2343142"/>
                <a:gd name="connsiteX24" fmla="*/ 1667850 w 2343208"/>
                <a:gd name="connsiteY24" fmla="*/ 1846466 h 2343142"/>
                <a:gd name="connsiteX25" fmla="*/ 2205684 w 2343208"/>
                <a:gd name="connsiteY25" fmla="*/ 1560182 h 2343142"/>
                <a:gd name="connsiteX26" fmla="*/ 2263788 w 2343208"/>
                <a:gd name="connsiteY26" fmla="*/ 1453265 h 2343142"/>
                <a:gd name="connsiteX27" fmla="*/ 2223214 w 2343208"/>
                <a:gd name="connsiteY27" fmla="*/ 1502415 h 2343142"/>
                <a:gd name="connsiteX28" fmla="*/ 1934016 w 2343208"/>
                <a:gd name="connsiteY28" fmla="*/ 1622384 h 2343142"/>
                <a:gd name="connsiteX29" fmla="*/ 1524825 w 2343208"/>
                <a:gd name="connsiteY29" fmla="*/ 1213192 h 2343142"/>
                <a:gd name="connsiteX30" fmla="*/ 1934016 w 2343208"/>
                <a:gd name="connsiteY30" fmla="*/ 804001 h 2343142"/>
                <a:gd name="connsiteX31" fmla="*/ 2273241 w 2343208"/>
                <a:gd name="connsiteY31" fmla="*/ 984549 h 2343142"/>
                <a:gd name="connsiteX32" fmla="*/ 2283776 w 2343208"/>
                <a:gd name="connsiteY32" fmla="*/ 1003938 h 2343142"/>
                <a:gd name="connsiteX33" fmla="*/ 2265569 w 2343208"/>
                <a:gd name="connsiteY33" fmla="*/ 945410 h 2343142"/>
                <a:gd name="connsiteX34" fmla="*/ 1667850 w 2343208"/>
                <a:gd name="connsiteY34" fmla="*/ 548903 h 2343142"/>
                <a:gd name="connsiteX35" fmla="*/ 1421168 w 2343208"/>
                <a:gd name="connsiteY35" fmla="*/ 282338 h 2343142"/>
                <a:gd name="connsiteX36" fmla="*/ 525706 w 2343208"/>
                <a:gd name="connsiteY36" fmla="*/ 1177801 h 2343142"/>
                <a:gd name="connsiteX37" fmla="*/ 1421168 w 2343208"/>
                <a:gd name="connsiteY37" fmla="*/ 2073263 h 2343142"/>
                <a:gd name="connsiteX38" fmla="*/ 2208395 w 2343208"/>
                <a:gd name="connsiteY38" fmla="*/ 1604281 h 2343142"/>
                <a:gd name="connsiteX39" fmla="*/ 2217111 w 2343208"/>
                <a:gd name="connsiteY39" fmla="*/ 1586215 h 2343142"/>
                <a:gd name="connsiteX40" fmla="*/ 2178287 w 2343208"/>
                <a:gd name="connsiteY40" fmla="*/ 1639431 h 2343142"/>
                <a:gd name="connsiteX41" fmla="*/ 1667850 w 2343208"/>
                <a:gd name="connsiteY41" fmla="*/ 1873043 h 2343142"/>
                <a:gd name="connsiteX42" fmla="*/ 992558 w 2343208"/>
                <a:gd name="connsiteY42" fmla="*/ 1197751 h 2343142"/>
                <a:gd name="connsiteX43" fmla="*/ 1667850 w 2343208"/>
                <a:gd name="connsiteY43" fmla="*/ 522459 h 2343142"/>
                <a:gd name="connsiteX44" fmla="*/ 2227651 w 2343208"/>
                <a:gd name="connsiteY44" fmla="*/ 820457 h 2343142"/>
                <a:gd name="connsiteX45" fmla="*/ 2274239 w 2343208"/>
                <a:gd name="connsiteY45" fmla="*/ 906177 h 2343142"/>
                <a:gd name="connsiteX46" fmla="*/ 2246150 w 2343208"/>
                <a:gd name="connsiteY46" fmla="*/ 829580 h 2343142"/>
                <a:gd name="connsiteX47" fmla="*/ 1421168 w 2343208"/>
                <a:gd name="connsiteY47" fmla="*/ 282338 h 2343142"/>
                <a:gd name="connsiteX48" fmla="*/ 1171571 w 2343208"/>
                <a:gd name="connsiteY48" fmla="*/ 26444 h 2343142"/>
                <a:gd name="connsiteX49" fmla="*/ 26511 w 2343208"/>
                <a:gd name="connsiteY49" fmla="*/ 1171505 h 2343142"/>
                <a:gd name="connsiteX50" fmla="*/ 1171571 w 2343208"/>
                <a:gd name="connsiteY50" fmla="*/ 2316565 h 2343142"/>
                <a:gd name="connsiteX51" fmla="*/ 2178231 w 2343208"/>
                <a:gd name="connsiteY51" fmla="*/ 1716873 h 2343142"/>
                <a:gd name="connsiteX52" fmla="*/ 2204537 w 2343208"/>
                <a:gd name="connsiteY52" fmla="*/ 1662344 h 2343142"/>
                <a:gd name="connsiteX53" fmla="*/ 2118052 w 2343208"/>
                <a:gd name="connsiteY53" fmla="*/ 1780884 h 2343142"/>
                <a:gd name="connsiteX54" fmla="*/ 1421168 w 2343208"/>
                <a:gd name="connsiteY54" fmla="*/ 2099840 h 2343142"/>
                <a:gd name="connsiteX55" fmla="*/ 499195 w 2343208"/>
                <a:gd name="connsiteY55" fmla="*/ 1177867 h 2343142"/>
                <a:gd name="connsiteX56" fmla="*/ 1421168 w 2343208"/>
                <a:gd name="connsiteY56" fmla="*/ 255894 h 2343142"/>
                <a:gd name="connsiteX57" fmla="*/ 2185476 w 2343208"/>
                <a:gd name="connsiteY57" fmla="*/ 662757 h 2343142"/>
                <a:gd name="connsiteX58" fmla="*/ 2230221 w 2343208"/>
                <a:gd name="connsiteY58" fmla="*/ 736335 h 2343142"/>
                <a:gd name="connsiteX59" fmla="*/ 2226509 w 2343208"/>
                <a:gd name="connsiteY59" fmla="*/ 726210 h 2343142"/>
                <a:gd name="connsiteX60" fmla="*/ 1171571 w 2343208"/>
                <a:gd name="connsiteY60" fmla="*/ 26444 h 2343142"/>
                <a:gd name="connsiteX61" fmla="*/ 1171571 w 2343208"/>
                <a:gd name="connsiteY61" fmla="*/ 0 h 2343142"/>
                <a:gd name="connsiteX62" fmla="*/ 2343141 w 2343208"/>
                <a:gd name="connsiteY62" fmla="*/ 1171571 h 2343142"/>
                <a:gd name="connsiteX63" fmla="*/ 2342982 w 2343208"/>
                <a:gd name="connsiteY63" fmla="*/ 1174719 h 2343142"/>
                <a:gd name="connsiteX64" fmla="*/ 2343141 w 2343208"/>
                <a:gd name="connsiteY64" fmla="*/ 1177867 h 2343142"/>
                <a:gd name="connsiteX65" fmla="*/ 2342470 w 2343208"/>
                <a:gd name="connsiteY65" fmla="*/ 1191108 h 2343142"/>
                <a:gd name="connsiteX66" fmla="*/ 2343142 w 2343208"/>
                <a:gd name="connsiteY66" fmla="*/ 1197751 h 2343142"/>
                <a:gd name="connsiteX67" fmla="*/ 2342395 w 2343208"/>
                <a:gd name="connsiteY67" fmla="*/ 1205144 h 2343142"/>
                <a:gd name="connsiteX68" fmla="*/ 2343208 w 2343208"/>
                <a:gd name="connsiteY68" fmla="*/ 1213192 h 2343142"/>
                <a:gd name="connsiteX69" fmla="*/ 2339487 w 2343208"/>
                <a:gd name="connsiteY69" fmla="*/ 1249995 h 2343142"/>
                <a:gd name="connsiteX70" fmla="*/ 2338373 w 2343208"/>
                <a:gd name="connsiteY70" fmla="*/ 1271993 h 2343142"/>
                <a:gd name="connsiteX71" fmla="*/ 2337895 w 2343208"/>
                <a:gd name="connsiteY71" fmla="*/ 1275112 h 2343142"/>
                <a:gd name="connsiteX72" fmla="*/ 2337081 w 2343208"/>
                <a:gd name="connsiteY72" fmla="*/ 1291185 h 2343142"/>
                <a:gd name="connsiteX73" fmla="*/ 1171571 w 2343208"/>
                <a:gd name="connsiteY73" fmla="*/ 2343142 h 2343142"/>
                <a:gd name="connsiteX74" fmla="*/ 0 w 2343208"/>
                <a:gd name="connsiteY74" fmla="*/ 1171571 h 2343142"/>
                <a:gd name="connsiteX75" fmla="*/ 1171571 w 2343208"/>
                <a:gd name="connsiteY75" fmla="*/ 0 h 2343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343208" h="2343142">
                  <a:moveTo>
                    <a:pt x="2146963" y="1043525"/>
                  </a:moveTo>
                  <a:cubicBezTo>
                    <a:pt x="2053380" y="1043525"/>
                    <a:pt x="1977295" y="1119677"/>
                    <a:pt x="1977295" y="1213193"/>
                  </a:cubicBezTo>
                  <a:cubicBezTo>
                    <a:pt x="1977295" y="1306710"/>
                    <a:pt x="2053446" y="1382861"/>
                    <a:pt x="2146963" y="1382861"/>
                  </a:cubicBezTo>
                  <a:cubicBezTo>
                    <a:pt x="2217100" y="1382861"/>
                    <a:pt x="2277470" y="1340026"/>
                    <a:pt x="2303271" y="1279156"/>
                  </a:cubicBezTo>
                  <a:lnTo>
                    <a:pt x="2313500" y="1228651"/>
                  </a:lnTo>
                  <a:lnTo>
                    <a:pt x="2313973" y="1223973"/>
                  </a:lnTo>
                  <a:lnTo>
                    <a:pt x="2314942" y="1204847"/>
                  </a:lnTo>
                  <a:lnTo>
                    <a:pt x="2303281" y="1147230"/>
                  </a:lnTo>
                  <a:cubicBezTo>
                    <a:pt x="2277495" y="1086361"/>
                    <a:pt x="2217150" y="1043525"/>
                    <a:pt x="2146963" y="1043525"/>
                  </a:cubicBezTo>
                  <a:close/>
                  <a:moveTo>
                    <a:pt x="1934016" y="830578"/>
                  </a:moveTo>
                  <a:cubicBezTo>
                    <a:pt x="1723058" y="830578"/>
                    <a:pt x="1551336" y="1002234"/>
                    <a:pt x="1551336" y="1213259"/>
                  </a:cubicBezTo>
                  <a:cubicBezTo>
                    <a:pt x="1551336" y="1424284"/>
                    <a:pt x="1722992" y="1595940"/>
                    <a:pt x="1934016" y="1595940"/>
                  </a:cubicBezTo>
                  <a:cubicBezTo>
                    <a:pt x="2092285" y="1595940"/>
                    <a:pt x="2228409" y="1499384"/>
                    <a:pt x="2286579" y="1362079"/>
                  </a:cubicBezTo>
                  <a:lnTo>
                    <a:pt x="2293272" y="1340560"/>
                  </a:lnTo>
                  <a:lnTo>
                    <a:pt x="2285613" y="1351910"/>
                  </a:lnTo>
                  <a:cubicBezTo>
                    <a:pt x="2250089" y="1387434"/>
                    <a:pt x="2201045" y="1409438"/>
                    <a:pt x="2146963" y="1409438"/>
                  </a:cubicBezTo>
                  <a:cubicBezTo>
                    <a:pt x="2038799" y="1409438"/>
                    <a:pt x="1950784" y="1321423"/>
                    <a:pt x="1950784" y="1213259"/>
                  </a:cubicBezTo>
                  <a:cubicBezTo>
                    <a:pt x="1950784" y="1105096"/>
                    <a:pt x="2038799" y="1017081"/>
                    <a:pt x="2146963" y="1017081"/>
                  </a:cubicBezTo>
                  <a:cubicBezTo>
                    <a:pt x="2201045" y="1017081"/>
                    <a:pt x="2250089" y="1039085"/>
                    <a:pt x="2285613" y="1074609"/>
                  </a:cubicBezTo>
                  <a:lnTo>
                    <a:pt x="2293259" y="1085939"/>
                  </a:lnTo>
                  <a:lnTo>
                    <a:pt x="2286569" y="1064439"/>
                  </a:lnTo>
                  <a:cubicBezTo>
                    <a:pt x="2228384" y="927134"/>
                    <a:pt x="2092236" y="830578"/>
                    <a:pt x="1934016" y="830578"/>
                  </a:cubicBezTo>
                  <a:close/>
                  <a:moveTo>
                    <a:pt x="1667850" y="548903"/>
                  </a:moveTo>
                  <a:cubicBezTo>
                    <a:pt x="1310089" y="548903"/>
                    <a:pt x="1019069" y="839924"/>
                    <a:pt x="1019069" y="1197685"/>
                  </a:cubicBezTo>
                  <a:cubicBezTo>
                    <a:pt x="1019069" y="1555445"/>
                    <a:pt x="1310089" y="1846466"/>
                    <a:pt x="1667850" y="1846466"/>
                  </a:cubicBezTo>
                  <a:cubicBezTo>
                    <a:pt x="1891450" y="1846466"/>
                    <a:pt x="2088981" y="1732786"/>
                    <a:pt x="2205684" y="1560182"/>
                  </a:cubicBezTo>
                  <a:lnTo>
                    <a:pt x="2263788" y="1453265"/>
                  </a:lnTo>
                  <a:lnTo>
                    <a:pt x="2223214" y="1502415"/>
                  </a:lnTo>
                  <a:cubicBezTo>
                    <a:pt x="2149117" y="1576504"/>
                    <a:pt x="2046819" y="1622384"/>
                    <a:pt x="1934016" y="1622384"/>
                  </a:cubicBezTo>
                  <a:cubicBezTo>
                    <a:pt x="1708411" y="1622384"/>
                    <a:pt x="1524825" y="1438864"/>
                    <a:pt x="1524825" y="1213192"/>
                  </a:cubicBezTo>
                  <a:cubicBezTo>
                    <a:pt x="1524825" y="987521"/>
                    <a:pt x="1708345" y="804001"/>
                    <a:pt x="1934016" y="804001"/>
                  </a:cubicBezTo>
                  <a:cubicBezTo>
                    <a:pt x="2075061" y="804001"/>
                    <a:pt x="2199641" y="875688"/>
                    <a:pt x="2273241" y="984549"/>
                  </a:cubicBezTo>
                  <a:lnTo>
                    <a:pt x="2283776" y="1003938"/>
                  </a:lnTo>
                  <a:lnTo>
                    <a:pt x="2265569" y="945410"/>
                  </a:lnTo>
                  <a:cubicBezTo>
                    <a:pt x="2166950" y="712639"/>
                    <a:pt x="1936171" y="548903"/>
                    <a:pt x="1667850" y="548903"/>
                  </a:cubicBezTo>
                  <a:close/>
                  <a:moveTo>
                    <a:pt x="1421168" y="282338"/>
                  </a:moveTo>
                  <a:cubicBezTo>
                    <a:pt x="927408" y="282338"/>
                    <a:pt x="525706" y="684041"/>
                    <a:pt x="525706" y="1177801"/>
                  </a:cubicBezTo>
                  <a:cubicBezTo>
                    <a:pt x="525706" y="1671561"/>
                    <a:pt x="927408" y="2073263"/>
                    <a:pt x="1421168" y="2073263"/>
                  </a:cubicBezTo>
                  <a:cubicBezTo>
                    <a:pt x="1760628" y="2073263"/>
                    <a:pt x="2056577" y="1883396"/>
                    <a:pt x="2208395" y="1604281"/>
                  </a:cubicBezTo>
                  <a:lnTo>
                    <a:pt x="2217111" y="1586215"/>
                  </a:lnTo>
                  <a:lnTo>
                    <a:pt x="2178287" y="1639431"/>
                  </a:lnTo>
                  <a:cubicBezTo>
                    <a:pt x="2054379" y="1782439"/>
                    <a:pt x="1871510" y="1873043"/>
                    <a:pt x="1667850" y="1873043"/>
                  </a:cubicBezTo>
                  <a:cubicBezTo>
                    <a:pt x="1295508" y="1873043"/>
                    <a:pt x="992558" y="1570093"/>
                    <a:pt x="992558" y="1197751"/>
                  </a:cubicBezTo>
                  <a:cubicBezTo>
                    <a:pt x="992558" y="825409"/>
                    <a:pt x="1295508" y="522459"/>
                    <a:pt x="1667850" y="522459"/>
                  </a:cubicBezTo>
                  <a:cubicBezTo>
                    <a:pt x="1900563" y="522459"/>
                    <a:pt x="2106171" y="640799"/>
                    <a:pt x="2227651" y="820457"/>
                  </a:cubicBezTo>
                  <a:lnTo>
                    <a:pt x="2274239" y="906177"/>
                  </a:lnTo>
                  <a:lnTo>
                    <a:pt x="2246150" y="829580"/>
                  </a:lnTo>
                  <a:cubicBezTo>
                    <a:pt x="2110027" y="508296"/>
                    <a:pt x="1791489" y="282338"/>
                    <a:pt x="1421168" y="282338"/>
                  </a:cubicBezTo>
                  <a:close/>
                  <a:moveTo>
                    <a:pt x="1171571" y="26444"/>
                  </a:moveTo>
                  <a:cubicBezTo>
                    <a:pt x="540154" y="26444"/>
                    <a:pt x="26511" y="540088"/>
                    <a:pt x="26511" y="1171505"/>
                  </a:cubicBezTo>
                  <a:cubicBezTo>
                    <a:pt x="26511" y="1802921"/>
                    <a:pt x="540154" y="2316565"/>
                    <a:pt x="1171571" y="2316565"/>
                  </a:cubicBezTo>
                  <a:cubicBezTo>
                    <a:pt x="1605669" y="2316565"/>
                    <a:pt x="1984103" y="2073788"/>
                    <a:pt x="2178231" y="1716873"/>
                  </a:cubicBezTo>
                  <a:lnTo>
                    <a:pt x="2204537" y="1662344"/>
                  </a:lnTo>
                  <a:lnTo>
                    <a:pt x="2118052" y="1780884"/>
                  </a:lnTo>
                  <a:cubicBezTo>
                    <a:pt x="1948874" y="1976134"/>
                    <a:pt x="1699203" y="2099840"/>
                    <a:pt x="1421168" y="2099840"/>
                  </a:cubicBezTo>
                  <a:cubicBezTo>
                    <a:pt x="912760" y="2099840"/>
                    <a:pt x="499195" y="1686208"/>
                    <a:pt x="499195" y="1177867"/>
                  </a:cubicBezTo>
                  <a:cubicBezTo>
                    <a:pt x="499195" y="669460"/>
                    <a:pt x="912827" y="255894"/>
                    <a:pt x="1421168" y="255894"/>
                  </a:cubicBezTo>
                  <a:cubicBezTo>
                    <a:pt x="1738923" y="255894"/>
                    <a:pt x="2019630" y="417469"/>
                    <a:pt x="2185476" y="662757"/>
                  </a:cubicBezTo>
                  <a:lnTo>
                    <a:pt x="2230221" y="736335"/>
                  </a:lnTo>
                  <a:lnTo>
                    <a:pt x="2226509" y="726210"/>
                  </a:lnTo>
                  <a:cubicBezTo>
                    <a:pt x="2052449" y="315369"/>
                    <a:pt x="1645133" y="26444"/>
                    <a:pt x="1171571" y="26444"/>
                  </a:cubicBezTo>
                  <a:close/>
                  <a:moveTo>
                    <a:pt x="1171571" y="0"/>
                  </a:moveTo>
                  <a:cubicBezTo>
                    <a:pt x="1817568" y="0"/>
                    <a:pt x="2343141" y="525573"/>
                    <a:pt x="2343141" y="1171571"/>
                  </a:cubicBezTo>
                  <a:lnTo>
                    <a:pt x="2342982" y="1174719"/>
                  </a:lnTo>
                  <a:lnTo>
                    <a:pt x="2343141" y="1177867"/>
                  </a:lnTo>
                  <a:lnTo>
                    <a:pt x="2342470" y="1191108"/>
                  </a:lnTo>
                  <a:lnTo>
                    <a:pt x="2343142" y="1197751"/>
                  </a:lnTo>
                  <a:lnTo>
                    <a:pt x="2342395" y="1205144"/>
                  </a:lnTo>
                  <a:lnTo>
                    <a:pt x="2343208" y="1213192"/>
                  </a:lnTo>
                  <a:lnTo>
                    <a:pt x="2339487" y="1249995"/>
                  </a:lnTo>
                  <a:lnTo>
                    <a:pt x="2338373" y="1271993"/>
                  </a:lnTo>
                  <a:lnTo>
                    <a:pt x="2337895" y="1275112"/>
                  </a:lnTo>
                  <a:lnTo>
                    <a:pt x="2337081" y="1291185"/>
                  </a:lnTo>
                  <a:cubicBezTo>
                    <a:pt x="2276974" y="1881212"/>
                    <a:pt x="1777193" y="2343142"/>
                    <a:pt x="1171571" y="2343142"/>
                  </a:cubicBezTo>
                  <a:cubicBezTo>
                    <a:pt x="525573" y="2343142"/>
                    <a:pt x="0" y="1817568"/>
                    <a:pt x="0" y="1171571"/>
                  </a:cubicBezTo>
                  <a:cubicBezTo>
                    <a:pt x="0" y="525573"/>
                    <a:pt x="525573" y="0"/>
                    <a:pt x="1171571" y="0"/>
                  </a:cubicBezTo>
                  <a:close/>
                </a:path>
              </a:pathLst>
            </a:custGeom>
            <a:solidFill>
              <a:srgbClr val="21BDEA"/>
            </a:solidFill>
            <a:ln w="6623" cap="flat">
              <a:noFill/>
              <a:prstDash val="solid"/>
              <a:miter/>
            </a:ln>
          </p:spPr>
          <p:txBody>
            <a:bodyPr rtlCol="0" anchor="ctr"/>
            <a:lstStyle/>
            <a:p>
              <a:endParaRPr lang="en-IN" dirty="0"/>
            </a:p>
          </p:txBody>
        </p:sp>
        <p:grpSp>
          <p:nvGrpSpPr>
            <p:cNvPr id="36" name="Group 35">
              <a:extLst>
                <a:ext uri="{FF2B5EF4-FFF2-40B4-BE49-F238E27FC236}">
                  <a16:creationId xmlns:a16="http://schemas.microsoft.com/office/drawing/2014/main" id="{5BF4C4E4-820C-41BB-A483-A1F8476229DE}"/>
                </a:ext>
              </a:extLst>
            </p:cNvPr>
            <p:cNvGrpSpPr/>
            <p:nvPr/>
          </p:nvGrpSpPr>
          <p:grpSpPr>
            <a:xfrm>
              <a:off x="8599209" y="1866824"/>
              <a:ext cx="2802487" cy="2081094"/>
              <a:chOff x="8465282" y="1866824"/>
              <a:chExt cx="2802487" cy="2081094"/>
            </a:xfrm>
          </p:grpSpPr>
          <p:grpSp>
            <p:nvGrpSpPr>
              <p:cNvPr id="35" name="Group 34">
                <a:extLst>
                  <a:ext uri="{FF2B5EF4-FFF2-40B4-BE49-F238E27FC236}">
                    <a16:creationId xmlns:a16="http://schemas.microsoft.com/office/drawing/2014/main" id="{ABDB59C9-82C5-4E46-BE94-33D04F82E1AE}"/>
                  </a:ext>
                </a:extLst>
              </p:cNvPr>
              <p:cNvGrpSpPr/>
              <p:nvPr/>
            </p:nvGrpSpPr>
            <p:grpSpPr>
              <a:xfrm>
                <a:off x="8684357" y="1866824"/>
                <a:ext cx="2583412" cy="2081094"/>
                <a:chOff x="1509097" y="741439"/>
                <a:chExt cx="1308992" cy="1054473"/>
              </a:xfrm>
            </p:grpSpPr>
            <p:grpSp>
              <p:nvGrpSpPr>
                <p:cNvPr id="942" name="Group 941">
                  <a:extLst>
                    <a:ext uri="{FF2B5EF4-FFF2-40B4-BE49-F238E27FC236}">
                      <a16:creationId xmlns:a16="http://schemas.microsoft.com/office/drawing/2014/main" id="{49F38E83-FC5B-4DE6-93F2-A4C67209B9B9}"/>
                    </a:ext>
                  </a:extLst>
                </p:cNvPr>
                <p:cNvGrpSpPr/>
                <p:nvPr/>
              </p:nvGrpSpPr>
              <p:grpSpPr>
                <a:xfrm>
                  <a:off x="1509097" y="741439"/>
                  <a:ext cx="27432" cy="1054473"/>
                  <a:chOff x="1509097" y="741439"/>
                  <a:chExt cx="27432" cy="1054473"/>
                </a:xfrm>
              </p:grpSpPr>
              <p:sp>
                <p:nvSpPr>
                  <p:cNvPr id="943" name="Oval 942">
                    <a:extLst>
                      <a:ext uri="{FF2B5EF4-FFF2-40B4-BE49-F238E27FC236}">
                        <a16:creationId xmlns:a16="http://schemas.microsoft.com/office/drawing/2014/main" id="{33928677-5AB7-4C9C-B6D6-E2F6EF5ECAC3}"/>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44" name="Oval 943">
                    <a:extLst>
                      <a:ext uri="{FF2B5EF4-FFF2-40B4-BE49-F238E27FC236}">
                        <a16:creationId xmlns:a16="http://schemas.microsoft.com/office/drawing/2014/main" id="{81C49235-9EA2-45B1-B52D-2AC1D4BFA032}"/>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45" name="Oval 944">
                    <a:extLst>
                      <a:ext uri="{FF2B5EF4-FFF2-40B4-BE49-F238E27FC236}">
                        <a16:creationId xmlns:a16="http://schemas.microsoft.com/office/drawing/2014/main" id="{513790D0-B13F-4C81-BEA2-2D97B714D7D5}"/>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46" name="Oval 945">
                    <a:extLst>
                      <a:ext uri="{FF2B5EF4-FFF2-40B4-BE49-F238E27FC236}">
                        <a16:creationId xmlns:a16="http://schemas.microsoft.com/office/drawing/2014/main" id="{0E51074A-CEAA-4C2B-A5D9-7FC179B58700}"/>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47" name="Oval 946">
                    <a:extLst>
                      <a:ext uri="{FF2B5EF4-FFF2-40B4-BE49-F238E27FC236}">
                        <a16:creationId xmlns:a16="http://schemas.microsoft.com/office/drawing/2014/main" id="{361473A6-6E3B-4599-A785-C337FB40A056}"/>
                      </a:ext>
                    </a:extLst>
                  </p:cNvPr>
                  <p:cNvSpPr/>
                  <p:nvPr/>
                </p:nvSpPr>
                <p:spPr>
                  <a:xfrm>
                    <a:off x="1509097"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48" name="Oval 947">
                    <a:extLst>
                      <a:ext uri="{FF2B5EF4-FFF2-40B4-BE49-F238E27FC236}">
                        <a16:creationId xmlns:a16="http://schemas.microsoft.com/office/drawing/2014/main" id="{C80507E4-EFF2-4C31-AB4A-FA2C35F74414}"/>
                      </a:ext>
                    </a:extLst>
                  </p:cNvPr>
                  <p:cNvSpPr/>
                  <p:nvPr/>
                </p:nvSpPr>
                <p:spPr>
                  <a:xfrm>
                    <a:off x="1509097"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grpSp>
            <p:grpSp>
              <p:nvGrpSpPr>
                <p:cNvPr id="949" name="Group 948">
                  <a:extLst>
                    <a:ext uri="{FF2B5EF4-FFF2-40B4-BE49-F238E27FC236}">
                      <a16:creationId xmlns:a16="http://schemas.microsoft.com/office/drawing/2014/main" id="{C6129056-C67C-4125-AD3D-425F17FF9E18}"/>
                    </a:ext>
                  </a:extLst>
                </p:cNvPr>
                <p:cNvGrpSpPr/>
                <p:nvPr/>
              </p:nvGrpSpPr>
              <p:grpSpPr>
                <a:xfrm>
                  <a:off x="1722690" y="741439"/>
                  <a:ext cx="27432" cy="1054473"/>
                  <a:chOff x="1725168" y="741439"/>
                  <a:chExt cx="27432" cy="1054473"/>
                </a:xfrm>
              </p:grpSpPr>
              <p:sp>
                <p:nvSpPr>
                  <p:cNvPr id="950" name="Oval 949">
                    <a:extLst>
                      <a:ext uri="{FF2B5EF4-FFF2-40B4-BE49-F238E27FC236}">
                        <a16:creationId xmlns:a16="http://schemas.microsoft.com/office/drawing/2014/main" id="{6F53EAA3-19BD-459F-9805-B90AAD5DEA68}"/>
                      </a:ext>
                    </a:extLst>
                  </p:cNvPr>
                  <p:cNvSpPr/>
                  <p:nvPr/>
                </p:nvSpPr>
                <p:spPr>
                  <a:xfrm>
                    <a:off x="1725168"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51" name="Oval 950">
                    <a:extLst>
                      <a:ext uri="{FF2B5EF4-FFF2-40B4-BE49-F238E27FC236}">
                        <a16:creationId xmlns:a16="http://schemas.microsoft.com/office/drawing/2014/main" id="{E30CB5D1-5631-4456-AD1D-7C565C935726}"/>
                      </a:ext>
                    </a:extLst>
                  </p:cNvPr>
                  <p:cNvSpPr/>
                  <p:nvPr/>
                </p:nvSpPr>
                <p:spPr>
                  <a:xfrm>
                    <a:off x="1725168"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52" name="Oval 951">
                    <a:extLst>
                      <a:ext uri="{FF2B5EF4-FFF2-40B4-BE49-F238E27FC236}">
                        <a16:creationId xmlns:a16="http://schemas.microsoft.com/office/drawing/2014/main" id="{C8EEF885-84DD-4E6C-B773-692FF083C64C}"/>
                      </a:ext>
                    </a:extLst>
                  </p:cNvPr>
                  <p:cNvSpPr/>
                  <p:nvPr/>
                </p:nvSpPr>
                <p:spPr>
                  <a:xfrm>
                    <a:off x="1725168"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53" name="Oval 952">
                    <a:extLst>
                      <a:ext uri="{FF2B5EF4-FFF2-40B4-BE49-F238E27FC236}">
                        <a16:creationId xmlns:a16="http://schemas.microsoft.com/office/drawing/2014/main" id="{B991C1F5-EFC1-47E6-A6E4-ED65BFC694F2}"/>
                      </a:ext>
                    </a:extLst>
                  </p:cNvPr>
                  <p:cNvSpPr/>
                  <p:nvPr/>
                </p:nvSpPr>
                <p:spPr>
                  <a:xfrm>
                    <a:off x="1725168"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54" name="Oval 953">
                    <a:extLst>
                      <a:ext uri="{FF2B5EF4-FFF2-40B4-BE49-F238E27FC236}">
                        <a16:creationId xmlns:a16="http://schemas.microsoft.com/office/drawing/2014/main" id="{89FA7DD2-D81C-493F-AF7E-056062CE876A}"/>
                      </a:ext>
                    </a:extLst>
                  </p:cNvPr>
                  <p:cNvSpPr/>
                  <p:nvPr/>
                </p:nvSpPr>
                <p:spPr>
                  <a:xfrm>
                    <a:off x="1725168"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55" name="Oval 954">
                    <a:extLst>
                      <a:ext uri="{FF2B5EF4-FFF2-40B4-BE49-F238E27FC236}">
                        <a16:creationId xmlns:a16="http://schemas.microsoft.com/office/drawing/2014/main" id="{99B17348-AD32-48D3-9109-51C8FC98E1F0}"/>
                      </a:ext>
                    </a:extLst>
                  </p:cNvPr>
                  <p:cNvSpPr/>
                  <p:nvPr/>
                </p:nvSpPr>
                <p:spPr>
                  <a:xfrm>
                    <a:off x="1725168"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grpSp>
            <p:grpSp>
              <p:nvGrpSpPr>
                <p:cNvPr id="956" name="Group 955">
                  <a:extLst>
                    <a:ext uri="{FF2B5EF4-FFF2-40B4-BE49-F238E27FC236}">
                      <a16:creationId xmlns:a16="http://schemas.microsoft.com/office/drawing/2014/main" id="{3DB0DB65-9B23-40FA-84E9-EC5084FEFB90}"/>
                    </a:ext>
                  </a:extLst>
                </p:cNvPr>
                <p:cNvGrpSpPr/>
                <p:nvPr/>
              </p:nvGrpSpPr>
              <p:grpSpPr>
                <a:xfrm>
                  <a:off x="1936283" y="741439"/>
                  <a:ext cx="27432" cy="1054473"/>
                  <a:chOff x="1509097" y="741439"/>
                  <a:chExt cx="27432" cy="1054473"/>
                </a:xfrm>
              </p:grpSpPr>
              <p:sp>
                <p:nvSpPr>
                  <p:cNvPr id="957" name="Oval 956">
                    <a:extLst>
                      <a:ext uri="{FF2B5EF4-FFF2-40B4-BE49-F238E27FC236}">
                        <a16:creationId xmlns:a16="http://schemas.microsoft.com/office/drawing/2014/main" id="{CCDC3B70-1668-4EDE-94DB-D799CB0AFA6E}"/>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58" name="Oval 957">
                    <a:extLst>
                      <a:ext uri="{FF2B5EF4-FFF2-40B4-BE49-F238E27FC236}">
                        <a16:creationId xmlns:a16="http://schemas.microsoft.com/office/drawing/2014/main" id="{8D102E4D-4BE9-4827-9238-CEB7E1BACE1F}"/>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59" name="Oval 958">
                    <a:extLst>
                      <a:ext uri="{FF2B5EF4-FFF2-40B4-BE49-F238E27FC236}">
                        <a16:creationId xmlns:a16="http://schemas.microsoft.com/office/drawing/2014/main" id="{915E3E44-F9F9-4865-8CC1-6D6BE5D4F6B2}"/>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60" name="Oval 959">
                    <a:extLst>
                      <a:ext uri="{FF2B5EF4-FFF2-40B4-BE49-F238E27FC236}">
                        <a16:creationId xmlns:a16="http://schemas.microsoft.com/office/drawing/2014/main" id="{626834E4-9805-43CD-B4A7-E514BA670D4A}"/>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61" name="Oval 960">
                    <a:extLst>
                      <a:ext uri="{FF2B5EF4-FFF2-40B4-BE49-F238E27FC236}">
                        <a16:creationId xmlns:a16="http://schemas.microsoft.com/office/drawing/2014/main" id="{D319536A-5441-4AE5-8871-1401FA039A4B}"/>
                      </a:ext>
                    </a:extLst>
                  </p:cNvPr>
                  <p:cNvSpPr/>
                  <p:nvPr/>
                </p:nvSpPr>
                <p:spPr>
                  <a:xfrm>
                    <a:off x="1509097"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62" name="Oval 961">
                    <a:extLst>
                      <a:ext uri="{FF2B5EF4-FFF2-40B4-BE49-F238E27FC236}">
                        <a16:creationId xmlns:a16="http://schemas.microsoft.com/office/drawing/2014/main" id="{BE0FF2A5-3419-45D2-98CD-0AF21B9167AC}"/>
                      </a:ext>
                    </a:extLst>
                  </p:cNvPr>
                  <p:cNvSpPr/>
                  <p:nvPr/>
                </p:nvSpPr>
                <p:spPr>
                  <a:xfrm>
                    <a:off x="1509097"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grpSp>
            <p:grpSp>
              <p:nvGrpSpPr>
                <p:cNvPr id="963" name="Group 962">
                  <a:extLst>
                    <a:ext uri="{FF2B5EF4-FFF2-40B4-BE49-F238E27FC236}">
                      <a16:creationId xmlns:a16="http://schemas.microsoft.com/office/drawing/2014/main" id="{5E0F998F-361B-43BA-8784-953C5BBBF766}"/>
                    </a:ext>
                  </a:extLst>
                </p:cNvPr>
                <p:cNvGrpSpPr/>
                <p:nvPr/>
              </p:nvGrpSpPr>
              <p:grpSpPr>
                <a:xfrm>
                  <a:off x="2149876" y="741439"/>
                  <a:ext cx="27432" cy="1054473"/>
                  <a:chOff x="1509097" y="741439"/>
                  <a:chExt cx="27432" cy="1054473"/>
                </a:xfrm>
              </p:grpSpPr>
              <p:sp>
                <p:nvSpPr>
                  <p:cNvPr id="964" name="Oval 963">
                    <a:extLst>
                      <a:ext uri="{FF2B5EF4-FFF2-40B4-BE49-F238E27FC236}">
                        <a16:creationId xmlns:a16="http://schemas.microsoft.com/office/drawing/2014/main" id="{F94FDB54-40D8-4DF9-87A5-26590166CB67}"/>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65" name="Oval 964">
                    <a:extLst>
                      <a:ext uri="{FF2B5EF4-FFF2-40B4-BE49-F238E27FC236}">
                        <a16:creationId xmlns:a16="http://schemas.microsoft.com/office/drawing/2014/main" id="{DFF2DAEE-C8DD-4E1C-9F02-90DB5AA9E98F}"/>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66" name="Oval 965">
                    <a:extLst>
                      <a:ext uri="{FF2B5EF4-FFF2-40B4-BE49-F238E27FC236}">
                        <a16:creationId xmlns:a16="http://schemas.microsoft.com/office/drawing/2014/main" id="{B185C888-4FDC-4082-961F-5E8447CDCF76}"/>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67" name="Oval 966">
                    <a:extLst>
                      <a:ext uri="{FF2B5EF4-FFF2-40B4-BE49-F238E27FC236}">
                        <a16:creationId xmlns:a16="http://schemas.microsoft.com/office/drawing/2014/main" id="{5816E385-9684-45C1-B25E-42C6E621D15D}"/>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68" name="Oval 967">
                    <a:extLst>
                      <a:ext uri="{FF2B5EF4-FFF2-40B4-BE49-F238E27FC236}">
                        <a16:creationId xmlns:a16="http://schemas.microsoft.com/office/drawing/2014/main" id="{2CABA9BC-5385-44B5-A52F-0E5DAA171693}"/>
                      </a:ext>
                    </a:extLst>
                  </p:cNvPr>
                  <p:cNvSpPr/>
                  <p:nvPr/>
                </p:nvSpPr>
                <p:spPr>
                  <a:xfrm>
                    <a:off x="1509097"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69" name="Oval 968">
                    <a:extLst>
                      <a:ext uri="{FF2B5EF4-FFF2-40B4-BE49-F238E27FC236}">
                        <a16:creationId xmlns:a16="http://schemas.microsoft.com/office/drawing/2014/main" id="{163D5B11-13DD-47F8-B455-9471F1EAEEAE}"/>
                      </a:ext>
                    </a:extLst>
                  </p:cNvPr>
                  <p:cNvSpPr/>
                  <p:nvPr/>
                </p:nvSpPr>
                <p:spPr>
                  <a:xfrm>
                    <a:off x="1509097"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grpSp>
            <p:grpSp>
              <p:nvGrpSpPr>
                <p:cNvPr id="970" name="Group 969">
                  <a:extLst>
                    <a:ext uri="{FF2B5EF4-FFF2-40B4-BE49-F238E27FC236}">
                      <a16:creationId xmlns:a16="http://schemas.microsoft.com/office/drawing/2014/main" id="{683BE21C-2D0C-47FF-9BAC-67659241E727}"/>
                    </a:ext>
                  </a:extLst>
                </p:cNvPr>
                <p:cNvGrpSpPr/>
                <p:nvPr/>
              </p:nvGrpSpPr>
              <p:grpSpPr>
                <a:xfrm>
                  <a:off x="2363469" y="741439"/>
                  <a:ext cx="27432" cy="1054473"/>
                  <a:chOff x="1509097" y="741439"/>
                  <a:chExt cx="27432" cy="1054473"/>
                </a:xfrm>
              </p:grpSpPr>
              <p:sp>
                <p:nvSpPr>
                  <p:cNvPr id="971" name="Oval 970">
                    <a:extLst>
                      <a:ext uri="{FF2B5EF4-FFF2-40B4-BE49-F238E27FC236}">
                        <a16:creationId xmlns:a16="http://schemas.microsoft.com/office/drawing/2014/main" id="{3ECF0AB1-B539-4EEA-BE4D-8F612F77C6D7}"/>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72" name="Oval 971">
                    <a:extLst>
                      <a:ext uri="{FF2B5EF4-FFF2-40B4-BE49-F238E27FC236}">
                        <a16:creationId xmlns:a16="http://schemas.microsoft.com/office/drawing/2014/main" id="{90868B7B-EB4F-4249-BB9F-C96610482A0F}"/>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73" name="Oval 972">
                    <a:extLst>
                      <a:ext uri="{FF2B5EF4-FFF2-40B4-BE49-F238E27FC236}">
                        <a16:creationId xmlns:a16="http://schemas.microsoft.com/office/drawing/2014/main" id="{91440B65-43B7-49E2-A1AC-ABF4CC17546A}"/>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74" name="Oval 973">
                    <a:extLst>
                      <a:ext uri="{FF2B5EF4-FFF2-40B4-BE49-F238E27FC236}">
                        <a16:creationId xmlns:a16="http://schemas.microsoft.com/office/drawing/2014/main" id="{89A52FF2-512D-4490-98D6-FB647326EF40}"/>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75" name="Oval 974">
                    <a:extLst>
                      <a:ext uri="{FF2B5EF4-FFF2-40B4-BE49-F238E27FC236}">
                        <a16:creationId xmlns:a16="http://schemas.microsoft.com/office/drawing/2014/main" id="{CFD75FD9-DF71-4DEE-83E0-B3FD53C72F52}"/>
                      </a:ext>
                    </a:extLst>
                  </p:cNvPr>
                  <p:cNvSpPr/>
                  <p:nvPr/>
                </p:nvSpPr>
                <p:spPr>
                  <a:xfrm>
                    <a:off x="1509097"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76" name="Oval 975">
                    <a:extLst>
                      <a:ext uri="{FF2B5EF4-FFF2-40B4-BE49-F238E27FC236}">
                        <a16:creationId xmlns:a16="http://schemas.microsoft.com/office/drawing/2014/main" id="{469DB362-D9E2-477B-9468-6AA8DBCA702D}"/>
                      </a:ext>
                    </a:extLst>
                  </p:cNvPr>
                  <p:cNvSpPr/>
                  <p:nvPr/>
                </p:nvSpPr>
                <p:spPr>
                  <a:xfrm>
                    <a:off x="1509097"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grpSp>
            <p:grpSp>
              <p:nvGrpSpPr>
                <p:cNvPr id="977" name="Group 976">
                  <a:extLst>
                    <a:ext uri="{FF2B5EF4-FFF2-40B4-BE49-F238E27FC236}">
                      <a16:creationId xmlns:a16="http://schemas.microsoft.com/office/drawing/2014/main" id="{280FEBA4-0C7E-42BF-9DFD-01646F75DDBB}"/>
                    </a:ext>
                  </a:extLst>
                </p:cNvPr>
                <p:cNvGrpSpPr/>
                <p:nvPr/>
              </p:nvGrpSpPr>
              <p:grpSpPr>
                <a:xfrm>
                  <a:off x="2577062" y="741439"/>
                  <a:ext cx="27432" cy="1054473"/>
                  <a:chOff x="1509097" y="741439"/>
                  <a:chExt cx="27432" cy="1054473"/>
                </a:xfrm>
              </p:grpSpPr>
              <p:sp>
                <p:nvSpPr>
                  <p:cNvPr id="978" name="Oval 977">
                    <a:extLst>
                      <a:ext uri="{FF2B5EF4-FFF2-40B4-BE49-F238E27FC236}">
                        <a16:creationId xmlns:a16="http://schemas.microsoft.com/office/drawing/2014/main" id="{2711D2F9-FF6F-461C-ADA1-636BEB4F8091}"/>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79" name="Oval 978">
                    <a:extLst>
                      <a:ext uri="{FF2B5EF4-FFF2-40B4-BE49-F238E27FC236}">
                        <a16:creationId xmlns:a16="http://schemas.microsoft.com/office/drawing/2014/main" id="{3EC218C0-FE1A-453B-B01D-90D61BF1716C}"/>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80" name="Oval 979">
                    <a:extLst>
                      <a:ext uri="{FF2B5EF4-FFF2-40B4-BE49-F238E27FC236}">
                        <a16:creationId xmlns:a16="http://schemas.microsoft.com/office/drawing/2014/main" id="{7B6DED4F-5F26-42D6-BB51-6F915277CE27}"/>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81" name="Oval 980">
                    <a:extLst>
                      <a:ext uri="{FF2B5EF4-FFF2-40B4-BE49-F238E27FC236}">
                        <a16:creationId xmlns:a16="http://schemas.microsoft.com/office/drawing/2014/main" id="{D9EED901-6714-45C6-8F84-BDCC4DB7F71C}"/>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82" name="Oval 981">
                    <a:extLst>
                      <a:ext uri="{FF2B5EF4-FFF2-40B4-BE49-F238E27FC236}">
                        <a16:creationId xmlns:a16="http://schemas.microsoft.com/office/drawing/2014/main" id="{0B4B1E38-EAB3-4C58-BB24-D6007DFF16B1}"/>
                      </a:ext>
                    </a:extLst>
                  </p:cNvPr>
                  <p:cNvSpPr/>
                  <p:nvPr/>
                </p:nvSpPr>
                <p:spPr>
                  <a:xfrm>
                    <a:off x="1509097"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83" name="Oval 982">
                    <a:extLst>
                      <a:ext uri="{FF2B5EF4-FFF2-40B4-BE49-F238E27FC236}">
                        <a16:creationId xmlns:a16="http://schemas.microsoft.com/office/drawing/2014/main" id="{B5E70453-D82E-4E44-8789-8A646422FBB1}"/>
                      </a:ext>
                    </a:extLst>
                  </p:cNvPr>
                  <p:cNvSpPr/>
                  <p:nvPr/>
                </p:nvSpPr>
                <p:spPr>
                  <a:xfrm>
                    <a:off x="1509097"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grpSp>
            <p:grpSp>
              <p:nvGrpSpPr>
                <p:cNvPr id="984" name="Group 983">
                  <a:extLst>
                    <a:ext uri="{FF2B5EF4-FFF2-40B4-BE49-F238E27FC236}">
                      <a16:creationId xmlns:a16="http://schemas.microsoft.com/office/drawing/2014/main" id="{E932A83F-DBB0-4457-BCC0-905E5BDC4311}"/>
                    </a:ext>
                  </a:extLst>
                </p:cNvPr>
                <p:cNvGrpSpPr/>
                <p:nvPr/>
              </p:nvGrpSpPr>
              <p:grpSpPr>
                <a:xfrm>
                  <a:off x="2790657" y="741439"/>
                  <a:ext cx="27432" cy="1054473"/>
                  <a:chOff x="1509097" y="741439"/>
                  <a:chExt cx="27432" cy="1054473"/>
                </a:xfrm>
              </p:grpSpPr>
              <p:sp>
                <p:nvSpPr>
                  <p:cNvPr id="985" name="Oval 984">
                    <a:extLst>
                      <a:ext uri="{FF2B5EF4-FFF2-40B4-BE49-F238E27FC236}">
                        <a16:creationId xmlns:a16="http://schemas.microsoft.com/office/drawing/2014/main" id="{7C5EAC91-96F0-48E7-9F5B-940BAC185E82}"/>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86" name="Oval 985">
                    <a:extLst>
                      <a:ext uri="{FF2B5EF4-FFF2-40B4-BE49-F238E27FC236}">
                        <a16:creationId xmlns:a16="http://schemas.microsoft.com/office/drawing/2014/main" id="{4AC2BAB5-8A2F-4D9D-AABF-4FC16BC63FB0}"/>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87" name="Oval 986">
                    <a:extLst>
                      <a:ext uri="{FF2B5EF4-FFF2-40B4-BE49-F238E27FC236}">
                        <a16:creationId xmlns:a16="http://schemas.microsoft.com/office/drawing/2014/main" id="{FEDA2876-7ED0-4CBD-A00A-146CF157ACDA}"/>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88" name="Oval 987">
                    <a:extLst>
                      <a:ext uri="{FF2B5EF4-FFF2-40B4-BE49-F238E27FC236}">
                        <a16:creationId xmlns:a16="http://schemas.microsoft.com/office/drawing/2014/main" id="{A4C97E62-9E2A-4B16-ACA4-3A904EA680C6}"/>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89" name="Oval 988">
                    <a:extLst>
                      <a:ext uri="{FF2B5EF4-FFF2-40B4-BE49-F238E27FC236}">
                        <a16:creationId xmlns:a16="http://schemas.microsoft.com/office/drawing/2014/main" id="{BF5BC858-FFE5-4EBE-8BC2-524383EF1998}"/>
                      </a:ext>
                    </a:extLst>
                  </p:cNvPr>
                  <p:cNvSpPr/>
                  <p:nvPr/>
                </p:nvSpPr>
                <p:spPr>
                  <a:xfrm>
                    <a:off x="1509097"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990" name="Oval 989">
                    <a:extLst>
                      <a:ext uri="{FF2B5EF4-FFF2-40B4-BE49-F238E27FC236}">
                        <a16:creationId xmlns:a16="http://schemas.microsoft.com/office/drawing/2014/main" id="{8DCEA4A5-9193-47BB-A675-819A4629E8BA}"/>
                      </a:ext>
                    </a:extLst>
                  </p:cNvPr>
                  <p:cNvSpPr/>
                  <p:nvPr/>
                </p:nvSpPr>
                <p:spPr>
                  <a:xfrm>
                    <a:off x="1509097"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grpSp>
          </p:grpSp>
          <p:grpSp>
            <p:nvGrpSpPr>
              <p:cNvPr id="992" name="Group 991">
                <a:extLst>
                  <a:ext uri="{FF2B5EF4-FFF2-40B4-BE49-F238E27FC236}">
                    <a16:creationId xmlns:a16="http://schemas.microsoft.com/office/drawing/2014/main" id="{131A919A-D982-4FA0-A3E6-D1658A614CCB}"/>
                  </a:ext>
                </a:extLst>
              </p:cNvPr>
              <p:cNvGrpSpPr/>
              <p:nvPr/>
            </p:nvGrpSpPr>
            <p:grpSpPr>
              <a:xfrm>
                <a:off x="8465282" y="1866824"/>
                <a:ext cx="2583412" cy="2081094"/>
                <a:chOff x="1509097" y="741439"/>
                <a:chExt cx="1308992" cy="1054473"/>
              </a:xfrm>
            </p:grpSpPr>
            <p:grpSp>
              <p:nvGrpSpPr>
                <p:cNvPr id="993" name="Group 992">
                  <a:extLst>
                    <a:ext uri="{FF2B5EF4-FFF2-40B4-BE49-F238E27FC236}">
                      <a16:creationId xmlns:a16="http://schemas.microsoft.com/office/drawing/2014/main" id="{9AF9F6AF-D640-4D5B-9785-967DCDB4B905}"/>
                    </a:ext>
                  </a:extLst>
                </p:cNvPr>
                <p:cNvGrpSpPr/>
                <p:nvPr/>
              </p:nvGrpSpPr>
              <p:grpSpPr>
                <a:xfrm>
                  <a:off x="1509097" y="741439"/>
                  <a:ext cx="27432" cy="1054473"/>
                  <a:chOff x="1509097" y="741439"/>
                  <a:chExt cx="27432" cy="1054473"/>
                </a:xfrm>
              </p:grpSpPr>
              <p:sp>
                <p:nvSpPr>
                  <p:cNvPr id="1036" name="Oval 1035">
                    <a:extLst>
                      <a:ext uri="{FF2B5EF4-FFF2-40B4-BE49-F238E27FC236}">
                        <a16:creationId xmlns:a16="http://schemas.microsoft.com/office/drawing/2014/main" id="{8222ECFC-CB24-41D8-80B8-9A6B1B312942}"/>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37" name="Oval 1036">
                    <a:extLst>
                      <a:ext uri="{FF2B5EF4-FFF2-40B4-BE49-F238E27FC236}">
                        <a16:creationId xmlns:a16="http://schemas.microsoft.com/office/drawing/2014/main" id="{50E95EDC-308F-415F-AE38-CEF8911D49F4}"/>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38" name="Oval 1037">
                    <a:extLst>
                      <a:ext uri="{FF2B5EF4-FFF2-40B4-BE49-F238E27FC236}">
                        <a16:creationId xmlns:a16="http://schemas.microsoft.com/office/drawing/2014/main" id="{837A013F-0593-489F-9DED-1863C130490E}"/>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39" name="Oval 1038">
                    <a:extLst>
                      <a:ext uri="{FF2B5EF4-FFF2-40B4-BE49-F238E27FC236}">
                        <a16:creationId xmlns:a16="http://schemas.microsoft.com/office/drawing/2014/main" id="{5538D8B5-98FD-434E-8F9F-8B307F2D4793}"/>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40" name="Oval 1039">
                    <a:extLst>
                      <a:ext uri="{FF2B5EF4-FFF2-40B4-BE49-F238E27FC236}">
                        <a16:creationId xmlns:a16="http://schemas.microsoft.com/office/drawing/2014/main" id="{3298D458-EBCC-43D6-9ADF-C8FA7321B444}"/>
                      </a:ext>
                    </a:extLst>
                  </p:cNvPr>
                  <p:cNvSpPr/>
                  <p:nvPr/>
                </p:nvSpPr>
                <p:spPr>
                  <a:xfrm>
                    <a:off x="1509097"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41" name="Oval 1040">
                    <a:extLst>
                      <a:ext uri="{FF2B5EF4-FFF2-40B4-BE49-F238E27FC236}">
                        <a16:creationId xmlns:a16="http://schemas.microsoft.com/office/drawing/2014/main" id="{5905C061-8327-4FE3-8217-E11FCF9C9E64}"/>
                      </a:ext>
                    </a:extLst>
                  </p:cNvPr>
                  <p:cNvSpPr/>
                  <p:nvPr/>
                </p:nvSpPr>
                <p:spPr>
                  <a:xfrm>
                    <a:off x="1509097"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grpSp>
            <p:grpSp>
              <p:nvGrpSpPr>
                <p:cNvPr id="994" name="Group 993">
                  <a:extLst>
                    <a:ext uri="{FF2B5EF4-FFF2-40B4-BE49-F238E27FC236}">
                      <a16:creationId xmlns:a16="http://schemas.microsoft.com/office/drawing/2014/main" id="{74AD31E3-970F-47B3-B8BE-85F065385C23}"/>
                    </a:ext>
                  </a:extLst>
                </p:cNvPr>
                <p:cNvGrpSpPr/>
                <p:nvPr/>
              </p:nvGrpSpPr>
              <p:grpSpPr>
                <a:xfrm>
                  <a:off x="1722690" y="741439"/>
                  <a:ext cx="27432" cy="1054473"/>
                  <a:chOff x="1725168" y="741439"/>
                  <a:chExt cx="27432" cy="1054473"/>
                </a:xfrm>
              </p:grpSpPr>
              <p:sp>
                <p:nvSpPr>
                  <p:cNvPr id="1030" name="Oval 1029">
                    <a:extLst>
                      <a:ext uri="{FF2B5EF4-FFF2-40B4-BE49-F238E27FC236}">
                        <a16:creationId xmlns:a16="http://schemas.microsoft.com/office/drawing/2014/main" id="{88A20CEC-1CC4-42F9-B50F-0218B1558D66}"/>
                      </a:ext>
                    </a:extLst>
                  </p:cNvPr>
                  <p:cNvSpPr/>
                  <p:nvPr/>
                </p:nvSpPr>
                <p:spPr>
                  <a:xfrm>
                    <a:off x="1725168"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31" name="Oval 1030">
                    <a:extLst>
                      <a:ext uri="{FF2B5EF4-FFF2-40B4-BE49-F238E27FC236}">
                        <a16:creationId xmlns:a16="http://schemas.microsoft.com/office/drawing/2014/main" id="{08019C20-2BD0-422B-B09D-1521978CDD58}"/>
                      </a:ext>
                    </a:extLst>
                  </p:cNvPr>
                  <p:cNvSpPr/>
                  <p:nvPr/>
                </p:nvSpPr>
                <p:spPr>
                  <a:xfrm>
                    <a:off x="1725168"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32" name="Oval 1031">
                    <a:extLst>
                      <a:ext uri="{FF2B5EF4-FFF2-40B4-BE49-F238E27FC236}">
                        <a16:creationId xmlns:a16="http://schemas.microsoft.com/office/drawing/2014/main" id="{6C7AEDD5-EF1B-4BA3-AF56-9D16B5D11789}"/>
                      </a:ext>
                    </a:extLst>
                  </p:cNvPr>
                  <p:cNvSpPr/>
                  <p:nvPr/>
                </p:nvSpPr>
                <p:spPr>
                  <a:xfrm>
                    <a:off x="1725168"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33" name="Oval 1032">
                    <a:extLst>
                      <a:ext uri="{FF2B5EF4-FFF2-40B4-BE49-F238E27FC236}">
                        <a16:creationId xmlns:a16="http://schemas.microsoft.com/office/drawing/2014/main" id="{6BC7C6F6-DEA4-4A17-AEE0-DB354DDB3A6B}"/>
                      </a:ext>
                    </a:extLst>
                  </p:cNvPr>
                  <p:cNvSpPr/>
                  <p:nvPr/>
                </p:nvSpPr>
                <p:spPr>
                  <a:xfrm>
                    <a:off x="1725168"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34" name="Oval 1033">
                    <a:extLst>
                      <a:ext uri="{FF2B5EF4-FFF2-40B4-BE49-F238E27FC236}">
                        <a16:creationId xmlns:a16="http://schemas.microsoft.com/office/drawing/2014/main" id="{3E257746-D126-426C-A98C-59B3FF05950A}"/>
                      </a:ext>
                    </a:extLst>
                  </p:cNvPr>
                  <p:cNvSpPr/>
                  <p:nvPr/>
                </p:nvSpPr>
                <p:spPr>
                  <a:xfrm>
                    <a:off x="1725168"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35" name="Oval 1034">
                    <a:extLst>
                      <a:ext uri="{FF2B5EF4-FFF2-40B4-BE49-F238E27FC236}">
                        <a16:creationId xmlns:a16="http://schemas.microsoft.com/office/drawing/2014/main" id="{1A28A2D2-8CDD-4D04-8EA9-E9779099865C}"/>
                      </a:ext>
                    </a:extLst>
                  </p:cNvPr>
                  <p:cNvSpPr/>
                  <p:nvPr/>
                </p:nvSpPr>
                <p:spPr>
                  <a:xfrm>
                    <a:off x="1725168"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grpSp>
            <p:grpSp>
              <p:nvGrpSpPr>
                <p:cNvPr id="995" name="Group 994">
                  <a:extLst>
                    <a:ext uri="{FF2B5EF4-FFF2-40B4-BE49-F238E27FC236}">
                      <a16:creationId xmlns:a16="http://schemas.microsoft.com/office/drawing/2014/main" id="{C3E134CF-CB65-42F7-B4E8-129AD8E510A5}"/>
                    </a:ext>
                  </a:extLst>
                </p:cNvPr>
                <p:cNvGrpSpPr/>
                <p:nvPr/>
              </p:nvGrpSpPr>
              <p:grpSpPr>
                <a:xfrm>
                  <a:off x="1936283" y="741439"/>
                  <a:ext cx="27432" cy="1054473"/>
                  <a:chOff x="1509097" y="741439"/>
                  <a:chExt cx="27432" cy="1054473"/>
                </a:xfrm>
              </p:grpSpPr>
              <p:sp>
                <p:nvSpPr>
                  <p:cNvPr id="1024" name="Oval 1023">
                    <a:extLst>
                      <a:ext uri="{FF2B5EF4-FFF2-40B4-BE49-F238E27FC236}">
                        <a16:creationId xmlns:a16="http://schemas.microsoft.com/office/drawing/2014/main" id="{E0A30F2E-AC33-4AC6-9E2A-280BD77EA323}"/>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25" name="Oval 1024">
                    <a:extLst>
                      <a:ext uri="{FF2B5EF4-FFF2-40B4-BE49-F238E27FC236}">
                        <a16:creationId xmlns:a16="http://schemas.microsoft.com/office/drawing/2014/main" id="{A9BCC43D-7792-421D-955A-C163BAF81D56}"/>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26" name="Oval 1025">
                    <a:extLst>
                      <a:ext uri="{FF2B5EF4-FFF2-40B4-BE49-F238E27FC236}">
                        <a16:creationId xmlns:a16="http://schemas.microsoft.com/office/drawing/2014/main" id="{1052222A-69DA-4958-BC1A-5637D22D3BD3}"/>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27" name="Oval 1026">
                    <a:extLst>
                      <a:ext uri="{FF2B5EF4-FFF2-40B4-BE49-F238E27FC236}">
                        <a16:creationId xmlns:a16="http://schemas.microsoft.com/office/drawing/2014/main" id="{87AF330D-97CD-423A-AC4F-710022E7AD6D}"/>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28" name="Oval 1027">
                    <a:extLst>
                      <a:ext uri="{FF2B5EF4-FFF2-40B4-BE49-F238E27FC236}">
                        <a16:creationId xmlns:a16="http://schemas.microsoft.com/office/drawing/2014/main" id="{AB15D044-84C9-4708-B728-EA33B1608EB7}"/>
                      </a:ext>
                    </a:extLst>
                  </p:cNvPr>
                  <p:cNvSpPr/>
                  <p:nvPr/>
                </p:nvSpPr>
                <p:spPr>
                  <a:xfrm>
                    <a:off x="1509097"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29" name="Oval 1028">
                    <a:extLst>
                      <a:ext uri="{FF2B5EF4-FFF2-40B4-BE49-F238E27FC236}">
                        <a16:creationId xmlns:a16="http://schemas.microsoft.com/office/drawing/2014/main" id="{1A6099C5-C52A-4D8B-9BC1-32C7D35497F5}"/>
                      </a:ext>
                    </a:extLst>
                  </p:cNvPr>
                  <p:cNvSpPr/>
                  <p:nvPr/>
                </p:nvSpPr>
                <p:spPr>
                  <a:xfrm>
                    <a:off x="1509097"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grpSp>
            <p:grpSp>
              <p:nvGrpSpPr>
                <p:cNvPr id="996" name="Group 995">
                  <a:extLst>
                    <a:ext uri="{FF2B5EF4-FFF2-40B4-BE49-F238E27FC236}">
                      <a16:creationId xmlns:a16="http://schemas.microsoft.com/office/drawing/2014/main" id="{4380376D-C34F-4E39-BE3D-0B7BE255BCDC}"/>
                    </a:ext>
                  </a:extLst>
                </p:cNvPr>
                <p:cNvGrpSpPr/>
                <p:nvPr/>
              </p:nvGrpSpPr>
              <p:grpSpPr>
                <a:xfrm>
                  <a:off x="2149876" y="741439"/>
                  <a:ext cx="27432" cy="1054473"/>
                  <a:chOff x="1509097" y="741439"/>
                  <a:chExt cx="27432" cy="1054473"/>
                </a:xfrm>
              </p:grpSpPr>
              <p:sp>
                <p:nvSpPr>
                  <p:cNvPr id="1018" name="Oval 1017">
                    <a:extLst>
                      <a:ext uri="{FF2B5EF4-FFF2-40B4-BE49-F238E27FC236}">
                        <a16:creationId xmlns:a16="http://schemas.microsoft.com/office/drawing/2014/main" id="{F52BBF2B-6E72-44AF-B704-55A7985AA333}"/>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19" name="Oval 1018">
                    <a:extLst>
                      <a:ext uri="{FF2B5EF4-FFF2-40B4-BE49-F238E27FC236}">
                        <a16:creationId xmlns:a16="http://schemas.microsoft.com/office/drawing/2014/main" id="{3CFF57ED-2C50-4745-852D-10EE11240A08}"/>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20" name="Oval 1019">
                    <a:extLst>
                      <a:ext uri="{FF2B5EF4-FFF2-40B4-BE49-F238E27FC236}">
                        <a16:creationId xmlns:a16="http://schemas.microsoft.com/office/drawing/2014/main" id="{7D4F1766-67EC-419C-B21E-8FEE3F7ECA67}"/>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21" name="Oval 1020">
                    <a:extLst>
                      <a:ext uri="{FF2B5EF4-FFF2-40B4-BE49-F238E27FC236}">
                        <a16:creationId xmlns:a16="http://schemas.microsoft.com/office/drawing/2014/main" id="{128510BA-1607-49B2-8B46-62111065E8C0}"/>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22" name="Oval 1021">
                    <a:extLst>
                      <a:ext uri="{FF2B5EF4-FFF2-40B4-BE49-F238E27FC236}">
                        <a16:creationId xmlns:a16="http://schemas.microsoft.com/office/drawing/2014/main" id="{5D588DE5-0580-4C2A-B712-7A7D50D4C5D3}"/>
                      </a:ext>
                    </a:extLst>
                  </p:cNvPr>
                  <p:cNvSpPr/>
                  <p:nvPr/>
                </p:nvSpPr>
                <p:spPr>
                  <a:xfrm>
                    <a:off x="1509097"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23" name="Oval 1022">
                    <a:extLst>
                      <a:ext uri="{FF2B5EF4-FFF2-40B4-BE49-F238E27FC236}">
                        <a16:creationId xmlns:a16="http://schemas.microsoft.com/office/drawing/2014/main" id="{2708EBB0-60B7-4BF3-A10E-2E31CBF3EF39}"/>
                      </a:ext>
                    </a:extLst>
                  </p:cNvPr>
                  <p:cNvSpPr/>
                  <p:nvPr/>
                </p:nvSpPr>
                <p:spPr>
                  <a:xfrm>
                    <a:off x="1509097"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grpSp>
            <p:grpSp>
              <p:nvGrpSpPr>
                <p:cNvPr id="997" name="Group 996">
                  <a:extLst>
                    <a:ext uri="{FF2B5EF4-FFF2-40B4-BE49-F238E27FC236}">
                      <a16:creationId xmlns:a16="http://schemas.microsoft.com/office/drawing/2014/main" id="{8718250A-AD2F-409C-ACED-BF733BFBEF07}"/>
                    </a:ext>
                  </a:extLst>
                </p:cNvPr>
                <p:cNvGrpSpPr/>
                <p:nvPr/>
              </p:nvGrpSpPr>
              <p:grpSpPr>
                <a:xfrm>
                  <a:off x="2363469" y="741439"/>
                  <a:ext cx="27432" cy="1054473"/>
                  <a:chOff x="1509097" y="741439"/>
                  <a:chExt cx="27432" cy="1054473"/>
                </a:xfrm>
              </p:grpSpPr>
              <p:sp>
                <p:nvSpPr>
                  <p:cNvPr id="1012" name="Oval 1011">
                    <a:extLst>
                      <a:ext uri="{FF2B5EF4-FFF2-40B4-BE49-F238E27FC236}">
                        <a16:creationId xmlns:a16="http://schemas.microsoft.com/office/drawing/2014/main" id="{D35F8DE9-FD2C-4A85-8478-DA0DBDDE97C9}"/>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13" name="Oval 1012">
                    <a:extLst>
                      <a:ext uri="{FF2B5EF4-FFF2-40B4-BE49-F238E27FC236}">
                        <a16:creationId xmlns:a16="http://schemas.microsoft.com/office/drawing/2014/main" id="{C1B28F53-9B6D-43CE-8D4E-6E68DEFA302B}"/>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14" name="Oval 1013">
                    <a:extLst>
                      <a:ext uri="{FF2B5EF4-FFF2-40B4-BE49-F238E27FC236}">
                        <a16:creationId xmlns:a16="http://schemas.microsoft.com/office/drawing/2014/main" id="{AC986B06-51F5-41CD-91D9-CCBFE85F7ABE}"/>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15" name="Oval 1014">
                    <a:extLst>
                      <a:ext uri="{FF2B5EF4-FFF2-40B4-BE49-F238E27FC236}">
                        <a16:creationId xmlns:a16="http://schemas.microsoft.com/office/drawing/2014/main" id="{8D0F3F4F-8EDB-428E-B856-F168F8000384}"/>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16" name="Oval 1015">
                    <a:extLst>
                      <a:ext uri="{FF2B5EF4-FFF2-40B4-BE49-F238E27FC236}">
                        <a16:creationId xmlns:a16="http://schemas.microsoft.com/office/drawing/2014/main" id="{28E1634F-21AF-4BDF-A945-B09903F0C331}"/>
                      </a:ext>
                    </a:extLst>
                  </p:cNvPr>
                  <p:cNvSpPr/>
                  <p:nvPr/>
                </p:nvSpPr>
                <p:spPr>
                  <a:xfrm>
                    <a:off x="1509097"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17" name="Oval 1016">
                    <a:extLst>
                      <a:ext uri="{FF2B5EF4-FFF2-40B4-BE49-F238E27FC236}">
                        <a16:creationId xmlns:a16="http://schemas.microsoft.com/office/drawing/2014/main" id="{593B691F-AF7B-4B9D-8303-B8BF0503FCD7}"/>
                      </a:ext>
                    </a:extLst>
                  </p:cNvPr>
                  <p:cNvSpPr/>
                  <p:nvPr/>
                </p:nvSpPr>
                <p:spPr>
                  <a:xfrm>
                    <a:off x="1509097"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grpSp>
            <p:grpSp>
              <p:nvGrpSpPr>
                <p:cNvPr id="998" name="Group 997">
                  <a:extLst>
                    <a:ext uri="{FF2B5EF4-FFF2-40B4-BE49-F238E27FC236}">
                      <a16:creationId xmlns:a16="http://schemas.microsoft.com/office/drawing/2014/main" id="{77AA977F-D06B-456C-835F-508F9D67F01E}"/>
                    </a:ext>
                  </a:extLst>
                </p:cNvPr>
                <p:cNvGrpSpPr/>
                <p:nvPr/>
              </p:nvGrpSpPr>
              <p:grpSpPr>
                <a:xfrm>
                  <a:off x="2577062" y="741439"/>
                  <a:ext cx="27432" cy="1054473"/>
                  <a:chOff x="1509097" y="741439"/>
                  <a:chExt cx="27432" cy="1054473"/>
                </a:xfrm>
              </p:grpSpPr>
              <p:sp>
                <p:nvSpPr>
                  <p:cNvPr id="1006" name="Oval 1005">
                    <a:extLst>
                      <a:ext uri="{FF2B5EF4-FFF2-40B4-BE49-F238E27FC236}">
                        <a16:creationId xmlns:a16="http://schemas.microsoft.com/office/drawing/2014/main" id="{52FC33AD-0D01-4057-8EDD-A212F863E392}"/>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07" name="Oval 1006">
                    <a:extLst>
                      <a:ext uri="{FF2B5EF4-FFF2-40B4-BE49-F238E27FC236}">
                        <a16:creationId xmlns:a16="http://schemas.microsoft.com/office/drawing/2014/main" id="{A20F2884-1357-48A3-B8AA-E5EDE16F4214}"/>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08" name="Oval 1007">
                    <a:extLst>
                      <a:ext uri="{FF2B5EF4-FFF2-40B4-BE49-F238E27FC236}">
                        <a16:creationId xmlns:a16="http://schemas.microsoft.com/office/drawing/2014/main" id="{08A9CF46-A99B-4277-8D8A-ACCDD8463563}"/>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09" name="Oval 1008">
                    <a:extLst>
                      <a:ext uri="{FF2B5EF4-FFF2-40B4-BE49-F238E27FC236}">
                        <a16:creationId xmlns:a16="http://schemas.microsoft.com/office/drawing/2014/main" id="{CE1480BD-A973-402C-8A1D-33BFA7BE8060}"/>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10" name="Oval 1009">
                    <a:extLst>
                      <a:ext uri="{FF2B5EF4-FFF2-40B4-BE49-F238E27FC236}">
                        <a16:creationId xmlns:a16="http://schemas.microsoft.com/office/drawing/2014/main" id="{333DFD2F-25E4-468D-8E2D-6020D3528A34}"/>
                      </a:ext>
                    </a:extLst>
                  </p:cNvPr>
                  <p:cNvSpPr/>
                  <p:nvPr/>
                </p:nvSpPr>
                <p:spPr>
                  <a:xfrm>
                    <a:off x="1509097"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11" name="Oval 1010">
                    <a:extLst>
                      <a:ext uri="{FF2B5EF4-FFF2-40B4-BE49-F238E27FC236}">
                        <a16:creationId xmlns:a16="http://schemas.microsoft.com/office/drawing/2014/main" id="{A78E73AD-95C4-45F0-9D9B-29E9AB02FAAD}"/>
                      </a:ext>
                    </a:extLst>
                  </p:cNvPr>
                  <p:cNvSpPr/>
                  <p:nvPr/>
                </p:nvSpPr>
                <p:spPr>
                  <a:xfrm>
                    <a:off x="1509097"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grpSp>
            <p:grpSp>
              <p:nvGrpSpPr>
                <p:cNvPr id="999" name="Group 998">
                  <a:extLst>
                    <a:ext uri="{FF2B5EF4-FFF2-40B4-BE49-F238E27FC236}">
                      <a16:creationId xmlns:a16="http://schemas.microsoft.com/office/drawing/2014/main" id="{A40C9E43-4E08-4DD4-BFD8-9365F17C546E}"/>
                    </a:ext>
                  </a:extLst>
                </p:cNvPr>
                <p:cNvGrpSpPr/>
                <p:nvPr/>
              </p:nvGrpSpPr>
              <p:grpSpPr>
                <a:xfrm>
                  <a:off x="2790657" y="741439"/>
                  <a:ext cx="27432" cy="1054473"/>
                  <a:chOff x="1509097" y="741439"/>
                  <a:chExt cx="27432" cy="1054473"/>
                </a:xfrm>
              </p:grpSpPr>
              <p:sp>
                <p:nvSpPr>
                  <p:cNvPr id="1000" name="Oval 999">
                    <a:extLst>
                      <a:ext uri="{FF2B5EF4-FFF2-40B4-BE49-F238E27FC236}">
                        <a16:creationId xmlns:a16="http://schemas.microsoft.com/office/drawing/2014/main" id="{9A481C66-23CB-4752-8D53-6FA87FFA033D}"/>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01" name="Oval 1000">
                    <a:extLst>
                      <a:ext uri="{FF2B5EF4-FFF2-40B4-BE49-F238E27FC236}">
                        <a16:creationId xmlns:a16="http://schemas.microsoft.com/office/drawing/2014/main" id="{7DF92799-19AD-4913-8276-555C33387EE6}"/>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02" name="Oval 1001">
                    <a:extLst>
                      <a:ext uri="{FF2B5EF4-FFF2-40B4-BE49-F238E27FC236}">
                        <a16:creationId xmlns:a16="http://schemas.microsoft.com/office/drawing/2014/main" id="{7ABDFF1E-3D68-4740-8DAE-34E431570FFB}"/>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03" name="Oval 1002">
                    <a:extLst>
                      <a:ext uri="{FF2B5EF4-FFF2-40B4-BE49-F238E27FC236}">
                        <a16:creationId xmlns:a16="http://schemas.microsoft.com/office/drawing/2014/main" id="{90A5A497-F620-4137-9B5D-2854A08FDA39}"/>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04" name="Oval 1003">
                    <a:extLst>
                      <a:ext uri="{FF2B5EF4-FFF2-40B4-BE49-F238E27FC236}">
                        <a16:creationId xmlns:a16="http://schemas.microsoft.com/office/drawing/2014/main" id="{38DB7CB3-CB44-4E0A-B9C9-D582F8336406}"/>
                      </a:ext>
                    </a:extLst>
                  </p:cNvPr>
                  <p:cNvSpPr/>
                  <p:nvPr/>
                </p:nvSpPr>
                <p:spPr>
                  <a:xfrm>
                    <a:off x="1509097"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sp>
                <p:nvSpPr>
                  <p:cNvPr id="1005" name="Oval 1004">
                    <a:extLst>
                      <a:ext uri="{FF2B5EF4-FFF2-40B4-BE49-F238E27FC236}">
                        <a16:creationId xmlns:a16="http://schemas.microsoft.com/office/drawing/2014/main" id="{44E8F443-558A-4EBD-BEDD-1815A0C6300B}"/>
                      </a:ext>
                    </a:extLst>
                  </p:cNvPr>
                  <p:cNvSpPr/>
                  <p:nvPr/>
                </p:nvSpPr>
                <p:spPr>
                  <a:xfrm>
                    <a:off x="1509097"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latin typeface="CiscoSansTT ExtraLight"/>
                      <a:ea typeface="+mn-ea"/>
                      <a:cs typeface="+mn-cs"/>
                    </a:endParaRPr>
                  </a:p>
                </p:txBody>
              </p:sp>
            </p:grpSp>
          </p:grpSp>
        </p:grpSp>
        <p:sp>
          <p:nvSpPr>
            <p:cNvPr id="65" name="Arc 64">
              <a:extLst>
                <a:ext uri="{FF2B5EF4-FFF2-40B4-BE49-F238E27FC236}">
                  <a16:creationId xmlns:a16="http://schemas.microsoft.com/office/drawing/2014/main" id="{4584F6BE-9BAD-45E5-A4A1-8C1E59CCA3A2}"/>
                </a:ext>
              </a:extLst>
            </p:cNvPr>
            <p:cNvSpPr/>
            <p:nvPr/>
          </p:nvSpPr>
          <p:spPr>
            <a:xfrm>
              <a:off x="8657809" y="1533643"/>
              <a:ext cx="2709656" cy="2709656"/>
            </a:xfrm>
            <a:prstGeom prst="arc">
              <a:avLst>
                <a:gd name="adj1" fmla="val 15863911"/>
                <a:gd name="adj2" fmla="val 10767002"/>
              </a:avLst>
            </a:prstGeom>
            <a:noFill/>
            <a:ln w="5175" cap="flat">
              <a:solidFill>
                <a:schemeClr val="tx2"/>
              </a:solidFill>
              <a:prstDash val="solid"/>
              <a:miter/>
            </a:ln>
          </p:spPr>
          <p:txBody>
            <a:bodyPr rtlCol="0" anchor="ctr"/>
            <a:lstStyle/>
            <a:p>
              <a:endParaRPr lang="en-IN" dirty="0"/>
            </a:p>
          </p:txBody>
        </p:sp>
        <p:grpSp>
          <p:nvGrpSpPr>
            <p:cNvPr id="799" name="Group 798">
              <a:extLst>
                <a:ext uri="{FF2B5EF4-FFF2-40B4-BE49-F238E27FC236}">
                  <a16:creationId xmlns:a16="http://schemas.microsoft.com/office/drawing/2014/main" id="{0842668D-FB83-4FED-B5B4-D5DCCC475CA7}"/>
                </a:ext>
              </a:extLst>
            </p:cNvPr>
            <p:cNvGrpSpPr>
              <a:grpSpLocks noChangeAspect="1"/>
            </p:cNvGrpSpPr>
            <p:nvPr/>
          </p:nvGrpSpPr>
          <p:grpSpPr bwMode="auto">
            <a:xfrm rot="20456314">
              <a:off x="9319240" y="2621757"/>
              <a:ext cx="1753958" cy="1035762"/>
              <a:chOff x="2695" y="1514"/>
              <a:chExt cx="359" cy="212"/>
            </a:xfrm>
            <a:solidFill>
              <a:srgbClr val="74BF4B"/>
            </a:solidFill>
          </p:grpSpPr>
          <p:sp>
            <p:nvSpPr>
              <p:cNvPr id="800" name="Freeform 21">
                <a:extLst>
                  <a:ext uri="{FF2B5EF4-FFF2-40B4-BE49-F238E27FC236}">
                    <a16:creationId xmlns:a16="http://schemas.microsoft.com/office/drawing/2014/main" id="{C3E35E1B-D2AE-43C8-9DA7-08E734C02D56}"/>
                  </a:ext>
                </a:extLst>
              </p:cNvPr>
              <p:cNvSpPr>
                <a:spLocks/>
              </p:cNvSpPr>
              <p:nvPr/>
            </p:nvSpPr>
            <p:spPr bwMode="auto">
              <a:xfrm>
                <a:off x="2792" y="1531"/>
                <a:ext cx="172" cy="101"/>
              </a:xfrm>
              <a:custGeom>
                <a:avLst/>
                <a:gdLst>
                  <a:gd name="T0" fmla="*/ 65 w 125"/>
                  <a:gd name="T1" fmla="*/ 73 h 73"/>
                  <a:gd name="T2" fmla="*/ 56 w 125"/>
                  <a:gd name="T3" fmla="*/ 72 h 73"/>
                  <a:gd name="T4" fmla="*/ 5 w 125"/>
                  <a:gd name="T5" fmla="*/ 3 h 73"/>
                  <a:gd name="T6" fmla="*/ 5 w 125"/>
                  <a:gd name="T7" fmla="*/ 1 h 73"/>
                  <a:gd name="T8" fmla="*/ 7 w 125"/>
                  <a:gd name="T9" fmla="*/ 0 h 73"/>
                  <a:gd name="T10" fmla="*/ 8 w 125"/>
                  <a:gd name="T11" fmla="*/ 2 h 73"/>
                  <a:gd name="T12" fmla="*/ 8 w 125"/>
                  <a:gd name="T13" fmla="*/ 3 h 73"/>
                  <a:gd name="T14" fmla="*/ 57 w 125"/>
                  <a:gd name="T15" fmla="*/ 69 h 73"/>
                  <a:gd name="T16" fmla="*/ 99 w 125"/>
                  <a:gd name="T17" fmla="*/ 58 h 73"/>
                  <a:gd name="T18" fmla="*/ 122 w 125"/>
                  <a:gd name="T19" fmla="*/ 20 h 73"/>
                  <a:gd name="T20" fmla="*/ 124 w 125"/>
                  <a:gd name="T21" fmla="*/ 19 h 73"/>
                  <a:gd name="T22" fmla="*/ 125 w 125"/>
                  <a:gd name="T23" fmla="*/ 20 h 73"/>
                  <a:gd name="T24" fmla="*/ 101 w 125"/>
                  <a:gd name="T25" fmla="*/ 61 h 73"/>
                  <a:gd name="T26" fmla="*/ 65 w 125"/>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3">
                    <a:moveTo>
                      <a:pt x="65" y="73"/>
                    </a:moveTo>
                    <a:cubicBezTo>
                      <a:pt x="62" y="73"/>
                      <a:pt x="59" y="73"/>
                      <a:pt x="56" y="72"/>
                    </a:cubicBezTo>
                    <a:cubicBezTo>
                      <a:pt x="23" y="67"/>
                      <a:pt x="0" y="36"/>
                      <a:pt x="5" y="3"/>
                    </a:cubicBezTo>
                    <a:cubicBezTo>
                      <a:pt x="5" y="1"/>
                      <a:pt x="5" y="1"/>
                      <a:pt x="5" y="1"/>
                    </a:cubicBezTo>
                    <a:cubicBezTo>
                      <a:pt x="6" y="0"/>
                      <a:pt x="6" y="0"/>
                      <a:pt x="7" y="0"/>
                    </a:cubicBezTo>
                    <a:cubicBezTo>
                      <a:pt x="8" y="0"/>
                      <a:pt x="9" y="1"/>
                      <a:pt x="8" y="2"/>
                    </a:cubicBezTo>
                    <a:cubicBezTo>
                      <a:pt x="8" y="3"/>
                      <a:pt x="8" y="3"/>
                      <a:pt x="8" y="3"/>
                    </a:cubicBezTo>
                    <a:cubicBezTo>
                      <a:pt x="4" y="35"/>
                      <a:pt x="25" y="65"/>
                      <a:pt x="57" y="69"/>
                    </a:cubicBezTo>
                    <a:cubicBezTo>
                      <a:pt x="72" y="71"/>
                      <a:pt x="87" y="68"/>
                      <a:pt x="99" y="58"/>
                    </a:cubicBezTo>
                    <a:cubicBezTo>
                      <a:pt x="112" y="49"/>
                      <a:pt x="120" y="35"/>
                      <a:pt x="122" y="20"/>
                    </a:cubicBezTo>
                    <a:cubicBezTo>
                      <a:pt x="122" y="19"/>
                      <a:pt x="123" y="18"/>
                      <a:pt x="124" y="19"/>
                    </a:cubicBezTo>
                    <a:cubicBezTo>
                      <a:pt x="124" y="19"/>
                      <a:pt x="125" y="19"/>
                      <a:pt x="125" y="20"/>
                    </a:cubicBezTo>
                    <a:cubicBezTo>
                      <a:pt x="122" y="37"/>
                      <a:pt x="114" y="51"/>
                      <a:pt x="101" y="61"/>
                    </a:cubicBezTo>
                    <a:cubicBezTo>
                      <a:pt x="90" y="69"/>
                      <a:pt x="78" y="73"/>
                      <a:pt x="65"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charset="0"/>
                  <a:ea typeface="ＭＳ Ｐゴシック" charset="0"/>
                </a:endParaRPr>
              </a:p>
            </p:txBody>
          </p:sp>
          <p:sp>
            <p:nvSpPr>
              <p:cNvPr id="801" name="Freeform 22">
                <a:extLst>
                  <a:ext uri="{FF2B5EF4-FFF2-40B4-BE49-F238E27FC236}">
                    <a16:creationId xmlns:a16="http://schemas.microsoft.com/office/drawing/2014/main" id="{2445E1AF-721B-463B-8272-89208E6C1866}"/>
                  </a:ext>
                </a:extLst>
              </p:cNvPr>
              <p:cNvSpPr>
                <a:spLocks/>
              </p:cNvSpPr>
              <p:nvPr/>
            </p:nvSpPr>
            <p:spPr bwMode="auto">
              <a:xfrm>
                <a:off x="2769" y="1525"/>
                <a:ext cx="220" cy="129"/>
              </a:xfrm>
              <a:custGeom>
                <a:avLst/>
                <a:gdLst>
                  <a:gd name="T0" fmla="*/ 83 w 160"/>
                  <a:gd name="T1" fmla="*/ 93 h 93"/>
                  <a:gd name="T2" fmla="*/ 72 w 160"/>
                  <a:gd name="T3" fmla="*/ 92 h 93"/>
                  <a:gd name="T4" fmla="*/ 6 w 160"/>
                  <a:gd name="T5" fmla="*/ 3 h 93"/>
                  <a:gd name="T6" fmla="*/ 6 w 160"/>
                  <a:gd name="T7" fmla="*/ 1 h 93"/>
                  <a:gd name="T8" fmla="*/ 8 w 160"/>
                  <a:gd name="T9" fmla="*/ 0 h 93"/>
                  <a:gd name="T10" fmla="*/ 9 w 160"/>
                  <a:gd name="T11" fmla="*/ 2 h 93"/>
                  <a:gd name="T12" fmla="*/ 9 w 160"/>
                  <a:gd name="T13" fmla="*/ 4 h 93"/>
                  <a:gd name="T14" fmla="*/ 72 w 160"/>
                  <a:gd name="T15" fmla="*/ 89 h 93"/>
                  <a:gd name="T16" fmla="*/ 127 w 160"/>
                  <a:gd name="T17" fmla="*/ 75 h 93"/>
                  <a:gd name="T18" fmla="*/ 157 w 160"/>
                  <a:gd name="T19" fmla="*/ 25 h 93"/>
                  <a:gd name="T20" fmla="*/ 159 w 160"/>
                  <a:gd name="T21" fmla="*/ 24 h 93"/>
                  <a:gd name="T22" fmla="*/ 160 w 160"/>
                  <a:gd name="T23" fmla="*/ 26 h 93"/>
                  <a:gd name="T24" fmla="*/ 129 w 160"/>
                  <a:gd name="T25" fmla="*/ 78 h 93"/>
                  <a:gd name="T26" fmla="*/ 83 w 160"/>
                  <a:gd name="T2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93">
                    <a:moveTo>
                      <a:pt x="83" y="93"/>
                    </a:moveTo>
                    <a:cubicBezTo>
                      <a:pt x="79" y="93"/>
                      <a:pt x="76" y="93"/>
                      <a:pt x="72" y="92"/>
                    </a:cubicBezTo>
                    <a:cubicBezTo>
                      <a:pt x="30" y="86"/>
                      <a:pt x="0" y="46"/>
                      <a:pt x="6" y="3"/>
                    </a:cubicBezTo>
                    <a:cubicBezTo>
                      <a:pt x="6" y="3"/>
                      <a:pt x="6" y="2"/>
                      <a:pt x="6" y="1"/>
                    </a:cubicBezTo>
                    <a:cubicBezTo>
                      <a:pt x="7" y="0"/>
                      <a:pt x="7" y="0"/>
                      <a:pt x="8" y="0"/>
                    </a:cubicBezTo>
                    <a:cubicBezTo>
                      <a:pt x="9" y="0"/>
                      <a:pt x="10" y="1"/>
                      <a:pt x="9" y="2"/>
                    </a:cubicBezTo>
                    <a:cubicBezTo>
                      <a:pt x="9" y="2"/>
                      <a:pt x="9" y="3"/>
                      <a:pt x="9" y="4"/>
                    </a:cubicBezTo>
                    <a:cubicBezTo>
                      <a:pt x="3" y="45"/>
                      <a:pt x="32" y="83"/>
                      <a:pt x="72" y="89"/>
                    </a:cubicBezTo>
                    <a:cubicBezTo>
                      <a:pt x="92" y="92"/>
                      <a:pt x="111" y="87"/>
                      <a:pt x="127" y="75"/>
                    </a:cubicBezTo>
                    <a:cubicBezTo>
                      <a:pt x="144" y="63"/>
                      <a:pt x="154" y="46"/>
                      <a:pt x="157" y="25"/>
                    </a:cubicBezTo>
                    <a:cubicBezTo>
                      <a:pt x="157" y="25"/>
                      <a:pt x="158" y="24"/>
                      <a:pt x="159" y="24"/>
                    </a:cubicBezTo>
                    <a:cubicBezTo>
                      <a:pt x="159" y="24"/>
                      <a:pt x="160" y="25"/>
                      <a:pt x="160" y="26"/>
                    </a:cubicBezTo>
                    <a:cubicBezTo>
                      <a:pt x="157" y="47"/>
                      <a:pt x="146" y="65"/>
                      <a:pt x="129" y="78"/>
                    </a:cubicBezTo>
                    <a:cubicBezTo>
                      <a:pt x="116" y="88"/>
                      <a:pt x="100" y="93"/>
                      <a:pt x="83"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charset="0"/>
                  <a:ea typeface="ＭＳ Ｐゴシック" charset="0"/>
                </a:endParaRPr>
              </a:p>
            </p:txBody>
          </p:sp>
          <p:sp>
            <p:nvSpPr>
              <p:cNvPr id="802" name="Freeform 23">
                <a:extLst>
                  <a:ext uri="{FF2B5EF4-FFF2-40B4-BE49-F238E27FC236}">
                    <a16:creationId xmlns:a16="http://schemas.microsoft.com/office/drawing/2014/main" id="{2E3085CC-B85C-4674-B075-207C0CDB0E83}"/>
                  </a:ext>
                </a:extLst>
              </p:cNvPr>
              <p:cNvSpPr>
                <a:spLocks/>
              </p:cNvSpPr>
              <p:nvPr/>
            </p:nvSpPr>
            <p:spPr bwMode="auto">
              <a:xfrm>
                <a:off x="2743" y="1522"/>
                <a:ext cx="267" cy="158"/>
              </a:xfrm>
              <a:custGeom>
                <a:avLst/>
                <a:gdLst>
                  <a:gd name="T0" fmla="*/ 101 w 195"/>
                  <a:gd name="T1" fmla="*/ 114 h 114"/>
                  <a:gd name="T2" fmla="*/ 87 w 195"/>
                  <a:gd name="T3" fmla="*/ 113 h 114"/>
                  <a:gd name="T4" fmla="*/ 7 w 195"/>
                  <a:gd name="T5" fmla="*/ 4 h 114"/>
                  <a:gd name="T6" fmla="*/ 7 w 195"/>
                  <a:gd name="T7" fmla="*/ 1 h 114"/>
                  <a:gd name="T8" fmla="*/ 9 w 195"/>
                  <a:gd name="T9" fmla="*/ 0 h 114"/>
                  <a:gd name="T10" fmla="*/ 10 w 195"/>
                  <a:gd name="T11" fmla="*/ 2 h 114"/>
                  <a:gd name="T12" fmla="*/ 10 w 195"/>
                  <a:gd name="T13" fmla="*/ 4 h 114"/>
                  <a:gd name="T14" fmla="*/ 88 w 195"/>
                  <a:gd name="T15" fmla="*/ 110 h 114"/>
                  <a:gd name="T16" fmla="*/ 156 w 195"/>
                  <a:gd name="T17" fmla="*/ 92 h 114"/>
                  <a:gd name="T18" fmla="*/ 192 w 195"/>
                  <a:gd name="T19" fmla="*/ 31 h 114"/>
                  <a:gd name="T20" fmla="*/ 194 w 195"/>
                  <a:gd name="T21" fmla="*/ 30 h 114"/>
                  <a:gd name="T22" fmla="*/ 195 w 195"/>
                  <a:gd name="T23" fmla="*/ 31 h 114"/>
                  <a:gd name="T24" fmla="*/ 157 w 195"/>
                  <a:gd name="T25" fmla="*/ 95 h 114"/>
                  <a:gd name="T26" fmla="*/ 101 w 195"/>
                  <a:gd name="T2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114">
                    <a:moveTo>
                      <a:pt x="101" y="114"/>
                    </a:moveTo>
                    <a:cubicBezTo>
                      <a:pt x="97" y="114"/>
                      <a:pt x="92" y="113"/>
                      <a:pt x="87" y="113"/>
                    </a:cubicBezTo>
                    <a:cubicBezTo>
                      <a:pt x="36" y="105"/>
                      <a:pt x="0" y="56"/>
                      <a:pt x="7" y="4"/>
                    </a:cubicBezTo>
                    <a:cubicBezTo>
                      <a:pt x="7" y="3"/>
                      <a:pt x="7" y="2"/>
                      <a:pt x="7" y="1"/>
                    </a:cubicBezTo>
                    <a:cubicBezTo>
                      <a:pt x="8" y="1"/>
                      <a:pt x="8" y="0"/>
                      <a:pt x="9" y="0"/>
                    </a:cubicBezTo>
                    <a:cubicBezTo>
                      <a:pt x="10" y="0"/>
                      <a:pt x="11" y="1"/>
                      <a:pt x="10" y="2"/>
                    </a:cubicBezTo>
                    <a:cubicBezTo>
                      <a:pt x="10" y="3"/>
                      <a:pt x="10" y="3"/>
                      <a:pt x="10" y="4"/>
                    </a:cubicBezTo>
                    <a:cubicBezTo>
                      <a:pt x="3" y="55"/>
                      <a:pt x="38" y="102"/>
                      <a:pt x="88" y="110"/>
                    </a:cubicBezTo>
                    <a:cubicBezTo>
                      <a:pt x="112" y="113"/>
                      <a:pt x="136" y="107"/>
                      <a:pt x="156" y="92"/>
                    </a:cubicBezTo>
                    <a:cubicBezTo>
                      <a:pt x="176" y="78"/>
                      <a:pt x="188" y="56"/>
                      <a:pt x="192" y="31"/>
                    </a:cubicBezTo>
                    <a:cubicBezTo>
                      <a:pt x="192" y="30"/>
                      <a:pt x="193" y="29"/>
                      <a:pt x="194" y="30"/>
                    </a:cubicBezTo>
                    <a:cubicBezTo>
                      <a:pt x="195" y="30"/>
                      <a:pt x="195" y="30"/>
                      <a:pt x="195" y="31"/>
                    </a:cubicBezTo>
                    <a:cubicBezTo>
                      <a:pt x="191" y="57"/>
                      <a:pt x="178" y="80"/>
                      <a:pt x="157" y="95"/>
                    </a:cubicBezTo>
                    <a:cubicBezTo>
                      <a:pt x="141" y="107"/>
                      <a:pt x="121" y="114"/>
                      <a:pt x="101"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charset="0"/>
                  <a:ea typeface="ＭＳ Ｐゴシック" charset="0"/>
                </a:endParaRPr>
              </a:p>
            </p:txBody>
          </p:sp>
          <p:sp>
            <p:nvSpPr>
              <p:cNvPr id="803" name="Freeform 24">
                <a:extLst>
                  <a:ext uri="{FF2B5EF4-FFF2-40B4-BE49-F238E27FC236}">
                    <a16:creationId xmlns:a16="http://schemas.microsoft.com/office/drawing/2014/main" id="{9480F19E-F16E-4440-B1C3-A7AC8405B596}"/>
                  </a:ext>
                </a:extLst>
              </p:cNvPr>
              <p:cNvSpPr>
                <a:spLocks/>
              </p:cNvSpPr>
              <p:nvPr/>
            </p:nvSpPr>
            <p:spPr bwMode="auto">
              <a:xfrm>
                <a:off x="2718" y="1518"/>
                <a:ext cx="314" cy="184"/>
              </a:xfrm>
              <a:custGeom>
                <a:avLst/>
                <a:gdLst>
                  <a:gd name="T0" fmla="*/ 119 w 229"/>
                  <a:gd name="T1" fmla="*/ 133 h 133"/>
                  <a:gd name="T2" fmla="*/ 103 w 229"/>
                  <a:gd name="T3" fmla="*/ 132 h 133"/>
                  <a:gd name="T4" fmla="*/ 9 w 229"/>
                  <a:gd name="T5" fmla="*/ 4 h 133"/>
                  <a:gd name="T6" fmla="*/ 9 w 229"/>
                  <a:gd name="T7" fmla="*/ 2 h 133"/>
                  <a:gd name="T8" fmla="*/ 11 w 229"/>
                  <a:gd name="T9" fmla="*/ 0 h 133"/>
                  <a:gd name="T10" fmla="*/ 12 w 229"/>
                  <a:gd name="T11" fmla="*/ 2 h 133"/>
                  <a:gd name="T12" fmla="*/ 12 w 229"/>
                  <a:gd name="T13" fmla="*/ 5 h 133"/>
                  <a:gd name="T14" fmla="*/ 104 w 229"/>
                  <a:gd name="T15" fmla="*/ 129 h 133"/>
                  <a:gd name="T16" fmla="*/ 183 w 229"/>
                  <a:gd name="T17" fmla="*/ 109 h 133"/>
                  <a:gd name="T18" fmla="*/ 226 w 229"/>
                  <a:gd name="T19" fmla="*/ 36 h 133"/>
                  <a:gd name="T20" fmla="*/ 228 w 229"/>
                  <a:gd name="T21" fmla="*/ 35 h 133"/>
                  <a:gd name="T22" fmla="*/ 229 w 229"/>
                  <a:gd name="T23" fmla="*/ 37 h 133"/>
                  <a:gd name="T24" fmla="*/ 185 w 229"/>
                  <a:gd name="T25" fmla="*/ 111 h 133"/>
                  <a:gd name="T26" fmla="*/ 119 w 229"/>
                  <a:gd name="T2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133">
                    <a:moveTo>
                      <a:pt x="119" y="133"/>
                    </a:moveTo>
                    <a:cubicBezTo>
                      <a:pt x="114" y="133"/>
                      <a:pt x="108" y="133"/>
                      <a:pt x="103" y="132"/>
                    </a:cubicBezTo>
                    <a:cubicBezTo>
                      <a:pt x="42" y="123"/>
                      <a:pt x="0" y="66"/>
                      <a:pt x="9" y="4"/>
                    </a:cubicBezTo>
                    <a:cubicBezTo>
                      <a:pt x="9" y="4"/>
                      <a:pt x="9" y="3"/>
                      <a:pt x="9" y="2"/>
                    </a:cubicBezTo>
                    <a:cubicBezTo>
                      <a:pt x="10" y="1"/>
                      <a:pt x="10" y="0"/>
                      <a:pt x="11" y="0"/>
                    </a:cubicBezTo>
                    <a:cubicBezTo>
                      <a:pt x="12" y="1"/>
                      <a:pt x="12" y="1"/>
                      <a:pt x="12" y="2"/>
                    </a:cubicBezTo>
                    <a:cubicBezTo>
                      <a:pt x="12" y="3"/>
                      <a:pt x="12" y="4"/>
                      <a:pt x="12" y="5"/>
                    </a:cubicBezTo>
                    <a:cubicBezTo>
                      <a:pt x="3" y="65"/>
                      <a:pt x="44" y="120"/>
                      <a:pt x="104" y="129"/>
                    </a:cubicBezTo>
                    <a:cubicBezTo>
                      <a:pt x="132" y="133"/>
                      <a:pt x="160" y="126"/>
                      <a:pt x="183" y="109"/>
                    </a:cubicBezTo>
                    <a:cubicBezTo>
                      <a:pt x="207" y="91"/>
                      <a:pt x="222" y="65"/>
                      <a:pt x="226" y="36"/>
                    </a:cubicBezTo>
                    <a:cubicBezTo>
                      <a:pt x="226" y="35"/>
                      <a:pt x="227" y="35"/>
                      <a:pt x="228" y="35"/>
                    </a:cubicBezTo>
                    <a:cubicBezTo>
                      <a:pt x="229" y="35"/>
                      <a:pt x="229" y="36"/>
                      <a:pt x="229" y="37"/>
                    </a:cubicBezTo>
                    <a:cubicBezTo>
                      <a:pt x="225" y="67"/>
                      <a:pt x="209" y="93"/>
                      <a:pt x="185" y="111"/>
                    </a:cubicBezTo>
                    <a:cubicBezTo>
                      <a:pt x="166" y="126"/>
                      <a:pt x="143" y="133"/>
                      <a:pt x="119"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charset="0"/>
                  <a:ea typeface="ＭＳ Ｐゴシック" charset="0"/>
                </a:endParaRPr>
              </a:p>
            </p:txBody>
          </p:sp>
          <p:sp>
            <p:nvSpPr>
              <p:cNvPr id="804" name="Freeform 25">
                <a:extLst>
                  <a:ext uri="{FF2B5EF4-FFF2-40B4-BE49-F238E27FC236}">
                    <a16:creationId xmlns:a16="http://schemas.microsoft.com/office/drawing/2014/main" id="{4A87CA93-4D55-4891-8B84-44CD052117B5}"/>
                  </a:ext>
                </a:extLst>
              </p:cNvPr>
              <p:cNvSpPr>
                <a:spLocks/>
              </p:cNvSpPr>
              <p:nvPr/>
            </p:nvSpPr>
            <p:spPr bwMode="auto">
              <a:xfrm>
                <a:off x="2695" y="1514"/>
                <a:ext cx="359" cy="212"/>
              </a:xfrm>
              <a:custGeom>
                <a:avLst/>
                <a:gdLst>
                  <a:gd name="T0" fmla="*/ 136 w 262"/>
                  <a:gd name="T1" fmla="*/ 153 h 153"/>
                  <a:gd name="T2" fmla="*/ 118 w 262"/>
                  <a:gd name="T3" fmla="*/ 151 h 153"/>
                  <a:gd name="T4" fmla="*/ 10 w 262"/>
                  <a:gd name="T5" fmla="*/ 5 h 153"/>
                  <a:gd name="T6" fmla="*/ 10 w 262"/>
                  <a:gd name="T7" fmla="*/ 2 h 153"/>
                  <a:gd name="T8" fmla="*/ 12 w 262"/>
                  <a:gd name="T9" fmla="*/ 1 h 153"/>
                  <a:gd name="T10" fmla="*/ 13 w 262"/>
                  <a:gd name="T11" fmla="*/ 2 h 153"/>
                  <a:gd name="T12" fmla="*/ 13 w 262"/>
                  <a:gd name="T13" fmla="*/ 6 h 153"/>
                  <a:gd name="T14" fmla="*/ 118 w 262"/>
                  <a:gd name="T15" fmla="*/ 148 h 153"/>
                  <a:gd name="T16" fmla="*/ 210 w 262"/>
                  <a:gd name="T17" fmla="*/ 125 h 153"/>
                  <a:gd name="T18" fmla="*/ 259 w 262"/>
                  <a:gd name="T19" fmla="*/ 42 h 153"/>
                  <a:gd name="T20" fmla="*/ 261 w 262"/>
                  <a:gd name="T21" fmla="*/ 40 h 153"/>
                  <a:gd name="T22" fmla="*/ 262 w 262"/>
                  <a:gd name="T23" fmla="*/ 42 h 153"/>
                  <a:gd name="T24" fmla="*/ 212 w 262"/>
                  <a:gd name="T25" fmla="*/ 127 h 153"/>
                  <a:gd name="T26" fmla="*/ 136 w 262"/>
                  <a:gd name="T2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2" h="153">
                    <a:moveTo>
                      <a:pt x="136" y="153"/>
                    </a:moveTo>
                    <a:cubicBezTo>
                      <a:pt x="130" y="153"/>
                      <a:pt x="124" y="152"/>
                      <a:pt x="118" y="151"/>
                    </a:cubicBezTo>
                    <a:cubicBezTo>
                      <a:pt x="48" y="141"/>
                      <a:pt x="0" y="76"/>
                      <a:pt x="10" y="5"/>
                    </a:cubicBezTo>
                    <a:cubicBezTo>
                      <a:pt x="10" y="4"/>
                      <a:pt x="10" y="3"/>
                      <a:pt x="10" y="2"/>
                    </a:cubicBezTo>
                    <a:cubicBezTo>
                      <a:pt x="11" y="1"/>
                      <a:pt x="11" y="0"/>
                      <a:pt x="12" y="1"/>
                    </a:cubicBezTo>
                    <a:cubicBezTo>
                      <a:pt x="13" y="1"/>
                      <a:pt x="13" y="2"/>
                      <a:pt x="13" y="2"/>
                    </a:cubicBezTo>
                    <a:cubicBezTo>
                      <a:pt x="13" y="3"/>
                      <a:pt x="13" y="4"/>
                      <a:pt x="13" y="6"/>
                    </a:cubicBezTo>
                    <a:cubicBezTo>
                      <a:pt x="3" y="74"/>
                      <a:pt x="50" y="138"/>
                      <a:pt x="118" y="148"/>
                    </a:cubicBezTo>
                    <a:cubicBezTo>
                      <a:pt x="151" y="153"/>
                      <a:pt x="183" y="145"/>
                      <a:pt x="210" y="125"/>
                    </a:cubicBezTo>
                    <a:cubicBezTo>
                      <a:pt x="237" y="105"/>
                      <a:pt x="254" y="75"/>
                      <a:pt x="259" y="42"/>
                    </a:cubicBezTo>
                    <a:cubicBezTo>
                      <a:pt x="259" y="41"/>
                      <a:pt x="260" y="40"/>
                      <a:pt x="261" y="40"/>
                    </a:cubicBezTo>
                    <a:cubicBezTo>
                      <a:pt x="262" y="40"/>
                      <a:pt x="262" y="41"/>
                      <a:pt x="262" y="42"/>
                    </a:cubicBezTo>
                    <a:cubicBezTo>
                      <a:pt x="257" y="76"/>
                      <a:pt x="239" y="107"/>
                      <a:pt x="212" y="127"/>
                    </a:cubicBezTo>
                    <a:cubicBezTo>
                      <a:pt x="190" y="144"/>
                      <a:pt x="163" y="153"/>
                      <a:pt x="136"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charset="0"/>
                  <a:ea typeface="ＭＳ Ｐゴシック" charset="0"/>
                </a:endParaRPr>
              </a:p>
            </p:txBody>
          </p:sp>
        </p:grpSp>
        <p:pic>
          <p:nvPicPr>
            <p:cNvPr id="690" name="Picture 689" descr="A close up of a black umbrella&#10;&#10;Description automatically generated">
              <a:extLst>
                <a:ext uri="{FF2B5EF4-FFF2-40B4-BE49-F238E27FC236}">
                  <a16:creationId xmlns:a16="http://schemas.microsoft.com/office/drawing/2014/main" id="{72630F93-BA46-4770-B81B-D0328626526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581318" y="1644885"/>
              <a:ext cx="2913995" cy="2401815"/>
            </a:xfrm>
            <a:prstGeom prst="rect">
              <a:avLst/>
            </a:prstGeom>
          </p:spPr>
        </p:pic>
        <p:sp>
          <p:nvSpPr>
            <p:cNvPr id="806" name="Oval 805">
              <a:extLst>
                <a:ext uri="{FF2B5EF4-FFF2-40B4-BE49-F238E27FC236}">
                  <a16:creationId xmlns:a16="http://schemas.microsoft.com/office/drawing/2014/main" id="{0B5BA103-E8F2-45E7-80E9-21D7C8610B66}"/>
                </a:ext>
              </a:extLst>
            </p:cNvPr>
            <p:cNvSpPr/>
            <p:nvPr/>
          </p:nvSpPr>
          <p:spPr>
            <a:xfrm>
              <a:off x="8925800" y="1901364"/>
              <a:ext cx="743912" cy="743852"/>
            </a:xfrm>
            <a:prstGeom prst="ellipse">
              <a:avLst/>
            </a:prstGeom>
            <a:solidFill>
              <a:srgbClr val="74BF4B">
                <a:alpha val="80000"/>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a typeface="ＭＳ Ｐゴシック" charset="0"/>
              </a:endParaRPr>
            </a:p>
          </p:txBody>
        </p:sp>
        <p:grpSp>
          <p:nvGrpSpPr>
            <p:cNvPr id="33" name="Group 32">
              <a:extLst>
                <a:ext uri="{FF2B5EF4-FFF2-40B4-BE49-F238E27FC236}">
                  <a16:creationId xmlns:a16="http://schemas.microsoft.com/office/drawing/2014/main" id="{1FCAEE48-E0CB-4D7A-B271-896CA51E1751}"/>
                </a:ext>
              </a:extLst>
            </p:cNvPr>
            <p:cNvGrpSpPr/>
            <p:nvPr/>
          </p:nvGrpSpPr>
          <p:grpSpPr>
            <a:xfrm>
              <a:off x="8597451" y="2800507"/>
              <a:ext cx="102723" cy="110960"/>
              <a:chOff x="8597451" y="2800507"/>
              <a:chExt cx="102723" cy="110960"/>
            </a:xfrm>
          </p:grpSpPr>
          <p:sp>
            <p:nvSpPr>
              <p:cNvPr id="837" name="Oval 836">
                <a:extLst>
                  <a:ext uri="{FF2B5EF4-FFF2-40B4-BE49-F238E27FC236}">
                    <a16:creationId xmlns:a16="http://schemas.microsoft.com/office/drawing/2014/main" id="{91F1ED4A-25CC-4350-AECD-6ECD184146D8}"/>
                  </a:ext>
                </a:extLst>
              </p:cNvPr>
              <p:cNvSpPr/>
              <p:nvPr/>
            </p:nvSpPr>
            <p:spPr>
              <a:xfrm flipV="1">
                <a:off x="8597451" y="2800507"/>
                <a:ext cx="90020" cy="90020"/>
              </a:xfrm>
              <a:prstGeom prst="ellipse">
                <a:avLst/>
              </a:prstGeom>
              <a:noFill/>
              <a:ln w="7144" cap="flat">
                <a:solidFill>
                  <a:srgbClr val="0D274D"/>
                </a:solidFill>
                <a:prstDash val="solid"/>
                <a:round/>
              </a:ln>
            </p:spPr>
            <p:txBody>
              <a:bodyPr rtlCol="0" anchor="ctr"/>
              <a:lstStyle/>
              <a:p>
                <a:endParaRPr lang="en-IN" kern="0" dirty="0">
                  <a:solidFill>
                    <a:srgbClr val="FFFFFF"/>
                  </a:solidFill>
                </a:endParaRPr>
              </a:p>
            </p:txBody>
          </p:sp>
          <p:sp>
            <p:nvSpPr>
              <p:cNvPr id="32" name="Oval 31">
                <a:extLst>
                  <a:ext uri="{FF2B5EF4-FFF2-40B4-BE49-F238E27FC236}">
                    <a16:creationId xmlns:a16="http://schemas.microsoft.com/office/drawing/2014/main" id="{4C5AB337-D20E-419E-BFC3-9FEE4F38C580}"/>
                  </a:ext>
                </a:extLst>
              </p:cNvPr>
              <p:cNvSpPr/>
              <p:nvPr/>
            </p:nvSpPr>
            <p:spPr>
              <a:xfrm flipV="1">
                <a:off x="8610154" y="2821447"/>
                <a:ext cx="90020" cy="90020"/>
              </a:xfrm>
              <a:prstGeom prst="ellipse">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838" name="Group 837">
              <a:extLst>
                <a:ext uri="{FF2B5EF4-FFF2-40B4-BE49-F238E27FC236}">
                  <a16:creationId xmlns:a16="http://schemas.microsoft.com/office/drawing/2014/main" id="{13B46C15-E52C-4FDA-B729-9E5235A4883B}"/>
                </a:ext>
              </a:extLst>
            </p:cNvPr>
            <p:cNvGrpSpPr/>
            <p:nvPr/>
          </p:nvGrpSpPr>
          <p:grpSpPr>
            <a:xfrm>
              <a:off x="9830718" y="1486273"/>
              <a:ext cx="102723" cy="110960"/>
              <a:chOff x="8597451" y="2800507"/>
              <a:chExt cx="102723" cy="110960"/>
            </a:xfrm>
          </p:grpSpPr>
          <p:sp>
            <p:nvSpPr>
              <p:cNvPr id="839" name="Oval 838">
                <a:extLst>
                  <a:ext uri="{FF2B5EF4-FFF2-40B4-BE49-F238E27FC236}">
                    <a16:creationId xmlns:a16="http://schemas.microsoft.com/office/drawing/2014/main" id="{DD95A8F8-6914-4C0C-B6D8-36C91F57B6ED}"/>
                  </a:ext>
                </a:extLst>
              </p:cNvPr>
              <p:cNvSpPr/>
              <p:nvPr/>
            </p:nvSpPr>
            <p:spPr>
              <a:xfrm flipV="1">
                <a:off x="8597451" y="2800507"/>
                <a:ext cx="90020" cy="90020"/>
              </a:xfrm>
              <a:prstGeom prst="ellipse">
                <a:avLst/>
              </a:prstGeom>
              <a:noFill/>
              <a:ln w="7144" cap="flat">
                <a:solidFill>
                  <a:srgbClr val="0D274D"/>
                </a:solidFill>
                <a:prstDash val="solid"/>
                <a:round/>
              </a:ln>
            </p:spPr>
            <p:txBody>
              <a:bodyPr rtlCol="0" anchor="ctr"/>
              <a:lstStyle/>
              <a:p>
                <a:endParaRPr lang="en-IN" kern="0" dirty="0">
                  <a:solidFill>
                    <a:srgbClr val="FFFFFF"/>
                  </a:solidFill>
                </a:endParaRPr>
              </a:p>
            </p:txBody>
          </p:sp>
          <p:sp>
            <p:nvSpPr>
              <p:cNvPr id="840" name="Oval 839">
                <a:extLst>
                  <a:ext uri="{FF2B5EF4-FFF2-40B4-BE49-F238E27FC236}">
                    <a16:creationId xmlns:a16="http://schemas.microsoft.com/office/drawing/2014/main" id="{9316327D-7E80-489A-8EAB-DD231C1A3068}"/>
                  </a:ext>
                </a:extLst>
              </p:cNvPr>
              <p:cNvSpPr/>
              <p:nvPr/>
            </p:nvSpPr>
            <p:spPr>
              <a:xfrm flipV="1">
                <a:off x="8610154" y="2821447"/>
                <a:ext cx="90020" cy="90020"/>
              </a:xfrm>
              <a:prstGeom prst="ellipse">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1042" name="Oval 1041">
              <a:extLst>
                <a:ext uri="{FF2B5EF4-FFF2-40B4-BE49-F238E27FC236}">
                  <a16:creationId xmlns:a16="http://schemas.microsoft.com/office/drawing/2014/main" id="{0001601B-11F9-42EC-BEF2-D63587E42761}"/>
                </a:ext>
              </a:extLst>
            </p:cNvPr>
            <p:cNvSpPr/>
            <p:nvPr/>
          </p:nvSpPr>
          <p:spPr>
            <a:xfrm flipV="1">
              <a:off x="11002299" y="3177552"/>
              <a:ext cx="456276" cy="456240"/>
            </a:xfrm>
            <a:prstGeom prst="ellipse">
              <a:avLst/>
            </a:prstGeom>
            <a:solidFill>
              <a:srgbClr val="74BF4B">
                <a:alpha val="80000"/>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a typeface="ＭＳ Ｐゴシック" charset="0"/>
              </a:endParaRPr>
            </a:p>
          </p:txBody>
        </p:sp>
      </p:grpSp>
    </p:spTree>
    <p:extLst>
      <p:ext uri="{BB962C8B-B14F-4D97-AF65-F5344CB8AC3E}">
        <p14:creationId xmlns:p14="http://schemas.microsoft.com/office/powerpoint/2010/main" val="4283998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6" name="Graphic 315">
            <a:extLst>
              <a:ext uri="{FF2B5EF4-FFF2-40B4-BE49-F238E27FC236}">
                <a16:creationId xmlns:a16="http://schemas.microsoft.com/office/drawing/2014/main" id="{4753841C-B9CA-4C81-956A-F9FCA658718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rot="18294614">
            <a:off x="5105762" y="4675380"/>
            <a:ext cx="1332507" cy="1354610"/>
          </a:xfrm>
          <a:custGeom>
            <a:avLst/>
            <a:gdLst>
              <a:gd name="connsiteX0" fmla="*/ 0 w 2740583"/>
              <a:gd name="connsiteY0" fmla="*/ 0 h 2786043"/>
              <a:gd name="connsiteX1" fmla="*/ 2740583 w 2740583"/>
              <a:gd name="connsiteY1" fmla="*/ 0 h 2786043"/>
              <a:gd name="connsiteX2" fmla="*/ 2740583 w 2740583"/>
              <a:gd name="connsiteY2" fmla="*/ 534603 h 2786043"/>
              <a:gd name="connsiteX3" fmla="*/ 2448484 w 2740583"/>
              <a:gd name="connsiteY3" fmla="*/ 309543 h 2786043"/>
              <a:gd name="connsiteX4" fmla="*/ 111684 w 2740583"/>
              <a:gd name="connsiteY4" fmla="*/ 1897043 h 2786043"/>
              <a:gd name="connsiteX5" fmla="*/ 209020 w 2740583"/>
              <a:gd name="connsiteY5" fmla="*/ 2786043 h 2786043"/>
              <a:gd name="connsiteX6" fmla="*/ 0 w 2740583"/>
              <a:gd name="connsiteY6" fmla="*/ 2786043 h 2786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0583" h="2786043">
                <a:moveTo>
                  <a:pt x="0" y="0"/>
                </a:moveTo>
                <a:lnTo>
                  <a:pt x="2740583" y="0"/>
                </a:lnTo>
                <a:lnTo>
                  <a:pt x="2740583" y="534603"/>
                </a:lnTo>
                <a:lnTo>
                  <a:pt x="2448484" y="309543"/>
                </a:lnTo>
                <a:lnTo>
                  <a:pt x="111684" y="1897043"/>
                </a:lnTo>
                <a:lnTo>
                  <a:pt x="209020" y="2786043"/>
                </a:lnTo>
                <a:lnTo>
                  <a:pt x="0" y="2786043"/>
                </a:lnTo>
                <a:close/>
              </a:path>
            </a:pathLst>
          </a:custGeom>
        </p:spPr>
      </p:pic>
      <p:sp>
        <p:nvSpPr>
          <p:cNvPr id="243" name="Oval 242">
            <a:extLst>
              <a:ext uri="{FF2B5EF4-FFF2-40B4-BE49-F238E27FC236}">
                <a16:creationId xmlns:a16="http://schemas.microsoft.com/office/drawing/2014/main" id="{69B891A0-85D7-44D8-A109-F3D5C9F8254F}"/>
              </a:ext>
            </a:extLst>
          </p:cNvPr>
          <p:cNvSpPr/>
          <p:nvPr/>
        </p:nvSpPr>
        <p:spPr>
          <a:xfrm>
            <a:off x="3151417" y="2995322"/>
            <a:ext cx="1964418" cy="1964418"/>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 name="Footer Placeholder 1">
            <a:extLst>
              <a:ext uri="{FF2B5EF4-FFF2-40B4-BE49-F238E27FC236}">
                <a16:creationId xmlns:a16="http://schemas.microsoft.com/office/drawing/2014/main" id="{2A12AF0E-AAA2-4A8E-909F-0BC06A7668FC}"/>
              </a:ext>
            </a:extLst>
          </p:cNvPr>
          <p:cNvSpPr>
            <a:spLocks noGrp="1"/>
          </p:cNvSpPr>
          <p:nvPr>
            <p:ph type="ftr" sz="quarter" idx="10"/>
          </p:nvPr>
        </p:nvSpPr>
        <p:spPr/>
        <p:txBody>
          <a:bodyPr/>
          <a:lstStyle/>
          <a:p>
            <a:r>
              <a:rPr lang="en-US" dirty="0"/>
              <a:t>© 2020 Cisco and/or its affiliates. All rights reserved. Cisco Confidential</a:t>
            </a:r>
          </a:p>
        </p:txBody>
      </p:sp>
      <p:sp>
        <p:nvSpPr>
          <p:cNvPr id="64" name="Title 2">
            <a:extLst>
              <a:ext uri="{FF2B5EF4-FFF2-40B4-BE49-F238E27FC236}">
                <a16:creationId xmlns:a16="http://schemas.microsoft.com/office/drawing/2014/main" id="{A382E01B-2280-4EBD-AF75-6973A93F810C}"/>
              </a:ext>
            </a:extLst>
          </p:cNvPr>
          <p:cNvSpPr>
            <a:spLocks noGrp="1"/>
          </p:cNvSpPr>
          <p:nvPr>
            <p:ph type="title"/>
          </p:nvPr>
        </p:nvSpPr>
        <p:spPr>
          <a:xfrm>
            <a:off x="533400" y="481807"/>
            <a:ext cx="11127317" cy="393954"/>
          </a:xfrm>
        </p:spPr>
        <p:txBody>
          <a:bodyPr/>
          <a:lstStyle/>
          <a:p>
            <a:r>
              <a:rPr lang="en-SG" sz="3200" dirty="0"/>
              <a:t>…and part of our broader approach to security</a:t>
            </a:r>
          </a:p>
        </p:txBody>
      </p:sp>
      <p:sp>
        <p:nvSpPr>
          <p:cNvPr id="35" name="Freeform: Shape 34">
            <a:extLst>
              <a:ext uri="{FF2B5EF4-FFF2-40B4-BE49-F238E27FC236}">
                <a16:creationId xmlns:a16="http://schemas.microsoft.com/office/drawing/2014/main" id="{8BAAEE11-0034-4B18-B1DE-3463D3735A74}"/>
              </a:ext>
            </a:extLst>
          </p:cNvPr>
          <p:cNvSpPr>
            <a:spLocks/>
          </p:cNvSpPr>
          <p:nvPr/>
        </p:nvSpPr>
        <p:spPr bwMode="auto">
          <a:xfrm>
            <a:off x="3378525" y="3242031"/>
            <a:ext cx="1507510" cy="1529453"/>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chemeClr val="accent1">
              <a:alpha val="23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1" name="Group 90">
            <a:extLst>
              <a:ext uri="{FF2B5EF4-FFF2-40B4-BE49-F238E27FC236}">
                <a16:creationId xmlns:a16="http://schemas.microsoft.com/office/drawing/2014/main" id="{70DF3B49-6F12-4FFB-908E-3D6AD84B75C4}"/>
              </a:ext>
            </a:extLst>
          </p:cNvPr>
          <p:cNvGrpSpPr/>
          <p:nvPr/>
        </p:nvGrpSpPr>
        <p:grpSpPr>
          <a:xfrm>
            <a:off x="11228267" y="15144"/>
            <a:ext cx="942578" cy="971986"/>
            <a:chOff x="-563481" y="2982552"/>
            <a:chExt cx="926399" cy="955303"/>
          </a:xfrm>
        </p:grpSpPr>
        <p:grpSp>
          <p:nvGrpSpPr>
            <p:cNvPr id="92" name="Graphic 6">
              <a:extLst>
                <a:ext uri="{FF2B5EF4-FFF2-40B4-BE49-F238E27FC236}">
                  <a16:creationId xmlns:a16="http://schemas.microsoft.com/office/drawing/2014/main" id="{D80542A5-38F4-4847-8FAE-20EBCBCFECBC}"/>
                </a:ext>
              </a:extLst>
            </p:cNvPr>
            <p:cNvGrpSpPr/>
            <p:nvPr/>
          </p:nvGrpSpPr>
          <p:grpSpPr>
            <a:xfrm>
              <a:off x="-563481" y="2982552"/>
              <a:ext cx="926399" cy="58220"/>
              <a:chOff x="1163719" y="2982552"/>
              <a:chExt cx="926399" cy="58220"/>
            </a:xfrm>
            <a:solidFill>
              <a:srgbClr val="26BCEA"/>
            </a:solidFill>
          </p:grpSpPr>
          <p:sp>
            <p:nvSpPr>
              <p:cNvPr id="128" name="Freeform: Shape 127">
                <a:extLst>
                  <a:ext uri="{FF2B5EF4-FFF2-40B4-BE49-F238E27FC236}">
                    <a16:creationId xmlns:a16="http://schemas.microsoft.com/office/drawing/2014/main" id="{4592AF19-6D10-4F7F-B74D-964EE5CFC8FA}"/>
                  </a:ext>
                </a:extLst>
              </p:cNvPr>
              <p:cNvSpPr/>
              <p:nvPr/>
            </p:nvSpPr>
            <p:spPr>
              <a:xfrm>
                <a:off x="2031898"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29" name="Freeform: Shape 128">
                <a:extLst>
                  <a:ext uri="{FF2B5EF4-FFF2-40B4-BE49-F238E27FC236}">
                    <a16:creationId xmlns:a16="http://schemas.microsoft.com/office/drawing/2014/main" id="{04A44DE4-A9FF-4A39-BA55-FB24E95246E4}"/>
                  </a:ext>
                </a:extLst>
              </p:cNvPr>
              <p:cNvSpPr/>
              <p:nvPr/>
            </p:nvSpPr>
            <p:spPr>
              <a:xfrm>
                <a:off x="1869927"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130" name="Freeform: Shape 129">
                <a:extLst>
                  <a:ext uri="{FF2B5EF4-FFF2-40B4-BE49-F238E27FC236}">
                    <a16:creationId xmlns:a16="http://schemas.microsoft.com/office/drawing/2014/main" id="{EA840865-C895-4B4C-B7DF-EDB02A94752C}"/>
                  </a:ext>
                </a:extLst>
              </p:cNvPr>
              <p:cNvSpPr/>
              <p:nvPr/>
            </p:nvSpPr>
            <p:spPr>
              <a:xfrm>
                <a:off x="1707904"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31" name="Freeform: Shape 130">
                <a:extLst>
                  <a:ext uri="{FF2B5EF4-FFF2-40B4-BE49-F238E27FC236}">
                    <a16:creationId xmlns:a16="http://schemas.microsoft.com/office/drawing/2014/main" id="{C04A2B18-D9F1-4D81-BE2D-07DB4DE43616}"/>
                  </a:ext>
                </a:extLst>
              </p:cNvPr>
              <p:cNvSpPr/>
              <p:nvPr/>
            </p:nvSpPr>
            <p:spPr>
              <a:xfrm>
                <a:off x="1528270"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32" name="Freeform: Shape 131">
                <a:extLst>
                  <a:ext uri="{FF2B5EF4-FFF2-40B4-BE49-F238E27FC236}">
                    <a16:creationId xmlns:a16="http://schemas.microsoft.com/office/drawing/2014/main" id="{CE9EA41C-408D-476A-949D-A0CC59D3D1EB}"/>
                  </a:ext>
                </a:extLst>
              </p:cNvPr>
              <p:cNvSpPr/>
              <p:nvPr/>
            </p:nvSpPr>
            <p:spPr>
              <a:xfrm>
                <a:off x="1340711"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133" name="Freeform: Shape 132">
                <a:extLst>
                  <a:ext uri="{FF2B5EF4-FFF2-40B4-BE49-F238E27FC236}">
                    <a16:creationId xmlns:a16="http://schemas.microsoft.com/office/drawing/2014/main" id="{FF974AA5-3D78-42AF-8302-B9C0F6EB5114}"/>
                  </a:ext>
                </a:extLst>
              </p:cNvPr>
              <p:cNvSpPr/>
              <p:nvPr/>
            </p:nvSpPr>
            <p:spPr>
              <a:xfrm>
                <a:off x="1163719"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93" name="Graphic 6">
              <a:extLst>
                <a:ext uri="{FF2B5EF4-FFF2-40B4-BE49-F238E27FC236}">
                  <a16:creationId xmlns:a16="http://schemas.microsoft.com/office/drawing/2014/main" id="{A68EC074-0BA6-4073-A974-1B001F59FBB4}"/>
                </a:ext>
              </a:extLst>
            </p:cNvPr>
            <p:cNvGrpSpPr/>
            <p:nvPr/>
          </p:nvGrpSpPr>
          <p:grpSpPr>
            <a:xfrm>
              <a:off x="-563481" y="3161927"/>
              <a:ext cx="926399" cy="58220"/>
              <a:chOff x="1163719" y="3161927"/>
              <a:chExt cx="926399" cy="58220"/>
            </a:xfrm>
            <a:solidFill>
              <a:srgbClr val="26BCEA"/>
            </a:solidFill>
          </p:grpSpPr>
          <p:sp>
            <p:nvSpPr>
              <p:cNvPr id="122" name="Freeform: Shape 121">
                <a:extLst>
                  <a:ext uri="{FF2B5EF4-FFF2-40B4-BE49-F238E27FC236}">
                    <a16:creationId xmlns:a16="http://schemas.microsoft.com/office/drawing/2014/main" id="{70218097-AFAC-4255-8D54-3ACFE49DD1E1}"/>
                  </a:ext>
                </a:extLst>
              </p:cNvPr>
              <p:cNvSpPr/>
              <p:nvPr/>
            </p:nvSpPr>
            <p:spPr>
              <a:xfrm>
                <a:off x="2031898"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23" name="Freeform: Shape 122">
                <a:extLst>
                  <a:ext uri="{FF2B5EF4-FFF2-40B4-BE49-F238E27FC236}">
                    <a16:creationId xmlns:a16="http://schemas.microsoft.com/office/drawing/2014/main" id="{F357A0D1-D335-40F7-AD7F-B0BF2C22BA13}"/>
                  </a:ext>
                </a:extLst>
              </p:cNvPr>
              <p:cNvSpPr/>
              <p:nvPr/>
            </p:nvSpPr>
            <p:spPr>
              <a:xfrm>
                <a:off x="1869927"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124" name="Freeform: Shape 123">
                <a:extLst>
                  <a:ext uri="{FF2B5EF4-FFF2-40B4-BE49-F238E27FC236}">
                    <a16:creationId xmlns:a16="http://schemas.microsoft.com/office/drawing/2014/main" id="{BB36868C-B302-4EB2-9F10-87A31347A475}"/>
                  </a:ext>
                </a:extLst>
              </p:cNvPr>
              <p:cNvSpPr/>
              <p:nvPr/>
            </p:nvSpPr>
            <p:spPr>
              <a:xfrm>
                <a:off x="1707904"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25" name="Freeform: Shape 124">
                <a:extLst>
                  <a:ext uri="{FF2B5EF4-FFF2-40B4-BE49-F238E27FC236}">
                    <a16:creationId xmlns:a16="http://schemas.microsoft.com/office/drawing/2014/main" id="{1884650A-54D7-427F-A2B8-0A716582BD94}"/>
                  </a:ext>
                </a:extLst>
              </p:cNvPr>
              <p:cNvSpPr/>
              <p:nvPr/>
            </p:nvSpPr>
            <p:spPr>
              <a:xfrm>
                <a:off x="1528270"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26" name="Freeform: Shape 125">
                <a:extLst>
                  <a:ext uri="{FF2B5EF4-FFF2-40B4-BE49-F238E27FC236}">
                    <a16:creationId xmlns:a16="http://schemas.microsoft.com/office/drawing/2014/main" id="{C1BACE36-1AB2-46D9-B3E6-404FBD3532CF}"/>
                  </a:ext>
                </a:extLst>
              </p:cNvPr>
              <p:cNvSpPr/>
              <p:nvPr/>
            </p:nvSpPr>
            <p:spPr>
              <a:xfrm>
                <a:off x="1340711"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127" name="Freeform: Shape 126">
                <a:extLst>
                  <a:ext uri="{FF2B5EF4-FFF2-40B4-BE49-F238E27FC236}">
                    <a16:creationId xmlns:a16="http://schemas.microsoft.com/office/drawing/2014/main" id="{96028AB8-5194-4BAD-9DEB-DD18696D0636}"/>
                  </a:ext>
                </a:extLst>
              </p:cNvPr>
              <p:cNvSpPr/>
              <p:nvPr/>
            </p:nvSpPr>
            <p:spPr>
              <a:xfrm>
                <a:off x="1163719"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94" name="Graphic 6">
              <a:extLst>
                <a:ext uri="{FF2B5EF4-FFF2-40B4-BE49-F238E27FC236}">
                  <a16:creationId xmlns:a16="http://schemas.microsoft.com/office/drawing/2014/main" id="{FAD86B4D-FBA1-4FD2-8398-1DE704638558}"/>
                </a:ext>
              </a:extLst>
            </p:cNvPr>
            <p:cNvGrpSpPr/>
            <p:nvPr/>
          </p:nvGrpSpPr>
          <p:grpSpPr>
            <a:xfrm>
              <a:off x="-563481" y="3341354"/>
              <a:ext cx="926399" cy="58220"/>
              <a:chOff x="1163719" y="3341354"/>
              <a:chExt cx="926399" cy="58220"/>
            </a:xfrm>
            <a:solidFill>
              <a:srgbClr val="26BCEA"/>
            </a:solidFill>
          </p:grpSpPr>
          <p:sp>
            <p:nvSpPr>
              <p:cNvPr id="116" name="Freeform: Shape 115">
                <a:extLst>
                  <a:ext uri="{FF2B5EF4-FFF2-40B4-BE49-F238E27FC236}">
                    <a16:creationId xmlns:a16="http://schemas.microsoft.com/office/drawing/2014/main" id="{64CB7F31-CC76-4484-8930-A8F61B8AB6DE}"/>
                  </a:ext>
                </a:extLst>
              </p:cNvPr>
              <p:cNvSpPr/>
              <p:nvPr/>
            </p:nvSpPr>
            <p:spPr>
              <a:xfrm>
                <a:off x="2031898"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17" name="Freeform: Shape 116">
                <a:extLst>
                  <a:ext uri="{FF2B5EF4-FFF2-40B4-BE49-F238E27FC236}">
                    <a16:creationId xmlns:a16="http://schemas.microsoft.com/office/drawing/2014/main" id="{CBAD3073-96BE-4327-8C13-ADD4D2FF5750}"/>
                  </a:ext>
                </a:extLst>
              </p:cNvPr>
              <p:cNvSpPr/>
              <p:nvPr/>
            </p:nvSpPr>
            <p:spPr>
              <a:xfrm>
                <a:off x="1869927"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118" name="Freeform: Shape 117">
                <a:extLst>
                  <a:ext uri="{FF2B5EF4-FFF2-40B4-BE49-F238E27FC236}">
                    <a16:creationId xmlns:a16="http://schemas.microsoft.com/office/drawing/2014/main" id="{ED4F67E1-54EA-4E3B-82F9-173362326D7D}"/>
                  </a:ext>
                </a:extLst>
              </p:cNvPr>
              <p:cNvSpPr/>
              <p:nvPr/>
            </p:nvSpPr>
            <p:spPr>
              <a:xfrm>
                <a:off x="1707904"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19" name="Freeform: Shape 118">
                <a:extLst>
                  <a:ext uri="{FF2B5EF4-FFF2-40B4-BE49-F238E27FC236}">
                    <a16:creationId xmlns:a16="http://schemas.microsoft.com/office/drawing/2014/main" id="{2F8E7D8D-4321-462A-AE58-75B028AF4E29}"/>
                  </a:ext>
                </a:extLst>
              </p:cNvPr>
              <p:cNvSpPr/>
              <p:nvPr/>
            </p:nvSpPr>
            <p:spPr>
              <a:xfrm>
                <a:off x="1528270"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20" name="Freeform: Shape 119">
                <a:extLst>
                  <a:ext uri="{FF2B5EF4-FFF2-40B4-BE49-F238E27FC236}">
                    <a16:creationId xmlns:a16="http://schemas.microsoft.com/office/drawing/2014/main" id="{F7684CF8-28FF-4574-85CB-95B3BBD887DB}"/>
                  </a:ext>
                </a:extLst>
              </p:cNvPr>
              <p:cNvSpPr/>
              <p:nvPr/>
            </p:nvSpPr>
            <p:spPr>
              <a:xfrm>
                <a:off x="1340711"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121" name="Freeform: Shape 120">
                <a:extLst>
                  <a:ext uri="{FF2B5EF4-FFF2-40B4-BE49-F238E27FC236}">
                    <a16:creationId xmlns:a16="http://schemas.microsoft.com/office/drawing/2014/main" id="{7841AECA-CA43-4E9D-A328-E05FC63D8987}"/>
                  </a:ext>
                </a:extLst>
              </p:cNvPr>
              <p:cNvSpPr/>
              <p:nvPr/>
            </p:nvSpPr>
            <p:spPr>
              <a:xfrm>
                <a:off x="1163719"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95" name="Graphic 6">
              <a:extLst>
                <a:ext uri="{FF2B5EF4-FFF2-40B4-BE49-F238E27FC236}">
                  <a16:creationId xmlns:a16="http://schemas.microsoft.com/office/drawing/2014/main" id="{C127A545-D480-4FD2-A513-5B8741312072}"/>
                </a:ext>
              </a:extLst>
            </p:cNvPr>
            <p:cNvGrpSpPr/>
            <p:nvPr/>
          </p:nvGrpSpPr>
          <p:grpSpPr>
            <a:xfrm>
              <a:off x="-563481" y="3520781"/>
              <a:ext cx="926399" cy="58220"/>
              <a:chOff x="1163719" y="3520781"/>
              <a:chExt cx="926399" cy="58220"/>
            </a:xfrm>
            <a:solidFill>
              <a:srgbClr val="26BCEA"/>
            </a:solidFill>
          </p:grpSpPr>
          <p:sp>
            <p:nvSpPr>
              <p:cNvPr id="110" name="Freeform: Shape 109">
                <a:extLst>
                  <a:ext uri="{FF2B5EF4-FFF2-40B4-BE49-F238E27FC236}">
                    <a16:creationId xmlns:a16="http://schemas.microsoft.com/office/drawing/2014/main" id="{C49E8135-9D99-41D3-B256-2BB41B59F9EB}"/>
                  </a:ext>
                </a:extLst>
              </p:cNvPr>
              <p:cNvSpPr/>
              <p:nvPr/>
            </p:nvSpPr>
            <p:spPr>
              <a:xfrm>
                <a:off x="2031898"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11" name="Freeform: Shape 110">
                <a:extLst>
                  <a:ext uri="{FF2B5EF4-FFF2-40B4-BE49-F238E27FC236}">
                    <a16:creationId xmlns:a16="http://schemas.microsoft.com/office/drawing/2014/main" id="{B4B5E166-FE58-46F8-B5E5-01141D02A71D}"/>
                  </a:ext>
                </a:extLst>
              </p:cNvPr>
              <p:cNvSpPr/>
              <p:nvPr/>
            </p:nvSpPr>
            <p:spPr>
              <a:xfrm>
                <a:off x="1869927"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112" name="Freeform: Shape 111">
                <a:extLst>
                  <a:ext uri="{FF2B5EF4-FFF2-40B4-BE49-F238E27FC236}">
                    <a16:creationId xmlns:a16="http://schemas.microsoft.com/office/drawing/2014/main" id="{1657B46F-E8E1-4830-AE03-7FF1742F06DD}"/>
                  </a:ext>
                </a:extLst>
              </p:cNvPr>
              <p:cNvSpPr/>
              <p:nvPr/>
            </p:nvSpPr>
            <p:spPr>
              <a:xfrm>
                <a:off x="1707904"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13" name="Freeform: Shape 112">
                <a:extLst>
                  <a:ext uri="{FF2B5EF4-FFF2-40B4-BE49-F238E27FC236}">
                    <a16:creationId xmlns:a16="http://schemas.microsoft.com/office/drawing/2014/main" id="{4A567B39-564D-4679-A453-57D47BC3EB84}"/>
                  </a:ext>
                </a:extLst>
              </p:cNvPr>
              <p:cNvSpPr/>
              <p:nvPr/>
            </p:nvSpPr>
            <p:spPr>
              <a:xfrm>
                <a:off x="1528270"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14" name="Freeform: Shape 113">
                <a:extLst>
                  <a:ext uri="{FF2B5EF4-FFF2-40B4-BE49-F238E27FC236}">
                    <a16:creationId xmlns:a16="http://schemas.microsoft.com/office/drawing/2014/main" id="{5FD3AA04-E6D3-42B8-AF77-C242AB066D92}"/>
                  </a:ext>
                </a:extLst>
              </p:cNvPr>
              <p:cNvSpPr/>
              <p:nvPr/>
            </p:nvSpPr>
            <p:spPr>
              <a:xfrm>
                <a:off x="1340711"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115" name="Freeform: Shape 114">
                <a:extLst>
                  <a:ext uri="{FF2B5EF4-FFF2-40B4-BE49-F238E27FC236}">
                    <a16:creationId xmlns:a16="http://schemas.microsoft.com/office/drawing/2014/main" id="{56CF8C41-581D-4BB6-8ADE-797BC29D3FDF}"/>
                  </a:ext>
                </a:extLst>
              </p:cNvPr>
              <p:cNvSpPr/>
              <p:nvPr/>
            </p:nvSpPr>
            <p:spPr>
              <a:xfrm>
                <a:off x="1163719"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96" name="Graphic 6">
              <a:extLst>
                <a:ext uri="{FF2B5EF4-FFF2-40B4-BE49-F238E27FC236}">
                  <a16:creationId xmlns:a16="http://schemas.microsoft.com/office/drawing/2014/main" id="{7A6A952C-1A17-47B6-9DE4-54579A88D5B3}"/>
                </a:ext>
              </a:extLst>
            </p:cNvPr>
            <p:cNvGrpSpPr/>
            <p:nvPr/>
          </p:nvGrpSpPr>
          <p:grpSpPr>
            <a:xfrm>
              <a:off x="-563481" y="3700208"/>
              <a:ext cx="926399" cy="58220"/>
              <a:chOff x="1163719" y="3700208"/>
              <a:chExt cx="926399" cy="58220"/>
            </a:xfrm>
            <a:solidFill>
              <a:srgbClr val="26BCEA"/>
            </a:solidFill>
          </p:grpSpPr>
          <p:sp>
            <p:nvSpPr>
              <p:cNvPr id="104" name="Freeform: Shape 103">
                <a:extLst>
                  <a:ext uri="{FF2B5EF4-FFF2-40B4-BE49-F238E27FC236}">
                    <a16:creationId xmlns:a16="http://schemas.microsoft.com/office/drawing/2014/main" id="{E557EFBF-F979-4B82-AFF2-649D59F2621F}"/>
                  </a:ext>
                </a:extLst>
              </p:cNvPr>
              <p:cNvSpPr/>
              <p:nvPr/>
            </p:nvSpPr>
            <p:spPr>
              <a:xfrm>
                <a:off x="2031898"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05" name="Freeform: Shape 104">
                <a:extLst>
                  <a:ext uri="{FF2B5EF4-FFF2-40B4-BE49-F238E27FC236}">
                    <a16:creationId xmlns:a16="http://schemas.microsoft.com/office/drawing/2014/main" id="{087D3626-156F-4F36-AA42-81BCDE41DA4A}"/>
                  </a:ext>
                </a:extLst>
              </p:cNvPr>
              <p:cNvSpPr/>
              <p:nvPr/>
            </p:nvSpPr>
            <p:spPr>
              <a:xfrm>
                <a:off x="1869927"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106" name="Freeform: Shape 105">
                <a:extLst>
                  <a:ext uri="{FF2B5EF4-FFF2-40B4-BE49-F238E27FC236}">
                    <a16:creationId xmlns:a16="http://schemas.microsoft.com/office/drawing/2014/main" id="{DD750EB9-9858-47A7-A2F9-9CBFCA71C20B}"/>
                  </a:ext>
                </a:extLst>
              </p:cNvPr>
              <p:cNvSpPr/>
              <p:nvPr/>
            </p:nvSpPr>
            <p:spPr>
              <a:xfrm>
                <a:off x="1707904"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07" name="Freeform: Shape 106">
                <a:extLst>
                  <a:ext uri="{FF2B5EF4-FFF2-40B4-BE49-F238E27FC236}">
                    <a16:creationId xmlns:a16="http://schemas.microsoft.com/office/drawing/2014/main" id="{4AF3736F-7A14-42D4-BF8E-EA269E85C655}"/>
                  </a:ext>
                </a:extLst>
              </p:cNvPr>
              <p:cNvSpPr/>
              <p:nvPr/>
            </p:nvSpPr>
            <p:spPr>
              <a:xfrm>
                <a:off x="1528270"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08" name="Freeform: Shape 107">
                <a:extLst>
                  <a:ext uri="{FF2B5EF4-FFF2-40B4-BE49-F238E27FC236}">
                    <a16:creationId xmlns:a16="http://schemas.microsoft.com/office/drawing/2014/main" id="{731F8B25-30FC-4703-8C12-839F13007086}"/>
                  </a:ext>
                </a:extLst>
              </p:cNvPr>
              <p:cNvSpPr/>
              <p:nvPr/>
            </p:nvSpPr>
            <p:spPr>
              <a:xfrm>
                <a:off x="1340711"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109" name="Freeform: Shape 108">
                <a:extLst>
                  <a:ext uri="{FF2B5EF4-FFF2-40B4-BE49-F238E27FC236}">
                    <a16:creationId xmlns:a16="http://schemas.microsoft.com/office/drawing/2014/main" id="{4EBF84E6-F43E-4B0C-A84C-F905E03125D9}"/>
                  </a:ext>
                </a:extLst>
              </p:cNvPr>
              <p:cNvSpPr/>
              <p:nvPr/>
            </p:nvSpPr>
            <p:spPr>
              <a:xfrm>
                <a:off x="1163719"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97" name="Graphic 6">
              <a:extLst>
                <a:ext uri="{FF2B5EF4-FFF2-40B4-BE49-F238E27FC236}">
                  <a16:creationId xmlns:a16="http://schemas.microsoft.com/office/drawing/2014/main" id="{3DD9DE68-2121-459A-8116-BC49B3949578}"/>
                </a:ext>
              </a:extLst>
            </p:cNvPr>
            <p:cNvGrpSpPr/>
            <p:nvPr/>
          </p:nvGrpSpPr>
          <p:grpSpPr>
            <a:xfrm>
              <a:off x="-563481" y="3879635"/>
              <a:ext cx="926399" cy="58220"/>
              <a:chOff x="1163719" y="3879635"/>
              <a:chExt cx="926399" cy="58220"/>
            </a:xfrm>
            <a:solidFill>
              <a:srgbClr val="26BCEA"/>
            </a:solidFill>
          </p:grpSpPr>
          <p:sp>
            <p:nvSpPr>
              <p:cNvPr id="98" name="Freeform: Shape 97">
                <a:extLst>
                  <a:ext uri="{FF2B5EF4-FFF2-40B4-BE49-F238E27FC236}">
                    <a16:creationId xmlns:a16="http://schemas.microsoft.com/office/drawing/2014/main" id="{E4EFF514-47F4-4FB1-912E-263F24997166}"/>
                  </a:ext>
                </a:extLst>
              </p:cNvPr>
              <p:cNvSpPr/>
              <p:nvPr/>
            </p:nvSpPr>
            <p:spPr>
              <a:xfrm>
                <a:off x="2031898"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99" name="Freeform: Shape 98">
                <a:extLst>
                  <a:ext uri="{FF2B5EF4-FFF2-40B4-BE49-F238E27FC236}">
                    <a16:creationId xmlns:a16="http://schemas.microsoft.com/office/drawing/2014/main" id="{FFA98F59-EF56-4D71-875C-969BA55C0086}"/>
                  </a:ext>
                </a:extLst>
              </p:cNvPr>
              <p:cNvSpPr/>
              <p:nvPr/>
            </p:nvSpPr>
            <p:spPr>
              <a:xfrm>
                <a:off x="1869927"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100" name="Freeform: Shape 99">
                <a:extLst>
                  <a:ext uri="{FF2B5EF4-FFF2-40B4-BE49-F238E27FC236}">
                    <a16:creationId xmlns:a16="http://schemas.microsoft.com/office/drawing/2014/main" id="{B94C11C2-5BF4-4336-BB60-F6CB9012424C}"/>
                  </a:ext>
                </a:extLst>
              </p:cNvPr>
              <p:cNvSpPr/>
              <p:nvPr/>
            </p:nvSpPr>
            <p:spPr>
              <a:xfrm>
                <a:off x="1707904"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01" name="Freeform: Shape 100">
                <a:extLst>
                  <a:ext uri="{FF2B5EF4-FFF2-40B4-BE49-F238E27FC236}">
                    <a16:creationId xmlns:a16="http://schemas.microsoft.com/office/drawing/2014/main" id="{519003E5-08C0-4083-8CDB-89EE38196DD9}"/>
                  </a:ext>
                </a:extLst>
              </p:cNvPr>
              <p:cNvSpPr/>
              <p:nvPr/>
            </p:nvSpPr>
            <p:spPr>
              <a:xfrm>
                <a:off x="1528270"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02" name="Freeform: Shape 101">
                <a:extLst>
                  <a:ext uri="{FF2B5EF4-FFF2-40B4-BE49-F238E27FC236}">
                    <a16:creationId xmlns:a16="http://schemas.microsoft.com/office/drawing/2014/main" id="{FB2F96DE-41EA-469C-B36C-66F9E0832C1D}"/>
                  </a:ext>
                </a:extLst>
              </p:cNvPr>
              <p:cNvSpPr/>
              <p:nvPr/>
            </p:nvSpPr>
            <p:spPr>
              <a:xfrm>
                <a:off x="1340711"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103" name="Freeform: Shape 102">
                <a:extLst>
                  <a:ext uri="{FF2B5EF4-FFF2-40B4-BE49-F238E27FC236}">
                    <a16:creationId xmlns:a16="http://schemas.microsoft.com/office/drawing/2014/main" id="{126CD471-B96B-4B99-BDAD-E1FC89B0AD22}"/>
                  </a:ext>
                </a:extLst>
              </p:cNvPr>
              <p:cNvSpPr/>
              <p:nvPr/>
            </p:nvSpPr>
            <p:spPr>
              <a:xfrm>
                <a:off x="1163719"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grpSp>
        <p:nvGrpSpPr>
          <p:cNvPr id="134" name="Group 133">
            <a:extLst>
              <a:ext uri="{FF2B5EF4-FFF2-40B4-BE49-F238E27FC236}">
                <a16:creationId xmlns:a16="http://schemas.microsoft.com/office/drawing/2014/main" id="{4A4BDB56-608F-4A9D-A0F1-A949217CE38C}"/>
              </a:ext>
            </a:extLst>
          </p:cNvPr>
          <p:cNvGrpSpPr/>
          <p:nvPr/>
        </p:nvGrpSpPr>
        <p:grpSpPr>
          <a:xfrm>
            <a:off x="425089" y="1640238"/>
            <a:ext cx="4967578" cy="3825885"/>
            <a:chOff x="323952" y="1623326"/>
            <a:chExt cx="4967578" cy="3825885"/>
          </a:xfrm>
        </p:grpSpPr>
        <p:grpSp>
          <p:nvGrpSpPr>
            <p:cNvPr id="135" name="Group 134">
              <a:extLst>
                <a:ext uri="{FF2B5EF4-FFF2-40B4-BE49-F238E27FC236}">
                  <a16:creationId xmlns:a16="http://schemas.microsoft.com/office/drawing/2014/main" id="{A5AE71FD-9119-4858-969B-B1CBC76CAA27}"/>
                </a:ext>
              </a:extLst>
            </p:cNvPr>
            <p:cNvGrpSpPr/>
            <p:nvPr/>
          </p:nvGrpSpPr>
          <p:grpSpPr>
            <a:xfrm>
              <a:off x="1184358" y="2578402"/>
              <a:ext cx="3230454" cy="2003728"/>
              <a:chOff x="1384840" y="2086233"/>
              <a:chExt cx="3149060" cy="1953243"/>
            </a:xfrm>
          </p:grpSpPr>
          <p:sp>
            <p:nvSpPr>
              <p:cNvPr id="208" name="Freeform: Shape 207">
                <a:extLst>
                  <a:ext uri="{FF2B5EF4-FFF2-40B4-BE49-F238E27FC236}">
                    <a16:creationId xmlns:a16="http://schemas.microsoft.com/office/drawing/2014/main" id="{243648CA-5BC5-40CF-B5D2-AD9D79E45C19}"/>
                  </a:ext>
                </a:extLst>
              </p:cNvPr>
              <p:cNvSpPr>
                <a:spLocks noChangeArrowheads="1"/>
              </p:cNvSpPr>
              <p:nvPr/>
            </p:nvSpPr>
            <p:spPr bwMode="auto">
              <a:xfrm>
                <a:off x="3275128" y="2153506"/>
                <a:ext cx="801188" cy="832636"/>
              </a:xfrm>
              <a:custGeom>
                <a:avLst/>
                <a:gdLst>
                  <a:gd name="connsiteX0" fmla="*/ 746212 w 769959"/>
                  <a:gd name="connsiteY0" fmla="*/ 751248 h 800180"/>
                  <a:gd name="connsiteX1" fmla="*/ 769959 w 769959"/>
                  <a:gd name="connsiteY1" fmla="*/ 775714 h 800180"/>
                  <a:gd name="connsiteX2" fmla="*/ 746212 w 769959"/>
                  <a:gd name="connsiteY2" fmla="*/ 800180 h 800180"/>
                  <a:gd name="connsiteX3" fmla="*/ 722465 w 769959"/>
                  <a:gd name="connsiteY3" fmla="*/ 775714 h 800180"/>
                  <a:gd name="connsiteX4" fmla="*/ 746212 w 769959"/>
                  <a:gd name="connsiteY4" fmla="*/ 751248 h 800180"/>
                  <a:gd name="connsiteX5" fmla="*/ 602294 w 769959"/>
                  <a:gd name="connsiteY5" fmla="*/ 751248 h 800180"/>
                  <a:gd name="connsiteX6" fmla="*/ 626041 w 769959"/>
                  <a:gd name="connsiteY6" fmla="*/ 775714 h 800180"/>
                  <a:gd name="connsiteX7" fmla="*/ 602294 w 769959"/>
                  <a:gd name="connsiteY7" fmla="*/ 800180 h 800180"/>
                  <a:gd name="connsiteX8" fmla="*/ 578547 w 769959"/>
                  <a:gd name="connsiteY8" fmla="*/ 775714 h 800180"/>
                  <a:gd name="connsiteX9" fmla="*/ 602294 w 769959"/>
                  <a:gd name="connsiteY9" fmla="*/ 751248 h 800180"/>
                  <a:gd name="connsiteX10" fmla="*/ 457656 w 769959"/>
                  <a:gd name="connsiteY10" fmla="*/ 751248 h 800180"/>
                  <a:gd name="connsiteX11" fmla="*/ 482122 w 769959"/>
                  <a:gd name="connsiteY11" fmla="*/ 775714 h 800180"/>
                  <a:gd name="connsiteX12" fmla="*/ 457656 w 769959"/>
                  <a:gd name="connsiteY12" fmla="*/ 800180 h 800180"/>
                  <a:gd name="connsiteX13" fmla="*/ 433190 w 769959"/>
                  <a:gd name="connsiteY13" fmla="*/ 775714 h 800180"/>
                  <a:gd name="connsiteX14" fmla="*/ 457656 w 769959"/>
                  <a:gd name="connsiteY14" fmla="*/ 751248 h 800180"/>
                  <a:gd name="connsiteX15" fmla="*/ 313020 w 769959"/>
                  <a:gd name="connsiteY15" fmla="*/ 751248 h 800180"/>
                  <a:gd name="connsiteX16" fmla="*/ 336767 w 769959"/>
                  <a:gd name="connsiteY16" fmla="*/ 775714 h 800180"/>
                  <a:gd name="connsiteX17" fmla="*/ 313020 w 769959"/>
                  <a:gd name="connsiteY17" fmla="*/ 800180 h 800180"/>
                  <a:gd name="connsiteX18" fmla="*/ 289273 w 769959"/>
                  <a:gd name="connsiteY18" fmla="*/ 775714 h 800180"/>
                  <a:gd name="connsiteX19" fmla="*/ 313020 w 769959"/>
                  <a:gd name="connsiteY19" fmla="*/ 751248 h 800180"/>
                  <a:gd name="connsiteX20" fmla="*/ 169103 w 769959"/>
                  <a:gd name="connsiteY20" fmla="*/ 751248 h 800180"/>
                  <a:gd name="connsiteX21" fmla="*/ 192850 w 769959"/>
                  <a:gd name="connsiteY21" fmla="*/ 775714 h 800180"/>
                  <a:gd name="connsiteX22" fmla="*/ 169103 w 769959"/>
                  <a:gd name="connsiteY22" fmla="*/ 800180 h 800180"/>
                  <a:gd name="connsiteX23" fmla="*/ 145356 w 769959"/>
                  <a:gd name="connsiteY23" fmla="*/ 775714 h 800180"/>
                  <a:gd name="connsiteX24" fmla="*/ 169103 w 769959"/>
                  <a:gd name="connsiteY24" fmla="*/ 751248 h 800180"/>
                  <a:gd name="connsiteX25" fmla="*/ 24466 w 769959"/>
                  <a:gd name="connsiteY25" fmla="*/ 751248 h 800180"/>
                  <a:gd name="connsiteX26" fmla="*/ 48932 w 769959"/>
                  <a:gd name="connsiteY26" fmla="*/ 775714 h 800180"/>
                  <a:gd name="connsiteX27" fmla="*/ 24466 w 769959"/>
                  <a:gd name="connsiteY27" fmla="*/ 800180 h 800180"/>
                  <a:gd name="connsiteX28" fmla="*/ 0 w 769959"/>
                  <a:gd name="connsiteY28" fmla="*/ 775714 h 800180"/>
                  <a:gd name="connsiteX29" fmla="*/ 24466 w 769959"/>
                  <a:gd name="connsiteY29" fmla="*/ 751248 h 800180"/>
                  <a:gd name="connsiteX30" fmla="*/ 746212 w 769959"/>
                  <a:gd name="connsiteY30" fmla="*/ 601574 h 800180"/>
                  <a:gd name="connsiteX31" fmla="*/ 769959 w 769959"/>
                  <a:gd name="connsiteY31" fmla="*/ 626040 h 800180"/>
                  <a:gd name="connsiteX32" fmla="*/ 746212 w 769959"/>
                  <a:gd name="connsiteY32" fmla="*/ 650506 h 800180"/>
                  <a:gd name="connsiteX33" fmla="*/ 722465 w 769959"/>
                  <a:gd name="connsiteY33" fmla="*/ 626040 h 800180"/>
                  <a:gd name="connsiteX34" fmla="*/ 746212 w 769959"/>
                  <a:gd name="connsiteY34" fmla="*/ 601574 h 800180"/>
                  <a:gd name="connsiteX35" fmla="*/ 602294 w 769959"/>
                  <a:gd name="connsiteY35" fmla="*/ 601574 h 800180"/>
                  <a:gd name="connsiteX36" fmla="*/ 626041 w 769959"/>
                  <a:gd name="connsiteY36" fmla="*/ 626040 h 800180"/>
                  <a:gd name="connsiteX37" fmla="*/ 602294 w 769959"/>
                  <a:gd name="connsiteY37" fmla="*/ 650506 h 800180"/>
                  <a:gd name="connsiteX38" fmla="*/ 578547 w 769959"/>
                  <a:gd name="connsiteY38" fmla="*/ 626040 h 800180"/>
                  <a:gd name="connsiteX39" fmla="*/ 602294 w 769959"/>
                  <a:gd name="connsiteY39" fmla="*/ 601574 h 800180"/>
                  <a:gd name="connsiteX40" fmla="*/ 457656 w 769959"/>
                  <a:gd name="connsiteY40" fmla="*/ 601574 h 800180"/>
                  <a:gd name="connsiteX41" fmla="*/ 482122 w 769959"/>
                  <a:gd name="connsiteY41" fmla="*/ 626040 h 800180"/>
                  <a:gd name="connsiteX42" fmla="*/ 457656 w 769959"/>
                  <a:gd name="connsiteY42" fmla="*/ 650506 h 800180"/>
                  <a:gd name="connsiteX43" fmla="*/ 433190 w 769959"/>
                  <a:gd name="connsiteY43" fmla="*/ 626040 h 800180"/>
                  <a:gd name="connsiteX44" fmla="*/ 457656 w 769959"/>
                  <a:gd name="connsiteY44" fmla="*/ 601574 h 800180"/>
                  <a:gd name="connsiteX45" fmla="*/ 313020 w 769959"/>
                  <a:gd name="connsiteY45" fmla="*/ 601574 h 800180"/>
                  <a:gd name="connsiteX46" fmla="*/ 336767 w 769959"/>
                  <a:gd name="connsiteY46" fmla="*/ 626040 h 800180"/>
                  <a:gd name="connsiteX47" fmla="*/ 313020 w 769959"/>
                  <a:gd name="connsiteY47" fmla="*/ 650506 h 800180"/>
                  <a:gd name="connsiteX48" fmla="*/ 289273 w 769959"/>
                  <a:gd name="connsiteY48" fmla="*/ 626040 h 800180"/>
                  <a:gd name="connsiteX49" fmla="*/ 313020 w 769959"/>
                  <a:gd name="connsiteY49" fmla="*/ 601574 h 800180"/>
                  <a:gd name="connsiteX50" fmla="*/ 169103 w 769959"/>
                  <a:gd name="connsiteY50" fmla="*/ 601574 h 800180"/>
                  <a:gd name="connsiteX51" fmla="*/ 192850 w 769959"/>
                  <a:gd name="connsiteY51" fmla="*/ 626040 h 800180"/>
                  <a:gd name="connsiteX52" fmla="*/ 169103 w 769959"/>
                  <a:gd name="connsiteY52" fmla="*/ 650506 h 800180"/>
                  <a:gd name="connsiteX53" fmla="*/ 145356 w 769959"/>
                  <a:gd name="connsiteY53" fmla="*/ 626040 h 800180"/>
                  <a:gd name="connsiteX54" fmla="*/ 169103 w 769959"/>
                  <a:gd name="connsiteY54" fmla="*/ 601574 h 800180"/>
                  <a:gd name="connsiteX55" fmla="*/ 24466 w 769959"/>
                  <a:gd name="connsiteY55" fmla="*/ 601574 h 800180"/>
                  <a:gd name="connsiteX56" fmla="*/ 48932 w 769959"/>
                  <a:gd name="connsiteY56" fmla="*/ 626040 h 800180"/>
                  <a:gd name="connsiteX57" fmla="*/ 24466 w 769959"/>
                  <a:gd name="connsiteY57" fmla="*/ 650506 h 800180"/>
                  <a:gd name="connsiteX58" fmla="*/ 0 w 769959"/>
                  <a:gd name="connsiteY58" fmla="*/ 626040 h 800180"/>
                  <a:gd name="connsiteX59" fmla="*/ 24466 w 769959"/>
                  <a:gd name="connsiteY59" fmla="*/ 601574 h 800180"/>
                  <a:gd name="connsiteX60" fmla="*/ 746212 w 769959"/>
                  <a:gd name="connsiteY60" fmla="*/ 450461 h 800180"/>
                  <a:gd name="connsiteX61" fmla="*/ 769959 w 769959"/>
                  <a:gd name="connsiteY61" fmla="*/ 474927 h 800180"/>
                  <a:gd name="connsiteX62" fmla="*/ 746212 w 769959"/>
                  <a:gd name="connsiteY62" fmla="*/ 499393 h 800180"/>
                  <a:gd name="connsiteX63" fmla="*/ 722465 w 769959"/>
                  <a:gd name="connsiteY63" fmla="*/ 474927 h 800180"/>
                  <a:gd name="connsiteX64" fmla="*/ 746212 w 769959"/>
                  <a:gd name="connsiteY64" fmla="*/ 450461 h 800180"/>
                  <a:gd name="connsiteX65" fmla="*/ 602294 w 769959"/>
                  <a:gd name="connsiteY65" fmla="*/ 450461 h 800180"/>
                  <a:gd name="connsiteX66" fmla="*/ 626041 w 769959"/>
                  <a:gd name="connsiteY66" fmla="*/ 474927 h 800180"/>
                  <a:gd name="connsiteX67" fmla="*/ 602294 w 769959"/>
                  <a:gd name="connsiteY67" fmla="*/ 499393 h 800180"/>
                  <a:gd name="connsiteX68" fmla="*/ 578547 w 769959"/>
                  <a:gd name="connsiteY68" fmla="*/ 474927 h 800180"/>
                  <a:gd name="connsiteX69" fmla="*/ 602294 w 769959"/>
                  <a:gd name="connsiteY69" fmla="*/ 450461 h 800180"/>
                  <a:gd name="connsiteX70" fmla="*/ 457656 w 769959"/>
                  <a:gd name="connsiteY70" fmla="*/ 450461 h 800180"/>
                  <a:gd name="connsiteX71" fmla="*/ 482122 w 769959"/>
                  <a:gd name="connsiteY71" fmla="*/ 474927 h 800180"/>
                  <a:gd name="connsiteX72" fmla="*/ 457656 w 769959"/>
                  <a:gd name="connsiteY72" fmla="*/ 499393 h 800180"/>
                  <a:gd name="connsiteX73" fmla="*/ 433190 w 769959"/>
                  <a:gd name="connsiteY73" fmla="*/ 474927 h 800180"/>
                  <a:gd name="connsiteX74" fmla="*/ 457656 w 769959"/>
                  <a:gd name="connsiteY74" fmla="*/ 450461 h 800180"/>
                  <a:gd name="connsiteX75" fmla="*/ 313020 w 769959"/>
                  <a:gd name="connsiteY75" fmla="*/ 450461 h 800180"/>
                  <a:gd name="connsiteX76" fmla="*/ 336767 w 769959"/>
                  <a:gd name="connsiteY76" fmla="*/ 474927 h 800180"/>
                  <a:gd name="connsiteX77" fmla="*/ 313020 w 769959"/>
                  <a:gd name="connsiteY77" fmla="*/ 499393 h 800180"/>
                  <a:gd name="connsiteX78" fmla="*/ 289273 w 769959"/>
                  <a:gd name="connsiteY78" fmla="*/ 474927 h 800180"/>
                  <a:gd name="connsiteX79" fmla="*/ 313020 w 769959"/>
                  <a:gd name="connsiteY79" fmla="*/ 450461 h 800180"/>
                  <a:gd name="connsiteX80" fmla="*/ 169103 w 769959"/>
                  <a:gd name="connsiteY80" fmla="*/ 450461 h 800180"/>
                  <a:gd name="connsiteX81" fmla="*/ 192850 w 769959"/>
                  <a:gd name="connsiteY81" fmla="*/ 474927 h 800180"/>
                  <a:gd name="connsiteX82" fmla="*/ 169103 w 769959"/>
                  <a:gd name="connsiteY82" fmla="*/ 499393 h 800180"/>
                  <a:gd name="connsiteX83" fmla="*/ 145356 w 769959"/>
                  <a:gd name="connsiteY83" fmla="*/ 474927 h 800180"/>
                  <a:gd name="connsiteX84" fmla="*/ 169103 w 769959"/>
                  <a:gd name="connsiteY84" fmla="*/ 450461 h 800180"/>
                  <a:gd name="connsiteX85" fmla="*/ 24466 w 769959"/>
                  <a:gd name="connsiteY85" fmla="*/ 450461 h 800180"/>
                  <a:gd name="connsiteX86" fmla="*/ 48932 w 769959"/>
                  <a:gd name="connsiteY86" fmla="*/ 474927 h 800180"/>
                  <a:gd name="connsiteX87" fmla="*/ 24466 w 769959"/>
                  <a:gd name="connsiteY87" fmla="*/ 499393 h 800180"/>
                  <a:gd name="connsiteX88" fmla="*/ 0 w 769959"/>
                  <a:gd name="connsiteY88" fmla="*/ 474927 h 800180"/>
                  <a:gd name="connsiteX89" fmla="*/ 24466 w 769959"/>
                  <a:gd name="connsiteY89" fmla="*/ 450461 h 800180"/>
                  <a:gd name="connsiteX90" fmla="*/ 746212 w 769959"/>
                  <a:gd name="connsiteY90" fmla="*/ 300787 h 800180"/>
                  <a:gd name="connsiteX91" fmla="*/ 769959 w 769959"/>
                  <a:gd name="connsiteY91" fmla="*/ 325253 h 800180"/>
                  <a:gd name="connsiteX92" fmla="*/ 746212 w 769959"/>
                  <a:gd name="connsiteY92" fmla="*/ 349719 h 800180"/>
                  <a:gd name="connsiteX93" fmla="*/ 722465 w 769959"/>
                  <a:gd name="connsiteY93" fmla="*/ 325253 h 800180"/>
                  <a:gd name="connsiteX94" fmla="*/ 746212 w 769959"/>
                  <a:gd name="connsiteY94" fmla="*/ 300787 h 800180"/>
                  <a:gd name="connsiteX95" fmla="*/ 602294 w 769959"/>
                  <a:gd name="connsiteY95" fmla="*/ 300787 h 800180"/>
                  <a:gd name="connsiteX96" fmla="*/ 626041 w 769959"/>
                  <a:gd name="connsiteY96" fmla="*/ 325253 h 800180"/>
                  <a:gd name="connsiteX97" fmla="*/ 602294 w 769959"/>
                  <a:gd name="connsiteY97" fmla="*/ 349719 h 800180"/>
                  <a:gd name="connsiteX98" fmla="*/ 578547 w 769959"/>
                  <a:gd name="connsiteY98" fmla="*/ 325253 h 800180"/>
                  <a:gd name="connsiteX99" fmla="*/ 602294 w 769959"/>
                  <a:gd name="connsiteY99" fmla="*/ 300787 h 800180"/>
                  <a:gd name="connsiteX100" fmla="*/ 457656 w 769959"/>
                  <a:gd name="connsiteY100" fmla="*/ 300787 h 800180"/>
                  <a:gd name="connsiteX101" fmla="*/ 482122 w 769959"/>
                  <a:gd name="connsiteY101" fmla="*/ 325253 h 800180"/>
                  <a:gd name="connsiteX102" fmla="*/ 457656 w 769959"/>
                  <a:gd name="connsiteY102" fmla="*/ 349719 h 800180"/>
                  <a:gd name="connsiteX103" fmla="*/ 433190 w 769959"/>
                  <a:gd name="connsiteY103" fmla="*/ 325253 h 800180"/>
                  <a:gd name="connsiteX104" fmla="*/ 457656 w 769959"/>
                  <a:gd name="connsiteY104" fmla="*/ 300787 h 800180"/>
                  <a:gd name="connsiteX105" fmla="*/ 313020 w 769959"/>
                  <a:gd name="connsiteY105" fmla="*/ 300787 h 800180"/>
                  <a:gd name="connsiteX106" fmla="*/ 336767 w 769959"/>
                  <a:gd name="connsiteY106" fmla="*/ 325253 h 800180"/>
                  <a:gd name="connsiteX107" fmla="*/ 313020 w 769959"/>
                  <a:gd name="connsiteY107" fmla="*/ 349719 h 800180"/>
                  <a:gd name="connsiteX108" fmla="*/ 289273 w 769959"/>
                  <a:gd name="connsiteY108" fmla="*/ 325253 h 800180"/>
                  <a:gd name="connsiteX109" fmla="*/ 313020 w 769959"/>
                  <a:gd name="connsiteY109" fmla="*/ 300787 h 800180"/>
                  <a:gd name="connsiteX110" fmla="*/ 169103 w 769959"/>
                  <a:gd name="connsiteY110" fmla="*/ 300787 h 800180"/>
                  <a:gd name="connsiteX111" fmla="*/ 192850 w 769959"/>
                  <a:gd name="connsiteY111" fmla="*/ 325253 h 800180"/>
                  <a:gd name="connsiteX112" fmla="*/ 169103 w 769959"/>
                  <a:gd name="connsiteY112" fmla="*/ 349719 h 800180"/>
                  <a:gd name="connsiteX113" fmla="*/ 145356 w 769959"/>
                  <a:gd name="connsiteY113" fmla="*/ 325253 h 800180"/>
                  <a:gd name="connsiteX114" fmla="*/ 169103 w 769959"/>
                  <a:gd name="connsiteY114" fmla="*/ 300787 h 800180"/>
                  <a:gd name="connsiteX115" fmla="*/ 24466 w 769959"/>
                  <a:gd name="connsiteY115" fmla="*/ 300787 h 800180"/>
                  <a:gd name="connsiteX116" fmla="*/ 48932 w 769959"/>
                  <a:gd name="connsiteY116" fmla="*/ 325253 h 800180"/>
                  <a:gd name="connsiteX117" fmla="*/ 24466 w 769959"/>
                  <a:gd name="connsiteY117" fmla="*/ 349719 h 800180"/>
                  <a:gd name="connsiteX118" fmla="*/ 0 w 769959"/>
                  <a:gd name="connsiteY118" fmla="*/ 325253 h 800180"/>
                  <a:gd name="connsiteX119" fmla="*/ 24466 w 769959"/>
                  <a:gd name="connsiteY119" fmla="*/ 300787 h 800180"/>
                  <a:gd name="connsiteX120" fmla="*/ 746212 w 769959"/>
                  <a:gd name="connsiteY120" fmla="*/ 149674 h 800180"/>
                  <a:gd name="connsiteX121" fmla="*/ 769959 w 769959"/>
                  <a:gd name="connsiteY121" fmla="*/ 174140 h 800180"/>
                  <a:gd name="connsiteX122" fmla="*/ 746212 w 769959"/>
                  <a:gd name="connsiteY122" fmla="*/ 198606 h 800180"/>
                  <a:gd name="connsiteX123" fmla="*/ 722465 w 769959"/>
                  <a:gd name="connsiteY123" fmla="*/ 174140 h 800180"/>
                  <a:gd name="connsiteX124" fmla="*/ 746212 w 769959"/>
                  <a:gd name="connsiteY124" fmla="*/ 149674 h 800180"/>
                  <a:gd name="connsiteX125" fmla="*/ 602294 w 769959"/>
                  <a:gd name="connsiteY125" fmla="*/ 149674 h 800180"/>
                  <a:gd name="connsiteX126" fmla="*/ 626041 w 769959"/>
                  <a:gd name="connsiteY126" fmla="*/ 174140 h 800180"/>
                  <a:gd name="connsiteX127" fmla="*/ 602294 w 769959"/>
                  <a:gd name="connsiteY127" fmla="*/ 198606 h 800180"/>
                  <a:gd name="connsiteX128" fmla="*/ 578547 w 769959"/>
                  <a:gd name="connsiteY128" fmla="*/ 174140 h 800180"/>
                  <a:gd name="connsiteX129" fmla="*/ 602294 w 769959"/>
                  <a:gd name="connsiteY129" fmla="*/ 149674 h 800180"/>
                  <a:gd name="connsiteX130" fmla="*/ 457656 w 769959"/>
                  <a:gd name="connsiteY130" fmla="*/ 149674 h 800180"/>
                  <a:gd name="connsiteX131" fmla="*/ 482122 w 769959"/>
                  <a:gd name="connsiteY131" fmla="*/ 174140 h 800180"/>
                  <a:gd name="connsiteX132" fmla="*/ 457656 w 769959"/>
                  <a:gd name="connsiteY132" fmla="*/ 198606 h 800180"/>
                  <a:gd name="connsiteX133" fmla="*/ 433190 w 769959"/>
                  <a:gd name="connsiteY133" fmla="*/ 174140 h 800180"/>
                  <a:gd name="connsiteX134" fmla="*/ 457656 w 769959"/>
                  <a:gd name="connsiteY134" fmla="*/ 149674 h 800180"/>
                  <a:gd name="connsiteX135" fmla="*/ 313020 w 769959"/>
                  <a:gd name="connsiteY135" fmla="*/ 149674 h 800180"/>
                  <a:gd name="connsiteX136" fmla="*/ 336767 w 769959"/>
                  <a:gd name="connsiteY136" fmla="*/ 174140 h 800180"/>
                  <a:gd name="connsiteX137" fmla="*/ 313020 w 769959"/>
                  <a:gd name="connsiteY137" fmla="*/ 198606 h 800180"/>
                  <a:gd name="connsiteX138" fmla="*/ 289273 w 769959"/>
                  <a:gd name="connsiteY138" fmla="*/ 174140 h 800180"/>
                  <a:gd name="connsiteX139" fmla="*/ 313020 w 769959"/>
                  <a:gd name="connsiteY139" fmla="*/ 149674 h 800180"/>
                  <a:gd name="connsiteX140" fmla="*/ 169103 w 769959"/>
                  <a:gd name="connsiteY140" fmla="*/ 149674 h 800180"/>
                  <a:gd name="connsiteX141" fmla="*/ 192850 w 769959"/>
                  <a:gd name="connsiteY141" fmla="*/ 174140 h 800180"/>
                  <a:gd name="connsiteX142" fmla="*/ 169103 w 769959"/>
                  <a:gd name="connsiteY142" fmla="*/ 198606 h 800180"/>
                  <a:gd name="connsiteX143" fmla="*/ 145356 w 769959"/>
                  <a:gd name="connsiteY143" fmla="*/ 174140 h 800180"/>
                  <a:gd name="connsiteX144" fmla="*/ 169103 w 769959"/>
                  <a:gd name="connsiteY144" fmla="*/ 149674 h 800180"/>
                  <a:gd name="connsiteX145" fmla="*/ 24466 w 769959"/>
                  <a:gd name="connsiteY145" fmla="*/ 149674 h 800180"/>
                  <a:gd name="connsiteX146" fmla="*/ 48932 w 769959"/>
                  <a:gd name="connsiteY146" fmla="*/ 174140 h 800180"/>
                  <a:gd name="connsiteX147" fmla="*/ 24466 w 769959"/>
                  <a:gd name="connsiteY147" fmla="*/ 198606 h 800180"/>
                  <a:gd name="connsiteX148" fmla="*/ 0 w 769959"/>
                  <a:gd name="connsiteY148" fmla="*/ 174140 h 800180"/>
                  <a:gd name="connsiteX149" fmla="*/ 24466 w 769959"/>
                  <a:gd name="connsiteY149" fmla="*/ 149674 h 800180"/>
                  <a:gd name="connsiteX150" fmla="*/ 746212 w 769959"/>
                  <a:gd name="connsiteY150" fmla="*/ 0 h 800180"/>
                  <a:gd name="connsiteX151" fmla="*/ 769959 w 769959"/>
                  <a:gd name="connsiteY151" fmla="*/ 24466 h 800180"/>
                  <a:gd name="connsiteX152" fmla="*/ 746212 w 769959"/>
                  <a:gd name="connsiteY152" fmla="*/ 48932 h 800180"/>
                  <a:gd name="connsiteX153" fmla="*/ 722465 w 769959"/>
                  <a:gd name="connsiteY153" fmla="*/ 24466 h 800180"/>
                  <a:gd name="connsiteX154" fmla="*/ 746212 w 769959"/>
                  <a:gd name="connsiteY154" fmla="*/ 0 h 800180"/>
                  <a:gd name="connsiteX155" fmla="*/ 602294 w 769959"/>
                  <a:gd name="connsiteY155" fmla="*/ 0 h 800180"/>
                  <a:gd name="connsiteX156" fmla="*/ 626041 w 769959"/>
                  <a:gd name="connsiteY156" fmla="*/ 24466 h 800180"/>
                  <a:gd name="connsiteX157" fmla="*/ 602294 w 769959"/>
                  <a:gd name="connsiteY157" fmla="*/ 48932 h 800180"/>
                  <a:gd name="connsiteX158" fmla="*/ 578547 w 769959"/>
                  <a:gd name="connsiteY158" fmla="*/ 24466 h 800180"/>
                  <a:gd name="connsiteX159" fmla="*/ 602294 w 769959"/>
                  <a:gd name="connsiteY159" fmla="*/ 0 h 800180"/>
                  <a:gd name="connsiteX160" fmla="*/ 457656 w 769959"/>
                  <a:gd name="connsiteY160" fmla="*/ 0 h 800180"/>
                  <a:gd name="connsiteX161" fmla="*/ 482122 w 769959"/>
                  <a:gd name="connsiteY161" fmla="*/ 24466 h 800180"/>
                  <a:gd name="connsiteX162" fmla="*/ 457656 w 769959"/>
                  <a:gd name="connsiteY162" fmla="*/ 48932 h 800180"/>
                  <a:gd name="connsiteX163" fmla="*/ 433190 w 769959"/>
                  <a:gd name="connsiteY163" fmla="*/ 24466 h 800180"/>
                  <a:gd name="connsiteX164" fmla="*/ 457656 w 769959"/>
                  <a:gd name="connsiteY164" fmla="*/ 0 h 800180"/>
                  <a:gd name="connsiteX165" fmla="*/ 313020 w 769959"/>
                  <a:gd name="connsiteY165" fmla="*/ 0 h 800180"/>
                  <a:gd name="connsiteX166" fmla="*/ 336767 w 769959"/>
                  <a:gd name="connsiteY166" fmla="*/ 24466 h 800180"/>
                  <a:gd name="connsiteX167" fmla="*/ 313020 w 769959"/>
                  <a:gd name="connsiteY167" fmla="*/ 48932 h 800180"/>
                  <a:gd name="connsiteX168" fmla="*/ 289273 w 769959"/>
                  <a:gd name="connsiteY168" fmla="*/ 24466 h 800180"/>
                  <a:gd name="connsiteX169" fmla="*/ 313020 w 769959"/>
                  <a:gd name="connsiteY169" fmla="*/ 0 h 800180"/>
                  <a:gd name="connsiteX170" fmla="*/ 169103 w 769959"/>
                  <a:gd name="connsiteY170" fmla="*/ 0 h 800180"/>
                  <a:gd name="connsiteX171" fmla="*/ 192850 w 769959"/>
                  <a:gd name="connsiteY171" fmla="*/ 24466 h 800180"/>
                  <a:gd name="connsiteX172" fmla="*/ 169103 w 769959"/>
                  <a:gd name="connsiteY172" fmla="*/ 48932 h 800180"/>
                  <a:gd name="connsiteX173" fmla="*/ 145356 w 769959"/>
                  <a:gd name="connsiteY173" fmla="*/ 24466 h 800180"/>
                  <a:gd name="connsiteX174" fmla="*/ 169103 w 769959"/>
                  <a:gd name="connsiteY174" fmla="*/ 0 h 800180"/>
                  <a:gd name="connsiteX175" fmla="*/ 24466 w 769959"/>
                  <a:gd name="connsiteY175" fmla="*/ 0 h 800180"/>
                  <a:gd name="connsiteX176" fmla="*/ 48932 w 769959"/>
                  <a:gd name="connsiteY176" fmla="*/ 24466 h 800180"/>
                  <a:gd name="connsiteX177" fmla="*/ 24466 w 769959"/>
                  <a:gd name="connsiteY177" fmla="*/ 48932 h 800180"/>
                  <a:gd name="connsiteX178" fmla="*/ 0 w 769959"/>
                  <a:gd name="connsiteY178" fmla="*/ 24466 h 800180"/>
                  <a:gd name="connsiteX179" fmla="*/ 24466 w 769959"/>
                  <a:gd name="connsiteY179" fmla="*/ 0 h 80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769959" h="800180">
                    <a:moveTo>
                      <a:pt x="746212" y="751248"/>
                    </a:moveTo>
                    <a:cubicBezTo>
                      <a:pt x="759327" y="751248"/>
                      <a:pt x="769959" y="762202"/>
                      <a:pt x="769959" y="775714"/>
                    </a:cubicBezTo>
                    <a:cubicBezTo>
                      <a:pt x="769959" y="789226"/>
                      <a:pt x="759327" y="800180"/>
                      <a:pt x="746212" y="800180"/>
                    </a:cubicBezTo>
                    <a:cubicBezTo>
                      <a:pt x="733097" y="800180"/>
                      <a:pt x="722465" y="789226"/>
                      <a:pt x="722465" y="775714"/>
                    </a:cubicBezTo>
                    <a:cubicBezTo>
                      <a:pt x="722465" y="762202"/>
                      <a:pt x="733097" y="751248"/>
                      <a:pt x="746212" y="751248"/>
                    </a:cubicBezTo>
                    <a:close/>
                    <a:moveTo>
                      <a:pt x="602294" y="751248"/>
                    </a:moveTo>
                    <a:cubicBezTo>
                      <a:pt x="615409" y="751248"/>
                      <a:pt x="626041" y="762202"/>
                      <a:pt x="626041" y="775714"/>
                    </a:cubicBezTo>
                    <a:cubicBezTo>
                      <a:pt x="626041" y="789226"/>
                      <a:pt x="615409" y="800180"/>
                      <a:pt x="602294" y="800180"/>
                    </a:cubicBezTo>
                    <a:cubicBezTo>
                      <a:pt x="589179" y="800180"/>
                      <a:pt x="578547" y="789226"/>
                      <a:pt x="578547" y="775714"/>
                    </a:cubicBezTo>
                    <a:cubicBezTo>
                      <a:pt x="578547" y="762202"/>
                      <a:pt x="589179" y="751248"/>
                      <a:pt x="602294" y="751248"/>
                    </a:cubicBezTo>
                    <a:close/>
                    <a:moveTo>
                      <a:pt x="457656" y="751248"/>
                    </a:moveTo>
                    <a:cubicBezTo>
                      <a:pt x="471168" y="751248"/>
                      <a:pt x="482122" y="762202"/>
                      <a:pt x="482122" y="775714"/>
                    </a:cubicBezTo>
                    <a:cubicBezTo>
                      <a:pt x="482122" y="789226"/>
                      <a:pt x="471168" y="800180"/>
                      <a:pt x="457656" y="800180"/>
                    </a:cubicBezTo>
                    <a:cubicBezTo>
                      <a:pt x="444144" y="800180"/>
                      <a:pt x="433190" y="789226"/>
                      <a:pt x="433190" y="775714"/>
                    </a:cubicBezTo>
                    <a:cubicBezTo>
                      <a:pt x="433190" y="762202"/>
                      <a:pt x="444144" y="751248"/>
                      <a:pt x="457656" y="751248"/>
                    </a:cubicBezTo>
                    <a:close/>
                    <a:moveTo>
                      <a:pt x="313020" y="751248"/>
                    </a:moveTo>
                    <a:cubicBezTo>
                      <a:pt x="326135" y="751248"/>
                      <a:pt x="336767" y="762202"/>
                      <a:pt x="336767" y="775714"/>
                    </a:cubicBezTo>
                    <a:cubicBezTo>
                      <a:pt x="336767" y="789226"/>
                      <a:pt x="326135" y="800180"/>
                      <a:pt x="313020" y="800180"/>
                    </a:cubicBezTo>
                    <a:cubicBezTo>
                      <a:pt x="299905" y="800180"/>
                      <a:pt x="289273" y="789226"/>
                      <a:pt x="289273" y="775714"/>
                    </a:cubicBezTo>
                    <a:cubicBezTo>
                      <a:pt x="289273" y="762202"/>
                      <a:pt x="299905" y="751248"/>
                      <a:pt x="313020" y="751248"/>
                    </a:cubicBezTo>
                    <a:close/>
                    <a:moveTo>
                      <a:pt x="169103" y="751248"/>
                    </a:moveTo>
                    <a:cubicBezTo>
                      <a:pt x="182218" y="751248"/>
                      <a:pt x="192850" y="762202"/>
                      <a:pt x="192850" y="775714"/>
                    </a:cubicBezTo>
                    <a:cubicBezTo>
                      <a:pt x="192850" y="789226"/>
                      <a:pt x="182218" y="800180"/>
                      <a:pt x="169103" y="800180"/>
                    </a:cubicBezTo>
                    <a:cubicBezTo>
                      <a:pt x="155988" y="800180"/>
                      <a:pt x="145356" y="789226"/>
                      <a:pt x="145356" y="775714"/>
                    </a:cubicBezTo>
                    <a:cubicBezTo>
                      <a:pt x="145356" y="762202"/>
                      <a:pt x="155988" y="751248"/>
                      <a:pt x="169103" y="751248"/>
                    </a:cubicBezTo>
                    <a:close/>
                    <a:moveTo>
                      <a:pt x="24466" y="751248"/>
                    </a:moveTo>
                    <a:cubicBezTo>
                      <a:pt x="37978" y="751248"/>
                      <a:pt x="48932" y="762202"/>
                      <a:pt x="48932" y="775714"/>
                    </a:cubicBezTo>
                    <a:cubicBezTo>
                      <a:pt x="48932" y="789226"/>
                      <a:pt x="37978" y="800180"/>
                      <a:pt x="24466" y="800180"/>
                    </a:cubicBezTo>
                    <a:cubicBezTo>
                      <a:pt x="10954" y="800180"/>
                      <a:pt x="0" y="789226"/>
                      <a:pt x="0" y="775714"/>
                    </a:cubicBezTo>
                    <a:cubicBezTo>
                      <a:pt x="0" y="762202"/>
                      <a:pt x="10954" y="751248"/>
                      <a:pt x="24466" y="751248"/>
                    </a:cubicBezTo>
                    <a:close/>
                    <a:moveTo>
                      <a:pt x="746212" y="601574"/>
                    </a:moveTo>
                    <a:cubicBezTo>
                      <a:pt x="759327" y="601574"/>
                      <a:pt x="769959" y="612528"/>
                      <a:pt x="769959" y="626040"/>
                    </a:cubicBezTo>
                    <a:cubicBezTo>
                      <a:pt x="769959" y="639552"/>
                      <a:pt x="759327" y="650506"/>
                      <a:pt x="746212" y="650506"/>
                    </a:cubicBezTo>
                    <a:cubicBezTo>
                      <a:pt x="733097" y="650506"/>
                      <a:pt x="722465" y="639552"/>
                      <a:pt x="722465" y="626040"/>
                    </a:cubicBezTo>
                    <a:cubicBezTo>
                      <a:pt x="722465" y="612528"/>
                      <a:pt x="733097" y="601574"/>
                      <a:pt x="746212" y="601574"/>
                    </a:cubicBezTo>
                    <a:close/>
                    <a:moveTo>
                      <a:pt x="602294" y="601574"/>
                    </a:moveTo>
                    <a:cubicBezTo>
                      <a:pt x="615409" y="601574"/>
                      <a:pt x="626041" y="612528"/>
                      <a:pt x="626041" y="626040"/>
                    </a:cubicBezTo>
                    <a:cubicBezTo>
                      <a:pt x="626041" y="639552"/>
                      <a:pt x="615409" y="650506"/>
                      <a:pt x="602294" y="650506"/>
                    </a:cubicBezTo>
                    <a:cubicBezTo>
                      <a:pt x="589179" y="650506"/>
                      <a:pt x="578547" y="639552"/>
                      <a:pt x="578547" y="626040"/>
                    </a:cubicBezTo>
                    <a:cubicBezTo>
                      <a:pt x="578547" y="612528"/>
                      <a:pt x="589179" y="601574"/>
                      <a:pt x="602294" y="601574"/>
                    </a:cubicBezTo>
                    <a:close/>
                    <a:moveTo>
                      <a:pt x="457656" y="601574"/>
                    </a:moveTo>
                    <a:cubicBezTo>
                      <a:pt x="471168" y="601574"/>
                      <a:pt x="482122" y="612528"/>
                      <a:pt x="482122" y="626040"/>
                    </a:cubicBezTo>
                    <a:cubicBezTo>
                      <a:pt x="482122" y="639552"/>
                      <a:pt x="471168" y="650506"/>
                      <a:pt x="457656" y="650506"/>
                    </a:cubicBezTo>
                    <a:cubicBezTo>
                      <a:pt x="444144" y="650506"/>
                      <a:pt x="433190" y="639552"/>
                      <a:pt x="433190" y="626040"/>
                    </a:cubicBezTo>
                    <a:cubicBezTo>
                      <a:pt x="433190" y="612528"/>
                      <a:pt x="444144" y="601574"/>
                      <a:pt x="457656" y="601574"/>
                    </a:cubicBezTo>
                    <a:close/>
                    <a:moveTo>
                      <a:pt x="313020" y="601574"/>
                    </a:moveTo>
                    <a:cubicBezTo>
                      <a:pt x="326135" y="601574"/>
                      <a:pt x="336767" y="612528"/>
                      <a:pt x="336767" y="626040"/>
                    </a:cubicBezTo>
                    <a:cubicBezTo>
                      <a:pt x="336767" y="639552"/>
                      <a:pt x="326135" y="650506"/>
                      <a:pt x="313020" y="650506"/>
                    </a:cubicBezTo>
                    <a:cubicBezTo>
                      <a:pt x="299905" y="650506"/>
                      <a:pt x="289273" y="639552"/>
                      <a:pt x="289273" y="626040"/>
                    </a:cubicBezTo>
                    <a:cubicBezTo>
                      <a:pt x="289273" y="612528"/>
                      <a:pt x="299905" y="601574"/>
                      <a:pt x="313020" y="601574"/>
                    </a:cubicBezTo>
                    <a:close/>
                    <a:moveTo>
                      <a:pt x="169103" y="601574"/>
                    </a:moveTo>
                    <a:cubicBezTo>
                      <a:pt x="182218" y="601574"/>
                      <a:pt x="192850" y="612528"/>
                      <a:pt x="192850" y="626040"/>
                    </a:cubicBezTo>
                    <a:cubicBezTo>
                      <a:pt x="192850" y="639552"/>
                      <a:pt x="182218" y="650506"/>
                      <a:pt x="169103" y="650506"/>
                    </a:cubicBezTo>
                    <a:cubicBezTo>
                      <a:pt x="155988" y="650506"/>
                      <a:pt x="145356" y="639552"/>
                      <a:pt x="145356" y="626040"/>
                    </a:cubicBezTo>
                    <a:cubicBezTo>
                      <a:pt x="145356" y="612528"/>
                      <a:pt x="155988" y="601574"/>
                      <a:pt x="169103" y="601574"/>
                    </a:cubicBezTo>
                    <a:close/>
                    <a:moveTo>
                      <a:pt x="24466" y="601574"/>
                    </a:moveTo>
                    <a:cubicBezTo>
                      <a:pt x="37978" y="601574"/>
                      <a:pt x="48932" y="612528"/>
                      <a:pt x="48932" y="626040"/>
                    </a:cubicBezTo>
                    <a:cubicBezTo>
                      <a:pt x="48932" y="639552"/>
                      <a:pt x="37978" y="650506"/>
                      <a:pt x="24466" y="650506"/>
                    </a:cubicBezTo>
                    <a:cubicBezTo>
                      <a:pt x="10954" y="650506"/>
                      <a:pt x="0" y="639552"/>
                      <a:pt x="0" y="626040"/>
                    </a:cubicBezTo>
                    <a:cubicBezTo>
                      <a:pt x="0" y="612528"/>
                      <a:pt x="10954" y="601574"/>
                      <a:pt x="24466" y="601574"/>
                    </a:cubicBezTo>
                    <a:close/>
                    <a:moveTo>
                      <a:pt x="746212" y="450461"/>
                    </a:moveTo>
                    <a:cubicBezTo>
                      <a:pt x="759327" y="450461"/>
                      <a:pt x="769959" y="461415"/>
                      <a:pt x="769959" y="474927"/>
                    </a:cubicBezTo>
                    <a:cubicBezTo>
                      <a:pt x="769959" y="488439"/>
                      <a:pt x="759327" y="499393"/>
                      <a:pt x="746212" y="499393"/>
                    </a:cubicBezTo>
                    <a:cubicBezTo>
                      <a:pt x="733097" y="499393"/>
                      <a:pt x="722465" y="488439"/>
                      <a:pt x="722465" y="474927"/>
                    </a:cubicBezTo>
                    <a:cubicBezTo>
                      <a:pt x="722465" y="461415"/>
                      <a:pt x="733097" y="450461"/>
                      <a:pt x="746212" y="450461"/>
                    </a:cubicBezTo>
                    <a:close/>
                    <a:moveTo>
                      <a:pt x="602294" y="450461"/>
                    </a:moveTo>
                    <a:cubicBezTo>
                      <a:pt x="615409" y="450461"/>
                      <a:pt x="626041" y="461415"/>
                      <a:pt x="626041" y="474927"/>
                    </a:cubicBezTo>
                    <a:cubicBezTo>
                      <a:pt x="626041" y="488439"/>
                      <a:pt x="615409" y="499393"/>
                      <a:pt x="602294" y="499393"/>
                    </a:cubicBezTo>
                    <a:cubicBezTo>
                      <a:pt x="589179" y="499393"/>
                      <a:pt x="578547" y="488439"/>
                      <a:pt x="578547" y="474927"/>
                    </a:cubicBezTo>
                    <a:cubicBezTo>
                      <a:pt x="578547" y="461415"/>
                      <a:pt x="589179" y="450461"/>
                      <a:pt x="602294" y="450461"/>
                    </a:cubicBezTo>
                    <a:close/>
                    <a:moveTo>
                      <a:pt x="457656" y="450461"/>
                    </a:moveTo>
                    <a:cubicBezTo>
                      <a:pt x="471168" y="450461"/>
                      <a:pt x="482122" y="461415"/>
                      <a:pt x="482122" y="474927"/>
                    </a:cubicBezTo>
                    <a:cubicBezTo>
                      <a:pt x="482122" y="488439"/>
                      <a:pt x="471168" y="499393"/>
                      <a:pt x="457656" y="499393"/>
                    </a:cubicBezTo>
                    <a:cubicBezTo>
                      <a:pt x="444144" y="499393"/>
                      <a:pt x="433190" y="488439"/>
                      <a:pt x="433190" y="474927"/>
                    </a:cubicBezTo>
                    <a:cubicBezTo>
                      <a:pt x="433190" y="461415"/>
                      <a:pt x="444144" y="450461"/>
                      <a:pt x="457656" y="450461"/>
                    </a:cubicBezTo>
                    <a:close/>
                    <a:moveTo>
                      <a:pt x="313020" y="450461"/>
                    </a:moveTo>
                    <a:cubicBezTo>
                      <a:pt x="326135" y="450461"/>
                      <a:pt x="336767" y="461415"/>
                      <a:pt x="336767" y="474927"/>
                    </a:cubicBezTo>
                    <a:cubicBezTo>
                      <a:pt x="336767" y="488439"/>
                      <a:pt x="326135" y="499393"/>
                      <a:pt x="313020" y="499393"/>
                    </a:cubicBezTo>
                    <a:cubicBezTo>
                      <a:pt x="299905" y="499393"/>
                      <a:pt x="289273" y="488439"/>
                      <a:pt x="289273" y="474927"/>
                    </a:cubicBezTo>
                    <a:cubicBezTo>
                      <a:pt x="289273" y="461415"/>
                      <a:pt x="299905" y="450461"/>
                      <a:pt x="313020" y="450461"/>
                    </a:cubicBezTo>
                    <a:close/>
                    <a:moveTo>
                      <a:pt x="169103" y="450461"/>
                    </a:moveTo>
                    <a:cubicBezTo>
                      <a:pt x="182218" y="450461"/>
                      <a:pt x="192850" y="461415"/>
                      <a:pt x="192850" y="474927"/>
                    </a:cubicBezTo>
                    <a:cubicBezTo>
                      <a:pt x="192850" y="488439"/>
                      <a:pt x="182218" y="499393"/>
                      <a:pt x="169103" y="499393"/>
                    </a:cubicBezTo>
                    <a:cubicBezTo>
                      <a:pt x="155988" y="499393"/>
                      <a:pt x="145356" y="488439"/>
                      <a:pt x="145356" y="474927"/>
                    </a:cubicBezTo>
                    <a:cubicBezTo>
                      <a:pt x="145356" y="461415"/>
                      <a:pt x="155988" y="450461"/>
                      <a:pt x="169103" y="450461"/>
                    </a:cubicBezTo>
                    <a:close/>
                    <a:moveTo>
                      <a:pt x="24466" y="450461"/>
                    </a:moveTo>
                    <a:cubicBezTo>
                      <a:pt x="37978" y="450461"/>
                      <a:pt x="48932" y="461415"/>
                      <a:pt x="48932" y="474927"/>
                    </a:cubicBezTo>
                    <a:cubicBezTo>
                      <a:pt x="48932" y="488439"/>
                      <a:pt x="37978" y="499393"/>
                      <a:pt x="24466" y="499393"/>
                    </a:cubicBezTo>
                    <a:cubicBezTo>
                      <a:pt x="10954" y="499393"/>
                      <a:pt x="0" y="488439"/>
                      <a:pt x="0" y="474927"/>
                    </a:cubicBezTo>
                    <a:cubicBezTo>
                      <a:pt x="0" y="461415"/>
                      <a:pt x="10954" y="450461"/>
                      <a:pt x="24466" y="450461"/>
                    </a:cubicBezTo>
                    <a:close/>
                    <a:moveTo>
                      <a:pt x="746212" y="300787"/>
                    </a:moveTo>
                    <a:cubicBezTo>
                      <a:pt x="759327" y="300787"/>
                      <a:pt x="769959" y="311741"/>
                      <a:pt x="769959" y="325253"/>
                    </a:cubicBezTo>
                    <a:cubicBezTo>
                      <a:pt x="769959" y="338765"/>
                      <a:pt x="759327" y="349719"/>
                      <a:pt x="746212" y="349719"/>
                    </a:cubicBezTo>
                    <a:cubicBezTo>
                      <a:pt x="733097" y="349719"/>
                      <a:pt x="722465" y="338765"/>
                      <a:pt x="722465" y="325253"/>
                    </a:cubicBezTo>
                    <a:cubicBezTo>
                      <a:pt x="722465" y="311741"/>
                      <a:pt x="733097" y="300787"/>
                      <a:pt x="746212" y="300787"/>
                    </a:cubicBezTo>
                    <a:close/>
                    <a:moveTo>
                      <a:pt x="602294" y="300787"/>
                    </a:moveTo>
                    <a:cubicBezTo>
                      <a:pt x="615409" y="300787"/>
                      <a:pt x="626041" y="311741"/>
                      <a:pt x="626041" y="325253"/>
                    </a:cubicBezTo>
                    <a:cubicBezTo>
                      <a:pt x="626041" y="338765"/>
                      <a:pt x="615409" y="349719"/>
                      <a:pt x="602294" y="349719"/>
                    </a:cubicBezTo>
                    <a:cubicBezTo>
                      <a:pt x="589179" y="349719"/>
                      <a:pt x="578547" y="338765"/>
                      <a:pt x="578547" y="325253"/>
                    </a:cubicBezTo>
                    <a:cubicBezTo>
                      <a:pt x="578547" y="311741"/>
                      <a:pt x="589179" y="300787"/>
                      <a:pt x="602294" y="300787"/>
                    </a:cubicBezTo>
                    <a:close/>
                    <a:moveTo>
                      <a:pt x="457656" y="300787"/>
                    </a:moveTo>
                    <a:cubicBezTo>
                      <a:pt x="471168" y="300787"/>
                      <a:pt x="482122" y="311741"/>
                      <a:pt x="482122" y="325253"/>
                    </a:cubicBezTo>
                    <a:cubicBezTo>
                      <a:pt x="482122" y="338765"/>
                      <a:pt x="471168" y="349719"/>
                      <a:pt x="457656" y="349719"/>
                    </a:cubicBezTo>
                    <a:cubicBezTo>
                      <a:pt x="444144" y="349719"/>
                      <a:pt x="433190" y="338765"/>
                      <a:pt x="433190" y="325253"/>
                    </a:cubicBezTo>
                    <a:cubicBezTo>
                      <a:pt x="433190" y="311741"/>
                      <a:pt x="444144" y="300787"/>
                      <a:pt x="457656" y="300787"/>
                    </a:cubicBezTo>
                    <a:close/>
                    <a:moveTo>
                      <a:pt x="313020" y="300787"/>
                    </a:moveTo>
                    <a:cubicBezTo>
                      <a:pt x="326135" y="300787"/>
                      <a:pt x="336767" y="311741"/>
                      <a:pt x="336767" y="325253"/>
                    </a:cubicBezTo>
                    <a:cubicBezTo>
                      <a:pt x="336767" y="338765"/>
                      <a:pt x="326135" y="349719"/>
                      <a:pt x="313020" y="349719"/>
                    </a:cubicBezTo>
                    <a:cubicBezTo>
                      <a:pt x="299905" y="349719"/>
                      <a:pt x="289273" y="338765"/>
                      <a:pt x="289273" y="325253"/>
                    </a:cubicBezTo>
                    <a:cubicBezTo>
                      <a:pt x="289273" y="311741"/>
                      <a:pt x="299905" y="300787"/>
                      <a:pt x="313020" y="300787"/>
                    </a:cubicBezTo>
                    <a:close/>
                    <a:moveTo>
                      <a:pt x="169103" y="300787"/>
                    </a:moveTo>
                    <a:cubicBezTo>
                      <a:pt x="182218" y="300787"/>
                      <a:pt x="192850" y="311741"/>
                      <a:pt x="192850" y="325253"/>
                    </a:cubicBezTo>
                    <a:cubicBezTo>
                      <a:pt x="192850" y="338765"/>
                      <a:pt x="182218" y="349719"/>
                      <a:pt x="169103" y="349719"/>
                    </a:cubicBezTo>
                    <a:cubicBezTo>
                      <a:pt x="155988" y="349719"/>
                      <a:pt x="145356" y="338765"/>
                      <a:pt x="145356" y="325253"/>
                    </a:cubicBezTo>
                    <a:cubicBezTo>
                      <a:pt x="145356" y="311741"/>
                      <a:pt x="155988" y="300787"/>
                      <a:pt x="169103" y="300787"/>
                    </a:cubicBezTo>
                    <a:close/>
                    <a:moveTo>
                      <a:pt x="24466" y="300787"/>
                    </a:moveTo>
                    <a:cubicBezTo>
                      <a:pt x="37978" y="300787"/>
                      <a:pt x="48932" y="311741"/>
                      <a:pt x="48932" y="325253"/>
                    </a:cubicBezTo>
                    <a:cubicBezTo>
                      <a:pt x="48932" y="338765"/>
                      <a:pt x="37978" y="349719"/>
                      <a:pt x="24466" y="349719"/>
                    </a:cubicBezTo>
                    <a:cubicBezTo>
                      <a:pt x="10954" y="349719"/>
                      <a:pt x="0" y="338765"/>
                      <a:pt x="0" y="325253"/>
                    </a:cubicBezTo>
                    <a:cubicBezTo>
                      <a:pt x="0" y="311741"/>
                      <a:pt x="10954" y="300787"/>
                      <a:pt x="24466" y="300787"/>
                    </a:cubicBezTo>
                    <a:close/>
                    <a:moveTo>
                      <a:pt x="746212" y="149674"/>
                    </a:moveTo>
                    <a:cubicBezTo>
                      <a:pt x="759327" y="149674"/>
                      <a:pt x="769959" y="160628"/>
                      <a:pt x="769959" y="174140"/>
                    </a:cubicBezTo>
                    <a:cubicBezTo>
                      <a:pt x="769959" y="187652"/>
                      <a:pt x="759327" y="198606"/>
                      <a:pt x="746212" y="198606"/>
                    </a:cubicBezTo>
                    <a:cubicBezTo>
                      <a:pt x="733097" y="198606"/>
                      <a:pt x="722465" y="187652"/>
                      <a:pt x="722465" y="174140"/>
                    </a:cubicBezTo>
                    <a:cubicBezTo>
                      <a:pt x="722465" y="160628"/>
                      <a:pt x="733097" y="149674"/>
                      <a:pt x="746212" y="149674"/>
                    </a:cubicBezTo>
                    <a:close/>
                    <a:moveTo>
                      <a:pt x="602294" y="149674"/>
                    </a:moveTo>
                    <a:cubicBezTo>
                      <a:pt x="615409" y="149674"/>
                      <a:pt x="626041" y="160628"/>
                      <a:pt x="626041" y="174140"/>
                    </a:cubicBezTo>
                    <a:cubicBezTo>
                      <a:pt x="626041" y="187652"/>
                      <a:pt x="615409" y="198606"/>
                      <a:pt x="602294" y="198606"/>
                    </a:cubicBezTo>
                    <a:cubicBezTo>
                      <a:pt x="589179" y="198606"/>
                      <a:pt x="578547" y="187652"/>
                      <a:pt x="578547" y="174140"/>
                    </a:cubicBezTo>
                    <a:cubicBezTo>
                      <a:pt x="578547" y="160628"/>
                      <a:pt x="589179" y="149674"/>
                      <a:pt x="602294" y="149674"/>
                    </a:cubicBezTo>
                    <a:close/>
                    <a:moveTo>
                      <a:pt x="457656" y="149674"/>
                    </a:moveTo>
                    <a:cubicBezTo>
                      <a:pt x="471168" y="149674"/>
                      <a:pt x="482122" y="160628"/>
                      <a:pt x="482122" y="174140"/>
                    </a:cubicBezTo>
                    <a:cubicBezTo>
                      <a:pt x="482122" y="187652"/>
                      <a:pt x="471168" y="198606"/>
                      <a:pt x="457656" y="198606"/>
                    </a:cubicBezTo>
                    <a:cubicBezTo>
                      <a:pt x="444144" y="198606"/>
                      <a:pt x="433190" y="187652"/>
                      <a:pt x="433190" y="174140"/>
                    </a:cubicBezTo>
                    <a:cubicBezTo>
                      <a:pt x="433190" y="160628"/>
                      <a:pt x="444144" y="149674"/>
                      <a:pt x="457656" y="149674"/>
                    </a:cubicBezTo>
                    <a:close/>
                    <a:moveTo>
                      <a:pt x="313020" y="149674"/>
                    </a:moveTo>
                    <a:cubicBezTo>
                      <a:pt x="326135" y="149674"/>
                      <a:pt x="336767" y="160628"/>
                      <a:pt x="336767" y="174140"/>
                    </a:cubicBezTo>
                    <a:cubicBezTo>
                      <a:pt x="336767" y="187652"/>
                      <a:pt x="326135" y="198606"/>
                      <a:pt x="313020" y="198606"/>
                    </a:cubicBezTo>
                    <a:cubicBezTo>
                      <a:pt x="299905" y="198606"/>
                      <a:pt x="289273" y="187652"/>
                      <a:pt x="289273" y="174140"/>
                    </a:cubicBezTo>
                    <a:cubicBezTo>
                      <a:pt x="289273" y="160628"/>
                      <a:pt x="299905" y="149674"/>
                      <a:pt x="313020" y="149674"/>
                    </a:cubicBezTo>
                    <a:close/>
                    <a:moveTo>
                      <a:pt x="169103" y="149674"/>
                    </a:moveTo>
                    <a:cubicBezTo>
                      <a:pt x="182218" y="149674"/>
                      <a:pt x="192850" y="160628"/>
                      <a:pt x="192850" y="174140"/>
                    </a:cubicBezTo>
                    <a:cubicBezTo>
                      <a:pt x="192850" y="187652"/>
                      <a:pt x="182218" y="198606"/>
                      <a:pt x="169103" y="198606"/>
                    </a:cubicBezTo>
                    <a:cubicBezTo>
                      <a:pt x="155988" y="198606"/>
                      <a:pt x="145356" y="187652"/>
                      <a:pt x="145356" y="174140"/>
                    </a:cubicBezTo>
                    <a:cubicBezTo>
                      <a:pt x="145356" y="160628"/>
                      <a:pt x="155988" y="149674"/>
                      <a:pt x="169103" y="149674"/>
                    </a:cubicBezTo>
                    <a:close/>
                    <a:moveTo>
                      <a:pt x="24466" y="149674"/>
                    </a:moveTo>
                    <a:cubicBezTo>
                      <a:pt x="37978" y="149674"/>
                      <a:pt x="48932" y="160628"/>
                      <a:pt x="48932" y="174140"/>
                    </a:cubicBezTo>
                    <a:cubicBezTo>
                      <a:pt x="48932" y="187652"/>
                      <a:pt x="37978" y="198606"/>
                      <a:pt x="24466" y="198606"/>
                    </a:cubicBezTo>
                    <a:cubicBezTo>
                      <a:pt x="10954" y="198606"/>
                      <a:pt x="0" y="187652"/>
                      <a:pt x="0" y="174140"/>
                    </a:cubicBezTo>
                    <a:cubicBezTo>
                      <a:pt x="0" y="160628"/>
                      <a:pt x="10954" y="149674"/>
                      <a:pt x="24466" y="149674"/>
                    </a:cubicBezTo>
                    <a:close/>
                    <a:moveTo>
                      <a:pt x="746212" y="0"/>
                    </a:moveTo>
                    <a:cubicBezTo>
                      <a:pt x="759327" y="0"/>
                      <a:pt x="769959" y="10954"/>
                      <a:pt x="769959" y="24466"/>
                    </a:cubicBezTo>
                    <a:cubicBezTo>
                      <a:pt x="769959" y="37978"/>
                      <a:pt x="759327" y="48932"/>
                      <a:pt x="746212" y="48932"/>
                    </a:cubicBezTo>
                    <a:cubicBezTo>
                      <a:pt x="733097" y="48932"/>
                      <a:pt x="722465" y="37978"/>
                      <a:pt x="722465" y="24466"/>
                    </a:cubicBezTo>
                    <a:cubicBezTo>
                      <a:pt x="722465" y="10954"/>
                      <a:pt x="733097" y="0"/>
                      <a:pt x="746212" y="0"/>
                    </a:cubicBezTo>
                    <a:close/>
                    <a:moveTo>
                      <a:pt x="602294" y="0"/>
                    </a:moveTo>
                    <a:cubicBezTo>
                      <a:pt x="615409" y="0"/>
                      <a:pt x="626041" y="10954"/>
                      <a:pt x="626041" y="24466"/>
                    </a:cubicBezTo>
                    <a:cubicBezTo>
                      <a:pt x="626041" y="37978"/>
                      <a:pt x="615409" y="48932"/>
                      <a:pt x="602294" y="48932"/>
                    </a:cubicBezTo>
                    <a:cubicBezTo>
                      <a:pt x="589179" y="48932"/>
                      <a:pt x="578547" y="37978"/>
                      <a:pt x="578547" y="24466"/>
                    </a:cubicBezTo>
                    <a:cubicBezTo>
                      <a:pt x="578547" y="10954"/>
                      <a:pt x="589179" y="0"/>
                      <a:pt x="602294" y="0"/>
                    </a:cubicBezTo>
                    <a:close/>
                    <a:moveTo>
                      <a:pt x="457656" y="0"/>
                    </a:moveTo>
                    <a:cubicBezTo>
                      <a:pt x="471168" y="0"/>
                      <a:pt x="482122" y="10954"/>
                      <a:pt x="482122" y="24466"/>
                    </a:cubicBezTo>
                    <a:cubicBezTo>
                      <a:pt x="482122" y="37978"/>
                      <a:pt x="471168" y="48932"/>
                      <a:pt x="457656" y="48932"/>
                    </a:cubicBezTo>
                    <a:cubicBezTo>
                      <a:pt x="444144" y="48932"/>
                      <a:pt x="433190" y="37978"/>
                      <a:pt x="433190" y="24466"/>
                    </a:cubicBezTo>
                    <a:cubicBezTo>
                      <a:pt x="433190" y="10954"/>
                      <a:pt x="444144" y="0"/>
                      <a:pt x="457656" y="0"/>
                    </a:cubicBezTo>
                    <a:close/>
                    <a:moveTo>
                      <a:pt x="313020" y="0"/>
                    </a:moveTo>
                    <a:cubicBezTo>
                      <a:pt x="326135" y="0"/>
                      <a:pt x="336767" y="10954"/>
                      <a:pt x="336767" y="24466"/>
                    </a:cubicBezTo>
                    <a:cubicBezTo>
                      <a:pt x="336767" y="37978"/>
                      <a:pt x="326135" y="48932"/>
                      <a:pt x="313020" y="48932"/>
                    </a:cubicBezTo>
                    <a:cubicBezTo>
                      <a:pt x="299905" y="48932"/>
                      <a:pt x="289273" y="37978"/>
                      <a:pt x="289273" y="24466"/>
                    </a:cubicBezTo>
                    <a:cubicBezTo>
                      <a:pt x="289273" y="10954"/>
                      <a:pt x="299905" y="0"/>
                      <a:pt x="313020" y="0"/>
                    </a:cubicBezTo>
                    <a:close/>
                    <a:moveTo>
                      <a:pt x="169103" y="0"/>
                    </a:moveTo>
                    <a:cubicBezTo>
                      <a:pt x="182218" y="0"/>
                      <a:pt x="192850" y="10954"/>
                      <a:pt x="192850" y="24466"/>
                    </a:cubicBezTo>
                    <a:cubicBezTo>
                      <a:pt x="192850" y="37978"/>
                      <a:pt x="182218" y="48932"/>
                      <a:pt x="169103" y="48932"/>
                    </a:cubicBezTo>
                    <a:cubicBezTo>
                      <a:pt x="155988" y="48932"/>
                      <a:pt x="145356" y="37978"/>
                      <a:pt x="145356" y="24466"/>
                    </a:cubicBezTo>
                    <a:cubicBezTo>
                      <a:pt x="145356" y="10954"/>
                      <a:pt x="155988" y="0"/>
                      <a:pt x="169103" y="0"/>
                    </a:cubicBezTo>
                    <a:close/>
                    <a:moveTo>
                      <a:pt x="24466" y="0"/>
                    </a:moveTo>
                    <a:cubicBezTo>
                      <a:pt x="37978" y="0"/>
                      <a:pt x="48932" y="10954"/>
                      <a:pt x="48932" y="24466"/>
                    </a:cubicBezTo>
                    <a:cubicBezTo>
                      <a:pt x="48932" y="37978"/>
                      <a:pt x="37978" y="48932"/>
                      <a:pt x="24466" y="48932"/>
                    </a:cubicBezTo>
                    <a:cubicBezTo>
                      <a:pt x="10954" y="48932"/>
                      <a:pt x="0" y="37978"/>
                      <a:pt x="0" y="24466"/>
                    </a:cubicBezTo>
                    <a:cubicBezTo>
                      <a:pt x="0" y="10954"/>
                      <a:pt x="10954" y="0"/>
                      <a:pt x="24466" y="0"/>
                    </a:cubicBezTo>
                    <a:close/>
                  </a:path>
                </a:pathLst>
              </a:custGeom>
              <a:solidFill>
                <a:srgbClr val="00BCEC">
                  <a:alpha val="46000"/>
                </a:srgb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grpSp>
            <p:nvGrpSpPr>
              <p:cNvPr id="209" name="Group 208">
                <a:extLst>
                  <a:ext uri="{FF2B5EF4-FFF2-40B4-BE49-F238E27FC236}">
                    <a16:creationId xmlns:a16="http://schemas.microsoft.com/office/drawing/2014/main" id="{54F290E1-E0EA-4408-8ACB-BC6343BA49EB}"/>
                  </a:ext>
                </a:extLst>
              </p:cNvPr>
              <p:cNvGrpSpPr/>
              <p:nvPr/>
            </p:nvGrpSpPr>
            <p:grpSpPr>
              <a:xfrm>
                <a:off x="1384840" y="2086233"/>
                <a:ext cx="1920131" cy="1861507"/>
                <a:chOff x="2819702" y="161348"/>
                <a:chExt cx="4952375" cy="4801171"/>
              </a:xfrm>
            </p:grpSpPr>
            <p:sp>
              <p:nvSpPr>
                <p:cNvPr id="219" name="Arc 218">
                  <a:extLst>
                    <a:ext uri="{FF2B5EF4-FFF2-40B4-BE49-F238E27FC236}">
                      <a16:creationId xmlns:a16="http://schemas.microsoft.com/office/drawing/2014/main" id="{9F35A00E-EB7F-40FB-AFF9-AB94C243D9E0}"/>
                    </a:ext>
                  </a:extLst>
                </p:cNvPr>
                <p:cNvSpPr/>
                <p:nvPr/>
              </p:nvSpPr>
              <p:spPr>
                <a:xfrm>
                  <a:off x="3027040" y="217482"/>
                  <a:ext cx="4745037" cy="4745037"/>
                </a:xfrm>
                <a:prstGeom prst="arc">
                  <a:avLst>
                    <a:gd name="adj1" fmla="val 7346870"/>
                    <a:gd name="adj2" fmla="val 300450"/>
                  </a:avLst>
                </a:prstGeom>
                <a:solidFill>
                  <a:schemeClr val="bg2">
                    <a:lumMod val="95000"/>
                  </a:schemeClr>
                </a:solidFill>
                <a:ln w="19050" cap="flat" cmpd="sng" algn="ctr">
                  <a:noFill/>
                  <a:prstDash val="solid"/>
                </a:ln>
                <a:effectLst/>
              </p:spPr>
              <p:txBody>
                <a:bodyPr rtlCol="0" anchor="t">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220" name="Oval 219">
                  <a:extLst>
                    <a:ext uri="{FF2B5EF4-FFF2-40B4-BE49-F238E27FC236}">
                      <a16:creationId xmlns:a16="http://schemas.microsoft.com/office/drawing/2014/main" id="{B5583BE9-D4DD-4003-8ADA-0A46CB4550F1}"/>
                    </a:ext>
                  </a:extLst>
                </p:cNvPr>
                <p:cNvSpPr/>
                <p:nvPr/>
              </p:nvSpPr>
              <p:spPr>
                <a:xfrm>
                  <a:off x="6818247" y="617542"/>
                  <a:ext cx="202976" cy="202976"/>
                </a:xfrm>
                <a:prstGeom prst="ellipse">
                  <a:avLst/>
                </a:prstGeom>
                <a:solidFill>
                  <a:srgbClr val="74BF4B"/>
                </a:solidFill>
                <a:ln w="25400" cap="flat" cmpd="sng" algn="ctr">
                  <a:noFill/>
                  <a:prstDash val="solid"/>
                </a:ln>
                <a:effectLst/>
              </p:spPr>
              <p:txBody>
                <a:bodyPr rtlCol="0" anchor="t">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221" name="Oval 220">
                  <a:extLst>
                    <a:ext uri="{FF2B5EF4-FFF2-40B4-BE49-F238E27FC236}">
                      <a16:creationId xmlns:a16="http://schemas.microsoft.com/office/drawing/2014/main" id="{9CCE8987-261A-4AE8-9212-B1D8BEAB67B5}"/>
                    </a:ext>
                  </a:extLst>
                </p:cNvPr>
                <p:cNvSpPr/>
                <p:nvPr/>
              </p:nvSpPr>
              <p:spPr>
                <a:xfrm>
                  <a:off x="2819702" y="1475767"/>
                  <a:ext cx="677892" cy="677892"/>
                </a:xfrm>
                <a:prstGeom prst="ellipse">
                  <a:avLst/>
                </a:prstGeom>
                <a:solidFill>
                  <a:srgbClr val="74BF4B"/>
                </a:solidFill>
                <a:ln w="25400" cap="flat" cmpd="sng" algn="ctr">
                  <a:noFill/>
                  <a:prstDash val="solid"/>
                </a:ln>
                <a:effectLst/>
              </p:spPr>
              <p:txBody>
                <a:bodyPr rtlCol="0" anchor="t">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248" name="Oval 247">
                  <a:extLst>
                    <a:ext uri="{FF2B5EF4-FFF2-40B4-BE49-F238E27FC236}">
                      <a16:creationId xmlns:a16="http://schemas.microsoft.com/office/drawing/2014/main" id="{E2CBD37E-F902-42C6-9225-21118F428C1E}"/>
                    </a:ext>
                  </a:extLst>
                </p:cNvPr>
                <p:cNvSpPr/>
                <p:nvPr/>
              </p:nvSpPr>
              <p:spPr>
                <a:xfrm>
                  <a:off x="5856666" y="161348"/>
                  <a:ext cx="273309" cy="273309"/>
                </a:xfrm>
                <a:prstGeom prst="ellipse">
                  <a:avLst/>
                </a:prstGeom>
                <a:solidFill>
                  <a:srgbClr val="74BF4B"/>
                </a:solidFill>
                <a:ln w="25400" cap="flat" cmpd="sng" algn="ctr">
                  <a:noFill/>
                  <a:prstDash val="solid"/>
                </a:ln>
                <a:effectLst/>
              </p:spPr>
              <p:txBody>
                <a:bodyPr rtlCol="0" anchor="t">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249" name="Oval 248">
                  <a:extLst>
                    <a:ext uri="{FF2B5EF4-FFF2-40B4-BE49-F238E27FC236}">
                      <a16:creationId xmlns:a16="http://schemas.microsoft.com/office/drawing/2014/main" id="{9A2CD34D-59DA-4B65-A479-FFDE6978D9ED}"/>
                    </a:ext>
                  </a:extLst>
                </p:cNvPr>
                <p:cNvSpPr/>
                <p:nvPr/>
              </p:nvSpPr>
              <p:spPr>
                <a:xfrm>
                  <a:off x="4485602" y="181887"/>
                  <a:ext cx="312877" cy="312877"/>
                </a:xfrm>
                <a:prstGeom prst="ellipse">
                  <a:avLst/>
                </a:prstGeom>
                <a:solidFill>
                  <a:srgbClr val="74BF4B"/>
                </a:solidFill>
                <a:ln w="25400" cap="flat" cmpd="sng" algn="ctr">
                  <a:noFill/>
                  <a:prstDash val="solid"/>
                </a:ln>
                <a:effectLst/>
              </p:spPr>
              <p:txBody>
                <a:bodyPr rtlCol="0" anchor="t">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grpSp>
            <p:nvGrpSpPr>
              <p:cNvPr id="210" name="Group 209">
                <a:extLst>
                  <a:ext uri="{FF2B5EF4-FFF2-40B4-BE49-F238E27FC236}">
                    <a16:creationId xmlns:a16="http://schemas.microsoft.com/office/drawing/2014/main" id="{8069C6A2-6643-4290-B7F7-AAA312DCAA13}"/>
                  </a:ext>
                </a:extLst>
              </p:cNvPr>
              <p:cNvGrpSpPr/>
              <p:nvPr/>
            </p:nvGrpSpPr>
            <p:grpSpPr>
              <a:xfrm>
                <a:off x="1452258" y="2315062"/>
                <a:ext cx="3081642" cy="1724414"/>
                <a:chOff x="412750" y="1872733"/>
                <a:chExt cx="4778375" cy="2673867"/>
              </a:xfrm>
            </p:grpSpPr>
            <p:pic>
              <p:nvPicPr>
                <p:cNvPr id="217" name="Picture 216" descr="A picture containing road, outdoor, monitor, black&#10;&#10;Description automatically generated">
                  <a:extLst>
                    <a:ext uri="{FF2B5EF4-FFF2-40B4-BE49-F238E27FC236}">
                      <a16:creationId xmlns:a16="http://schemas.microsoft.com/office/drawing/2014/main" id="{7720D141-AAAC-44B0-9471-A9CDF46C21C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9813"/>
                <a:stretch/>
              </p:blipFill>
              <p:spPr>
                <a:xfrm>
                  <a:off x="1504917" y="2053451"/>
                  <a:ext cx="2575199" cy="1519614"/>
                </a:xfrm>
                <a:prstGeom prst="rect">
                  <a:avLst/>
                </a:prstGeom>
                <a:solidFill>
                  <a:srgbClr val="18191D"/>
                </a:solidFill>
              </p:spPr>
            </p:pic>
            <p:pic>
              <p:nvPicPr>
                <p:cNvPr id="218" name="Picture 217" descr="A close up of a computer&#10;&#10;Description automatically generated">
                  <a:extLst>
                    <a:ext uri="{FF2B5EF4-FFF2-40B4-BE49-F238E27FC236}">
                      <a16:creationId xmlns:a16="http://schemas.microsoft.com/office/drawing/2014/main" id="{FBB4A1E5-3488-455D-BCC1-8AB10A1D89C5}"/>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rcRect/>
                <a:stretch/>
              </p:blipFill>
              <p:spPr>
                <a:xfrm>
                  <a:off x="412750" y="1872733"/>
                  <a:ext cx="4778375" cy="2673867"/>
                </a:xfrm>
                <a:custGeom>
                  <a:avLst/>
                  <a:gdLst>
                    <a:gd name="connsiteX0" fmla="*/ 0 w 4778375"/>
                    <a:gd name="connsiteY0" fmla="*/ 0 h 2673867"/>
                    <a:gd name="connsiteX1" fmla="*/ 4778375 w 4778375"/>
                    <a:gd name="connsiteY1" fmla="*/ 0 h 2673867"/>
                    <a:gd name="connsiteX2" fmla="*/ 4778375 w 4778375"/>
                    <a:gd name="connsiteY2" fmla="*/ 1419631 h 2673867"/>
                    <a:gd name="connsiteX3" fmla="*/ 3867150 w 4778375"/>
                    <a:gd name="connsiteY3" fmla="*/ 1435617 h 2673867"/>
                    <a:gd name="connsiteX4" fmla="*/ 4778375 w 4778375"/>
                    <a:gd name="connsiteY4" fmla="*/ 2486057 h 2673867"/>
                    <a:gd name="connsiteX5" fmla="*/ 4778375 w 4778375"/>
                    <a:gd name="connsiteY5" fmla="*/ 2673867 h 2673867"/>
                    <a:gd name="connsiteX6" fmla="*/ 0 w 4778375"/>
                    <a:gd name="connsiteY6" fmla="*/ 2673867 h 2673867"/>
                    <a:gd name="connsiteX7" fmla="*/ 0 w 4778375"/>
                    <a:gd name="connsiteY7" fmla="*/ 2464337 h 2673867"/>
                    <a:gd name="connsiteX8" fmla="*/ 892383 w 4778375"/>
                    <a:gd name="connsiteY8" fmla="*/ 1435617 h 2673867"/>
                    <a:gd name="connsiteX9" fmla="*/ 0 w 4778375"/>
                    <a:gd name="connsiteY9" fmla="*/ 1419961 h 267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78375" h="2673867">
                      <a:moveTo>
                        <a:pt x="0" y="0"/>
                      </a:moveTo>
                      <a:lnTo>
                        <a:pt x="4778375" y="0"/>
                      </a:lnTo>
                      <a:lnTo>
                        <a:pt x="4778375" y="1419631"/>
                      </a:lnTo>
                      <a:lnTo>
                        <a:pt x="3867150" y="1435617"/>
                      </a:lnTo>
                      <a:lnTo>
                        <a:pt x="4778375" y="2486057"/>
                      </a:lnTo>
                      <a:lnTo>
                        <a:pt x="4778375" y="2673867"/>
                      </a:lnTo>
                      <a:lnTo>
                        <a:pt x="0" y="2673867"/>
                      </a:lnTo>
                      <a:lnTo>
                        <a:pt x="0" y="2464337"/>
                      </a:lnTo>
                      <a:lnTo>
                        <a:pt x="892383" y="1435617"/>
                      </a:lnTo>
                      <a:lnTo>
                        <a:pt x="0" y="1419961"/>
                      </a:lnTo>
                      <a:close/>
                    </a:path>
                  </a:pathLst>
                </a:custGeom>
              </p:spPr>
            </p:pic>
          </p:grpSp>
        </p:grpSp>
        <p:pic>
          <p:nvPicPr>
            <p:cNvPr id="136" name="Graphic 135">
              <a:extLst>
                <a:ext uri="{FF2B5EF4-FFF2-40B4-BE49-F238E27FC236}">
                  <a16:creationId xmlns:a16="http://schemas.microsoft.com/office/drawing/2014/main" id="{917B6708-F974-45C4-B263-7B9EAFE3E366}"/>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r="2391"/>
            <a:stretch/>
          </p:blipFill>
          <p:spPr>
            <a:xfrm flipH="1">
              <a:off x="3736768" y="3022572"/>
              <a:ext cx="1024639" cy="1968920"/>
            </a:xfrm>
            <a:prstGeom prst="rect">
              <a:avLst/>
            </a:prstGeom>
          </p:spPr>
        </p:pic>
        <p:sp>
          <p:nvSpPr>
            <p:cNvPr id="138" name="Rectangle: Rounded Corners 137">
              <a:extLst>
                <a:ext uri="{FF2B5EF4-FFF2-40B4-BE49-F238E27FC236}">
                  <a16:creationId xmlns:a16="http://schemas.microsoft.com/office/drawing/2014/main" id="{B997660A-5871-43EB-9011-512FAFF86668}"/>
                </a:ext>
              </a:extLst>
            </p:cNvPr>
            <p:cNvSpPr/>
            <p:nvPr/>
          </p:nvSpPr>
          <p:spPr>
            <a:xfrm>
              <a:off x="1164403" y="1745133"/>
              <a:ext cx="4127127" cy="741422"/>
            </a:xfrm>
            <a:prstGeom prst="roundRect">
              <a:avLst>
                <a:gd name="adj" fmla="val 19167"/>
              </a:avLst>
            </a:prstGeom>
            <a:solidFill>
              <a:srgbClr val="FFFFFF"/>
            </a:solidFill>
            <a:ln w="34925" cap="flat" cmpd="sng" algn="ctr">
              <a:solidFill>
                <a:srgbClr val="00BCEB"/>
              </a:solid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139" name="TextBox 138">
              <a:extLst>
                <a:ext uri="{FF2B5EF4-FFF2-40B4-BE49-F238E27FC236}">
                  <a16:creationId xmlns:a16="http://schemas.microsoft.com/office/drawing/2014/main" id="{A8786CD0-9E23-401B-9DAE-0A8BDB689E83}"/>
                </a:ext>
              </a:extLst>
            </p:cNvPr>
            <p:cNvSpPr txBox="1">
              <a:spLocks/>
            </p:cNvSpPr>
            <p:nvPr/>
          </p:nvSpPr>
          <p:spPr>
            <a:xfrm>
              <a:off x="1337895" y="1623326"/>
              <a:ext cx="1260982" cy="215444"/>
            </a:xfrm>
            <a:prstGeom prst="rect">
              <a:avLst/>
            </a:prstGeom>
            <a:solidFill>
              <a:srgbClr val="FFFFFF"/>
            </a:solidFill>
          </p:spPr>
          <p:txBody>
            <a:bodyPr wrap="square" lIns="0" tIns="0" rIns="0" bIns="0" rtlCol="0" anchor="ctr">
              <a:noAutofit/>
            </a:bodyPr>
            <a:lstStyle/>
            <a:p>
              <a:pPr marL="0" marR="0" lvl="0" indent="0" algn="ctr" defTabSz="456974" rtl="0" eaLnBrk="1" fontAlgn="base" latinLnBrk="0" hangingPunct="1">
                <a:lnSpc>
                  <a:spcPct val="100000"/>
                </a:lnSpc>
                <a:spcBef>
                  <a:spcPts val="100"/>
                </a:spcBef>
                <a:spcAft>
                  <a:spcPct val="0"/>
                </a:spcAft>
                <a:buClrTx/>
                <a:buSzTx/>
                <a:buFontTx/>
                <a:buNone/>
                <a:tabLst/>
                <a:defRPr/>
              </a:pPr>
              <a:r>
                <a:rPr kumimoji="0" lang="en-US" sz="1400" b="0" i="0" u="none" strike="noStrike" kern="0" cap="none" spc="0" normalizeH="0" baseline="0" noProof="0" dirty="0">
                  <a:ln>
                    <a:noFill/>
                  </a:ln>
                  <a:solidFill>
                    <a:srgbClr val="00BCEB"/>
                  </a:solidFill>
                  <a:effectLst/>
                  <a:uLnTx/>
                  <a:uFillTx/>
                  <a:ea typeface="ＭＳ Ｐゴシック" charset="0"/>
                  <a:cs typeface="CiscoSansTT" panose="020B0503020201020303" pitchFamily="34" charset="0"/>
                </a:rPr>
                <a:t>Cisco Security</a:t>
              </a:r>
            </a:p>
          </p:txBody>
        </p:sp>
        <p:sp>
          <p:nvSpPr>
            <p:cNvPr id="140" name="TextBox 139">
              <a:extLst>
                <a:ext uri="{FF2B5EF4-FFF2-40B4-BE49-F238E27FC236}">
                  <a16:creationId xmlns:a16="http://schemas.microsoft.com/office/drawing/2014/main" id="{3780DB97-A067-4B6B-B2C5-E009C403B389}"/>
                </a:ext>
              </a:extLst>
            </p:cNvPr>
            <p:cNvSpPr txBox="1">
              <a:spLocks/>
            </p:cNvSpPr>
            <p:nvPr/>
          </p:nvSpPr>
          <p:spPr>
            <a:xfrm>
              <a:off x="4129134" y="2258230"/>
              <a:ext cx="851337" cy="200745"/>
            </a:xfrm>
            <a:prstGeom prst="roundRect">
              <a:avLst/>
            </a:prstGeom>
            <a:noFill/>
          </p:spPr>
          <p:txBody>
            <a:bodyPr wrap="squar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0D274D"/>
                  </a:solidFill>
                  <a:effectLst/>
                  <a:uLnTx/>
                  <a:uFillTx/>
                  <a:ea typeface="ＭＳ Ｐゴシック" charset="0"/>
                  <a:cs typeface="+mn-cs"/>
                </a:rPr>
                <a:t>Applications</a:t>
              </a:r>
            </a:p>
          </p:txBody>
        </p:sp>
        <p:sp>
          <p:nvSpPr>
            <p:cNvPr id="141" name="TextBox 140">
              <a:extLst>
                <a:ext uri="{FF2B5EF4-FFF2-40B4-BE49-F238E27FC236}">
                  <a16:creationId xmlns:a16="http://schemas.microsoft.com/office/drawing/2014/main" id="{C37B9D3E-B105-4E60-BC0A-0E9F2C6B87BF}"/>
                </a:ext>
              </a:extLst>
            </p:cNvPr>
            <p:cNvSpPr txBox="1">
              <a:spLocks/>
            </p:cNvSpPr>
            <p:nvPr/>
          </p:nvSpPr>
          <p:spPr>
            <a:xfrm>
              <a:off x="2274587" y="2253508"/>
              <a:ext cx="763207" cy="200745"/>
            </a:xfrm>
            <a:prstGeom prst="roundRect">
              <a:avLst/>
            </a:prstGeom>
            <a:noFill/>
          </p:spPr>
          <p:txBody>
            <a:bodyPr wrap="squar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0D274D"/>
                  </a:solidFill>
                  <a:effectLst/>
                  <a:uLnTx/>
                  <a:uFillTx/>
                  <a:ea typeface="ＭＳ Ｐゴシック" charset="0"/>
                  <a:cs typeface="+mn-cs"/>
                </a:rPr>
                <a:t>Endpoint</a:t>
              </a:r>
            </a:p>
          </p:txBody>
        </p:sp>
        <p:sp>
          <p:nvSpPr>
            <p:cNvPr id="142" name="TextBox 141">
              <a:extLst>
                <a:ext uri="{FF2B5EF4-FFF2-40B4-BE49-F238E27FC236}">
                  <a16:creationId xmlns:a16="http://schemas.microsoft.com/office/drawing/2014/main" id="{481F3BA5-56B0-4650-B3E0-45FDB710236D}"/>
                </a:ext>
              </a:extLst>
            </p:cNvPr>
            <p:cNvSpPr txBox="1">
              <a:spLocks/>
            </p:cNvSpPr>
            <p:nvPr/>
          </p:nvSpPr>
          <p:spPr>
            <a:xfrm>
              <a:off x="1431229" y="2253508"/>
              <a:ext cx="595377" cy="200745"/>
            </a:xfrm>
            <a:prstGeom prst="roundRect">
              <a:avLst/>
            </a:prstGeom>
            <a:noFill/>
          </p:spPr>
          <p:txBody>
            <a:bodyPr wrap="squar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0D274D"/>
                  </a:solidFill>
                  <a:effectLst/>
                  <a:uLnTx/>
                  <a:uFillTx/>
                  <a:ea typeface="ＭＳ Ｐゴシック" charset="0"/>
                  <a:cs typeface="+mn-cs"/>
                </a:rPr>
                <a:t>Network</a:t>
              </a:r>
            </a:p>
          </p:txBody>
        </p:sp>
        <p:sp>
          <p:nvSpPr>
            <p:cNvPr id="143" name="TextBox 142">
              <a:extLst>
                <a:ext uri="{FF2B5EF4-FFF2-40B4-BE49-F238E27FC236}">
                  <a16:creationId xmlns:a16="http://schemas.microsoft.com/office/drawing/2014/main" id="{B534982E-7749-4B06-B7E6-587B68A87300}"/>
                </a:ext>
              </a:extLst>
            </p:cNvPr>
            <p:cNvSpPr txBox="1">
              <a:spLocks/>
            </p:cNvSpPr>
            <p:nvPr/>
          </p:nvSpPr>
          <p:spPr>
            <a:xfrm>
              <a:off x="3285775" y="2258230"/>
              <a:ext cx="595377" cy="200745"/>
            </a:xfrm>
            <a:prstGeom prst="roundRect">
              <a:avLst/>
            </a:prstGeom>
            <a:noFill/>
          </p:spPr>
          <p:txBody>
            <a:bodyPr wrap="squar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0D274D"/>
                  </a:solidFill>
                  <a:effectLst/>
                  <a:uLnTx/>
                  <a:uFillTx/>
                  <a:ea typeface="ＭＳ Ｐゴシック" charset="0"/>
                  <a:cs typeface="+mn-cs"/>
                </a:rPr>
                <a:t>Cloud</a:t>
              </a:r>
            </a:p>
          </p:txBody>
        </p:sp>
        <p:sp>
          <p:nvSpPr>
            <p:cNvPr id="144" name="Oval 143">
              <a:extLst>
                <a:ext uri="{FF2B5EF4-FFF2-40B4-BE49-F238E27FC236}">
                  <a16:creationId xmlns:a16="http://schemas.microsoft.com/office/drawing/2014/main" id="{BB0145D9-517A-408B-80C5-695D2EA8DF1A}"/>
                </a:ext>
              </a:extLst>
            </p:cNvPr>
            <p:cNvSpPr/>
            <p:nvPr/>
          </p:nvSpPr>
          <p:spPr>
            <a:xfrm>
              <a:off x="1530163" y="1860875"/>
              <a:ext cx="397509" cy="397509"/>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D274D"/>
                </a:solidFill>
                <a:effectLst/>
                <a:uLnTx/>
                <a:uFillTx/>
                <a:ea typeface="+mn-ea"/>
                <a:cs typeface="+mn-cs"/>
              </a:endParaRPr>
            </a:p>
          </p:txBody>
        </p:sp>
        <p:sp>
          <p:nvSpPr>
            <p:cNvPr id="145" name="Oval 144">
              <a:extLst>
                <a:ext uri="{FF2B5EF4-FFF2-40B4-BE49-F238E27FC236}">
                  <a16:creationId xmlns:a16="http://schemas.microsoft.com/office/drawing/2014/main" id="{CC53CAE9-2EB9-4FDC-8DE1-FFF8825AC885}"/>
                </a:ext>
              </a:extLst>
            </p:cNvPr>
            <p:cNvSpPr/>
            <p:nvPr/>
          </p:nvSpPr>
          <p:spPr>
            <a:xfrm>
              <a:off x="2457436" y="1860875"/>
              <a:ext cx="397509" cy="397509"/>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D274D"/>
                </a:solidFill>
                <a:effectLst/>
                <a:uLnTx/>
                <a:uFillTx/>
                <a:ea typeface="+mn-ea"/>
                <a:cs typeface="+mn-cs"/>
              </a:endParaRPr>
            </a:p>
          </p:txBody>
        </p:sp>
        <p:sp>
          <p:nvSpPr>
            <p:cNvPr id="146" name="Oval 145">
              <a:extLst>
                <a:ext uri="{FF2B5EF4-FFF2-40B4-BE49-F238E27FC236}">
                  <a16:creationId xmlns:a16="http://schemas.microsoft.com/office/drawing/2014/main" id="{AC972EDF-AEA5-4731-BD7D-04C51B67DE2D}"/>
                </a:ext>
              </a:extLst>
            </p:cNvPr>
            <p:cNvSpPr/>
            <p:nvPr/>
          </p:nvSpPr>
          <p:spPr>
            <a:xfrm>
              <a:off x="3384709" y="1860875"/>
              <a:ext cx="397509" cy="397509"/>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D274D"/>
                </a:solidFill>
                <a:effectLst/>
                <a:uLnTx/>
                <a:uFillTx/>
                <a:ea typeface="+mn-ea"/>
                <a:cs typeface="+mn-cs"/>
              </a:endParaRPr>
            </a:p>
          </p:txBody>
        </p:sp>
        <p:sp>
          <p:nvSpPr>
            <p:cNvPr id="147" name="Oval 146">
              <a:extLst>
                <a:ext uri="{FF2B5EF4-FFF2-40B4-BE49-F238E27FC236}">
                  <a16:creationId xmlns:a16="http://schemas.microsoft.com/office/drawing/2014/main" id="{023B6DC4-1F8C-486A-9000-866ABEC39800}"/>
                </a:ext>
              </a:extLst>
            </p:cNvPr>
            <p:cNvSpPr/>
            <p:nvPr/>
          </p:nvSpPr>
          <p:spPr>
            <a:xfrm>
              <a:off x="4356048" y="1860875"/>
              <a:ext cx="397509" cy="397509"/>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D274D"/>
                </a:solidFill>
                <a:effectLst/>
                <a:uLnTx/>
                <a:uFillTx/>
                <a:ea typeface="+mn-ea"/>
                <a:cs typeface="+mn-cs"/>
              </a:endParaRPr>
            </a:p>
          </p:txBody>
        </p:sp>
        <p:pic>
          <p:nvPicPr>
            <p:cNvPr id="148" name="Graphic 147">
              <a:extLst>
                <a:ext uri="{FF2B5EF4-FFF2-40B4-BE49-F238E27FC236}">
                  <a16:creationId xmlns:a16="http://schemas.microsoft.com/office/drawing/2014/main" id="{2E304B9E-5AF5-4FDD-A780-89495E09167D}"/>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454997" y="1978905"/>
              <a:ext cx="199610" cy="161449"/>
            </a:xfrm>
            <a:prstGeom prst="rect">
              <a:avLst/>
            </a:prstGeom>
          </p:spPr>
        </p:pic>
        <p:pic>
          <p:nvPicPr>
            <p:cNvPr id="149" name="Graphic 148">
              <a:extLst>
                <a:ext uri="{FF2B5EF4-FFF2-40B4-BE49-F238E27FC236}">
                  <a16:creationId xmlns:a16="http://schemas.microsoft.com/office/drawing/2014/main" id="{640AED64-C5C3-4DD2-A781-6594280C8EEF}"/>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439336" y="1915502"/>
              <a:ext cx="288255" cy="288255"/>
            </a:xfrm>
            <a:prstGeom prst="rect">
              <a:avLst/>
            </a:prstGeom>
          </p:spPr>
        </p:pic>
        <p:pic>
          <p:nvPicPr>
            <p:cNvPr id="150" name="Graphic 149">
              <a:extLst>
                <a:ext uri="{FF2B5EF4-FFF2-40B4-BE49-F238E27FC236}">
                  <a16:creationId xmlns:a16="http://schemas.microsoft.com/office/drawing/2014/main" id="{C4B9539E-C97B-4950-860F-7E6747F63404}"/>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509436" y="1912875"/>
              <a:ext cx="293509" cy="293509"/>
            </a:xfrm>
            <a:prstGeom prst="rect">
              <a:avLst/>
            </a:prstGeom>
          </p:spPr>
        </p:pic>
        <p:pic>
          <p:nvPicPr>
            <p:cNvPr id="151" name="Graphic 150">
              <a:extLst>
                <a:ext uri="{FF2B5EF4-FFF2-40B4-BE49-F238E27FC236}">
                  <a16:creationId xmlns:a16="http://schemas.microsoft.com/office/drawing/2014/main" id="{49F88994-D2E9-4C8C-846C-154D91995D32}"/>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595018" y="1925730"/>
              <a:ext cx="267798" cy="267798"/>
            </a:xfrm>
            <a:prstGeom prst="rect">
              <a:avLst/>
            </a:prstGeom>
          </p:spPr>
        </p:pic>
        <p:sp>
          <p:nvSpPr>
            <p:cNvPr id="152" name="Rectangle: Rounded Corners 151">
              <a:extLst>
                <a:ext uri="{FF2B5EF4-FFF2-40B4-BE49-F238E27FC236}">
                  <a16:creationId xmlns:a16="http://schemas.microsoft.com/office/drawing/2014/main" id="{9DAF10BB-2E5E-461B-8A6F-5A844940E393}"/>
                </a:ext>
              </a:extLst>
            </p:cNvPr>
            <p:cNvSpPr/>
            <p:nvPr/>
          </p:nvSpPr>
          <p:spPr>
            <a:xfrm>
              <a:off x="328155" y="4707789"/>
              <a:ext cx="4157662" cy="741422"/>
            </a:xfrm>
            <a:prstGeom prst="roundRect">
              <a:avLst>
                <a:gd name="adj" fmla="val 20007"/>
              </a:avLst>
            </a:prstGeom>
            <a:solidFill>
              <a:srgbClr val="FFFFFF"/>
            </a:solidFill>
            <a:ln w="34925" cap="flat" cmpd="sng" algn="ctr">
              <a:solidFill>
                <a:srgbClr val="6EBE4A"/>
              </a:solid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153" name="TextBox 152">
              <a:extLst>
                <a:ext uri="{FF2B5EF4-FFF2-40B4-BE49-F238E27FC236}">
                  <a16:creationId xmlns:a16="http://schemas.microsoft.com/office/drawing/2014/main" id="{571C258D-1D98-4D48-8D89-5B8DF2F4D68B}"/>
                </a:ext>
              </a:extLst>
            </p:cNvPr>
            <p:cNvSpPr txBox="1">
              <a:spLocks/>
            </p:cNvSpPr>
            <p:nvPr/>
          </p:nvSpPr>
          <p:spPr>
            <a:xfrm>
              <a:off x="2658221" y="4589201"/>
              <a:ext cx="1599231" cy="215444"/>
            </a:xfrm>
            <a:prstGeom prst="rect">
              <a:avLst/>
            </a:prstGeom>
            <a:solidFill>
              <a:srgbClr val="FFFFFF"/>
            </a:solidFill>
          </p:spPr>
          <p:txBody>
            <a:bodyPr wrap="square" lIns="0" tIns="0" rIns="0" bIns="0" rtlCol="0" anchor="ctr">
              <a:noAutofit/>
            </a:bodyPr>
            <a:lstStyle/>
            <a:p>
              <a:pPr marL="0" marR="0" lvl="0" indent="0" algn="ctr" defTabSz="456974" rtl="0" eaLnBrk="1" fontAlgn="base" latinLnBrk="0" hangingPunct="1">
                <a:lnSpc>
                  <a:spcPct val="100000"/>
                </a:lnSpc>
                <a:spcBef>
                  <a:spcPts val="100"/>
                </a:spcBef>
                <a:spcAft>
                  <a:spcPct val="0"/>
                </a:spcAft>
                <a:buClrTx/>
                <a:buSzTx/>
                <a:buFontTx/>
                <a:buNone/>
                <a:tabLst/>
                <a:defRPr/>
              </a:pPr>
              <a:r>
                <a:rPr kumimoji="0" lang="en-US" sz="1400" b="0" i="0" u="none" strike="noStrike" kern="0" cap="none" spc="0" normalizeH="0" baseline="0" noProof="0" dirty="0">
                  <a:ln>
                    <a:noFill/>
                  </a:ln>
                  <a:solidFill>
                    <a:srgbClr val="6EBE4A"/>
                  </a:solidFill>
                  <a:effectLst/>
                  <a:uLnTx/>
                  <a:uFillTx/>
                  <a:ea typeface="ＭＳ Ｐゴシック" charset="0"/>
                  <a:cs typeface="CiscoSansTT" panose="020B0503020201020303" pitchFamily="34" charset="0"/>
                </a:rPr>
                <a:t>Your infrastructure</a:t>
              </a:r>
            </a:p>
          </p:txBody>
        </p:sp>
        <p:sp>
          <p:nvSpPr>
            <p:cNvPr id="154" name="TextBox 153">
              <a:extLst>
                <a:ext uri="{FF2B5EF4-FFF2-40B4-BE49-F238E27FC236}">
                  <a16:creationId xmlns:a16="http://schemas.microsoft.com/office/drawing/2014/main" id="{3420C5EB-F850-41E3-9600-DC2EC8CBBE8D}"/>
                </a:ext>
              </a:extLst>
            </p:cNvPr>
            <p:cNvSpPr txBox="1">
              <a:spLocks/>
            </p:cNvSpPr>
            <p:nvPr/>
          </p:nvSpPr>
          <p:spPr>
            <a:xfrm>
              <a:off x="1244313" y="5223362"/>
              <a:ext cx="1003316" cy="198793"/>
            </a:xfrm>
            <a:prstGeom prst="roundRect">
              <a:avLst/>
            </a:prstGeom>
            <a:noFill/>
          </p:spPr>
          <p:txBody>
            <a:bodyPr wrap="square" lIns="0" tIns="0" rIns="0" bIns="0" rtlCol="0" anchor="t">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0D274D"/>
                  </a:solidFill>
                  <a:effectLst/>
                  <a:uLnTx/>
                  <a:uFillTx/>
                  <a:ea typeface="ＭＳ Ｐゴシック" charset="0"/>
                  <a:cs typeface="+mn-cs"/>
                </a:rPr>
                <a:t>Intelligence</a:t>
              </a:r>
            </a:p>
          </p:txBody>
        </p:sp>
        <p:sp>
          <p:nvSpPr>
            <p:cNvPr id="155" name="TextBox 154">
              <a:extLst>
                <a:ext uri="{FF2B5EF4-FFF2-40B4-BE49-F238E27FC236}">
                  <a16:creationId xmlns:a16="http://schemas.microsoft.com/office/drawing/2014/main" id="{7D0B07B3-B603-48DA-A868-202B5ECA0B8A}"/>
                </a:ext>
              </a:extLst>
            </p:cNvPr>
            <p:cNvSpPr txBox="1">
              <a:spLocks/>
            </p:cNvSpPr>
            <p:nvPr/>
          </p:nvSpPr>
          <p:spPr>
            <a:xfrm>
              <a:off x="3269937" y="5223362"/>
              <a:ext cx="773776" cy="182708"/>
            </a:xfrm>
            <a:prstGeom prst="roundRect">
              <a:avLst/>
            </a:prstGeom>
            <a:noFill/>
          </p:spPr>
          <p:txBody>
            <a:bodyPr wrap="square" lIns="0" tIns="0" rIns="0" bIns="0" rtlCol="0" anchor="t">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0D274D"/>
                  </a:solidFill>
                  <a:effectLst/>
                  <a:uLnTx/>
                  <a:uFillTx/>
                  <a:ea typeface="ＭＳ Ｐゴシック" charset="0"/>
                  <a:cs typeface="+mn-cs"/>
                </a:rPr>
                <a:t>SIEM/SOAR</a:t>
              </a:r>
            </a:p>
          </p:txBody>
        </p:sp>
        <p:sp>
          <p:nvSpPr>
            <p:cNvPr id="156" name="TextBox 155">
              <a:extLst>
                <a:ext uri="{FF2B5EF4-FFF2-40B4-BE49-F238E27FC236}">
                  <a16:creationId xmlns:a16="http://schemas.microsoft.com/office/drawing/2014/main" id="{B3EC38FA-DC54-4996-BEFA-A7BC94F501DF}"/>
                </a:ext>
              </a:extLst>
            </p:cNvPr>
            <p:cNvSpPr txBox="1">
              <a:spLocks/>
            </p:cNvSpPr>
            <p:nvPr/>
          </p:nvSpPr>
          <p:spPr>
            <a:xfrm>
              <a:off x="323952" y="5223362"/>
              <a:ext cx="955930" cy="198793"/>
            </a:xfrm>
            <a:prstGeom prst="roundRect">
              <a:avLst/>
            </a:prstGeom>
            <a:noFill/>
          </p:spPr>
          <p:txBody>
            <a:bodyPr wrap="square" lIns="0" tIns="0" rIns="0" bIns="0" rtlCol="0" anchor="t">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0D274D"/>
                  </a:solidFill>
                  <a:effectLst/>
                  <a:uLnTx/>
                  <a:uFillTx/>
                  <a:ea typeface="ＭＳ Ｐゴシック"/>
                  <a:cs typeface="+mn-cs"/>
                </a:rPr>
                <a:t>3</a:t>
              </a:r>
              <a:r>
                <a:rPr kumimoji="0" lang="en-US" sz="1000" b="0" i="0" u="none" strike="noStrike" kern="0" cap="none" spc="0" normalizeH="0" baseline="30000" noProof="0" dirty="0">
                  <a:ln>
                    <a:noFill/>
                  </a:ln>
                  <a:solidFill>
                    <a:srgbClr val="0D274D"/>
                  </a:solidFill>
                  <a:effectLst/>
                  <a:uLnTx/>
                  <a:uFillTx/>
                  <a:ea typeface="ＭＳ Ｐゴシック"/>
                  <a:cs typeface="+mn-cs"/>
                </a:rPr>
                <a:t>rd </a:t>
              </a:r>
              <a:r>
                <a:rPr kumimoji="0" lang="en-US" sz="1000" b="0" i="0" u="none" strike="noStrike" kern="0" cap="none" spc="0" normalizeH="0" baseline="0" noProof="0" dirty="0">
                  <a:ln>
                    <a:noFill/>
                  </a:ln>
                  <a:solidFill>
                    <a:srgbClr val="0D274D"/>
                  </a:solidFill>
                  <a:effectLst/>
                  <a:uLnTx/>
                  <a:uFillTx/>
                  <a:ea typeface="ＭＳ Ｐゴシック"/>
                  <a:cs typeface="+mn-cs"/>
                </a:rPr>
                <a:t>Party</a:t>
              </a:r>
              <a:endParaRPr kumimoji="0" lang="en-US" sz="1000" b="0" i="0" u="none" strike="noStrike" kern="0" cap="none" spc="0" normalizeH="0" baseline="0" noProof="0" dirty="0">
                <a:ln>
                  <a:noFill/>
                </a:ln>
                <a:solidFill>
                  <a:srgbClr val="0D274D"/>
                </a:solidFill>
                <a:effectLst/>
                <a:uLnTx/>
                <a:uFillTx/>
                <a:ea typeface="ＭＳ Ｐゴシック" charset="0"/>
                <a:cs typeface="+mn-cs"/>
              </a:endParaRPr>
            </a:p>
          </p:txBody>
        </p:sp>
        <p:sp>
          <p:nvSpPr>
            <p:cNvPr id="157" name="TextBox 156">
              <a:extLst>
                <a:ext uri="{FF2B5EF4-FFF2-40B4-BE49-F238E27FC236}">
                  <a16:creationId xmlns:a16="http://schemas.microsoft.com/office/drawing/2014/main" id="{F2DD96FD-F663-484A-B470-ECF6030E7A93}"/>
                </a:ext>
              </a:extLst>
            </p:cNvPr>
            <p:cNvSpPr txBox="1">
              <a:spLocks/>
            </p:cNvSpPr>
            <p:nvPr/>
          </p:nvSpPr>
          <p:spPr>
            <a:xfrm>
              <a:off x="2350043" y="5223362"/>
              <a:ext cx="680366" cy="182708"/>
            </a:xfrm>
            <a:prstGeom prst="roundRect">
              <a:avLst/>
            </a:prstGeom>
            <a:noFill/>
          </p:spPr>
          <p:txBody>
            <a:bodyPr wrap="square" lIns="0" tIns="0" rIns="0" bIns="0" rtlCol="0" anchor="t">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0D274D"/>
                  </a:solidFill>
                  <a:effectLst/>
                  <a:uLnTx/>
                  <a:uFillTx/>
                  <a:ea typeface="ＭＳ Ｐゴシック" charset="0"/>
                  <a:cs typeface="+mn-cs"/>
                </a:rPr>
                <a:t>Identity</a:t>
              </a:r>
            </a:p>
          </p:txBody>
        </p:sp>
        <p:sp>
          <p:nvSpPr>
            <p:cNvPr id="158" name="Cross 157">
              <a:extLst>
                <a:ext uri="{FF2B5EF4-FFF2-40B4-BE49-F238E27FC236}">
                  <a16:creationId xmlns:a16="http://schemas.microsoft.com/office/drawing/2014/main" id="{815CA9E6-0E11-4BD2-BE1A-A367B022A289}"/>
                </a:ext>
              </a:extLst>
            </p:cNvPr>
            <p:cNvSpPr/>
            <p:nvPr/>
          </p:nvSpPr>
          <p:spPr>
            <a:xfrm>
              <a:off x="4099892" y="4925303"/>
              <a:ext cx="240757" cy="240757"/>
            </a:xfrm>
            <a:prstGeom prst="plus">
              <a:avLst>
                <a:gd name="adj" fmla="val 41406"/>
              </a:avLst>
            </a:prstGeom>
            <a:solidFill>
              <a:srgbClr val="6EBE4A"/>
            </a:solidFill>
            <a:ln w="25400"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D274D"/>
                </a:solidFill>
                <a:effectLst/>
                <a:uLnTx/>
                <a:uFillTx/>
                <a:ea typeface="+mn-ea"/>
                <a:cs typeface="+mn-cs"/>
              </a:endParaRPr>
            </a:p>
          </p:txBody>
        </p:sp>
        <p:sp>
          <p:nvSpPr>
            <p:cNvPr id="159" name="Oval 158">
              <a:extLst>
                <a:ext uri="{FF2B5EF4-FFF2-40B4-BE49-F238E27FC236}">
                  <a16:creationId xmlns:a16="http://schemas.microsoft.com/office/drawing/2014/main" id="{5B12C53B-BAA7-44A6-A6EE-428385495477}"/>
                </a:ext>
              </a:extLst>
            </p:cNvPr>
            <p:cNvSpPr/>
            <p:nvPr/>
          </p:nvSpPr>
          <p:spPr>
            <a:xfrm>
              <a:off x="3458071" y="4816912"/>
              <a:ext cx="397509" cy="397509"/>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D274D"/>
                </a:solidFill>
                <a:effectLst/>
                <a:uLnTx/>
                <a:uFillTx/>
                <a:ea typeface="+mn-ea"/>
                <a:cs typeface="+mn-cs"/>
              </a:endParaRPr>
            </a:p>
          </p:txBody>
        </p:sp>
        <p:sp>
          <p:nvSpPr>
            <p:cNvPr id="160" name="Oval 159">
              <a:extLst>
                <a:ext uri="{FF2B5EF4-FFF2-40B4-BE49-F238E27FC236}">
                  <a16:creationId xmlns:a16="http://schemas.microsoft.com/office/drawing/2014/main" id="{66D31CB0-9D02-4E50-88A7-3CB7E82B5733}"/>
                </a:ext>
              </a:extLst>
            </p:cNvPr>
            <p:cNvSpPr/>
            <p:nvPr/>
          </p:nvSpPr>
          <p:spPr>
            <a:xfrm>
              <a:off x="603163" y="4818533"/>
              <a:ext cx="397509" cy="397509"/>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D274D"/>
                </a:solidFill>
                <a:effectLst/>
                <a:uLnTx/>
                <a:uFillTx/>
                <a:ea typeface="+mn-ea"/>
                <a:cs typeface="+mn-cs"/>
              </a:endParaRPr>
            </a:p>
          </p:txBody>
        </p:sp>
        <p:sp>
          <p:nvSpPr>
            <p:cNvPr id="161" name="Oval 160">
              <a:extLst>
                <a:ext uri="{FF2B5EF4-FFF2-40B4-BE49-F238E27FC236}">
                  <a16:creationId xmlns:a16="http://schemas.microsoft.com/office/drawing/2014/main" id="{4203C5FB-F365-44AB-9F79-668A1F7BA723}"/>
                </a:ext>
              </a:extLst>
            </p:cNvPr>
            <p:cNvSpPr/>
            <p:nvPr/>
          </p:nvSpPr>
          <p:spPr>
            <a:xfrm>
              <a:off x="2491472" y="4816912"/>
              <a:ext cx="397509" cy="397509"/>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D274D"/>
                </a:solidFill>
                <a:effectLst/>
                <a:uLnTx/>
                <a:uFillTx/>
                <a:ea typeface="+mn-ea"/>
                <a:cs typeface="+mn-cs"/>
              </a:endParaRPr>
            </a:p>
          </p:txBody>
        </p:sp>
        <p:sp>
          <p:nvSpPr>
            <p:cNvPr id="162" name="Oval 161">
              <a:extLst>
                <a:ext uri="{FF2B5EF4-FFF2-40B4-BE49-F238E27FC236}">
                  <a16:creationId xmlns:a16="http://schemas.microsoft.com/office/drawing/2014/main" id="{5C2E88BD-5328-4351-B962-A247BB941E64}"/>
                </a:ext>
              </a:extLst>
            </p:cNvPr>
            <p:cNvSpPr/>
            <p:nvPr/>
          </p:nvSpPr>
          <p:spPr>
            <a:xfrm>
              <a:off x="1547217" y="4816912"/>
              <a:ext cx="397509" cy="397509"/>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D274D"/>
                </a:solidFill>
                <a:effectLst/>
                <a:uLnTx/>
                <a:uFillTx/>
                <a:ea typeface="+mn-ea"/>
                <a:cs typeface="+mn-cs"/>
              </a:endParaRPr>
            </a:p>
          </p:txBody>
        </p:sp>
        <p:grpSp>
          <p:nvGrpSpPr>
            <p:cNvPr id="163" name="Group 162">
              <a:extLst>
                <a:ext uri="{FF2B5EF4-FFF2-40B4-BE49-F238E27FC236}">
                  <a16:creationId xmlns:a16="http://schemas.microsoft.com/office/drawing/2014/main" id="{6E8E69A7-B573-417A-8667-A4E8A6408052}"/>
                </a:ext>
              </a:extLst>
            </p:cNvPr>
            <p:cNvGrpSpPr/>
            <p:nvPr/>
          </p:nvGrpSpPr>
          <p:grpSpPr>
            <a:xfrm>
              <a:off x="3537934" y="4921538"/>
              <a:ext cx="237782" cy="188256"/>
              <a:chOff x="3596368" y="2865628"/>
              <a:chExt cx="713421" cy="564832"/>
            </a:xfrm>
          </p:grpSpPr>
          <p:sp>
            <p:nvSpPr>
              <p:cNvPr id="205" name="Graphic 139">
                <a:extLst>
                  <a:ext uri="{FF2B5EF4-FFF2-40B4-BE49-F238E27FC236}">
                    <a16:creationId xmlns:a16="http://schemas.microsoft.com/office/drawing/2014/main" id="{EB82D079-0BA3-43F2-BD7C-6B2DE7D5DA79}"/>
                  </a:ext>
                </a:extLst>
              </p:cNvPr>
              <p:cNvSpPr/>
              <p:nvPr/>
            </p:nvSpPr>
            <p:spPr>
              <a:xfrm>
                <a:off x="3596368" y="2865628"/>
                <a:ext cx="713421" cy="564832"/>
              </a:xfrm>
              <a:custGeom>
                <a:avLst/>
                <a:gdLst>
                  <a:gd name="connsiteX0" fmla="*/ 630555 w 713422"/>
                  <a:gd name="connsiteY0" fmla="*/ 564833 h 564832"/>
                  <a:gd name="connsiteX1" fmla="*/ 81915 w 713422"/>
                  <a:gd name="connsiteY1" fmla="*/ 564833 h 564832"/>
                  <a:gd name="connsiteX2" fmla="*/ 0 w 713422"/>
                  <a:gd name="connsiteY2" fmla="*/ 482918 h 564832"/>
                  <a:gd name="connsiteX3" fmla="*/ 0 w 713422"/>
                  <a:gd name="connsiteY3" fmla="*/ 81915 h 564832"/>
                  <a:gd name="connsiteX4" fmla="*/ 81915 w 713422"/>
                  <a:gd name="connsiteY4" fmla="*/ 0 h 564832"/>
                  <a:gd name="connsiteX5" fmla="*/ 631508 w 713422"/>
                  <a:gd name="connsiteY5" fmla="*/ 0 h 564832"/>
                  <a:gd name="connsiteX6" fmla="*/ 713423 w 713422"/>
                  <a:gd name="connsiteY6" fmla="*/ 81915 h 564832"/>
                  <a:gd name="connsiteX7" fmla="*/ 713423 w 713422"/>
                  <a:gd name="connsiteY7" fmla="*/ 482918 h 564832"/>
                  <a:gd name="connsiteX8" fmla="*/ 630555 w 713422"/>
                  <a:gd name="connsiteY8" fmla="*/ 564833 h 56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422" h="564832">
                    <a:moveTo>
                      <a:pt x="630555" y="564833"/>
                    </a:moveTo>
                    <a:lnTo>
                      <a:pt x="81915" y="564833"/>
                    </a:lnTo>
                    <a:cubicBezTo>
                      <a:pt x="37148" y="564833"/>
                      <a:pt x="0" y="528638"/>
                      <a:pt x="0" y="482918"/>
                    </a:cubicBezTo>
                    <a:lnTo>
                      <a:pt x="0" y="81915"/>
                    </a:lnTo>
                    <a:cubicBezTo>
                      <a:pt x="0" y="36195"/>
                      <a:pt x="36195" y="0"/>
                      <a:pt x="81915" y="0"/>
                    </a:cubicBezTo>
                    <a:lnTo>
                      <a:pt x="631508" y="0"/>
                    </a:lnTo>
                    <a:cubicBezTo>
                      <a:pt x="676275" y="0"/>
                      <a:pt x="713423" y="36195"/>
                      <a:pt x="713423" y="81915"/>
                    </a:cubicBezTo>
                    <a:lnTo>
                      <a:pt x="713423" y="482918"/>
                    </a:lnTo>
                    <a:cubicBezTo>
                      <a:pt x="712470" y="527685"/>
                      <a:pt x="676275" y="564833"/>
                      <a:pt x="630555" y="564833"/>
                    </a:cubicBezTo>
                    <a:close/>
                  </a:path>
                </a:pathLst>
              </a:custGeom>
              <a:solidFill>
                <a:srgbClr val="1E4471"/>
              </a:solidFill>
              <a:ln w="9525" cap="flat">
                <a:noFill/>
                <a:prstDash val="solid"/>
                <a:miter/>
              </a:ln>
            </p:spPr>
            <p:txBody>
              <a:bodyPr rtlCol="0"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ea typeface="ＭＳ Ｐゴシック" charset="0"/>
                  <a:cs typeface="+mn-cs"/>
                </a:endParaRPr>
              </a:p>
            </p:txBody>
          </p:sp>
          <p:pic>
            <p:nvPicPr>
              <p:cNvPr id="206" name="Graphic 87">
                <a:extLst>
                  <a:ext uri="{FF2B5EF4-FFF2-40B4-BE49-F238E27FC236}">
                    <a16:creationId xmlns:a16="http://schemas.microsoft.com/office/drawing/2014/main" id="{17C833B1-CC89-4A08-9861-97108C191775}"/>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3720989" y="2915950"/>
                <a:ext cx="464185" cy="464183"/>
              </a:xfrm>
              <a:prstGeom prst="rect">
                <a:avLst/>
              </a:prstGeom>
            </p:spPr>
          </p:pic>
        </p:grpSp>
        <p:pic>
          <p:nvPicPr>
            <p:cNvPr id="164" name="Graphic 163">
              <a:extLst>
                <a:ext uri="{FF2B5EF4-FFF2-40B4-BE49-F238E27FC236}">
                  <a16:creationId xmlns:a16="http://schemas.microsoft.com/office/drawing/2014/main" id="{7A1AD8ED-9F67-4F8F-8E02-73B7759900FD}"/>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662895" y="4878265"/>
              <a:ext cx="278044" cy="278044"/>
            </a:xfrm>
            <a:prstGeom prst="rect">
              <a:avLst/>
            </a:prstGeom>
          </p:spPr>
        </p:pic>
        <p:pic>
          <p:nvPicPr>
            <p:cNvPr id="165" name="Graphic 164">
              <a:extLst>
                <a:ext uri="{FF2B5EF4-FFF2-40B4-BE49-F238E27FC236}">
                  <a16:creationId xmlns:a16="http://schemas.microsoft.com/office/drawing/2014/main" id="{902B4FF9-1B07-44F9-95E3-E05C291AAE47}"/>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2579992" y="4879071"/>
              <a:ext cx="220469" cy="273190"/>
            </a:xfrm>
            <a:prstGeom prst="rect">
              <a:avLst/>
            </a:prstGeom>
          </p:spPr>
        </p:pic>
        <p:grpSp>
          <p:nvGrpSpPr>
            <p:cNvPr id="166" name="Group 165">
              <a:extLst>
                <a:ext uri="{FF2B5EF4-FFF2-40B4-BE49-F238E27FC236}">
                  <a16:creationId xmlns:a16="http://schemas.microsoft.com/office/drawing/2014/main" id="{F7F86F1F-A14E-4B10-921F-401B25129680}"/>
                </a:ext>
              </a:extLst>
            </p:cNvPr>
            <p:cNvGrpSpPr/>
            <p:nvPr/>
          </p:nvGrpSpPr>
          <p:grpSpPr>
            <a:xfrm>
              <a:off x="1589798" y="4843371"/>
              <a:ext cx="404992" cy="345990"/>
              <a:chOff x="1771234" y="1366518"/>
              <a:chExt cx="451080" cy="385359"/>
            </a:xfrm>
          </p:grpSpPr>
          <p:pic>
            <p:nvPicPr>
              <p:cNvPr id="167" name="Graphic 166">
                <a:extLst>
                  <a:ext uri="{FF2B5EF4-FFF2-40B4-BE49-F238E27FC236}">
                    <a16:creationId xmlns:a16="http://schemas.microsoft.com/office/drawing/2014/main" id="{B2031A44-9CDD-4974-B592-E7BEF97DB573}"/>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836952" y="1366518"/>
                <a:ext cx="385362" cy="385359"/>
              </a:xfrm>
              <a:prstGeom prst="rect">
                <a:avLst/>
              </a:prstGeom>
            </p:spPr>
          </p:pic>
          <p:grpSp>
            <p:nvGrpSpPr>
              <p:cNvPr id="168" name="Group 167">
                <a:extLst>
                  <a:ext uri="{FF2B5EF4-FFF2-40B4-BE49-F238E27FC236}">
                    <a16:creationId xmlns:a16="http://schemas.microsoft.com/office/drawing/2014/main" id="{5E8EE1AE-47B9-4FDE-915F-FDAAB9509A9B}"/>
                  </a:ext>
                </a:extLst>
              </p:cNvPr>
              <p:cNvGrpSpPr/>
              <p:nvPr/>
            </p:nvGrpSpPr>
            <p:grpSpPr>
              <a:xfrm>
                <a:off x="1771234" y="1427918"/>
                <a:ext cx="295454" cy="279085"/>
                <a:chOff x="6463461" y="4215975"/>
                <a:chExt cx="1096953" cy="1036374"/>
              </a:xfrm>
            </p:grpSpPr>
            <p:sp>
              <p:nvSpPr>
                <p:cNvPr id="189" name="Freeform: Shape 188">
                  <a:extLst>
                    <a:ext uri="{FF2B5EF4-FFF2-40B4-BE49-F238E27FC236}">
                      <a16:creationId xmlns:a16="http://schemas.microsoft.com/office/drawing/2014/main" id="{5FA42D1A-27D9-444A-A00A-0A04EEFAC6BB}"/>
                    </a:ext>
                  </a:extLst>
                </p:cNvPr>
                <p:cNvSpPr/>
                <p:nvPr/>
              </p:nvSpPr>
              <p:spPr>
                <a:xfrm>
                  <a:off x="6833737" y="4215975"/>
                  <a:ext cx="356257" cy="14305"/>
                </a:xfrm>
                <a:custGeom>
                  <a:avLst/>
                  <a:gdLst>
                    <a:gd name="connsiteX0" fmla="*/ 356256 w 356256"/>
                    <a:gd name="connsiteY0" fmla="*/ 0 h 14307"/>
                    <a:gd name="connsiteX1" fmla="*/ 0 w 356256"/>
                    <a:gd name="connsiteY1" fmla="*/ 0 h 14307"/>
                  </a:gdLst>
                  <a:ahLst/>
                  <a:cxnLst>
                    <a:cxn ang="0">
                      <a:pos x="connsiteX0" y="connsiteY0"/>
                    </a:cxn>
                    <a:cxn ang="0">
                      <a:pos x="connsiteX1" y="connsiteY1"/>
                    </a:cxn>
                  </a:cxnLst>
                  <a:rect l="l" t="t" r="r" b="b"/>
                  <a:pathLst>
                    <a:path w="356256" h="14307">
                      <a:moveTo>
                        <a:pt x="356256" y="0"/>
                      </a:moveTo>
                      <a:lnTo>
                        <a:pt x="0" y="0"/>
                      </a:lnTo>
                    </a:path>
                  </a:pathLst>
                </a:custGeom>
                <a:ln w="3175" cap="flat">
                  <a:solidFill>
                    <a:srgbClr val="00BCEB"/>
                  </a:solidFill>
                  <a:prstDash val="solid"/>
                  <a:miter/>
                </a:ln>
              </p:spPr>
              <p:txBody>
                <a:bodyPr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90" name="Freeform: Shape 189">
                  <a:extLst>
                    <a:ext uri="{FF2B5EF4-FFF2-40B4-BE49-F238E27FC236}">
                      <a16:creationId xmlns:a16="http://schemas.microsoft.com/office/drawing/2014/main" id="{3884BF76-4B30-4101-A4C5-2ED4765C09F5}"/>
                    </a:ext>
                  </a:extLst>
                </p:cNvPr>
                <p:cNvSpPr/>
                <p:nvPr/>
              </p:nvSpPr>
              <p:spPr>
                <a:xfrm>
                  <a:off x="6699105" y="4284221"/>
                  <a:ext cx="625665" cy="14305"/>
                </a:xfrm>
                <a:custGeom>
                  <a:avLst/>
                  <a:gdLst>
                    <a:gd name="connsiteX0" fmla="*/ 625666 w 625666"/>
                    <a:gd name="connsiteY0" fmla="*/ 0 h 14307"/>
                    <a:gd name="connsiteX1" fmla="*/ 0 w 625666"/>
                    <a:gd name="connsiteY1" fmla="*/ 0 h 14307"/>
                  </a:gdLst>
                  <a:ahLst/>
                  <a:cxnLst>
                    <a:cxn ang="0">
                      <a:pos x="connsiteX0" y="connsiteY0"/>
                    </a:cxn>
                    <a:cxn ang="0">
                      <a:pos x="connsiteX1" y="connsiteY1"/>
                    </a:cxn>
                  </a:cxnLst>
                  <a:rect l="l" t="t" r="r" b="b"/>
                  <a:pathLst>
                    <a:path w="625666" h="14307">
                      <a:moveTo>
                        <a:pt x="625666" y="0"/>
                      </a:moveTo>
                      <a:lnTo>
                        <a:pt x="0" y="0"/>
                      </a:lnTo>
                    </a:path>
                  </a:pathLst>
                </a:custGeom>
                <a:ln w="3175" cap="flat">
                  <a:solidFill>
                    <a:srgbClr val="00BCEB"/>
                  </a:solidFill>
                  <a:prstDash val="solid"/>
                  <a:miter/>
                </a:ln>
              </p:spPr>
              <p:txBody>
                <a:bodyPr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91" name="Freeform: Shape 190">
                  <a:extLst>
                    <a:ext uri="{FF2B5EF4-FFF2-40B4-BE49-F238E27FC236}">
                      <a16:creationId xmlns:a16="http://schemas.microsoft.com/office/drawing/2014/main" id="{FF7B6CF6-FF69-43E9-B773-032375CA7779}"/>
                    </a:ext>
                  </a:extLst>
                </p:cNvPr>
                <p:cNvSpPr/>
                <p:nvPr/>
              </p:nvSpPr>
              <p:spPr>
                <a:xfrm>
                  <a:off x="6618699" y="4352322"/>
                  <a:ext cx="786482" cy="14305"/>
                </a:xfrm>
                <a:custGeom>
                  <a:avLst/>
                  <a:gdLst>
                    <a:gd name="connsiteX0" fmla="*/ 786482 w 786482"/>
                    <a:gd name="connsiteY0" fmla="*/ 0 h 14307"/>
                    <a:gd name="connsiteX1" fmla="*/ 0 w 786482"/>
                    <a:gd name="connsiteY1" fmla="*/ 0 h 14307"/>
                  </a:gdLst>
                  <a:ahLst/>
                  <a:cxnLst>
                    <a:cxn ang="0">
                      <a:pos x="connsiteX0" y="connsiteY0"/>
                    </a:cxn>
                    <a:cxn ang="0">
                      <a:pos x="connsiteX1" y="connsiteY1"/>
                    </a:cxn>
                  </a:cxnLst>
                  <a:rect l="l" t="t" r="r" b="b"/>
                  <a:pathLst>
                    <a:path w="786482" h="14307">
                      <a:moveTo>
                        <a:pt x="786482" y="0"/>
                      </a:moveTo>
                      <a:lnTo>
                        <a:pt x="0" y="0"/>
                      </a:lnTo>
                    </a:path>
                  </a:pathLst>
                </a:custGeom>
                <a:ln w="3175" cap="flat">
                  <a:solidFill>
                    <a:srgbClr val="00BCEB"/>
                  </a:solidFill>
                  <a:prstDash val="solid"/>
                  <a:miter/>
                </a:ln>
              </p:spPr>
              <p:txBody>
                <a:bodyPr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92" name="Freeform: Shape 191">
                  <a:extLst>
                    <a:ext uri="{FF2B5EF4-FFF2-40B4-BE49-F238E27FC236}">
                      <a16:creationId xmlns:a16="http://schemas.microsoft.com/office/drawing/2014/main" id="{C4F61E84-7CD1-4ED4-826B-74B81D0CBF91}"/>
                    </a:ext>
                  </a:extLst>
                </p:cNvPr>
                <p:cNvSpPr/>
                <p:nvPr/>
              </p:nvSpPr>
              <p:spPr>
                <a:xfrm>
                  <a:off x="6562182" y="4420427"/>
                  <a:ext cx="899511" cy="14305"/>
                </a:xfrm>
                <a:custGeom>
                  <a:avLst/>
                  <a:gdLst>
                    <a:gd name="connsiteX0" fmla="*/ 899511 w 899511"/>
                    <a:gd name="connsiteY0" fmla="*/ 0 h 14307"/>
                    <a:gd name="connsiteX1" fmla="*/ 0 w 899511"/>
                    <a:gd name="connsiteY1" fmla="*/ 0 h 14307"/>
                  </a:gdLst>
                  <a:ahLst/>
                  <a:cxnLst>
                    <a:cxn ang="0">
                      <a:pos x="connsiteX0" y="connsiteY0"/>
                    </a:cxn>
                    <a:cxn ang="0">
                      <a:pos x="connsiteX1" y="connsiteY1"/>
                    </a:cxn>
                  </a:cxnLst>
                  <a:rect l="l" t="t" r="r" b="b"/>
                  <a:pathLst>
                    <a:path w="899511" h="14307">
                      <a:moveTo>
                        <a:pt x="899511" y="0"/>
                      </a:moveTo>
                      <a:lnTo>
                        <a:pt x="0" y="0"/>
                      </a:lnTo>
                    </a:path>
                  </a:pathLst>
                </a:custGeom>
                <a:ln w="3175" cap="flat">
                  <a:solidFill>
                    <a:srgbClr val="00BCEB"/>
                  </a:solidFill>
                  <a:prstDash val="solid"/>
                  <a:miter/>
                </a:ln>
              </p:spPr>
              <p:txBody>
                <a:bodyPr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93" name="Freeform: Shape 192">
                  <a:extLst>
                    <a:ext uri="{FF2B5EF4-FFF2-40B4-BE49-F238E27FC236}">
                      <a16:creationId xmlns:a16="http://schemas.microsoft.com/office/drawing/2014/main" id="{0ECFACAB-9087-4E8C-9709-611EE30FE2B6}"/>
                    </a:ext>
                  </a:extLst>
                </p:cNvPr>
                <p:cNvSpPr/>
                <p:nvPr/>
              </p:nvSpPr>
              <p:spPr>
                <a:xfrm>
                  <a:off x="6521404" y="4488528"/>
                  <a:ext cx="981062" cy="14305"/>
                </a:xfrm>
                <a:custGeom>
                  <a:avLst/>
                  <a:gdLst>
                    <a:gd name="connsiteX0" fmla="*/ 981064 w 981063"/>
                    <a:gd name="connsiteY0" fmla="*/ 0 h 14307"/>
                    <a:gd name="connsiteX1" fmla="*/ 0 w 981063"/>
                    <a:gd name="connsiteY1" fmla="*/ 0 h 14307"/>
                  </a:gdLst>
                  <a:ahLst/>
                  <a:cxnLst>
                    <a:cxn ang="0">
                      <a:pos x="connsiteX0" y="connsiteY0"/>
                    </a:cxn>
                    <a:cxn ang="0">
                      <a:pos x="connsiteX1" y="connsiteY1"/>
                    </a:cxn>
                  </a:cxnLst>
                  <a:rect l="l" t="t" r="r" b="b"/>
                  <a:pathLst>
                    <a:path w="981063" h="14307">
                      <a:moveTo>
                        <a:pt x="981064" y="0"/>
                      </a:moveTo>
                      <a:lnTo>
                        <a:pt x="0" y="0"/>
                      </a:lnTo>
                    </a:path>
                  </a:pathLst>
                </a:custGeom>
                <a:ln w="3175" cap="flat">
                  <a:solidFill>
                    <a:srgbClr val="00BCEB"/>
                  </a:solidFill>
                  <a:prstDash val="solid"/>
                  <a:miter/>
                </a:ln>
              </p:spPr>
              <p:txBody>
                <a:bodyPr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94" name="Freeform: Shape 193">
                  <a:extLst>
                    <a:ext uri="{FF2B5EF4-FFF2-40B4-BE49-F238E27FC236}">
                      <a16:creationId xmlns:a16="http://schemas.microsoft.com/office/drawing/2014/main" id="{748C88F8-05B2-434F-BC6A-E68330C8159F}"/>
                    </a:ext>
                  </a:extLst>
                </p:cNvPr>
                <p:cNvSpPr/>
                <p:nvPr/>
              </p:nvSpPr>
              <p:spPr>
                <a:xfrm>
                  <a:off x="6492648" y="4556625"/>
                  <a:ext cx="1038435" cy="14305"/>
                </a:xfrm>
                <a:custGeom>
                  <a:avLst/>
                  <a:gdLst>
                    <a:gd name="connsiteX0" fmla="*/ 1038437 w 1038436"/>
                    <a:gd name="connsiteY0" fmla="*/ 0 h 14307"/>
                    <a:gd name="connsiteX1" fmla="*/ 0 w 1038436"/>
                    <a:gd name="connsiteY1" fmla="*/ 0 h 14307"/>
                  </a:gdLst>
                  <a:ahLst/>
                  <a:cxnLst>
                    <a:cxn ang="0">
                      <a:pos x="connsiteX0" y="connsiteY0"/>
                    </a:cxn>
                    <a:cxn ang="0">
                      <a:pos x="connsiteX1" y="connsiteY1"/>
                    </a:cxn>
                  </a:cxnLst>
                  <a:rect l="l" t="t" r="r" b="b"/>
                  <a:pathLst>
                    <a:path w="1038436" h="14307">
                      <a:moveTo>
                        <a:pt x="1038437" y="0"/>
                      </a:moveTo>
                      <a:lnTo>
                        <a:pt x="0" y="0"/>
                      </a:lnTo>
                    </a:path>
                  </a:pathLst>
                </a:custGeom>
                <a:ln w="3175" cap="flat">
                  <a:solidFill>
                    <a:srgbClr val="00BCEB"/>
                  </a:solidFill>
                  <a:prstDash val="solid"/>
                  <a:miter/>
                </a:ln>
              </p:spPr>
              <p:txBody>
                <a:bodyPr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95" name="Freeform: Shape 194">
                  <a:extLst>
                    <a:ext uri="{FF2B5EF4-FFF2-40B4-BE49-F238E27FC236}">
                      <a16:creationId xmlns:a16="http://schemas.microsoft.com/office/drawing/2014/main" id="{144E10A5-BD0E-4836-BC44-BCF326F7BA4C}"/>
                    </a:ext>
                  </a:extLst>
                </p:cNvPr>
                <p:cNvSpPr/>
                <p:nvPr/>
              </p:nvSpPr>
              <p:spPr>
                <a:xfrm>
                  <a:off x="6474047" y="4624871"/>
                  <a:ext cx="1075776" cy="14305"/>
                </a:xfrm>
                <a:custGeom>
                  <a:avLst/>
                  <a:gdLst>
                    <a:gd name="connsiteX0" fmla="*/ 1075779 w 1075779"/>
                    <a:gd name="connsiteY0" fmla="*/ 0 h 14307"/>
                    <a:gd name="connsiteX1" fmla="*/ 0 w 1075779"/>
                    <a:gd name="connsiteY1" fmla="*/ 0 h 14307"/>
                  </a:gdLst>
                  <a:ahLst/>
                  <a:cxnLst>
                    <a:cxn ang="0">
                      <a:pos x="connsiteX0" y="connsiteY0"/>
                    </a:cxn>
                    <a:cxn ang="0">
                      <a:pos x="connsiteX1" y="connsiteY1"/>
                    </a:cxn>
                  </a:cxnLst>
                  <a:rect l="l" t="t" r="r" b="b"/>
                  <a:pathLst>
                    <a:path w="1075779" h="14307">
                      <a:moveTo>
                        <a:pt x="1075779" y="0"/>
                      </a:moveTo>
                      <a:lnTo>
                        <a:pt x="0" y="0"/>
                      </a:lnTo>
                    </a:path>
                  </a:pathLst>
                </a:custGeom>
                <a:ln w="3175" cap="flat">
                  <a:solidFill>
                    <a:srgbClr val="00BCEB"/>
                  </a:solidFill>
                  <a:prstDash val="solid"/>
                  <a:miter/>
                </a:ln>
              </p:spPr>
              <p:txBody>
                <a:bodyPr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96" name="Freeform: Shape 195">
                  <a:extLst>
                    <a:ext uri="{FF2B5EF4-FFF2-40B4-BE49-F238E27FC236}">
                      <a16:creationId xmlns:a16="http://schemas.microsoft.com/office/drawing/2014/main" id="{A54CF93D-727A-434E-A3DD-A38D96C846E7}"/>
                    </a:ext>
                  </a:extLst>
                </p:cNvPr>
                <p:cNvSpPr/>
                <p:nvPr/>
              </p:nvSpPr>
              <p:spPr>
                <a:xfrm>
                  <a:off x="6464462" y="4692972"/>
                  <a:ext cx="1094952" cy="14305"/>
                </a:xfrm>
                <a:custGeom>
                  <a:avLst/>
                  <a:gdLst>
                    <a:gd name="connsiteX0" fmla="*/ 1094951 w 1094951"/>
                    <a:gd name="connsiteY0" fmla="*/ 0 h 14307"/>
                    <a:gd name="connsiteX1" fmla="*/ 0 w 1094951"/>
                    <a:gd name="connsiteY1" fmla="*/ 0 h 14307"/>
                  </a:gdLst>
                  <a:ahLst/>
                  <a:cxnLst>
                    <a:cxn ang="0">
                      <a:pos x="connsiteX0" y="connsiteY0"/>
                    </a:cxn>
                    <a:cxn ang="0">
                      <a:pos x="connsiteX1" y="connsiteY1"/>
                    </a:cxn>
                  </a:cxnLst>
                  <a:rect l="l" t="t" r="r" b="b"/>
                  <a:pathLst>
                    <a:path w="1094951" h="14307">
                      <a:moveTo>
                        <a:pt x="1094951" y="0"/>
                      </a:moveTo>
                      <a:lnTo>
                        <a:pt x="0" y="0"/>
                      </a:lnTo>
                    </a:path>
                  </a:pathLst>
                </a:custGeom>
                <a:ln w="3175" cap="flat">
                  <a:solidFill>
                    <a:srgbClr val="00BCEB"/>
                  </a:solidFill>
                  <a:prstDash val="solid"/>
                  <a:miter/>
                </a:ln>
              </p:spPr>
              <p:txBody>
                <a:bodyPr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97" name="Freeform: Shape 196">
                  <a:extLst>
                    <a:ext uri="{FF2B5EF4-FFF2-40B4-BE49-F238E27FC236}">
                      <a16:creationId xmlns:a16="http://schemas.microsoft.com/office/drawing/2014/main" id="{F7A8CDC1-A451-42A9-A495-F541A27F8158}"/>
                    </a:ext>
                  </a:extLst>
                </p:cNvPr>
                <p:cNvSpPr/>
                <p:nvPr/>
              </p:nvSpPr>
              <p:spPr>
                <a:xfrm>
                  <a:off x="6463461" y="4761073"/>
                  <a:ext cx="1096953" cy="14305"/>
                </a:xfrm>
                <a:custGeom>
                  <a:avLst/>
                  <a:gdLst>
                    <a:gd name="connsiteX0" fmla="*/ 1096955 w 1096954"/>
                    <a:gd name="connsiteY0" fmla="*/ 0 h 14307"/>
                    <a:gd name="connsiteX1" fmla="*/ 0 w 1096954"/>
                    <a:gd name="connsiteY1" fmla="*/ 0 h 14307"/>
                  </a:gdLst>
                  <a:ahLst/>
                  <a:cxnLst>
                    <a:cxn ang="0">
                      <a:pos x="connsiteX0" y="connsiteY0"/>
                    </a:cxn>
                    <a:cxn ang="0">
                      <a:pos x="connsiteX1" y="connsiteY1"/>
                    </a:cxn>
                  </a:cxnLst>
                  <a:rect l="l" t="t" r="r" b="b"/>
                  <a:pathLst>
                    <a:path w="1096954" h="14307">
                      <a:moveTo>
                        <a:pt x="1096955" y="0"/>
                      </a:moveTo>
                      <a:lnTo>
                        <a:pt x="0" y="0"/>
                      </a:lnTo>
                    </a:path>
                  </a:pathLst>
                </a:custGeom>
                <a:ln w="3175" cap="flat">
                  <a:solidFill>
                    <a:srgbClr val="00BCEB"/>
                  </a:solidFill>
                  <a:prstDash val="solid"/>
                  <a:miter/>
                </a:ln>
              </p:spPr>
              <p:txBody>
                <a:bodyPr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98" name="Freeform: Shape 197">
                  <a:extLst>
                    <a:ext uri="{FF2B5EF4-FFF2-40B4-BE49-F238E27FC236}">
                      <a16:creationId xmlns:a16="http://schemas.microsoft.com/office/drawing/2014/main" id="{3C717005-AE26-48FB-A291-067B4BE082A1}"/>
                    </a:ext>
                  </a:extLst>
                </p:cNvPr>
                <p:cNvSpPr/>
                <p:nvPr/>
              </p:nvSpPr>
              <p:spPr>
                <a:xfrm>
                  <a:off x="6470900" y="4829170"/>
                  <a:ext cx="1082074" cy="14305"/>
                </a:xfrm>
                <a:custGeom>
                  <a:avLst/>
                  <a:gdLst>
                    <a:gd name="connsiteX0" fmla="*/ 1082075 w 1082074"/>
                    <a:gd name="connsiteY0" fmla="*/ 0 h 14307"/>
                    <a:gd name="connsiteX1" fmla="*/ 0 w 1082074"/>
                    <a:gd name="connsiteY1" fmla="*/ 0 h 14307"/>
                  </a:gdLst>
                  <a:ahLst/>
                  <a:cxnLst>
                    <a:cxn ang="0">
                      <a:pos x="connsiteX0" y="connsiteY0"/>
                    </a:cxn>
                    <a:cxn ang="0">
                      <a:pos x="connsiteX1" y="connsiteY1"/>
                    </a:cxn>
                  </a:cxnLst>
                  <a:rect l="l" t="t" r="r" b="b"/>
                  <a:pathLst>
                    <a:path w="1082074" h="14307">
                      <a:moveTo>
                        <a:pt x="1082075" y="0"/>
                      </a:moveTo>
                      <a:lnTo>
                        <a:pt x="0" y="0"/>
                      </a:lnTo>
                    </a:path>
                  </a:pathLst>
                </a:custGeom>
                <a:ln w="3175" cap="flat">
                  <a:solidFill>
                    <a:srgbClr val="00BCEB"/>
                  </a:solidFill>
                  <a:prstDash val="solid"/>
                  <a:miter/>
                </a:ln>
              </p:spPr>
              <p:txBody>
                <a:bodyPr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99" name="Freeform: Shape 198">
                  <a:extLst>
                    <a:ext uri="{FF2B5EF4-FFF2-40B4-BE49-F238E27FC236}">
                      <a16:creationId xmlns:a16="http://schemas.microsoft.com/office/drawing/2014/main" id="{06CB3DF1-A3C9-4E5A-9113-A18EC2B0C7C3}"/>
                    </a:ext>
                  </a:extLst>
                </p:cNvPr>
                <p:cNvSpPr/>
                <p:nvPr/>
              </p:nvSpPr>
              <p:spPr>
                <a:xfrm>
                  <a:off x="6487065" y="4897267"/>
                  <a:ext cx="1049596" cy="14305"/>
                </a:xfrm>
                <a:custGeom>
                  <a:avLst/>
                  <a:gdLst>
                    <a:gd name="connsiteX0" fmla="*/ 1049597 w 1049596"/>
                    <a:gd name="connsiteY0" fmla="*/ 0 h 14307"/>
                    <a:gd name="connsiteX1" fmla="*/ 0 w 1049596"/>
                    <a:gd name="connsiteY1" fmla="*/ 0 h 14307"/>
                  </a:gdLst>
                  <a:ahLst/>
                  <a:cxnLst>
                    <a:cxn ang="0">
                      <a:pos x="connsiteX0" y="connsiteY0"/>
                    </a:cxn>
                    <a:cxn ang="0">
                      <a:pos x="connsiteX1" y="connsiteY1"/>
                    </a:cxn>
                  </a:cxnLst>
                  <a:rect l="l" t="t" r="r" b="b"/>
                  <a:pathLst>
                    <a:path w="1049596" h="14307">
                      <a:moveTo>
                        <a:pt x="1049597" y="0"/>
                      </a:moveTo>
                      <a:lnTo>
                        <a:pt x="0" y="0"/>
                      </a:lnTo>
                    </a:path>
                  </a:pathLst>
                </a:custGeom>
                <a:ln w="3175" cap="flat">
                  <a:solidFill>
                    <a:srgbClr val="00BCEB"/>
                  </a:solidFill>
                  <a:prstDash val="solid"/>
                  <a:miter/>
                </a:ln>
              </p:spPr>
              <p:txBody>
                <a:bodyPr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200" name="Freeform: Shape 199">
                  <a:extLst>
                    <a:ext uri="{FF2B5EF4-FFF2-40B4-BE49-F238E27FC236}">
                      <a16:creationId xmlns:a16="http://schemas.microsoft.com/office/drawing/2014/main" id="{FF71C995-7FA2-4C50-8917-4FAA07E208CF}"/>
                    </a:ext>
                  </a:extLst>
                </p:cNvPr>
                <p:cNvSpPr/>
                <p:nvPr/>
              </p:nvSpPr>
              <p:spPr>
                <a:xfrm>
                  <a:off x="6513390" y="4965517"/>
                  <a:ext cx="997086" cy="14305"/>
                </a:xfrm>
                <a:custGeom>
                  <a:avLst/>
                  <a:gdLst>
                    <a:gd name="connsiteX0" fmla="*/ 997088 w 997088"/>
                    <a:gd name="connsiteY0" fmla="*/ 0 h 14307"/>
                    <a:gd name="connsiteX1" fmla="*/ 0 w 997088"/>
                    <a:gd name="connsiteY1" fmla="*/ 0 h 14307"/>
                  </a:gdLst>
                  <a:ahLst/>
                  <a:cxnLst>
                    <a:cxn ang="0">
                      <a:pos x="connsiteX0" y="connsiteY0"/>
                    </a:cxn>
                    <a:cxn ang="0">
                      <a:pos x="connsiteX1" y="connsiteY1"/>
                    </a:cxn>
                  </a:cxnLst>
                  <a:rect l="l" t="t" r="r" b="b"/>
                  <a:pathLst>
                    <a:path w="997088" h="14307">
                      <a:moveTo>
                        <a:pt x="997088" y="0"/>
                      </a:moveTo>
                      <a:lnTo>
                        <a:pt x="0" y="0"/>
                      </a:lnTo>
                    </a:path>
                  </a:pathLst>
                </a:custGeom>
                <a:ln w="3175" cap="flat">
                  <a:solidFill>
                    <a:srgbClr val="00BCEB"/>
                  </a:solidFill>
                  <a:prstDash val="solid"/>
                  <a:miter/>
                </a:ln>
              </p:spPr>
              <p:txBody>
                <a:bodyPr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201" name="Freeform: Shape 200">
                  <a:extLst>
                    <a:ext uri="{FF2B5EF4-FFF2-40B4-BE49-F238E27FC236}">
                      <a16:creationId xmlns:a16="http://schemas.microsoft.com/office/drawing/2014/main" id="{6E55AC0D-8012-414D-A225-AB84DC11FE9E}"/>
                    </a:ext>
                  </a:extLst>
                </p:cNvPr>
                <p:cNvSpPr/>
                <p:nvPr/>
              </p:nvSpPr>
              <p:spPr>
                <a:xfrm>
                  <a:off x="6550880" y="5033630"/>
                  <a:ext cx="921973" cy="14305"/>
                </a:xfrm>
                <a:custGeom>
                  <a:avLst/>
                  <a:gdLst>
                    <a:gd name="connsiteX0" fmla="*/ 921974 w 921974"/>
                    <a:gd name="connsiteY0" fmla="*/ 0 h 14307"/>
                    <a:gd name="connsiteX1" fmla="*/ 0 w 921974"/>
                    <a:gd name="connsiteY1" fmla="*/ 0 h 14307"/>
                  </a:gdLst>
                  <a:ahLst/>
                  <a:cxnLst>
                    <a:cxn ang="0">
                      <a:pos x="connsiteX0" y="connsiteY0"/>
                    </a:cxn>
                    <a:cxn ang="0">
                      <a:pos x="connsiteX1" y="connsiteY1"/>
                    </a:cxn>
                  </a:cxnLst>
                  <a:rect l="l" t="t" r="r" b="b"/>
                  <a:pathLst>
                    <a:path w="921974" h="14307">
                      <a:moveTo>
                        <a:pt x="921974" y="0"/>
                      </a:moveTo>
                      <a:lnTo>
                        <a:pt x="0" y="0"/>
                      </a:lnTo>
                    </a:path>
                  </a:pathLst>
                </a:custGeom>
                <a:ln w="3175" cap="flat">
                  <a:solidFill>
                    <a:srgbClr val="00BCEB"/>
                  </a:solidFill>
                  <a:prstDash val="solid"/>
                  <a:miter/>
                </a:ln>
              </p:spPr>
              <p:txBody>
                <a:bodyPr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202" name="Freeform: Shape 201">
                  <a:extLst>
                    <a:ext uri="{FF2B5EF4-FFF2-40B4-BE49-F238E27FC236}">
                      <a16:creationId xmlns:a16="http://schemas.microsoft.com/office/drawing/2014/main" id="{C564A838-ED48-453D-8D98-8E43C82BDE3A}"/>
                    </a:ext>
                  </a:extLst>
                </p:cNvPr>
                <p:cNvSpPr/>
                <p:nvPr/>
              </p:nvSpPr>
              <p:spPr>
                <a:xfrm>
                  <a:off x="6602959" y="5101743"/>
                  <a:ext cx="817959" cy="14305"/>
                </a:xfrm>
                <a:custGeom>
                  <a:avLst/>
                  <a:gdLst>
                    <a:gd name="connsiteX0" fmla="*/ 817959 w 817958"/>
                    <a:gd name="connsiteY0" fmla="*/ 0 h 14307"/>
                    <a:gd name="connsiteX1" fmla="*/ 0 w 817958"/>
                    <a:gd name="connsiteY1" fmla="*/ 0 h 14307"/>
                  </a:gdLst>
                  <a:ahLst/>
                  <a:cxnLst>
                    <a:cxn ang="0">
                      <a:pos x="connsiteX0" y="connsiteY0"/>
                    </a:cxn>
                    <a:cxn ang="0">
                      <a:pos x="connsiteX1" y="connsiteY1"/>
                    </a:cxn>
                  </a:cxnLst>
                  <a:rect l="l" t="t" r="r" b="b"/>
                  <a:pathLst>
                    <a:path w="817958" h="14307">
                      <a:moveTo>
                        <a:pt x="817959" y="0"/>
                      </a:moveTo>
                      <a:lnTo>
                        <a:pt x="0" y="0"/>
                      </a:lnTo>
                    </a:path>
                  </a:pathLst>
                </a:custGeom>
                <a:ln w="3175" cap="flat">
                  <a:solidFill>
                    <a:srgbClr val="00BCEB"/>
                  </a:solidFill>
                  <a:prstDash val="solid"/>
                  <a:miter/>
                </a:ln>
              </p:spPr>
              <p:txBody>
                <a:bodyPr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203" name="Freeform: Shape 202">
                  <a:extLst>
                    <a:ext uri="{FF2B5EF4-FFF2-40B4-BE49-F238E27FC236}">
                      <a16:creationId xmlns:a16="http://schemas.microsoft.com/office/drawing/2014/main" id="{3BC6CCE3-CFDB-49AA-BD37-4448E292B453}"/>
                    </a:ext>
                  </a:extLst>
                </p:cNvPr>
                <p:cNvSpPr/>
                <p:nvPr/>
              </p:nvSpPr>
              <p:spPr>
                <a:xfrm>
                  <a:off x="6676075" y="5169823"/>
                  <a:ext cx="671736" cy="14305"/>
                </a:xfrm>
                <a:custGeom>
                  <a:avLst/>
                  <a:gdLst>
                    <a:gd name="connsiteX0" fmla="*/ 671736 w 671736"/>
                    <a:gd name="connsiteY0" fmla="*/ 0 h 14307"/>
                    <a:gd name="connsiteX1" fmla="*/ 0 w 671736"/>
                    <a:gd name="connsiteY1" fmla="*/ 0 h 14307"/>
                  </a:gdLst>
                  <a:ahLst/>
                  <a:cxnLst>
                    <a:cxn ang="0">
                      <a:pos x="connsiteX0" y="connsiteY0"/>
                    </a:cxn>
                    <a:cxn ang="0">
                      <a:pos x="connsiteX1" y="connsiteY1"/>
                    </a:cxn>
                  </a:cxnLst>
                  <a:rect l="l" t="t" r="r" b="b"/>
                  <a:pathLst>
                    <a:path w="671736" h="14307">
                      <a:moveTo>
                        <a:pt x="671736" y="0"/>
                      </a:moveTo>
                      <a:lnTo>
                        <a:pt x="0" y="0"/>
                      </a:lnTo>
                    </a:path>
                  </a:pathLst>
                </a:custGeom>
                <a:ln w="3175" cap="flat">
                  <a:solidFill>
                    <a:srgbClr val="00BCEB"/>
                  </a:solidFill>
                  <a:prstDash val="solid"/>
                  <a:miter/>
                </a:ln>
              </p:spPr>
              <p:txBody>
                <a:bodyPr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204" name="Freeform: Shape 203">
                  <a:extLst>
                    <a:ext uri="{FF2B5EF4-FFF2-40B4-BE49-F238E27FC236}">
                      <a16:creationId xmlns:a16="http://schemas.microsoft.com/office/drawing/2014/main" id="{2C04760C-D9EB-479D-8A53-7F2118E927F9}"/>
                    </a:ext>
                  </a:extLst>
                </p:cNvPr>
                <p:cNvSpPr/>
                <p:nvPr/>
              </p:nvSpPr>
              <p:spPr>
                <a:xfrm>
                  <a:off x="6790394" y="5238044"/>
                  <a:ext cx="442957" cy="14305"/>
                </a:xfrm>
                <a:custGeom>
                  <a:avLst/>
                  <a:gdLst>
                    <a:gd name="connsiteX0" fmla="*/ 442960 w 442959"/>
                    <a:gd name="connsiteY0" fmla="*/ 0 h 14307"/>
                    <a:gd name="connsiteX1" fmla="*/ 0 w 442959"/>
                    <a:gd name="connsiteY1" fmla="*/ 0 h 14307"/>
                  </a:gdLst>
                  <a:ahLst/>
                  <a:cxnLst>
                    <a:cxn ang="0">
                      <a:pos x="connsiteX0" y="connsiteY0"/>
                    </a:cxn>
                    <a:cxn ang="0">
                      <a:pos x="connsiteX1" y="connsiteY1"/>
                    </a:cxn>
                  </a:cxnLst>
                  <a:rect l="l" t="t" r="r" b="b"/>
                  <a:pathLst>
                    <a:path w="442959" h="14307">
                      <a:moveTo>
                        <a:pt x="442960" y="0"/>
                      </a:moveTo>
                      <a:lnTo>
                        <a:pt x="0" y="0"/>
                      </a:lnTo>
                    </a:path>
                  </a:pathLst>
                </a:custGeom>
                <a:ln w="3175" cap="flat">
                  <a:solidFill>
                    <a:srgbClr val="00BCEB"/>
                  </a:solidFill>
                  <a:prstDash val="solid"/>
                  <a:miter/>
                </a:ln>
              </p:spPr>
              <p:txBody>
                <a:bodyPr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grpSp>
          <p:grpSp>
            <p:nvGrpSpPr>
              <p:cNvPr id="169" name="Group 168">
                <a:extLst>
                  <a:ext uri="{FF2B5EF4-FFF2-40B4-BE49-F238E27FC236}">
                    <a16:creationId xmlns:a16="http://schemas.microsoft.com/office/drawing/2014/main" id="{D5A0DC6D-A6FA-4FC4-890D-488726354BCE}"/>
                  </a:ext>
                </a:extLst>
              </p:cNvPr>
              <p:cNvGrpSpPr/>
              <p:nvPr/>
            </p:nvGrpSpPr>
            <p:grpSpPr>
              <a:xfrm rot="18301112">
                <a:off x="1836001" y="1491729"/>
                <a:ext cx="182934" cy="158838"/>
                <a:chOff x="4479907" y="2862249"/>
                <a:chExt cx="1314466" cy="1141423"/>
              </a:xfrm>
            </p:grpSpPr>
            <p:sp>
              <p:nvSpPr>
                <p:cNvPr id="170" name="Oval 209">
                  <a:extLst>
                    <a:ext uri="{FF2B5EF4-FFF2-40B4-BE49-F238E27FC236}">
                      <a16:creationId xmlns:a16="http://schemas.microsoft.com/office/drawing/2014/main" id="{C3E622DB-5366-4FB4-A466-EF515FDBE09F}"/>
                    </a:ext>
                  </a:extLst>
                </p:cNvPr>
                <p:cNvSpPr>
                  <a:spLocks noChangeArrowheads="1"/>
                </p:cNvSpPr>
                <p:nvPr/>
              </p:nvSpPr>
              <p:spPr bwMode="auto">
                <a:xfrm>
                  <a:off x="4702153" y="3646468"/>
                  <a:ext cx="73027" cy="77788"/>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71" name="Oval 210">
                  <a:extLst>
                    <a:ext uri="{FF2B5EF4-FFF2-40B4-BE49-F238E27FC236}">
                      <a16:creationId xmlns:a16="http://schemas.microsoft.com/office/drawing/2014/main" id="{555A825A-4917-4C9C-9A36-8C04EE19D7D0}"/>
                    </a:ext>
                  </a:extLst>
                </p:cNvPr>
                <p:cNvSpPr>
                  <a:spLocks noChangeArrowheads="1"/>
                </p:cNvSpPr>
                <p:nvPr/>
              </p:nvSpPr>
              <p:spPr bwMode="auto">
                <a:xfrm>
                  <a:off x="5186337" y="3646469"/>
                  <a:ext cx="73027" cy="77788"/>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72" name="Oval 211">
                  <a:extLst>
                    <a:ext uri="{FF2B5EF4-FFF2-40B4-BE49-F238E27FC236}">
                      <a16:creationId xmlns:a16="http://schemas.microsoft.com/office/drawing/2014/main" id="{B3C04C9D-75AA-4837-81D9-779A0A697A69}"/>
                    </a:ext>
                  </a:extLst>
                </p:cNvPr>
                <p:cNvSpPr>
                  <a:spLocks noChangeArrowheads="1"/>
                </p:cNvSpPr>
                <p:nvPr/>
              </p:nvSpPr>
              <p:spPr bwMode="auto">
                <a:xfrm>
                  <a:off x="5186336" y="3398820"/>
                  <a:ext cx="73027" cy="74610"/>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73" name="Oval 212">
                  <a:extLst>
                    <a:ext uri="{FF2B5EF4-FFF2-40B4-BE49-F238E27FC236}">
                      <a16:creationId xmlns:a16="http://schemas.microsoft.com/office/drawing/2014/main" id="{1F98346B-8755-4451-96BF-B13F6848D716}"/>
                    </a:ext>
                  </a:extLst>
                </p:cNvPr>
                <p:cNvSpPr>
                  <a:spLocks noChangeArrowheads="1"/>
                </p:cNvSpPr>
                <p:nvPr/>
              </p:nvSpPr>
              <p:spPr bwMode="auto">
                <a:xfrm>
                  <a:off x="5426045" y="3138473"/>
                  <a:ext cx="73027" cy="77788"/>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74" name="Oval 213">
                  <a:extLst>
                    <a:ext uri="{FF2B5EF4-FFF2-40B4-BE49-F238E27FC236}">
                      <a16:creationId xmlns:a16="http://schemas.microsoft.com/office/drawing/2014/main" id="{38CC57E7-B21B-45DD-A66B-896BABB797D3}"/>
                    </a:ext>
                  </a:extLst>
                </p:cNvPr>
                <p:cNvSpPr>
                  <a:spLocks noChangeArrowheads="1"/>
                </p:cNvSpPr>
                <p:nvPr/>
              </p:nvSpPr>
              <p:spPr bwMode="auto">
                <a:xfrm>
                  <a:off x="5426044" y="2890823"/>
                  <a:ext cx="73027" cy="74610"/>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75" name="Oval 214">
                  <a:extLst>
                    <a:ext uri="{FF2B5EF4-FFF2-40B4-BE49-F238E27FC236}">
                      <a16:creationId xmlns:a16="http://schemas.microsoft.com/office/drawing/2014/main" id="{FF04D02E-B872-4DF2-A39F-3FA411067A54}"/>
                    </a:ext>
                  </a:extLst>
                </p:cNvPr>
                <p:cNvSpPr>
                  <a:spLocks noChangeArrowheads="1"/>
                </p:cNvSpPr>
                <p:nvPr/>
              </p:nvSpPr>
              <p:spPr bwMode="auto">
                <a:xfrm>
                  <a:off x="5691158" y="3144820"/>
                  <a:ext cx="74611" cy="79373"/>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76" name="Oval 208">
                  <a:extLst>
                    <a:ext uri="{FF2B5EF4-FFF2-40B4-BE49-F238E27FC236}">
                      <a16:creationId xmlns:a16="http://schemas.microsoft.com/office/drawing/2014/main" id="{038F63BA-B372-4C9D-900F-32CE2F54F755}"/>
                    </a:ext>
                  </a:extLst>
                </p:cNvPr>
                <p:cNvSpPr>
                  <a:spLocks noChangeArrowheads="1"/>
                </p:cNvSpPr>
                <p:nvPr/>
              </p:nvSpPr>
              <p:spPr bwMode="auto">
                <a:xfrm>
                  <a:off x="4479907" y="3646465"/>
                  <a:ext cx="74612" cy="77788"/>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77" name="Oval 176">
                  <a:extLst>
                    <a:ext uri="{FF2B5EF4-FFF2-40B4-BE49-F238E27FC236}">
                      <a16:creationId xmlns:a16="http://schemas.microsoft.com/office/drawing/2014/main" id="{2649E261-6B8F-4E13-BB19-9A659DB7906C}"/>
                    </a:ext>
                  </a:extLst>
                </p:cNvPr>
                <p:cNvSpPr>
                  <a:spLocks noChangeArrowheads="1"/>
                </p:cNvSpPr>
                <p:nvPr/>
              </p:nvSpPr>
              <p:spPr bwMode="auto">
                <a:xfrm>
                  <a:off x="4479912" y="3900466"/>
                  <a:ext cx="74612" cy="74610"/>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78" name="Oval 177">
                  <a:extLst>
                    <a:ext uri="{FF2B5EF4-FFF2-40B4-BE49-F238E27FC236}">
                      <a16:creationId xmlns:a16="http://schemas.microsoft.com/office/drawing/2014/main" id="{564DB660-17E4-4BEE-9CFD-91B29FE17A76}"/>
                    </a:ext>
                  </a:extLst>
                </p:cNvPr>
                <p:cNvSpPr>
                  <a:spLocks noChangeArrowheads="1"/>
                </p:cNvSpPr>
                <p:nvPr/>
              </p:nvSpPr>
              <p:spPr bwMode="auto">
                <a:xfrm>
                  <a:off x="5186342" y="3900467"/>
                  <a:ext cx="73027" cy="74610"/>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79" name="Oval 178">
                  <a:extLst>
                    <a:ext uri="{FF2B5EF4-FFF2-40B4-BE49-F238E27FC236}">
                      <a16:creationId xmlns:a16="http://schemas.microsoft.com/office/drawing/2014/main" id="{7CD7DE9B-AF11-47CB-96D5-CFF4A8FB5D6A}"/>
                    </a:ext>
                  </a:extLst>
                </p:cNvPr>
                <p:cNvSpPr>
                  <a:spLocks noChangeArrowheads="1"/>
                </p:cNvSpPr>
                <p:nvPr/>
              </p:nvSpPr>
              <p:spPr bwMode="auto">
                <a:xfrm>
                  <a:off x="5426057" y="3900463"/>
                  <a:ext cx="73027" cy="74610"/>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80" name="Freeform 218">
                  <a:extLst>
                    <a:ext uri="{FF2B5EF4-FFF2-40B4-BE49-F238E27FC236}">
                      <a16:creationId xmlns:a16="http://schemas.microsoft.com/office/drawing/2014/main" id="{F5D47E27-A834-4908-907D-A3E320C81338}"/>
                    </a:ext>
                  </a:extLst>
                </p:cNvPr>
                <p:cNvSpPr>
                  <a:spLocks noEditPoints="1"/>
                </p:cNvSpPr>
                <p:nvPr/>
              </p:nvSpPr>
              <p:spPr bwMode="auto">
                <a:xfrm>
                  <a:off x="5662595" y="3870304"/>
                  <a:ext cx="131761"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81" name="Freeform 219">
                  <a:extLst>
                    <a:ext uri="{FF2B5EF4-FFF2-40B4-BE49-F238E27FC236}">
                      <a16:creationId xmlns:a16="http://schemas.microsoft.com/office/drawing/2014/main" id="{DAC09902-B6DB-41F5-80BA-49D3D3AAC646}"/>
                    </a:ext>
                  </a:extLst>
                </p:cNvPr>
                <p:cNvSpPr>
                  <a:spLocks noEditPoints="1"/>
                </p:cNvSpPr>
                <p:nvPr/>
              </p:nvSpPr>
              <p:spPr bwMode="auto">
                <a:xfrm>
                  <a:off x="5395897" y="3619483"/>
                  <a:ext cx="133353" cy="130172"/>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82" name="Freeform 220">
                  <a:extLst>
                    <a:ext uri="{FF2B5EF4-FFF2-40B4-BE49-F238E27FC236}">
                      <a16:creationId xmlns:a16="http://schemas.microsoft.com/office/drawing/2014/main" id="{5EAA1301-2D05-46A4-A688-F50C9FBFC2AB}"/>
                    </a:ext>
                  </a:extLst>
                </p:cNvPr>
                <p:cNvSpPr>
                  <a:spLocks noEditPoints="1"/>
                </p:cNvSpPr>
                <p:nvPr/>
              </p:nvSpPr>
              <p:spPr bwMode="auto">
                <a:xfrm>
                  <a:off x="5395894" y="3368657"/>
                  <a:ext cx="133353" cy="134934"/>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83" name="Freeform 221">
                  <a:extLst>
                    <a:ext uri="{FF2B5EF4-FFF2-40B4-BE49-F238E27FC236}">
                      <a16:creationId xmlns:a16="http://schemas.microsoft.com/office/drawing/2014/main" id="{E605ACEC-CB49-4B1A-8154-CB5AC1FC1B0A}"/>
                    </a:ext>
                  </a:extLst>
                </p:cNvPr>
                <p:cNvSpPr>
                  <a:spLocks noEditPoints="1"/>
                </p:cNvSpPr>
                <p:nvPr/>
              </p:nvSpPr>
              <p:spPr bwMode="auto">
                <a:xfrm>
                  <a:off x="5662595" y="3619477"/>
                  <a:ext cx="131761" cy="130172"/>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84" name="Freeform 222">
                  <a:extLst>
                    <a:ext uri="{FF2B5EF4-FFF2-40B4-BE49-F238E27FC236}">
                      <a16:creationId xmlns:a16="http://schemas.microsoft.com/office/drawing/2014/main" id="{EA20A82B-DEB3-427C-836F-8A959FBD49A1}"/>
                    </a:ext>
                  </a:extLst>
                </p:cNvPr>
                <p:cNvSpPr>
                  <a:spLocks noEditPoints="1"/>
                </p:cNvSpPr>
                <p:nvPr/>
              </p:nvSpPr>
              <p:spPr bwMode="auto">
                <a:xfrm>
                  <a:off x="4913296" y="3619478"/>
                  <a:ext cx="131761" cy="130172"/>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85" name="Freeform 223">
                  <a:extLst>
                    <a:ext uri="{FF2B5EF4-FFF2-40B4-BE49-F238E27FC236}">
                      <a16:creationId xmlns:a16="http://schemas.microsoft.com/office/drawing/2014/main" id="{865606EA-0470-47DF-9DB2-E3917E3D0479}"/>
                    </a:ext>
                  </a:extLst>
                </p:cNvPr>
                <p:cNvSpPr>
                  <a:spLocks noEditPoints="1"/>
                </p:cNvSpPr>
                <p:nvPr/>
              </p:nvSpPr>
              <p:spPr bwMode="auto">
                <a:xfrm>
                  <a:off x="5156180" y="3119424"/>
                  <a:ext cx="133353" cy="130172"/>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86" name="Freeform 224">
                  <a:extLst>
                    <a:ext uri="{FF2B5EF4-FFF2-40B4-BE49-F238E27FC236}">
                      <a16:creationId xmlns:a16="http://schemas.microsoft.com/office/drawing/2014/main" id="{CB1322CF-D73D-4460-83CA-C81424B7F40D}"/>
                    </a:ext>
                  </a:extLst>
                </p:cNvPr>
                <p:cNvSpPr>
                  <a:spLocks noEditPoints="1"/>
                </p:cNvSpPr>
                <p:nvPr/>
              </p:nvSpPr>
              <p:spPr bwMode="auto">
                <a:xfrm>
                  <a:off x="5156179" y="2862249"/>
                  <a:ext cx="133353"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87" name="Freeform 225">
                  <a:extLst>
                    <a:ext uri="{FF2B5EF4-FFF2-40B4-BE49-F238E27FC236}">
                      <a16:creationId xmlns:a16="http://schemas.microsoft.com/office/drawing/2014/main" id="{37447238-5AF3-441B-A5F8-405C9A9C79CB}"/>
                    </a:ext>
                  </a:extLst>
                </p:cNvPr>
                <p:cNvSpPr>
                  <a:spLocks noEditPoints="1"/>
                </p:cNvSpPr>
                <p:nvPr/>
              </p:nvSpPr>
              <p:spPr bwMode="auto">
                <a:xfrm>
                  <a:off x="5662612" y="2862257"/>
                  <a:ext cx="131761"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sp>
              <p:nvSpPr>
                <p:cNvPr id="188" name="Freeform 226">
                  <a:extLst>
                    <a:ext uri="{FF2B5EF4-FFF2-40B4-BE49-F238E27FC236}">
                      <a16:creationId xmlns:a16="http://schemas.microsoft.com/office/drawing/2014/main" id="{1CDAE125-3DC6-4E0D-859F-965AF16C3AA2}"/>
                    </a:ext>
                  </a:extLst>
                </p:cNvPr>
                <p:cNvSpPr>
                  <a:spLocks noEditPoints="1"/>
                </p:cNvSpPr>
                <p:nvPr/>
              </p:nvSpPr>
              <p:spPr bwMode="auto">
                <a:xfrm>
                  <a:off x="4913312" y="3870322"/>
                  <a:ext cx="131761"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82828"/>
                    </a:solidFill>
                    <a:effectLst/>
                    <a:uLnTx/>
                    <a:uFillTx/>
                    <a:ea typeface="+mn-ea"/>
                    <a:cs typeface="+mn-cs"/>
                  </a:endParaRPr>
                </a:p>
              </p:txBody>
            </p:sp>
          </p:grpSp>
        </p:grpSp>
        <p:pic>
          <p:nvPicPr>
            <p:cNvPr id="137" name="Graphic 136">
              <a:extLst>
                <a:ext uri="{FF2B5EF4-FFF2-40B4-BE49-F238E27FC236}">
                  <a16:creationId xmlns:a16="http://schemas.microsoft.com/office/drawing/2014/main" id="{F3A6526C-F57A-4082-B68D-846D533A8796}"/>
                </a:ext>
              </a:extLst>
            </p:cNvPr>
            <p:cNvPicPr>
              <a:picLocks noChangeAspect="1"/>
            </p:cNvPicPr>
            <p:nvPr/>
          </p:nvPicPr>
          <p:blipFill rotWithShape="1">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rcRect r="3329"/>
            <a:stretch/>
          </p:blipFill>
          <p:spPr>
            <a:xfrm>
              <a:off x="840809" y="2134654"/>
              <a:ext cx="1090421" cy="2310189"/>
            </a:xfrm>
            <a:prstGeom prst="rect">
              <a:avLst/>
            </a:prstGeom>
          </p:spPr>
        </p:pic>
      </p:grpSp>
      <p:cxnSp>
        <p:nvCxnSpPr>
          <p:cNvPr id="226" name="Straight Connector 225">
            <a:extLst>
              <a:ext uri="{FF2B5EF4-FFF2-40B4-BE49-F238E27FC236}">
                <a16:creationId xmlns:a16="http://schemas.microsoft.com/office/drawing/2014/main" id="{25D4256E-7538-43F3-82FC-48A5F79F2BC3}"/>
              </a:ext>
            </a:extLst>
          </p:cNvPr>
          <p:cNvCxnSpPr>
            <a:cxnSpLocks/>
          </p:cNvCxnSpPr>
          <p:nvPr/>
        </p:nvCxnSpPr>
        <p:spPr>
          <a:xfrm>
            <a:off x="5625380" y="2434044"/>
            <a:ext cx="0" cy="3533184"/>
          </a:xfrm>
          <a:prstGeom prst="line">
            <a:avLst/>
          </a:prstGeom>
        </p:spPr>
        <p:style>
          <a:lnRef idx="1">
            <a:schemeClr val="accent1"/>
          </a:lnRef>
          <a:fillRef idx="0">
            <a:schemeClr val="accent1"/>
          </a:fillRef>
          <a:effectRef idx="0">
            <a:schemeClr val="accent1"/>
          </a:effectRef>
          <a:fontRef idx="minor">
            <a:schemeClr val="tx1"/>
          </a:fontRef>
        </p:style>
      </p:cxnSp>
      <p:sp>
        <p:nvSpPr>
          <p:cNvPr id="244" name="Freeform: Shape 243">
            <a:extLst>
              <a:ext uri="{FF2B5EF4-FFF2-40B4-BE49-F238E27FC236}">
                <a16:creationId xmlns:a16="http://schemas.microsoft.com/office/drawing/2014/main" id="{6B4784EC-399B-4A97-8F86-5A13C05C8EDD}"/>
              </a:ext>
            </a:extLst>
          </p:cNvPr>
          <p:cNvSpPr>
            <a:spLocks/>
          </p:cNvSpPr>
          <p:nvPr/>
        </p:nvSpPr>
        <p:spPr bwMode="auto">
          <a:xfrm>
            <a:off x="2837313" y="3237743"/>
            <a:ext cx="934098" cy="371363"/>
          </a:xfrm>
          <a:custGeom>
            <a:avLst/>
            <a:gdLst>
              <a:gd name="connsiteX0" fmla="*/ 3785 w 1223963"/>
              <a:gd name="connsiteY0" fmla="*/ 254000 h 288926"/>
              <a:gd name="connsiteX1" fmla="*/ 45427 w 1223963"/>
              <a:gd name="connsiteY1" fmla="*/ 281164 h 288926"/>
              <a:gd name="connsiteX2" fmla="*/ 45427 w 1223963"/>
              <a:gd name="connsiteY2" fmla="*/ 285045 h 288926"/>
              <a:gd name="connsiteX3" fmla="*/ 45427 w 1223963"/>
              <a:gd name="connsiteY3" fmla="*/ 288925 h 288926"/>
              <a:gd name="connsiteX4" fmla="*/ 41642 w 1223963"/>
              <a:gd name="connsiteY4" fmla="*/ 288925 h 288926"/>
              <a:gd name="connsiteX5" fmla="*/ 0 w 1223963"/>
              <a:gd name="connsiteY5" fmla="*/ 261761 h 288926"/>
              <a:gd name="connsiteX6" fmla="*/ 0 w 1223963"/>
              <a:gd name="connsiteY6" fmla="*/ 257881 h 288926"/>
              <a:gd name="connsiteX7" fmla="*/ 3785 w 1223963"/>
              <a:gd name="connsiteY7" fmla="*/ 254000 h 288926"/>
              <a:gd name="connsiteX8" fmla="*/ 3742 w 1223963"/>
              <a:gd name="connsiteY8" fmla="*/ 215900 h 288926"/>
              <a:gd name="connsiteX9" fmla="*/ 104775 w 1223963"/>
              <a:gd name="connsiteY9" fmla="*/ 281238 h 288926"/>
              <a:gd name="connsiteX10" fmla="*/ 104775 w 1223963"/>
              <a:gd name="connsiteY10" fmla="*/ 285082 h 288926"/>
              <a:gd name="connsiteX11" fmla="*/ 101033 w 1223963"/>
              <a:gd name="connsiteY11" fmla="*/ 288925 h 288926"/>
              <a:gd name="connsiteX12" fmla="*/ 0 w 1223963"/>
              <a:gd name="connsiteY12" fmla="*/ 223587 h 288926"/>
              <a:gd name="connsiteX13" fmla="*/ 0 w 1223963"/>
              <a:gd name="connsiteY13" fmla="*/ 219744 h 288926"/>
              <a:gd name="connsiteX14" fmla="*/ 3742 w 1223963"/>
              <a:gd name="connsiteY14" fmla="*/ 215900 h 288926"/>
              <a:gd name="connsiteX15" fmla="*/ 3788 w 1223963"/>
              <a:gd name="connsiteY15" fmla="*/ 176213 h 288926"/>
              <a:gd name="connsiteX16" fmla="*/ 166688 w 1223963"/>
              <a:gd name="connsiteY16" fmla="*/ 281153 h 288926"/>
              <a:gd name="connsiteX17" fmla="*/ 166688 w 1223963"/>
              <a:gd name="connsiteY17" fmla="*/ 285039 h 288926"/>
              <a:gd name="connsiteX18" fmla="*/ 162900 w 1223963"/>
              <a:gd name="connsiteY18" fmla="*/ 288926 h 288926"/>
              <a:gd name="connsiteX19" fmla="*/ 0 w 1223963"/>
              <a:gd name="connsiteY19" fmla="*/ 183986 h 288926"/>
              <a:gd name="connsiteX20" fmla="*/ 0 w 1223963"/>
              <a:gd name="connsiteY20" fmla="*/ 180100 h 288926"/>
              <a:gd name="connsiteX21" fmla="*/ 3788 w 1223963"/>
              <a:gd name="connsiteY21" fmla="*/ 176213 h 288926"/>
              <a:gd name="connsiteX22" fmla="*/ 0 w 1223963"/>
              <a:gd name="connsiteY22" fmla="*/ 136525 h 288926"/>
              <a:gd name="connsiteX23" fmla="*/ 3783 w 1223963"/>
              <a:gd name="connsiteY23" fmla="*/ 136525 h 288926"/>
              <a:gd name="connsiteX24" fmla="*/ 227013 w 1223963"/>
              <a:gd name="connsiteY24" fmla="*/ 281110 h 288926"/>
              <a:gd name="connsiteX25" fmla="*/ 227013 w 1223963"/>
              <a:gd name="connsiteY25" fmla="*/ 285017 h 288926"/>
              <a:gd name="connsiteX26" fmla="*/ 223229 w 1223963"/>
              <a:gd name="connsiteY26" fmla="*/ 288925 h 288926"/>
              <a:gd name="connsiteX27" fmla="*/ 0 w 1223963"/>
              <a:gd name="connsiteY27" fmla="*/ 144341 h 288926"/>
              <a:gd name="connsiteX28" fmla="*/ 0 w 1223963"/>
              <a:gd name="connsiteY28" fmla="*/ 136525 h 288926"/>
              <a:gd name="connsiteX29" fmla="*/ 0 w 1223963"/>
              <a:gd name="connsiteY29" fmla="*/ 96838 h 288926"/>
              <a:gd name="connsiteX30" fmla="*/ 3781 w 1223963"/>
              <a:gd name="connsiteY30" fmla="*/ 96838 h 288926"/>
              <a:gd name="connsiteX31" fmla="*/ 287338 w 1223963"/>
              <a:gd name="connsiteY31" fmla="*/ 281086 h 288926"/>
              <a:gd name="connsiteX32" fmla="*/ 287338 w 1223963"/>
              <a:gd name="connsiteY32" fmla="*/ 285006 h 288926"/>
              <a:gd name="connsiteX33" fmla="*/ 283557 w 1223963"/>
              <a:gd name="connsiteY33" fmla="*/ 288926 h 288926"/>
              <a:gd name="connsiteX34" fmla="*/ 0 w 1223963"/>
              <a:gd name="connsiteY34" fmla="*/ 100758 h 288926"/>
              <a:gd name="connsiteX35" fmla="*/ 0 w 1223963"/>
              <a:gd name="connsiteY35" fmla="*/ 96838 h 288926"/>
              <a:gd name="connsiteX36" fmla="*/ 0 w 1223963"/>
              <a:gd name="connsiteY36" fmla="*/ 58738 h 288926"/>
              <a:gd name="connsiteX37" fmla="*/ 3779 w 1223963"/>
              <a:gd name="connsiteY37" fmla="*/ 58738 h 288926"/>
              <a:gd name="connsiteX38" fmla="*/ 347663 w 1223963"/>
              <a:gd name="connsiteY38" fmla="*/ 281123 h 288926"/>
              <a:gd name="connsiteX39" fmla="*/ 347663 w 1223963"/>
              <a:gd name="connsiteY39" fmla="*/ 285025 h 288926"/>
              <a:gd name="connsiteX40" fmla="*/ 343884 w 1223963"/>
              <a:gd name="connsiteY40" fmla="*/ 288926 h 288926"/>
              <a:gd name="connsiteX41" fmla="*/ 0 w 1223963"/>
              <a:gd name="connsiteY41" fmla="*/ 62640 h 288926"/>
              <a:gd name="connsiteX42" fmla="*/ 0 w 1223963"/>
              <a:gd name="connsiteY42" fmla="*/ 58738 h 288926"/>
              <a:gd name="connsiteX43" fmla="*/ 0 w 1223963"/>
              <a:gd name="connsiteY43" fmla="*/ 19050 h 288926"/>
              <a:gd name="connsiteX44" fmla="*/ 3778 w 1223963"/>
              <a:gd name="connsiteY44" fmla="*/ 19050 h 288926"/>
              <a:gd name="connsiteX45" fmla="*/ 407988 w 1223963"/>
              <a:gd name="connsiteY45" fmla="*/ 281103 h 288926"/>
              <a:gd name="connsiteX46" fmla="*/ 407988 w 1223963"/>
              <a:gd name="connsiteY46" fmla="*/ 285014 h 288926"/>
              <a:gd name="connsiteX47" fmla="*/ 404210 w 1223963"/>
              <a:gd name="connsiteY47" fmla="*/ 288925 h 288926"/>
              <a:gd name="connsiteX48" fmla="*/ 3778 w 1223963"/>
              <a:gd name="connsiteY48" fmla="*/ 26873 h 288926"/>
              <a:gd name="connsiteX49" fmla="*/ 0 w 1223963"/>
              <a:gd name="connsiteY49" fmla="*/ 22961 h 288926"/>
              <a:gd name="connsiteX50" fmla="*/ 0 w 1223963"/>
              <a:gd name="connsiteY50" fmla="*/ 19050 h 288926"/>
              <a:gd name="connsiteX51" fmla="*/ 1178536 w 1223963"/>
              <a:gd name="connsiteY51" fmla="*/ 0 h 288926"/>
              <a:gd name="connsiteX52" fmla="*/ 1182321 w 1223963"/>
              <a:gd name="connsiteY52" fmla="*/ 0 h 288926"/>
              <a:gd name="connsiteX53" fmla="*/ 1223963 w 1223963"/>
              <a:gd name="connsiteY53" fmla="*/ 27164 h 288926"/>
              <a:gd name="connsiteX54" fmla="*/ 1223963 w 1223963"/>
              <a:gd name="connsiteY54" fmla="*/ 31045 h 288926"/>
              <a:gd name="connsiteX55" fmla="*/ 1220178 w 1223963"/>
              <a:gd name="connsiteY55" fmla="*/ 34925 h 288926"/>
              <a:gd name="connsiteX56" fmla="*/ 1178536 w 1223963"/>
              <a:gd name="connsiteY56" fmla="*/ 7761 h 288926"/>
              <a:gd name="connsiteX57" fmla="*/ 1178536 w 1223963"/>
              <a:gd name="connsiteY57" fmla="*/ 3881 h 288926"/>
              <a:gd name="connsiteX58" fmla="*/ 1178536 w 1223963"/>
              <a:gd name="connsiteY58" fmla="*/ 0 h 288926"/>
              <a:gd name="connsiteX59" fmla="*/ 1122929 w 1223963"/>
              <a:gd name="connsiteY59" fmla="*/ 0 h 288926"/>
              <a:gd name="connsiteX60" fmla="*/ 1223962 w 1223963"/>
              <a:gd name="connsiteY60" fmla="*/ 66759 h 288926"/>
              <a:gd name="connsiteX61" fmla="*/ 1223962 w 1223963"/>
              <a:gd name="connsiteY61" fmla="*/ 70686 h 288926"/>
              <a:gd name="connsiteX62" fmla="*/ 1220220 w 1223963"/>
              <a:gd name="connsiteY62" fmla="*/ 74613 h 288926"/>
              <a:gd name="connsiteX63" fmla="*/ 1119187 w 1223963"/>
              <a:gd name="connsiteY63" fmla="*/ 7854 h 288926"/>
              <a:gd name="connsiteX64" fmla="*/ 1119187 w 1223963"/>
              <a:gd name="connsiteY64" fmla="*/ 3927 h 288926"/>
              <a:gd name="connsiteX65" fmla="*/ 1122929 w 1223963"/>
              <a:gd name="connsiteY65" fmla="*/ 0 h 288926"/>
              <a:gd name="connsiteX66" fmla="*/ 1062614 w 1223963"/>
              <a:gd name="connsiteY66" fmla="*/ 0 h 288926"/>
              <a:gd name="connsiteX67" fmla="*/ 1223962 w 1223963"/>
              <a:gd name="connsiteY67" fmla="*/ 104940 h 288926"/>
              <a:gd name="connsiteX68" fmla="*/ 1223962 w 1223963"/>
              <a:gd name="connsiteY68" fmla="*/ 108826 h 288926"/>
              <a:gd name="connsiteX69" fmla="*/ 1220210 w 1223963"/>
              <a:gd name="connsiteY69" fmla="*/ 112713 h 288926"/>
              <a:gd name="connsiteX70" fmla="*/ 1058862 w 1223963"/>
              <a:gd name="connsiteY70" fmla="*/ 7773 h 288926"/>
              <a:gd name="connsiteX71" fmla="*/ 1058862 w 1223963"/>
              <a:gd name="connsiteY71" fmla="*/ 3887 h 288926"/>
              <a:gd name="connsiteX72" fmla="*/ 1062614 w 1223963"/>
              <a:gd name="connsiteY72" fmla="*/ 0 h 288926"/>
              <a:gd name="connsiteX73" fmla="*/ 1000734 w 1223963"/>
              <a:gd name="connsiteY73" fmla="*/ 0 h 288926"/>
              <a:gd name="connsiteX74" fmla="*/ 1223963 w 1223963"/>
              <a:gd name="connsiteY74" fmla="*/ 144585 h 288926"/>
              <a:gd name="connsiteX75" fmla="*/ 1223963 w 1223963"/>
              <a:gd name="connsiteY75" fmla="*/ 152400 h 288926"/>
              <a:gd name="connsiteX76" fmla="*/ 1220180 w 1223963"/>
              <a:gd name="connsiteY76" fmla="*/ 152400 h 288926"/>
              <a:gd name="connsiteX77" fmla="*/ 996950 w 1223963"/>
              <a:gd name="connsiteY77" fmla="*/ 7816 h 288926"/>
              <a:gd name="connsiteX78" fmla="*/ 996950 w 1223963"/>
              <a:gd name="connsiteY78" fmla="*/ 3908 h 288926"/>
              <a:gd name="connsiteX79" fmla="*/ 1000734 w 1223963"/>
              <a:gd name="connsiteY79" fmla="*/ 0 h 288926"/>
              <a:gd name="connsiteX80" fmla="*/ 940406 w 1223963"/>
              <a:gd name="connsiteY80" fmla="*/ 0 h 288926"/>
              <a:gd name="connsiteX81" fmla="*/ 1223963 w 1223963"/>
              <a:gd name="connsiteY81" fmla="*/ 188168 h 288926"/>
              <a:gd name="connsiteX82" fmla="*/ 1223963 w 1223963"/>
              <a:gd name="connsiteY82" fmla="*/ 192088 h 288926"/>
              <a:gd name="connsiteX83" fmla="*/ 1220182 w 1223963"/>
              <a:gd name="connsiteY83" fmla="*/ 192088 h 288926"/>
              <a:gd name="connsiteX84" fmla="*/ 936625 w 1223963"/>
              <a:gd name="connsiteY84" fmla="*/ 7840 h 288926"/>
              <a:gd name="connsiteX85" fmla="*/ 936625 w 1223963"/>
              <a:gd name="connsiteY85" fmla="*/ 3920 h 288926"/>
              <a:gd name="connsiteX86" fmla="*/ 940406 w 1223963"/>
              <a:gd name="connsiteY86" fmla="*/ 0 h 288926"/>
              <a:gd name="connsiteX87" fmla="*/ 880079 w 1223963"/>
              <a:gd name="connsiteY87" fmla="*/ 0 h 288926"/>
              <a:gd name="connsiteX88" fmla="*/ 1223963 w 1223963"/>
              <a:gd name="connsiteY88" fmla="*/ 226287 h 288926"/>
              <a:gd name="connsiteX89" fmla="*/ 1223963 w 1223963"/>
              <a:gd name="connsiteY89" fmla="*/ 230188 h 288926"/>
              <a:gd name="connsiteX90" fmla="*/ 1220184 w 1223963"/>
              <a:gd name="connsiteY90" fmla="*/ 230188 h 288926"/>
              <a:gd name="connsiteX91" fmla="*/ 876300 w 1223963"/>
              <a:gd name="connsiteY91" fmla="*/ 7803 h 288926"/>
              <a:gd name="connsiteX92" fmla="*/ 876300 w 1223963"/>
              <a:gd name="connsiteY92" fmla="*/ 3902 h 288926"/>
              <a:gd name="connsiteX93" fmla="*/ 880079 w 1223963"/>
              <a:gd name="connsiteY93" fmla="*/ 0 h 288926"/>
              <a:gd name="connsiteX94" fmla="*/ 819753 w 1223963"/>
              <a:gd name="connsiteY94" fmla="*/ 0 h 288926"/>
              <a:gd name="connsiteX95" fmla="*/ 1220185 w 1223963"/>
              <a:gd name="connsiteY95" fmla="*/ 262053 h 288926"/>
              <a:gd name="connsiteX96" fmla="*/ 1223963 w 1223963"/>
              <a:gd name="connsiteY96" fmla="*/ 265964 h 288926"/>
              <a:gd name="connsiteX97" fmla="*/ 1223963 w 1223963"/>
              <a:gd name="connsiteY97" fmla="*/ 269875 h 288926"/>
              <a:gd name="connsiteX98" fmla="*/ 1220185 w 1223963"/>
              <a:gd name="connsiteY98" fmla="*/ 269875 h 288926"/>
              <a:gd name="connsiteX99" fmla="*/ 815975 w 1223963"/>
              <a:gd name="connsiteY99" fmla="*/ 7823 h 288926"/>
              <a:gd name="connsiteX100" fmla="*/ 815975 w 1223963"/>
              <a:gd name="connsiteY100" fmla="*/ 3911 h 288926"/>
              <a:gd name="connsiteX101" fmla="*/ 819753 w 1223963"/>
              <a:gd name="connsiteY101" fmla="*/ 0 h 288926"/>
              <a:gd name="connsiteX102" fmla="*/ 759433 w 1223963"/>
              <a:gd name="connsiteY102" fmla="*/ 0 h 288926"/>
              <a:gd name="connsiteX103" fmla="*/ 1190625 w 1223963"/>
              <a:gd name="connsiteY103" fmla="*/ 281116 h 288926"/>
              <a:gd name="connsiteX104" fmla="*/ 1190625 w 1223963"/>
              <a:gd name="connsiteY104" fmla="*/ 285021 h 288926"/>
              <a:gd name="connsiteX105" fmla="*/ 1190625 w 1223963"/>
              <a:gd name="connsiteY105" fmla="*/ 288925 h 288926"/>
              <a:gd name="connsiteX106" fmla="*/ 1186843 w 1223963"/>
              <a:gd name="connsiteY106" fmla="*/ 288925 h 288926"/>
              <a:gd name="connsiteX107" fmla="*/ 755650 w 1223963"/>
              <a:gd name="connsiteY107" fmla="*/ 7809 h 288926"/>
              <a:gd name="connsiteX108" fmla="*/ 755650 w 1223963"/>
              <a:gd name="connsiteY108" fmla="*/ 3905 h 288926"/>
              <a:gd name="connsiteX109" fmla="*/ 759433 w 1223963"/>
              <a:gd name="connsiteY109" fmla="*/ 0 h 288926"/>
              <a:gd name="connsiteX110" fmla="*/ 699102 w 1223963"/>
              <a:gd name="connsiteY110" fmla="*/ 0 h 288926"/>
              <a:gd name="connsiteX111" fmla="*/ 1129698 w 1223963"/>
              <a:gd name="connsiteY111" fmla="*/ 281116 h 288926"/>
              <a:gd name="connsiteX112" fmla="*/ 1129698 w 1223963"/>
              <a:gd name="connsiteY112" fmla="*/ 285021 h 288926"/>
              <a:gd name="connsiteX113" fmla="*/ 1129698 w 1223963"/>
              <a:gd name="connsiteY113" fmla="*/ 288925 h 288926"/>
              <a:gd name="connsiteX114" fmla="*/ 1125921 w 1223963"/>
              <a:gd name="connsiteY114" fmla="*/ 288925 h 288926"/>
              <a:gd name="connsiteX115" fmla="*/ 695325 w 1223963"/>
              <a:gd name="connsiteY115" fmla="*/ 7809 h 288926"/>
              <a:gd name="connsiteX116" fmla="*/ 695325 w 1223963"/>
              <a:gd name="connsiteY116" fmla="*/ 3905 h 288926"/>
              <a:gd name="connsiteX117" fmla="*/ 699102 w 1223963"/>
              <a:gd name="connsiteY117" fmla="*/ 0 h 288926"/>
              <a:gd name="connsiteX118" fmla="*/ 638777 w 1223963"/>
              <a:gd name="connsiteY118" fmla="*/ 0 h 288926"/>
              <a:gd name="connsiteX119" fmla="*/ 1069373 w 1223963"/>
              <a:gd name="connsiteY119" fmla="*/ 281116 h 288926"/>
              <a:gd name="connsiteX120" fmla="*/ 1069373 w 1223963"/>
              <a:gd name="connsiteY120" fmla="*/ 285021 h 288926"/>
              <a:gd name="connsiteX121" fmla="*/ 1069373 w 1223963"/>
              <a:gd name="connsiteY121" fmla="*/ 288925 h 288926"/>
              <a:gd name="connsiteX122" fmla="*/ 1065596 w 1223963"/>
              <a:gd name="connsiteY122" fmla="*/ 288925 h 288926"/>
              <a:gd name="connsiteX123" fmla="*/ 635000 w 1223963"/>
              <a:gd name="connsiteY123" fmla="*/ 7809 h 288926"/>
              <a:gd name="connsiteX124" fmla="*/ 635000 w 1223963"/>
              <a:gd name="connsiteY124" fmla="*/ 3905 h 288926"/>
              <a:gd name="connsiteX125" fmla="*/ 638777 w 1223963"/>
              <a:gd name="connsiteY125" fmla="*/ 0 h 288926"/>
              <a:gd name="connsiteX126" fmla="*/ 578452 w 1223963"/>
              <a:gd name="connsiteY126" fmla="*/ 0 h 288926"/>
              <a:gd name="connsiteX127" fmla="*/ 1009048 w 1223963"/>
              <a:gd name="connsiteY127" fmla="*/ 281116 h 288926"/>
              <a:gd name="connsiteX128" fmla="*/ 1009048 w 1223963"/>
              <a:gd name="connsiteY128" fmla="*/ 285021 h 288926"/>
              <a:gd name="connsiteX129" fmla="*/ 1009048 w 1223963"/>
              <a:gd name="connsiteY129" fmla="*/ 288925 h 288926"/>
              <a:gd name="connsiteX130" fmla="*/ 1005271 w 1223963"/>
              <a:gd name="connsiteY130" fmla="*/ 288925 h 288926"/>
              <a:gd name="connsiteX131" fmla="*/ 578452 w 1223963"/>
              <a:gd name="connsiteY131" fmla="*/ 7809 h 288926"/>
              <a:gd name="connsiteX132" fmla="*/ 574675 w 1223963"/>
              <a:gd name="connsiteY132" fmla="*/ 3905 h 288926"/>
              <a:gd name="connsiteX133" fmla="*/ 578452 w 1223963"/>
              <a:gd name="connsiteY133" fmla="*/ 0 h 288926"/>
              <a:gd name="connsiteX134" fmla="*/ 518127 w 1223963"/>
              <a:gd name="connsiteY134" fmla="*/ 0 h 288926"/>
              <a:gd name="connsiteX135" fmla="*/ 521904 w 1223963"/>
              <a:gd name="connsiteY135" fmla="*/ 0 h 288926"/>
              <a:gd name="connsiteX136" fmla="*/ 948723 w 1223963"/>
              <a:gd name="connsiteY136" fmla="*/ 281116 h 288926"/>
              <a:gd name="connsiteX137" fmla="*/ 948723 w 1223963"/>
              <a:gd name="connsiteY137" fmla="*/ 285021 h 288926"/>
              <a:gd name="connsiteX138" fmla="*/ 948723 w 1223963"/>
              <a:gd name="connsiteY138" fmla="*/ 288925 h 288926"/>
              <a:gd name="connsiteX139" fmla="*/ 944946 w 1223963"/>
              <a:gd name="connsiteY139" fmla="*/ 288925 h 288926"/>
              <a:gd name="connsiteX140" fmla="*/ 518127 w 1223963"/>
              <a:gd name="connsiteY140" fmla="*/ 7809 h 288926"/>
              <a:gd name="connsiteX141" fmla="*/ 514350 w 1223963"/>
              <a:gd name="connsiteY141" fmla="*/ 3905 h 288926"/>
              <a:gd name="connsiteX142" fmla="*/ 518127 w 1223963"/>
              <a:gd name="connsiteY142" fmla="*/ 0 h 288926"/>
              <a:gd name="connsiteX143" fmla="*/ 457802 w 1223963"/>
              <a:gd name="connsiteY143" fmla="*/ 0 h 288926"/>
              <a:gd name="connsiteX144" fmla="*/ 461579 w 1223963"/>
              <a:gd name="connsiteY144" fmla="*/ 0 h 288926"/>
              <a:gd name="connsiteX145" fmla="*/ 888398 w 1223963"/>
              <a:gd name="connsiteY145" fmla="*/ 281116 h 288926"/>
              <a:gd name="connsiteX146" fmla="*/ 892175 w 1223963"/>
              <a:gd name="connsiteY146" fmla="*/ 285021 h 288926"/>
              <a:gd name="connsiteX147" fmla="*/ 888398 w 1223963"/>
              <a:gd name="connsiteY147" fmla="*/ 288925 h 288926"/>
              <a:gd name="connsiteX148" fmla="*/ 884621 w 1223963"/>
              <a:gd name="connsiteY148" fmla="*/ 288925 h 288926"/>
              <a:gd name="connsiteX149" fmla="*/ 457802 w 1223963"/>
              <a:gd name="connsiteY149" fmla="*/ 7809 h 288926"/>
              <a:gd name="connsiteX150" fmla="*/ 454025 w 1223963"/>
              <a:gd name="connsiteY150" fmla="*/ 3905 h 288926"/>
              <a:gd name="connsiteX151" fmla="*/ 457802 w 1223963"/>
              <a:gd name="connsiteY151" fmla="*/ 0 h 288926"/>
              <a:gd name="connsiteX152" fmla="*/ 395903 w 1223963"/>
              <a:gd name="connsiteY152" fmla="*/ 0 h 288926"/>
              <a:gd name="connsiteX153" fmla="*/ 399694 w 1223963"/>
              <a:gd name="connsiteY153" fmla="*/ 0 h 288926"/>
              <a:gd name="connsiteX154" fmla="*/ 828059 w 1223963"/>
              <a:gd name="connsiteY154" fmla="*/ 281116 h 288926"/>
              <a:gd name="connsiteX155" fmla="*/ 831850 w 1223963"/>
              <a:gd name="connsiteY155" fmla="*/ 285021 h 288926"/>
              <a:gd name="connsiteX156" fmla="*/ 828059 w 1223963"/>
              <a:gd name="connsiteY156" fmla="*/ 288925 h 288926"/>
              <a:gd name="connsiteX157" fmla="*/ 824268 w 1223963"/>
              <a:gd name="connsiteY157" fmla="*/ 288925 h 288926"/>
              <a:gd name="connsiteX158" fmla="*/ 395903 w 1223963"/>
              <a:gd name="connsiteY158" fmla="*/ 7809 h 288926"/>
              <a:gd name="connsiteX159" fmla="*/ 392112 w 1223963"/>
              <a:gd name="connsiteY159" fmla="*/ 3905 h 288926"/>
              <a:gd name="connsiteX160" fmla="*/ 395903 w 1223963"/>
              <a:gd name="connsiteY160" fmla="*/ 0 h 288926"/>
              <a:gd name="connsiteX161" fmla="*/ 335578 w 1223963"/>
              <a:gd name="connsiteY161" fmla="*/ 0 h 288926"/>
              <a:gd name="connsiteX162" fmla="*/ 339369 w 1223963"/>
              <a:gd name="connsiteY162" fmla="*/ 0 h 288926"/>
              <a:gd name="connsiteX163" fmla="*/ 767734 w 1223963"/>
              <a:gd name="connsiteY163" fmla="*/ 281116 h 288926"/>
              <a:gd name="connsiteX164" fmla="*/ 771525 w 1223963"/>
              <a:gd name="connsiteY164" fmla="*/ 285021 h 288926"/>
              <a:gd name="connsiteX165" fmla="*/ 767734 w 1223963"/>
              <a:gd name="connsiteY165" fmla="*/ 288925 h 288926"/>
              <a:gd name="connsiteX166" fmla="*/ 763943 w 1223963"/>
              <a:gd name="connsiteY166" fmla="*/ 288925 h 288926"/>
              <a:gd name="connsiteX167" fmla="*/ 335578 w 1223963"/>
              <a:gd name="connsiteY167" fmla="*/ 7809 h 288926"/>
              <a:gd name="connsiteX168" fmla="*/ 331787 w 1223963"/>
              <a:gd name="connsiteY168" fmla="*/ 3905 h 288926"/>
              <a:gd name="connsiteX169" fmla="*/ 335578 w 1223963"/>
              <a:gd name="connsiteY169" fmla="*/ 0 h 288926"/>
              <a:gd name="connsiteX170" fmla="*/ 275239 w 1223963"/>
              <a:gd name="connsiteY170" fmla="*/ 0 h 288926"/>
              <a:gd name="connsiteX171" fmla="*/ 279016 w 1223963"/>
              <a:gd name="connsiteY171" fmla="*/ 0 h 288926"/>
              <a:gd name="connsiteX172" fmla="*/ 705835 w 1223963"/>
              <a:gd name="connsiteY172" fmla="*/ 281116 h 288926"/>
              <a:gd name="connsiteX173" fmla="*/ 709612 w 1223963"/>
              <a:gd name="connsiteY173" fmla="*/ 285021 h 288926"/>
              <a:gd name="connsiteX174" fmla="*/ 705835 w 1223963"/>
              <a:gd name="connsiteY174" fmla="*/ 288925 h 288926"/>
              <a:gd name="connsiteX175" fmla="*/ 702058 w 1223963"/>
              <a:gd name="connsiteY175" fmla="*/ 288925 h 288926"/>
              <a:gd name="connsiteX176" fmla="*/ 275239 w 1223963"/>
              <a:gd name="connsiteY176" fmla="*/ 7809 h 288926"/>
              <a:gd name="connsiteX177" fmla="*/ 275239 w 1223963"/>
              <a:gd name="connsiteY177" fmla="*/ 3905 h 288926"/>
              <a:gd name="connsiteX178" fmla="*/ 275239 w 1223963"/>
              <a:gd name="connsiteY178" fmla="*/ 0 h 288926"/>
              <a:gd name="connsiteX179" fmla="*/ 214914 w 1223963"/>
              <a:gd name="connsiteY179" fmla="*/ 0 h 288926"/>
              <a:gd name="connsiteX180" fmla="*/ 218691 w 1223963"/>
              <a:gd name="connsiteY180" fmla="*/ 0 h 288926"/>
              <a:gd name="connsiteX181" fmla="*/ 645510 w 1223963"/>
              <a:gd name="connsiteY181" fmla="*/ 281116 h 288926"/>
              <a:gd name="connsiteX182" fmla="*/ 649287 w 1223963"/>
              <a:gd name="connsiteY182" fmla="*/ 285021 h 288926"/>
              <a:gd name="connsiteX183" fmla="*/ 645510 w 1223963"/>
              <a:gd name="connsiteY183" fmla="*/ 288925 h 288926"/>
              <a:gd name="connsiteX184" fmla="*/ 214914 w 1223963"/>
              <a:gd name="connsiteY184" fmla="*/ 7809 h 288926"/>
              <a:gd name="connsiteX185" fmla="*/ 214914 w 1223963"/>
              <a:gd name="connsiteY185" fmla="*/ 3905 h 288926"/>
              <a:gd name="connsiteX186" fmla="*/ 214914 w 1223963"/>
              <a:gd name="connsiteY186" fmla="*/ 0 h 288926"/>
              <a:gd name="connsiteX187" fmla="*/ 154589 w 1223963"/>
              <a:gd name="connsiteY187" fmla="*/ 0 h 288926"/>
              <a:gd name="connsiteX188" fmla="*/ 158366 w 1223963"/>
              <a:gd name="connsiteY188" fmla="*/ 0 h 288926"/>
              <a:gd name="connsiteX189" fmla="*/ 588962 w 1223963"/>
              <a:gd name="connsiteY189" fmla="*/ 281116 h 288926"/>
              <a:gd name="connsiteX190" fmla="*/ 588962 w 1223963"/>
              <a:gd name="connsiteY190" fmla="*/ 285021 h 288926"/>
              <a:gd name="connsiteX191" fmla="*/ 585185 w 1223963"/>
              <a:gd name="connsiteY191" fmla="*/ 288925 h 288926"/>
              <a:gd name="connsiteX192" fmla="*/ 154589 w 1223963"/>
              <a:gd name="connsiteY192" fmla="*/ 7809 h 288926"/>
              <a:gd name="connsiteX193" fmla="*/ 154589 w 1223963"/>
              <a:gd name="connsiteY193" fmla="*/ 3905 h 288926"/>
              <a:gd name="connsiteX194" fmla="*/ 154589 w 1223963"/>
              <a:gd name="connsiteY194" fmla="*/ 0 h 288926"/>
              <a:gd name="connsiteX195" fmla="*/ 94264 w 1223963"/>
              <a:gd name="connsiteY195" fmla="*/ 0 h 288926"/>
              <a:gd name="connsiteX196" fmla="*/ 98041 w 1223963"/>
              <a:gd name="connsiteY196" fmla="*/ 0 h 288926"/>
              <a:gd name="connsiteX197" fmla="*/ 528637 w 1223963"/>
              <a:gd name="connsiteY197" fmla="*/ 281116 h 288926"/>
              <a:gd name="connsiteX198" fmla="*/ 528637 w 1223963"/>
              <a:gd name="connsiteY198" fmla="*/ 285021 h 288926"/>
              <a:gd name="connsiteX199" fmla="*/ 524860 w 1223963"/>
              <a:gd name="connsiteY199" fmla="*/ 288925 h 288926"/>
              <a:gd name="connsiteX200" fmla="*/ 94264 w 1223963"/>
              <a:gd name="connsiteY200" fmla="*/ 7809 h 288926"/>
              <a:gd name="connsiteX201" fmla="*/ 94264 w 1223963"/>
              <a:gd name="connsiteY201" fmla="*/ 3905 h 288926"/>
              <a:gd name="connsiteX202" fmla="*/ 94264 w 1223963"/>
              <a:gd name="connsiteY202" fmla="*/ 0 h 288926"/>
              <a:gd name="connsiteX203" fmla="*/ 33337 w 1223963"/>
              <a:gd name="connsiteY203" fmla="*/ 0 h 288926"/>
              <a:gd name="connsiteX204" fmla="*/ 37119 w 1223963"/>
              <a:gd name="connsiteY204" fmla="*/ 0 h 288926"/>
              <a:gd name="connsiteX205" fmla="*/ 468312 w 1223963"/>
              <a:gd name="connsiteY205" fmla="*/ 281116 h 288926"/>
              <a:gd name="connsiteX206" fmla="*/ 468312 w 1223963"/>
              <a:gd name="connsiteY206" fmla="*/ 285021 h 288926"/>
              <a:gd name="connsiteX207" fmla="*/ 464529 w 1223963"/>
              <a:gd name="connsiteY207" fmla="*/ 288925 h 288926"/>
              <a:gd name="connsiteX208" fmla="*/ 33337 w 1223963"/>
              <a:gd name="connsiteY208" fmla="*/ 7809 h 288926"/>
              <a:gd name="connsiteX209" fmla="*/ 33337 w 1223963"/>
              <a:gd name="connsiteY209" fmla="*/ 3905 h 288926"/>
              <a:gd name="connsiteX210" fmla="*/ 33337 w 1223963"/>
              <a:gd name="connsiteY210" fmla="*/ 0 h 288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223963" h="288926">
                <a:moveTo>
                  <a:pt x="3785" y="254000"/>
                </a:moveTo>
                <a:cubicBezTo>
                  <a:pt x="3785" y="254000"/>
                  <a:pt x="3785" y="254000"/>
                  <a:pt x="45427" y="281164"/>
                </a:cubicBezTo>
                <a:cubicBezTo>
                  <a:pt x="45427" y="285045"/>
                  <a:pt x="49213" y="285045"/>
                  <a:pt x="45427" y="285045"/>
                </a:cubicBezTo>
                <a:cubicBezTo>
                  <a:pt x="45427" y="285045"/>
                  <a:pt x="45427" y="285045"/>
                  <a:pt x="45427" y="288925"/>
                </a:cubicBezTo>
                <a:cubicBezTo>
                  <a:pt x="45427" y="288925"/>
                  <a:pt x="45427" y="288925"/>
                  <a:pt x="41642" y="288925"/>
                </a:cubicBezTo>
                <a:cubicBezTo>
                  <a:pt x="41642" y="288925"/>
                  <a:pt x="41642" y="288925"/>
                  <a:pt x="0" y="261761"/>
                </a:cubicBezTo>
                <a:cubicBezTo>
                  <a:pt x="0" y="261761"/>
                  <a:pt x="0" y="257881"/>
                  <a:pt x="0" y="257881"/>
                </a:cubicBezTo>
                <a:cubicBezTo>
                  <a:pt x="0" y="254000"/>
                  <a:pt x="0" y="254000"/>
                  <a:pt x="3785" y="254000"/>
                </a:cubicBezTo>
                <a:close/>
                <a:moveTo>
                  <a:pt x="3742" y="215900"/>
                </a:moveTo>
                <a:cubicBezTo>
                  <a:pt x="3742" y="215900"/>
                  <a:pt x="3742" y="215900"/>
                  <a:pt x="104775" y="281238"/>
                </a:cubicBezTo>
                <a:cubicBezTo>
                  <a:pt x="104775" y="285082"/>
                  <a:pt x="104775" y="285082"/>
                  <a:pt x="104775" y="285082"/>
                </a:cubicBezTo>
                <a:cubicBezTo>
                  <a:pt x="104775" y="285082"/>
                  <a:pt x="104775" y="285082"/>
                  <a:pt x="101033" y="288925"/>
                </a:cubicBezTo>
                <a:cubicBezTo>
                  <a:pt x="101033" y="288925"/>
                  <a:pt x="101033" y="288925"/>
                  <a:pt x="0" y="223587"/>
                </a:cubicBezTo>
                <a:cubicBezTo>
                  <a:pt x="0" y="223587"/>
                  <a:pt x="0" y="219744"/>
                  <a:pt x="0" y="219744"/>
                </a:cubicBezTo>
                <a:cubicBezTo>
                  <a:pt x="0" y="215900"/>
                  <a:pt x="0" y="215900"/>
                  <a:pt x="3742" y="215900"/>
                </a:cubicBezTo>
                <a:close/>
                <a:moveTo>
                  <a:pt x="3788" y="176213"/>
                </a:moveTo>
                <a:cubicBezTo>
                  <a:pt x="3788" y="176213"/>
                  <a:pt x="3788" y="176213"/>
                  <a:pt x="166688" y="281153"/>
                </a:cubicBezTo>
                <a:cubicBezTo>
                  <a:pt x="166688" y="285039"/>
                  <a:pt x="166688" y="285039"/>
                  <a:pt x="166688" y="285039"/>
                </a:cubicBezTo>
                <a:cubicBezTo>
                  <a:pt x="166688" y="285039"/>
                  <a:pt x="166688" y="285039"/>
                  <a:pt x="162900" y="288926"/>
                </a:cubicBezTo>
                <a:cubicBezTo>
                  <a:pt x="162900" y="288926"/>
                  <a:pt x="162900" y="288926"/>
                  <a:pt x="0" y="183986"/>
                </a:cubicBezTo>
                <a:cubicBezTo>
                  <a:pt x="0" y="180100"/>
                  <a:pt x="0" y="180100"/>
                  <a:pt x="0" y="180100"/>
                </a:cubicBezTo>
                <a:cubicBezTo>
                  <a:pt x="0" y="176213"/>
                  <a:pt x="0" y="176213"/>
                  <a:pt x="3788" y="176213"/>
                </a:cubicBezTo>
                <a:close/>
                <a:moveTo>
                  <a:pt x="0" y="136525"/>
                </a:moveTo>
                <a:cubicBezTo>
                  <a:pt x="0" y="136525"/>
                  <a:pt x="0" y="136525"/>
                  <a:pt x="3783" y="136525"/>
                </a:cubicBezTo>
                <a:cubicBezTo>
                  <a:pt x="3783" y="136525"/>
                  <a:pt x="3783" y="136525"/>
                  <a:pt x="227013" y="281110"/>
                </a:cubicBezTo>
                <a:cubicBezTo>
                  <a:pt x="227013" y="285017"/>
                  <a:pt x="227013" y="285017"/>
                  <a:pt x="227013" y="285017"/>
                </a:cubicBezTo>
                <a:cubicBezTo>
                  <a:pt x="227013" y="285017"/>
                  <a:pt x="227013" y="285017"/>
                  <a:pt x="223229" y="288925"/>
                </a:cubicBezTo>
                <a:cubicBezTo>
                  <a:pt x="223229" y="288925"/>
                  <a:pt x="223229" y="288925"/>
                  <a:pt x="0" y="144341"/>
                </a:cubicBezTo>
                <a:cubicBezTo>
                  <a:pt x="0" y="140433"/>
                  <a:pt x="0" y="140433"/>
                  <a:pt x="0" y="136525"/>
                </a:cubicBezTo>
                <a:close/>
                <a:moveTo>
                  <a:pt x="0" y="96838"/>
                </a:moveTo>
                <a:cubicBezTo>
                  <a:pt x="0" y="96838"/>
                  <a:pt x="0" y="96838"/>
                  <a:pt x="3781" y="96838"/>
                </a:cubicBezTo>
                <a:cubicBezTo>
                  <a:pt x="3781" y="96838"/>
                  <a:pt x="3781" y="96838"/>
                  <a:pt x="287338" y="281086"/>
                </a:cubicBezTo>
                <a:cubicBezTo>
                  <a:pt x="287338" y="285006"/>
                  <a:pt x="287338" y="285006"/>
                  <a:pt x="287338" y="285006"/>
                </a:cubicBezTo>
                <a:cubicBezTo>
                  <a:pt x="287338" y="285006"/>
                  <a:pt x="287338" y="285006"/>
                  <a:pt x="283557" y="288926"/>
                </a:cubicBezTo>
                <a:cubicBezTo>
                  <a:pt x="283557" y="288926"/>
                  <a:pt x="283557" y="288926"/>
                  <a:pt x="0" y="100758"/>
                </a:cubicBezTo>
                <a:cubicBezTo>
                  <a:pt x="0" y="100758"/>
                  <a:pt x="0" y="100758"/>
                  <a:pt x="0" y="96838"/>
                </a:cubicBezTo>
                <a:close/>
                <a:moveTo>
                  <a:pt x="0" y="58738"/>
                </a:moveTo>
                <a:cubicBezTo>
                  <a:pt x="0" y="58738"/>
                  <a:pt x="0" y="58738"/>
                  <a:pt x="3779" y="58738"/>
                </a:cubicBezTo>
                <a:cubicBezTo>
                  <a:pt x="3779" y="58738"/>
                  <a:pt x="3779" y="58738"/>
                  <a:pt x="347663" y="281123"/>
                </a:cubicBezTo>
                <a:cubicBezTo>
                  <a:pt x="347663" y="285025"/>
                  <a:pt x="347663" y="285025"/>
                  <a:pt x="347663" y="285025"/>
                </a:cubicBezTo>
                <a:cubicBezTo>
                  <a:pt x="347663" y="285025"/>
                  <a:pt x="347663" y="285025"/>
                  <a:pt x="343884" y="288926"/>
                </a:cubicBezTo>
                <a:cubicBezTo>
                  <a:pt x="343884" y="288926"/>
                  <a:pt x="343884" y="288926"/>
                  <a:pt x="0" y="62640"/>
                </a:cubicBezTo>
                <a:cubicBezTo>
                  <a:pt x="0" y="62640"/>
                  <a:pt x="0" y="62640"/>
                  <a:pt x="0" y="58738"/>
                </a:cubicBezTo>
                <a:close/>
                <a:moveTo>
                  <a:pt x="0" y="19050"/>
                </a:moveTo>
                <a:cubicBezTo>
                  <a:pt x="0" y="19050"/>
                  <a:pt x="0" y="19050"/>
                  <a:pt x="3778" y="19050"/>
                </a:cubicBezTo>
                <a:cubicBezTo>
                  <a:pt x="3778" y="19050"/>
                  <a:pt x="3778" y="19050"/>
                  <a:pt x="407988" y="281103"/>
                </a:cubicBezTo>
                <a:cubicBezTo>
                  <a:pt x="407988" y="285014"/>
                  <a:pt x="407988" y="285014"/>
                  <a:pt x="407988" y="285014"/>
                </a:cubicBezTo>
                <a:cubicBezTo>
                  <a:pt x="407988" y="285014"/>
                  <a:pt x="407988" y="285014"/>
                  <a:pt x="404210" y="288925"/>
                </a:cubicBezTo>
                <a:cubicBezTo>
                  <a:pt x="404210" y="288925"/>
                  <a:pt x="404210" y="288925"/>
                  <a:pt x="3778" y="26873"/>
                </a:cubicBezTo>
                <a:cubicBezTo>
                  <a:pt x="0" y="26873"/>
                  <a:pt x="0" y="22961"/>
                  <a:pt x="0" y="22961"/>
                </a:cubicBezTo>
                <a:cubicBezTo>
                  <a:pt x="0" y="22961"/>
                  <a:pt x="0" y="22961"/>
                  <a:pt x="0" y="19050"/>
                </a:cubicBezTo>
                <a:close/>
                <a:moveTo>
                  <a:pt x="1178536" y="0"/>
                </a:moveTo>
                <a:cubicBezTo>
                  <a:pt x="1182321" y="0"/>
                  <a:pt x="1182321" y="0"/>
                  <a:pt x="1182321" y="0"/>
                </a:cubicBezTo>
                <a:cubicBezTo>
                  <a:pt x="1182321" y="0"/>
                  <a:pt x="1182321" y="0"/>
                  <a:pt x="1223963" y="27164"/>
                </a:cubicBezTo>
                <a:cubicBezTo>
                  <a:pt x="1223963" y="27164"/>
                  <a:pt x="1223963" y="31045"/>
                  <a:pt x="1223963" y="31045"/>
                </a:cubicBezTo>
                <a:cubicBezTo>
                  <a:pt x="1223963" y="31045"/>
                  <a:pt x="1223963" y="31045"/>
                  <a:pt x="1220178" y="34925"/>
                </a:cubicBezTo>
                <a:cubicBezTo>
                  <a:pt x="1220178" y="34925"/>
                  <a:pt x="1220178" y="34925"/>
                  <a:pt x="1178536" y="7761"/>
                </a:cubicBezTo>
                <a:cubicBezTo>
                  <a:pt x="1178536" y="3881"/>
                  <a:pt x="1174750" y="3881"/>
                  <a:pt x="1178536" y="3881"/>
                </a:cubicBezTo>
                <a:cubicBezTo>
                  <a:pt x="1178536" y="0"/>
                  <a:pt x="1178536" y="0"/>
                  <a:pt x="1178536" y="0"/>
                </a:cubicBezTo>
                <a:close/>
                <a:moveTo>
                  <a:pt x="1122929" y="0"/>
                </a:moveTo>
                <a:cubicBezTo>
                  <a:pt x="1122929" y="0"/>
                  <a:pt x="1122929" y="0"/>
                  <a:pt x="1223962" y="66759"/>
                </a:cubicBezTo>
                <a:cubicBezTo>
                  <a:pt x="1223962" y="66759"/>
                  <a:pt x="1223962" y="70686"/>
                  <a:pt x="1223962" y="70686"/>
                </a:cubicBezTo>
                <a:cubicBezTo>
                  <a:pt x="1223962" y="70686"/>
                  <a:pt x="1223962" y="70686"/>
                  <a:pt x="1220220" y="74613"/>
                </a:cubicBezTo>
                <a:cubicBezTo>
                  <a:pt x="1220220" y="74613"/>
                  <a:pt x="1220220" y="74613"/>
                  <a:pt x="1119187" y="7854"/>
                </a:cubicBezTo>
                <a:cubicBezTo>
                  <a:pt x="1119187" y="3927"/>
                  <a:pt x="1119187" y="3927"/>
                  <a:pt x="1119187" y="3927"/>
                </a:cubicBezTo>
                <a:cubicBezTo>
                  <a:pt x="1119187" y="0"/>
                  <a:pt x="1119187" y="0"/>
                  <a:pt x="1122929" y="0"/>
                </a:cubicBezTo>
                <a:close/>
                <a:moveTo>
                  <a:pt x="1062614" y="0"/>
                </a:moveTo>
                <a:cubicBezTo>
                  <a:pt x="1062614" y="0"/>
                  <a:pt x="1062614" y="0"/>
                  <a:pt x="1223962" y="104940"/>
                </a:cubicBezTo>
                <a:cubicBezTo>
                  <a:pt x="1223962" y="108826"/>
                  <a:pt x="1223962" y="108826"/>
                  <a:pt x="1223962" y="108826"/>
                </a:cubicBezTo>
                <a:cubicBezTo>
                  <a:pt x="1223962" y="108826"/>
                  <a:pt x="1223962" y="108826"/>
                  <a:pt x="1220210" y="112713"/>
                </a:cubicBezTo>
                <a:cubicBezTo>
                  <a:pt x="1220210" y="112713"/>
                  <a:pt x="1220210" y="112713"/>
                  <a:pt x="1058862" y="7773"/>
                </a:cubicBezTo>
                <a:cubicBezTo>
                  <a:pt x="1058862" y="3887"/>
                  <a:pt x="1058862" y="3887"/>
                  <a:pt x="1058862" y="3887"/>
                </a:cubicBezTo>
                <a:cubicBezTo>
                  <a:pt x="1058862" y="0"/>
                  <a:pt x="1058862" y="0"/>
                  <a:pt x="1062614" y="0"/>
                </a:cubicBezTo>
                <a:close/>
                <a:moveTo>
                  <a:pt x="1000734" y="0"/>
                </a:moveTo>
                <a:cubicBezTo>
                  <a:pt x="1000734" y="0"/>
                  <a:pt x="1000734" y="0"/>
                  <a:pt x="1223963" y="144585"/>
                </a:cubicBezTo>
                <a:cubicBezTo>
                  <a:pt x="1223963" y="148492"/>
                  <a:pt x="1223963" y="148492"/>
                  <a:pt x="1223963" y="152400"/>
                </a:cubicBezTo>
                <a:cubicBezTo>
                  <a:pt x="1223963" y="152400"/>
                  <a:pt x="1223963" y="152400"/>
                  <a:pt x="1220180" y="152400"/>
                </a:cubicBezTo>
                <a:cubicBezTo>
                  <a:pt x="1220180" y="152400"/>
                  <a:pt x="1220180" y="152400"/>
                  <a:pt x="996950" y="7816"/>
                </a:cubicBezTo>
                <a:cubicBezTo>
                  <a:pt x="996950" y="3908"/>
                  <a:pt x="996950" y="3908"/>
                  <a:pt x="996950" y="3908"/>
                </a:cubicBezTo>
                <a:cubicBezTo>
                  <a:pt x="996950" y="0"/>
                  <a:pt x="996950" y="0"/>
                  <a:pt x="1000734" y="0"/>
                </a:cubicBezTo>
                <a:close/>
                <a:moveTo>
                  <a:pt x="940406" y="0"/>
                </a:moveTo>
                <a:cubicBezTo>
                  <a:pt x="940406" y="0"/>
                  <a:pt x="940406" y="0"/>
                  <a:pt x="1223963" y="188168"/>
                </a:cubicBezTo>
                <a:cubicBezTo>
                  <a:pt x="1223963" y="188168"/>
                  <a:pt x="1223963" y="188168"/>
                  <a:pt x="1223963" y="192088"/>
                </a:cubicBezTo>
                <a:cubicBezTo>
                  <a:pt x="1223963" y="192088"/>
                  <a:pt x="1223963" y="192088"/>
                  <a:pt x="1220182" y="192088"/>
                </a:cubicBezTo>
                <a:cubicBezTo>
                  <a:pt x="1220182" y="192088"/>
                  <a:pt x="1220182" y="192088"/>
                  <a:pt x="936625" y="7840"/>
                </a:cubicBezTo>
                <a:cubicBezTo>
                  <a:pt x="936625" y="3920"/>
                  <a:pt x="936625" y="3920"/>
                  <a:pt x="936625" y="3920"/>
                </a:cubicBezTo>
                <a:cubicBezTo>
                  <a:pt x="936625" y="0"/>
                  <a:pt x="936625" y="0"/>
                  <a:pt x="940406" y="0"/>
                </a:cubicBezTo>
                <a:close/>
                <a:moveTo>
                  <a:pt x="880079" y="0"/>
                </a:moveTo>
                <a:cubicBezTo>
                  <a:pt x="880079" y="0"/>
                  <a:pt x="880079" y="0"/>
                  <a:pt x="1223963" y="226287"/>
                </a:cubicBezTo>
                <a:cubicBezTo>
                  <a:pt x="1223963" y="226287"/>
                  <a:pt x="1223963" y="226287"/>
                  <a:pt x="1223963" y="230188"/>
                </a:cubicBezTo>
                <a:cubicBezTo>
                  <a:pt x="1223963" y="230188"/>
                  <a:pt x="1223963" y="230188"/>
                  <a:pt x="1220184" y="230188"/>
                </a:cubicBezTo>
                <a:cubicBezTo>
                  <a:pt x="1220184" y="230188"/>
                  <a:pt x="1220184" y="230188"/>
                  <a:pt x="876300" y="7803"/>
                </a:cubicBezTo>
                <a:cubicBezTo>
                  <a:pt x="876300" y="3902"/>
                  <a:pt x="876300" y="3902"/>
                  <a:pt x="876300" y="3902"/>
                </a:cubicBezTo>
                <a:cubicBezTo>
                  <a:pt x="876300" y="0"/>
                  <a:pt x="876300" y="0"/>
                  <a:pt x="880079" y="0"/>
                </a:cubicBezTo>
                <a:close/>
                <a:moveTo>
                  <a:pt x="819753" y="0"/>
                </a:moveTo>
                <a:cubicBezTo>
                  <a:pt x="819753" y="0"/>
                  <a:pt x="819753" y="0"/>
                  <a:pt x="1220185" y="262053"/>
                </a:cubicBezTo>
                <a:cubicBezTo>
                  <a:pt x="1223963" y="262053"/>
                  <a:pt x="1223963" y="265964"/>
                  <a:pt x="1223963" y="265964"/>
                </a:cubicBezTo>
                <a:cubicBezTo>
                  <a:pt x="1223963" y="265964"/>
                  <a:pt x="1223963" y="265964"/>
                  <a:pt x="1223963" y="269875"/>
                </a:cubicBezTo>
                <a:cubicBezTo>
                  <a:pt x="1223963" y="269875"/>
                  <a:pt x="1223963" y="269875"/>
                  <a:pt x="1220185" y="269875"/>
                </a:cubicBezTo>
                <a:cubicBezTo>
                  <a:pt x="1220185" y="269875"/>
                  <a:pt x="1220185" y="269875"/>
                  <a:pt x="815975" y="7823"/>
                </a:cubicBezTo>
                <a:cubicBezTo>
                  <a:pt x="815975" y="3911"/>
                  <a:pt x="815975" y="3911"/>
                  <a:pt x="815975" y="3911"/>
                </a:cubicBezTo>
                <a:cubicBezTo>
                  <a:pt x="815975" y="0"/>
                  <a:pt x="815975" y="0"/>
                  <a:pt x="819753" y="0"/>
                </a:cubicBezTo>
                <a:close/>
                <a:moveTo>
                  <a:pt x="759433" y="0"/>
                </a:moveTo>
                <a:cubicBezTo>
                  <a:pt x="759433" y="0"/>
                  <a:pt x="759433" y="0"/>
                  <a:pt x="1190625" y="281116"/>
                </a:cubicBezTo>
                <a:cubicBezTo>
                  <a:pt x="1190625" y="285021"/>
                  <a:pt x="1190625" y="285021"/>
                  <a:pt x="1190625" y="285021"/>
                </a:cubicBezTo>
                <a:cubicBezTo>
                  <a:pt x="1190625" y="285021"/>
                  <a:pt x="1190625" y="285021"/>
                  <a:pt x="1190625" y="288925"/>
                </a:cubicBezTo>
                <a:cubicBezTo>
                  <a:pt x="1190625" y="288925"/>
                  <a:pt x="1190625" y="288925"/>
                  <a:pt x="1186843" y="288925"/>
                </a:cubicBezTo>
                <a:cubicBezTo>
                  <a:pt x="1186843" y="288925"/>
                  <a:pt x="1186843" y="288925"/>
                  <a:pt x="755650" y="7809"/>
                </a:cubicBezTo>
                <a:cubicBezTo>
                  <a:pt x="755650" y="3905"/>
                  <a:pt x="755650" y="3905"/>
                  <a:pt x="755650" y="3905"/>
                </a:cubicBezTo>
                <a:cubicBezTo>
                  <a:pt x="755650" y="0"/>
                  <a:pt x="759433" y="0"/>
                  <a:pt x="759433" y="0"/>
                </a:cubicBezTo>
                <a:close/>
                <a:moveTo>
                  <a:pt x="699102" y="0"/>
                </a:moveTo>
                <a:cubicBezTo>
                  <a:pt x="699102" y="0"/>
                  <a:pt x="699102" y="0"/>
                  <a:pt x="1129698" y="281116"/>
                </a:cubicBezTo>
                <a:cubicBezTo>
                  <a:pt x="1129698" y="285021"/>
                  <a:pt x="1133475" y="285021"/>
                  <a:pt x="1129698" y="285021"/>
                </a:cubicBezTo>
                <a:cubicBezTo>
                  <a:pt x="1129698" y="285021"/>
                  <a:pt x="1129698" y="285021"/>
                  <a:pt x="1129698" y="288925"/>
                </a:cubicBezTo>
                <a:cubicBezTo>
                  <a:pt x="1129698" y="288925"/>
                  <a:pt x="1129698" y="288925"/>
                  <a:pt x="1125921" y="288925"/>
                </a:cubicBezTo>
                <a:cubicBezTo>
                  <a:pt x="1125921" y="288925"/>
                  <a:pt x="1125921" y="288925"/>
                  <a:pt x="695325" y="7809"/>
                </a:cubicBezTo>
                <a:cubicBezTo>
                  <a:pt x="695325" y="3905"/>
                  <a:pt x="695325" y="3905"/>
                  <a:pt x="695325" y="3905"/>
                </a:cubicBezTo>
                <a:cubicBezTo>
                  <a:pt x="695325" y="0"/>
                  <a:pt x="699102" y="0"/>
                  <a:pt x="699102" y="0"/>
                </a:cubicBezTo>
                <a:close/>
                <a:moveTo>
                  <a:pt x="638777" y="0"/>
                </a:moveTo>
                <a:cubicBezTo>
                  <a:pt x="638777" y="0"/>
                  <a:pt x="638777" y="0"/>
                  <a:pt x="1069373" y="281116"/>
                </a:cubicBezTo>
                <a:cubicBezTo>
                  <a:pt x="1069373" y="285021"/>
                  <a:pt x="1073150" y="285021"/>
                  <a:pt x="1069373" y="285021"/>
                </a:cubicBezTo>
                <a:cubicBezTo>
                  <a:pt x="1069373" y="285021"/>
                  <a:pt x="1069373" y="285021"/>
                  <a:pt x="1069373" y="288925"/>
                </a:cubicBezTo>
                <a:cubicBezTo>
                  <a:pt x="1069373" y="288925"/>
                  <a:pt x="1069373" y="288925"/>
                  <a:pt x="1065596" y="288925"/>
                </a:cubicBezTo>
                <a:cubicBezTo>
                  <a:pt x="1065596" y="288925"/>
                  <a:pt x="1065596" y="288925"/>
                  <a:pt x="635000" y="7809"/>
                </a:cubicBezTo>
                <a:cubicBezTo>
                  <a:pt x="635000" y="3905"/>
                  <a:pt x="635000" y="3905"/>
                  <a:pt x="635000" y="3905"/>
                </a:cubicBezTo>
                <a:cubicBezTo>
                  <a:pt x="635000" y="0"/>
                  <a:pt x="638777" y="0"/>
                  <a:pt x="638777" y="0"/>
                </a:cubicBezTo>
                <a:close/>
                <a:moveTo>
                  <a:pt x="578452" y="0"/>
                </a:moveTo>
                <a:cubicBezTo>
                  <a:pt x="578452" y="0"/>
                  <a:pt x="578452" y="0"/>
                  <a:pt x="1009048" y="281116"/>
                </a:cubicBezTo>
                <a:cubicBezTo>
                  <a:pt x="1012825" y="285021"/>
                  <a:pt x="1012825" y="285021"/>
                  <a:pt x="1009048" y="285021"/>
                </a:cubicBezTo>
                <a:cubicBezTo>
                  <a:pt x="1009048" y="285021"/>
                  <a:pt x="1009048" y="285021"/>
                  <a:pt x="1009048" y="288925"/>
                </a:cubicBezTo>
                <a:cubicBezTo>
                  <a:pt x="1009048" y="288925"/>
                  <a:pt x="1009048" y="288925"/>
                  <a:pt x="1005271" y="288925"/>
                </a:cubicBezTo>
                <a:cubicBezTo>
                  <a:pt x="1005271" y="288925"/>
                  <a:pt x="1005271" y="288925"/>
                  <a:pt x="578452" y="7809"/>
                </a:cubicBezTo>
                <a:cubicBezTo>
                  <a:pt x="574675" y="3905"/>
                  <a:pt x="574675" y="3905"/>
                  <a:pt x="574675" y="3905"/>
                </a:cubicBezTo>
                <a:cubicBezTo>
                  <a:pt x="574675" y="0"/>
                  <a:pt x="578452" y="0"/>
                  <a:pt x="578452" y="0"/>
                </a:cubicBezTo>
                <a:close/>
                <a:moveTo>
                  <a:pt x="518127" y="0"/>
                </a:moveTo>
                <a:cubicBezTo>
                  <a:pt x="518127" y="0"/>
                  <a:pt x="518127" y="0"/>
                  <a:pt x="521904" y="0"/>
                </a:cubicBezTo>
                <a:cubicBezTo>
                  <a:pt x="521904" y="0"/>
                  <a:pt x="521904" y="0"/>
                  <a:pt x="948723" y="281116"/>
                </a:cubicBezTo>
                <a:cubicBezTo>
                  <a:pt x="952500" y="285021"/>
                  <a:pt x="952500" y="285021"/>
                  <a:pt x="948723" y="285021"/>
                </a:cubicBezTo>
                <a:cubicBezTo>
                  <a:pt x="948723" y="285021"/>
                  <a:pt x="948723" y="285021"/>
                  <a:pt x="948723" y="288925"/>
                </a:cubicBezTo>
                <a:cubicBezTo>
                  <a:pt x="948723" y="288925"/>
                  <a:pt x="948723" y="288925"/>
                  <a:pt x="944946" y="288925"/>
                </a:cubicBezTo>
                <a:cubicBezTo>
                  <a:pt x="944946" y="288925"/>
                  <a:pt x="944946" y="288925"/>
                  <a:pt x="518127" y="7809"/>
                </a:cubicBezTo>
                <a:cubicBezTo>
                  <a:pt x="514350" y="3905"/>
                  <a:pt x="514350" y="3905"/>
                  <a:pt x="514350" y="3905"/>
                </a:cubicBezTo>
                <a:cubicBezTo>
                  <a:pt x="514350" y="0"/>
                  <a:pt x="518127" y="0"/>
                  <a:pt x="518127" y="0"/>
                </a:cubicBezTo>
                <a:close/>
                <a:moveTo>
                  <a:pt x="457802" y="0"/>
                </a:moveTo>
                <a:cubicBezTo>
                  <a:pt x="457802" y="0"/>
                  <a:pt x="457802" y="0"/>
                  <a:pt x="461579" y="0"/>
                </a:cubicBezTo>
                <a:cubicBezTo>
                  <a:pt x="461579" y="0"/>
                  <a:pt x="461579" y="0"/>
                  <a:pt x="888398" y="281116"/>
                </a:cubicBezTo>
                <a:cubicBezTo>
                  <a:pt x="892175" y="285021"/>
                  <a:pt x="892175" y="285021"/>
                  <a:pt x="892175" y="285021"/>
                </a:cubicBezTo>
                <a:cubicBezTo>
                  <a:pt x="892175" y="285021"/>
                  <a:pt x="892175" y="285021"/>
                  <a:pt x="888398" y="288925"/>
                </a:cubicBezTo>
                <a:cubicBezTo>
                  <a:pt x="888398" y="288925"/>
                  <a:pt x="888398" y="288925"/>
                  <a:pt x="884621" y="288925"/>
                </a:cubicBezTo>
                <a:cubicBezTo>
                  <a:pt x="884621" y="288925"/>
                  <a:pt x="884621" y="288925"/>
                  <a:pt x="457802" y="7809"/>
                </a:cubicBezTo>
                <a:cubicBezTo>
                  <a:pt x="454025" y="3905"/>
                  <a:pt x="454025" y="3905"/>
                  <a:pt x="454025" y="3905"/>
                </a:cubicBezTo>
                <a:cubicBezTo>
                  <a:pt x="457802" y="0"/>
                  <a:pt x="457802" y="0"/>
                  <a:pt x="457802" y="0"/>
                </a:cubicBezTo>
                <a:close/>
                <a:moveTo>
                  <a:pt x="395903" y="0"/>
                </a:moveTo>
                <a:cubicBezTo>
                  <a:pt x="395903" y="0"/>
                  <a:pt x="395903" y="0"/>
                  <a:pt x="399694" y="0"/>
                </a:cubicBezTo>
                <a:cubicBezTo>
                  <a:pt x="399694" y="0"/>
                  <a:pt x="399694" y="0"/>
                  <a:pt x="828059" y="281116"/>
                </a:cubicBezTo>
                <a:cubicBezTo>
                  <a:pt x="831850" y="285021"/>
                  <a:pt x="831850" y="285021"/>
                  <a:pt x="831850" y="285021"/>
                </a:cubicBezTo>
                <a:cubicBezTo>
                  <a:pt x="831850" y="285021"/>
                  <a:pt x="831850" y="285021"/>
                  <a:pt x="828059" y="288925"/>
                </a:cubicBezTo>
                <a:cubicBezTo>
                  <a:pt x="828059" y="288925"/>
                  <a:pt x="828059" y="288925"/>
                  <a:pt x="824268" y="288925"/>
                </a:cubicBezTo>
                <a:cubicBezTo>
                  <a:pt x="824268" y="288925"/>
                  <a:pt x="824268" y="288925"/>
                  <a:pt x="395903" y="7809"/>
                </a:cubicBezTo>
                <a:cubicBezTo>
                  <a:pt x="392112" y="3905"/>
                  <a:pt x="392112" y="3905"/>
                  <a:pt x="392112" y="3905"/>
                </a:cubicBezTo>
                <a:cubicBezTo>
                  <a:pt x="395903" y="0"/>
                  <a:pt x="395903" y="0"/>
                  <a:pt x="395903" y="0"/>
                </a:cubicBezTo>
                <a:close/>
                <a:moveTo>
                  <a:pt x="335578" y="0"/>
                </a:moveTo>
                <a:cubicBezTo>
                  <a:pt x="335578" y="0"/>
                  <a:pt x="339369" y="0"/>
                  <a:pt x="339369" y="0"/>
                </a:cubicBezTo>
                <a:cubicBezTo>
                  <a:pt x="339369" y="0"/>
                  <a:pt x="339369" y="0"/>
                  <a:pt x="767734" y="281116"/>
                </a:cubicBezTo>
                <a:cubicBezTo>
                  <a:pt x="771525" y="285021"/>
                  <a:pt x="771525" y="285021"/>
                  <a:pt x="771525" y="285021"/>
                </a:cubicBezTo>
                <a:cubicBezTo>
                  <a:pt x="771525" y="285021"/>
                  <a:pt x="771525" y="285021"/>
                  <a:pt x="767734" y="288925"/>
                </a:cubicBezTo>
                <a:cubicBezTo>
                  <a:pt x="767734" y="288925"/>
                  <a:pt x="767734" y="288925"/>
                  <a:pt x="763943" y="288925"/>
                </a:cubicBezTo>
                <a:cubicBezTo>
                  <a:pt x="763943" y="288925"/>
                  <a:pt x="763943" y="288925"/>
                  <a:pt x="335578" y="7809"/>
                </a:cubicBezTo>
                <a:cubicBezTo>
                  <a:pt x="331787" y="3905"/>
                  <a:pt x="331787" y="3905"/>
                  <a:pt x="331787" y="3905"/>
                </a:cubicBezTo>
                <a:cubicBezTo>
                  <a:pt x="335578" y="0"/>
                  <a:pt x="335578" y="0"/>
                  <a:pt x="335578" y="0"/>
                </a:cubicBezTo>
                <a:close/>
                <a:moveTo>
                  <a:pt x="275239" y="0"/>
                </a:moveTo>
                <a:cubicBezTo>
                  <a:pt x="275239" y="0"/>
                  <a:pt x="279016" y="0"/>
                  <a:pt x="279016" y="0"/>
                </a:cubicBezTo>
                <a:cubicBezTo>
                  <a:pt x="279016" y="0"/>
                  <a:pt x="279016" y="0"/>
                  <a:pt x="705835" y="281116"/>
                </a:cubicBezTo>
                <a:cubicBezTo>
                  <a:pt x="709612" y="285021"/>
                  <a:pt x="709612" y="285021"/>
                  <a:pt x="709612" y="285021"/>
                </a:cubicBezTo>
                <a:cubicBezTo>
                  <a:pt x="709612" y="285021"/>
                  <a:pt x="709612" y="285021"/>
                  <a:pt x="705835" y="288925"/>
                </a:cubicBezTo>
                <a:cubicBezTo>
                  <a:pt x="705835" y="288925"/>
                  <a:pt x="705835" y="288925"/>
                  <a:pt x="702058" y="288925"/>
                </a:cubicBezTo>
                <a:cubicBezTo>
                  <a:pt x="702058" y="288925"/>
                  <a:pt x="702058" y="288925"/>
                  <a:pt x="275239" y="7809"/>
                </a:cubicBezTo>
                <a:cubicBezTo>
                  <a:pt x="271462" y="3905"/>
                  <a:pt x="271462" y="3905"/>
                  <a:pt x="275239" y="3905"/>
                </a:cubicBezTo>
                <a:cubicBezTo>
                  <a:pt x="275239" y="0"/>
                  <a:pt x="275239" y="0"/>
                  <a:pt x="275239" y="0"/>
                </a:cubicBezTo>
                <a:close/>
                <a:moveTo>
                  <a:pt x="214914" y="0"/>
                </a:moveTo>
                <a:cubicBezTo>
                  <a:pt x="214914" y="0"/>
                  <a:pt x="218691" y="0"/>
                  <a:pt x="218691" y="0"/>
                </a:cubicBezTo>
                <a:cubicBezTo>
                  <a:pt x="218691" y="0"/>
                  <a:pt x="218691" y="0"/>
                  <a:pt x="645510" y="281116"/>
                </a:cubicBezTo>
                <a:cubicBezTo>
                  <a:pt x="649287" y="285021"/>
                  <a:pt x="649287" y="285021"/>
                  <a:pt x="649287" y="285021"/>
                </a:cubicBezTo>
                <a:cubicBezTo>
                  <a:pt x="649287" y="285021"/>
                  <a:pt x="649287" y="285021"/>
                  <a:pt x="645510" y="288925"/>
                </a:cubicBezTo>
                <a:cubicBezTo>
                  <a:pt x="645510" y="288925"/>
                  <a:pt x="645510" y="288925"/>
                  <a:pt x="214914" y="7809"/>
                </a:cubicBezTo>
                <a:cubicBezTo>
                  <a:pt x="211137" y="3905"/>
                  <a:pt x="211137" y="3905"/>
                  <a:pt x="214914" y="3905"/>
                </a:cubicBezTo>
                <a:cubicBezTo>
                  <a:pt x="214914" y="0"/>
                  <a:pt x="214914" y="0"/>
                  <a:pt x="214914" y="0"/>
                </a:cubicBezTo>
                <a:close/>
                <a:moveTo>
                  <a:pt x="154589" y="0"/>
                </a:moveTo>
                <a:cubicBezTo>
                  <a:pt x="158366" y="0"/>
                  <a:pt x="158366" y="0"/>
                  <a:pt x="158366" y="0"/>
                </a:cubicBezTo>
                <a:cubicBezTo>
                  <a:pt x="158366" y="0"/>
                  <a:pt x="158366" y="0"/>
                  <a:pt x="588962" y="281116"/>
                </a:cubicBezTo>
                <a:cubicBezTo>
                  <a:pt x="588962" y="285021"/>
                  <a:pt x="588962" y="285021"/>
                  <a:pt x="588962" y="285021"/>
                </a:cubicBezTo>
                <a:cubicBezTo>
                  <a:pt x="588962" y="285021"/>
                  <a:pt x="588962" y="285021"/>
                  <a:pt x="585185" y="288925"/>
                </a:cubicBezTo>
                <a:cubicBezTo>
                  <a:pt x="585185" y="288925"/>
                  <a:pt x="585185" y="288925"/>
                  <a:pt x="154589" y="7809"/>
                </a:cubicBezTo>
                <a:cubicBezTo>
                  <a:pt x="154589" y="3905"/>
                  <a:pt x="150812" y="3905"/>
                  <a:pt x="154589" y="3905"/>
                </a:cubicBezTo>
                <a:cubicBezTo>
                  <a:pt x="154589" y="0"/>
                  <a:pt x="154589" y="0"/>
                  <a:pt x="154589" y="0"/>
                </a:cubicBezTo>
                <a:close/>
                <a:moveTo>
                  <a:pt x="94264" y="0"/>
                </a:moveTo>
                <a:cubicBezTo>
                  <a:pt x="98041" y="0"/>
                  <a:pt x="98041" y="0"/>
                  <a:pt x="98041" y="0"/>
                </a:cubicBezTo>
                <a:cubicBezTo>
                  <a:pt x="98041" y="0"/>
                  <a:pt x="98041" y="0"/>
                  <a:pt x="528637" y="281116"/>
                </a:cubicBezTo>
                <a:cubicBezTo>
                  <a:pt x="528637" y="285021"/>
                  <a:pt x="528637" y="285021"/>
                  <a:pt x="528637" y="285021"/>
                </a:cubicBezTo>
                <a:cubicBezTo>
                  <a:pt x="528637" y="285021"/>
                  <a:pt x="528637" y="285021"/>
                  <a:pt x="524860" y="288925"/>
                </a:cubicBezTo>
                <a:cubicBezTo>
                  <a:pt x="524860" y="288925"/>
                  <a:pt x="524860" y="288925"/>
                  <a:pt x="94264" y="7809"/>
                </a:cubicBezTo>
                <a:cubicBezTo>
                  <a:pt x="94264" y="3905"/>
                  <a:pt x="90487" y="3905"/>
                  <a:pt x="94264" y="3905"/>
                </a:cubicBezTo>
                <a:cubicBezTo>
                  <a:pt x="94264" y="0"/>
                  <a:pt x="94264" y="0"/>
                  <a:pt x="94264" y="0"/>
                </a:cubicBezTo>
                <a:close/>
                <a:moveTo>
                  <a:pt x="33337" y="0"/>
                </a:moveTo>
                <a:cubicBezTo>
                  <a:pt x="37119" y="0"/>
                  <a:pt x="37119" y="0"/>
                  <a:pt x="37119" y="0"/>
                </a:cubicBezTo>
                <a:cubicBezTo>
                  <a:pt x="37119" y="0"/>
                  <a:pt x="37119" y="0"/>
                  <a:pt x="468312" y="281116"/>
                </a:cubicBezTo>
                <a:cubicBezTo>
                  <a:pt x="468312" y="285021"/>
                  <a:pt x="468312" y="285021"/>
                  <a:pt x="468312" y="285021"/>
                </a:cubicBezTo>
                <a:cubicBezTo>
                  <a:pt x="468312" y="285021"/>
                  <a:pt x="468312" y="285021"/>
                  <a:pt x="464529" y="288925"/>
                </a:cubicBezTo>
                <a:cubicBezTo>
                  <a:pt x="464529" y="288925"/>
                  <a:pt x="464529" y="288925"/>
                  <a:pt x="33337" y="7809"/>
                </a:cubicBezTo>
                <a:cubicBezTo>
                  <a:pt x="33337" y="3905"/>
                  <a:pt x="33337" y="3905"/>
                  <a:pt x="33337" y="3905"/>
                </a:cubicBezTo>
                <a:cubicBezTo>
                  <a:pt x="33337" y="0"/>
                  <a:pt x="33337" y="0"/>
                  <a:pt x="3333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212" name="Group 211">
            <a:extLst>
              <a:ext uri="{FF2B5EF4-FFF2-40B4-BE49-F238E27FC236}">
                <a16:creationId xmlns:a16="http://schemas.microsoft.com/office/drawing/2014/main" id="{67CCDD31-113F-4DBA-8019-AF538AFC7306}"/>
              </a:ext>
            </a:extLst>
          </p:cNvPr>
          <p:cNvGrpSpPr/>
          <p:nvPr/>
        </p:nvGrpSpPr>
        <p:grpSpPr>
          <a:xfrm>
            <a:off x="17364" y="1295283"/>
            <a:ext cx="12201874" cy="3241162"/>
            <a:chOff x="-5098368" y="1760975"/>
            <a:chExt cx="12201874" cy="2309177"/>
          </a:xfrm>
        </p:grpSpPr>
        <p:sp>
          <p:nvSpPr>
            <p:cNvPr id="213" name="Rectangle: Rounded Corners 21">
              <a:extLst>
                <a:ext uri="{FF2B5EF4-FFF2-40B4-BE49-F238E27FC236}">
                  <a16:creationId xmlns:a16="http://schemas.microsoft.com/office/drawing/2014/main" id="{98ADFE44-35E8-41B5-8B8A-3F684D588348}"/>
                </a:ext>
              </a:extLst>
            </p:cNvPr>
            <p:cNvSpPr/>
            <p:nvPr/>
          </p:nvSpPr>
          <p:spPr>
            <a:xfrm>
              <a:off x="-8876" y="1760975"/>
              <a:ext cx="787591" cy="216063"/>
            </a:xfrm>
            <a:custGeom>
              <a:avLst/>
              <a:gdLst>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8" fmla="*/ 0 w 2060294"/>
                <a:gd name="connsiteY8" fmla="*/ 216063 h 4604829"/>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8" fmla="*/ 91440 w 2060294"/>
                <a:gd name="connsiteY8" fmla="*/ 307503 h 4604829"/>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0" fmla="*/ 216063 w 2060294"/>
                <a:gd name="connsiteY0" fmla="*/ 0 h 4604829"/>
                <a:gd name="connsiteX1" fmla="*/ 1844231 w 2060294"/>
                <a:gd name="connsiteY1" fmla="*/ 0 h 4604829"/>
                <a:gd name="connsiteX2" fmla="*/ 2060294 w 2060294"/>
                <a:gd name="connsiteY2" fmla="*/ 216063 h 4604829"/>
                <a:gd name="connsiteX3" fmla="*/ 2060294 w 2060294"/>
                <a:gd name="connsiteY3" fmla="*/ 4388766 h 4604829"/>
                <a:gd name="connsiteX4" fmla="*/ 1844231 w 2060294"/>
                <a:gd name="connsiteY4" fmla="*/ 4604829 h 4604829"/>
                <a:gd name="connsiteX5" fmla="*/ 216063 w 2060294"/>
                <a:gd name="connsiteY5" fmla="*/ 4604829 h 4604829"/>
                <a:gd name="connsiteX6" fmla="*/ 0 w 2060294"/>
                <a:gd name="connsiteY6" fmla="*/ 4388766 h 4604829"/>
                <a:gd name="connsiteX0" fmla="*/ 225814 w 2070045"/>
                <a:gd name="connsiteY0" fmla="*/ 0 h 4604829"/>
                <a:gd name="connsiteX1" fmla="*/ 1853982 w 2070045"/>
                <a:gd name="connsiteY1" fmla="*/ 0 h 4604829"/>
                <a:gd name="connsiteX2" fmla="*/ 2070045 w 2070045"/>
                <a:gd name="connsiteY2" fmla="*/ 216063 h 4604829"/>
                <a:gd name="connsiteX3" fmla="*/ 2070045 w 2070045"/>
                <a:gd name="connsiteY3" fmla="*/ 4388766 h 4604829"/>
                <a:gd name="connsiteX4" fmla="*/ 1853982 w 2070045"/>
                <a:gd name="connsiteY4" fmla="*/ 4604829 h 4604829"/>
                <a:gd name="connsiteX5" fmla="*/ 225814 w 2070045"/>
                <a:gd name="connsiteY5" fmla="*/ 4604829 h 4604829"/>
                <a:gd name="connsiteX6" fmla="*/ 18114 w 2070045"/>
                <a:gd name="connsiteY6" fmla="*/ 4477778 h 4604829"/>
                <a:gd name="connsiteX7" fmla="*/ 9751 w 2070045"/>
                <a:gd name="connsiteY7" fmla="*/ 4388766 h 4604829"/>
                <a:gd name="connsiteX0" fmla="*/ 207700 w 2051931"/>
                <a:gd name="connsiteY0" fmla="*/ 0 h 4604829"/>
                <a:gd name="connsiteX1" fmla="*/ 1835868 w 2051931"/>
                <a:gd name="connsiteY1" fmla="*/ 0 h 4604829"/>
                <a:gd name="connsiteX2" fmla="*/ 2051931 w 2051931"/>
                <a:gd name="connsiteY2" fmla="*/ 216063 h 4604829"/>
                <a:gd name="connsiteX3" fmla="*/ 2051931 w 2051931"/>
                <a:gd name="connsiteY3" fmla="*/ 4388766 h 4604829"/>
                <a:gd name="connsiteX4" fmla="*/ 1835868 w 2051931"/>
                <a:gd name="connsiteY4" fmla="*/ 4604829 h 4604829"/>
                <a:gd name="connsiteX5" fmla="*/ 207700 w 2051931"/>
                <a:gd name="connsiteY5" fmla="*/ 4604829 h 4604829"/>
                <a:gd name="connsiteX6" fmla="*/ 0 w 2051931"/>
                <a:gd name="connsiteY6" fmla="*/ 4477778 h 4604829"/>
                <a:gd name="connsiteX0" fmla="*/ 0 w 1844231"/>
                <a:gd name="connsiteY0" fmla="*/ 0 h 4604829"/>
                <a:gd name="connsiteX1" fmla="*/ 1628168 w 1844231"/>
                <a:gd name="connsiteY1" fmla="*/ 0 h 4604829"/>
                <a:gd name="connsiteX2" fmla="*/ 1844231 w 1844231"/>
                <a:gd name="connsiteY2" fmla="*/ 216063 h 4604829"/>
                <a:gd name="connsiteX3" fmla="*/ 1844231 w 1844231"/>
                <a:gd name="connsiteY3" fmla="*/ 4388766 h 4604829"/>
                <a:gd name="connsiteX4" fmla="*/ 1628168 w 1844231"/>
                <a:gd name="connsiteY4" fmla="*/ 4604829 h 4604829"/>
                <a:gd name="connsiteX5" fmla="*/ 0 w 1844231"/>
                <a:gd name="connsiteY5" fmla="*/ 4604829 h 4604829"/>
                <a:gd name="connsiteX0" fmla="*/ 0 w 1844231"/>
                <a:gd name="connsiteY0" fmla="*/ 0 h 4604829"/>
                <a:gd name="connsiteX1" fmla="*/ 1628168 w 1844231"/>
                <a:gd name="connsiteY1" fmla="*/ 0 h 4604829"/>
                <a:gd name="connsiteX2" fmla="*/ 1844231 w 1844231"/>
                <a:gd name="connsiteY2" fmla="*/ 216063 h 4604829"/>
                <a:gd name="connsiteX3" fmla="*/ 1844231 w 1844231"/>
                <a:gd name="connsiteY3" fmla="*/ 4388766 h 4604829"/>
                <a:gd name="connsiteX4" fmla="*/ 1628168 w 1844231"/>
                <a:gd name="connsiteY4" fmla="*/ 4604829 h 4604829"/>
                <a:gd name="connsiteX0" fmla="*/ 0 w 1844231"/>
                <a:gd name="connsiteY0" fmla="*/ 0 h 4388766"/>
                <a:gd name="connsiteX1" fmla="*/ 1628168 w 1844231"/>
                <a:gd name="connsiteY1" fmla="*/ 0 h 4388766"/>
                <a:gd name="connsiteX2" fmla="*/ 1844231 w 1844231"/>
                <a:gd name="connsiteY2" fmla="*/ 216063 h 4388766"/>
                <a:gd name="connsiteX3" fmla="*/ 1844231 w 1844231"/>
                <a:gd name="connsiteY3" fmla="*/ 4388766 h 4388766"/>
                <a:gd name="connsiteX0" fmla="*/ 0 w 1844231"/>
                <a:gd name="connsiteY0" fmla="*/ 0 h 216063"/>
                <a:gd name="connsiteX1" fmla="*/ 1628168 w 1844231"/>
                <a:gd name="connsiteY1" fmla="*/ 0 h 216063"/>
                <a:gd name="connsiteX2" fmla="*/ 1844231 w 1844231"/>
                <a:gd name="connsiteY2" fmla="*/ 216063 h 216063"/>
                <a:gd name="connsiteX0" fmla="*/ 0 w 787591"/>
                <a:gd name="connsiteY0" fmla="*/ 0 h 216063"/>
                <a:gd name="connsiteX1" fmla="*/ 571528 w 787591"/>
                <a:gd name="connsiteY1" fmla="*/ 0 h 216063"/>
                <a:gd name="connsiteX2" fmla="*/ 787591 w 787591"/>
                <a:gd name="connsiteY2" fmla="*/ 216063 h 216063"/>
              </a:gdLst>
              <a:ahLst/>
              <a:cxnLst>
                <a:cxn ang="0">
                  <a:pos x="connsiteX0" y="connsiteY0"/>
                </a:cxn>
                <a:cxn ang="0">
                  <a:pos x="connsiteX1" y="connsiteY1"/>
                </a:cxn>
                <a:cxn ang="0">
                  <a:pos x="connsiteX2" y="connsiteY2"/>
                </a:cxn>
              </a:cxnLst>
              <a:rect l="l" t="t" r="r" b="b"/>
              <a:pathLst>
                <a:path w="787591" h="216063">
                  <a:moveTo>
                    <a:pt x="0" y="0"/>
                  </a:moveTo>
                  <a:lnTo>
                    <a:pt x="571528" y="0"/>
                  </a:lnTo>
                  <a:cubicBezTo>
                    <a:pt x="690856" y="0"/>
                    <a:pt x="787591" y="96735"/>
                    <a:pt x="787591" y="216063"/>
                  </a:cubicBezTo>
                </a:path>
              </a:pathLst>
            </a:custGeom>
            <a:noFill/>
            <a:ln w="6350">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4" name="Rectangle: Rounded Corners 21">
              <a:extLst>
                <a:ext uri="{FF2B5EF4-FFF2-40B4-BE49-F238E27FC236}">
                  <a16:creationId xmlns:a16="http://schemas.microsoft.com/office/drawing/2014/main" id="{C4652A64-BFE9-43F0-8741-E8901DFC797E}"/>
                </a:ext>
              </a:extLst>
            </p:cNvPr>
            <p:cNvSpPr/>
            <p:nvPr/>
          </p:nvSpPr>
          <p:spPr>
            <a:xfrm flipH="1" flipV="1">
              <a:off x="778715" y="3854089"/>
              <a:ext cx="1844231" cy="216063"/>
            </a:xfrm>
            <a:custGeom>
              <a:avLst/>
              <a:gdLst>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8" fmla="*/ 0 w 2060294"/>
                <a:gd name="connsiteY8" fmla="*/ 216063 h 4604829"/>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8" fmla="*/ 91440 w 2060294"/>
                <a:gd name="connsiteY8" fmla="*/ 307503 h 4604829"/>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0" fmla="*/ 216063 w 2060294"/>
                <a:gd name="connsiteY0" fmla="*/ 0 h 4604829"/>
                <a:gd name="connsiteX1" fmla="*/ 1844231 w 2060294"/>
                <a:gd name="connsiteY1" fmla="*/ 0 h 4604829"/>
                <a:gd name="connsiteX2" fmla="*/ 2060294 w 2060294"/>
                <a:gd name="connsiteY2" fmla="*/ 216063 h 4604829"/>
                <a:gd name="connsiteX3" fmla="*/ 2060294 w 2060294"/>
                <a:gd name="connsiteY3" fmla="*/ 4388766 h 4604829"/>
                <a:gd name="connsiteX4" fmla="*/ 1844231 w 2060294"/>
                <a:gd name="connsiteY4" fmla="*/ 4604829 h 4604829"/>
                <a:gd name="connsiteX5" fmla="*/ 216063 w 2060294"/>
                <a:gd name="connsiteY5" fmla="*/ 4604829 h 4604829"/>
                <a:gd name="connsiteX6" fmla="*/ 0 w 2060294"/>
                <a:gd name="connsiteY6" fmla="*/ 4388766 h 4604829"/>
                <a:gd name="connsiteX0" fmla="*/ 225814 w 2070045"/>
                <a:gd name="connsiteY0" fmla="*/ 0 h 4604829"/>
                <a:gd name="connsiteX1" fmla="*/ 1853982 w 2070045"/>
                <a:gd name="connsiteY1" fmla="*/ 0 h 4604829"/>
                <a:gd name="connsiteX2" fmla="*/ 2070045 w 2070045"/>
                <a:gd name="connsiteY2" fmla="*/ 216063 h 4604829"/>
                <a:gd name="connsiteX3" fmla="*/ 2070045 w 2070045"/>
                <a:gd name="connsiteY3" fmla="*/ 4388766 h 4604829"/>
                <a:gd name="connsiteX4" fmla="*/ 1853982 w 2070045"/>
                <a:gd name="connsiteY4" fmla="*/ 4604829 h 4604829"/>
                <a:gd name="connsiteX5" fmla="*/ 225814 w 2070045"/>
                <a:gd name="connsiteY5" fmla="*/ 4604829 h 4604829"/>
                <a:gd name="connsiteX6" fmla="*/ 18114 w 2070045"/>
                <a:gd name="connsiteY6" fmla="*/ 4477778 h 4604829"/>
                <a:gd name="connsiteX7" fmla="*/ 9751 w 2070045"/>
                <a:gd name="connsiteY7" fmla="*/ 4388766 h 4604829"/>
                <a:gd name="connsiteX0" fmla="*/ 207700 w 2051931"/>
                <a:gd name="connsiteY0" fmla="*/ 0 h 4604829"/>
                <a:gd name="connsiteX1" fmla="*/ 1835868 w 2051931"/>
                <a:gd name="connsiteY1" fmla="*/ 0 h 4604829"/>
                <a:gd name="connsiteX2" fmla="*/ 2051931 w 2051931"/>
                <a:gd name="connsiteY2" fmla="*/ 216063 h 4604829"/>
                <a:gd name="connsiteX3" fmla="*/ 2051931 w 2051931"/>
                <a:gd name="connsiteY3" fmla="*/ 4388766 h 4604829"/>
                <a:gd name="connsiteX4" fmla="*/ 1835868 w 2051931"/>
                <a:gd name="connsiteY4" fmla="*/ 4604829 h 4604829"/>
                <a:gd name="connsiteX5" fmla="*/ 207700 w 2051931"/>
                <a:gd name="connsiteY5" fmla="*/ 4604829 h 4604829"/>
                <a:gd name="connsiteX6" fmla="*/ 0 w 2051931"/>
                <a:gd name="connsiteY6" fmla="*/ 4477778 h 4604829"/>
                <a:gd name="connsiteX0" fmla="*/ 0 w 1844231"/>
                <a:gd name="connsiteY0" fmla="*/ 0 h 4604829"/>
                <a:gd name="connsiteX1" fmla="*/ 1628168 w 1844231"/>
                <a:gd name="connsiteY1" fmla="*/ 0 h 4604829"/>
                <a:gd name="connsiteX2" fmla="*/ 1844231 w 1844231"/>
                <a:gd name="connsiteY2" fmla="*/ 216063 h 4604829"/>
                <a:gd name="connsiteX3" fmla="*/ 1844231 w 1844231"/>
                <a:gd name="connsiteY3" fmla="*/ 4388766 h 4604829"/>
                <a:gd name="connsiteX4" fmla="*/ 1628168 w 1844231"/>
                <a:gd name="connsiteY4" fmla="*/ 4604829 h 4604829"/>
                <a:gd name="connsiteX5" fmla="*/ 0 w 1844231"/>
                <a:gd name="connsiteY5" fmla="*/ 4604829 h 4604829"/>
                <a:gd name="connsiteX0" fmla="*/ 0 w 1844231"/>
                <a:gd name="connsiteY0" fmla="*/ 0 h 4604829"/>
                <a:gd name="connsiteX1" fmla="*/ 1628168 w 1844231"/>
                <a:gd name="connsiteY1" fmla="*/ 0 h 4604829"/>
                <a:gd name="connsiteX2" fmla="*/ 1844231 w 1844231"/>
                <a:gd name="connsiteY2" fmla="*/ 216063 h 4604829"/>
                <a:gd name="connsiteX3" fmla="*/ 1844231 w 1844231"/>
                <a:gd name="connsiteY3" fmla="*/ 4388766 h 4604829"/>
                <a:gd name="connsiteX4" fmla="*/ 1628168 w 1844231"/>
                <a:gd name="connsiteY4" fmla="*/ 4604829 h 4604829"/>
                <a:gd name="connsiteX0" fmla="*/ 0 w 1844231"/>
                <a:gd name="connsiteY0" fmla="*/ 0 h 4388766"/>
                <a:gd name="connsiteX1" fmla="*/ 1628168 w 1844231"/>
                <a:gd name="connsiteY1" fmla="*/ 0 h 4388766"/>
                <a:gd name="connsiteX2" fmla="*/ 1844231 w 1844231"/>
                <a:gd name="connsiteY2" fmla="*/ 216063 h 4388766"/>
                <a:gd name="connsiteX3" fmla="*/ 1844231 w 1844231"/>
                <a:gd name="connsiteY3" fmla="*/ 4388766 h 4388766"/>
                <a:gd name="connsiteX0" fmla="*/ 0 w 1844231"/>
                <a:gd name="connsiteY0" fmla="*/ 0 h 216063"/>
                <a:gd name="connsiteX1" fmla="*/ 1628168 w 1844231"/>
                <a:gd name="connsiteY1" fmla="*/ 0 h 216063"/>
                <a:gd name="connsiteX2" fmla="*/ 1844231 w 1844231"/>
                <a:gd name="connsiteY2" fmla="*/ 216063 h 216063"/>
              </a:gdLst>
              <a:ahLst/>
              <a:cxnLst>
                <a:cxn ang="0">
                  <a:pos x="connsiteX0" y="connsiteY0"/>
                </a:cxn>
                <a:cxn ang="0">
                  <a:pos x="connsiteX1" y="connsiteY1"/>
                </a:cxn>
                <a:cxn ang="0">
                  <a:pos x="connsiteX2" y="connsiteY2"/>
                </a:cxn>
              </a:cxnLst>
              <a:rect l="l" t="t" r="r" b="b"/>
              <a:pathLst>
                <a:path w="1844231" h="216063">
                  <a:moveTo>
                    <a:pt x="0" y="0"/>
                  </a:moveTo>
                  <a:lnTo>
                    <a:pt x="1628168" y="0"/>
                  </a:lnTo>
                  <a:cubicBezTo>
                    <a:pt x="1747496" y="0"/>
                    <a:pt x="1844231" y="96735"/>
                    <a:pt x="1844231" y="216063"/>
                  </a:cubicBezTo>
                </a:path>
              </a:pathLst>
            </a:custGeom>
            <a:noFill/>
            <a:ln w="6350">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5" name="Straight Connector 214">
              <a:extLst>
                <a:ext uri="{FF2B5EF4-FFF2-40B4-BE49-F238E27FC236}">
                  <a16:creationId xmlns:a16="http://schemas.microsoft.com/office/drawing/2014/main" id="{AC8D8261-FE8B-4C42-8A56-24575FC131B6}"/>
                </a:ext>
              </a:extLst>
            </p:cNvPr>
            <p:cNvCxnSpPr>
              <a:cxnSpLocks/>
              <a:stCxn id="213" idx="2"/>
              <a:endCxn id="214" idx="2"/>
            </p:cNvCxnSpPr>
            <p:nvPr/>
          </p:nvCxnSpPr>
          <p:spPr>
            <a:xfrm>
              <a:off x="778715" y="1977038"/>
              <a:ext cx="0" cy="1877051"/>
            </a:xfrm>
            <a:prstGeom prst="line">
              <a:avLst/>
            </a:prstGeom>
            <a:noFill/>
            <a:ln w="6350">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16" name="Straight Connector 215">
              <a:extLst>
                <a:ext uri="{FF2B5EF4-FFF2-40B4-BE49-F238E27FC236}">
                  <a16:creationId xmlns:a16="http://schemas.microsoft.com/office/drawing/2014/main" id="{5066237B-06E8-4AAE-B93D-9835267F0CF4}"/>
                </a:ext>
              </a:extLst>
            </p:cNvPr>
            <p:cNvCxnSpPr>
              <a:cxnSpLocks/>
              <a:endCxn id="214" idx="0"/>
            </p:cNvCxnSpPr>
            <p:nvPr/>
          </p:nvCxnSpPr>
          <p:spPr>
            <a:xfrm flipH="1">
              <a:off x="2622946" y="4070152"/>
              <a:ext cx="4480560" cy="0"/>
            </a:xfrm>
            <a:prstGeom prst="line">
              <a:avLst/>
            </a:prstGeom>
            <a:noFill/>
            <a:ln w="6350">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52" name="Straight Connector 251">
              <a:extLst>
                <a:ext uri="{FF2B5EF4-FFF2-40B4-BE49-F238E27FC236}">
                  <a16:creationId xmlns:a16="http://schemas.microsoft.com/office/drawing/2014/main" id="{9ABC75C1-0A4F-49FA-A6ED-6B687F178B39}"/>
                </a:ext>
              </a:extLst>
            </p:cNvPr>
            <p:cNvCxnSpPr>
              <a:cxnSpLocks/>
              <a:stCxn id="213" idx="0"/>
            </p:cNvCxnSpPr>
            <p:nvPr/>
          </p:nvCxnSpPr>
          <p:spPr>
            <a:xfrm flipH="1">
              <a:off x="-5098368" y="1760975"/>
              <a:ext cx="5089492" cy="0"/>
            </a:xfrm>
            <a:prstGeom prst="line">
              <a:avLst/>
            </a:prstGeom>
            <a:noFill/>
            <a:ln w="6350">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227" name="Group 226">
            <a:extLst>
              <a:ext uri="{FF2B5EF4-FFF2-40B4-BE49-F238E27FC236}">
                <a16:creationId xmlns:a16="http://schemas.microsoft.com/office/drawing/2014/main" id="{6AEA41E1-FC03-4DAB-92C6-B91A9D4A6FE0}"/>
              </a:ext>
            </a:extLst>
          </p:cNvPr>
          <p:cNvGrpSpPr/>
          <p:nvPr/>
        </p:nvGrpSpPr>
        <p:grpSpPr>
          <a:xfrm>
            <a:off x="5785300" y="2045443"/>
            <a:ext cx="218294" cy="223385"/>
            <a:chOff x="571359" y="2208404"/>
            <a:chExt cx="414711" cy="424381"/>
          </a:xfrm>
        </p:grpSpPr>
        <p:grpSp>
          <p:nvGrpSpPr>
            <p:cNvPr id="228" name="Graphic 75">
              <a:extLst>
                <a:ext uri="{FF2B5EF4-FFF2-40B4-BE49-F238E27FC236}">
                  <a16:creationId xmlns:a16="http://schemas.microsoft.com/office/drawing/2014/main" id="{BA317770-67BE-4B83-B2C6-0D796B6F1B0F}"/>
                </a:ext>
              </a:extLst>
            </p:cNvPr>
            <p:cNvGrpSpPr/>
            <p:nvPr/>
          </p:nvGrpSpPr>
          <p:grpSpPr>
            <a:xfrm>
              <a:off x="571359" y="2208404"/>
              <a:ext cx="414711" cy="424381"/>
              <a:chOff x="4820236" y="1931698"/>
              <a:chExt cx="926552" cy="948156"/>
            </a:xfrm>
            <a:solidFill>
              <a:srgbClr val="1E4471"/>
            </a:solidFill>
          </p:grpSpPr>
          <p:sp>
            <p:nvSpPr>
              <p:cNvPr id="230" name="Freeform: Shape 229">
                <a:extLst>
                  <a:ext uri="{FF2B5EF4-FFF2-40B4-BE49-F238E27FC236}">
                    <a16:creationId xmlns:a16="http://schemas.microsoft.com/office/drawing/2014/main" id="{93772E9F-92C8-4010-A170-F1A1C19DFC82}"/>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1" name="Freeform: Shape 230">
                <a:extLst>
                  <a:ext uri="{FF2B5EF4-FFF2-40B4-BE49-F238E27FC236}">
                    <a16:creationId xmlns:a16="http://schemas.microsoft.com/office/drawing/2014/main" id="{12839444-3500-4CD7-A56F-2AD372A719E1}"/>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2" name="Freeform: Shape 231">
                <a:extLst>
                  <a:ext uri="{FF2B5EF4-FFF2-40B4-BE49-F238E27FC236}">
                    <a16:creationId xmlns:a16="http://schemas.microsoft.com/office/drawing/2014/main" id="{FC4438AC-2ECF-45CE-B0F0-1D84A419DA84}"/>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3" name="Freeform: Shape 232">
                <a:extLst>
                  <a:ext uri="{FF2B5EF4-FFF2-40B4-BE49-F238E27FC236}">
                    <a16:creationId xmlns:a16="http://schemas.microsoft.com/office/drawing/2014/main" id="{B5F9E319-1E54-44E7-91B5-3C094D5CB878}"/>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4" name="Freeform: Shape 233">
                <a:extLst>
                  <a:ext uri="{FF2B5EF4-FFF2-40B4-BE49-F238E27FC236}">
                    <a16:creationId xmlns:a16="http://schemas.microsoft.com/office/drawing/2014/main" id="{C3B60901-3F94-4225-BE84-A403DAE19ACC}"/>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5" name="Freeform: Shape 234">
                <a:extLst>
                  <a:ext uri="{FF2B5EF4-FFF2-40B4-BE49-F238E27FC236}">
                    <a16:creationId xmlns:a16="http://schemas.microsoft.com/office/drawing/2014/main" id="{2E8BC919-121C-42FA-8137-16DFDA6FF607}"/>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6" name="Freeform: Shape 235">
                <a:extLst>
                  <a:ext uri="{FF2B5EF4-FFF2-40B4-BE49-F238E27FC236}">
                    <a16:creationId xmlns:a16="http://schemas.microsoft.com/office/drawing/2014/main" id="{CF42BC49-2BA7-4FD7-9E9A-D07E891D4EB2}"/>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7" name="Freeform: Shape 236">
                <a:extLst>
                  <a:ext uri="{FF2B5EF4-FFF2-40B4-BE49-F238E27FC236}">
                    <a16:creationId xmlns:a16="http://schemas.microsoft.com/office/drawing/2014/main" id="{5964456A-4D6F-4B1B-B7CC-738AF4096CBA}"/>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8" name="Freeform: Shape 237">
                <a:extLst>
                  <a:ext uri="{FF2B5EF4-FFF2-40B4-BE49-F238E27FC236}">
                    <a16:creationId xmlns:a16="http://schemas.microsoft.com/office/drawing/2014/main" id="{CC0D58C0-C893-4DAD-99A3-F2F17E7185CA}"/>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39" name="Freeform: Shape 238">
                <a:extLst>
                  <a:ext uri="{FF2B5EF4-FFF2-40B4-BE49-F238E27FC236}">
                    <a16:creationId xmlns:a16="http://schemas.microsoft.com/office/drawing/2014/main" id="{4D3ABEE8-F8BF-418D-941D-E7B659F7EE11}"/>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0" name="Freeform: Shape 239">
                <a:extLst>
                  <a:ext uri="{FF2B5EF4-FFF2-40B4-BE49-F238E27FC236}">
                    <a16:creationId xmlns:a16="http://schemas.microsoft.com/office/drawing/2014/main" id="{7B356CCF-13C9-4880-B4D6-7DE59D7B9595}"/>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1" name="Freeform: Shape 240">
                <a:extLst>
                  <a:ext uri="{FF2B5EF4-FFF2-40B4-BE49-F238E27FC236}">
                    <a16:creationId xmlns:a16="http://schemas.microsoft.com/office/drawing/2014/main" id="{7276E69C-26D3-4324-BEFA-8550C33829B5}"/>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2" name="Freeform: Shape 241">
                <a:extLst>
                  <a:ext uri="{FF2B5EF4-FFF2-40B4-BE49-F238E27FC236}">
                    <a16:creationId xmlns:a16="http://schemas.microsoft.com/office/drawing/2014/main" id="{B6B2F047-2838-4E2E-AFE6-499FA0D039B0}"/>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5" name="Freeform: Shape 244">
                <a:extLst>
                  <a:ext uri="{FF2B5EF4-FFF2-40B4-BE49-F238E27FC236}">
                    <a16:creationId xmlns:a16="http://schemas.microsoft.com/office/drawing/2014/main" id="{D77068C0-4614-4477-B431-B57242DB4895}"/>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6" name="Freeform: Shape 245">
                <a:extLst>
                  <a:ext uri="{FF2B5EF4-FFF2-40B4-BE49-F238E27FC236}">
                    <a16:creationId xmlns:a16="http://schemas.microsoft.com/office/drawing/2014/main" id="{2A9A831E-E3C1-4B1A-A483-8FBA8617A71B}"/>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47" name="Freeform: Shape 246">
                <a:extLst>
                  <a:ext uri="{FF2B5EF4-FFF2-40B4-BE49-F238E27FC236}">
                    <a16:creationId xmlns:a16="http://schemas.microsoft.com/office/drawing/2014/main" id="{2795A466-A1B8-4712-B1CF-29B85CE4B6BA}"/>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0" name="Freeform: Shape 249">
                <a:extLst>
                  <a:ext uri="{FF2B5EF4-FFF2-40B4-BE49-F238E27FC236}">
                    <a16:creationId xmlns:a16="http://schemas.microsoft.com/office/drawing/2014/main" id="{94B8C30C-29CF-4060-9682-887D1D4FFDF7}"/>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1" name="Freeform: Shape 250">
                <a:extLst>
                  <a:ext uri="{FF2B5EF4-FFF2-40B4-BE49-F238E27FC236}">
                    <a16:creationId xmlns:a16="http://schemas.microsoft.com/office/drawing/2014/main" id="{164B3C88-2022-42E8-A30B-4A2F5FA73FDB}"/>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29" name="Oval 228">
              <a:extLst>
                <a:ext uri="{FF2B5EF4-FFF2-40B4-BE49-F238E27FC236}">
                  <a16:creationId xmlns:a16="http://schemas.microsoft.com/office/drawing/2014/main" id="{4190BCA5-D297-4065-B366-0CF819F49463}"/>
                </a:ext>
              </a:extLst>
            </p:cNvPr>
            <p:cNvSpPr/>
            <p:nvPr/>
          </p:nvSpPr>
          <p:spPr>
            <a:xfrm>
              <a:off x="656150" y="2298030"/>
              <a:ext cx="245129" cy="24512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Rectangle 6">
            <a:extLst>
              <a:ext uri="{FF2B5EF4-FFF2-40B4-BE49-F238E27FC236}">
                <a16:creationId xmlns:a16="http://schemas.microsoft.com/office/drawing/2014/main" id="{29E30B38-A8E4-4086-88A1-BFCDD23D2405}"/>
              </a:ext>
            </a:extLst>
          </p:cNvPr>
          <p:cNvSpPr/>
          <p:nvPr/>
        </p:nvSpPr>
        <p:spPr>
          <a:xfrm>
            <a:off x="6099486" y="1978120"/>
            <a:ext cx="5724853" cy="1538883"/>
          </a:xfrm>
          <a:prstGeom prst="rect">
            <a:avLst/>
          </a:prstGeom>
        </p:spPr>
        <p:txBody>
          <a:bodyPr wrap="square">
            <a:spAutoFit/>
          </a:bodyPr>
          <a:lstStyle/>
          <a:p>
            <a:pPr>
              <a:spcBef>
                <a:spcPts val="600"/>
              </a:spcBef>
              <a:spcAft>
                <a:spcPts val="600"/>
              </a:spcAft>
            </a:pPr>
            <a:r>
              <a:rPr lang="en-US" sz="1600" dirty="0">
                <a:solidFill>
                  <a:schemeClr val="bg1"/>
                </a:solidFill>
                <a:latin typeface="CiscoSansTT" panose="020B0503020201020303" pitchFamily="34" charset="0"/>
              </a:rPr>
              <a:t>Integrated and open platform covering every threat vector</a:t>
            </a:r>
          </a:p>
          <a:p>
            <a:pPr>
              <a:spcBef>
                <a:spcPts val="600"/>
              </a:spcBef>
              <a:spcAft>
                <a:spcPts val="600"/>
              </a:spcAft>
            </a:pPr>
            <a:r>
              <a:rPr lang="en-US" sz="1600" dirty="0">
                <a:solidFill>
                  <a:schemeClr val="bg1"/>
                </a:solidFill>
                <a:latin typeface="CiscoSansTT" panose="020B0503020201020303" pitchFamily="34" charset="0"/>
              </a:rPr>
              <a:t>Unified visibility across your infrastructure</a:t>
            </a:r>
          </a:p>
          <a:p>
            <a:pPr>
              <a:spcBef>
                <a:spcPts val="600"/>
              </a:spcBef>
              <a:spcAft>
                <a:spcPts val="600"/>
              </a:spcAft>
            </a:pPr>
            <a:r>
              <a:rPr lang="en-US" sz="1600" dirty="0">
                <a:solidFill>
                  <a:schemeClr val="bg1"/>
                </a:solidFill>
                <a:latin typeface="CiscoSansTT" panose="020B0503020201020303" pitchFamily="34" charset="0"/>
              </a:rPr>
              <a:t>Frictionless user experience</a:t>
            </a:r>
          </a:p>
          <a:p>
            <a:pPr>
              <a:spcBef>
                <a:spcPts val="600"/>
              </a:spcBef>
              <a:spcAft>
                <a:spcPts val="600"/>
              </a:spcAft>
            </a:pPr>
            <a:r>
              <a:rPr lang="en-US" sz="1600" dirty="0">
                <a:solidFill>
                  <a:schemeClr val="bg1"/>
                </a:solidFill>
                <a:latin typeface="CiscoSansTT" panose="020B0503020201020303" pitchFamily="34" charset="0"/>
              </a:rPr>
              <a:t>Constant threat intelligence</a:t>
            </a:r>
          </a:p>
        </p:txBody>
      </p:sp>
      <p:grpSp>
        <p:nvGrpSpPr>
          <p:cNvPr id="253" name="Group 252">
            <a:extLst>
              <a:ext uri="{FF2B5EF4-FFF2-40B4-BE49-F238E27FC236}">
                <a16:creationId xmlns:a16="http://schemas.microsoft.com/office/drawing/2014/main" id="{A1A15BF3-DF69-4B6B-9811-4ADF7805F051}"/>
              </a:ext>
            </a:extLst>
          </p:cNvPr>
          <p:cNvGrpSpPr/>
          <p:nvPr/>
        </p:nvGrpSpPr>
        <p:grpSpPr>
          <a:xfrm>
            <a:off x="5785300" y="2460449"/>
            <a:ext cx="218294" cy="223385"/>
            <a:chOff x="571359" y="2208404"/>
            <a:chExt cx="414711" cy="424381"/>
          </a:xfrm>
        </p:grpSpPr>
        <p:grpSp>
          <p:nvGrpSpPr>
            <p:cNvPr id="254" name="Graphic 75">
              <a:extLst>
                <a:ext uri="{FF2B5EF4-FFF2-40B4-BE49-F238E27FC236}">
                  <a16:creationId xmlns:a16="http://schemas.microsoft.com/office/drawing/2014/main" id="{6070E7A4-669C-4584-9DD4-E64505B57262}"/>
                </a:ext>
              </a:extLst>
            </p:cNvPr>
            <p:cNvGrpSpPr/>
            <p:nvPr/>
          </p:nvGrpSpPr>
          <p:grpSpPr>
            <a:xfrm>
              <a:off x="571359" y="2208404"/>
              <a:ext cx="414711" cy="424381"/>
              <a:chOff x="4820236" y="1931698"/>
              <a:chExt cx="926552" cy="948156"/>
            </a:xfrm>
            <a:solidFill>
              <a:srgbClr val="1E4471"/>
            </a:solidFill>
          </p:grpSpPr>
          <p:sp>
            <p:nvSpPr>
              <p:cNvPr id="256" name="Freeform: Shape 255">
                <a:extLst>
                  <a:ext uri="{FF2B5EF4-FFF2-40B4-BE49-F238E27FC236}">
                    <a16:creationId xmlns:a16="http://schemas.microsoft.com/office/drawing/2014/main" id="{CFF846A8-DAFF-4F62-A176-8034FBAA2B9E}"/>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7" name="Freeform: Shape 256">
                <a:extLst>
                  <a:ext uri="{FF2B5EF4-FFF2-40B4-BE49-F238E27FC236}">
                    <a16:creationId xmlns:a16="http://schemas.microsoft.com/office/drawing/2014/main" id="{7E2BA0AD-8658-4E1B-89D2-CB012CFA6697}"/>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8" name="Freeform: Shape 257">
                <a:extLst>
                  <a:ext uri="{FF2B5EF4-FFF2-40B4-BE49-F238E27FC236}">
                    <a16:creationId xmlns:a16="http://schemas.microsoft.com/office/drawing/2014/main" id="{7762D5C1-01D0-4AE5-88FD-A3D3DA5DCAAD}"/>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59" name="Freeform: Shape 258">
                <a:extLst>
                  <a:ext uri="{FF2B5EF4-FFF2-40B4-BE49-F238E27FC236}">
                    <a16:creationId xmlns:a16="http://schemas.microsoft.com/office/drawing/2014/main" id="{461213EC-5C86-400C-918E-65E155BE4490}"/>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0" name="Freeform: Shape 259">
                <a:extLst>
                  <a:ext uri="{FF2B5EF4-FFF2-40B4-BE49-F238E27FC236}">
                    <a16:creationId xmlns:a16="http://schemas.microsoft.com/office/drawing/2014/main" id="{3B26CB67-B489-4943-B912-BCC0697AF6A9}"/>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1" name="Freeform: Shape 260">
                <a:extLst>
                  <a:ext uri="{FF2B5EF4-FFF2-40B4-BE49-F238E27FC236}">
                    <a16:creationId xmlns:a16="http://schemas.microsoft.com/office/drawing/2014/main" id="{E2BFD73E-8D60-47DE-925D-D47063816E15}"/>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2" name="Freeform: Shape 261">
                <a:extLst>
                  <a:ext uri="{FF2B5EF4-FFF2-40B4-BE49-F238E27FC236}">
                    <a16:creationId xmlns:a16="http://schemas.microsoft.com/office/drawing/2014/main" id="{CA88FC6E-3A5D-4B9D-9C55-18D104E13C46}"/>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3" name="Freeform: Shape 262">
                <a:extLst>
                  <a:ext uri="{FF2B5EF4-FFF2-40B4-BE49-F238E27FC236}">
                    <a16:creationId xmlns:a16="http://schemas.microsoft.com/office/drawing/2014/main" id="{C2140D8D-1354-47ED-AE4E-EA89893BBB55}"/>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4" name="Freeform: Shape 263">
                <a:extLst>
                  <a:ext uri="{FF2B5EF4-FFF2-40B4-BE49-F238E27FC236}">
                    <a16:creationId xmlns:a16="http://schemas.microsoft.com/office/drawing/2014/main" id="{E6454208-2E2E-4DA6-868E-F18D6EE916AE}"/>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5" name="Freeform: Shape 264">
                <a:extLst>
                  <a:ext uri="{FF2B5EF4-FFF2-40B4-BE49-F238E27FC236}">
                    <a16:creationId xmlns:a16="http://schemas.microsoft.com/office/drawing/2014/main" id="{757469BC-BEE2-4CC3-A5EB-A95B5C414211}"/>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6" name="Freeform: Shape 265">
                <a:extLst>
                  <a:ext uri="{FF2B5EF4-FFF2-40B4-BE49-F238E27FC236}">
                    <a16:creationId xmlns:a16="http://schemas.microsoft.com/office/drawing/2014/main" id="{CDB01543-95F2-4675-97F5-2951E9B512FC}"/>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7" name="Freeform: Shape 266">
                <a:extLst>
                  <a:ext uri="{FF2B5EF4-FFF2-40B4-BE49-F238E27FC236}">
                    <a16:creationId xmlns:a16="http://schemas.microsoft.com/office/drawing/2014/main" id="{3EF8FE99-F7A4-4145-9C34-5068BB63E960}"/>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8" name="Freeform: Shape 267">
                <a:extLst>
                  <a:ext uri="{FF2B5EF4-FFF2-40B4-BE49-F238E27FC236}">
                    <a16:creationId xmlns:a16="http://schemas.microsoft.com/office/drawing/2014/main" id="{3ACEEE3B-23F9-4AD5-AFA1-CA21D3477EEC}"/>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69" name="Freeform: Shape 268">
                <a:extLst>
                  <a:ext uri="{FF2B5EF4-FFF2-40B4-BE49-F238E27FC236}">
                    <a16:creationId xmlns:a16="http://schemas.microsoft.com/office/drawing/2014/main" id="{5D225601-F89C-48B0-B6FE-CA3D61C7ECE9}"/>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0" name="Freeform: Shape 269">
                <a:extLst>
                  <a:ext uri="{FF2B5EF4-FFF2-40B4-BE49-F238E27FC236}">
                    <a16:creationId xmlns:a16="http://schemas.microsoft.com/office/drawing/2014/main" id="{9D283248-F635-4B0E-AFD9-50ED03838318}"/>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1" name="Freeform: Shape 270">
                <a:extLst>
                  <a:ext uri="{FF2B5EF4-FFF2-40B4-BE49-F238E27FC236}">
                    <a16:creationId xmlns:a16="http://schemas.microsoft.com/office/drawing/2014/main" id="{BEF8CB52-DE33-41C1-B4DE-47DBCA1CCD10}"/>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2" name="Freeform: Shape 271">
                <a:extLst>
                  <a:ext uri="{FF2B5EF4-FFF2-40B4-BE49-F238E27FC236}">
                    <a16:creationId xmlns:a16="http://schemas.microsoft.com/office/drawing/2014/main" id="{FD374302-4471-4DB6-A2C4-585E0A093959}"/>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3" name="Freeform: Shape 272">
                <a:extLst>
                  <a:ext uri="{FF2B5EF4-FFF2-40B4-BE49-F238E27FC236}">
                    <a16:creationId xmlns:a16="http://schemas.microsoft.com/office/drawing/2014/main" id="{8E5C149E-06E3-4785-B3C4-CC63F98B11F8}"/>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55" name="Oval 254">
              <a:extLst>
                <a:ext uri="{FF2B5EF4-FFF2-40B4-BE49-F238E27FC236}">
                  <a16:creationId xmlns:a16="http://schemas.microsoft.com/office/drawing/2014/main" id="{628ED490-5980-4E60-9372-7D28F58F1218}"/>
                </a:ext>
              </a:extLst>
            </p:cNvPr>
            <p:cNvSpPr/>
            <p:nvPr/>
          </p:nvSpPr>
          <p:spPr>
            <a:xfrm>
              <a:off x="656150" y="2298030"/>
              <a:ext cx="245129" cy="24512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4" name="Group 273">
            <a:extLst>
              <a:ext uri="{FF2B5EF4-FFF2-40B4-BE49-F238E27FC236}">
                <a16:creationId xmlns:a16="http://schemas.microsoft.com/office/drawing/2014/main" id="{C8A74257-3991-48C0-BC7E-0ABD16F36CB8}"/>
              </a:ext>
            </a:extLst>
          </p:cNvPr>
          <p:cNvGrpSpPr/>
          <p:nvPr/>
        </p:nvGrpSpPr>
        <p:grpSpPr>
          <a:xfrm>
            <a:off x="5785300" y="2833083"/>
            <a:ext cx="218294" cy="223385"/>
            <a:chOff x="571359" y="2208404"/>
            <a:chExt cx="414711" cy="424381"/>
          </a:xfrm>
        </p:grpSpPr>
        <p:grpSp>
          <p:nvGrpSpPr>
            <p:cNvPr id="275" name="Graphic 75">
              <a:extLst>
                <a:ext uri="{FF2B5EF4-FFF2-40B4-BE49-F238E27FC236}">
                  <a16:creationId xmlns:a16="http://schemas.microsoft.com/office/drawing/2014/main" id="{03A479B3-01E1-43C1-96A1-A51900E41F3B}"/>
                </a:ext>
              </a:extLst>
            </p:cNvPr>
            <p:cNvGrpSpPr/>
            <p:nvPr/>
          </p:nvGrpSpPr>
          <p:grpSpPr>
            <a:xfrm>
              <a:off x="571359" y="2208404"/>
              <a:ext cx="414711" cy="424381"/>
              <a:chOff x="4820236" y="1931698"/>
              <a:chExt cx="926552" cy="948156"/>
            </a:xfrm>
            <a:solidFill>
              <a:srgbClr val="1E4471"/>
            </a:solidFill>
          </p:grpSpPr>
          <p:sp>
            <p:nvSpPr>
              <p:cNvPr id="277" name="Freeform: Shape 276">
                <a:extLst>
                  <a:ext uri="{FF2B5EF4-FFF2-40B4-BE49-F238E27FC236}">
                    <a16:creationId xmlns:a16="http://schemas.microsoft.com/office/drawing/2014/main" id="{E4D5AF98-0916-4BBD-950F-8229EE5DAD37}"/>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8" name="Freeform: Shape 277">
                <a:extLst>
                  <a:ext uri="{FF2B5EF4-FFF2-40B4-BE49-F238E27FC236}">
                    <a16:creationId xmlns:a16="http://schemas.microsoft.com/office/drawing/2014/main" id="{40C78BC3-AD86-476D-8E59-6B934DB34467}"/>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79" name="Freeform: Shape 278">
                <a:extLst>
                  <a:ext uri="{FF2B5EF4-FFF2-40B4-BE49-F238E27FC236}">
                    <a16:creationId xmlns:a16="http://schemas.microsoft.com/office/drawing/2014/main" id="{E4855CEC-40C6-4814-83EC-C5F03EDF3BC5}"/>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0" name="Freeform: Shape 279">
                <a:extLst>
                  <a:ext uri="{FF2B5EF4-FFF2-40B4-BE49-F238E27FC236}">
                    <a16:creationId xmlns:a16="http://schemas.microsoft.com/office/drawing/2014/main" id="{31116C85-CB8A-4CB0-B8A1-0EABF699F9F2}"/>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1" name="Freeform: Shape 280">
                <a:extLst>
                  <a:ext uri="{FF2B5EF4-FFF2-40B4-BE49-F238E27FC236}">
                    <a16:creationId xmlns:a16="http://schemas.microsoft.com/office/drawing/2014/main" id="{CE19DC3B-0851-4FD1-9DAF-85D8EAB519AF}"/>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2" name="Freeform: Shape 281">
                <a:extLst>
                  <a:ext uri="{FF2B5EF4-FFF2-40B4-BE49-F238E27FC236}">
                    <a16:creationId xmlns:a16="http://schemas.microsoft.com/office/drawing/2014/main" id="{F1DDEC1B-CF97-4A2A-8B1A-52C31F8FFE1F}"/>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3" name="Freeform: Shape 282">
                <a:extLst>
                  <a:ext uri="{FF2B5EF4-FFF2-40B4-BE49-F238E27FC236}">
                    <a16:creationId xmlns:a16="http://schemas.microsoft.com/office/drawing/2014/main" id="{83FEA48E-2090-40FC-BAED-F65DD8BD21EF}"/>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4" name="Freeform: Shape 283">
                <a:extLst>
                  <a:ext uri="{FF2B5EF4-FFF2-40B4-BE49-F238E27FC236}">
                    <a16:creationId xmlns:a16="http://schemas.microsoft.com/office/drawing/2014/main" id="{33C865D8-06C9-4EBD-BD0F-58B3731A7BFD}"/>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5" name="Freeform: Shape 284">
                <a:extLst>
                  <a:ext uri="{FF2B5EF4-FFF2-40B4-BE49-F238E27FC236}">
                    <a16:creationId xmlns:a16="http://schemas.microsoft.com/office/drawing/2014/main" id="{460C40F5-EE89-4289-BAD7-D0BC7DFF8452}"/>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6" name="Freeform: Shape 285">
                <a:extLst>
                  <a:ext uri="{FF2B5EF4-FFF2-40B4-BE49-F238E27FC236}">
                    <a16:creationId xmlns:a16="http://schemas.microsoft.com/office/drawing/2014/main" id="{A4D4A2A5-69C6-4C0B-AEF8-B77B664DD9D1}"/>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7" name="Freeform: Shape 286">
                <a:extLst>
                  <a:ext uri="{FF2B5EF4-FFF2-40B4-BE49-F238E27FC236}">
                    <a16:creationId xmlns:a16="http://schemas.microsoft.com/office/drawing/2014/main" id="{4CF8F411-3599-442E-B622-66AE872DEDD3}"/>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8" name="Freeform: Shape 287">
                <a:extLst>
                  <a:ext uri="{FF2B5EF4-FFF2-40B4-BE49-F238E27FC236}">
                    <a16:creationId xmlns:a16="http://schemas.microsoft.com/office/drawing/2014/main" id="{7DCD3373-E617-43F3-81C8-D11BBC62FD9D}"/>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89" name="Freeform: Shape 288">
                <a:extLst>
                  <a:ext uri="{FF2B5EF4-FFF2-40B4-BE49-F238E27FC236}">
                    <a16:creationId xmlns:a16="http://schemas.microsoft.com/office/drawing/2014/main" id="{5325AA81-1350-42C2-95AC-D39992955006}"/>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0" name="Freeform: Shape 289">
                <a:extLst>
                  <a:ext uri="{FF2B5EF4-FFF2-40B4-BE49-F238E27FC236}">
                    <a16:creationId xmlns:a16="http://schemas.microsoft.com/office/drawing/2014/main" id="{5AB82A27-A0FA-41DA-9926-74A7BC129D4A}"/>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1" name="Freeform: Shape 290">
                <a:extLst>
                  <a:ext uri="{FF2B5EF4-FFF2-40B4-BE49-F238E27FC236}">
                    <a16:creationId xmlns:a16="http://schemas.microsoft.com/office/drawing/2014/main" id="{CB580D94-7D56-4BF8-81B6-9AF325BA7256}"/>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2" name="Freeform: Shape 291">
                <a:extLst>
                  <a:ext uri="{FF2B5EF4-FFF2-40B4-BE49-F238E27FC236}">
                    <a16:creationId xmlns:a16="http://schemas.microsoft.com/office/drawing/2014/main" id="{65B935C5-1CB7-475F-8042-48D8242AAE70}"/>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3" name="Freeform: Shape 292">
                <a:extLst>
                  <a:ext uri="{FF2B5EF4-FFF2-40B4-BE49-F238E27FC236}">
                    <a16:creationId xmlns:a16="http://schemas.microsoft.com/office/drawing/2014/main" id="{496EF2FC-6867-4187-85AB-72B9E44DC15B}"/>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4" name="Freeform: Shape 293">
                <a:extLst>
                  <a:ext uri="{FF2B5EF4-FFF2-40B4-BE49-F238E27FC236}">
                    <a16:creationId xmlns:a16="http://schemas.microsoft.com/office/drawing/2014/main" id="{BE736F4F-E316-43E8-B04A-0B929C2BB577}"/>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76" name="Oval 275">
              <a:extLst>
                <a:ext uri="{FF2B5EF4-FFF2-40B4-BE49-F238E27FC236}">
                  <a16:creationId xmlns:a16="http://schemas.microsoft.com/office/drawing/2014/main" id="{231E1E37-B496-4312-8224-2D5E885A3141}"/>
                </a:ext>
              </a:extLst>
            </p:cNvPr>
            <p:cNvSpPr/>
            <p:nvPr/>
          </p:nvSpPr>
          <p:spPr>
            <a:xfrm>
              <a:off x="656150" y="2298030"/>
              <a:ext cx="245129" cy="24512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5" name="Group 294">
            <a:extLst>
              <a:ext uri="{FF2B5EF4-FFF2-40B4-BE49-F238E27FC236}">
                <a16:creationId xmlns:a16="http://schemas.microsoft.com/office/drawing/2014/main" id="{FDE54F05-B40D-462B-8887-C641E3735EE4}"/>
              </a:ext>
            </a:extLst>
          </p:cNvPr>
          <p:cNvGrpSpPr/>
          <p:nvPr/>
        </p:nvGrpSpPr>
        <p:grpSpPr>
          <a:xfrm>
            <a:off x="5785300" y="3229145"/>
            <a:ext cx="218294" cy="223385"/>
            <a:chOff x="571359" y="2208404"/>
            <a:chExt cx="414711" cy="424381"/>
          </a:xfrm>
        </p:grpSpPr>
        <p:grpSp>
          <p:nvGrpSpPr>
            <p:cNvPr id="296" name="Graphic 75">
              <a:extLst>
                <a:ext uri="{FF2B5EF4-FFF2-40B4-BE49-F238E27FC236}">
                  <a16:creationId xmlns:a16="http://schemas.microsoft.com/office/drawing/2014/main" id="{CEBBB793-BFCC-4CEF-BAEC-206650064699}"/>
                </a:ext>
              </a:extLst>
            </p:cNvPr>
            <p:cNvGrpSpPr/>
            <p:nvPr/>
          </p:nvGrpSpPr>
          <p:grpSpPr>
            <a:xfrm>
              <a:off x="571359" y="2208404"/>
              <a:ext cx="414711" cy="424381"/>
              <a:chOff x="4820236" y="1931698"/>
              <a:chExt cx="926552" cy="948156"/>
            </a:xfrm>
            <a:solidFill>
              <a:srgbClr val="1E4471"/>
            </a:solidFill>
          </p:grpSpPr>
          <p:sp>
            <p:nvSpPr>
              <p:cNvPr id="298" name="Freeform: Shape 297">
                <a:extLst>
                  <a:ext uri="{FF2B5EF4-FFF2-40B4-BE49-F238E27FC236}">
                    <a16:creationId xmlns:a16="http://schemas.microsoft.com/office/drawing/2014/main" id="{55815FC5-7760-4698-9ACA-52326E79485F}"/>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299" name="Freeform: Shape 298">
                <a:extLst>
                  <a:ext uri="{FF2B5EF4-FFF2-40B4-BE49-F238E27FC236}">
                    <a16:creationId xmlns:a16="http://schemas.microsoft.com/office/drawing/2014/main" id="{473E05E6-DEFA-4BD1-B3AB-1829EA350F4F}"/>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0" name="Freeform: Shape 299">
                <a:extLst>
                  <a:ext uri="{FF2B5EF4-FFF2-40B4-BE49-F238E27FC236}">
                    <a16:creationId xmlns:a16="http://schemas.microsoft.com/office/drawing/2014/main" id="{2E7EA607-75D6-442A-8195-BD4BD169779B}"/>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1" name="Freeform: Shape 300">
                <a:extLst>
                  <a:ext uri="{FF2B5EF4-FFF2-40B4-BE49-F238E27FC236}">
                    <a16:creationId xmlns:a16="http://schemas.microsoft.com/office/drawing/2014/main" id="{CB536C14-170E-497B-AB34-10EFB1685CBE}"/>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2" name="Freeform: Shape 301">
                <a:extLst>
                  <a:ext uri="{FF2B5EF4-FFF2-40B4-BE49-F238E27FC236}">
                    <a16:creationId xmlns:a16="http://schemas.microsoft.com/office/drawing/2014/main" id="{9D27F3D4-2EEA-4453-AE11-FC197AD9F40A}"/>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3" name="Freeform: Shape 302">
                <a:extLst>
                  <a:ext uri="{FF2B5EF4-FFF2-40B4-BE49-F238E27FC236}">
                    <a16:creationId xmlns:a16="http://schemas.microsoft.com/office/drawing/2014/main" id="{F5B7EA0E-F8E0-4C5D-A3EC-3CDB025A83A9}"/>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4" name="Freeform: Shape 303">
                <a:extLst>
                  <a:ext uri="{FF2B5EF4-FFF2-40B4-BE49-F238E27FC236}">
                    <a16:creationId xmlns:a16="http://schemas.microsoft.com/office/drawing/2014/main" id="{7ECFF773-D909-4AB9-A906-3D2429F47C45}"/>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5" name="Freeform: Shape 304">
                <a:extLst>
                  <a:ext uri="{FF2B5EF4-FFF2-40B4-BE49-F238E27FC236}">
                    <a16:creationId xmlns:a16="http://schemas.microsoft.com/office/drawing/2014/main" id="{234F95CE-9374-4713-81D5-89329AFAFB45}"/>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6" name="Freeform: Shape 305">
                <a:extLst>
                  <a:ext uri="{FF2B5EF4-FFF2-40B4-BE49-F238E27FC236}">
                    <a16:creationId xmlns:a16="http://schemas.microsoft.com/office/drawing/2014/main" id="{5076BC24-74F7-42F1-BDB3-57A045F7B6EB}"/>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7" name="Freeform: Shape 306">
                <a:extLst>
                  <a:ext uri="{FF2B5EF4-FFF2-40B4-BE49-F238E27FC236}">
                    <a16:creationId xmlns:a16="http://schemas.microsoft.com/office/drawing/2014/main" id="{72EF69FF-E071-4ED7-ACE2-574C9E378D38}"/>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8" name="Freeform: Shape 307">
                <a:extLst>
                  <a:ext uri="{FF2B5EF4-FFF2-40B4-BE49-F238E27FC236}">
                    <a16:creationId xmlns:a16="http://schemas.microsoft.com/office/drawing/2014/main" id="{D1996D09-A5F3-42DF-899C-1AE71C7EE08A}"/>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09" name="Freeform: Shape 308">
                <a:extLst>
                  <a:ext uri="{FF2B5EF4-FFF2-40B4-BE49-F238E27FC236}">
                    <a16:creationId xmlns:a16="http://schemas.microsoft.com/office/drawing/2014/main" id="{9E08A0A9-0484-4F1E-A05E-E0715D8D6059}"/>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10" name="Freeform: Shape 309">
                <a:extLst>
                  <a:ext uri="{FF2B5EF4-FFF2-40B4-BE49-F238E27FC236}">
                    <a16:creationId xmlns:a16="http://schemas.microsoft.com/office/drawing/2014/main" id="{DA3EA438-7193-4864-AA6D-1C7AC72E96D3}"/>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11" name="Freeform: Shape 310">
                <a:extLst>
                  <a:ext uri="{FF2B5EF4-FFF2-40B4-BE49-F238E27FC236}">
                    <a16:creationId xmlns:a16="http://schemas.microsoft.com/office/drawing/2014/main" id="{43F0CEA8-96C9-410F-892D-BC8D52E90783}"/>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12" name="Freeform: Shape 311">
                <a:extLst>
                  <a:ext uri="{FF2B5EF4-FFF2-40B4-BE49-F238E27FC236}">
                    <a16:creationId xmlns:a16="http://schemas.microsoft.com/office/drawing/2014/main" id="{F91A6A88-42F5-4778-82CF-F4C85A87D2A7}"/>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13" name="Freeform: Shape 312">
                <a:extLst>
                  <a:ext uri="{FF2B5EF4-FFF2-40B4-BE49-F238E27FC236}">
                    <a16:creationId xmlns:a16="http://schemas.microsoft.com/office/drawing/2014/main" id="{3BDCD817-2741-47D6-9A27-C5D9BDC730DE}"/>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14" name="Freeform: Shape 313">
                <a:extLst>
                  <a:ext uri="{FF2B5EF4-FFF2-40B4-BE49-F238E27FC236}">
                    <a16:creationId xmlns:a16="http://schemas.microsoft.com/office/drawing/2014/main" id="{4DC80C69-F4B4-46C9-915F-BA9B3837EAD3}"/>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315" name="Freeform: Shape 314">
                <a:extLst>
                  <a:ext uri="{FF2B5EF4-FFF2-40B4-BE49-F238E27FC236}">
                    <a16:creationId xmlns:a16="http://schemas.microsoft.com/office/drawing/2014/main" id="{E6B4F58A-6C70-4228-9E76-9BDEE3E90371}"/>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297" name="Oval 296">
              <a:extLst>
                <a:ext uri="{FF2B5EF4-FFF2-40B4-BE49-F238E27FC236}">
                  <a16:creationId xmlns:a16="http://schemas.microsoft.com/office/drawing/2014/main" id="{12F6D165-7F05-43FC-9BB7-E1B37CEF5FFB}"/>
                </a:ext>
              </a:extLst>
            </p:cNvPr>
            <p:cNvSpPr/>
            <p:nvPr/>
          </p:nvSpPr>
          <p:spPr>
            <a:xfrm>
              <a:off x="656150" y="2298030"/>
              <a:ext cx="245129" cy="24512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TextBox 2">
            <a:extLst>
              <a:ext uri="{FF2B5EF4-FFF2-40B4-BE49-F238E27FC236}">
                <a16:creationId xmlns:a16="http://schemas.microsoft.com/office/drawing/2014/main" id="{F649D887-7BDE-4392-81CB-1267C0B5EF93}"/>
              </a:ext>
            </a:extLst>
          </p:cNvPr>
          <p:cNvSpPr txBox="1"/>
          <p:nvPr/>
        </p:nvSpPr>
        <p:spPr>
          <a:xfrm>
            <a:off x="7218277" y="3732379"/>
            <a:ext cx="4159390" cy="1736646"/>
          </a:xfrm>
          <a:prstGeom prst="roundRect">
            <a:avLst/>
          </a:prstGeom>
          <a:solidFill>
            <a:schemeClr val="bg2"/>
          </a:solidFill>
          <a:ln>
            <a:solidFill>
              <a:srgbClr val="00A4EF"/>
            </a:solidFill>
            <a:prstDash val="dash"/>
          </a:ln>
        </p:spPr>
        <p:txBody>
          <a:bodyPr wrap="square" rtlCol="0">
            <a:spAutoFit/>
          </a:bodyPr>
          <a:lstStyle/>
          <a:p>
            <a:r>
              <a:rPr lang="en-US" sz="2400" dirty="0">
                <a:latin typeface="+mn-lt"/>
              </a:rPr>
              <a:t>We’ve done the hard work to </a:t>
            </a:r>
            <a:r>
              <a:rPr lang="en-US" sz="2400" dirty="0">
                <a:solidFill>
                  <a:schemeClr val="accent1"/>
                </a:solidFill>
                <a:latin typeface="+mn-lt"/>
              </a:rPr>
              <a:t>simplify your experience</a:t>
            </a:r>
            <a:r>
              <a:rPr lang="en-US" sz="2400" dirty="0">
                <a:latin typeface="+mn-lt"/>
              </a:rPr>
              <a:t>, </a:t>
            </a:r>
            <a:r>
              <a:rPr lang="en-US" sz="2400" dirty="0">
                <a:solidFill>
                  <a:schemeClr val="accent2"/>
                </a:solidFill>
                <a:latin typeface="+mn-lt"/>
              </a:rPr>
              <a:t>accelerate your success </a:t>
            </a:r>
            <a:r>
              <a:rPr lang="en-US" sz="2400" dirty="0">
                <a:latin typeface="+mn-lt"/>
              </a:rPr>
              <a:t>and </a:t>
            </a:r>
            <a:r>
              <a:rPr lang="en-US" sz="2400" dirty="0">
                <a:solidFill>
                  <a:schemeClr val="accent3"/>
                </a:solidFill>
                <a:latin typeface="+mn-lt"/>
              </a:rPr>
              <a:t>secure your future.</a:t>
            </a:r>
            <a:endParaRPr lang="en-US" sz="2400" dirty="0">
              <a:latin typeface="+mn-lt"/>
            </a:endParaRPr>
          </a:p>
        </p:txBody>
      </p:sp>
    </p:spTree>
    <p:extLst>
      <p:ext uri="{BB962C8B-B14F-4D97-AF65-F5344CB8AC3E}">
        <p14:creationId xmlns:p14="http://schemas.microsoft.com/office/powerpoint/2010/main" val="40123185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0657F10D-A7E5-4B45-AE81-F0684666F659}"/>
              </a:ext>
            </a:extLst>
          </p:cNvPr>
          <p:cNvSpPr>
            <a:spLocks noGrp="1"/>
          </p:cNvSpPr>
          <p:nvPr>
            <p:ph type="ftr" sz="quarter" idx="10"/>
          </p:nvPr>
        </p:nvSpPr>
        <p:spPr/>
        <p:txBody>
          <a:bodyPr/>
          <a:lstStyle/>
          <a:p>
            <a:r>
              <a:rPr lang="en-US" dirty="0"/>
              <a:t>© 2020 Cisco and/or its affiliates. All rights reserved. Cisco Confidential</a:t>
            </a:r>
          </a:p>
        </p:txBody>
      </p:sp>
      <p:sp>
        <p:nvSpPr>
          <p:cNvPr id="2" name="Title 1">
            <a:extLst>
              <a:ext uri="{FF2B5EF4-FFF2-40B4-BE49-F238E27FC236}">
                <a16:creationId xmlns:a16="http://schemas.microsoft.com/office/drawing/2014/main" id="{975EC66A-ECCE-43EC-B704-92AB8C9C744E}"/>
              </a:ext>
            </a:extLst>
          </p:cNvPr>
          <p:cNvSpPr>
            <a:spLocks noGrp="1"/>
          </p:cNvSpPr>
          <p:nvPr>
            <p:ph type="title"/>
          </p:nvPr>
        </p:nvSpPr>
        <p:spPr>
          <a:xfrm>
            <a:off x="533400" y="481807"/>
            <a:ext cx="11127317" cy="393954"/>
          </a:xfrm>
        </p:spPr>
        <p:txBody>
          <a:bodyPr/>
          <a:lstStyle/>
          <a:p>
            <a:r>
              <a:rPr lang="en-US" sz="3200" dirty="0"/>
              <a:t>We help defend 100% of Fortune’s 100 every day</a:t>
            </a:r>
          </a:p>
        </p:txBody>
      </p:sp>
      <p:pic>
        <p:nvPicPr>
          <p:cNvPr id="9" name="Picture 8">
            <a:extLst>
              <a:ext uri="{FF2B5EF4-FFF2-40B4-BE49-F238E27FC236}">
                <a16:creationId xmlns:a16="http://schemas.microsoft.com/office/drawing/2014/main" id="{2405A55C-811F-41BA-9B9F-3DE55EBBAC8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2369451"/>
            <a:ext cx="4516306" cy="3515356"/>
          </a:xfrm>
          <a:custGeom>
            <a:avLst/>
            <a:gdLst>
              <a:gd name="connsiteX0" fmla="*/ 0 w 6266430"/>
              <a:gd name="connsiteY0" fmla="*/ 0 h 3515356"/>
              <a:gd name="connsiteX1" fmla="*/ 6266430 w 6266430"/>
              <a:gd name="connsiteY1" fmla="*/ 0 h 3515356"/>
              <a:gd name="connsiteX2" fmla="*/ 6266430 w 6266430"/>
              <a:gd name="connsiteY2" fmla="*/ 3515357 h 3515356"/>
              <a:gd name="connsiteX3" fmla="*/ 0 w 6266430"/>
              <a:gd name="connsiteY3" fmla="*/ 3515357 h 3515356"/>
            </a:gdLst>
            <a:ahLst/>
            <a:cxnLst>
              <a:cxn ang="0">
                <a:pos x="connsiteX0" y="connsiteY0"/>
              </a:cxn>
              <a:cxn ang="0">
                <a:pos x="connsiteX1" y="connsiteY1"/>
              </a:cxn>
              <a:cxn ang="0">
                <a:pos x="connsiteX2" y="connsiteY2"/>
              </a:cxn>
              <a:cxn ang="0">
                <a:pos x="connsiteX3" y="connsiteY3"/>
              </a:cxn>
            </a:cxnLst>
            <a:rect l="l" t="t" r="r" b="b"/>
            <a:pathLst>
              <a:path w="6266430" h="3515356">
                <a:moveTo>
                  <a:pt x="0" y="0"/>
                </a:moveTo>
                <a:lnTo>
                  <a:pt x="6266430" y="0"/>
                </a:lnTo>
                <a:lnTo>
                  <a:pt x="6266430" y="3515357"/>
                </a:lnTo>
                <a:lnTo>
                  <a:pt x="0" y="3515357"/>
                </a:lnTo>
                <a:close/>
              </a:path>
            </a:pathLst>
          </a:custGeom>
        </p:spPr>
      </p:pic>
      <p:sp>
        <p:nvSpPr>
          <p:cNvPr id="8" name="Freeform: Shape 7">
            <a:extLst>
              <a:ext uri="{FF2B5EF4-FFF2-40B4-BE49-F238E27FC236}">
                <a16:creationId xmlns:a16="http://schemas.microsoft.com/office/drawing/2014/main" id="{D9CF966C-D216-48AB-A954-78797401D8B3}"/>
              </a:ext>
            </a:extLst>
          </p:cNvPr>
          <p:cNvSpPr/>
          <p:nvPr/>
        </p:nvSpPr>
        <p:spPr>
          <a:xfrm>
            <a:off x="516325" y="1962251"/>
            <a:ext cx="3141730" cy="3141730"/>
          </a:xfrm>
          <a:custGeom>
            <a:avLst/>
            <a:gdLst>
              <a:gd name="connsiteX0" fmla="*/ 3141730 w 3141730"/>
              <a:gd name="connsiteY0" fmla="*/ 1570865 h 3141730"/>
              <a:gd name="connsiteX1" fmla="*/ 1570865 w 3141730"/>
              <a:gd name="connsiteY1" fmla="*/ 3141731 h 3141730"/>
              <a:gd name="connsiteX2" fmla="*/ -1 w 3141730"/>
              <a:gd name="connsiteY2" fmla="*/ 1570865 h 3141730"/>
              <a:gd name="connsiteX3" fmla="*/ 1570865 w 3141730"/>
              <a:gd name="connsiteY3" fmla="*/ 0 h 3141730"/>
              <a:gd name="connsiteX4" fmla="*/ 3141730 w 3141730"/>
              <a:gd name="connsiteY4" fmla="*/ 1570865 h 314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1730" h="3141730">
                <a:moveTo>
                  <a:pt x="3141730" y="1570865"/>
                </a:moveTo>
                <a:cubicBezTo>
                  <a:pt x="3141730" y="2438430"/>
                  <a:pt x="2438430" y="3141731"/>
                  <a:pt x="1570865" y="3141731"/>
                </a:cubicBezTo>
                <a:cubicBezTo>
                  <a:pt x="703300" y="3141731"/>
                  <a:pt x="-1" y="2438430"/>
                  <a:pt x="-1" y="1570865"/>
                </a:cubicBezTo>
                <a:cubicBezTo>
                  <a:pt x="-1" y="703300"/>
                  <a:pt x="703300" y="0"/>
                  <a:pt x="1570865" y="0"/>
                </a:cubicBezTo>
                <a:cubicBezTo>
                  <a:pt x="2438430" y="0"/>
                  <a:pt x="3141730" y="703300"/>
                  <a:pt x="3141730" y="1570865"/>
                </a:cubicBezTo>
                <a:close/>
              </a:path>
            </a:pathLst>
          </a:custGeom>
          <a:solidFill>
            <a:srgbClr val="6CBE4C"/>
          </a:solidFill>
          <a:ln w="5175" cap="flat">
            <a:noFill/>
            <a:prstDash val="solid"/>
            <a:miter/>
          </a:ln>
        </p:spPr>
        <p:txBody>
          <a:bodyPr rtlCol="0" anchor="ctr"/>
          <a:lstStyle/>
          <a:p>
            <a:endParaRPr lang="en-IN" dirty="0"/>
          </a:p>
        </p:txBody>
      </p:sp>
      <p:sp>
        <p:nvSpPr>
          <p:cNvPr id="57" name="Freeform: Shape 56">
            <a:extLst>
              <a:ext uri="{FF2B5EF4-FFF2-40B4-BE49-F238E27FC236}">
                <a16:creationId xmlns:a16="http://schemas.microsoft.com/office/drawing/2014/main" id="{9F7EBCB3-9734-4245-91A9-972CA74E97EC}"/>
              </a:ext>
            </a:extLst>
          </p:cNvPr>
          <p:cNvSpPr/>
          <p:nvPr/>
        </p:nvSpPr>
        <p:spPr>
          <a:xfrm>
            <a:off x="4265691" y="3498425"/>
            <a:ext cx="384962" cy="438298"/>
          </a:xfrm>
          <a:custGeom>
            <a:avLst/>
            <a:gdLst>
              <a:gd name="connsiteX0" fmla="*/ 35484 w 384962"/>
              <a:gd name="connsiteY0" fmla="*/ 438299 h 438298"/>
              <a:gd name="connsiteX1" fmla="*/ 20101 w 384962"/>
              <a:gd name="connsiteY1" fmla="*/ 434206 h 438298"/>
              <a:gd name="connsiteX2" fmla="*/ 4354 w 384962"/>
              <a:gd name="connsiteY2" fmla="*/ 407479 h 438298"/>
              <a:gd name="connsiteX3" fmla="*/ 3 w 384962"/>
              <a:gd name="connsiteY3" fmla="*/ 31584 h 438298"/>
              <a:gd name="connsiteX4" fmla="*/ 15594 w 384962"/>
              <a:gd name="connsiteY4" fmla="*/ 4235 h 438298"/>
              <a:gd name="connsiteX5" fmla="*/ 47035 w 384962"/>
              <a:gd name="connsiteY5" fmla="*/ 4390 h 438298"/>
              <a:gd name="connsiteX6" fmla="*/ 369682 w 384962"/>
              <a:gd name="connsiteY6" fmla="*/ 195627 h 438298"/>
              <a:gd name="connsiteX7" fmla="*/ 384962 w 384962"/>
              <a:gd name="connsiteY7" fmla="*/ 222562 h 438298"/>
              <a:gd name="connsiteX8" fmla="*/ 369423 w 384962"/>
              <a:gd name="connsiteY8" fmla="*/ 249393 h 438298"/>
              <a:gd name="connsiteX9" fmla="*/ 51075 w 384962"/>
              <a:gd name="connsiteY9" fmla="*/ 434103 h 438298"/>
              <a:gd name="connsiteX10" fmla="*/ 35484 w 384962"/>
              <a:gd name="connsiteY10" fmla="*/ 438299 h 438298"/>
              <a:gd name="connsiteX11" fmla="*/ 31133 w 384962"/>
              <a:gd name="connsiteY11" fmla="*/ 15578 h 438298"/>
              <a:gd name="connsiteX12" fmla="*/ 23312 w 384962"/>
              <a:gd name="connsiteY12" fmla="*/ 17702 h 438298"/>
              <a:gd name="connsiteX13" fmla="*/ 15490 w 384962"/>
              <a:gd name="connsiteY13" fmla="*/ 31428 h 438298"/>
              <a:gd name="connsiteX14" fmla="*/ 19841 w 384962"/>
              <a:gd name="connsiteY14" fmla="*/ 407324 h 438298"/>
              <a:gd name="connsiteX15" fmla="*/ 27766 w 384962"/>
              <a:gd name="connsiteY15" fmla="*/ 420739 h 438298"/>
              <a:gd name="connsiteX16" fmla="*/ 43306 w 384962"/>
              <a:gd name="connsiteY16" fmla="*/ 420687 h 438298"/>
              <a:gd name="connsiteX17" fmla="*/ 361653 w 384962"/>
              <a:gd name="connsiteY17" fmla="*/ 235977 h 438298"/>
              <a:gd name="connsiteX18" fmla="*/ 369423 w 384962"/>
              <a:gd name="connsiteY18" fmla="*/ 222562 h 438298"/>
              <a:gd name="connsiteX19" fmla="*/ 361757 w 384962"/>
              <a:gd name="connsiteY19" fmla="*/ 209043 h 438298"/>
              <a:gd name="connsiteX20" fmla="*/ 39110 w 384962"/>
              <a:gd name="connsiteY20" fmla="*/ 17806 h 438298"/>
              <a:gd name="connsiteX21" fmla="*/ 31133 w 384962"/>
              <a:gd name="connsiteY21" fmla="*/ 15578 h 43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4962" h="438298">
                <a:moveTo>
                  <a:pt x="35484" y="438299"/>
                </a:moveTo>
                <a:cubicBezTo>
                  <a:pt x="30201" y="438299"/>
                  <a:pt x="24918" y="436952"/>
                  <a:pt x="20101" y="434206"/>
                </a:cubicBezTo>
                <a:cubicBezTo>
                  <a:pt x="10363" y="428664"/>
                  <a:pt x="4458" y="418667"/>
                  <a:pt x="4354" y="407479"/>
                </a:cubicBezTo>
                <a:lnTo>
                  <a:pt x="3" y="31584"/>
                </a:lnTo>
                <a:cubicBezTo>
                  <a:pt x="-153" y="20188"/>
                  <a:pt x="5701" y="9933"/>
                  <a:pt x="15594" y="4235"/>
                </a:cubicBezTo>
                <a:cubicBezTo>
                  <a:pt x="25488" y="-1463"/>
                  <a:pt x="37245" y="-1411"/>
                  <a:pt x="47035" y="4390"/>
                </a:cubicBezTo>
                <a:lnTo>
                  <a:pt x="369682" y="195627"/>
                </a:lnTo>
                <a:cubicBezTo>
                  <a:pt x="379317" y="201325"/>
                  <a:pt x="385014" y="211373"/>
                  <a:pt x="384962" y="222562"/>
                </a:cubicBezTo>
                <a:cubicBezTo>
                  <a:pt x="384911" y="233750"/>
                  <a:pt x="379109" y="243747"/>
                  <a:pt x="369423" y="249393"/>
                </a:cubicBezTo>
                <a:lnTo>
                  <a:pt x="51075" y="434103"/>
                </a:lnTo>
                <a:cubicBezTo>
                  <a:pt x="46259" y="436900"/>
                  <a:pt x="40871" y="438299"/>
                  <a:pt x="35484" y="438299"/>
                </a:cubicBezTo>
                <a:close/>
                <a:moveTo>
                  <a:pt x="31133" y="15578"/>
                </a:moveTo>
                <a:cubicBezTo>
                  <a:pt x="28440" y="15578"/>
                  <a:pt x="25746" y="16304"/>
                  <a:pt x="23312" y="17702"/>
                </a:cubicBezTo>
                <a:cubicBezTo>
                  <a:pt x="18340" y="20551"/>
                  <a:pt x="15439" y="25679"/>
                  <a:pt x="15490" y="31428"/>
                </a:cubicBezTo>
                <a:lnTo>
                  <a:pt x="19841" y="407324"/>
                </a:lnTo>
                <a:cubicBezTo>
                  <a:pt x="19893" y="412918"/>
                  <a:pt x="22846" y="417942"/>
                  <a:pt x="27766" y="420739"/>
                </a:cubicBezTo>
                <a:cubicBezTo>
                  <a:pt x="32636" y="423484"/>
                  <a:pt x="38437" y="423484"/>
                  <a:pt x="43306" y="420687"/>
                </a:cubicBezTo>
                <a:lnTo>
                  <a:pt x="361653" y="235977"/>
                </a:lnTo>
                <a:cubicBezTo>
                  <a:pt x="366523" y="233180"/>
                  <a:pt x="369423" y="228156"/>
                  <a:pt x="369423" y="222562"/>
                </a:cubicBezTo>
                <a:cubicBezTo>
                  <a:pt x="369423" y="216967"/>
                  <a:pt x="366575" y="211891"/>
                  <a:pt x="361757" y="209043"/>
                </a:cubicBezTo>
                <a:lnTo>
                  <a:pt x="39110" y="17806"/>
                </a:lnTo>
                <a:cubicBezTo>
                  <a:pt x="36624" y="16304"/>
                  <a:pt x="33879" y="15578"/>
                  <a:pt x="31133" y="15578"/>
                </a:cubicBezTo>
                <a:close/>
              </a:path>
            </a:pathLst>
          </a:custGeom>
          <a:solidFill>
            <a:srgbClr val="6CBE4C"/>
          </a:solidFill>
          <a:ln w="5175" cap="flat">
            <a:noFill/>
            <a:prstDash val="solid"/>
            <a:miter/>
          </a:ln>
        </p:spPr>
        <p:txBody>
          <a:bodyPr rtlCol="0" anchor="ctr"/>
          <a:lstStyle/>
          <a:p>
            <a:endParaRPr lang="en-IN" dirty="0"/>
          </a:p>
        </p:txBody>
      </p:sp>
      <p:sp>
        <p:nvSpPr>
          <p:cNvPr id="58" name="Freeform: Shape 57">
            <a:extLst>
              <a:ext uri="{FF2B5EF4-FFF2-40B4-BE49-F238E27FC236}">
                <a16:creationId xmlns:a16="http://schemas.microsoft.com/office/drawing/2014/main" id="{005B5586-E544-4558-B58C-4522416B2A65}"/>
              </a:ext>
            </a:extLst>
          </p:cNvPr>
          <p:cNvSpPr/>
          <p:nvPr/>
        </p:nvSpPr>
        <p:spPr>
          <a:xfrm>
            <a:off x="3352334" y="4977780"/>
            <a:ext cx="385232" cy="437454"/>
          </a:xfrm>
          <a:custGeom>
            <a:avLst/>
            <a:gdLst>
              <a:gd name="connsiteX0" fmla="*/ 354049 w 385232"/>
              <a:gd name="connsiteY0" fmla="*/ 437454 h 437454"/>
              <a:gd name="connsiteX1" fmla="*/ 339079 w 385232"/>
              <a:gd name="connsiteY1" fmla="*/ 433569 h 437454"/>
              <a:gd name="connsiteX2" fmla="*/ 16225 w 385232"/>
              <a:gd name="connsiteY2" fmla="*/ 256939 h 437454"/>
              <a:gd name="connsiteX3" fmla="*/ 13 w 385232"/>
              <a:gd name="connsiteY3" fmla="*/ 230471 h 437454"/>
              <a:gd name="connsiteX4" fmla="*/ 14723 w 385232"/>
              <a:gd name="connsiteY4" fmla="*/ 203122 h 437454"/>
              <a:gd name="connsiteX5" fmla="*/ 334055 w 385232"/>
              <a:gd name="connsiteY5" fmla="*/ 4737 h 437454"/>
              <a:gd name="connsiteX6" fmla="*/ 365496 w 385232"/>
              <a:gd name="connsiteY6" fmla="*/ 3908 h 437454"/>
              <a:gd name="connsiteX7" fmla="*/ 381657 w 385232"/>
              <a:gd name="connsiteY7" fmla="*/ 30895 h 437454"/>
              <a:gd name="connsiteX8" fmla="*/ 385231 w 385232"/>
              <a:gd name="connsiteY8" fmla="*/ 405961 h 437454"/>
              <a:gd name="connsiteX9" fmla="*/ 370106 w 385232"/>
              <a:gd name="connsiteY9" fmla="*/ 432999 h 437454"/>
              <a:gd name="connsiteX10" fmla="*/ 354049 w 385232"/>
              <a:gd name="connsiteY10" fmla="*/ 437454 h 437454"/>
              <a:gd name="connsiteX11" fmla="*/ 350475 w 385232"/>
              <a:gd name="connsiteY11" fmla="*/ 15563 h 437454"/>
              <a:gd name="connsiteX12" fmla="*/ 342239 w 385232"/>
              <a:gd name="connsiteY12" fmla="*/ 17945 h 437454"/>
              <a:gd name="connsiteX13" fmla="*/ 22907 w 385232"/>
              <a:gd name="connsiteY13" fmla="*/ 216330 h 437454"/>
              <a:gd name="connsiteX14" fmla="*/ 15552 w 385232"/>
              <a:gd name="connsiteY14" fmla="*/ 230005 h 437454"/>
              <a:gd name="connsiteX15" fmla="*/ 23684 w 385232"/>
              <a:gd name="connsiteY15" fmla="*/ 243265 h 437454"/>
              <a:gd name="connsiteX16" fmla="*/ 346538 w 385232"/>
              <a:gd name="connsiteY16" fmla="*/ 419895 h 437454"/>
              <a:gd name="connsiteX17" fmla="*/ 362077 w 385232"/>
              <a:gd name="connsiteY17" fmla="*/ 419584 h 437454"/>
              <a:gd name="connsiteX18" fmla="*/ 369692 w 385232"/>
              <a:gd name="connsiteY18" fmla="*/ 406013 h 437454"/>
              <a:gd name="connsiteX19" fmla="*/ 366118 w 385232"/>
              <a:gd name="connsiteY19" fmla="*/ 30947 h 437454"/>
              <a:gd name="connsiteX20" fmla="*/ 358037 w 385232"/>
              <a:gd name="connsiteY20" fmla="*/ 17376 h 437454"/>
              <a:gd name="connsiteX21" fmla="*/ 350475 w 385232"/>
              <a:gd name="connsiteY21" fmla="*/ 15563 h 437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5232" h="437454">
                <a:moveTo>
                  <a:pt x="354049" y="437454"/>
                </a:moveTo>
                <a:cubicBezTo>
                  <a:pt x="348921" y="437454"/>
                  <a:pt x="343793" y="436159"/>
                  <a:pt x="339079" y="433569"/>
                </a:cubicBezTo>
                <a:lnTo>
                  <a:pt x="16225" y="256939"/>
                </a:lnTo>
                <a:cubicBezTo>
                  <a:pt x="6384" y="251553"/>
                  <a:pt x="323" y="241659"/>
                  <a:pt x="13" y="230471"/>
                </a:cubicBezTo>
                <a:cubicBezTo>
                  <a:pt x="-299" y="219282"/>
                  <a:pt x="5192" y="209079"/>
                  <a:pt x="14723" y="203122"/>
                </a:cubicBezTo>
                <a:lnTo>
                  <a:pt x="334055" y="4737"/>
                </a:lnTo>
                <a:cubicBezTo>
                  <a:pt x="343741" y="-1271"/>
                  <a:pt x="355499" y="-1582"/>
                  <a:pt x="365496" y="3908"/>
                </a:cubicBezTo>
                <a:cubicBezTo>
                  <a:pt x="375493" y="9399"/>
                  <a:pt x="381553" y="19499"/>
                  <a:pt x="381657" y="30895"/>
                </a:cubicBezTo>
                <a:lnTo>
                  <a:pt x="385231" y="405961"/>
                </a:lnTo>
                <a:cubicBezTo>
                  <a:pt x="385335" y="417149"/>
                  <a:pt x="379688" y="427250"/>
                  <a:pt x="370106" y="432999"/>
                </a:cubicBezTo>
                <a:cubicBezTo>
                  <a:pt x="365082" y="435952"/>
                  <a:pt x="359591" y="437454"/>
                  <a:pt x="354049" y="437454"/>
                </a:cubicBezTo>
                <a:close/>
                <a:moveTo>
                  <a:pt x="350475" y="15563"/>
                </a:moveTo>
                <a:cubicBezTo>
                  <a:pt x="347626" y="15563"/>
                  <a:pt x="344777" y="16340"/>
                  <a:pt x="342239" y="17945"/>
                </a:cubicBezTo>
                <a:lnTo>
                  <a:pt x="22907" y="216330"/>
                </a:lnTo>
                <a:cubicBezTo>
                  <a:pt x="18142" y="219282"/>
                  <a:pt x="15396" y="224411"/>
                  <a:pt x="15552" y="230005"/>
                </a:cubicBezTo>
                <a:cubicBezTo>
                  <a:pt x="15707" y="235599"/>
                  <a:pt x="18763" y="240572"/>
                  <a:pt x="23684" y="243265"/>
                </a:cubicBezTo>
                <a:lnTo>
                  <a:pt x="346538" y="419895"/>
                </a:lnTo>
                <a:cubicBezTo>
                  <a:pt x="351459" y="422588"/>
                  <a:pt x="357260" y="422485"/>
                  <a:pt x="362077" y="419584"/>
                </a:cubicBezTo>
                <a:cubicBezTo>
                  <a:pt x="366895" y="416683"/>
                  <a:pt x="369744" y="411659"/>
                  <a:pt x="369692" y="406013"/>
                </a:cubicBezTo>
                <a:lnTo>
                  <a:pt x="366118" y="30947"/>
                </a:lnTo>
                <a:cubicBezTo>
                  <a:pt x="366066" y="25197"/>
                  <a:pt x="363062" y="20173"/>
                  <a:pt x="358037" y="17376"/>
                </a:cubicBezTo>
                <a:cubicBezTo>
                  <a:pt x="355654" y="16184"/>
                  <a:pt x="353064" y="15563"/>
                  <a:pt x="350475" y="15563"/>
                </a:cubicBezTo>
                <a:close/>
              </a:path>
            </a:pathLst>
          </a:custGeom>
          <a:solidFill>
            <a:srgbClr val="6CBE4C"/>
          </a:solidFill>
          <a:ln w="5175" cap="flat">
            <a:noFill/>
            <a:prstDash val="solid"/>
            <a:miter/>
          </a:ln>
        </p:spPr>
        <p:txBody>
          <a:bodyPr rtlCol="0" anchor="ctr"/>
          <a:lstStyle/>
          <a:p>
            <a:endParaRPr lang="en-IN" dirty="0"/>
          </a:p>
        </p:txBody>
      </p:sp>
      <p:sp>
        <p:nvSpPr>
          <p:cNvPr id="77" name="Rectangle 76">
            <a:extLst>
              <a:ext uri="{FF2B5EF4-FFF2-40B4-BE49-F238E27FC236}">
                <a16:creationId xmlns:a16="http://schemas.microsoft.com/office/drawing/2014/main" id="{E6FC2038-667E-4F36-8640-EDC06C22F4AE}"/>
              </a:ext>
            </a:extLst>
          </p:cNvPr>
          <p:cNvSpPr/>
          <p:nvPr/>
        </p:nvSpPr>
        <p:spPr>
          <a:xfrm>
            <a:off x="4856843" y="1741923"/>
            <a:ext cx="3173946" cy="430887"/>
          </a:xfrm>
          <a:prstGeom prst="rect">
            <a:avLst/>
          </a:prstGeom>
        </p:spPr>
        <p:txBody>
          <a:bodyPr wrap="none" lIns="0" tIns="0" rIns="0" bIns="0">
            <a:spAutoFit/>
          </a:bodyPr>
          <a:lstStyle/>
          <a:p>
            <a:pPr fontAlgn="ctr"/>
            <a:r>
              <a:rPr lang="en-US" sz="2800" dirty="0">
                <a:solidFill>
                  <a:schemeClr val="accent1"/>
                </a:solidFill>
              </a:rPr>
              <a:t>Industry recognition</a:t>
            </a:r>
          </a:p>
        </p:txBody>
      </p:sp>
      <p:sp>
        <p:nvSpPr>
          <p:cNvPr id="76" name="Graphic 74">
            <a:extLst>
              <a:ext uri="{FF2B5EF4-FFF2-40B4-BE49-F238E27FC236}">
                <a16:creationId xmlns:a16="http://schemas.microsoft.com/office/drawing/2014/main" id="{8C60F419-72EC-4D5A-AB7D-90222EA32EE4}"/>
              </a:ext>
            </a:extLst>
          </p:cNvPr>
          <p:cNvSpPr/>
          <p:nvPr/>
        </p:nvSpPr>
        <p:spPr>
          <a:xfrm>
            <a:off x="849086" y="1556775"/>
            <a:ext cx="11342914" cy="4493505"/>
          </a:xfrm>
          <a:custGeom>
            <a:avLst/>
            <a:gdLst>
              <a:gd name="connsiteX0" fmla="*/ 0 w 7201852"/>
              <a:gd name="connsiteY0" fmla="*/ 1388745 h 3120389"/>
              <a:gd name="connsiteX1" fmla="*/ 0 w 7201852"/>
              <a:gd name="connsiteY1" fmla="*/ 386715 h 3120389"/>
              <a:gd name="connsiteX2" fmla="*/ 386715 w 7201852"/>
              <a:gd name="connsiteY2" fmla="*/ 0 h 3120389"/>
              <a:gd name="connsiteX3" fmla="*/ 1898333 w 7201852"/>
              <a:gd name="connsiteY3" fmla="*/ 0 h 3120389"/>
              <a:gd name="connsiteX4" fmla="*/ 2285048 w 7201852"/>
              <a:gd name="connsiteY4" fmla="*/ 386715 h 3120389"/>
              <a:gd name="connsiteX5" fmla="*/ 2285048 w 7201852"/>
              <a:gd name="connsiteY5" fmla="*/ 2733675 h 3120389"/>
              <a:gd name="connsiteX6" fmla="*/ 2671763 w 7201852"/>
              <a:gd name="connsiteY6" fmla="*/ 3120390 h 3120389"/>
              <a:gd name="connsiteX7" fmla="*/ 7201853 w 7201852"/>
              <a:gd name="connsiteY7" fmla="*/ 3120390 h 312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01852" h="3120389">
                <a:moveTo>
                  <a:pt x="0" y="1388745"/>
                </a:moveTo>
                <a:lnTo>
                  <a:pt x="0" y="386715"/>
                </a:lnTo>
                <a:cubicBezTo>
                  <a:pt x="0" y="173355"/>
                  <a:pt x="173355" y="0"/>
                  <a:pt x="386715" y="0"/>
                </a:cubicBezTo>
                <a:lnTo>
                  <a:pt x="1898333" y="0"/>
                </a:lnTo>
                <a:cubicBezTo>
                  <a:pt x="2111693" y="0"/>
                  <a:pt x="2285048" y="173355"/>
                  <a:pt x="2285048" y="386715"/>
                </a:cubicBezTo>
                <a:lnTo>
                  <a:pt x="2285048" y="2733675"/>
                </a:lnTo>
                <a:cubicBezTo>
                  <a:pt x="2285048" y="2947035"/>
                  <a:pt x="2458403" y="3120390"/>
                  <a:pt x="2671763" y="3120390"/>
                </a:cubicBezTo>
                <a:lnTo>
                  <a:pt x="7201853" y="3120390"/>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lt1"/>
              </a:solidFill>
            </a:endParaRPr>
          </a:p>
        </p:txBody>
      </p:sp>
      <p:pic>
        <p:nvPicPr>
          <p:cNvPr id="59" name="Picture 58">
            <a:extLst>
              <a:ext uri="{FF2B5EF4-FFF2-40B4-BE49-F238E27FC236}">
                <a16:creationId xmlns:a16="http://schemas.microsoft.com/office/drawing/2014/main" id="{809FBD76-5876-483F-B6A7-568A73F46345}"/>
              </a:ext>
            </a:extLst>
          </p:cNvPr>
          <p:cNvPicPr>
            <a:picLocks noChangeAspect="1"/>
          </p:cNvPicPr>
          <p:nvPr/>
        </p:nvPicPr>
        <p:blipFill>
          <a:blip r:embed="rId3" cstate="screen">
            <a:duotone>
              <a:prstClr val="black"/>
              <a:schemeClr val="accent2">
                <a:tint val="45000"/>
                <a:satMod val="400000"/>
              </a:schemeClr>
            </a:duotone>
            <a:extLst>
              <a:ext uri="{BEBA8EAE-BF5A-486C-A8C5-ECC9F3942E4B}">
                <a14:imgProps xmlns:a14="http://schemas.microsoft.com/office/drawing/2010/main">
                  <a14:imgLayer r:embed="rId4">
                    <a14:imgEffect>
                      <a14:brightnessContrast bright="-30000"/>
                    </a14:imgEffect>
                  </a14:imgLayer>
                </a14:imgProps>
              </a:ext>
              <a:ext uri="{28A0092B-C50C-407E-A947-70E740481C1C}">
                <a14:useLocalDpi xmlns:a14="http://schemas.microsoft.com/office/drawing/2010/main"/>
              </a:ext>
            </a:extLst>
          </a:blip>
          <a:srcRect/>
          <a:stretch>
            <a:fillRect/>
          </a:stretch>
        </p:blipFill>
        <p:spPr>
          <a:xfrm>
            <a:off x="516325" y="2369452"/>
            <a:ext cx="3141731" cy="2734531"/>
          </a:xfrm>
          <a:custGeom>
            <a:avLst/>
            <a:gdLst>
              <a:gd name="connsiteX0" fmla="*/ 518296 w 3141731"/>
              <a:gd name="connsiteY0" fmla="*/ 0 h 2734531"/>
              <a:gd name="connsiteX1" fmla="*/ 2623436 w 3141731"/>
              <a:gd name="connsiteY1" fmla="*/ 0 h 2734531"/>
              <a:gd name="connsiteX2" fmla="*/ 2681636 w 3141731"/>
              <a:gd name="connsiteY2" fmla="*/ 52896 h 2734531"/>
              <a:gd name="connsiteX3" fmla="*/ 3141731 w 3141731"/>
              <a:gd name="connsiteY3" fmla="*/ 1163665 h 2734531"/>
              <a:gd name="connsiteX4" fmla="*/ 1570866 w 3141731"/>
              <a:gd name="connsiteY4" fmla="*/ 2734531 h 2734531"/>
              <a:gd name="connsiteX5" fmla="*/ 0 w 3141731"/>
              <a:gd name="connsiteY5" fmla="*/ 1163665 h 2734531"/>
              <a:gd name="connsiteX6" fmla="*/ 460096 w 3141731"/>
              <a:gd name="connsiteY6" fmla="*/ 52896 h 273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1731" h="2734531">
                <a:moveTo>
                  <a:pt x="518296" y="0"/>
                </a:moveTo>
                <a:lnTo>
                  <a:pt x="2623436" y="0"/>
                </a:lnTo>
                <a:lnTo>
                  <a:pt x="2681636" y="52896"/>
                </a:lnTo>
                <a:cubicBezTo>
                  <a:pt x="2965906" y="337166"/>
                  <a:pt x="3141731" y="729883"/>
                  <a:pt x="3141731" y="1163665"/>
                </a:cubicBezTo>
                <a:cubicBezTo>
                  <a:pt x="3141731" y="2031230"/>
                  <a:pt x="2438431" y="2734531"/>
                  <a:pt x="1570866" y="2734531"/>
                </a:cubicBezTo>
                <a:cubicBezTo>
                  <a:pt x="703301" y="2734531"/>
                  <a:pt x="0" y="2031230"/>
                  <a:pt x="0" y="1163665"/>
                </a:cubicBezTo>
                <a:cubicBezTo>
                  <a:pt x="0" y="729883"/>
                  <a:pt x="175825" y="337166"/>
                  <a:pt x="460096" y="52896"/>
                </a:cubicBezTo>
                <a:close/>
              </a:path>
            </a:pathLst>
          </a:custGeom>
        </p:spPr>
      </p:pic>
      <p:grpSp>
        <p:nvGrpSpPr>
          <p:cNvPr id="60" name="Group 59">
            <a:extLst>
              <a:ext uri="{FF2B5EF4-FFF2-40B4-BE49-F238E27FC236}">
                <a16:creationId xmlns:a16="http://schemas.microsoft.com/office/drawing/2014/main" id="{AE2B226C-8695-4B34-87A0-945FB7AE65C9}"/>
              </a:ext>
            </a:extLst>
          </p:cNvPr>
          <p:cNvGrpSpPr/>
          <p:nvPr/>
        </p:nvGrpSpPr>
        <p:grpSpPr>
          <a:xfrm>
            <a:off x="3284619" y="3659399"/>
            <a:ext cx="1458372" cy="1320424"/>
            <a:chOff x="-563481" y="2982552"/>
            <a:chExt cx="1458372" cy="1320424"/>
          </a:xfrm>
        </p:grpSpPr>
        <p:grpSp>
          <p:nvGrpSpPr>
            <p:cNvPr id="14" name="Graphic 6">
              <a:extLst>
                <a:ext uri="{FF2B5EF4-FFF2-40B4-BE49-F238E27FC236}">
                  <a16:creationId xmlns:a16="http://schemas.microsoft.com/office/drawing/2014/main" id="{40BA0056-481F-4696-AA45-A60C924548E5}"/>
                </a:ext>
              </a:extLst>
            </p:cNvPr>
            <p:cNvGrpSpPr/>
            <p:nvPr/>
          </p:nvGrpSpPr>
          <p:grpSpPr>
            <a:xfrm>
              <a:off x="-563481" y="2982552"/>
              <a:ext cx="926399" cy="58220"/>
              <a:chOff x="1163719" y="2982552"/>
              <a:chExt cx="926399" cy="58220"/>
            </a:xfrm>
            <a:solidFill>
              <a:srgbClr val="26BCEA"/>
            </a:solidFill>
          </p:grpSpPr>
          <p:sp>
            <p:nvSpPr>
              <p:cNvPr id="15" name="Freeform: Shape 14">
                <a:extLst>
                  <a:ext uri="{FF2B5EF4-FFF2-40B4-BE49-F238E27FC236}">
                    <a16:creationId xmlns:a16="http://schemas.microsoft.com/office/drawing/2014/main" id="{01F5AD19-3128-4933-ACA5-A8F05B5704E5}"/>
                  </a:ext>
                </a:extLst>
              </p:cNvPr>
              <p:cNvSpPr/>
              <p:nvPr/>
            </p:nvSpPr>
            <p:spPr>
              <a:xfrm>
                <a:off x="2031898"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6" name="Freeform: Shape 15">
                <a:extLst>
                  <a:ext uri="{FF2B5EF4-FFF2-40B4-BE49-F238E27FC236}">
                    <a16:creationId xmlns:a16="http://schemas.microsoft.com/office/drawing/2014/main" id="{64A0273A-9D52-4F40-B534-147D0979685E}"/>
                  </a:ext>
                </a:extLst>
              </p:cNvPr>
              <p:cNvSpPr/>
              <p:nvPr/>
            </p:nvSpPr>
            <p:spPr>
              <a:xfrm>
                <a:off x="1869927"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17" name="Freeform: Shape 16">
                <a:extLst>
                  <a:ext uri="{FF2B5EF4-FFF2-40B4-BE49-F238E27FC236}">
                    <a16:creationId xmlns:a16="http://schemas.microsoft.com/office/drawing/2014/main" id="{DAB3E3F2-79B4-480A-8172-F151F716C386}"/>
                  </a:ext>
                </a:extLst>
              </p:cNvPr>
              <p:cNvSpPr/>
              <p:nvPr/>
            </p:nvSpPr>
            <p:spPr>
              <a:xfrm>
                <a:off x="1707904"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8" name="Freeform: Shape 17">
                <a:extLst>
                  <a:ext uri="{FF2B5EF4-FFF2-40B4-BE49-F238E27FC236}">
                    <a16:creationId xmlns:a16="http://schemas.microsoft.com/office/drawing/2014/main" id="{A4BF6965-AF27-4E68-9A33-13D35D17CD23}"/>
                  </a:ext>
                </a:extLst>
              </p:cNvPr>
              <p:cNvSpPr/>
              <p:nvPr/>
            </p:nvSpPr>
            <p:spPr>
              <a:xfrm>
                <a:off x="1528270"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19" name="Freeform: Shape 18">
                <a:extLst>
                  <a:ext uri="{FF2B5EF4-FFF2-40B4-BE49-F238E27FC236}">
                    <a16:creationId xmlns:a16="http://schemas.microsoft.com/office/drawing/2014/main" id="{A6CCFA59-BEE4-4CA4-83A2-7E9B98B2B36D}"/>
                  </a:ext>
                </a:extLst>
              </p:cNvPr>
              <p:cNvSpPr/>
              <p:nvPr/>
            </p:nvSpPr>
            <p:spPr>
              <a:xfrm>
                <a:off x="1340711"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20" name="Freeform: Shape 19">
                <a:extLst>
                  <a:ext uri="{FF2B5EF4-FFF2-40B4-BE49-F238E27FC236}">
                    <a16:creationId xmlns:a16="http://schemas.microsoft.com/office/drawing/2014/main" id="{408C78F6-6361-4261-9849-A9DD8E40B49F}"/>
                  </a:ext>
                </a:extLst>
              </p:cNvPr>
              <p:cNvSpPr/>
              <p:nvPr/>
            </p:nvSpPr>
            <p:spPr>
              <a:xfrm>
                <a:off x="1163719"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21" name="Graphic 6">
              <a:extLst>
                <a:ext uri="{FF2B5EF4-FFF2-40B4-BE49-F238E27FC236}">
                  <a16:creationId xmlns:a16="http://schemas.microsoft.com/office/drawing/2014/main" id="{2769F325-F88D-453C-AE44-FFFDD55F3399}"/>
                </a:ext>
              </a:extLst>
            </p:cNvPr>
            <p:cNvGrpSpPr/>
            <p:nvPr/>
          </p:nvGrpSpPr>
          <p:grpSpPr>
            <a:xfrm>
              <a:off x="-563481" y="3161927"/>
              <a:ext cx="926399" cy="58220"/>
              <a:chOff x="1163719" y="3161927"/>
              <a:chExt cx="926399" cy="58220"/>
            </a:xfrm>
            <a:solidFill>
              <a:srgbClr val="26BCEA"/>
            </a:solidFill>
          </p:grpSpPr>
          <p:sp>
            <p:nvSpPr>
              <p:cNvPr id="22" name="Freeform: Shape 21">
                <a:extLst>
                  <a:ext uri="{FF2B5EF4-FFF2-40B4-BE49-F238E27FC236}">
                    <a16:creationId xmlns:a16="http://schemas.microsoft.com/office/drawing/2014/main" id="{077442DA-998C-4809-9B0C-A72A9EFC04E2}"/>
                  </a:ext>
                </a:extLst>
              </p:cNvPr>
              <p:cNvSpPr/>
              <p:nvPr/>
            </p:nvSpPr>
            <p:spPr>
              <a:xfrm>
                <a:off x="2031898"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23" name="Freeform: Shape 22">
                <a:extLst>
                  <a:ext uri="{FF2B5EF4-FFF2-40B4-BE49-F238E27FC236}">
                    <a16:creationId xmlns:a16="http://schemas.microsoft.com/office/drawing/2014/main" id="{2DA86240-8327-48E4-BCAA-9551E1FD141D}"/>
                  </a:ext>
                </a:extLst>
              </p:cNvPr>
              <p:cNvSpPr/>
              <p:nvPr/>
            </p:nvSpPr>
            <p:spPr>
              <a:xfrm>
                <a:off x="1869927"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24" name="Freeform: Shape 23">
                <a:extLst>
                  <a:ext uri="{FF2B5EF4-FFF2-40B4-BE49-F238E27FC236}">
                    <a16:creationId xmlns:a16="http://schemas.microsoft.com/office/drawing/2014/main" id="{C82348BC-F27F-49E2-8BA4-EECB68F1B6A8}"/>
                  </a:ext>
                </a:extLst>
              </p:cNvPr>
              <p:cNvSpPr/>
              <p:nvPr/>
            </p:nvSpPr>
            <p:spPr>
              <a:xfrm>
                <a:off x="1707904"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25" name="Freeform: Shape 24">
                <a:extLst>
                  <a:ext uri="{FF2B5EF4-FFF2-40B4-BE49-F238E27FC236}">
                    <a16:creationId xmlns:a16="http://schemas.microsoft.com/office/drawing/2014/main" id="{A50BEC94-F248-4A84-9BB5-3A6EB4B95DB8}"/>
                  </a:ext>
                </a:extLst>
              </p:cNvPr>
              <p:cNvSpPr/>
              <p:nvPr/>
            </p:nvSpPr>
            <p:spPr>
              <a:xfrm>
                <a:off x="1528270"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26" name="Freeform: Shape 25">
                <a:extLst>
                  <a:ext uri="{FF2B5EF4-FFF2-40B4-BE49-F238E27FC236}">
                    <a16:creationId xmlns:a16="http://schemas.microsoft.com/office/drawing/2014/main" id="{2ACF9085-BA20-4888-B8E0-5D0F90C00664}"/>
                  </a:ext>
                </a:extLst>
              </p:cNvPr>
              <p:cNvSpPr/>
              <p:nvPr/>
            </p:nvSpPr>
            <p:spPr>
              <a:xfrm>
                <a:off x="1340711"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27" name="Freeform: Shape 26">
                <a:extLst>
                  <a:ext uri="{FF2B5EF4-FFF2-40B4-BE49-F238E27FC236}">
                    <a16:creationId xmlns:a16="http://schemas.microsoft.com/office/drawing/2014/main" id="{442A25D5-8F50-4C5D-8F0A-B37AF82A77D0}"/>
                  </a:ext>
                </a:extLst>
              </p:cNvPr>
              <p:cNvSpPr/>
              <p:nvPr/>
            </p:nvSpPr>
            <p:spPr>
              <a:xfrm>
                <a:off x="1163719"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28" name="Graphic 6">
              <a:extLst>
                <a:ext uri="{FF2B5EF4-FFF2-40B4-BE49-F238E27FC236}">
                  <a16:creationId xmlns:a16="http://schemas.microsoft.com/office/drawing/2014/main" id="{B4EB260B-1A64-43A5-8D3D-94B72FF256B1}"/>
                </a:ext>
              </a:extLst>
            </p:cNvPr>
            <p:cNvGrpSpPr/>
            <p:nvPr/>
          </p:nvGrpSpPr>
          <p:grpSpPr>
            <a:xfrm>
              <a:off x="-563481" y="3341354"/>
              <a:ext cx="926399" cy="58220"/>
              <a:chOff x="1163719" y="3341354"/>
              <a:chExt cx="926399" cy="58220"/>
            </a:xfrm>
            <a:solidFill>
              <a:srgbClr val="26BCEA"/>
            </a:solidFill>
          </p:grpSpPr>
          <p:sp>
            <p:nvSpPr>
              <p:cNvPr id="29" name="Freeform: Shape 28">
                <a:extLst>
                  <a:ext uri="{FF2B5EF4-FFF2-40B4-BE49-F238E27FC236}">
                    <a16:creationId xmlns:a16="http://schemas.microsoft.com/office/drawing/2014/main" id="{CE71617D-A9D2-47D5-A632-991C2466D81C}"/>
                  </a:ext>
                </a:extLst>
              </p:cNvPr>
              <p:cNvSpPr/>
              <p:nvPr/>
            </p:nvSpPr>
            <p:spPr>
              <a:xfrm>
                <a:off x="2031898"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30" name="Freeform: Shape 29">
                <a:extLst>
                  <a:ext uri="{FF2B5EF4-FFF2-40B4-BE49-F238E27FC236}">
                    <a16:creationId xmlns:a16="http://schemas.microsoft.com/office/drawing/2014/main" id="{FDBFD36D-D55B-4C04-BE74-A0B7548154E4}"/>
                  </a:ext>
                </a:extLst>
              </p:cNvPr>
              <p:cNvSpPr/>
              <p:nvPr/>
            </p:nvSpPr>
            <p:spPr>
              <a:xfrm>
                <a:off x="1869927"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31" name="Freeform: Shape 30">
                <a:extLst>
                  <a:ext uri="{FF2B5EF4-FFF2-40B4-BE49-F238E27FC236}">
                    <a16:creationId xmlns:a16="http://schemas.microsoft.com/office/drawing/2014/main" id="{3E0DCA8D-C3F5-4488-AC44-484191257F36}"/>
                  </a:ext>
                </a:extLst>
              </p:cNvPr>
              <p:cNvSpPr/>
              <p:nvPr/>
            </p:nvSpPr>
            <p:spPr>
              <a:xfrm>
                <a:off x="1707904"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32" name="Freeform: Shape 31">
                <a:extLst>
                  <a:ext uri="{FF2B5EF4-FFF2-40B4-BE49-F238E27FC236}">
                    <a16:creationId xmlns:a16="http://schemas.microsoft.com/office/drawing/2014/main" id="{2DDD1483-6865-4B3F-8821-ED589C5C281D}"/>
                  </a:ext>
                </a:extLst>
              </p:cNvPr>
              <p:cNvSpPr/>
              <p:nvPr/>
            </p:nvSpPr>
            <p:spPr>
              <a:xfrm>
                <a:off x="1528270"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33" name="Freeform: Shape 32">
                <a:extLst>
                  <a:ext uri="{FF2B5EF4-FFF2-40B4-BE49-F238E27FC236}">
                    <a16:creationId xmlns:a16="http://schemas.microsoft.com/office/drawing/2014/main" id="{E1EA1EC5-C39D-46FE-AFFF-4153653E153E}"/>
                  </a:ext>
                </a:extLst>
              </p:cNvPr>
              <p:cNvSpPr/>
              <p:nvPr/>
            </p:nvSpPr>
            <p:spPr>
              <a:xfrm>
                <a:off x="1340711"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34" name="Freeform: Shape 33">
                <a:extLst>
                  <a:ext uri="{FF2B5EF4-FFF2-40B4-BE49-F238E27FC236}">
                    <a16:creationId xmlns:a16="http://schemas.microsoft.com/office/drawing/2014/main" id="{22D0C9F3-DD80-4275-B776-3649E60BD7CE}"/>
                  </a:ext>
                </a:extLst>
              </p:cNvPr>
              <p:cNvSpPr/>
              <p:nvPr/>
            </p:nvSpPr>
            <p:spPr>
              <a:xfrm>
                <a:off x="1163719"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35" name="Graphic 6">
              <a:extLst>
                <a:ext uri="{FF2B5EF4-FFF2-40B4-BE49-F238E27FC236}">
                  <a16:creationId xmlns:a16="http://schemas.microsoft.com/office/drawing/2014/main" id="{648A2A51-DD60-4784-98A8-E9576F5F0628}"/>
                </a:ext>
              </a:extLst>
            </p:cNvPr>
            <p:cNvGrpSpPr/>
            <p:nvPr/>
          </p:nvGrpSpPr>
          <p:grpSpPr>
            <a:xfrm>
              <a:off x="-563481" y="3520781"/>
              <a:ext cx="926399" cy="58220"/>
              <a:chOff x="1163719" y="3520781"/>
              <a:chExt cx="926399" cy="58220"/>
            </a:xfrm>
            <a:solidFill>
              <a:srgbClr val="26BCEA"/>
            </a:solidFill>
          </p:grpSpPr>
          <p:sp>
            <p:nvSpPr>
              <p:cNvPr id="36" name="Freeform: Shape 35">
                <a:extLst>
                  <a:ext uri="{FF2B5EF4-FFF2-40B4-BE49-F238E27FC236}">
                    <a16:creationId xmlns:a16="http://schemas.microsoft.com/office/drawing/2014/main" id="{29BE6D25-C71B-49DD-BA99-B3334DF5F130}"/>
                  </a:ext>
                </a:extLst>
              </p:cNvPr>
              <p:cNvSpPr/>
              <p:nvPr/>
            </p:nvSpPr>
            <p:spPr>
              <a:xfrm>
                <a:off x="2031898"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37" name="Freeform: Shape 36">
                <a:extLst>
                  <a:ext uri="{FF2B5EF4-FFF2-40B4-BE49-F238E27FC236}">
                    <a16:creationId xmlns:a16="http://schemas.microsoft.com/office/drawing/2014/main" id="{BA1D3C8F-E776-465A-A056-63EB81839216}"/>
                  </a:ext>
                </a:extLst>
              </p:cNvPr>
              <p:cNvSpPr/>
              <p:nvPr/>
            </p:nvSpPr>
            <p:spPr>
              <a:xfrm>
                <a:off x="1869927"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38" name="Freeform: Shape 37">
                <a:extLst>
                  <a:ext uri="{FF2B5EF4-FFF2-40B4-BE49-F238E27FC236}">
                    <a16:creationId xmlns:a16="http://schemas.microsoft.com/office/drawing/2014/main" id="{B954942B-2660-4B06-A916-90B709F9A5C9}"/>
                  </a:ext>
                </a:extLst>
              </p:cNvPr>
              <p:cNvSpPr/>
              <p:nvPr/>
            </p:nvSpPr>
            <p:spPr>
              <a:xfrm>
                <a:off x="1707904"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39" name="Freeform: Shape 38">
                <a:extLst>
                  <a:ext uri="{FF2B5EF4-FFF2-40B4-BE49-F238E27FC236}">
                    <a16:creationId xmlns:a16="http://schemas.microsoft.com/office/drawing/2014/main" id="{B0BDEC94-75B2-45C4-B382-2EE7DC2EE931}"/>
                  </a:ext>
                </a:extLst>
              </p:cNvPr>
              <p:cNvSpPr/>
              <p:nvPr/>
            </p:nvSpPr>
            <p:spPr>
              <a:xfrm>
                <a:off x="1528270"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40" name="Freeform: Shape 39">
                <a:extLst>
                  <a:ext uri="{FF2B5EF4-FFF2-40B4-BE49-F238E27FC236}">
                    <a16:creationId xmlns:a16="http://schemas.microsoft.com/office/drawing/2014/main" id="{FB59CBD9-A85D-4537-8279-3623062057CE}"/>
                  </a:ext>
                </a:extLst>
              </p:cNvPr>
              <p:cNvSpPr/>
              <p:nvPr/>
            </p:nvSpPr>
            <p:spPr>
              <a:xfrm>
                <a:off x="1340711"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41" name="Freeform: Shape 40">
                <a:extLst>
                  <a:ext uri="{FF2B5EF4-FFF2-40B4-BE49-F238E27FC236}">
                    <a16:creationId xmlns:a16="http://schemas.microsoft.com/office/drawing/2014/main" id="{B9514149-E081-49A7-AB4C-9B70205CD9F0}"/>
                  </a:ext>
                </a:extLst>
              </p:cNvPr>
              <p:cNvSpPr/>
              <p:nvPr/>
            </p:nvSpPr>
            <p:spPr>
              <a:xfrm>
                <a:off x="1163719"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42" name="Graphic 6">
              <a:extLst>
                <a:ext uri="{FF2B5EF4-FFF2-40B4-BE49-F238E27FC236}">
                  <a16:creationId xmlns:a16="http://schemas.microsoft.com/office/drawing/2014/main" id="{29DA0CE3-717F-42D8-B4C3-0A7A2A3C784E}"/>
                </a:ext>
              </a:extLst>
            </p:cNvPr>
            <p:cNvGrpSpPr/>
            <p:nvPr/>
          </p:nvGrpSpPr>
          <p:grpSpPr>
            <a:xfrm>
              <a:off x="-563481" y="3700208"/>
              <a:ext cx="926399" cy="58220"/>
              <a:chOff x="1163719" y="3700208"/>
              <a:chExt cx="926399" cy="58220"/>
            </a:xfrm>
            <a:solidFill>
              <a:srgbClr val="26BCEA"/>
            </a:solidFill>
          </p:grpSpPr>
          <p:sp>
            <p:nvSpPr>
              <p:cNvPr id="43" name="Freeform: Shape 42">
                <a:extLst>
                  <a:ext uri="{FF2B5EF4-FFF2-40B4-BE49-F238E27FC236}">
                    <a16:creationId xmlns:a16="http://schemas.microsoft.com/office/drawing/2014/main" id="{D483A548-35D0-4390-B14B-322ABE84DE3A}"/>
                  </a:ext>
                </a:extLst>
              </p:cNvPr>
              <p:cNvSpPr/>
              <p:nvPr/>
            </p:nvSpPr>
            <p:spPr>
              <a:xfrm>
                <a:off x="2031898"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44" name="Freeform: Shape 43">
                <a:extLst>
                  <a:ext uri="{FF2B5EF4-FFF2-40B4-BE49-F238E27FC236}">
                    <a16:creationId xmlns:a16="http://schemas.microsoft.com/office/drawing/2014/main" id="{DC944FF8-1BCB-424F-A5F1-5E18662A24E4}"/>
                  </a:ext>
                </a:extLst>
              </p:cNvPr>
              <p:cNvSpPr/>
              <p:nvPr/>
            </p:nvSpPr>
            <p:spPr>
              <a:xfrm>
                <a:off x="1869927"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45" name="Freeform: Shape 44">
                <a:extLst>
                  <a:ext uri="{FF2B5EF4-FFF2-40B4-BE49-F238E27FC236}">
                    <a16:creationId xmlns:a16="http://schemas.microsoft.com/office/drawing/2014/main" id="{AF334B63-D185-4F2B-A6FC-006AA65EE1CB}"/>
                  </a:ext>
                </a:extLst>
              </p:cNvPr>
              <p:cNvSpPr/>
              <p:nvPr/>
            </p:nvSpPr>
            <p:spPr>
              <a:xfrm>
                <a:off x="1707904"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46" name="Freeform: Shape 45">
                <a:extLst>
                  <a:ext uri="{FF2B5EF4-FFF2-40B4-BE49-F238E27FC236}">
                    <a16:creationId xmlns:a16="http://schemas.microsoft.com/office/drawing/2014/main" id="{9446A313-7387-49EB-A69A-2F0A9E931F7C}"/>
                  </a:ext>
                </a:extLst>
              </p:cNvPr>
              <p:cNvSpPr/>
              <p:nvPr/>
            </p:nvSpPr>
            <p:spPr>
              <a:xfrm>
                <a:off x="1528270"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47" name="Freeform: Shape 46">
                <a:extLst>
                  <a:ext uri="{FF2B5EF4-FFF2-40B4-BE49-F238E27FC236}">
                    <a16:creationId xmlns:a16="http://schemas.microsoft.com/office/drawing/2014/main" id="{88AF50C4-510A-4250-B736-F722F17B9645}"/>
                  </a:ext>
                </a:extLst>
              </p:cNvPr>
              <p:cNvSpPr/>
              <p:nvPr/>
            </p:nvSpPr>
            <p:spPr>
              <a:xfrm>
                <a:off x="1340711"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48" name="Freeform: Shape 47">
                <a:extLst>
                  <a:ext uri="{FF2B5EF4-FFF2-40B4-BE49-F238E27FC236}">
                    <a16:creationId xmlns:a16="http://schemas.microsoft.com/office/drawing/2014/main" id="{F96D8571-9D58-45F4-AA13-5AAA6B10A6C6}"/>
                  </a:ext>
                </a:extLst>
              </p:cNvPr>
              <p:cNvSpPr/>
              <p:nvPr/>
            </p:nvSpPr>
            <p:spPr>
              <a:xfrm>
                <a:off x="1163719"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49" name="Graphic 6">
              <a:extLst>
                <a:ext uri="{FF2B5EF4-FFF2-40B4-BE49-F238E27FC236}">
                  <a16:creationId xmlns:a16="http://schemas.microsoft.com/office/drawing/2014/main" id="{D44122AF-BE17-425D-B041-9BD59DF1BEC3}"/>
                </a:ext>
              </a:extLst>
            </p:cNvPr>
            <p:cNvGrpSpPr/>
            <p:nvPr/>
          </p:nvGrpSpPr>
          <p:grpSpPr>
            <a:xfrm>
              <a:off x="-563481" y="3879635"/>
              <a:ext cx="926399" cy="58220"/>
              <a:chOff x="1163719" y="3879635"/>
              <a:chExt cx="926399" cy="58220"/>
            </a:xfrm>
            <a:solidFill>
              <a:srgbClr val="26BCEA"/>
            </a:solidFill>
          </p:grpSpPr>
          <p:sp>
            <p:nvSpPr>
              <p:cNvPr id="50" name="Freeform: Shape 49">
                <a:extLst>
                  <a:ext uri="{FF2B5EF4-FFF2-40B4-BE49-F238E27FC236}">
                    <a16:creationId xmlns:a16="http://schemas.microsoft.com/office/drawing/2014/main" id="{FC27ECF3-788D-4AF1-81F3-3F48C9F34CC1}"/>
                  </a:ext>
                </a:extLst>
              </p:cNvPr>
              <p:cNvSpPr/>
              <p:nvPr/>
            </p:nvSpPr>
            <p:spPr>
              <a:xfrm>
                <a:off x="2031898"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51" name="Freeform: Shape 50">
                <a:extLst>
                  <a:ext uri="{FF2B5EF4-FFF2-40B4-BE49-F238E27FC236}">
                    <a16:creationId xmlns:a16="http://schemas.microsoft.com/office/drawing/2014/main" id="{1024D6D6-DFD7-4CE9-880C-54631771071E}"/>
                  </a:ext>
                </a:extLst>
              </p:cNvPr>
              <p:cNvSpPr/>
              <p:nvPr/>
            </p:nvSpPr>
            <p:spPr>
              <a:xfrm>
                <a:off x="1869927"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52" name="Freeform: Shape 51">
                <a:extLst>
                  <a:ext uri="{FF2B5EF4-FFF2-40B4-BE49-F238E27FC236}">
                    <a16:creationId xmlns:a16="http://schemas.microsoft.com/office/drawing/2014/main" id="{1804155A-1032-4369-8711-42D860281A38}"/>
                  </a:ext>
                </a:extLst>
              </p:cNvPr>
              <p:cNvSpPr/>
              <p:nvPr/>
            </p:nvSpPr>
            <p:spPr>
              <a:xfrm>
                <a:off x="1707904"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53" name="Freeform: Shape 52">
                <a:extLst>
                  <a:ext uri="{FF2B5EF4-FFF2-40B4-BE49-F238E27FC236}">
                    <a16:creationId xmlns:a16="http://schemas.microsoft.com/office/drawing/2014/main" id="{9621C401-6983-4CCB-9E42-DAAAD9F5723B}"/>
                  </a:ext>
                </a:extLst>
              </p:cNvPr>
              <p:cNvSpPr/>
              <p:nvPr/>
            </p:nvSpPr>
            <p:spPr>
              <a:xfrm>
                <a:off x="1528270"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54" name="Freeform: Shape 53">
                <a:extLst>
                  <a:ext uri="{FF2B5EF4-FFF2-40B4-BE49-F238E27FC236}">
                    <a16:creationId xmlns:a16="http://schemas.microsoft.com/office/drawing/2014/main" id="{BF296275-7DA2-40AA-9EDA-42B9B094C29C}"/>
                  </a:ext>
                </a:extLst>
              </p:cNvPr>
              <p:cNvSpPr/>
              <p:nvPr/>
            </p:nvSpPr>
            <p:spPr>
              <a:xfrm>
                <a:off x="1340711"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55" name="Freeform: Shape 54">
                <a:extLst>
                  <a:ext uri="{FF2B5EF4-FFF2-40B4-BE49-F238E27FC236}">
                    <a16:creationId xmlns:a16="http://schemas.microsoft.com/office/drawing/2014/main" id="{C1CA0E9D-3394-48AE-BFBC-C393F1AAFB58}"/>
                  </a:ext>
                </a:extLst>
              </p:cNvPr>
              <p:cNvSpPr/>
              <p:nvPr/>
            </p:nvSpPr>
            <p:spPr>
              <a:xfrm>
                <a:off x="1163719"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sp>
          <p:nvSpPr>
            <p:cNvPr id="56" name="Freeform: Shape 55">
              <a:extLst>
                <a:ext uri="{FF2B5EF4-FFF2-40B4-BE49-F238E27FC236}">
                  <a16:creationId xmlns:a16="http://schemas.microsoft.com/office/drawing/2014/main" id="{98625CCD-67A4-44BA-850D-1A808C23C45B}"/>
                </a:ext>
              </a:extLst>
            </p:cNvPr>
            <p:cNvSpPr/>
            <p:nvPr/>
          </p:nvSpPr>
          <p:spPr>
            <a:xfrm>
              <a:off x="509877" y="3864678"/>
              <a:ext cx="385014" cy="438298"/>
            </a:xfrm>
            <a:custGeom>
              <a:avLst/>
              <a:gdLst>
                <a:gd name="connsiteX0" fmla="*/ 35484 w 385014"/>
                <a:gd name="connsiteY0" fmla="*/ 438298 h 438298"/>
                <a:gd name="connsiteX1" fmla="*/ 20101 w 385014"/>
                <a:gd name="connsiteY1" fmla="*/ 434206 h 438298"/>
                <a:gd name="connsiteX2" fmla="*/ 4354 w 385014"/>
                <a:gd name="connsiteY2" fmla="*/ 407479 h 438298"/>
                <a:gd name="connsiteX3" fmla="*/ 3 w 385014"/>
                <a:gd name="connsiteY3" fmla="*/ 31584 h 438298"/>
                <a:gd name="connsiteX4" fmla="*/ 15594 w 385014"/>
                <a:gd name="connsiteY4" fmla="*/ 4235 h 438298"/>
                <a:gd name="connsiteX5" fmla="*/ 47087 w 385014"/>
                <a:gd name="connsiteY5" fmla="*/ 4390 h 438298"/>
                <a:gd name="connsiteX6" fmla="*/ 369734 w 385014"/>
                <a:gd name="connsiteY6" fmla="*/ 195627 h 438298"/>
                <a:gd name="connsiteX7" fmla="*/ 385014 w 385014"/>
                <a:gd name="connsiteY7" fmla="*/ 222562 h 438298"/>
                <a:gd name="connsiteX8" fmla="*/ 369475 w 385014"/>
                <a:gd name="connsiteY8" fmla="*/ 249393 h 438298"/>
                <a:gd name="connsiteX9" fmla="*/ 51127 w 385014"/>
                <a:gd name="connsiteY9" fmla="*/ 434103 h 438298"/>
                <a:gd name="connsiteX10" fmla="*/ 35484 w 385014"/>
                <a:gd name="connsiteY10" fmla="*/ 438298 h 438298"/>
                <a:gd name="connsiteX11" fmla="*/ 31133 w 385014"/>
                <a:gd name="connsiteY11" fmla="*/ 15527 h 438298"/>
                <a:gd name="connsiteX12" fmla="*/ 23312 w 385014"/>
                <a:gd name="connsiteY12" fmla="*/ 17650 h 438298"/>
                <a:gd name="connsiteX13" fmla="*/ 15491 w 385014"/>
                <a:gd name="connsiteY13" fmla="*/ 31377 h 438298"/>
                <a:gd name="connsiteX14" fmla="*/ 19842 w 385014"/>
                <a:gd name="connsiteY14" fmla="*/ 407272 h 438298"/>
                <a:gd name="connsiteX15" fmla="*/ 27715 w 385014"/>
                <a:gd name="connsiteY15" fmla="*/ 420687 h 438298"/>
                <a:gd name="connsiteX16" fmla="*/ 43254 w 385014"/>
                <a:gd name="connsiteY16" fmla="*/ 420636 h 438298"/>
                <a:gd name="connsiteX17" fmla="*/ 361602 w 385014"/>
                <a:gd name="connsiteY17" fmla="*/ 235925 h 438298"/>
                <a:gd name="connsiteX18" fmla="*/ 369372 w 385014"/>
                <a:gd name="connsiteY18" fmla="*/ 222510 h 438298"/>
                <a:gd name="connsiteX19" fmla="*/ 361706 w 385014"/>
                <a:gd name="connsiteY19" fmla="*/ 208991 h 438298"/>
                <a:gd name="connsiteX20" fmla="*/ 39058 w 385014"/>
                <a:gd name="connsiteY20" fmla="*/ 17754 h 438298"/>
                <a:gd name="connsiteX21" fmla="*/ 31133 w 385014"/>
                <a:gd name="connsiteY21" fmla="*/ 15527 h 43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5014" h="438298">
                  <a:moveTo>
                    <a:pt x="35484" y="438298"/>
                  </a:moveTo>
                  <a:cubicBezTo>
                    <a:pt x="30201" y="438298"/>
                    <a:pt x="24918" y="436952"/>
                    <a:pt x="20101" y="434206"/>
                  </a:cubicBezTo>
                  <a:cubicBezTo>
                    <a:pt x="10363" y="428664"/>
                    <a:pt x="4458" y="418667"/>
                    <a:pt x="4354" y="407479"/>
                  </a:cubicBezTo>
                  <a:lnTo>
                    <a:pt x="3" y="31584"/>
                  </a:lnTo>
                  <a:cubicBezTo>
                    <a:pt x="-152" y="20188"/>
                    <a:pt x="5701" y="9933"/>
                    <a:pt x="15594" y="4235"/>
                  </a:cubicBezTo>
                  <a:cubicBezTo>
                    <a:pt x="25487" y="-1463"/>
                    <a:pt x="37245" y="-1411"/>
                    <a:pt x="47087" y="4390"/>
                  </a:cubicBezTo>
                  <a:lnTo>
                    <a:pt x="369734" y="195627"/>
                  </a:lnTo>
                  <a:cubicBezTo>
                    <a:pt x="379369" y="201324"/>
                    <a:pt x="385066" y="211373"/>
                    <a:pt x="385014" y="222562"/>
                  </a:cubicBezTo>
                  <a:cubicBezTo>
                    <a:pt x="384963" y="233750"/>
                    <a:pt x="379161" y="243747"/>
                    <a:pt x="369475" y="249393"/>
                  </a:cubicBezTo>
                  <a:lnTo>
                    <a:pt x="51127" y="434103"/>
                  </a:lnTo>
                  <a:cubicBezTo>
                    <a:pt x="46206" y="436848"/>
                    <a:pt x="40871" y="438298"/>
                    <a:pt x="35484" y="438298"/>
                  </a:cubicBezTo>
                  <a:close/>
                  <a:moveTo>
                    <a:pt x="31133" y="15527"/>
                  </a:moveTo>
                  <a:cubicBezTo>
                    <a:pt x="28440" y="15527"/>
                    <a:pt x="25746" y="16252"/>
                    <a:pt x="23312" y="17650"/>
                  </a:cubicBezTo>
                  <a:cubicBezTo>
                    <a:pt x="18339" y="20499"/>
                    <a:pt x="15439" y="25627"/>
                    <a:pt x="15491" y="31377"/>
                  </a:cubicBezTo>
                  <a:lnTo>
                    <a:pt x="19842" y="407272"/>
                  </a:lnTo>
                  <a:cubicBezTo>
                    <a:pt x="19893" y="412866"/>
                    <a:pt x="22846" y="417890"/>
                    <a:pt x="27715" y="420687"/>
                  </a:cubicBezTo>
                  <a:cubicBezTo>
                    <a:pt x="32584" y="423484"/>
                    <a:pt x="38437" y="423432"/>
                    <a:pt x="43254" y="420636"/>
                  </a:cubicBezTo>
                  <a:lnTo>
                    <a:pt x="361602" y="235925"/>
                  </a:lnTo>
                  <a:cubicBezTo>
                    <a:pt x="366471" y="233128"/>
                    <a:pt x="369372" y="228104"/>
                    <a:pt x="369372" y="222510"/>
                  </a:cubicBezTo>
                  <a:cubicBezTo>
                    <a:pt x="369372" y="216916"/>
                    <a:pt x="366523" y="211839"/>
                    <a:pt x="361706" y="208991"/>
                  </a:cubicBezTo>
                  <a:lnTo>
                    <a:pt x="39058" y="17754"/>
                  </a:lnTo>
                  <a:cubicBezTo>
                    <a:pt x="36624" y="16252"/>
                    <a:pt x="33879" y="15527"/>
                    <a:pt x="31133" y="15527"/>
                  </a:cubicBezTo>
                  <a:close/>
                </a:path>
              </a:pathLst>
            </a:custGeom>
            <a:solidFill>
              <a:srgbClr val="6CBE4C"/>
            </a:solidFill>
            <a:ln w="5175" cap="flat">
              <a:noFill/>
              <a:prstDash val="solid"/>
              <a:miter/>
            </a:ln>
          </p:spPr>
          <p:txBody>
            <a:bodyPr rtlCol="0" anchor="ctr"/>
            <a:lstStyle/>
            <a:p>
              <a:endParaRPr lang="en-IN" dirty="0"/>
            </a:p>
          </p:txBody>
        </p:sp>
      </p:grpSp>
      <p:sp>
        <p:nvSpPr>
          <p:cNvPr id="65" name="Freeform: Shape 64">
            <a:extLst>
              <a:ext uri="{FF2B5EF4-FFF2-40B4-BE49-F238E27FC236}">
                <a16:creationId xmlns:a16="http://schemas.microsoft.com/office/drawing/2014/main" id="{5F9449D3-086F-44E3-BD2A-467EBC4CD211}"/>
              </a:ext>
            </a:extLst>
          </p:cNvPr>
          <p:cNvSpPr/>
          <p:nvPr/>
        </p:nvSpPr>
        <p:spPr>
          <a:xfrm>
            <a:off x="1885853" y="2196028"/>
            <a:ext cx="1526366" cy="1528635"/>
          </a:xfrm>
          <a:custGeom>
            <a:avLst/>
            <a:gdLst>
              <a:gd name="connsiteX0" fmla="*/ 93053 w 1235289"/>
              <a:gd name="connsiteY0" fmla="*/ 1237059 h 1237125"/>
              <a:gd name="connsiteX1" fmla="*/ 27704 w 1235289"/>
              <a:gd name="connsiteY1" fmla="*/ 1210217 h 1237125"/>
              <a:gd name="connsiteX2" fmla="*/ 0 w 1235289"/>
              <a:gd name="connsiteY2" fmla="*/ 1143609 h 1237125"/>
              <a:gd name="connsiteX3" fmla="*/ 0 w 1235289"/>
              <a:gd name="connsiteY3" fmla="*/ 1143609 h 1237125"/>
              <a:gd name="connsiteX4" fmla="*/ 3911 w 1235289"/>
              <a:gd name="connsiteY4" fmla="*/ 76755 h 1237125"/>
              <a:gd name="connsiteX5" fmla="*/ 28234 w 1235289"/>
              <a:gd name="connsiteY5" fmla="*/ 20752 h 1237125"/>
              <a:gd name="connsiteX6" fmla="*/ 85033 w 1235289"/>
              <a:gd name="connsiteY6" fmla="*/ 140 h 1237125"/>
              <a:gd name="connsiteX7" fmla="*/ 874785 w 1235289"/>
              <a:gd name="connsiteY7" fmla="*/ 351604 h 1237125"/>
              <a:gd name="connsiteX8" fmla="*/ 1234865 w 1235289"/>
              <a:gd name="connsiteY8" fmla="*/ 1111929 h 1237125"/>
              <a:gd name="connsiteX9" fmla="*/ 1210277 w 1235289"/>
              <a:gd name="connsiteY9" fmla="*/ 1186225 h 1237125"/>
              <a:gd name="connsiteX10" fmla="*/ 1138234 w 1235289"/>
              <a:gd name="connsiteY10" fmla="*/ 1219164 h 1237125"/>
              <a:gd name="connsiteX11" fmla="*/ 94643 w 1235289"/>
              <a:gd name="connsiteY11" fmla="*/ 1237125 h 1237125"/>
              <a:gd name="connsiteX12" fmla="*/ 93053 w 1235289"/>
              <a:gd name="connsiteY12" fmla="*/ 1237059 h 1237125"/>
              <a:gd name="connsiteX13" fmla="*/ 26577 w 1235289"/>
              <a:gd name="connsiteY13" fmla="*/ 1143742 h 1237125"/>
              <a:gd name="connsiteX14" fmla="*/ 46394 w 1235289"/>
              <a:gd name="connsiteY14" fmla="*/ 1191394 h 1237125"/>
              <a:gd name="connsiteX15" fmla="*/ 94312 w 1235289"/>
              <a:gd name="connsiteY15" fmla="*/ 1210548 h 1237125"/>
              <a:gd name="connsiteX16" fmla="*/ 1137903 w 1235289"/>
              <a:gd name="connsiteY16" fmla="*/ 1192588 h 1237125"/>
              <a:gd name="connsiteX17" fmla="*/ 1190659 w 1235289"/>
              <a:gd name="connsiteY17" fmla="*/ 1168463 h 1237125"/>
              <a:gd name="connsiteX18" fmla="*/ 1208620 w 1235289"/>
              <a:gd name="connsiteY18" fmla="*/ 1114315 h 1237125"/>
              <a:gd name="connsiteX19" fmla="*/ 856294 w 1235289"/>
              <a:gd name="connsiteY19" fmla="*/ 370427 h 1237125"/>
              <a:gd name="connsiteX20" fmla="*/ 83575 w 1235289"/>
              <a:gd name="connsiteY20" fmla="*/ 26518 h 1237125"/>
              <a:gd name="connsiteX21" fmla="*/ 46460 w 1235289"/>
              <a:gd name="connsiteY21" fmla="*/ 40038 h 1237125"/>
              <a:gd name="connsiteX22" fmla="*/ 30488 w 1235289"/>
              <a:gd name="connsiteY22" fmla="*/ 76822 h 1237125"/>
              <a:gd name="connsiteX23" fmla="*/ 26577 w 1235289"/>
              <a:gd name="connsiteY23" fmla="*/ 1143742 h 1237125"/>
              <a:gd name="connsiteX24" fmla="*/ 26577 w 1235289"/>
              <a:gd name="connsiteY24" fmla="*/ 1143742 h 123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35289" h="1237125">
                <a:moveTo>
                  <a:pt x="93053" y="1237059"/>
                </a:moveTo>
                <a:cubicBezTo>
                  <a:pt x="68464" y="1237059"/>
                  <a:pt x="45334" y="1227582"/>
                  <a:pt x="27704" y="1210217"/>
                </a:cubicBezTo>
                <a:cubicBezTo>
                  <a:pt x="9743" y="1192521"/>
                  <a:pt x="-66" y="1168860"/>
                  <a:pt x="0" y="1143609"/>
                </a:cubicBezTo>
                <a:lnTo>
                  <a:pt x="0" y="1143609"/>
                </a:lnTo>
                <a:lnTo>
                  <a:pt x="3911" y="76755"/>
                </a:lnTo>
                <a:cubicBezTo>
                  <a:pt x="3977" y="55613"/>
                  <a:pt x="12858" y="35200"/>
                  <a:pt x="28234" y="20752"/>
                </a:cubicBezTo>
                <a:cubicBezTo>
                  <a:pt x="43743" y="6171"/>
                  <a:pt x="63957" y="-1120"/>
                  <a:pt x="85033" y="140"/>
                </a:cubicBezTo>
                <a:cubicBezTo>
                  <a:pt x="382350" y="17637"/>
                  <a:pt x="662833" y="142502"/>
                  <a:pt x="874785" y="351604"/>
                </a:cubicBezTo>
                <a:cubicBezTo>
                  <a:pt x="1080309" y="554344"/>
                  <a:pt x="1208156" y="824355"/>
                  <a:pt x="1234865" y="1111929"/>
                </a:cubicBezTo>
                <a:cubicBezTo>
                  <a:pt x="1237384" y="1139301"/>
                  <a:pt x="1228636" y="1165679"/>
                  <a:pt x="1210277" y="1186225"/>
                </a:cubicBezTo>
                <a:cubicBezTo>
                  <a:pt x="1191918" y="1206705"/>
                  <a:pt x="1165673" y="1218701"/>
                  <a:pt x="1138234" y="1219164"/>
                </a:cubicBezTo>
                <a:lnTo>
                  <a:pt x="94643" y="1237125"/>
                </a:lnTo>
                <a:cubicBezTo>
                  <a:pt x="94179" y="1237059"/>
                  <a:pt x="93649" y="1237059"/>
                  <a:pt x="93053" y="1237059"/>
                </a:cubicBezTo>
                <a:close/>
                <a:moveTo>
                  <a:pt x="26577" y="1143742"/>
                </a:moveTo>
                <a:cubicBezTo>
                  <a:pt x="26511" y="1161769"/>
                  <a:pt x="33536" y="1178736"/>
                  <a:pt x="46394" y="1191394"/>
                </a:cubicBezTo>
                <a:cubicBezTo>
                  <a:pt x="59252" y="1204053"/>
                  <a:pt x="76351" y="1210814"/>
                  <a:pt x="94312" y="1210548"/>
                </a:cubicBezTo>
                <a:lnTo>
                  <a:pt x="1137903" y="1192588"/>
                </a:lnTo>
                <a:cubicBezTo>
                  <a:pt x="1157985" y="1192256"/>
                  <a:pt x="1177271" y="1183441"/>
                  <a:pt x="1190659" y="1168463"/>
                </a:cubicBezTo>
                <a:cubicBezTo>
                  <a:pt x="1204113" y="1153484"/>
                  <a:pt x="1210476" y="1134198"/>
                  <a:pt x="1208620" y="1114315"/>
                </a:cubicBezTo>
                <a:cubicBezTo>
                  <a:pt x="1182507" y="833037"/>
                  <a:pt x="1057376" y="568859"/>
                  <a:pt x="856294" y="370427"/>
                </a:cubicBezTo>
                <a:cubicBezTo>
                  <a:pt x="648914" y="165831"/>
                  <a:pt x="374463" y="43683"/>
                  <a:pt x="83575" y="26518"/>
                </a:cubicBezTo>
                <a:cubicBezTo>
                  <a:pt x="69657" y="25656"/>
                  <a:pt x="56601" y="30494"/>
                  <a:pt x="46460" y="40038"/>
                </a:cubicBezTo>
                <a:cubicBezTo>
                  <a:pt x="36187" y="49715"/>
                  <a:pt x="30488" y="62771"/>
                  <a:pt x="30488" y="76822"/>
                </a:cubicBezTo>
                <a:lnTo>
                  <a:pt x="26577" y="1143742"/>
                </a:lnTo>
                <a:lnTo>
                  <a:pt x="26577" y="1143742"/>
                </a:lnTo>
                <a:close/>
              </a:path>
            </a:pathLst>
          </a:custGeom>
          <a:solidFill>
            <a:srgbClr val="12284B"/>
          </a:solidFill>
          <a:ln w="6623" cap="flat">
            <a:noFill/>
            <a:prstDash val="solid"/>
            <a:miter/>
          </a:ln>
        </p:spPr>
        <p:txBody>
          <a:bodyPr rtlCol="0" anchor="ctr"/>
          <a:lstStyle/>
          <a:p>
            <a:endParaRPr lang="en-IN" dirty="0"/>
          </a:p>
        </p:txBody>
      </p:sp>
      <p:sp>
        <p:nvSpPr>
          <p:cNvPr id="66" name="Freeform: Shape 65">
            <a:extLst>
              <a:ext uri="{FF2B5EF4-FFF2-40B4-BE49-F238E27FC236}">
                <a16:creationId xmlns:a16="http://schemas.microsoft.com/office/drawing/2014/main" id="{35C04B35-F14C-422C-AE80-47109CA7088F}"/>
              </a:ext>
            </a:extLst>
          </p:cNvPr>
          <p:cNvSpPr/>
          <p:nvPr/>
        </p:nvSpPr>
        <p:spPr>
          <a:xfrm>
            <a:off x="2085427" y="2004724"/>
            <a:ext cx="1526449" cy="1528552"/>
          </a:xfrm>
          <a:custGeom>
            <a:avLst/>
            <a:gdLst>
              <a:gd name="connsiteX0" fmla="*/ 93052 w 1235356"/>
              <a:gd name="connsiteY0" fmla="*/ 1237059 h 1237058"/>
              <a:gd name="connsiteX1" fmla="*/ 27704 w 1235356"/>
              <a:gd name="connsiteY1" fmla="*/ 1210217 h 1237058"/>
              <a:gd name="connsiteX2" fmla="*/ 0 w 1235356"/>
              <a:gd name="connsiteY2" fmla="*/ 1143609 h 1237058"/>
              <a:gd name="connsiteX3" fmla="*/ 3911 w 1235356"/>
              <a:gd name="connsiteY3" fmla="*/ 76755 h 1237058"/>
              <a:gd name="connsiteX4" fmla="*/ 28301 w 1235356"/>
              <a:gd name="connsiteY4" fmla="*/ 20752 h 1237058"/>
              <a:gd name="connsiteX5" fmla="*/ 85100 w 1235356"/>
              <a:gd name="connsiteY5" fmla="*/ 140 h 1237058"/>
              <a:gd name="connsiteX6" fmla="*/ 874851 w 1235356"/>
              <a:gd name="connsiteY6" fmla="*/ 351604 h 1237058"/>
              <a:gd name="connsiteX7" fmla="*/ 1234932 w 1235356"/>
              <a:gd name="connsiteY7" fmla="*/ 1111863 h 1237058"/>
              <a:gd name="connsiteX8" fmla="*/ 1210343 w 1235356"/>
              <a:gd name="connsiteY8" fmla="*/ 1186159 h 1237058"/>
              <a:gd name="connsiteX9" fmla="*/ 1138301 w 1235356"/>
              <a:gd name="connsiteY9" fmla="*/ 1219098 h 1237058"/>
              <a:gd name="connsiteX10" fmla="*/ 94709 w 1235356"/>
              <a:gd name="connsiteY10" fmla="*/ 1237059 h 1237058"/>
              <a:gd name="connsiteX11" fmla="*/ 93052 w 1235356"/>
              <a:gd name="connsiteY11" fmla="*/ 1237059 h 1237058"/>
              <a:gd name="connsiteX12" fmla="*/ 80526 w 1235356"/>
              <a:gd name="connsiteY12" fmla="*/ 26518 h 1237058"/>
              <a:gd name="connsiteX13" fmla="*/ 46461 w 1235356"/>
              <a:gd name="connsiteY13" fmla="*/ 40104 h 1237058"/>
              <a:gd name="connsiteX14" fmla="*/ 30421 w 1235356"/>
              <a:gd name="connsiteY14" fmla="*/ 76888 h 1237058"/>
              <a:gd name="connsiteX15" fmla="*/ 26511 w 1235356"/>
              <a:gd name="connsiteY15" fmla="*/ 1143742 h 1237058"/>
              <a:gd name="connsiteX16" fmla="*/ 46328 w 1235356"/>
              <a:gd name="connsiteY16" fmla="*/ 1191395 h 1237058"/>
              <a:gd name="connsiteX17" fmla="*/ 94246 w 1235356"/>
              <a:gd name="connsiteY17" fmla="*/ 1210548 h 1237058"/>
              <a:gd name="connsiteX18" fmla="*/ 1137836 w 1235356"/>
              <a:gd name="connsiteY18" fmla="*/ 1192587 h 1237058"/>
              <a:gd name="connsiteX19" fmla="*/ 1190593 w 1235356"/>
              <a:gd name="connsiteY19" fmla="*/ 1168463 h 1237058"/>
              <a:gd name="connsiteX20" fmla="*/ 1208554 w 1235356"/>
              <a:gd name="connsiteY20" fmla="*/ 1114315 h 1237058"/>
              <a:gd name="connsiteX21" fmla="*/ 856227 w 1235356"/>
              <a:gd name="connsiteY21" fmla="*/ 370427 h 1237058"/>
              <a:gd name="connsiteX22" fmla="*/ 83509 w 1235356"/>
              <a:gd name="connsiteY22" fmla="*/ 26518 h 1237058"/>
              <a:gd name="connsiteX23" fmla="*/ 80526 w 1235356"/>
              <a:gd name="connsiteY23" fmla="*/ 26518 h 123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5356" h="1237058">
                <a:moveTo>
                  <a:pt x="93052" y="1237059"/>
                </a:moveTo>
                <a:cubicBezTo>
                  <a:pt x="68464" y="1237059"/>
                  <a:pt x="45267" y="1227581"/>
                  <a:pt x="27704" y="1210217"/>
                </a:cubicBezTo>
                <a:cubicBezTo>
                  <a:pt x="9743" y="1192521"/>
                  <a:pt x="-66" y="1168861"/>
                  <a:pt x="0" y="1143609"/>
                </a:cubicBezTo>
                <a:lnTo>
                  <a:pt x="3911" y="76755"/>
                </a:lnTo>
                <a:cubicBezTo>
                  <a:pt x="3977" y="55613"/>
                  <a:pt x="12858" y="35200"/>
                  <a:pt x="28301" y="20752"/>
                </a:cubicBezTo>
                <a:cubicBezTo>
                  <a:pt x="43809" y="6171"/>
                  <a:pt x="64090" y="-1120"/>
                  <a:pt x="85100" y="140"/>
                </a:cubicBezTo>
                <a:cubicBezTo>
                  <a:pt x="382416" y="17637"/>
                  <a:pt x="662899" y="142502"/>
                  <a:pt x="874851" y="351604"/>
                </a:cubicBezTo>
                <a:cubicBezTo>
                  <a:pt x="1080375" y="554410"/>
                  <a:pt x="1208288" y="824355"/>
                  <a:pt x="1234932" y="1111863"/>
                </a:cubicBezTo>
                <a:cubicBezTo>
                  <a:pt x="1237450" y="1139235"/>
                  <a:pt x="1228702" y="1165613"/>
                  <a:pt x="1210343" y="1186159"/>
                </a:cubicBezTo>
                <a:cubicBezTo>
                  <a:pt x="1191985" y="1206638"/>
                  <a:pt x="1165739" y="1218634"/>
                  <a:pt x="1138301" y="1219098"/>
                </a:cubicBezTo>
                <a:lnTo>
                  <a:pt x="94709" y="1237059"/>
                </a:lnTo>
                <a:cubicBezTo>
                  <a:pt x="94113" y="1237059"/>
                  <a:pt x="93583" y="1237059"/>
                  <a:pt x="93052" y="1237059"/>
                </a:cubicBezTo>
                <a:close/>
                <a:moveTo>
                  <a:pt x="80526" y="26518"/>
                </a:moveTo>
                <a:cubicBezTo>
                  <a:pt x="67868" y="26518"/>
                  <a:pt x="55805" y="31290"/>
                  <a:pt x="46461" y="40104"/>
                </a:cubicBezTo>
                <a:cubicBezTo>
                  <a:pt x="36187" y="49781"/>
                  <a:pt x="30488" y="62837"/>
                  <a:pt x="30421" y="76888"/>
                </a:cubicBezTo>
                <a:lnTo>
                  <a:pt x="26511" y="1143742"/>
                </a:lnTo>
                <a:cubicBezTo>
                  <a:pt x="26445" y="1161769"/>
                  <a:pt x="33470" y="1178669"/>
                  <a:pt x="46328" y="1191395"/>
                </a:cubicBezTo>
                <a:cubicBezTo>
                  <a:pt x="59185" y="1204053"/>
                  <a:pt x="75887" y="1210880"/>
                  <a:pt x="94246" y="1210548"/>
                </a:cubicBezTo>
                <a:lnTo>
                  <a:pt x="1137836" y="1192587"/>
                </a:lnTo>
                <a:cubicBezTo>
                  <a:pt x="1157918" y="1192256"/>
                  <a:pt x="1177205" y="1183441"/>
                  <a:pt x="1190593" y="1168463"/>
                </a:cubicBezTo>
                <a:cubicBezTo>
                  <a:pt x="1204047" y="1153484"/>
                  <a:pt x="1210410" y="1134198"/>
                  <a:pt x="1208554" y="1114315"/>
                </a:cubicBezTo>
                <a:cubicBezTo>
                  <a:pt x="1182440" y="833037"/>
                  <a:pt x="1057376" y="568859"/>
                  <a:pt x="856227" y="370427"/>
                </a:cubicBezTo>
                <a:cubicBezTo>
                  <a:pt x="648848" y="165765"/>
                  <a:pt x="374397" y="43683"/>
                  <a:pt x="83509" y="26518"/>
                </a:cubicBezTo>
                <a:cubicBezTo>
                  <a:pt x="82515" y="26518"/>
                  <a:pt x="81520" y="26518"/>
                  <a:pt x="80526" y="26518"/>
                </a:cubicBezTo>
                <a:close/>
              </a:path>
            </a:pathLst>
          </a:custGeom>
          <a:solidFill>
            <a:srgbClr val="12284B"/>
          </a:solidFill>
          <a:ln w="6623" cap="flat">
            <a:noFill/>
            <a:prstDash val="solid"/>
            <a:miter/>
          </a:ln>
        </p:spPr>
        <p:txBody>
          <a:bodyPr rtlCol="0" anchor="ctr"/>
          <a:lstStyle/>
          <a:p>
            <a:endParaRPr lang="en-IN" dirty="0"/>
          </a:p>
        </p:txBody>
      </p:sp>
      <p:sp>
        <p:nvSpPr>
          <p:cNvPr id="67" name="Freeform: Shape 66">
            <a:extLst>
              <a:ext uri="{FF2B5EF4-FFF2-40B4-BE49-F238E27FC236}">
                <a16:creationId xmlns:a16="http://schemas.microsoft.com/office/drawing/2014/main" id="{E627878B-34E4-47DB-8871-FD03CE45EFF9}"/>
              </a:ext>
            </a:extLst>
          </p:cNvPr>
          <p:cNvSpPr/>
          <p:nvPr/>
        </p:nvSpPr>
        <p:spPr>
          <a:xfrm>
            <a:off x="2284921" y="1813437"/>
            <a:ext cx="1526448" cy="1528619"/>
          </a:xfrm>
          <a:custGeom>
            <a:avLst/>
            <a:gdLst>
              <a:gd name="connsiteX0" fmla="*/ 93052 w 1235355"/>
              <a:gd name="connsiteY0" fmla="*/ 1237047 h 1237112"/>
              <a:gd name="connsiteX1" fmla="*/ 27703 w 1235355"/>
              <a:gd name="connsiteY1" fmla="*/ 1210205 h 1237112"/>
              <a:gd name="connsiteX2" fmla="*/ 0 w 1235355"/>
              <a:gd name="connsiteY2" fmla="*/ 1143597 h 1237112"/>
              <a:gd name="connsiteX3" fmla="*/ 3910 w 1235355"/>
              <a:gd name="connsiteY3" fmla="*/ 76743 h 1237112"/>
              <a:gd name="connsiteX4" fmla="*/ 28301 w 1235355"/>
              <a:gd name="connsiteY4" fmla="*/ 20739 h 1237112"/>
              <a:gd name="connsiteX5" fmla="*/ 85099 w 1235355"/>
              <a:gd name="connsiteY5" fmla="*/ 127 h 1237112"/>
              <a:gd name="connsiteX6" fmla="*/ 874851 w 1235355"/>
              <a:gd name="connsiteY6" fmla="*/ 351592 h 1237112"/>
              <a:gd name="connsiteX7" fmla="*/ 1234931 w 1235355"/>
              <a:gd name="connsiteY7" fmla="*/ 1111916 h 1237112"/>
              <a:gd name="connsiteX8" fmla="*/ 1210277 w 1235355"/>
              <a:gd name="connsiteY8" fmla="*/ 1186212 h 1237112"/>
              <a:gd name="connsiteX9" fmla="*/ 1138234 w 1235355"/>
              <a:gd name="connsiteY9" fmla="*/ 1219152 h 1237112"/>
              <a:gd name="connsiteX10" fmla="*/ 94643 w 1235355"/>
              <a:gd name="connsiteY10" fmla="*/ 1237113 h 1237112"/>
              <a:gd name="connsiteX11" fmla="*/ 93052 w 1235355"/>
              <a:gd name="connsiteY11" fmla="*/ 1237047 h 1237112"/>
              <a:gd name="connsiteX12" fmla="*/ 80593 w 1235355"/>
              <a:gd name="connsiteY12" fmla="*/ 26439 h 1237112"/>
              <a:gd name="connsiteX13" fmla="*/ 46527 w 1235355"/>
              <a:gd name="connsiteY13" fmla="*/ 40026 h 1237112"/>
              <a:gd name="connsiteX14" fmla="*/ 30487 w 1235355"/>
              <a:gd name="connsiteY14" fmla="*/ 76809 h 1237112"/>
              <a:gd name="connsiteX15" fmla="*/ 26577 w 1235355"/>
              <a:gd name="connsiteY15" fmla="*/ 1143729 h 1237112"/>
              <a:gd name="connsiteX16" fmla="*/ 46394 w 1235355"/>
              <a:gd name="connsiteY16" fmla="*/ 1191382 h 1237112"/>
              <a:gd name="connsiteX17" fmla="*/ 94312 w 1235355"/>
              <a:gd name="connsiteY17" fmla="*/ 1210536 h 1237112"/>
              <a:gd name="connsiteX18" fmla="*/ 1137902 w 1235355"/>
              <a:gd name="connsiteY18" fmla="*/ 1192575 h 1237112"/>
              <a:gd name="connsiteX19" fmla="*/ 1190659 w 1235355"/>
              <a:gd name="connsiteY19" fmla="*/ 1168450 h 1237112"/>
              <a:gd name="connsiteX20" fmla="*/ 1208620 w 1235355"/>
              <a:gd name="connsiteY20" fmla="*/ 1114303 h 1237112"/>
              <a:gd name="connsiteX21" fmla="*/ 856293 w 1235355"/>
              <a:gd name="connsiteY21" fmla="*/ 370414 h 1237112"/>
              <a:gd name="connsiteX22" fmla="*/ 83575 w 1235355"/>
              <a:gd name="connsiteY22" fmla="*/ 26505 h 1237112"/>
              <a:gd name="connsiteX23" fmla="*/ 80593 w 1235355"/>
              <a:gd name="connsiteY23" fmla="*/ 26439 h 1237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5355" h="1237112">
                <a:moveTo>
                  <a:pt x="93052" y="1237047"/>
                </a:moveTo>
                <a:cubicBezTo>
                  <a:pt x="68464" y="1237047"/>
                  <a:pt x="45267" y="1227569"/>
                  <a:pt x="27703" y="1210205"/>
                </a:cubicBezTo>
                <a:cubicBezTo>
                  <a:pt x="9743" y="1192509"/>
                  <a:pt x="-66" y="1168848"/>
                  <a:pt x="0" y="1143597"/>
                </a:cubicBezTo>
                <a:lnTo>
                  <a:pt x="3910" y="76743"/>
                </a:lnTo>
                <a:cubicBezTo>
                  <a:pt x="3977" y="55601"/>
                  <a:pt x="12858" y="35188"/>
                  <a:pt x="28301" y="20739"/>
                </a:cubicBezTo>
                <a:cubicBezTo>
                  <a:pt x="43809" y="6158"/>
                  <a:pt x="63957" y="-1066"/>
                  <a:pt x="85099" y="127"/>
                </a:cubicBezTo>
                <a:cubicBezTo>
                  <a:pt x="382416" y="17624"/>
                  <a:pt x="662832" y="142489"/>
                  <a:pt x="874851" y="351592"/>
                </a:cubicBezTo>
                <a:cubicBezTo>
                  <a:pt x="1080375" y="554332"/>
                  <a:pt x="1208222" y="824343"/>
                  <a:pt x="1234931" y="1111916"/>
                </a:cubicBezTo>
                <a:cubicBezTo>
                  <a:pt x="1237450" y="1139289"/>
                  <a:pt x="1228702" y="1165667"/>
                  <a:pt x="1210277" y="1186212"/>
                </a:cubicBezTo>
                <a:cubicBezTo>
                  <a:pt x="1191918" y="1206692"/>
                  <a:pt x="1165673" y="1218688"/>
                  <a:pt x="1138234" y="1219152"/>
                </a:cubicBezTo>
                <a:lnTo>
                  <a:pt x="94643" y="1237113"/>
                </a:lnTo>
                <a:cubicBezTo>
                  <a:pt x="94179" y="1237047"/>
                  <a:pt x="93583" y="1237047"/>
                  <a:pt x="93052" y="1237047"/>
                </a:cubicBezTo>
                <a:close/>
                <a:moveTo>
                  <a:pt x="80593" y="26439"/>
                </a:moveTo>
                <a:cubicBezTo>
                  <a:pt x="67934" y="26439"/>
                  <a:pt x="55937" y="31211"/>
                  <a:pt x="46527" y="40026"/>
                </a:cubicBezTo>
                <a:cubicBezTo>
                  <a:pt x="36253" y="49702"/>
                  <a:pt x="30554" y="62759"/>
                  <a:pt x="30487" y="76809"/>
                </a:cubicBezTo>
                <a:lnTo>
                  <a:pt x="26577" y="1143729"/>
                </a:lnTo>
                <a:cubicBezTo>
                  <a:pt x="26511" y="1161757"/>
                  <a:pt x="33536" y="1178657"/>
                  <a:pt x="46394" y="1191382"/>
                </a:cubicBezTo>
                <a:cubicBezTo>
                  <a:pt x="59251" y="1204041"/>
                  <a:pt x="76152" y="1210801"/>
                  <a:pt x="94312" y="1210536"/>
                </a:cubicBezTo>
                <a:lnTo>
                  <a:pt x="1137902" y="1192575"/>
                </a:lnTo>
                <a:cubicBezTo>
                  <a:pt x="1157984" y="1192244"/>
                  <a:pt x="1177205" y="1183429"/>
                  <a:pt x="1190659" y="1168450"/>
                </a:cubicBezTo>
                <a:cubicBezTo>
                  <a:pt x="1204112" y="1153472"/>
                  <a:pt x="1210476" y="1134186"/>
                  <a:pt x="1208620" y="1114303"/>
                </a:cubicBezTo>
                <a:cubicBezTo>
                  <a:pt x="1182506" y="833025"/>
                  <a:pt x="1057376" y="568846"/>
                  <a:pt x="856293" y="370414"/>
                </a:cubicBezTo>
                <a:cubicBezTo>
                  <a:pt x="648914" y="165752"/>
                  <a:pt x="374463" y="43671"/>
                  <a:pt x="83575" y="26505"/>
                </a:cubicBezTo>
                <a:cubicBezTo>
                  <a:pt x="82581" y="26505"/>
                  <a:pt x="81586" y="26439"/>
                  <a:pt x="80593" y="26439"/>
                </a:cubicBezTo>
                <a:close/>
              </a:path>
            </a:pathLst>
          </a:custGeom>
          <a:solidFill>
            <a:srgbClr val="12284B"/>
          </a:solidFill>
          <a:ln w="6623" cap="flat">
            <a:noFill/>
            <a:prstDash val="solid"/>
            <a:miter/>
          </a:ln>
        </p:spPr>
        <p:txBody>
          <a:bodyPr rtlCol="0" anchor="ctr"/>
          <a:lstStyle/>
          <a:p>
            <a:endParaRPr lang="en-IN" dirty="0"/>
          </a:p>
        </p:txBody>
      </p:sp>
      <p:sp>
        <p:nvSpPr>
          <p:cNvPr id="69" name="Freeform: Shape 68">
            <a:extLst>
              <a:ext uri="{FF2B5EF4-FFF2-40B4-BE49-F238E27FC236}">
                <a16:creationId xmlns:a16="http://schemas.microsoft.com/office/drawing/2014/main" id="{C8539FA9-C8F6-44A6-9731-65B8A0207CA6}"/>
              </a:ext>
            </a:extLst>
          </p:cNvPr>
          <p:cNvSpPr/>
          <p:nvPr/>
        </p:nvSpPr>
        <p:spPr>
          <a:xfrm>
            <a:off x="195773" y="4610112"/>
            <a:ext cx="1483016" cy="94426"/>
          </a:xfrm>
          <a:custGeom>
            <a:avLst/>
            <a:gdLst>
              <a:gd name="connsiteX0" fmla="*/ 1432410 w 1483016"/>
              <a:gd name="connsiteY0" fmla="*/ 60241 h 94426"/>
              <a:gd name="connsiteX1" fmla="*/ 1418788 w 1483016"/>
              <a:gd name="connsiteY1" fmla="*/ 45634 h 94426"/>
              <a:gd name="connsiteX2" fmla="*/ 1386518 w 1483016"/>
              <a:gd name="connsiteY2" fmla="*/ 15229 h 94426"/>
              <a:gd name="connsiteX3" fmla="*/ 1334876 w 1483016"/>
              <a:gd name="connsiteY3" fmla="*/ 0 h 94426"/>
              <a:gd name="connsiteX4" fmla="*/ 1334462 w 1483016"/>
              <a:gd name="connsiteY4" fmla="*/ 0 h 94426"/>
              <a:gd name="connsiteX5" fmla="*/ 1265105 w 1483016"/>
              <a:gd name="connsiteY5" fmla="*/ 29835 h 94426"/>
              <a:gd name="connsiteX6" fmla="*/ 1250342 w 1483016"/>
              <a:gd name="connsiteY6" fmla="*/ 45634 h 94426"/>
              <a:gd name="connsiteX7" fmla="*/ 1222475 w 1483016"/>
              <a:gd name="connsiteY7" fmla="*/ 72206 h 94426"/>
              <a:gd name="connsiteX8" fmla="*/ 1186320 w 1483016"/>
              <a:gd name="connsiteY8" fmla="*/ 82876 h 94426"/>
              <a:gd name="connsiteX9" fmla="*/ 1135921 w 1483016"/>
              <a:gd name="connsiteY9" fmla="*/ 60292 h 94426"/>
              <a:gd name="connsiteX10" fmla="*/ 1122298 w 1483016"/>
              <a:gd name="connsiteY10" fmla="*/ 45685 h 94426"/>
              <a:gd name="connsiteX11" fmla="*/ 1090028 w 1483016"/>
              <a:gd name="connsiteY11" fmla="*/ 15332 h 94426"/>
              <a:gd name="connsiteX12" fmla="*/ 1038386 w 1483016"/>
              <a:gd name="connsiteY12" fmla="*/ 104 h 94426"/>
              <a:gd name="connsiteX13" fmla="*/ 1037972 w 1483016"/>
              <a:gd name="connsiteY13" fmla="*/ 104 h 94426"/>
              <a:gd name="connsiteX14" fmla="*/ 968563 w 1483016"/>
              <a:gd name="connsiteY14" fmla="*/ 29939 h 94426"/>
              <a:gd name="connsiteX15" fmla="*/ 953800 w 1483016"/>
              <a:gd name="connsiteY15" fmla="*/ 45685 h 94426"/>
              <a:gd name="connsiteX16" fmla="*/ 925830 w 1483016"/>
              <a:gd name="connsiteY16" fmla="*/ 72258 h 94426"/>
              <a:gd name="connsiteX17" fmla="*/ 889624 w 1483016"/>
              <a:gd name="connsiteY17" fmla="*/ 82928 h 94426"/>
              <a:gd name="connsiteX18" fmla="*/ 839172 w 1483016"/>
              <a:gd name="connsiteY18" fmla="*/ 60344 h 94426"/>
              <a:gd name="connsiteX19" fmla="*/ 825550 w 1483016"/>
              <a:gd name="connsiteY19" fmla="*/ 45737 h 94426"/>
              <a:gd name="connsiteX20" fmla="*/ 793228 w 1483016"/>
              <a:gd name="connsiteY20" fmla="*/ 15332 h 94426"/>
              <a:gd name="connsiteX21" fmla="*/ 741431 w 1483016"/>
              <a:gd name="connsiteY21" fmla="*/ 104 h 94426"/>
              <a:gd name="connsiteX22" fmla="*/ 741016 w 1483016"/>
              <a:gd name="connsiteY22" fmla="*/ 104 h 94426"/>
              <a:gd name="connsiteX23" fmla="*/ 671659 w 1483016"/>
              <a:gd name="connsiteY23" fmla="*/ 29939 h 94426"/>
              <a:gd name="connsiteX24" fmla="*/ 656897 w 1483016"/>
              <a:gd name="connsiteY24" fmla="*/ 45737 h 94426"/>
              <a:gd name="connsiteX25" fmla="*/ 629030 w 1483016"/>
              <a:gd name="connsiteY25" fmla="*/ 72258 h 94426"/>
              <a:gd name="connsiteX26" fmla="*/ 592875 w 1483016"/>
              <a:gd name="connsiteY26" fmla="*/ 82928 h 94426"/>
              <a:gd name="connsiteX27" fmla="*/ 542528 w 1483016"/>
              <a:gd name="connsiteY27" fmla="*/ 60344 h 94426"/>
              <a:gd name="connsiteX28" fmla="*/ 528957 w 1483016"/>
              <a:gd name="connsiteY28" fmla="*/ 45737 h 94426"/>
              <a:gd name="connsiteX29" fmla="*/ 496687 w 1483016"/>
              <a:gd name="connsiteY29" fmla="*/ 15332 h 94426"/>
              <a:gd name="connsiteX30" fmla="*/ 444734 w 1483016"/>
              <a:gd name="connsiteY30" fmla="*/ 104 h 94426"/>
              <a:gd name="connsiteX31" fmla="*/ 444631 w 1483016"/>
              <a:gd name="connsiteY31" fmla="*/ 104 h 94426"/>
              <a:gd name="connsiteX32" fmla="*/ 375274 w 1483016"/>
              <a:gd name="connsiteY32" fmla="*/ 29939 h 94426"/>
              <a:gd name="connsiteX33" fmla="*/ 360511 w 1483016"/>
              <a:gd name="connsiteY33" fmla="*/ 45737 h 94426"/>
              <a:gd name="connsiteX34" fmla="*/ 332644 w 1483016"/>
              <a:gd name="connsiteY34" fmla="*/ 72309 h 94426"/>
              <a:gd name="connsiteX35" fmla="*/ 296489 w 1483016"/>
              <a:gd name="connsiteY35" fmla="*/ 82980 h 94426"/>
              <a:gd name="connsiteX36" fmla="*/ 246090 w 1483016"/>
              <a:gd name="connsiteY36" fmla="*/ 60396 h 94426"/>
              <a:gd name="connsiteX37" fmla="*/ 232468 w 1483016"/>
              <a:gd name="connsiteY37" fmla="*/ 45789 h 94426"/>
              <a:gd name="connsiteX38" fmla="*/ 200198 w 1483016"/>
              <a:gd name="connsiteY38" fmla="*/ 15384 h 94426"/>
              <a:gd name="connsiteX39" fmla="*/ 148555 w 1483016"/>
              <a:gd name="connsiteY39" fmla="*/ 155 h 94426"/>
              <a:gd name="connsiteX40" fmla="*/ 148141 w 1483016"/>
              <a:gd name="connsiteY40" fmla="*/ 155 h 94426"/>
              <a:gd name="connsiteX41" fmla="*/ 78784 w 1483016"/>
              <a:gd name="connsiteY41" fmla="*/ 29991 h 94426"/>
              <a:gd name="connsiteX42" fmla="*/ 64022 w 1483016"/>
              <a:gd name="connsiteY42" fmla="*/ 45789 h 94426"/>
              <a:gd name="connsiteX43" fmla="*/ 36155 w 1483016"/>
              <a:gd name="connsiteY43" fmla="*/ 72309 h 94426"/>
              <a:gd name="connsiteX44" fmla="*/ 0 w 1483016"/>
              <a:gd name="connsiteY44" fmla="*/ 82980 h 94426"/>
              <a:gd name="connsiteX45" fmla="*/ 52 w 1483016"/>
              <a:gd name="connsiteY45" fmla="*/ 94116 h 94426"/>
              <a:gd name="connsiteX46" fmla="*/ 42215 w 1483016"/>
              <a:gd name="connsiteY46" fmla="*/ 81633 h 94426"/>
              <a:gd name="connsiteX47" fmla="*/ 72258 w 1483016"/>
              <a:gd name="connsiteY47" fmla="*/ 53300 h 94426"/>
              <a:gd name="connsiteX48" fmla="*/ 86554 w 1483016"/>
              <a:gd name="connsiteY48" fmla="*/ 37968 h 94426"/>
              <a:gd name="connsiteX49" fmla="*/ 148245 w 1483016"/>
              <a:gd name="connsiteY49" fmla="*/ 11292 h 94426"/>
              <a:gd name="connsiteX50" fmla="*/ 148607 w 1483016"/>
              <a:gd name="connsiteY50" fmla="*/ 11292 h 94426"/>
              <a:gd name="connsiteX51" fmla="*/ 194189 w 1483016"/>
              <a:gd name="connsiteY51" fmla="*/ 24656 h 94426"/>
              <a:gd name="connsiteX52" fmla="*/ 224439 w 1483016"/>
              <a:gd name="connsiteY52" fmla="*/ 53300 h 94426"/>
              <a:gd name="connsiteX53" fmla="*/ 238580 w 1483016"/>
              <a:gd name="connsiteY53" fmla="*/ 68476 h 94426"/>
              <a:gd name="connsiteX54" fmla="*/ 296541 w 1483016"/>
              <a:gd name="connsiteY54" fmla="*/ 94220 h 94426"/>
              <a:gd name="connsiteX55" fmla="*/ 338704 w 1483016"/>
              <a:gd name="connsiteY55" fmla="*/ 81737 h 94426"/>
              <a:gd name="connsiteX56" fmla="*/ 368747 w 1483016"/>
              <a:gd name="connsiteY56" fmla="*/ 53403 h 94426"/>
              <a:gd name="connsiteX57" fmla="*/ 383043 w 1483016"/>
              <a:gd name="connsiteY57" fmla="*/ 38071 h 94426"/>
              <a:gd name="connsiteX58" fmla="*/ 444734 w 1483016"/>
              <a:gd name="connsiteY58" fmla="*/ 11395 h 94426"/>
              <a:gd name="connsiteX59" fmla="*/ 445097 w 1483016"/>
              <a:gd name="connsiteY59" fmla="*/ 11395 h 94426"/>
              <a:gd name="connsiteX60" fmla="*/ 490678 w 1483016"/>
              <a:gd name="connsiteY60" fmla="*/ 24759 h 94426"/>
              <a:gd name="connsiteX61" fmla="*/ 520928 w 1483016"/>
              <a:gd name="connsiteY61" fmla="*/ 53403 h 94426"/>
              <a:gd name="connsiteX62" fmla="*/ 535069 w 1483016"/>
              <a:gd name="connsiteY62" fmla="*/ 68528 h 94426"/>
              <a:gd name="connsiteX63" fmla="*/ 593031 w 1483016"/>
              <a:gd name="connsiteY63" fmla="*/ 94272 h 94426"/>
              <a:gd name="connsiteX64" fmla="*/ 635246 w 1483016"/>
              <a:gd name="connsiteY64" fmla="*/ 81788 h 94426"/>
              <a:gd name="connsiteX65" fmla="*/ 665236 w 1483016"/>
              <a:gd name="connsiteY65" fmla="*/ 53455 h 94426"/>
              <a:gd name="connsiteX66" fmla="*/ 679533 w 1483016"/>
              <a:gd name="connsiteY66" fmla="*/ 38123 h 94426"/>
              <a:gd name="connsiteX67" fmla="*/ 741275 w 1483016"/>
              <a:gd name="connsiteY67" fmla="*/ 11447 h 94426"/>
              <a:gd name="connsiteX68" fmla="*/ 741638 w 1483016"/>
              <a:gd name="connsiteY68" fmla="*/ 11447 h 94426"/>
              <a:gd name="connsiteX69" fmla="*/ 787272 w 1483016"/>
              <a:gd name="connsiteY69" fmla="*/ 24811 h 94426"/>
              <a:gd name="connsiteX70" fmla="*/ 817573 w 1483016"/>
              <a:gd name="connsiteY70" fmla="*/ 53455 h 94426"/>
              <a:gd name="connsiteX71" fmla="*/ 831714 w 1483016"/>
              <a:gd name="connsiteY71" fmla="*/ 68580 h 94426"/>
              <a:gd name="connsiteX72" fmla="*/ 889779 w 1483016"/>
              <a:gd name="connsiteY72" fmla="*/ 94323 h 94426"/>
              <a:gd name="connsiteX73" fmla="*/ 931994 w 1483016"/>
              <a:gd name="connsiteY73" fmla="*/ 81840 h 94426"/>
              <a:gd name="connsiteX74" fmla="*/ 962089 w 1483016"/>
              <a:gd name="connsiteY74" fmla="*/ 53455 h 94426"/>
              <a:gd name="connsiteX75" fmla="*/ 976385 w 1483016"/>
              <a:gd name="connsiteY75" fmla="*/ 38175 h 94426"/>
              <a:gd name="connsiteX76" fmla="*/ 1038179 w 1483016"/>
              <a:gd name="connsiteY76" fmla="*/ 11499 h 94426"/>
              <a:gd name="connsiteX77" fmla="*/ 1038542 w 1483016"/>
              <a:gd name="connsiteY77" fmla="*/ 11499 h 94426"/>
              <a:gd name="connsiteX78" fmla="*/ 1084123 w 1483016"/>
              <a:gd name="connsiteY78" fmla="*/ 24863 h 94426"/>
              <a:gd name="connsiteX79" fmla="*/ 1114373 w 1483016"/>
              <a:gd name="connsiteY79" fmla="*/ 53403 h 94426"/>
              <a:gd name="connsiteX80" fmla="*/ 1128514 w 1483016"/>
              <a:gd name="connsiteY80" fmla="*/ 68580 h 94426"/>
              <a:gd name="connsiteX81" fmla="*/ 1186475 w 1483016"/>
              <a:gd name="connsiteY81" fmla="*/ 94323 h 94426"/>
              <a:gd name="connsiteX82" fmla="*/ 1228639 w 1483016"/>
              <a:gd name="connsiteY82" fmla="*/ 81840 h 94426"/>
              <a:gd name="connsiteX83" fmla="*/ 1258682 w 1483016"/>
              <a:gd name="connsiteY83" fmla="*/ 53507 h 94426"/>
              <a:gd name="connsiteX84" fmla="*/ 1272977 w 1483016"/>
              <a:gd name="connsiteY84" fmla="*/ 38175 h 94426"/>
              <a:gd name="connsiteX85" fmla="*/ 1334720 w 1483016"/>
              <a:gd name="connsiteY85" fmla="*/ 11499 h 94426"/>
              <a:gd name="connsiteX86" fmla="*/ 1335083 w 1483016"/>
              <a:gd name="connsiteY86" fmla="*/ 11499 h 94426"/>
              <a:gd name="connsiteX87" fmla="*/ 1380665 w 1483016"/>
              <a:gd name="connsiteY87" fmla="*/ 24863 h 94426"/>
              <a:gd name="connsiteX88" fmla="*/ 1410914 w 1483016"/>
              <a:gd name="connsiteY88" fmla="*/ 53507 h 94426"/>
              <a:gd name="connsiteX89" fmla="*/ 1425055 w 1483016"/>
              <a:gd name="connsiteY89" fmla="*/ 68684 h 94426"/>
              <a:gd name="connsiteX90" fmla="*/ 1483017 w 1483016"/>
              <a:gd name="connsiteY90" fmla="*/ 94427 h 94426"/>
              <a:gd name="connsiteX91" fmla="*/ 1483017 w 1483016"/>
              <a:gd name="connsiteY91" fmla="*/ 83291 h 94426"/>
              <a:gd name="connsiteX92" fmla="*/ 1432410 w 1483016"/>
              <a:gd name="connsiteY92" fmla="*/ 60241 h 9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483016" h="94426">
                <a:moveTo>
                  <a:pt x="1432410" y="60241"/>
                </a:moveTo>
                <a:cubicBezTo>
                  <a:pt x="1427748" y="55734"/>
                  <a:pt x="1423449" y="50813"/>
                  <a:pt x="1418788" y="45634"/>
                </a:cubicBezTo>
                <a:cubicBezTo>
                  <a:pt x="1409309" y="35015"/>
                  <a:pt x="1399519" y="24034"/>
                  <a:pt x="1386518" y="15229"/>
                </a:cubicBezTo>
                <a:cubicBezTo>
                  <a:pt x="1371548" y="5128"/>
                  <a:pt x="1354196" y="0"/>
                  <a:pt x="1334876" y="0"/>
                </a:cubicBezTo>
                <a:cubicBezTo>
                  <a:pt x="1334720" y="0"/>
                  <a:pt x="1334616" y="0"/>
                  <a:pt x="1334462" y="0"/>
                </a:cubicBezTo>
                <a:cubicBezTo>
                  <a:pt x="1299135" y="0"/>
                  <a:pt x="1277950" y="17041"/>
                  <a:pt x="1265105" y="29835"/>
                </a:cubicBezTo>
                <a:cubicBezTo>
                  <a:pt x="1259873" y="34963"/>
                  <a:pt x="1255055" y="40402"/>
                  <a:pt x="1250342" y="45634"/>
                </a:cubicBezTo>
                <a:cubicBezTo>
                  <a:pt x="1241174" y="55786"/>
                  <a:pt x="1232575" y="65420"/>
                  <a:pt x="1222475" y="72206"/>
                </a:cubicBezTo>
                <a:cubicBezTo>
                  <a:pt x="1211235" y="79613"/>
                  <a:pt x="1200461" y="82824"/>
                  <a:pt x="1186320" y="82876"/>
                </a:cubicBezTo>
                <a:cubicBezTo>
                  <a:pt x="1163684" y="82824"/>
                  <a:pt x="1149751" y="73760"/>
                  <a:pt x="1135921" y="60292"/>
                </a:cubicBezTo>
                <a:cubicBezTo>
                  <a:pt x="1131259" y="55786"/>
                  <a:pt x="1126960" y="50865"/>
                  <a:pt x="1122298" y="45685"/>
                </a:cubicBezTo>
                <a:cubicBezTo>
                  <a:pt x="1112819" y="35067"/>
                  <a:pt x="1103030" y="24086"/>
                  <a:pt x="1090028" y="15332"/>
                </a:cubicBezTo>
                <a:cubicBezTo>
                  <a:pt x="1075059" y="5232"/>
                  <a:pt x="1057707" y="104"/>
                  <a:pt x="1038386" y="104"/>
                </a:cubicBezTo>
                <a:cubicBezTo>
                  <a:pt x="1038231" y="104"/>
                  <a:pt x="1038127" y="104"/>
                  <a:pt x="1037972" y="104"/>
                </a:cubicBezTo>
                <a:cubicBezTo>
                  <a:pt x="1002646" y="104"/>
                  <a:pt x="981409" y="17145"/>
                  <a:pt x="968563" y="29939"/>
                </a:cubicBezTo>
                <a:cubicBezTo>
                  <a:pt x="963332" y="35067"/>
                  <a:pt x="958514" y="40506"/>
                  <a:pt x="953800" y="45685"/>
                </a:cubicBezTo>
                <a:cubicBezTo>
                  <a:pt x="944633" y="55890"/>
                  <a:pt x="935982" y="65472"/>
                  <a:pt x="925830" y="72258"/>
                </a:cubicBezTo>
                <a:cubicBezTo>
                  <a:pt x="914746" y="79561"/>
                  <a:pt x="903557" y="82876"/>
                  <a:pt x="889624" y="82928"/>
                </a:cubicBezTo>
                <a:cubicBezTo>
                  <a:pt x="866936" y="82876"/>
                  <a:pt x="853003" y="73812"/>
                  <a:pt x="839172" y="60344"/>
                </a:cubicBezTo>
                <a:cubicBezTo>
                  <a:pt x="834563" y="55838"/>
                  <a:pt x="830212" y="50917"/>
                  <a:pt x="825550" y="45737"/>
                </a:cubicBezTo>
                <a:cubicBezTo>
                  <a:pt x="816071" y="35119"/>
                  <a:pt x="806229" y="24138"/>
                  <a:pt x="793228" y="15332"/>
                </a:cubicBezTo>
                <a:cubicBezTo>
                  <a:pt x="778207" y="5232"/>
                  <a:pt x="760803" y="104"/>
                  <a:pt x="741431" y="104"/>
                </a:cubicBezTo>
                <a:cubicBezTo>
                  <a:pt x="741275" y="104"/>
                  <a:pt x="741172" y="104"/>
                  <a:pt x="741016" y="104"/>
                </a:cubicBezTo>
                <a:cubicBezTo>
                  <a:pt x="705690" y="104"/>
                  <a:pt x="684505" y="17145"/>
                  <a:pt x="671659" y="29939"/>
                </a:cubicBezTo>
                <a:cubicBezTo>
                  <a:pt x="666428" y="35067"/>
                  <a:pt x="661610" y="40506"/>
                  <a:pt x="656897" y="45737"/>
                </a:cubicBezTo>
                <a:cubicBezTo>
                  <a:pt x="647729" y="55890"/>
                  <a:pt x="639130" y="65472"/>
                  <a:pt x="629030" y="72258"/>
                </a:cubicBezTo>
                <a:cubicBezTo>
                  <a:pt x="617945" y="79561"/>
                  <a:pt x="606757" y="82876"/>
                  <a:pt x="592875" y="82928"/>
                </a:cubicBezTo>
                <a:cubicBezTo>
                  <a:pt x="570240" y="82876"/>
                  <a:pt x="556358" y="73812"/>
                  <a:pt x="542528" y="60344"/>
                </a:cubicBezTo>
                <a:cubicBezTo>
                  <a:pt x="537918" y="55838"/>
                  <a:pt x="533515" y="50917"/>
                  <a:pt x="528957" y="45737"/>
                </a:cubicBezTo>
                <a:cubicBezTo>
                  <a:pt x="519478" y="35119"/>
                  <a:pt x="509688" y="24138"/>
                  <a:pt x="496687" y="15332"/>
                </a:cubicBezTo>
                <a:cubicBezTo>
                  <a:pt x="481666" y="5180"/>
                  <a:pt x="464417" y="52"/>
                  <a:pt x="444734" y="104"/>
                </a:cubicBezTo>
                <a:cubicBezTo>
                  <a:pt x="444682" y="104"/>
                  <a:pt x="444631" y="104"/>
                  <a:pt x="444631" y="104"/>
                </a:cubicBezTo>
                <a:cubicBezTo>
                  <a:pt x="409305" y="104"/>
                  <a:pt x="388119" y="17145"/>
                  <a:pt x="375274" y="29939"/>
                </a:cubicBezTo>
                <a:cubicBezTo>
                  <a:pt x="370094" y="35067"/>
                  <a:pt x="365225" y="40506"/>
                  <a:pt x="360511" y="45737"/>
                </a:cubicBezTo>
                <a:cubicBezTo>
                  <a:pt x="351343" y="55890"/>
                  <a:pt x="342745" y="65524"/>
                  <a:pt x="332644" y="72309"/>
                </a:cubicBezTo>
                <a:cubicBezTo>
                  <a:pt x="321404" y="79716"/>
                  <a:pt x="310630" y="82928"/>
                  <a:pt x="296489" y="82980"/>
                </a:cubicBezTo>
                <a:cubicBezTo>
                  <a:pt x="273854" y="82928"/>
                  <a:pt x="259920" y="73863"/>
                  <a:pt x="246090" y="60396"/>
                </a:cubicBezTo>
                <a:cubicBezTo>
                  <a:pt x="241480" y="55890"/>
                  <a:pt x="237129" y="50969"/>
                  <a:pt x="232468" y="45789"/>
                </a:cubicBezTo>
                <a:cubicBezTo>
                  <a:pt x="222989" y="35171"/>
                  <a:pt x="213199" y="24189"/>
                  <a:pt x="200198" y="15384"/>
                </a:cubicBezTo>
                <a:cubicBezTo>
                  <a:pt x="185228" y="5283"/>
                  <a:pt x="167876" y="155"/>
                  <a:pt x="148555" y="155"/>
                </a:cubicBezTo>
                <a:cubicBezTo>
                  <a:pt x="148400" y="155"/>
                  <a:pt x="148297" y="155"/>
                  <a:pt x="148141" y="155"/>
                </a:cubicBezTo>
                <a:cubicBezTo>
                  <a:pt x="112867" y="155"/>
                  <a:pt x="91630" y="17197"/>
                  <a:pt x="78784" y="29991"/>
                </a:cubicBezTo>
                <a:cubicBezTo>
                  <a:pt x="73553" y="35119"/>
                  <a:pt x="68735" y="40558"/>
                  <a:pt x="64022" y="45789"/>
                </a:cubicBezTo>
                <a:cubicBezTo>
                  <a:pt x="54854" y="55941"/>
                  <a:pt x="46255" y="65576"/>
                  <a:pt x="36155" y="72309"/>
                </a:cubicBezTo>
                <a:cubicBezTo>
                  <a:pt x="25070" y="79665"/>
                  <a:pt x="13882" y="82980"/>
                  <a:pt x="0" y="82980"/>
                </a:cubicBezTo>
                <a:lnTo>
                  <a:pt x="52" y="94116"/>
                </a:lnTo>
                <a:cubicBezTo>
                  <a:pt x="16213" y="94064"/>
                  <a:pt x="29214" y="90231"/>
                  <a:pt x="42215" y="81633"/>
                </a:cubicBezTo>
                <a:cubicBezTo>
                  <a:pt x="53507" y="74122"/>
                  <a:pt x="62623" y="64022"/>
                  <a:pt x="72258" y="53300"/>
                </a:cubicBezTo>
                <a:cubicBezTo>
                  <a:pt x="76868" y="48172"/>
                  <a:pt x="81581" y="42940"/>
                  <a:pt x="86554" y="37968"/>
                </a:cubicBezTo>
                <a:cubicBezTo>
                  <a:pt x="99037" y="25536"/>
                  <a:pt x="117270" y="11292"/>
                  <a:pt x="148245" y="11292"/>
                </a:cubicBezTo>
                <a:cubicBezTo>
                  <a:pt x="148348" y="11292"/>
                  <a:pt x="148504" y="11292"/>
                  <a:pt x="148607" y="11292"/>
                </a:cubicBezTo>
                <a:cubicBezTo>
                  <a:pt x="165752" y="11292"/>
                  <a:pt x="181084" y="15798"/>
                  <a:pt x="194189" y="24656"/>
                </a:cubicBezTo>
                <a:cubicBezTo>
                  <a:pt x="206102" y="32684"/>
                  <a:pt x="215374" y="43147"/>
                  <a:pt x="224439" y="53300"/>
                </a:cubicBezTo>
                <a:cubicBezTo>
                  <a:pt x="228997" y="58376"/>
                  <a:pt x="233711" y="63659"/>
                  <a:pt x="238580" y="68476"/>
                </a:cubicBezTo>
                <a:cubicBezTo>
                  <a:pt x="252202" y="81788"/>
                  <a:pt x="268726" y="94116"/>
                  <a:pt x="296541" y="94220"/>
                </a:cubicBezTo>
                <a:cubicBezTo>
                  <a:pt x="312754" y="94168"/>
                  <a:pt x="325755" y="90335"/>
                  <a:pt x="338704" y="81737"/>
                </a:cubicBezTo>
                <a:cubicBezTo>
                  <a:pt x="349996" y="74226"/>
                  <a:pt x="359113" y="64125"/>
                  <a:pt x="368747" y="53403"/>
                </a:cubicBezTo>
                <a:cubicBezTo>
                  <a:pt x="373357" y="48275"/>
                  <a:pt x="378071" y="43044"/>
                  <a:pt x="383043" y="38071"/>
                </a:cubicBezTo>
                <a:cubicBezTo>
                  <a:pt x="395526" y="25640"/>
                  <a:pt x="413759" y="11395"/>
                  <a:pt x="444734" y="11395"/>
                </a:cubicBezTo>
                <a:cubicBezTo>
                  <a:pt x="444838" y="11395"/>
                  <a:pt x="444993" y="11395"/>
                  <a:pt x="445097" y="11395"/>
                </a:cubicBezTo>
                <a:cubicBezTo>
                  <a:pt x="462242" y="11395"/>
                  <a:pt x="477574" y="15902"/>
                  <a:pt x="490678" y="24759"/>
                </a:cubicBezTo>
                <a:cubicBezTo>
                  <a:pt x="502592" y="32788"/>
                  <a:pt x="511864" y="43251"/>
                  <a:pt x="520928" y="53403"/>
                </a:cubicBezTo>
                <a:cubicBezTo>
                  <a:pt x="525487" y="58479"/>
                  <a:pt x="530200" y="63711"/>
                  <a:pt x="535069" y="68528"/>
                </a:cubicBezTo>
                <a:cubicBezTo>
                  <a:pt x="548692" y="81840"/>
                  <a:pt x="565215" y="94168"/>
                  <a:pt x="593031" y="94272"/>
                </a:cubicBezTo>
                <a:cubicBezTo>
                  <a:pt x="609243" y="94220"/>
                  <a:pt x="622244" y="90387"/>
                  <a:pt x="635246" y="81788"/>
                </a:cubicBezTo>
                <a:cubicBezTo>
                  <a:pt x="646538" y="74278"/>
                  <a:pt x="655654" y="64177"/>
                  <a:pt x="665236" y="53455"/>
                </a:cubicBezTo>
                <a:cubicBezTo>
                  <a:pt x="669846" y="48327"/>
                  <a:pt x="674560" y="43096"/>
                  <a:pt x="679533" y="38123"/>
                </a:cubicBezTo>
                <a:cubicBezTo>
                  <a:pt x="692016" y="25692"/>
                  <a:pt x="710352" y="11447"/>
                  <a:pt x="741275" y="11447"/>
                </a:cubicBezTo>
                <a:cubicBezTo>
                  <a:pt x="741379" y="11447"/>
                  <a:pt x="741534" y="11447"/>
                  <a:pt x="741638" y="11447"/>
                </a:cubicBezTo>
                <a:cubicBezTo>
                  <a:pt x="758783" y="11447"/>
                  <a:pt x="774167" y="15954"/>
                  <a:pt x="787272" y="24811"/>
                </a:cubicBezTo>
                <a:cubicBezTo>
                  <a:pt x="799185" y="32840"/>
                  <a:pt x="808509" y="43355"/>
                  <a:pt x="817573" y="53455"/>
                </a:cubicBezTo>
                <a:cubicBezTo>
                  <a:pt x="822131" y="58531"/>
                  <a:pt x="826845" y="63763"/>
                  <a:pt x="831714" y="68580"/>
                </a:cubicBezTo>
                <a:cubicBezTo>
                  <a:pt x="845389" y="81892"/>
                  <a:pt x="861912" y="94220"/>
                  <a:pt x="889779" y="94323"/>
                </a:cubicBezTo>
                <a:cubicBezTo>
                  <a:pt x="905991" y="94272"/>
                  <a:pt x="918993" y="90439"/>
                  <a:pt x="931994" y="81840"/>
                </a:cubicBezTo>
                <a:cubicBezTo>
                  <a:pt x="943338" y="74330"/>
                  <a:pt x="952454" y="64177"/>
                  <a:pt x="962089" y="53455"/>
                </a:cubicBezTo>
                <a:cubicBezTo>
                  <a:pt x="966699" y="48379"/>
                  <a:pt x="971412" y="43096"/>
                  <a:pt x="976385" y="38175"/>
                </a:cubicBezTo>
                <a:cubicBezTo>
                  <a:pt x="988868" y="25743"/>
                  <a:pt x="1007204" y="11499"/>
                  <a:pt x="1038179" y="11499"/>
                </a:cubicBezTo>
                <a:cubicBezTo>
                  <a:pt x="1038283" y="11499"/>
                  <a:pt x="1038438" y="11499"/>
                  <a:pt x="1038542" y="11499"/>
                </a:cubicBezTo>
                <a:cubicBezTo>
                  <a:pt x="1055687" y="11499"/>
                  <a:pt x="1071018" y="16005"/>
                  <a:pt x="1084123" y="24863"/>
                </a:cubicBezTo>
                <a:cubicBezTo>
                  <a:pt x="1096037" y="32891"/>
                  <a:pt x="1105308" y="43355"/>
                  <a:pt x="1114373" y="53403"/>
                </a:cubicBezTo>
                <a:cubicBezTo>
                  <a:pt x="1118931" y="58479"/>
                  <a:pt x="1123645" y="63763"/>
                  <a:pt x="1128514" y="68580"/>
                </a:cubicBezTo>
                <a:cubicBezTo>
                  <a:pt x="1142137" y="81892"/>
                  <a:pt x="1158660" y="94220"/>
                  <a:pt x="1186475" y="94323"/>
                </a:cubicBezTo>
                <a:cubicBezTo>
                  <a:pt x="1202688" y="94272"/>
                  <a:pt x="1215689" y="90439"/>
                  <a:pt x="1228639" y="81840"/>
                </a:cubicBezTo>
                <a:cubicBezTo>
                  <a:pt x="1239931" y="74330"/>
                  <a:pt x="1249047" y="64229"/>
                  <a:pt x="1258682" y="53507"/>
                </a:cubicBezTo>
                <a:cubicBezTo>
                  <a:pt x="1263291" y="48379"/>
                  <a:pt x="1268005" y="43147"/>
                  <a:pt x="1272977" y="38175"/>
                </a:cubicBezTo>
                <a:cubicBezTo>
                  <a:pt x="1285461" y="25743"/>
                  <a:pt x="1303693" y="11499"/>
                  <a:pt x="1334720" y="11499"/>
                </a:cubicBezTo>
                <a:cubicBezTo>
                  <a:pt x="1334824" y="11499"/>
                  <a:pt x="1334979" y="11499"/>
                  <a:pt x="1335083" y="11499"/>
                </a:cubicBezTo>
                <a:cubicBezTo>
                  <a:pt x="1352228" y="11499"/>
                  <a:pt x="1367560" y="16005"/>
                  <a:pt x="1380665" y="24863"/>
                </a:cubicBezTo>
                <a:cubicBezTo>
                  <a:pt x="1392578" y="32891"/>
                  <a:pt x="1401850" y="43355"/>
                  <a:pt x="1410914" y="53507"/>
                </a:cubicBezTo>
                <a:cubicBezTo>
                  <a:pt x="1415472" y="58583"/>
                  <a:pt x="1420186" y="63866"/>
                  <a:pt x="1425055" y="68684"/>
                </a:cubicBezTo>
                <a:cubicBezTo>
                  <a:pt x="1438678" y="81996"/>
                  <a:pt x="1455201" y="94323"/>
                  <a:pt x="1483017" y="94427"/>
                </a:cubicBezTo>
                <a:lnTo>
                  <a:pt x="1483017" y="83291"/>
                </a:lnTo>
                <a:cubicBezTo>
                  <a:pt x="1460122" y="82773"/>
                  <a:pt x="1446292" y="73708"/>
                  <a:pt x="1432410" y="60241"/>
                </a:cubicBezTo>
                <a:close/>
              </a:path>
            </a:pathLst>
          </a:custGeom>
          <a:solidFill>
            <a:schemeClr val="accent1"/>
          </a:solidFill>
          <a:ln w="5175" cap="flat">
            <a:noFill/>
            <a:prstDash val="solid"/>
            <a:miter/>
          </a:ln>
        </p:spPr>
        <p:txBody>
          <a:bodyPr rtlCol="0" anchor="ctr"/>
          <a:lstStyle/>
          <a:p>
            <a:endParaRPr lang="en-IN" dirty="0"/>
          </a:p>
        </p:txBody>
      </p:sp>
      <p:sp>
        <p:nvSpPr>
          <p:cNvPr id="70" name="Freeform: Shape 69">
            <a:extLst>
              <a:ext uri="{FF2B5EF4-FFF2-40B4-BE49-F238E27FC236}">
                <a16:creationId xmlns:a16="http://schemas.microsoft.com/office/drawing/2014/main" id="{EDEC548D-D61F-4C82-AF3B-AAFAEE451CCA}"/>
              </a:ext>
            </a:extLst>
          </p:cNvPr>
          <p:cNvSpPr/>
          <p:nvPr/>
        </p:nvSpPr>
        <p:spPr>
          <a:xfrm>
            <a:off x="195721" y="4864179"/>
            <a:ext cx="1483016" cy="94427"/>
          </a:xfrm>
          <a:custGeom>
            <a:avLst/>
            <a:gdLst>
              <a:gd name="connsiteX0" fmla="*/ 1418788 w 1483016"/>
              <a:gd name="connsiteY0" fmla="*/ 45634 h 94427"/>
              <a:gd name="connsiteX1" fmla="*/ 1386518 w 1483016"/>
              <a:gd name="connsiteY1" fmla="*/ 15229 h 94427"/>
              <a:gd name="connsiteX2" fmla="*/ 1334876 w 1483016"/>
              <a:gd name="connsiteY2" fmla="*/ 0 h 94427"/>
              <a:gd name="connsiteX3" fmla="*/ 1334462 w 1483016"/>
              <a:gd name="connsiteY3" fmla="*/ 0 h 94427"/>
              <a:gd name="connsiteX4" fmla="*/ 1265105 w 1483016"/>
              <a:gd name="connsiteY4" fmla="*/ 29835 h 94427"/>
              <a:gd name="connsiteX5" fmla="*/ 1250342 w 1483016"/>
              <a:gd name="connsiteY5" fmla="*/ 45634 h 94427"/>
              <a:gd name="connsiteX6" fmla="*/ 1222475 w 1483016"/>
              <a:gd name="connsiteY6" fmla="*/ 72206 h 94427"/>
              <a:gd name="connsiteX7" fmla="*/ 1186320 w 1483016"/>
              <a:gd name="connsiteY7" fmla="*/ 82876 h 94427"/>
              <a:gd name="connsiteX8" fmla="*/ 1135921 w 1483016"/>
              <a:gd name="connsiteY8" fmla="*/ 60292 h 94427"/>
              <a:gd name="connsiteX9" fmla="*/ 1122298 w 1483016"/>
              <a:gd name="connsiteY9" fmla="*/ 45686 h 94427"/>
              <a:gd name="connsiteX10" fmla="*/ 1090028 w 1483016"/>
              <a:gd name="connsiteY10" fmla="*/ 15332 h 94427"/>
              <a:gd name="connsiteX11" fmla="*/ 1038386 w 1483016"/>
              <a:gd name="connsiteY11" fmla="*/ 104 h 94427"/>
              <a:gd name="connsiteX12" fmla="*/ 1037972 w 1483016"/>
              <a:gd name="connsiteY12" fmla="*/ 104 h 94427"/>
              <a:gd name="connsiteX13" fmla="*/ 968563 w 1483016"/>
              <a:gd name="connsiteY13" fmla="*/ 29939 h 94427"/>
              <a:gd name="connsiteX14" fmla="*/ 953801 w 1483016"/>
              <a:gd name="connsiteY14" fmla="*/ 45686 h 94427"/>
              <a:gd name="connsiteX15" fmla="*/ 925830 w 1483016"/>
              <a:gd name="connsiteY15" fmla="*/ 72258 h 94427"/>
              <a:gd name="connsiteX16" fmla="*/ 889624 w 1483016"/>
              <a:gd name="connsiteY16" fmla="*/ 82928 h 94427"/>
              <a:gd name="connsiteX17" fmla="*/ 839173 w 1483016"/>
              <a:gd name="connsiteY17" fmla="*/ 60344 h 94427"/>
              <a:gd name="connsiteX18" fmla="*/ 825550 w 1483016"/>
              <a:gd name="connsiteY18" fmla="*/ 45737 h 94427"/>
              <a:gd name="connsiteX19" fmla="*/ 793229 w 1483016"/>
              <a:gd name="connsiteY19" fmla="*/ 15332 h 94427"/>
              <a:gd name="connsiteX20" fmla="*/ 741431 w 1483016"/>
              <a:gd name="connsiteY20" fmla="*/ 104 h 94427"/>
              <a:gd name="connsiteX21" fmla="*/ 741016 w 1483016"/>
              <a:gd name="connsiteY21" fmla="*/ 104 h 94427"/>
              <a:gd name="connsiteX22" fmla="*/ 671660 w 1483016"/>
              <a:gd name="connsiteY22" fmla="*/ 29939 h 94427"/>
              <a:gd name="connsiteX23" fmla="*/ 656897 w 1483016"/>
              <a:gd name="connsiteY23" fmla="*/ 45737 h 94427"/>
              <a:gd name="connsiteX24" fmla="*/ 629030 w 1483016"/>
              <a:gd name="connsiteY24" fmla="*/ 72258 h 94427"/>
              <a:gd name="connsiteX25" fmla="*/ 592875 w 1483016"/>
              <a:gd name="connsiteY25" fmla="*/ 82928 h 94427"/>
              <a:gd name="connsiteX26" fmla="*/ 542528 w 1483016"/>
              <a:gd name="connsiteY26" fmla="*/ 60344 h 94427"/>
              <a:gd name="connsiteX27" fmla="*/ 528957 w 1483016"/>
              <a:gd name="connsiteY27" fmla="*/ 45737 h 94427"/>
              <a:gd name="connsiteX28" fmla="*/ 496687 w 1483016"/>
              <a:gd name="connsiteY28" fmla="*/ 15332 h 94427"/>
              <a:gd name="connsiteX29" fmla="*/ 444734 w 1483016"/>
              <a:gd name="connsiteY29" fmla="*/ 104 h 94427"/>
              <a:gd name="connsiteX30" fmla="*/ 444631 w 1483016"/>
              <a:gd name="connsiteY30" fmla="*/ 104 h 94427"/>
              <a:gd name="connsiteX31" fmla="*/ 375274 w 1483016"/>
              <a:gd name="connsiteY31" fmla="*/ 29939 h 94427"/>
              <a:gd name="connsiteX32" fmla="*/ 360511 w 1483016"/>
              <a:gd name="connsiteY32" fmla="*/ 45737 h 94427"/>
              <a:gd name="connsiteX33" fmla="*/ 332644 w 1483016"/>
              <a:gd name="connsiteY33" fmla="*/ 72309 h 94427"/>
              <a:gd name="connsiteX34" fmla="*/ 296489 w 1483016"/>
              <a:gd name="connsiteY34" fmla="*/ 82980 h 94427"/>
              <a:gd name="connsiteX35" fmla="*/ 246090 w 1483016"/>
              <a:gd name="connsiteY35" fmla="*/ 60396 h 94427"/>
              <a:gd name="connsiteX36" fmla="*/ 232468 w 1483016"/>
              <a:gd name="connsiteY36" fmla="*/ 45789 h 94427"/>
              <a:gd name="connsiteX37" fmla="*/ 200198 w 1483016"/>
              <a:gd name="connsiteY37" fmla="*/ 15384 h 94427"/>
              <a:gd name="connsiteX38" fmla="*/ 148555 w 1483016"/>
              <a:gd name="connsiteY38" fmla="*/ 155 h 94427"/>
              <a:gd name="connsiteX39" fmla="*/ 148141 w 1483016"/>
              <a:gd name="connsiteY39" fmla="*/ 155 h 94427"/>
              <a:gd name="connsiteX40" fmla="*/ 78784 w 1483016"/>
              <a:gd name="connsiteY40" fmla="*/ 29991 h 94427"/>
              <a:gd name="connsiteX41" fmla="*/ 64022 w 1483016"/>
              <a:gd name="connsiteY41" fmla="*/ 45789 h 94427"/>
              <a:gd name="connsiteX42" fmla="*/ 36155 w 1483016"/>
              <a:gd name="connsiteY42" fmla="*/ 72309 h 94427"/>
              <a:gd name="connsiteX43" fmla="*/ 0 w 1483016"/>
              <a:gd name="connsiteY43" fmla="*/ 82980 h 94427"/>
              <a:gd name="connsiteX44" fmla="*/ 52 w 1483016"/>
              <a:gd name="connsiteY44" fmla="*/ 94116 h 94427"/>
              <a:gd name="connsiteX45" fmla="*/ 42215 w 1483016"/>
              <a:gd name="connsiteY45" fmla="*/ 81633 h 94427"/>
              <a:gd name="connsiteX46" fmla="*/ 72258 w 1483016"/>
              <a:gd name="connsiteY46" fmla="*/ 53300 h 94427"/>
              <a:gd name="connsiteX47" fmla="*/ 86554 w 1483016"/>
              <a:gd name="connsiteY47" fmla="*/ 37968 h 94427"/>
              <a:gd name="connsiteX48" fmla="*/ 148245 w 1483016"/>
              <a:gd name="connsiteY48" fmla="*/ 11292 h 94427"/>
              <a:gd name="connsiteX49" fmla="*/ 148607 w 1483016"/>
              <a:gd name="connsiteY49" fmla="*/ 11292 h 94427"/>
              <a:gd name="connsiteX50" fmla="*/ 194189 w 1483016"/>
              <a:gd name="connsiteY50" fmla="*/ 24656 h 94427"/>
              <a:gd name="connsiteX51" fmla="*/ 224439 w 1483016"/>
              <a:gd name="connsiteY51" fmla="*/ 53300 h 94427"/>
              <a:gd name="connsiteX52" fmla="*/ 238580 w 1483016"/>
              <a:gd name="connsiteY52" fmla="*/ 68476 h 94427"/>
              <a:gd name="connsiteX53" fmla="*/ 296541 w 1483016"/>
              <a:gd name="connsiteY53" fmla="*/ 94220 h 94427"/>
              <a:gd name="connsiteX54" fmla="*/ 338704 w 1483016"/>
              <a:gd name="connsiteY54" fmla="*/ 81737 h 94427"/>
              <a:gd name="connsiteX55" fmla="*/ 368747 w 1483016"/>
              <a:gd name="connsiteY55" fmla="*/ 53403 h 94427"/>
              <a:gd name="connsiteX56" fmla="*/ 383043 w 1483016"/>
              <a:gd name="connsiteY56" fmla="*/ 38071 h 94427"/>
              <a:gd name="connsiteX57" fmla="*/ 444734 w 1483016"/>
              <a:gd name="connsiteY57" fmla="*/ 11395 h 94427"/>
              <a:gd name="connsiteX58" fmla="*/ 445097 w 1483016"/>
              <a:gd name="connsiteY58" fmla="*/ 11395 h 94427"/>
              <a:gd name="connsiteX59" fmla="*/ 490679 w 1483016"/>
              <a:gd name="connsiteY59" fmla="*/ 24759 h 94427"/>
              <a:gd name="connsiteX60" fmla="*/ 520928 w 1483016"/>
              <a:gd name="connsiteY60" fmla="*/ 53403 h 94427"/>
              <a:gd name="connsiteX61" fmla="*/ 535069 w 1483016"/>
              <a:gd name="connsiteY61" fmla="*/ 68528 h 94427"/>
              <a:gd name="connsiteX62" fmla="*/ 593031 w 1483016"/>
              <a:gd name="connsiteY62" fmla="*/ 94272 h 94427"/>
              <a:gd name="connsiteX63" fmla="*/ 635246 w 1483016"/>
              <a:gd name="connsiteY63" fmla="*/ 81788 h 94427"/>
              <a:gd name="connsiteX64" fmla="*/ 665236 w 1483016"/>
              <a:gd name="connsiteY64" fmla="*/ 53455 h 94427"/>
              <a:gd name="connsiteX65" fmla="*/ 679533 w 1483016"/>
              <a:gd name="connsiteY65" fmla="*/ 38123 h 94427"/>
              <a:gd name="connsiteX66" fmla="*/ 741275 w 1483016"/>
              <a:gd name="connsiteY66" fmla="*/ 11447 h 94427"/>
              <a:gd name="connsiteX67" fmla="*/ 741638 w 1483016"/>
              <a:gd name="connsiteY67" fmla="*/ 11447 h 94427"/>
              <a:gd name="connsiteX68" fmla="*/ 787272 w 1483016"/>
              <a:gd name="connsiteY68" fmla="*/ 24811 h 94427"/>
              <a:gd name="connsiteX69" fmla="*/ 817573 w 1483016"/>
              <a:gd name="connsiteY69" fmla="*/ 53455 h 94427"/>
              <a:gd name="connsiteX70" fmla="*/ 831714 w 1483016"/>
              <a:gd name="connsiteY70" fmla="*/ 68580 h 94427"/>
              <a:gd name="connsiteX71" fmla="*/ 889779 w 1483016"/>
              <a:gd name="connsiteY71" fmla="*/ 94323 h 94427"/>
              <a:gd name="connsiteX72" fmla="*/ 931994 w 1483016"/>
              <a:gd name="connsiteY72" fmla="*/ 81840 h 94427"/>
              <a:gd name="connsiteX73" fmla="*/ 962089 w 1483016"/>
              <a:gd name="connsiteY73" fmla="*/ 53455 h 94427"/>
              <a:gd name="connsiteX74" fmla="*/ 976385 w 1483016"/>
              <a:gd name="connsiteY74" fmla="*/ 38175 h 94427"/>
              <a:gd name="connsiteX75" fmla="*/ 1038179 w 1483016"/>
              <a:gd name="connsiteY75" fmla="*/ 11499 h 94427"/>
              <a:gd name="connsiteX76" fmla="*/ 1038542 w 1483016"/>
              <a:gd name="connsiteY76" fmla="*/ 11499 h 94427"/>
              <a:gd name="connsiteX77" fmla="*/ 1084123 w 1483016"/>
              <a:gd name="connsiteY77" fmla="*/ 24863 h 94427"/>
              <a:gd name="connsiteX78" fmla="*/ 1114374 w 1483016"/>
              <a:gd name="connsiteY78" fmla="*/ 53403 h 94427"/>
              <a:gd name="connsiteX79" fmla="*/ 1128514 w 1483016"/>
              <a:gd name="connsiteY79" fmla="*/ 68580 h 94427"/>
              <a:gd name="connsiteX80" fmla="*/ 1186475 w 1483016"/>
              <a:gd name="connsiteY80" fmla="*/ 94323 h 94427"/>
              <a:gd name="connsiteX81" fmla="*/ 1228639 w 1483016"/>
              <a:gd name="connsiteY81" fmla="*/ 81840 h 94427"/>
              <a:gd name="connsiteX82" fmla="*/ 1258682 w 1483016"/>
              <a:gd name="connsiteY82" fmla="*/ 53507 h 94427"/>
              <a:gd name="connsiteX83" fmla="*/ 1272978 w 1483016"/>
              <a:gd name="connsiteY83" fmla="*/ 38175 h 94427"/>
              <a:gd name="connsiteX84" fmla="*/ 1334720 w 1483016"/>
              <a:gd name="connsiteY84" fmla="*/ 11499 h 94427"/>
              <a:gd name="connsiteX85" fmla="*/ 1335083 w 1483016"/>
              <a:gd name="connsiteY85" fmla="*/ 11499 h 94427"/>
              <a:gd name="connsiteX86" fmla="*/ 1380665 w 1483016"/>
              <a:gd name="connsiteY86" fmla="*/ 24863 h 94427"/>
              <a:gd name="connsiteX87" fmla="*/ 1410915 w 1483016"/>
              <a:gd name="connsiteY87" fmla="*/ 53507 h 94427"/>
              <a:gd name="connsiteX88" fmla="*/ 1425055 w 1483016"/>
              <a:gd name="connsiteY88" fmla="*/ 68684 h 94427"/>
              <a:gd name="connsiteX89" fmla="*/ 1483017 w 1483016"/>
              <a:gd name="connsiteY89" fmla="*/ 94427 h 94427"/>
              <a:gd name="connsiteX90" fmla="*/ 1483017 w 1483016"/>
              <a:gd name="connsiteY90" fmla="*/ 83290 h 94427"/>
              <a:gd name="connsiteX91" fmla="*/ 1432618 w 1483016"/>
              <a:gd name="connsiteY91" fmla="*/ 60707 h 94427"/>
              <a:gd name="connsiteX92" fmla="*/ 1418788 w 1483016"/>
              <a:gd name="connsiteY92" fmla="*/ 45634 h 9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483016" h="94427">
                <a:moveTo>
                  <a:pt x="1418788" y="45634"/>
                </a:moveTo>
                <a:cubicBezTo>
                  <a:pt x="1409309" y="35015"/>
                  <a:pt x="1399519" y="24034"/>
                  <a:pt x="1386518" y="15229"/>
                </a:cubicBezTo>
                <a:cubicBezTo>
                  <a:pt x="1371548" y="5128"/>
                  <a:pt x="1354196" y="0"/>
                  <a:pt x="1334876" y="0"/>
                </a:cubicBezTo>
                <a:cubicBezTo>
                  <a:pt x="1334720" y="0"/>
                  <a:pt x="1334616" y="0"/>
                  <a:pt x="1334462" y="0"/>
                </a:cubicBezTo>
                <a:cubicBezTo>
                  <a:pt x="1299135" y="0"/>
                  <a:pt x="1277950" y="17041"/>
                  <a:pt x="1265105" y="29835"/>
                </a:cubicBezTo>
                <a:cubicBezTo>
                  <a:pt x="1259873" y="34963"/>
                  <a:pt x="1255055" y="40402"/>
                  <a:pt x="1250342" y="45634"/>
                </a:cubicBezTo>
                <a:cubicBezTo>
                  <a:pt x="1241174" y="55786"/>
                  <a:pt x="1232575" y="65420"/>
                  <a:pt x="1222475" y="72206"/>
                </a:cubicBezTo>
                <a:cubicBezTo>
                  <a:pt x="1211235" y="79613"/>
                  <a:pt x="1200461" y="82824"/>
                  <a:pt x="1186320" y="82876"/>
                </a:cubicBezTo>
                <a:cubicBezTo>
                  <a:pt x="1163684" y="82824"/>
                  <a:pt x="1149751" y="73760"/>
                  <a:pt x="1135921" y="60292"/>
                </a:cubicBezTo>
                <a:cubicBezTo>
                  <a:pt x="1131259" y="55786"/>
                  <a:pt x="1126960" y="50865"/>
                  <a:pt x="1122298" y="45686"/>
                </a:cubicBezTo>
                <a:cubicBezTo>
                  <a:pt x="1112819" y="35067"/>
                  <a:pt x="1103030" y="24086"/>
                  <a:pt x="1090028" y="15332"/>
                </a:cubicBezTo>
                <a:cubicBezTo>
                  <a:pt x="1075059" y="5232"/>
                  <a:pt x="1057707" y="104"/>
                  <a:pt x="1038386" y="104"/>
                </a:cubicBezTo>
                <a:cubicBezTo>
                  <a:pt x="1038231" y="104"/>
                  <a:pt x="1038127" y="104"/>
                  <a:pt x="1037972" y="104"/>
                </a:cubicBezTo>
                <a:cubicBezTo>
                  <a:pt x="1002646" y="104"/>
                  <a:pt x="981409" y="17093"/>
                  <a:pt x="968563" y="29939"/>
                </a:cubicBezTo>
                <a:cubicBezTo>
                  <a:pt x="963332" y="35067"/>
                  <a:pt x="958514" y="40506"/>
                  <a:pt x="953801" y="45686"/>
                </a:cubicBezTo>
                <a:cubicBezTo>
                  <a:pt x="944633" y="55890"/>
                  <a:pt x="935982" y="65472"/>
                  <a:pt x="925830" y="72258"/>
                </a:cubicBezTo>
                <a:cubicBezTo>
                  <a:pt x="914746" y="79561"/>
                  <a:pt x="903557" y="82876"/>
                  <a:pt x="889624" y="82928"/>
                </a:cubicBezTo>
                <a:cubicBezTo>
                  <a:pt x="866936" y="82876"/>
                  <a:pt x="853003" y="73812"/>
                  <a:pt x="839173" y="60344"/>
                </a:cubicBezTo>
                <a:cubicBezTo>
                  <a:pt x="834563" y="55838"/>
                  <a:pt x="830212" y="50917"/>
                  <a:pt x="825550" y="45737"/>
                </a:cubicBezTo>
                <a:cubicBezTo>
                  <a:pt x="816071" y="35119"/>
                  <a:pt x="806229" y="24138"/>
                  <a:pt x="793229" y="15332"/>
                </a:cubicBezTo>
                <a:cubicBezTo>
                  <a:pt x="778207" y="5232"/>
                  <a:pt x="760803" y="104"/>
                  <a:pt x="741431" y="104"/>
                </a:cubicBezTo>
                <a:cubicBezTo>
                  <a:pt x="741275" y="104"/>
                  <a:pt x="741172" y="104"/>
                  <a:pt x="741016" y="104"/>
                </a:cubicBezTo>
                <a:cubicBezTo>
                  <a:pt x="705690" y="104"/>
                  <a:pt x="684505" y="17145"/>
                  <a:pt x="671660" y="29939"/>
                </a:cubicBezTo>
                <a:cubicBezTo>
                  <a:pt x="666428" y="35067"/>
                  <a:pt x="661611" y="40506"/>
                  <a:pt x="656897" y="45737"/>
                </a:cubicBezTo>
                <a:cubicBezTo>
                  <a:pt x="647729" y="55890"/>
                  <a:pt x="639130" y="65472"/>
                  <a:pt x="629030" y="72258"/>
                </a:cubicBezTo>
                <a:cubicBezTo>
                  <a:pt x="617945" y="79561"/>
                  <a:pt x="606757" y="82876"/>
                  <a:pt x="592875" y="82928"/>
                </a:cubicBezTo>
                <a:cubicBezTo>
                  <a:pt x="570240" y="82876"/>
                  <a:pt x="556358" y="73812"/>
                  <a:pt x="542528" y="60344"/>
                </a:cubicBezTo>
                <a:cubicBezTo>
                  <a:pt x="537918" y="55838"/>
                  <a:pt x="533515" y="50917"/>
                  <a:pt x="528957" y="45737"/>
                </a:cubicBezTo>
                <a:cubicBezTo>
                  <a:pt x="519478" y="35119"/>
                  <a:pt x="509688" y="24138"/>
                  <a:pt x="496687" y="15332"/>
                </a:cubicBezTo>
                <a:cubicBezTo>
                  <a:pt x="481666" y="5180"/>
                  <a:pt x="464417" y="52"/>
                  <a:pt x="444734" y="104"/>
                </a:cubicBezTo>
                <a:cubicBezTo>
                  <a:pt x="444682" y="104"/>
                  <a:pt x="444631" y="104"/>
                  <a:pt x="444631" y="104"/>
                </a:cubicBezTo>
                <a:cubicBezTo>
                  <a:pt x="409305" y="104"/>
                  <a:pt x="388119" y="17145"/>
                  <a:pt x="375274" y="29939"/>
                </a:cubicBezTo>
                <a:cubicBezTo>
                  <a:pt x="370094" y="35067"/>
                  <a:pt x="365225" y="40506"/>
                  <a:pt x="360511" y="45737"/>
                </a:cubicBezTo>
                <a:cubicBezTo>
                  <a:pt x="351343" y="55890"/>
                  <a:pt x="342745" y="65524"/>
                  <a:pt x="332644" y="72309"/>
                </a:cubicBezTo>
                <a:cubicBezTo>
                  <a:pt x="321404" y="79716"/>
                  <a:pt x="310630" y="82928"/>
                  <a:pt x="296489" y="82980"/>
                </a:cubicBezTo>
                <a:cubicBezTo>
                  <a:pt x="273854" y="82928"/>
                  <a:pt x="259920" y="73863"/>
                  <a:pt x="246090" y="60396"/>
                </a:cubicBezTo>
                <a:cubicBezTo>
                  <a:pt x="241480" y="55890"/>
                  <a:pt x="237129" y="50969"/>
                  <a:pt x="232468" y="45789"/>
                </a:cubicBezTo>
                <a:cubicBezTo>
                  <a:pt x="222989" y="35171"/>
                  <a:pt x="213199" y="24189"/>
                  <a:pt x="200198" y="15384"/>
                </a:cubicBezTo>
                <a:cubicBezTo>
                  <a:pt x="185228" y="5283"/>
                  <a:pt x="167876" y="155"/>
                  <a:pt x="148555" y="155"/>
                </a:cubicBezTo>
                <a:cubicBezTo>
                  <a:pt x="148400" y="155"/>
                  <a:pt x="148297" y="155"/>
                  <a:pt x="148141" y="155"/>
                </a:cubicBezTo>
                <a:cubicBezTo>
                  <a:pt x="112867" y="155"/>
                  <a:pt x="91630" y="17197"/>
                  <a:pt x="78784" y="29991"/>
                </a:cubicBezTo>
                <a:cubicBezTo>
                  <a:pt x="73553" y="35119"/>
                  <a:pt x="68735" y="40557"/>
                  <a:pt x="64022" y="45789"/>
                </a:cubicBezTo>
                <a:cubicBezTo>
                  <a:pt x="54854" y="55941"/>
                  <a:pt x="46255" y="65576"/>
                  <a:pt x="36155" y="72309"/>
                </a:cubicBezTo>
                <a:cubicBezTo>
                  <a:pt x="25070" y="79665"/>
                  <a:pt x="13882" y="82980"/>
                  <a:pt x="0" y="82980"/>
                </a:cubicBezTo>
                <a:lnTo>
                  <a:pt x="52" y="94116"/>
                </a:lnTo>
                <a:cubicBezTo>
                  <a:pt x="16213" y="94064"/>
                  <a:pt x="29214" y="90231"/>
                  <a:pt x="42215" y="81633"/>
                </a:cubicBezTo>
                <a:cubicBezTo>
                  <a:pt x="53507" y="74122"/>
                  <a:pt x="62623" y="64022"/>
                  <a:pt x="72258" y="53300"/>
                </a:cubicBezTo>
                <a:cubicBezTo>
                  <a:pt x="76868" y="48172"/>
                  <a:pt x="81581" y="42940"/>
                  <a:pt x="86554" y="37968"/>
                </a:cubicBezTo>
                <a:cubicBezTo>
                  <a:pt x="99037" y="25536"/>
                  <a:pt x="117270" y="11292"/>
                  <a:pt x="148245" y="11292"/>
                </a:cubicBezTo>
                <a:cubicBezTo>
                  <a:pt x="148348" y="11292"/>
                  <a:pt x="148504" y="11292"/>
                  <a:pt x="148607" y="11292"/>
                </a:cubicBezTo>
                <a:cubicBezTo>
                  <a:pt x="165752" y="11292"/>
                  <a:pt x="181084" y="15798"/>
                  <a:pt x="194189" y="24656"/>
                </a:cubicBezTo>
                <a:cubicBezTo>
                  <a:pt x="206103" y="32684"/>
                  <a:pt x="215374" y="43147"/>
                  <a:pt x="224439" y="53300"/>
                </a:cubicBezTo>
                <a:cubicBezTo>
                  <a:pt x="228997" y="58376"/>
                  <a:pt x="233711" y="63659"/>
                  <a:pt x="238580" y="68476"/>
                </a:cubicBezTo>
                <a:cubicBezTo>
                  <a:pt x="252202" y="81788"/>
                  <a:pt x="268726" y="94116"/>
                  <a:pt x="296541" y="94220"/>
                </a:cubicBezTo>
                <a:cubicBezTo>
                  <a:pt x="312754" y="94168"/>
                  <a:pt x="325755" y="90335"/>
                  <a:pt x="338704" y="81737"/>
                </a:cubicBezTo>
                <a:cubicBezTo>
                  <a:pt x="349996" y="74226"/>
                  <a:pt x="359113" y="64125"/>
                  <a:pt x="368747" y="53403"/>
                </a:cubicBezTo>
                <a:cubicBezTo>
                  <a:pt x="373357" y="48275"/>
                  <a:pt x="378071" y="43044"/>
                  <a:pt x="383043" y="38071"/>
                </a:cubicBezTo>
                <a:cubicBezTo>
                  <a:pt x="395527" y="25640"/>
                  <a:pt x="413759" y="11395"/>
                  <a:pt x="444734" y="11395"/>
                </a:cubicBezTo>
                <a:cubicBezTo>
                  <a:pt x="444838" y="11395"/>
                  <a:pt x="444993" y="11395"/>
                  <a:pt x="445097" y="11395"/>
                </a:cubicBezTo>
                <a:cubicBezTo>
                  <a:pt x="462242" y="11395"/>
                  <a:pt x="477574" y="15902"/>
                  <a:pt x="490679" y="24759"/>
                </a:cubicBezTo>
                <a:cubicBezTo>
                  <a:pt x="502592" y="32788"/>
                  <a:pt x="511864" y="43251"/>
                  <a:pt x="520928" y="53403"/>
                </a:cubicBezTo>
                <a:cubicBezTo>
                  <a:pt x="525487" y="58480"/>
                  <a:pt x="530200" y="63711"/>
                  <a:pt x="535069" y="68528"/>
                </a:cubicBezTo>
                <a:cubicBezTo>
                  <a:pt x="548692" y="81840"/>
                  <a:pt x="565215" y="94168"/>
                  <a:pt x="593031" y="94272"/>
                </a:cubicBezTo>
                <a:cubicBezTo>
                  <a:pt x="609243" y="94220"/>
                  <a:pt x="622244" y="90387"/>
                  <a:pt x="635246" y="81788"/>
                </a:cubicBezTo>
                <a:cubicBezTo>
                  <a:pt x="646538" y="74278"/>
                  <a:pt x="655654" y="64177"/>
                  <a:pt x="665236" y="53455"/>
                </a:cubicBezTo>
                <a:cubicBezTo>
                  <a:pt x="669846" y="48327"/>
                  <a:pt x="674560" y="43096"/>
                  <a:pt x="679533" y="38123"/>
                </a:cubicBezTo>
                <a:cubicBezTo>
                  <a:pt x="692016" y="25692"/>
                  <a:pt x="710352" y="11447"/>
                  <a:pt x="741275" y="11447"/>
                </a:cubicBezTo>
                <a:cubicBezTo>
                  <a:pt x="741379" y="11447"/>
                  <a:pt x="741534" y="11447"/>
                  <a:pt x="741638" y="11447"/>
                </a:cubicBezTo>
                <a:cubicBezTo>
                  <a:pt x="758783" y="11447"/>
                  <a:pt x="774167" y="15954"/>
                  <a:pt x="787272" y="24811"/>
                </a:cubicBezTo>
                <a:cubicBezTo>
                  <a:pt x="799185" y="32840"/>
                  <a:pt x="808509" y="43355"/>
                  <a:pt x="817573" y="53455"/>
                </a:cubicBezTo>
                <a:cubicBezTo>
                  <a:pt x="822131" y="58531"/>
                  <a:pt x="826845" y="63763"/>
                  <a:pt x="831714" y="68580"/>
                </a:cubicBezTo>
                <a:cubicBezTo>
                  <a:pt x="845389" y="81892"/>
                  <a:pt x="861912" y="94220"/>
                  <a:pt x="889779" y="94323"/>
                </a:cubicBezTo>
                <a:cubicBezTo>
                  <a:pt x="905991" y="94272"/>
                  <a:pt x="918993" y="90439"/>
                  <a:pt x="931994" y="81840"/>
                </a:cubicBezTo>
                <a:cubicBezTo>
                  <a:pt x="943338" y="74330"/>
                  <a:pt x="952454" y="64177"/>
                  <a:pt x="962089" y="53455"/>
                </a:cubicBezTo>
                <a:cubicBezTo>
                  <a:pt x="966699" y="48379"/>
                  <a:pt x="971412" y="43096"/>
                  <a:pt x="976385" y="38175"/>
                </a:cubicBezTo>
                <a:cubicBezTo>
                  <a:pt x="988868" y="25743"/>
                  <a:pt x="1007204" y="11499"/>
                  <a:pt x="1038179" y="11499"/>
                </a:cubicBezTo>
                <a:cubicBezTo>
                  <a:pt x="1038283" y="11499"/>
                  <a:pt x="1038438" y="11499"/>
                  <a:pt x="1038542" y="11499"/>
                </a:cubicBezTo>
                <a:cubicBezTo>
                  <a:pt x="1055687" y="11499"/>
                  <a:pt x="1071018" y="16005"/>
                  <a:pt x="1084123" y="24863"/>
                </a:cubicBezTo>
                <a:cubicBezTo>
                  <a:pt x="1096037" y="32891"/>
                  <a:pt x="1105309" y="43355"/>
                  <a:pt x="1114374" y="53403"/>
                </a:cubicBezTo>
                <a:cubicBezTo>
                  <a:pt x="1118931" y="58480"/>
                  <a:pt x="1123645" y="63763"/>
                  <a:pt x="1128514" y="68580"/>
                </a:cubicBezTo>
                <a:cubicBezTo>
                  <a:pt x="1142137" y="81892"/>
                  <a:pt x="1158660" y="94220"/>
                  <a:pt x="1186475" y="94323"/>
                </a:cubicBezTo>
                <a:cubicBezTo>
                  <a:pt x="1202688" y="94272"/>
                  <a:pt x="1215689" y="90439"/>
                  <a:pt x="1228639" y="81840"/>
                </a:cubicBezTo>
                <a:cubicBezTo>
                  <a:pt x="1239931" y="74330"/>
                  <a:pt x="1249047" y="64229"/>
                  <a:pt x="1258682" y="53507"/>
                </a:cubicBezTo>
                <a:cubicBezTo>
                  <a:pt x="1263292" y="48379"/>
                  <a:pt x="1268005" y="43147"/>
                  <a:pt x="1272978" y="38175"/>
                </a:cubicBezTo>
                <a:cubicBezTo>
                  <a:pt x="1285461" y="25743"/>
                  <a:pt x="1303693" y="11499"/>
                  <a:pt x="1334720" y="11499"/>
                </a:cubicBezTo>
                <a:cubicBezTo>
                  <a:pt x="1334824" y="11499"/>
                  <a:pt x="1334979" y="11499"/>
                  <a:pt x="1335083" y="11499"/>
                </a:cubicBezTo>
                <a:cubicBezTo>
                  <a:pt x="1352228" y="11499"/>
                  <a:pt x="1367560" y="16005"/>
                  <a:pt x="1380665" y="24863"/>
                </a:cubicBezTo>
                <a:cubicBezTo>
                  <a:pt x="1392578" y="32891"/>
                  <a:pt x="1401850" y="43355"/>
                  <a:pt x="1410915" y="53507"/>
                </a:cubicBezTo>
                <a:cubicBezTo>
                  <a:pt x="1415472" y="58583"/>
                  <a:pt x="1420186" y="63866"/>
                  <a:pt x="1425055" y="68684"/>
                </a:cubicBezTo>
                <a:cubicBezTo>
                  <a:pt x="1438678" y="81996"/>
                  <a:pt x="1455201" y="94323"/>
                  <a:pt x="1483017" y="94427"/>
                </a:cubicBezTo>
                <a:lnTo>
                  <a:pt x="1483017" y="83290"/>
                </a:lnTo>
                <a:cubicBezTo>
                  <a:pt x="1460329" y="83239"/>
                  <a:pt x="1446448" y="74174"/>
                  <a:pt x="1432618" y="60707"/>
                </a:cubicBezTo>
                <a:cubicBezTo>
                  <a:pt x="1427800" y="55734"/>
                  <a:pt x="1423449" y="50813"/>
                  <a:pt x="1418788" y="45634"/>
                </a:cubicBezTo>
                <a:close/>
              </a:path>
            </a:pathLst>
          </a:custGeom>
          <a:solidFill>
            <a:schemeClr val="accent1"/>
          </a:solidFill>
          <a:ln w="5175" cap="flat">
            <a:noFill/>
            <a:prstDash val="solid"/>
            <a:miter/>
          </a:ln>
        </p:spPr>
        <p:txBody>
          <a:bodyPr rtlCol="0" anchor="ctr"/>
          <a:lstStyle/>
          <a:p>
            <a:endParaRPr lang="en-IN" dirty="0"/>
          </a:p>
        </p:txBody>
      </p:sp>
      <p:sp>
        <p:nvSpPr>
          <p:cNvPr id="71" name="Freeform: Shape 70">
            <a:extLst>
              <a:ext uri="{FF2B5EF4-FFF2-40B4-BE49-F238E27FC236}">
                <a16:creationId xmlns:a16="http://schemas.microsoft.com/office/drawing/2014/main" id="{6480F5F8-CD70-483D-B11B-6E0E87954B92}"/>
              </a:ext>
            </a:extLst>
          </p:cNvPr>
          <p:cNvSpPr/>
          <p:nvPr/>
        </p:nvSpPr>
        <p:spPr>
          <a:xfrm>
            <a:off x="195721" y="5118246"/>
            <a:ext cx="1483016" cy="94427"/>
          </a:xfrm>
          <a:custGeom>
            <a:avLst/>
            <a:gdLst>
              <a:gd name="connsiteX0" fmla="*/ 1418788 w 1483016"/>
              <a:gd name="connsiteY0" fmla="*/ 45634 h 94427"/>
              <a:gd name="connsiteX1" fmla="*/ 1386518 w 1483016"/>
              <a:gd name="connsiteY1" fmla="*/ 15229 h 94427"/>
              <a:gd name="connsiteX2" fmla="*/ 1334876 w 1483016"/>
              <a:gd name="connsiteY2" fmla="*/ 0 h 94427"/>
              <a:gd name="connsiteX3" fmla="*/ 1334462 w 1483016"/>
              <a:gd name="connsiteY3" fmla="*/ 0 h 94427"/>
              <a:gd name="connsiteX4" fmla="*/ 1265105 w 1483016"/>
              <a:gd name="connsiteY4" fmla="*/ 29835 h 94427"/>
              <a:gd name="connsiteX5" fmla="*/ 1250342 w 1483016"/>
              <a:gd name="connsiteY5" fmla="*/ 45634 h 94427"/>
              <a:gd name="connsiteX6" fmla="*/ 1222475 w 1483016"/>
              <a:gd name="connsiteY6" fmla="*/ 72206 h 94427"/>
              <a:gd name="connsiteX7" fmla="*/ 1186320 w 1483016"/>
              <a:gd name="connsiteY7" fmla="*/ 82876 h 94427"/>
              <a:gd name="connsiteX8" fmla="*/ 1135921 w 1483016"/>
              <a:gd name="connsiteY8" fmla="*/ 60292 h 94427"/>
              <a:gd name="connsiteX9" fmla="*/ 1122298 w 1483016"/>
              <a:gd name="connsiteY9" fmla="*/ 45686 h 94427"/>
              <a:gd name="connsiteX10" fmla="*/ 1090028 w 1483016"/>
              <a:gd name="connsiteY10" fmla="*/ 15332 h 94427"/>
              <a:gd name="connsiteX11" fmla="*/ 1038386 w 1483016"/>
              <a:gd name="connsiteY11" fmla="*/ 104 h 94427"/>
              <a:gd name="connsiteX12" fmla="*/ 1037972 w 1483016"/>
              <a:gd name="connsiteY12" fmla="*/ 104 h 94427"/>
              <a:gd name="connsiteX13" fmla="*/ 968563 w 1483016"/>
              <a:gd name="connsiteY13" fmla="*/ 29939 h 94427"/>
              <a:gd name="connsiteX14" fmla="*/ 953801 w 1483016"/>
              <a:gd name="connsiteY14" fmla="*/ 45686 h 94427"/>
              <a:gd name="connsiteX15" fmla="*/ 925830 w 1483016"/>
              <a:gd name="connsiteY15" fmla="*/ 72258 h 94427"/>
              <a:gd name="connsiteX16" fmla="*/ 889624 w 1483016"/>
              <a:gd name="connsiteY16" fmla="*/ 82928 h 94427"/>
              <a:gd name="connsiteX17" fmla="*/ 839173 w 1483016"/>
              <a:gd name="connsiteY17" fmla="*/ 60344 h 94427"/>
              <a:gd name="connsiteX18" fmla="*/ 825550 w 1483016"/>
              <a:gd name="connsiteY18" fmla="*/ 45737 h 94427"/>
              <a:gd name="connsiteX19" fmla="*/ 793229 w 1483016"/>
              <a:gd name="connsiteY19" fmla="*/ 15332 h 94427"/>
              <a:gd name="connsiteX20" fmla="*/ 741431 w 1483016"/>
              <a:gd name="connsiteY20" fmla="*/ 104 h 94427"/>
              <a:gd name="connsiteX21" fmla="*/ 741016 w 1483016"/>
              <a:gd name="connsiteY21" fmla="*/ 104 h 94427"/>
              <a:gd name="connsiteX22" fmla="*/ 671660 w 1483016"/>
              <a:gd name="connsiteY22" fmla="*/ 29939 h 94427"/>
              <a:gd name="connsiteX23" fmla="*/ 656897 w 1483016"/>
              <a:gd name="connsiteY23" fmla="*/ 45737 h 94427"/>
              <a:gd name="connsiteX24" fmla="*/ 629030 w 1483016"/>
              <a:gd name="connsiteY24" fmla="*/ 72258 h 94427"/>
              <a:gd name="connsiteX25" fmla="*/ 592875 w 1483016"/>
              <a:gd name="connsiteY25" fmla="*/ 82928 h 94427"/>
              <a:gd name="connsiteX26" fmla="*/ 542528 w 1483016"/>
              <a:gd name="connsiteY26" fmla="*/ 60344 h 94427"/>
              <a:gd name="connsiteX27" fmla="*/ 528957 w 1483016"/>
              <a:gd name="connsiteY27" fmla="*/ 45737 h 94427"/>
              <a:gd name="connsiteX28" fmla="*/ 496687 w 1483016"/>
              <a:gd name="connsiteY28" fmla="*/ 15332 h 94427"/>
              <a:gd name="connsiteX29" fmla="*/ 444734 w 1483016"/>
              <a:gd name="connsiteY29" fmla="*/ 104 h 94427"/>
              <a:gd name="connsiteX30" fmla="*/ 444631 w 1483016"/>
              <a:gd name="connsiteY30" fmla="*/ 104 h 94427"/>
              <a:gd name="connsiteX31" fmla="*/ 375274 w 1483016"/>
              <a:gd name="connsiteY31" fmla="*/ 29939 h 94427"/>
              <a:gd name="connsiteX32" fmla="*/ 360511 w 1483016"/>
              <a:gd name="connsiteY32" fmla="*/ 45737 h 94427"/>
              <a:gd name="connsiteX33" fmla="*/ 332644 w 1483016"/>
              <a:gd name="connsiteY33" fmla="*/ 72310 h 94427"/>
              <a:gd name="connsiteX34" fmla="*/ 296489 w 1483016"/>
              <a:gd name="connsiteY34" fmla="*/ 82980 h 94427"/>
              <a:gd name="connsiteX35" fmla="*/ 246090 w 1483016"/>
              <a:gd name="connsiteY35" fmla="*/ 60396 h 94427"/>
              <a:gd name="connsiteX36" fmla="*/ 232468 w 1483016"/>
              <a:gd name="connsiteY36" fmla="*/ 45789 h 94427"/>
              <a:gd name="connsiteX37" fmla="*/ 200198 w 1483016"/>
              <a:gd name="connsiteY37" fmla="*/ 15384 h 94427"/>
              <a:gd name="connsiteX38" fmla="*/ 148555 w 1483016"/>
              <a:gd name="connsiteY38" fmla="*/ 155 h 94427"/>
              <a:gd name="connsiteX39" fmla="*/ 148141 w 1483016"/>
              <a:gd name="connsiteY39" fmla="*/ 155 h 94427"/>
              <a:gd name="connsiteX40" fmla="*/ 78784 w 1483016"/>
              <a:gd name="connsiteY40" fmla="*/ 29991 h 94427"/>
              <a:gd name="connsiteX41" fmla="*/ 64022 w 1483016"/>
              <a:gd name="connsiteY41" fmla="*/ 45789 h 94427"/>
              <a:gd name="connsiteX42" fmla="*/ 36155 w 1483016"/>
              <a:gd name="connsiteY42" fmla="*/ 72310 h 94427"/>
              <a:gd name="connsiteX43" fmla="*/ 0 w 1483016"/>
              <a:gd name="connsiteY43" fmla="*/ 82980 h 94427"/>
              <a:gd name="connsiteX44" fmla="*/ 52 w 1483016"/>
              <a:gd name="connsiteY44" fmla="*/ 94116 h 94427"/>
              <a:gd name="connsiteX45" fmla="*/ 42215 w 1483016"/>
              <a:gd name="connsiteY45" fmla="*/ 81633 h 94427"/>
              <a:gd name="connsiteX46" fmla="*/ 72258 w 1483016"/>
              <a:gd name="connsiteY46" fmla="*/ 53300 h 94427"/>
              <a:gd name="connsiteX47" fmla="*/ 86554 w 1483016"/>
              <a:gd name="connsiteY47" fmla="*/ 37968 h 94427"/>
              <a:gd name="connsiteX48" fmla="*/ 148245 w 1483016"/>
              <a:gd name="connsiteY48" fmla="*/ 11292 h 94427"/>
              <a:gd name="connsiteX49" fmla="*/ 148607 w 1483016"/>
              <a:gd name="connsiteY49" fmla="*/ 11292 h 94427"/>
              <a:gd name="connsiteX50" fmla="*/ 194189 w 1483016"/>
              <a:gd name="connsiteY50" fmla="*/ 24656 h 94427"/>
              <a:gd name="connsiteX51" fmla="*/ 224439 w 1483016"/>
              <a:gd name="connsiteY51" fmla="*/ 53300 h 94427"/>
              <a:gd name="connsiteX52" fmla="*/ 238580 w 1483016"/>
              <a:gd name="connsiteY52" fmla="*/ 68476 h 94427"/>
              <a:gd name="connsiteX53" fmla="*/ 296541 w 1483016"/>
              <a:gd name="connsiteY53" fmla="*/ 94220 h 94427"/>
              <a:gd name="connsiteX54" fmla="*/ 338704 w 1483016"/>
              <a:gd name="connsiteY54" fmla="*/ 81737 h 94427"/>
              <a:gd name="connsiteX55" fmla="*/ 368747 w 1483016"/>
              <a:gd name="connsiteY55" fmla="*/ 53403 h 94427"/>
              <a:gd name="connsiteX56" fmla="*/ 383043 w 1483016"/>
              <a:gd name="connsiteY56" fmla="*/ 38071 h 94427"/>
              <a:gd name="connsiteX57" fmla="*/ 444734 w 1483016"/>
              <a:gd name="connsiteY57" fmla="*/ 11396 h 94427"/>
              <a:gd name="connsiteX58" fmla="*/ 445097 w 1483016"/>
              <a:gd name="connsiteY58" fmla="*/ 11396 h 94427"/>
              <a:gd name="connsiteX59" fmla="*/ 490679 w 1483016"/>
              <a:gd name="connsiteY59" fmla="*/ 24759 h 94427"/>
              <a:gd name="connsiteX60" fmla="*/ 520928 w 1483016"/>
              <a:gd name="connsiteY60" fmla="*/ 53403 h 94427"/>
              <a:gd name="connsiteX61" fmla="*/ 535069 w 1483016"/>
              <a:gd name="connsiteY61" fmla="*/ 68528 h 94427"/>
              <a:gd name="connsiteX62" fmla="*/ 593031 w 1483016"/>
              <a:gd name="connsiteY62" fmla="*/ 94272 h 94427"/>
              <a:gd name="connsiteX63" fmla="*/ 635246 w 1483016"/>
              <a:gd name="connsiteY63" fmla="*/ 81788 h 94427"/>
              <a:gd name="connsiteX64" fmla="*/ 665236 w 1483016"/>
              <a:gd name="connsiteY64" fmla="*/ 53455 h 94427"/>
              <a:gd name="connsiteX65" fmla="*/ 679533 w 1483016"/>
              <a:gd name="connsiteY65" fmla="*/ 38123 h 94427"/>
              <a:gd name="connsiteX66" fmla="*/ 741275 w 1483016"/>
              <a:gd name="connsiteY66" fmla="*/ 11447 h 94427"/>
              <a:gd name="connsiteX67" fmla="*/ 741638 w 1483016"/>
              <a:gd name="connsiteY67" fmla="*/ 11447 h 94427"/>
              <a:gd name="connsiteX68" fmla="*/ 787272 w 1483016"/>
              <a:gd name="connsiteY68" fmla="*/ 24811 h 94427"/>
              <a:gd name="connsiteX69" fmla="*/ 817573 w 1483016"/>
              <a:gd name="connsiteY69" fmla="*/ 53455 h 94427"/>
              <a:gd name="connsiteX70" fmla="*/ 831714 w 1483016"/>
              <a:gd name="connsiteY70" fmla="*/ 68580 h 94427"/>
              <a:gd name="connsiteX71" fmla="*/ 889779 w 1483016"/>
              <a:gd name="connsiteY71" fmla="*/ 94324 h 94427"/>
              <a:gd name="connsiteX72" fmla="*/ 931994 w 1483016"/>
              <a:gd name="connsiteY72" fmla="*/ 81840 h 94427"/>
              <a:gd name="connsiteX73" fmla="*/ 962089 w 1483016"/>
              <a:gd name="connsiteY73" fmla="*/ 53455 h 94427"/>
              <a:gd name="connsiteX74" fmla="*/ 976385 w 1483016"/>
              <a:gd name="connsiteY74" fmla="*/ 38175 h 94427"/>
              <a:gd name="connsiteX75" fmla="*/ 1038179 w 1483016"/>
              <a:gd name="connsiteY75" fmla="*/ 11499 h 94427"/>
              <a:gd name="connsiteX76" fmla="*/ 1038542 w 1483016"/>
              <a:gd name="connsiteY76" fmla="*/ 11499 h 94427"/>
              <a:gd name="connsiteX77" fmla="*/ 1084123 w 1483016"/>
              <a:gd name="connsiteY77" fmla="*/ 24863 h 94427"/>
              <a:gd name="connsiteX78" fmla="*/ 1114374 w 1483016"/>
              <a:gd name="connsiteY78" fmla="*/ 53403 h 94427"/>
              <a:gd name="connsiteX79" fmla="*/ 1128514 w 1483016"/>
              <a:gd name="connsiteY79" fmla="*/ 68580 h 94427"/>
              <a:gd name="connsiteX80" fmla="*/ 1186475 w 1483016"/>
              <a:gd name="connsiteY80" fmla="*/ 94324 h 94427"/>
              <a:gd name="connsiteX81" fmla="*/ 1228639 w 1483016"/>
              <a:gd name="connsiteY81" fmla="*/ 81840 h 94427"/>
              <a:gd name="connsiteX82" fmla="*/ 1258682 w 1483016"/>
              <a:gd name="connsiteY82" fmla="*/ 53507 h 94427"/>
              <a:gd name="connsiteX83" fmla="*/ 1272978 w 1483016"/>
              <a:gd name="connsiteY83" fmla="*/ 38175 h 94427"/>
              <a:gd name="connsiteX84" fmla="*/ 1334720 w 1483016"/>
              <a:gd name="connsiteY84" fmla="*/ 11499 h 94427"/>
              <a:gd name="connsiteX85" fmla="*/ 1335083 w 1483016"/>
              <a:gd name="connsiteY85" fmla="*/ 11499 h 94427"/>
              <a:gd name="connsiteX86" fmla="*/ 1380665 w 1483016"/>
              <a:gd name="connsiteY86" fmla="*/ 24863 h 94427"/>
              <a:gd name="connsiteX87" fmla="*/ 1410915 w 1483016"/>
              <a:gd name="connsiteY87" fmla="*/ 53507 h 94427"/>
              <a:gd name="connsiteX88" fmla="*/ 1425055 w 1483016"/>
              <a:gd name="connsiteY88" fmla="*/ 68684 h 94427"/>
              <a:gd name="connsiteX89" fmla="*/ 1483017 w 1483016"/>
              <a:gd name="connsiteY89" fmla="*/ 94427 h 94427"/>
              <a:gd name="connsiteX90" fmla="*/ 1483017 w 1483016"/>
              <a:gd name="connsiteY90" fmla="*/ 83291 h 94427"/>
              <a:gd name="connsiteX91" fmla="*/ 1432618 w 1483016"/>
              <a:gd name="connsiteY91" fmla="*/ 60707 h 94427"/>
              <a:gd name="connsiteX92" fmla="*/ 1418788 w 1483016"/>
              <a:gd name="connsiteY92" fmla="*/ 45634 h 9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483016" h="94427">
                <a:moveTo>
                  <a:pt x="1418788" y="45634"/>
                </a:moveTo>
                <a:cubicBezTo>
                  <a:pt x="1409309" y="35015"/>
                  <a:pt x="1399519" y="24034"/>
                  <a:pt x="1386518" y="15229"/>
                </a:cubicBezTo>
                <a:cubicBezTo>
                  <a:pt x="1371548" y="5128"/>
                  <a:pt x="1354196" y="0"/>
                  <a:pt x="1334876" y="0"/>
                </a:cubicBezTo>
                <a:cubicBezTo>
                  <a:pt x="1334720" y="0"/>
                  <a:pt x="1334616" y="0"/>
                  <a:pt x="1334462" y="0"/>
                </a:cubicBezTo>
                <a:cubicBezTo>
                  <a:pt x="1299135" y="0"/>
                  <a:pt x="1277950" y="16990"/>
                  <a:pt x="1265105" y="29835"/>
                </a:cubicBezTo>
                <a:cubicBezTo>
                  <a:pt x="1259873" y="34963"/>
                  <a:pt x="1255055" y="40402"/>
                  <a:pt x="1250342" y="45634"/>
                </a:cubicBezTo>
                <a:cubicBezTo>
                  <a:pt x="1241174" y="55786"/>
                  <a:pt x="1232575" y="65420"/>
                  <a:pt x="1222475" y="72206"/>
                </a:cubicBezTo>
                <a:cubicBezTo>
                  <a:pt x="1211235" y="79613"/>
                  <a:pt x="1200461" y="82824"/>
                  <a:pt x="1186320" y="82876"/>
                </a:cubicBezTo>
                <a:cubicBezTo>
                  <a:pt x="1163684" y="82824"/>
                  <a:pt x="1149751" y="73760"/>
                  <a:pt x="1135921" y="60292"/>
                </a:cubicBezTo>
                <a:cubicBezTo>
                  <a:pt x="1131259" y="55786"/>
                  <a:pt x="1126960" y="50865"/>
                  <a:pt x="1122298" y="45686"/>
                </a:cubicBezTo>
                <a:cubicBezTo>
                  <a:pt x="1112819" y="35067"/>
                  <a:pt x="1103030" y="24086"/>
                  <a:pt x="1090028" y="15332"/>
                </a:cubicBezTo>
                <a:cubicBezTo>
                  <a:pt x="1075059" y="5232"/>
                  <a:pt x="1057707" y="104"/>
                  <a:pt x="1038386" y="104"/>
                </a:cubicBezTo>
                <a:cubicBezTo>
                  <a:pt x="1038231" y="104"/>
                  <a:pt x="1038127" y="104"/>
                  <a:pt x="1037972" y="104"/>
                </a:cubicBezTo>
                <a:cubicBezTo>
                  <a:pt x="1002646" y="104"/>
                  <a:pt x="981409" y="17145"/>
                  <a:pt x="968563" y="29939"/>
                </a:cubicBezTo>
                <a:cubicBezTo>
                  <a:pt x="963332" y="35067"/>
                  <a:pt x="958514" y="40506"/>
                  <a:pt x="953801" y="45686"/>
                </a:cubicBezTo>
                <a:cubicBezTo>
                  <a:pt x="944633" y="55890"/>
                  <a:pt x="935982" y="65472"/>
                  <a:pt x="925830" y="72258"/>
                </a:cubicBezTo>
                <a:cubicBezTo>
                  <a:pt x="914746" y="79561"/>
                  <a:pt x="903557" y="82876"/>
                  <a:pt x="889624" y="82928"/>
                </a:cubicBezTo>
                <a:cubicBezTo>
                  <a:pt x="866936" y="82876"/>
                  <a:pt x="853003" y="73812"/>
                  <a:pt x="839173" y="60344"/>
                </a:cubicBezTo>
                <a:cubicBezTo>
                  <a:pt x="834563" y="55838"/>
                  <a:pt x="830212" y="50917"/>
                  <a:pt x="825550" y="45737"/>
                </a:cubicBezTo>
                <a:cubicBezTo>
                  <a:pt x="816071" y="35119"/>
                  <a:pt x="806229" y="24138"/>
                  <a:pt x="793229" y="15332"/>
                </a:cubicBezTo>
                <a:cubicBezTo>
                  <a:pt x="778207" y="5232"/>
                  <a:pt x="760803" y="104"/>
                  <a:pt x="741431" y="104"/>
                </a:cubicBezTo>
                <a:cubicBezTo>
                  <a:pt x="741275" y="104"/>
                  <a:pt x="741172" y="104"/>
                  <a:pt x="741016" y="104"/>
                </a:cubicBezTo>
                <a:cubicBezTo>
                  <a:pt x="705690" y="104"/>
                  <a:pt x="684505" y="17093"/>
                  <a:pt x="671660" y="29939"/>
                </a:cubicBezTo>
                <a:cubicBezTo>
                  <a:pt x="666428" y="35067"/>
                  <a:pt x="661611" y="40506"/>
                  <a:pt x="656897" y="45737"/>
                </a:cubicBezTo>
                <a:cubicBezTo>
                  <a:pt x="647729" y="55890"/>
                  <a:pt x="639130" y="65472"/>
                  <a:pt x="629030" y="72258"/>
                </a:cubicBezTo>
                <a:cubicBezTo>
                  <a:pt x="617945" y="79561"/>
                  <a:pt x="606757" y="82876"/>
                  <a:pt x="592875" y="82928"/>
                </a:cubicBezTo>
                <a:cubicBezTo>
                  <a:pt x="570240" y="82876"/>
                  <a:pt x="556358" y="73812"/>
                  <a:pt x="542528" y="60344"/>
                </a:cubicBezTo>
                <a:cubicBezTo>
                  <a:pt x="537918" y="55838"/>
                  <a:pt x="533515" y="50917"/>
                  <a:pt x="528957" y="45737"/>
                </a:cubicBezTo>
                <a:cubicBezTo>
                  <a:pt x="519478" y="35119"/>
                  <a:pt x="509688" y="24138"/>
                  <a:pt x="496687" y="15332"/>
                </a:cubicBezTo>
                <a:cubicBezTo>
                  <a:pt x="481666" y="5180"/>
                  <a:pt x="464417" y="52"/>
                  <a:pt x="444734" y="104"/>
                </a:cubicBezTo>
                <a:cubicBezTo>
                  <a:pt x="444682" y="104"/>
                  <a:pt x="444631" y="104"/>
                  <a:pt x="444631" y="104"/>
                </a:cubicBezTo>
                <a:cubicBezTo>
                  <a:pt x="409305" y="104"/>
                  <a:pt x="388119" y="17145"/>
                  <a:pt x="375274" y="29939"/>
                </a:cubicBezTo>
                <a:cubicBezTo>
                  <a:pt x="370094" y="35067"/>
                  <a:pt x="365225" y="40506"/>
                  <a:pt x="360511" y="45737"/>
                </a:cubicBezTo>
                <a:cubicBezTo>
                  <a:pt x="351343" y="55890"/>
                  <a:pt x="342745" y="65524"/>
                  <a:pt x="332644" y="72310"/>
                </a:cubicBezTo>
                <a:cubicBezTo>
                  <a:pt x="321404" y="79717"/>
                  <a:pt x="310630" y="82928"/>
                  <a:pt x="296489" y="82980"/>
                </a:cubicBezTo>
                <a:cubicBezTo>
                  <a:pt x="273854" y="82928"/>
                  <a:pt x="259920" y="73863"/>
                  <a:pt x="246090" y="60396"/>
                </a:cubicBezTo>
                <a:cubicBezTo>
                  <a:pt x="241480" y="55890"/>
                  <a:pt x="237129" y="50969"/>
                  <a:pt x="232468" y="45789"/>
                </a:cubicBezTo>
                <a:cubicBezTo>
                  <a:pt x="222989" y="35171"/>
                  <a:pt x="213199" y="24190"/>
                  <a:pt x="200198" y="15384"/>
                </a:cubicBezTo>
                <a:cubicBezTo>
                  <a:pt x="185228" y="5283"/>
                  <a:pt x="167876" y="155"/>
                  <a:pt x="148555" y="155"/>
                </a:cubicBezTo>
                <a:cubicBezTo>
                  <a:pt x="148400" y="155"/>
                  <a:pt x="148297" y="155"/>
                  <a:pt x="148141" y="155"/>
                </a:cubicBezTo>
                <a:cubicBezTo>
                  <a:pt x="112867" y="155"/>
                  <a:pt x="91630" y="17197"/>
                  <a:pt x="78784" y="29991"/>
                </a:cubicBezTo>
                <a:cubicBezTo>
                  <a:pt x="73553" y="35119"/>
                  <a:pt x="68735" y="40558"/>
                  <a:pt x="64022" y="45789"/>
                </a:cubicBezTo>
                <a:cubicBezTo>
                  <a:pt x="54854" y="55941"/>
                  <a:pt x="46255" y="65576"/>
                  <a:pt x="36155" y="72310"/>
                </a:cubicBezTo>
                <a:cubicBezTo>
                  <a:pt x="25070" y="79665"/>
                  <a:pt x="13882" y="82980"/>
                  <a:pt x="0" y="82980"/>
                </a:cubicBezTo>
                <a:lnTo>
                  <a:pt x="52" y="94116"/>
                </a:lnTo>
                <a:cubicBezTo>
                  <a:pt x="16213" y="94064"/>
                  <a:pt x="29214" y="90231"/>
                  <a:pt x="42215" y="81633"/>
                </a:cubicBezTo>
                <a:cubicBezTo>
                  <a:pt x="53507" y="74122"/>
                  <a:pt x="62623" y="64022"/>
                  <a:pt x="72258" y="53300"/>
                </a:cubicBezTo>
                <a:cubicBezTo>
                  <a:pt x="76868" y="48172"/>
                  <a:pt x="81581" y="42940"/>
                  <a:pt x="86554" y="37968"/>
                </a:cubicBezTo>
                <a:cubicBezTo>
                  <a:pt x="99037" y="25536"/>
                  <a:pt x="117270" y="11292"/>
                  <a:pt x="148245" y="11292"/>
                </a:cubicBezTo>
                <a:cubicBezTo>
                  <a:pt x="148348" y="11292"/>
                  <a:pt x="148504" y="11292"/>
                  <a:pt x="148607" y="11292"/>
                </a:cubicBezTo>
                <a:cubicBezTo>
                  <a:pt x="165752" y="11292"/>
                  <a:pt x="181084" y="15798"/>
                  <a:pt x="194189" y="24656"/>
                </a:cubicBezTo>
                <a:cubicBezTo>
                  <a:pt x="206103" y="32684"/>
                  <a:pt x="215374" y="43147"/>
                  <a:pt x="224439" y="53300"/>
                </a:cubicBezTo>
                <a:cubicBezTo>
                  <a:pt x="228997" y="58376"/>
                  <a:pt x="233711" y="63659"/>
                  <a:pt x="238580" y="68476"/>
                </a:cubicBezTo>
                <a:cubicBezTo>
                  <a:pt x="252202" y="81788"/>
                  <a:pt x="268726" y="94116"/>
                  <a:pt x="296541" y="94220"/>
                </a:cubicBezTo>
                <a:cubicBezTo>
                  <a:pt x="312754" y="94168"/>
                  <a:pt x="325755" y="90335"/>
                  <a:pt x="338704" y="81737"/>
                </a:cubicBezTo>
                <a:cubicBezTo>
                  <a:pt x="349996" y="74226"/>
                  <a:pt x="359113" y="64125"/>
                  <a:pt x="368747" y="53403"/>
                </a:cubicBezTo>
                <a:cubicBezTo>
                  <a:pt x="373357" y="48275"/>
                  <a:pt x="378071" y="43044"/>
                  <a:pt x="383043" y="38071"/>
                </a:cubicBezTo>
                <a:cubicBezTo>
                  <a:pt x="395527" y="25640"/>
                  <a:pt x="413759" y="11396"/>
                  <a:pt x="444734" y="11396"/>
                </a:cubicBezTo>
                <a:cubicBezTo>
                  <a:pt x="444838" y="11396"/>
                  <a:pt x="444993" y="11396"/>
                  <a:pt x="445097" y="11396"/>
                </a:cubicBezTo>
                <a:cubicBezTo>
                  <a:pt x="462242" y="11396"/>
                  <a:pt x="477574" y="15902"/>
                  <a:pt x="490679" y="24759"/>
                </a:cubicBezTo>
                <a:cubicBezTo>
                  <a:pt x="502592" y="32788"/>
                  <a:pt x="511864" y="43251"/>
                  <a:pt x="520928" y="53403"/>
                </a:cubicBezTo>
                <a:cubicBezTo>
                  <a:pt x="525487" y="58480"/>
                  <a:pt x="530200" y="63711"/>
                  <a:pt x="535069" y="68528"/>
                </a:cubicBezTo>
                <a:cubicBezTo>
                  <a:pt x="548692" y="81840"/>
                  <a:pt x="565215" y="94168"/>
                  <a:pt x="593031" y="94272"/>
                </a:cubicBezTo>
                <a:cubicBezTo>
                  <a:pt x="609243" y="94220"/>
                  <a:pt x="622244" y="90387"/>
                  <a:pt x="635246" y="81788"/>
                </a:cubicBezTo>
                <a:cubicBezTo>
                  <a:pt x="646538" y="74278"/>
                  <a:pt x="655654" y="64177"/>
                  <a:pt x="665236" y="53455"/>
                </a:cubicBezTo>
                <a:cubicBezTo>
                  <a:pt x="669846" y="48327"/>
                  <a:pt x="674560" y="43096"/>
                  <a:pt x="679533" y="38123"/>
                </a:cubicBezTo>
                <a:cubicBezTo>
                  <a:pt x="692016" y="25692"/>
                  <a:pt x="710352" y="11447"/>
                  <a:pt x="741275" y="11447"/>
                </a:cubicBezTo>
                <a:cubicBezTo>
                  <a:pt x="741379" y="11447"/>
                  <a:pt x="741534" y="11447"/>
                  <a:pt x="741638" y="11447"/>
                </a:cubicBezTo>
                <a:cubicBezTo>
                  <a:pt x="758783" y="11447"/>
                  <a:pt x="774167" y="15954"/>
                  <a:pt x="787272" y="24811"/>
                </a:cubicBezTo>
                <a:cubicBezTo>
                  <a:pt x="799185" y="32840"/>
                  <a:pt x="808509" y="43355"/>
                  <a:pt x="817573" y="53455"/>
                </a:cubicBezTo>
                <a:cubicBezTo>
                  <a:pt x="822131" y="58531"/>
                  <a:pt x="826845" y="63763"/>
                  <a:pt x="831714" y="68580"/>
                </a:cubicBezTo>
                <a:cubicBezTo>
                  <a:pt x="845389" y="81892"/>
                  <a:pt x="861912" y="94220"/>
                  <a:pt x="889779" y="94324"/>
                </a:cubicBezTo>
                <a:cubicBezTo>
                  <a:pt x="905991" y="94272"/>
                  <a:pt x="918993" y="90439"/>
                  <a:pt x="931994" y="81840"/>
                </a:cubicBezTo>
                <a:cubicBezTo>
                  <a:pt x="943338" y="74330"/>
                  <a:pt x="952454" y="64177"/>
                  <a:pt x="962089" y="53455"/>
                </a:cubicBezTo>
                <a:cubicBezTo>
                  <a:pt x="966699" y="48379"/>
                  <a:pt x="971412" y="43096"/>
                  <a:pt x="976385" y="38175"/>
                </a:cubicBezTo>
                <a:cubicBezTo>
                  <a:pt x="988868" y="25743"/>
                  <a:pt x="1007204" y="11499"/>
                  <a:pt x="1038179" y="11499"/>
                </a:cubicBezTo>
                <a:cubicBezTo>
                  <a:pt x="1038283" y="11499"/>
                  <a:pt x="1038438" y="11499"/>
                  <a:pt x="1038542" y="11499"/>
                </a:cubicBezTo>
                <a:cubicBezTo>
                  <a:pt x="1055687" y="11499"/>
                  <a:pt x="1071018" y="16005"/>
                  <a:pt x="1084123" y="24863"/>
                </a:cubicBezTo>
                <a:cubicBezTo>
                  <a:pt x="1096037" y="32891"/>
                  <a:pt x="1105309" y="43355"/>
                  <a:pt x="1114374" y="53403"/>
                </a:cubicBezTo>
                <a:cubicBezTo>
                  <a:pt x="1118931" y="58480"/>
                  <a:pt x="1123645" y="63763"/>
                  <a:pt x="1128514" y="68580"/>
                </a:cubicBezTo>
                <a:cubicBezTo>
                  <a:pt x="1142137" y="81892"/>
                  <a:pt x="1158660" y="94220"/>
                  <a:pt x="1186475" y="94324"/>
                </a:cubicBezTo>
                <a:cubicBezTo>
                  <a:pt x="1202688" y="94272"/>
                  <a:pt x="1215689" y="90439"/>
                  <a:pt x="1228639" y="81840"/>
                </a:cubicBezTo>
                <a:cubicBezTo>
                  <a:pt x="1239931" y="74330"/>
                  <a:pt x="1249047" y="64229"/>
                  <a:pt x="1258682" y="53507"/>
                </a:cubicBezTo>
                <a:cubicBezTo>
                  <a:pt x="1263292" y="48379"/>
                  <a:pt x="1268005" y="43147"/>
                  <a:pt x="1272978" y="38175"/>
                </a:cubicBezTo>
                <a:cubicBezTo>
                  <a:pt x="1285461" y="25743"/>
                  <a:pt x="1303693" y="11499"/>
                  <a:pt x="1334720" y="11499"/>
                </a:cubicBezTo>
                <a:cubicBezTo>
                  <a:pt x="1334824" y="11499"/>
                  <a:pt x="1334979" y="11499"/>
                  <a:pt x="1335083" y="11499"/>
                </a:cubicBezTo>
                <a:cubicBezTo>
                  <a:pt x="1352228" y="11499"/>
                  <a:pt x="1367560" y="16005"/>
                  <a:pt x="1380665" y="24863"/>
                </a:cubicBezTo>
                <a:cubicBezTo>
                  <a:pt x="1392578" y="32891"/>
                  <a:pt x="1401850" y="43355"/>
                  <a:pt x="1410915" y="53507"/>
                </a:cubicBezTo>
                <a:cubicBezTo>
                  <a:pt x="1415472" y="58583"/>
                  <a:pt x="1420186" y="63867"/>
                  <a:pt x="1425055" y="68684"/>
                </a:cubicBezTo>
                <a:cubicBezTo>
                  <a:pt x="1438678" y="81996"/>
                  <a:pt x="1455201" y="94324"/>
                  <a:pt x="1483017" y="94427"/>
                </a:cubicBezTo>
                <a:lnTo>
                  <a:pt x="1483017" y="83291"/>
                </a:lnTo>
                <a:cubicBezTo>
                  <a:pt x="1460329" y="83239"/>
                  <a:pt x="1446448" y="74174"/>
                  <a:pt x="1432618" y="60707"/>
                </a:cubicBezTo>
                <a:cubicBezTo>
                  <a:pt x="1427800" y="55734"/>
                  <a:pt x="1423449" y="50865"/>
                  <a:pt x="1418788" y="45634"/>
                </a:cubicBezTo>
                <a:close/>
              </a:path>
            </a:pathLst>
          </a:custGeom>
          <a:solidFill>
            <a:schemeClr val="accent1"/>
          </a:solidFill>
          <a:ln w="5175" cap="flat">
            <a:noFill/>
            <a:prstDash val="solid"/>
            <a:miter/>
          </a:ln>
        </p:spPr>
        <p:txBody>
          <a:bodyPr rtlCol="0" anchor="ctr"/>
          <a:lstStyle/>
          <a:p>
            <a:endParaRPr lang="en-IN" dirty="0"/>
          </a:p>
        </p:txBody>
      </p:sp>
      <p:sp>
        <p:nvSpPr>
          <p:cNvPr id="64" name="Rectangle 63">
            <a:extLst>
              <a:ext uri="{FF2B5EF4-FFF2-40B4-BE49-F238E27FC236}">
                <a16:creationId xmlns:a16="http://schemas.microsoft.com/office/drawing/2014/main" id="{9F34EC5A-8133-48D8-9DF9-F84A2AFE566A}"/>
              </a:ext>
            </a:extLst>
          </p:cNvPr>
          <p:cNvSpPr/>
          <p:nvPr/>
        </p:nvSpPr>
        <p:spPr>
          <a:xfrm>
            <a:off x="4856843" y="2320367"/>
            <a:ext cx="6818832" cy="2739211"/>
          </a:xfrm>
          <a:prstGeom prst="rect">
            <a:avLst/>
          </a:prstGeom>
        </p:spPr>
        <p:txBody>
          <a:bodyPr wrap="square" lIns="0" tIns="0" rIns="0" bIns="0">
            <a:spAutoFit/>
          </a:bodyPr>
          <a:lstStyle/>
          <a:p>
            <a:pPr marL="285750" lvl="1" indent="-285750" fontAlgn="ctr">
              <a:spcBef>
                <a:spcPts val="1800"/>
              </a:spcBef>
              <a:buClr>
                <a:schemeClr val="accent1"/>
              </a:buClr>
              <a:buSzPct val="120000"/>
              <a:buFont typeface="Courier New" panose="02070309020205020404" pitchFamily="49" charset="0"/>
              <a:buChar char="o"/>
            </a:pPr>
            <a:r>
              <a:rPr lang="en-US" dirty="0"/>
              <a:t>Secure Web Gateway Magic Quadrant 2018 Challenger</a:t>
            </a:r>
          </a:p>
          <a:p>
            <a:pPr marL="285750" lvl="1" indent="-285750" fontAlgn="ctr">
              <a:spcBef>
                <a:spcPts val="1800"/>
              </a:spcBef>
              <a:buClr>
                <a:schemeClr val="accent1"/>
              </a:buClr>
              <a:buSzPct val="120000"/>
              <a:buFont typeface="Courier New" panose="02070309020205020404" pitchFamily="49" charset="0"/>
              <a:buChar char="o"/>
            </a:pPr>
            <a:r>
              <a:rPr lang="en-US" dirty="0"/>
              <a:t>Zero Trust Forrester Wave 2019 Leader</a:t>
            </a:r>
          </a:p>
          <a:p>
            <a:pPr marL="285750" lvl="1" indent="-285750" fontAlgn="ctr">
              <a:spcBef>
                <a:spcPts val="1800"/>
              </a:spcBef>
              <a:buClr>
                <a:schemeClr val="accent1"/>
              </a:buClr>
              <a:buSzPct val="120000"/>
              <a:buFont typeface="Courier New" panose="02070309020205020404" pitchFamily="49" charset="0"/>
              <a:buChar char="o"/>
            </a:pPr>
            <a:r>
              <a:rPr lang="en-US" dirty="0"/>
              <a:t>Advanced Persistent Threats 2020 Top Player</a:t>
            </a:r>
          </a:p>
          <a:p>
            <a:pPr marL="285750" lvl="1" indent="-285750" fontAlgn="ctr">
              <a:spcBef>
                <a:spcPts val="1800"/>
              </a:spcBef>
              <a:buClr>
                <a:schemeClr val="accent1"/>
              </a:buClr>
              <a:buSzPct val="120000"/>
              <a:buFont typeface="Courier New" panose="02070309020205020404" pitchFamily="49" charset="0"/>
              <a:buChar char="o"/>
            </a:pPr>
            <a:r>
              <a:rPr lang="en-US" dirty="0"/>
              <a:t>Enterprise Network Firewall Magic Quadrant 2019 Leader</a:t>
            </a:r>
          </a:p>
          <a:p>
            <a:pPr marL="285750" lvl="1" indent="-285750" fontAlgn="ctr">
              <a:spcBef>
                <a:spcPts val="1800"/>
              </a:spcBef>
              <a:buClr>
                <a:schemeClr val="accent1"/>
              </a:buClr>
              <a:buSzPct val="120000"/>
              <a:buFont typeface="Courier New" panose="02070309020205020404" pitchFamily="49" charset="0"/>
              <a:buChar char="o"/>
            </a:pPr>
            <a:r>
              <a:rPr lang="en-US" dirty="0"/>
              <a:t>Email Security Forrester Wave 2019 Leader</a:t>
            </a:r>
          </a:p>
          <a:p>
            <a:pPr marL="285750" lvl="1" indent="-285750" fontAlgn="ctr">
              <a:spcBef>
                <a:spcPts val="1200"/>
              </a:spcBef>
              <a:buClr>
                <a:schemeClr val="accent1"/>
              </a:buClr>
              <a:buSzPct val="120000"/>
              <a:buFont typeface="Courier New" panose="02070309020205020404" pitchFamily="49" charset="0"/>
              <a:buChar char="o"/>
            </a:pPr>
            <a:endParaRPr lang="en-US" dirty="0"/>
          </a:p>
        </p:txBody>
      </p:sp>
    </p:spTree>
    <p:extLst>
      <p:ext uri="{BB962C8B-B14F-4D97-AF65-F5344CB8AC3E}">
        <p14:creationId xmlns:p14="http://schemas.microsoft.com/office/powerpoint/2010/main" val="14755519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6" name="Graphic 38">
            <a:extLst>
              <a:ext uri="{FF2B5EF4-FFF2-40B4-BE49-F238E27FC236}">
                <a16:creationId xmlns:a16="http://schemas.microsoft.com/office/drawing/2014/main" id="{A204AC50-B0B6-4420-A5A7-47BBFDBB2AB7}"/>
              </a:ext>
            </a:extLst>
          </p:cNvPr>
          <p:cNvGrpSpPr/>
          <p:nvPr/>
        </p:nvGrpSpPr>
        <p:grpSpPr>
          <a:xfrm>
            <a:off x="10401588" y="5566547"/>
            <a:ext cx="857416" cy="857416"/>
            <a:chOff x="5709377" y="3397493"/>
            <a:chExt cx="452680" cy="452680"/>
          </a:xfrm>
          <a:noFill/>
        </p:grpSpPr>
        <p:sp>
          <p:nvSpPr>
            <p:cNvPr id="87" name="Freeform: Shape 86">
              <a:extLst>
                <a:ext uri="{FF2B5EF4-FFF2-40B4-BE49-F238E27FC236}">
                  <a16:creationId xmlns:a16="http://schemas.microsoft.com/office/drawing/2014/main" id="{4C490C18-EC13-45BC-96F3-7984E179658A}"/>
                </a:ext>
              </a:extLst>
            </p:cNvPr>
            <p:cNvSpPr/>
            <p:nvPr/>
          </p:nvSpPr>
          <p:spPr>
            <a:xfrm>
              <a:off x="5862134" y="3550249"/>
              <a:ext cx="288746" cy="288746"/>
            </a:xfrm>
            <a:custGeom>
              <a:avLst/>
              <a:gdLst>
                <a:gd name="connsiteX0" fmla="*/ 288747 w 288746"/>
                <a:gd name="connsiteY0" fmla="*/ 0 h 288746"/>
                <a:gd name="connsiteX1" fmla="*/ 0 w 288746"/>
                <a:gd name="connsiteY1" fmla="*/ 288747 h 288746"/>
              </a:gdLst>
              <a:ahLst/>
              <a:cxnLst>
                <a:cxn ang="0">
                  <a:pos x="connsiteX0" y="connsiteY0"/>
                </a:cxn>
                <a:cxn ang="0">
                  <a:pos x="connsiteX1" y="connsiteY1"/>
                </a:cxn>
              </a:cxnLst>
              <a:rect l="l" t="t" r="r" b="b"/>
              <a:pathLst>
                <a:path w="288746" h="288746">
                  <a:moveTo>
                    <a:pt x="288747" y="0"/>
                  </a:moveTo>
                  <a:lnTo>
                    <a:pt x="0" y="288747"/>
                  </a:lnTo>
                </a:path>
              </a:pathLst>
            </a:custGeom>
            <a:ln w="9282" cap="flat">
              <a:solidFill>
                <a:srgbClr val="74BF4B"/>
              </a:solidFill>
              <a:prstDash val="solid"/>
              <a:miter/>
            </a:ln>
          </p:spPr>
          <p:txBody>
            <a:bodyPr rtlCol="0" anchor="ctr"/>
            <a:lstStyle/>
            <a:p>
              <a:endParaRPr lang="en-IN" dirty="0"/>
            </a:p>
          </p:txBody>
        </p:sp>
        <p:sp>
          <p:nvSpPr>
            <p:cNvPr id="88" name="Freeform: Shape 87">
              <a:extLst>
                <a:ext uri="{FF2B5EF4-FFF2-40B4-BE49-F238E27FC236}">
                  <a16:creationId xmlns:a16="http://schemas.microsoft.com/office/drawing/2014/main" id="{503C8AD5-606E-48B7-8166-C2A357DE1731}"/>
                </a:ext>
              </a:extLst>
            </p:cNvPr>
            <p:cNvSpPr/>
            <p:nvPr/>
          </p:nvSpPr>
          <p:spPr>
            <a:xfrm>
              <a:off x="5899391" y="3587507"/>
              <a:ext cx="260803" cy="260803"/>
            </a:xfrm>
            <a:custGeom>
              <a:avLst/>
              <a:gdLst>
                <a:gd name="connsiteX0" fmla="*/ 0 w 260803"/>
                <a:gd name="connsiteY0" fmla="*/ 260804 h 260803"/>
                <a:gd name="connsiteX1" fmla="*/ 260804 w 260803"/>
                <a:gd name="connsiteY1" fmla="*/ 0 h 260803"/>
              </a:gdLst>
              <a:ahLst/>
              <a:cxnLst>
                <a:cxn ang="0">
                  <a:pos x="connsiteX0" y="connsiteY0"/>
                </a:cxn>
                <a:cxn ang="0">
                  <a:pos x="connsiteX1" y="connsiteY1"/>
                </a:cxn>
              </a:cxnLst>
              <a:rect l="l" t="t" r="r" b="b"/>
              <a:pathLst>
                <a:path w="260803" h="260803">
                  <a:moveTo>
                    <a:pt x="0" y="260804"/>
                  </a:moveTo>
                  <a:lnTo>
                    <a:pt x="260804" y="0"/>
                  </a:lnTo>
                </a:path>
              </a:pathLst>
            </a:custGeom>
            <a:ln w="9282" cap="flat">
              <a:solidFill>
                <a:srgbClr val="74BF4B"/>
              </a:solidFill>
              <a:prstDash val="solid"/>
              <a:miter/>
            </a:ln>
          </p:spPr>
          <p:txBody>
            <a:bodyPr rtlCol="0" anchor="ctr"/>
            <a:lstStyle/>
            <a:p>
              <a:endParaRPr lang="en-IN" dirty="0"/>
            </a:p>
          </p:txBody>
        </p:sp>
        <p:sp>
          <p:nvSpPr>
            <p:cNvPr id="89" name="Freeform: Shape 88">
              <a:extLst>
                <a:ext uri="{FF2B5EF4-FFF2-40B4-BE49-F238E27FC236}">
                  <a16:creationId xmlns:a16="http://schemas.microsoft.com/office/drawing/2014/main" id="{38291AC0-66D5-4FC4-86D4-36BA5E8834BC}"/>
                </a:ext>
              </a:extLst>
            </p:cNvPr>
            <p:cNvSpPr/>
            <p:nvPr/>
          </p:nvSpPr>
          <p:spPr>
            <a:xfrm>
              <a:off x="5830465" y="3518580"/>
              <a:ext cx="305512" cy="305512"/>
            </a:xfrm>
            <a:custGeom>
              <a:avLst/>
              <a:gdLst>
                <a:gd name="connsiteX0" fmla="*/ 305513 w 305512"/>
                <a:gd name="connsiteY0" fmla="*/ 0 h 305512"/>
                <a:gd name="connsiteX1" fmla="*/ 0 w 305512"/>
                <a:gd name="connsiteY1" fmla="*/ 305513 h 305512"/>
              </a:gdLst>
              <a:ahLst/>
              <a:cxnLst>
                <a:cxn ang="0">
                  <a:pos x="connsiteX0" y="connsiteY0"/>
                </a:cxn>
                <a:cxn ang="0">
                  <a:pos x="connsiteX1" y="connsiteY1"/>
                </a:cxn>
              </a:cxnLst>
              <a:rect l="l" t="t" r="r" b="b"/>
              <a:pathLst>
                <a:path w="305512" h="305512">
                  <a:moveTo>
                    <a:pt x="305513" y="0"/>
                  </a:moveTo>
                  <a:lnTo>
                    <a:pt x="0" y="305513"/>
                  </a:lnTo>
                </a:path>
              </a:pathLst>
            </a:custGeom>
            <a:ln w="9282" cap="flat">
              <a:solidFill>
                <a:srgbClr val="74BF4B"/>
              </a:solidFill>
              <a:prstDash val="solid"/>
              <a:miter/>
            </a:ln>
          </p:spPr>
          <p:txBody>
            <a:bodyPr rtlCol="0" anchor="ctr"/>
            <a:lstStyle/>
            <a:p>
              <a:endParaRPr lang="en-IN" dirty="0"/>
            </a:p>
          </p:txBody>
        </p:sp>
        <p:sp>
          <p:nvSpPr>
            <p:cNvPr id="90" name="Freeform: Shape 89">
              <a:extLst>
                <a:ext uri="{FF2B5EF4-FFF2-40B4-BE49-F238E27FC236}">
                  <a16:creationId xmlns:a16="http://schemas.microsoft.com/office/drawing/2014/main" id="{F3509E92-BBA1-46E2-A4CC-64002BA8094A}"/>
                </a:ext>
              </a:extLst>
            </p:cNvPr>
            <p:cNvSpPr/>
            <p:nvPr/>
          </p:nvSpPr>
          <p:spPr>
            <a:xfrm>
              <a:off x="5862134" y="3550249"/>
              <a:ext cx="288746" cy="288746"/>
            </a:xfrm>
            <a:custGeom>
              <a:avLst/>
              <a:gdLst>
                <a:gd name="connsiteX0" fmla="*/ 0 w 288746"/>
                <a:gd name="connsiteY0" fmla="*/ 288747 h 288746"/>
                <a:gd name="connsiteX1" fmla="*/ 288747 w 288746"/>
                <a:gd name="connsiteY1" fmla="*/ 0 h 288746"/>
              </a:gdLst>
              <a:ahLst/>
              <a:cxnLst>
                <a:cxn ang="0">
                  <a:pos x="connsiteX0" y="connsiteY0"/>
                </a:cxn>
                <a:cxn ang="0">
                  <a:pos x="connsiteX1" y="connsiteY1"/>
                </a:cxn>
              </a:cxnLst>
              <a:rect l="l" t="t" r="r" b="b"/>
              <a:pathLst>
                <a:path w="288746" h="288746">
                  <a:moveTo>
                    <a:pt x="0" y="288747"/>
                  </a:moveTo>
                  <a:lnTo>
                    <a:pt x="288747" y="0"/>
                  </a:lnTo>
                </a:path>
              </a:pathLst>
            </a:custGeom>
            <a:ln w="9282" cap="flat">
              <a:solidFill>
                <a:srgbClr val="74BF4B"/>
              </a:solidFill>
              <a:prstDash val="solid"/>
              <a:miter/>
            </a:ln>
          </p:spPr>
          <p:txBody>
            <a:bodyPr rtlCol="0" anchor="ctr"/>
            <a:lstStyle/>
            <a:p>
              <a:endParaRPr lang="en-IN" dirty="0"/>
            </a:p>
          </p:txBody>
        </p:sp>
        <p:sp>
          <p:nvSpPr>
            <p:cNvPr id="91" name="Freeform: Shape 90">
              <a:extLst>
                <a:ext uri="{FF2B5EF4-FFF2-40B4-BE49-F238E27FC236}">
                  <a16:creationId xmlns:a16="http://schemas.microsoft.com/office/drawing/2014/main" id="{D84C4DC3-5720-44F6-B575-DA89D31603F5}"/>
                </a:ext>
              </a:extLst>
            </p:cNvPr>
            <p:cNvSpPr/>
            <p:nvPr/>
          </p:nvSpPr>
          <p:spPr>
            <a:xfrm>
              <a:off x="5776441" y="3464556"/>
              <a:ext cx="320415" cy="320415"/>
            </a:xfrm>
            <a:custGeom>
              <a:avLst/>
              <a:gdLst>
                <a:gd name="connsiteX0" fmla="*/ 320416 w 320415"/>
                <a:gd name="connsiteY0" fmla="*/ 0 h 320415"/>
                <a:gd name="connsiteX1" fmla="*/ 0 w 320415"/>
                <a:gd name="connsiteY1" fmla="*/ 320416 h 320415"/>
              </a:gdLst>
              <a:ahLst/>
              <a:cxnLst>
                <a:cxn ang="0">
                  <a:pos x="connsiteX0" y="connsiteY0"/>
                </a:cxn>
                <a:cxn ang="0">
                  <a:pos x="connsiteX1" y="connsiteY1"/>
                </a:cxn>
              </a:cxnLst>
              <a:rect l="l" t="t" r="r" b="b"/>
              <a:pathLst>
                <a:path w="320415" h="320415">
                  <a:moveTo>
                    <a:pt x="320416" y="0"/>
                  </a:moveTo>
                  <a:lnTo>
                    <a:pt x="0" y="320416"/>
                  </a:lnTo>
                </a:path>
              </a:pathLst>
            </a:custGeom>
            <a:ln w="9282" cap="flat">
              <a:solidFill>
                <a:srgbClr val="74BF4B"/>
              </a:solidFill>
              <a:prstDash val="solid"/>
              <a:miter/>
            </a:ln>
          </p:spPr>
          <p:txBody>
            <a:bodyPr rtlCol="0" anchor="ctr"/>
            <a:lstStyle/>
            <a:p>
              <a:endParaRPr lang="en-IN" dirty="0"/>
            </a:p>
          </p:txBody>
        </p:sp>
        <p:sp>
          <p:nvSpPr>
            <p:cNvPr id="92" name="Freeform: Shape 91">
              <a:extLst>
                <a:ext uri="{FF2B5EF4-FFF2-40B4-BE49-F238E27FC236}">
                  <a16:creationId xmlns:a16="http://schemas.microsoft.com/office/drawing/2014/main" id="{7C428F5A-8A9D-4C0F-BA52-9F49E58BF6AD}"/>
                </a:ext>
              </a:extLst>
            </p:cNvPr>
            <p:cNvSpPr/>
            <p:nvPr/>
          </p:nvSpPr>
          <p:spPr>
            <a:xfrm>
              <a:off x="5800659" y="3488774"/>
              <a:ext cx="316690" cy="316689"/>
            </a:xfrm>
            <a:custGeom>
              <a:avLst/>
              <a:gdLst>
                <a:gd name="connsiteX0" fmla="*/ 0 w 316690"/>
                <a:gd name="connsiteY0" fmla="*/ 316690 h 316689"/>
                <a:gd name="connsiteX1" fmla="*/ 316690 w 316690"/>
                <a:gd name="connsiteY1" fmla="*/ 0 h 316689"/>
              </a:gdLst>
              <a:ahLst/>
              <a:cxnLst>
                <a:cxn ang="0">
                  <a:pos x="connsiteX0" y="connsiteY0"/>
                </a:cxn>
                <a:cxn ang="0">
                  <a:pos x="connsiteX1" y="connsiteY1"/>
                </a:cxn>
              </a:cxnLst>
              <a:rect l="l" t="t" r="r" b="b"/>
              <a:pathLst>
                <a:path w="316690" h="316689">
                  <a:moveTo>
                    <a:pt x="0" y="316690"/>
                  </a:moveTo>
                  <a:lnTo>
                    <a:pt x="316690" y="0"/>
                  </a:lnTo>
                </a:path>
              </a:pathLst>
            </a:custGeom>
            <a:ln w="9282" cap="flat">
              <a:solidFill>
                <a:srgbClr val="74BF4B"/>
              </a:solidFill>
              <a:prstDash val="solid"/>
              <a:miter/>
            </a:ln>
          </p:spPr>
          <p:txBody>
            <a:bodyPr rtlCol="0" anchor="ctr"/>
            <a:lstStyle/>
            <a:p>
              <a:endParaRPr lang="en-IN" dirty="0"/>
            </a:p>
          </p:txBody>
        </p:sp>
        <p:sp>
          <p:nvSpPr>
            <p:cNvPr id="93" name="Freeform: Shape 92">
              <a:extLst>
                <a:ext uri="{FF2B5EF4-FFF2-40B4-BE49-F238E27FC236}">
                  <a16:creationId xmlns:a16="http://schemas.microsoft.com/office/drawing/2014/main" id="{5553C087-E16F-40EF-B9BD-F4C631AC4F3F}"/>
                </a:ext>
              </a:extLst>
            </p:cNvPr>
            <p:cNvSpPr/>
            <p:nvPr/>
          </p:nvSpPr>
          <p:spPr>
            <a:xfrm>
              <a:off x="5944101" y="3632216"/>
              <a:ext cx="217957" cy="217957"/>
            </a:xfrm>
            <a:custGeom>
              <a:avLst/>
              <a:gdLst>
                <a:gd name="connsiteX0" fmla="*/ 217957 w 217957"/>
                <a:gd name="connsiteY0" fmla="*/ 0 h 217957"/>
                <a:gd name="connsiteX1" fmla="*/ 0 w 217957"/>
                <a:gd name="connsiteY1" fmla="*/ 217957 h 217957"/>
              </a:gdLst>
              <a:ahLst/>
              <a:cxnLst>
                <a:cxn ang="0">
                  <a:pos x="connsiteX0" y="connsiteY0"/>
                </a:cxn>
                <a:cxn ang="0">
                  <a:pos x="connsiteX1" y="connsiteY1"/>
                </a:cxn>
              </a:cxnLst>
              <a:rect l="l" t="t" r="r" b="b"/>
              <a:pathLst>
                <a:path w="217957" h="217957">
                  <a:moveTo>
                    <a:pt x="217957" y="0"/>
                  </a:moveTo>
                  <a:lnTo>
                    <a:pt x="0" y="217957"/>
                  </a:lnTo>
                </a:path>
              </a:pathLst>
            </a:custGeom>
            <a:ln w="9282" cap="flat">
              <a:solidFill>
                <a:srgbClr val="74BF4B"/>
              </a:solidFill>
              <a:prstDash val="solid"/>
              <a:miter/>
            </a:ln>
          </p:spPr>
          <p:txBody>
            <a:bodyPr rtlCol="0" anchor="ctr"/>
            <a:lstStyle/>
            <a:p>
              <a:endParaRPr lang="en-IN" dirty="0"/>
            </a:p>
          </p:txBody>
        </p:sp>
        <p:sp>
          <p:nvSpPr>
            <p:cNvPr id="94" name="Freeform: Shape 93">
              <a:extLst>
                <a:ext uri="{FF2B5EF4-FFF2-40B4-BE49-F238E27FC236}">
                  <a16:creationId xmlns:a16="http://schemas.microsoft.com/office/drawing/2014/main" id="{A5B49245-53F5-4E62-9492-A3A2EE409F82}"/>
                </a:ext>
              </a:extLst>
            </p:cNvPr>
            <p:cNvSpPr/>
            <p:nvPr/>
          </p:nvSpPr>
          <p:spPr>
            <a:xfrm>
              <a:off x="5999987" y="3688102"/>
              <a:ext cx="152756" cy="152756"/>
            </a:xfrm>
            <a:custGeom>
              <a:avLst/>
              <a:gdLst>
                <a:gd name="connsiteX0" fmla="*/ 0 w 152756"/>
                <a:gd name="connsiteY0" fmla="*/ 152756 h 152756"/>
                <a:gd name="connsiteX1" fmla="*/ 152756 w 152756"/>
                <a:gd name="connsiteY1" fmla="*/ 0 h 152756"/>
              </a:gdLst>
              <a:ahLst/>
              <a:cxnLst>
                <a:cxn ang="0">
                  <a:pos x="connsiteX0" y="connsiteY0"/>
                </a:cxn>
                <a:cxn ang="0">
                  <a:pos x="connsiteX1" y="connsiteY1"/>
                </a:cxn>
              </a:cxnLst>
              <a:rect l="l" t="t" r="r" b="b"/>
              <a:pathLst>
                <a:path w="152756" h="152756">
                  <a:moveTo>
                    <a:pt x="0" y="152756"/>
                  </a:moveTo>
                  <a:lnTo>
                    <a:pt x="152756" y="0"/>
                  </a:lnTo>
                </a:path>
              </a:pathLst>
            </a:custGeom>
            <a:ln w="9282" cap="flat">
              <a:solidFill>
                <a:srgbClr val="74BF4B"/>
              </a:solidFill>
              <a:prstDash val="solid"/>
              <a:miter/>
            </a:ln>
          </p:spPr>
          <p:txBody>
            <a:bodyPr rtlCol="0" anchor="ctr"/>
            <a:lstStyle/>
            <a:p>
              <a:endParaRPr lang="en-IN" dirty="0"/>
            </a:p>
          </p:txBody>
        </p:sp>
        <p:sp>
          <p:nvSpPr>
            <p:cNvPr id="95" name="Freeform: Shape 94">
              <a:extLst>
                <a:ext uri="{FF2B5EF4-FFF2-40B4-BE49-F238E27FC236}">
                  <a16:creationId xmlns:a16="http://schemas.microsoft.com/office/drawing/2014/main" id="{E2F1E608-C64D-4C00-9580-DFC97BBE790D}"/>
                </a:ext>
              </a:extLst>
            </p:cNvPr>
            <p:cNvSpPr/>
            <p:nvPr/>
          </p:nvSpPr>
          <p:spPr>
            <a:xfrm>
              <a:off x="5899391" y="3587507"/>
              <a:ext cx="260803" cy="260803"/>
            </a:xfrm>
            <a:custGeom>
              <a:avLst/>
              <a:gdLst>
                <a:gd name="connsiteX0" fmla="*/ 260804 w 260803"/>
                <a:gd name="connsiteY0" fmla="*/ 0 h 260803"/>
                <a:gd name="connsiteX1" fmla="*/ 0 w 260803"/>
                <a:gd name="connsiteY1" fmla="*/ 260804 h 260803"/>
              </a:gdLst>
              <a:ahLst/>
              <a:cxnLst>
                <a:cxn ang="0">
                  <a:pos x="connsiteX0" y="connsiteY0"/>
                </a:cxn>
                <a:cxn ang="0">
                  <a:pos x="connsiteX1" y="connsiteY1"/>
                </a:cxn>
              </a:cxnLst>
              <a:rect l="l" t="t" r="r" b="b"/>
              <a:pathLst>
                <a:path w="260803" h="260803">
                  <a:moveTo>
                    <a:pt x="260804" y="0"/>
                  </a:moveTo>
                  <a:lnTo>
                    <a:pt x="0" y="260804"/>
                  </a:lnTo>
                </a:path>
              </a:pathLst>
            </a:custGeom>
            <a:ln w="9282" cap="flat">
              <a:solidFill>
                <a:srgbClr val="74BF4B"/>
              </a:solidFill>
              <a:prstDash val="solid"/>
              <a:miter/>
            </a:ln>
          </p:spPr>
          <p:txBody>
            <a:bodyPr rtlCol="0" anchor="ctr"/>
            <a:lstStyle/>
            <a:p>
              <a:endParaRPr lang="en-IN" dirty="0"/>
            </a:p>
          </p:txBody>
        </p:sp>
        <p:sp>
          <p:nvSpPr>
            <p:cNvPr id="96" name="Freeform: Shape 95">
              <a:extLst>
                <a:ext uri="{FF2B5EF4-FFF2-40B4-BE49-F238E27FC236}">
                  <a16:creationId xmlns:a16="http://schemas.microsoft.com/office/drawing/2014/main" id="{478AC355-FEE5-4BB1-A99B-0D4B02D47A9A}"/>
                </a:ext>
              </a:extLst>
            </p:cNvPr>
            <p:cNvSpPr/>
            <p:nvPr/>
          </p:nvSpPr>
          <p:spPr>
            <a:xfrm>
              <a:off x="5944101" y="3632216"/>
              <a:ext cx="217957" cy="217957"/>
            </a:xfrm>
            <a:custGeom>
              <a:avLst/>
              <a:gdLst>
                <a:gd name="connsiteX0" fmla="*/ 0 w 217957"/>
                <a:gd name="connsiteY0" fmla="*/ 217957 h 217957"/>
                <a:gd name="connsiteX1" fmla="*/ 217957 w 217957"/>
                <a:gd name="connsiteY1" fmla="*/ 0 h 217957"/>
              </a:gdLst>
              <a:ahLst/>
              <a:cxnLst>
                <a:cxn ang="0">
                  <a:pos x="connsiteX0" y="connsiteY0"/>
                </a:cxn>
                <a:cxn ang="0">
                  <a:pos x="connsiteX1" y="connsiteY1"/>
                </a:cxn>
              </a:cxnLst>
              <a:rect l="l" t="t" r="r" b="b"/>
              <a:pathLst>
                <a:path w="217957" h="217957">
                  <a:moveTo>
                    <a:pt x="0" y="217957"/>
                  </a:moveTo>
                  <a:lnTo>
                    <a:pt x="217957" y="0"/>
                  </a:lnTo>
                </a:path>
              </a:pathLst>
            </a:custGeom>
            <a:ln w="9282" cap="flat">
              <a:solidFill>
                <a:srgbClr val="74BF4B"/>
              </a:solidFill>
              <a:prstDash val="solid"/>
              <a:miter/>
            </a:ln>
          </p:spPr>
          <p:txBody>
            <a:bodyPr rtlCol="0" anchor="ctr"/>
            <a:lstStyle/>
            <a:p>
              <a:endParaRPr lang="en-IN" dirty="0"/>
            </a:p>
          </p:txBody>
        </p:sp>
        <p:sp>
          <p:nvSpPr>
            <p:cNvPr id="97" name="Freeform: Shape 96">
              <a:extLst>
                <a:ext uri="{FF2B5EF4-FFF2-40B4-BE49-F238E27FC236}">
                  <a16:creationId xmlns:a16="http://schemas.microsoft.com/office/drawing/2014/main" id="{D8CA6372-587F-4A76-9C02-DD97EA10828D}"/>
                </a:ext>
              </a:extLst>
            </p:cNvPr>
            <p:cNvSpPr/>
            <p:nvPr/>
          </p:nvSpPr>
          <p:spPr>
            <a:xfrm>
              <a:off x="5800659" y="3488774"/>
              <a:ext cx="316690" cy="316689"/>
            </a:xfrm>
            <a:custGeom>
              <a:avLst/>
              <a:gdLst>
                <a:gd name="connsiteX0" fmla="*/ 316690 w 316690"/>
                <a:gd name="connsiteY0" fmla="*/ 0 h 316689"/>
                <a:gd name="connsiteX1" fmla="*/ 0 w 316690"/>
                <a:gd name="connsiteY1" fmla="*/ 316690 h 316689"/>
              </a:gdLst>
              <a:ahLst/>
              <a:cxnLst>
                <a:cxn ang="0">
                  <a:pos x="connsiteX0" y="connsiteY0"/>
                </a:cxn>
                <a:cxn ang="0">
                  <a:pos x="connsiteX1" y="connsiteY1"/>
                </a:cxn>
              </a:cxnLst>
              <a:rect l="l" t="t" r="r" b="b"/>
              <a:pathLst>
                <a:path w="316690" h="316689">
                  <a:moveTo>
                    <a:pt x="316690" y="0"/>
                  </a:moveTo>
                  <a:lnTo>
                    <a:pt x="0" y="316690"/>
                  </a:lnTo>
                </a:path>
              </a:pathLst>
            </a:custGeom>
            <a:ln w="9282" cap="flat">
              <a:solidFill>
                <a:srgbClr val="74BF4B"/>
              </a:solidFill>
              <a:prstDash val="solid"/>
              <a:miter/>
            </a:ln>
          </p:spPr>
          <p:txBody>
            <a:bodyPr rtlCol="0" anchor="ctr"/>
            <a:lstStyle/>
            <a:p>
              <a:endParaRPr lang="en-IN" dirty="0"/>
            </a:p>
          </p:txBody>
        </p:sp>
        <p:sp>
          <p:nvSpPr>
            <p:cNvPr id="98" name="Freeform: Shape 97">
              <a:extLst>
                <a:ext uri="{FF2B5EF4-FFF2-40B4-BE49-F238E27FC236}">
                  <a16:creationId xmlns:a16="http://schemas.microsoft.com/office/drawing/2014/main" id="{D158D566-B1CE-41B2-A937-AE2368A425FD}"/>
                </a:ext>
              </a:extLst>
            </p:cNvPr>
            <p:cNvSpPr/>
            <p:nvPr/>
          </p:nvSpPr>
          <p:spPr>
            <a:xfrm>
              <a:off x="5830465" y="3518580"/>
              <a:ext cx="305512" cy="305512"/>
            </a:xfrm>
            <a:custGeom>
              <a:avLst/>
              <a:gdLst>
                <a:gd name="connsiteX0" fmla="*/ 0 w 305512"/>
                <a:gd name="connsiteY0" fmla="*/ 305513 h 305512"/>
                <a:gd name="connsiteX1" fmla="*/ 305513 w 305512"/>
                <a:gd name="connsiteY1" fmla="*/ 0 h 305512"/>
              </a:gdLst>
              <a:ahLst/>
              <a:cxnLst>
                <a:cxn ang="0">
                  <a:pos x="connsiteX0" y="connsiteY0"/>
                </a:cxn>
                <a:cxn ang="0">
                  <a:pos x="connsiteX1" y="connsiteY1"/>
                </a:cxn>
              </a:cxnLst>
              <a:rect l="l" t="t" r="r" b="b"/>
              <a:pathLst>
                <a:path w="305512" h="305512">
                  <a:moveTo>
                    <a:pt x="0" y="305513"/>
                  </a:moveTo>
                  <a:lnTo>
                    <a:pt x="305513" y="0"/>
                  </a:lnTo>
                </a:path>
              </a:pathLst>
            </a:custGeom>
            <a:ln w="9282" cap="flat">
              <a:solidFill>
                <a:srgbClr val="74BF4B"/>
              </a:solidFill>
              <a:prstDash val="solid"/>
              <a:miter/>
            </a:ln>
          </p:spPr>
          <p:txBody>
            <a:bodyPr rtlCol="0" anchor="ctr"/>
            <a:lstStyle/>
            <a:p>
              <a:endParaRPr lang="en-IN" dirty="0"/>
            </a:p>
          </p:txBody>
        </p:sp>
        <p:sp>
          <p:nvSpPr>
            <p:cNvPr id="99" name="Freeform: Shape 98">
              <a:extLst>
                <a:ext uri="{FF2B5EF4-FFF2-40B4-BE49-F238E27FC236}">
                  <a16:creationId xmlns:a16="http://schemas.microsoft.com/office/drawing/2014/main" id="{1DD11543-2C65-487E-BF65-5BD973CFDEE9}"/>
                </a:ext>
              </a:extLst>
            </p:cNvPr>
            <p:cNvSpPr/>
            <p:nvPr/>
          </p:nvSpPr>
          <p:spPr>
            <a:xfrm>
              <a:off x="5709377" y="3397493"/>
              <a:ext cx="219820" cy="219820"/>
            </a:xfrm>
            <a:custGeom>
              <a:avLst/>
              <a:gdLst>
                <a:gd name="connsiteX0" fmla="*/ 219820 w 219820"/>
                <a:gd name="connsiteY0" fmla="*/ 0 h 219820"/>
                <a:gd name="connsiteX1" fmla="*/ 0 w 219820"/>
                <a:gd name="connsiteY1" fmla="*/ 219820 h 219820"/>
              </a:gdLst>
              <a:ahLst/>
              <a:cxnLst>
                <a:cxn ang="0">
                  <a:pos x="connsiteX0" y="connsiteY0"/>
                </a:cxn>
                <a:cxn ang="0">
                  <a:pos x="connsiteX1" y="connsiteY1"/>
                </a:cxn>
              </a:cxnLst>
              <a:rect l="l" t="t" r="r" b="b"/>
              <a:pathLst>
                <a:path w="219820" h="219820">
                  <a:moveTo>
                    <a:pt x="219820" y="0"/>
                  </a:moveTo>
                  <a:lnTo>
                    <a:pt x="0" y="219820"/>
                  </a:lnTo>
                </a:path>
              </a:pathLst>
            </a:custGeom>
            <a:ln w="9282" cap="flat">
              <a:solidFill>
                <a:srgbClr val="74BF4B"/>
              </a:solidFill>
              <a:prstDash val="solid"/>
              <a:miter/>
            </a:ln>
          </p:spPr>
          <p:txBody>
            <a:bodyPr rtlCol="0" anchor="ctr"/>
            <a:lstStyle/>
            <a:p>
              <a:endParaRPr lang="en-IN" dirty="0"/>
            </a:p>
          </p:txBody>
        </p:sp>
        <p:sp>
          <p:nvSpPr>
            <p:cNvPr id="100" name="Freeform: Shape 99">
              <a:extLst>
                <a:ext uri="{FF2B5EF4-FFF2-40B4-BE49-F238E27FC236}">
                  <a16:creationId xmlns:a16="http://schemas.microsoft.com/office/drawing/2014/main" id="{C8BC5CE8-4EEB-42E9-B562-56CB9D8E7654}"/>
                </a:ext>
              </a:extLst>
            </p:cNvPr>
            <p:cNvSpPr/>
            <p:nvPr/>
          </p:nvSpPr>
          <p:spPr>
            <a:xfrm>
              <a:off x="5713103" y="3401218"/>
              <a:ext cx="260803" cy="258940"/>
            </a:xfrm>
            <a:custGeom>
              <a:avLst/>
              <a:gdLst>
                <a:gd name="connsiteX0" fmla="*/ 0 w 260803"/>
                <a:gd name="connsiteY0" fmla="*/ 258941 h 258940"/>
                <a:gd name="connsiteX1" fmla="*/ 260804 w 260803"/>
                <a:gd name="connsiteY1" fmla="*/ 0 h 258940"/>
              </a:gdLst>
              <a:ahLst/>
              <a:cxnLst>
                <a:cxn ang="0">
                  <a:pos x="connsiteX0" y="connsiteY0"/>
                </a:cxn>
                <a:cxn ang="0">
                  <a:pos x="connsiteX1" y="connsiteY1"/>
                </a:cxn>
              </a:cxnLst>
              <a:rect l="l" t="t" r="r" b="b"/>
              <a:pathLst>
                <a:path w="260803" h="258940">
                  <a:moveTo>
                    <a:pt x="0" y="258941"/>
                  </a:moveTo>
                  <a:lnTo>
                    <a:pt x="260804" y="0"/>
                  </a:lnTo>
                </a:path>
              </a:pathLst>
            </a:custGeom>
            <a:ln w="9282" cap="flat">
              <a:solidFill>
                <a:srgbClr val="74BF4B"/>
              </a:solidFill>
              <a:prstDash val="solid"/>
              <a:miter/>
            </a:ln>
          </p:spPr>
          <p:txBody>
            <a:bodyPr rtlCol="0" anchor="ctr"/>
            <a:lstStyle/>
            <a:p>
              <a:endParaRPr lang="en-IN" dirty="0"/>
            </a:p>
          </p:txBody>
        </p:sp>
        <p:sp>
          <p:nvSpPr>
            <p:cNvPr id="101" name="Freeform: Shape 100">
              <a:extLst>
                <a:ext uri="{FF2B5EF4-FFF2-40B4-BE49-F238E27FC236}">
                  <a16:creationId xmlns:a16="http://schemas.microsoft.com/office/drawing/2014/main" id="{ED781AF5-073B-4B7A-A81F-4D04B2A230EC}"/>
                </a:ext>
              </a:extLst>
            </p:cNvPr>
            <p:cNvSpPr/>
            <p:nvPr/>
          </p:nvSpPr>
          <p:spPr>
            <a:xfrm>
              <a:off x="5718692" y="3406807"/>
              <a:ext cx="154619" cy="154619"/>
            </a:xfrm>
            <a:custGeom>
              <a:avLst/>
              <a:gdLst>
                <a:gd name="connsiteX0" fmla="*/ 154619 w 154619"/>
                <a:gd name="connsiteY0" fmla="*/ 0 h 154619"/>
                <a:gd name="connsiteX1" fmla="*/ 0 w 154619"/>
                <a:gd name="connsiteY1" fmla="*/ 154619 h 154619"/>
              </a:gdLst>
              <a:ahLst/>
              <a:cxnLst>
                <a:cxn ang="0">
                  <a:pos x="connsiteX0" y="connsiteY0"/>
                </a:cxn>
                <a:cxn ang="0">
                  <a:pos x="connsiteX1" y="connsiteY1"/>
                </a:cxn>
              </a:cxnLst>
              <a:rect l="l" t="t" r="r" b="b"/>
              <a:pathLst>
                <a:path w="154619" h="154619">
                  <a:moveTo>
                    <a:pt x="154619" y="0"/>
                  </a:moveTo>
                  <a:lnTo>
                    <a:pt x="0" y="154619"/>
                  </a:lnTo>
                </a:path>
              </a:pathLst>
            </a:custGeom>
            <a:ln w="9282" cap="flat">
              <a:solidFill>
                <a:srgbClr val="74BF4B"/>
              </a:solidFill>
              <a:prstDash val="solid"/>
              <a:miter/>
            </a:ln>
          </p:spPr>
          <p:txBody>
            <a:bodyPr rtlCol="0" anchor="ctr"/>
            <a:lstStyle/>
            <a:p>
              <a:endParaRPr lang="en-IN" dirty="0"/>
            </a:p>
          </p:txBody>
        </p:sp>
        <p:sp>
          <p:nvSpPr>
            <p:cNvPr id="102" name="Freeform: Shape 101">
              <a:extLst>
                <a:ext uri="{FF2B5EF4-FFF2-40B4-BE49-F238E27FC236}">
                  <a16:creationId xmlns:a16="http://schemas.microsoft.com/office/drawing/2014/main" id="{13A3500C-B8BB-458C-AC38-36878AEB0C95}"/>
                </a:ext>
              </a:extLst>
            </p:cNvPr>
            <p:cNvSpPr/>
            <p:nvPr/>
          </p:nvSpPr>
          <p:spPr>
            <a:xfrm>
              <a:off x="5709377" y="3397493"/>
              <a:ext cx="219820" cy="219820"/>
            </a:xfrm>
            <a:custGeom>
              <a:avLst/>
              <a:gdLst>
                <a:gd name="connsiteX0" fmla="*/ 0 w 219820"/>
                <a:gd name="connsiteY0" fmla="*/ 219820 h 219820"/>
                <a:gd name="connsiteX1" fmla="*/ 219820 w 219820"/>
                <a:gd name="connsiteY1" fmla="*/ 0 h 219820"/>
              </a:gdLst>
              <a:ahLst/>
              <a:cxnLst>
                <a:cxn ang="0">
                  <a:pos x="connsiteX0" y="connsiteY0"/>
                </a:cxn>
                <a:cxn ang="0">
                  <a:pos x="connsiteX1" y="connsiteY1"/>
                </a:cxn>
              </a:cxnLst>
              <a:rect l="l" t="t" r="r" b="b"/>
              <a:pathLst>
                <a:path w="219820" h="219820">
                  <a:moveTo>
                    <a:pt x="0" y="219820"/>
                  </a:moveTo>
                  <a:lnTo>
                    <a:pt x="219820" y="0"/>
                  </a:lnTo>
                </a:path>
              </a:pathLst>
            </a:custGeom>
            <a:ln w="9282" cap="flat">
              <a:solidFill>
                <a:srgbClr val="74BF4B"/>
              </a:solidFill>
              <a:prstDash val="solid"/>
              <a:miter/>
            </a:ln>
          </p:spPr>
          <p:txBody>
            <a:bodyPr rtlCol="0" anchor="ctr"/>
            <a:lstStyle/>
            <a:p>
              <a:endParaRPr lang="en-IN" dirty="0"/>
            </a:p>
          </p:txBody>
        </p:sp>
        <p:sp>
          <p:nvSpPr>
            <p:cNvPr id="103" name="Freeform: Shape 102">
              <a:extLst>
                <a:ext uri="{FF2B5EF4-FFF2-40B4-BE49-F238E27FC236}">
                  <a16:creationId xmlns:a16="http://schemas.microsoft.com/office/drawing/2014/main" id="{61FA7DF2-6F8C-4C32-8DC4-BBA26FA884DB}"/>
                </a:ext>
              </a:extLst>
            </p:cNvPr>
            <p:cNvSpPr/>
            <p:nvPr/>
          </p:nvSpPr>
          <p:spPr>
            <a:xfrm>
              <a:off x="5722418" y="3410533"/>
              <a:ext cx="288746" cy="288746"/>
            </a:xfrm>
            <a:custGeom>
              <a:avLst/>
              <a:gdLst>
                <a:gd name="connsiteX0" fmla="*/ 288747 w 288746"/>
                <a:gd name="connsiteY0" fmla="*/ 0 h 288746"/>
                <a:gd name="connsiteX1" fmla="*/ 0 w 288746"/>
                <a:gd name="connsiteY1" fmla="*/ 288747 h 288746"/>
              </a:gdLst>
              <a:ahLst/>
              <a:cxnLst>
                <a:cxn ang="0">
                  <a:pos x="connsiteX0" y="connsiteY0"/>
                </a:cxn>
                <a:cxn ang="0">
                  <a:pos x="connsiteX1" y="connsiteY1"/>
                </a:cxn>
              </a:cxnLst>
              <a:rect l="l" t="t" r="r" b="b"/>
              <a:pathLst>
                <a:path w="288746" h="288746">
                  <a:moveTo>
                    <a:pt x="288747" y="0"/>
                  </a:moveTo>
                  <a:lnTo>
                    <a:pt x="0" y="288747"/>
                  </a:lnTo>
                </a:path>
              </a:pathLst>
            </a:custGeom>
            <a:ln w="9282" cap="flat">
              <a:solidFill>
                <a:srgbClr val="74BF4B"/>
              </a:solidFill>
              <a:prstDash val="solid"/>
              <a:miter/>
            </a:ln>
          </p:spPr>
          <p:txBody>
            <a:bodyPr rtlCol="0" anchor="ctr"/>
            <a:lstStyle/>
            <a:p>
              <a:endParaRPr lang="en-IN" dirty="0"/>
            </a:p>
          </p:txBody>
        </p:sp>
        <p:sp>
          <p:nvSpPr>
            <p:cNvPr id="104" name="Freeform: Shape 103">
              <a:extLst>
                <a:ext uri="{FF2B5EF4-FFF2-40B4-BE49-F238E27FC236}">
                  <a16:creationId xmlns:a16="http://schemas.microsoft.com/office/drawing/2014/main" id="{6032FE35-395F-4BB9-BC0C-741729579F1C}"/>
                </a:ext>
              </a:extLst>
            </p:cNvPr>
            <p:cNvSpPr/>
            <p:nvPr/>
          </p:nvSpPr>
          <p:spPr>
            <a:xfrm>
              <a:off x="5737321" y="3423573"/>
              <a:ext cx="305512" cy="307375"/>
            </a:xfrm>
            <a:custGeom>
              <a:avLst/>
              <a:gdLst>
                <a:gd name="connsiteX0" fmla="*/ 0 w 305512"/>
                <a:gd name="connsiteY0" fmla="*/ 307376 h 307375"/>
                <a:gd name="connsiteX1" fmla="*/ 305513 w 305512"/>
                <a:gd name="connsiteY1" fmla="*/ 0 h 307375"/>
              </a:gdLst>
              <a:ahLst/>
              <a:cxnLst>
                <a:cxn ang="0">
                  <a:pos x="connsiteX0" y="connsiteY0"/>
                </a:cxn>
                <a:cxn ang="0">
                  <a:pos x="connsiteX1" y="connsiteY1"/>
                </a:cxn>
              </a:cxnLst>
              <a:rect l="l" t="t" r="r" b="b"/>
              <a:pathLst>
                <a:path w="305512" h="307375">
                  <a:moveTo>
                    <a:pt x="0" y="307376"/>
                  </a:moveTo>
                  <a:lnTo>
                    <a:pt x="305513" y="0"/>
                  </a:lnTo>
                </a:path>
              </a:pathLst>
            </a:custGeom>
            <a:ln w="9282" cap="flat">
              <a:solidFill>
                <a:srgbClr val="74BF4B"/>
              </a:solidFill>
              <a:prstDash val="solid"/>
              <a:miter/>
            </a:ln>
          </p:spPr>
          <p:txBody>
            <a:bodyPr rtlCol="0" anchor="ctr"/>
            <a:lstStyle/>
            <a:p>
              <a:endParaRPr lang="en-IN" dirty="0"/>
            </a:p>
          </p:txBody>
        </p:sp>
        <p:sp>
          <p:nvSpPr>
            <p:cNvPr id="105" name="Freeform: Shape 104">
              <a:extLst>
                <a:ext uri="{FF2B5EF4-FFF2-40B4-BE49-F238E27FC236}">
                  <a16:creationId xmlns:a16="http://schemas.microsoft.com/office/drawing/2014/main" id="{AECE6145-B57E-455C-8DF4-AF14AD41D34E}"/>
                </a:ext>
              </a:extLst>
            </p:cNvPr>
            <p:cNvSpPr/>
            <p:nvPr/>
          </p:nvSpPr>
          <p:spPr>
            <a:xfrm>
              <a:off x="5737321" y="3423573"/>
              <a:ext cx="305512" cy="307375"/>
            </a:xfrm>
            <a:custGeom>
              <a:avLst/>
              <a:gdLst>
                <a:gd name="connsiteX0" fmla="*/ 305513 w 305512"/>
                <a:gd name="connsiteY0" fmla="*/ 0 h 307375"/>
                <a:gd name="connsiteX1" fmla="*/ 0 w 305512"/>
                <a:gd name="connsiteY1" fmla="*/ 307376 h 307375"/>
              </a:gdLst>
              <a:ahLst/>
              <a:cxnLst>
                <a:cxn ang="0">
                  <a:pos x="connsiteX0" y="connsiteY0"/>
                </a:cxn>
                <a:cxn ang="0">
                  <a:pos x="connsiteX1" y="connsiteY1"/>
                </a:cxn>
              </a:cxnLst>
              <a:rect l="l" t="t" r="r" b="b"/>
              <a:pathLst>
                <a:path w="305512" h="307375">
                  <a:moveTo>
                    <a:pt x="305513" y="0"/>
                  </a:moveTo>
                  <a:lnTo>
                    <a:pt x="0" y="307376"/>
                  </a:lnTo>
                </a:path>
              </a:pathLst>
            </a:custGeom>
            <a:ln w="9282" cap="flat">
              <a:solidFill>
                <a:srgbClr val="74BF4B"/>
              </a:solidFill>
              <a:prstDash val="solid"/>
              <a:miter/>
            </a:ln>
          </p:spPr>
          <p:txBody>
            <a:bodyPr rtlCol="0" anchor="ctr"/>
            <a:lstStyle/>
            <a:p>
              <a:endParaRPr lang="en-IN" dirty="0"/>
            </a:p>
          </p:txBody>
        </p:sp>
        <p:sp>
          <p:nvSpPr>
            <p:cNvPr id="106" name="Freeform: Shape 105">
              <a:extLst>
                <a:ext uri="{FF2B5EF4-FFF2-40B4-BE49-F238E27FC236}">
                  <a16:creationId xmlns:a16="http://schemas.microsoft.com/office/drawing/2014/main" id="{C9BF209E-9495-478F-BA0F-D00D9C27D787}"/>
                </a:ext>
              </a:extLst>
            </p:cNvPr>
            <p:cNvSpPr/>
            <p:nvPr/>
          </p:nvSpPr>
          <p:spPr>
            <a:xfrm>
              <a:off x="5754087" y="3442202"/>
              <a:ext cx="316690" cy="316689"/>
            </a:xfrm>
            <a:custGeom>
              <a:avLst/>
              <a:gdLst>
                <a:gd name="connsiteX0" fmla="*/ 0 w 316690"/>
                <a:gd name="connsiteY0" fmla="*/ 316690 h 316689"/>
                <a:gd name="connsiteX1" fmla="*/ 316690 w 316690"/>
                <a:gd name="connsiteY1" fmla="*/ 0 h 316689"/>
              </a:gdLst>
              <a:ahLst/>
              <a:cxnLst>
                <a:cxn ang="0">
                  <a:pos x="connsiteX0" y="connsiteY0"/>
                </a:cxn>
                <a:cxn ang="0">
                  <a:pos x="connsiteX1" y="connsiteY1"/>
                </a:cxn>
              </a:cxnLst>
              <a:rect l="l" t="t" r="r" b="b"/>
              <a:pathLst>
                <a:path w="316690" h="316689">
                  <a:moveTo>
                    <a:pt x="0" y="316690"/>
                  </a:moveTo>
                  <a:lnTo>
                    <a:pt x="316690" y="0"/>
                  </a:lnTo>
                </a:path>
              </a:pathLst>
            </a:custGeom>
            <a:ln w="9282" cap="flat">
              <a:solidFill>
                <a:srgbClr val="74BF4B"/>
              </a:solidFill>
              <a:prstDash val="solid"/>
              <a:miter/>
            </a:ln>
          </p:spPr>
          <p:txBody>
            <a:bodyPr rtlCol="0" anchor="ctr"/>
            <a:lstStyle/>
            <a:p>
              <a:endParaRPr lang="en-IN" dirty="0"/>
            </a:p>
          </p:txBody>
        </p:sp>
        <p:sp>
          <p:nvSpPr>
            <p:cNvPr id="107" name="Freeform: Shape 106">
              <a:extLst>
                <a:ext uri="{FF2B5EF4-FFF2-40B4-BE49-F238E27FC236}">
                  <a16:creationId xmlns:a16="http://schemas.microsoft.com/office/drawing/2014/main" id="{CEF44E43-6277-4BA7-AA2B-87BE0BB3B12D}"/>
                </a:ext>
              </a:extLst>
            </p:cNvPr>
            <p:cNvSpPr/>
            <p:nvPr/>
          </p:nvSpPr>
          <p:spPr>
            <a:xfrm>
              <a:off x="5713103" y="3401218"/>
              <a:ext cx="260803" cy="258940"/>
            </a:xfrm>
            <a:custGeom>
              <a:avLst/>
              <a:gdLst>
                <a:gd name="connsiteX0" fmla="*/ 260804 w 260803"/>
                <a:gd name="connsiteY0" fmla="*/ 0 h 258940"/>
                <a:gd name="connsiteX1" fmla="*/ 0 w 260803"/>
                <a:gd name="connsiteY1" fmla="*/ 258941 h 258940"/>
              </a:gdLst>
              <a:ahLst/>
              <a:cxnLst>
                <a:cxn ang="0">
                  <a:pos x="connsiteX0" y="connsiteY0"/>
                </a:cxn>
                <a:cxn ang="0">
                  <a:pos x="connsiteX1" y="connsiteY1"/>
                </a:cxn>
              </a:cxnLst>
              <a:rect l="l" t="t" r="r" b="b"/>
              <a:pathLst>
                <a:path w="260803" h="258940">
                  <a:moveTo>
                    <a:pt x="260804" y="0"/>
                  </a:moveTo>
                  <a:lnTo>
                    <a:pt x="0" y="258941"/>
                  </a:lnTo>
                </a:path>
              </a:pathLst>
            </a:custGeom>
            <a:ln w="9282" cap="flat">
              <a:solidFill>
                <a:srgbClr val="74BF4B"/>
              </a:solidFill>
              <a:prstDash val="solid"/>
              <a:miter/>
            </a:ln>
          </p:spPr>
          <p:txBody>
            <a:bodyPr rtlCol="0" anchor="ctr"/>
            <a:lstStyle/>
            <a:p>
              <a:endParaRPr lang="en-IN" dirty="0"/>
            </a:p>
          </p:txBody>
        </p:sp>
        <p:sp>
          <p:nvSpPr>
            <p:cNvPr id="108" name="Freeform: Shape 107">
              <a:extLst>
                <a:ext uri="{FF2B5EF4-FFF2-40B4-BE49-F238E27FC236}">
                  <a16:creationId xmlns:a16="http://schemas.microsoft.com/office/drawing/2014/main" id="{1B3DAE55-0139-46DC-AC77-FA98F187851D}"/>
                </a:ext>
              </a:extLst>
            </p:cNvPr>
            <p:cNvSpPr/>
            <p:nvPr/>
          </p:nvSpPr>
          <p:spPr>
            <a:xfrm>
              <a:off x="5722418" y="3410533"/>
              <a:ext cx="288746" cy="288746"/>
            </a:xfrm>
            <a:custGeom>
              <a:avLst/>
              <a:gdLst>
                <a:gd name="connsiteX0" fmla="*/ 0 w 288746"/>
                <a:gd name="connsiteY0" fmla="*/ 288747 h 288746"/>
                <a:gd name="connsiteX1" fmla="*/ 288747 w 288746"/>
                <a:gd name="connsiteY1" fmla="*/ 0 h 288746"/>
              </a:gdLst>
              <a:ahLst/>
              <a:cxnLst>
                <a:cxn ang="0">
                  <a:pos x="connsiteX0" y="connsiteY0"/>
                </a:cxn>
                <a:cxn ang="0">
                  <a:pos x="connsiteX1" y="connsiteY1"/>
                </a:cxn>
              </a:cxnLst>
              <a:rect l="l" t="t" r="r" b="b"/>
              <a:pathLst>
                <a:path w="288746" h="288746">
                  <a:moveTo>
                    <a:pt x="0" y="288747"/>
                  </a:moveTo>
                  <a:lnTo>
                    <a:pt x="288747" y="0"/>
                  </a:lnTo>
                </a:path>
              </a:pathLst>
            </a:custGeom>
            <a:ln w="9282" cap="flat">
              <a:solidFill>
                <a:srgbClr val="74BF4B"/>
              </a:solidFill>
              <a:prstDash val="solid"/>
              <a:miter/>
            </a:ln>
          </p:spPr>
          <p:txBody>
            <a:bodyPr rtlCol="0" anchor="ctr"/>
            <a:lstStyle/>
            <a:p>
              <a:endParaRPr lang="en-IN" dirty="0"/>
            </a:p>
          </p:txBody>
        </p:sp>
        <p:sp>
          <p:nvSpPr>
            <p:cNvPr id="109" name="Freeform: Shape 108">
              <a:extLst>
                <a:ext uri="{FF2B5EF4-FFF2-40B4-BE49-F238E27FC236}">
                  <a16:creationId xmlns:a16="http://schemas.microsoft.com/office/drawing/2014/main" id="{8EFC89F1-C0B7-450A-A2A4-7AEBF28E4E22}"/>
                </a:ext>
              </a:extLst>
            </p:cNvPr>
            <p:cNvSpPr/>
            <p:nvPr/>
          </p:nvSpPr>
          <p:spPr>
            <a:xfrm>
              <a:off x="5754087" y="3442202"/>
              <a:ext cx="316690" cy="316689"/>
            </a:xfrm>
            <a:custGeom>
              <a:avLst/>
              <a:gdLst>
                <a:gd name="connsiteX0" fmla="*/ 316690 w 316690"/>
                <a:gd name="connsiteY0" fmla="*/ 0 h 316689"/>
                <a:gd name="connsiteX1" fmla="*/ 0 w 316690"/>
                <a:gd name="connsiteY1" fmla="*/ 316690 h 316689"/>
              </a:gdLst>
              <a:ahLst/>
              <a:cxnLst>
                <a:cxn ang="0">
                  <a:pos x="connsiteX0" y="connsiteY0"/>
                </a:cxn>
                <a:cxn ang="0">
                  <a:pos x="connsiteX1" y="connsiteY1"/>
                </a:cxn>
              </a:cxnLst>
              <a:rect l="l" t="t" r="r" b="b"/>
              <a:pathLst>
                <a:path w="316690" h="316689">
                  <a:moveTo>
                    <a:pt x="316690" y="0"/>
                  </a:moveTo>
                  <a:lnTo>
                    <a:pt x="0" y="316690"/>
                  </a:lnTo>
                </a:path>
              </a:pathLst>
            </a:custGeom>
            <a:ln w="9282" cap="flat">
              <a:solidFill>
                <a:srgbClr val="74BF4B"/>
              </a:solidFill>
              <a:prstDash val="solid"/>
              <a:miter/>
            </a:ln>
          </p:spPr>
          <p:txBody>
            <a:bodyPr rtlCol="0" anchor="ctr"/>
            <a:lstStyle/>
            <a:p>
              <a:endParaRPr lang="en-IN" dirty="0"/>
            </a:p>
          </p:txBody>
        </p:sp>
        <p:sp>
          <p:nvSpPr>
            <p:cNvPr id="110" name="Freeform: Shape 109">
              <a:extLst>
                <a:ext uri="{FF2B5EF4-FFF2-40B4-BE49-F238E27FC236}">
                  <a16:creationId xmlns:a16="http://schemas.microsoft.com/office/drawing/2014/main" id="{FED874D2-9E67-42D1-9013-22313187227D}"/>
                </a:ext>
              </a:extLst>
            </p:cNvPr>
            <p:cNvSpPr/>
            <p:nvPr/>
          </p:nvSpPr>
          <p:spPr>
            <a:xfrm>
              <a:off x="5776441" y="3464556"/>
              <a:ext cx="320415" cy="320415"/>
            </a:xfrm>
            <a:custGeom>
              <a:avLst/>
              <a:gdLst>
                <a:gd name="connsiteX0" fmla="*/ 0 w 320415"/>
                <a:gd name="connsiteY0" fmla="*/ 320416 h 320415"/>
                <a:gd name="connsiteX1" fmla="*/ 0 w 320415"/>
                <a:gd name="connsiteY1" fmla="*/ 320416 h 320415"/>
                <a:gd name="connsiteX2" fmla="*/ 320416 w 320415"/>
                <a:gd name="connsiteY2" fmla="*/ 0 h 320415"/>
                <a:gd name="connsiteX3" fmla="*/ 320416 w 320415"/>
                <a:gd name="connsiteY3" fmla="*/ 0 h 320415"/>
              </a:gdLst>
              <a:ahLst/>
              <a:cxnLst>
                <a:cxn ang="0">
                  <a:pos x="connsiteX0" y="connsiteY0"/>
                </a:cxn>
                <a:cxn ang="0">
                  <a:pos x="connsiteX1" y="connsiteY1"/>
                </a:cxn>
                <a:cxn ang="0">
                  <a:pos x="connsiteX2" y="connsiteY2"/>
                </a:cxn>
                <a:cxn ang="0">
                  <a:pos x="connsiteX3" y="connsiteY3"/>
                </a:cxn>
              </a:cxnLst>
              <a:rect l="l" t="t" r="r" b="b"/>
              <a:pathLst>
                <a:path w="320415" h="320415">
                  <a:moveTo>
                    <a:pt x="0" y="320416"/>
                  </a:moveTo>
                  <a:cubicBezTo>
                    <a:pt x="0" y="320416"/>
                    <a:pt x="0" y="320416"/>
                    <a:pt x="0" y="320416"/>
                  </a:cubicBezTo>
                  <a:lnTo>
                    <a:pt x="320416" y="0"/>
                  </a:lnTo>
                  <a:cubicBezTo>
                    <a:pt x="320416" y="0"/>
                    <a:pt x="320416" y="0"/>
                    <a:pt x="320416" y="0"/>
                  </a:cubicBezTo>
                </a:path>
              </a:pathLst>
            </a:custGeom>
            <a:noFill/>
            <a:ln w="9282" cap="flat">
              <a:solidFill>
                <a:srgbClr val="74BF4B"/>
              </a:solidFill>
              <a:prstDash val="solid"/>
              <a:miter/>
            </a:ln>
          </p:spPr>
          <p:txBody>
            <a:bodyPr rtlCol="0" anchor="ctr"/>
            <a:lstStyle/>
            <a:p>
              <a:endParaRPr lang="en-IN" dirty="0"/>
            </a:p>
          </p:txBody>
        </p:sp>
      </p:grpSp>
      <p:sp>
        <p:nvSpPr>
          <p:cNvPr id="25" name="Rectangle 24">
            <a:extLst>
              <a:ext uri="{FF2B5EF4-FFF2-40B4-BE49-F238E27FC236}">
                <a16:creationId xmlns:a16="http://schemas.microsoft.com/office/drawing/2014/main" id="{08941795-A0E2-44E7-B3F3-881049C0D496}"/>
              </a:ext>
            </a:extLst>
          </p:cNvPr>
          <p:cNvSpPr/>
          <p:nvPr/>
        </p:nvSpPr>
        <p:spPr>
          <a:xfrm>
            <a:off x="1" y="1993900"/>
            <a:ext cx="12192000" cy="3873500"/>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Footer Placeholder 3">
            <a:extLst>
              <a:ext uri="{FF2B5EF4-FFF2-40B4-BE49-F238E27FC236}">
                <a16:creationId xmlns:a16="http://schemas.microsoft.com/office/drawing/2014/main" id="{E608ACCD-924D-4D64-9E62-718B0CF8D282}"/>
              </a:ext>
            </a:extLst>
          </p:cNvPr>
          <p:cNvSpPr>
            <a:spLocks noGrp="1"/>
          </p:cNvSpPr>
          <p:nvPr>
            <p:ph type="ftr" sz="quarter" idx="10"/>
          </p:nvPr>
        </p:nvSpPr>
        <p:spPr/>
        <p:txBody>
          <a:bodyPr/>
          <a:lstStyle/>
          <a:p>
            <a:r>
              <a:rPr lang="en-US" dirty="0"/>
              <a:t>© 2020 Cisco and/or its affiliates. All rights reserved. Cisco Confidential</a:t>
            </a:r>
          </a:p>
        </p:txBody>
      </p:sp>
      <p:sp>
        <p:nvSpPr>
          <p:cNvPr id="2" name="Title 1">
            <a:extLst>
              <a:ext uri="{FF2B5EF4-FFF2-40B4-BE49-F238E27FC236}">
                <a16:creationId xmlns:a16="http://schemas.microsoft.com/office/drawing/2014/main" id="{975EC66A-ECCE-43EC-B704-92AB8C9C744E}"/>
              </a:ext>
            </a:extLst>
          </p:cNvPr>
          <p:cNvSpPr>
            <a:spLocks noGrp="1"/>
          </p:cNvSpPr>
          <p:nvPr>
            <p:ph type="title"/>
          </p:nvPr>
        </p:nvSpPr>
        <p:spPr>
          <a:xfrm>
            <a:off x="533400" y="481807"/>
            <a:ext cx="11127317" cy="393954"/>
          </a:xfrm>
        </p:spPr>
        <p:txBody>
          <a:bodyPr/>
          <a:lstStyle/>
          <a:p>
            <a:r>
              <a:rPr lang="en-US" sz="3200" dirty="0"/>
              <a:t>Next steps</a:t>
            </a:r>
          </a:p>
        </p:txBody>
      </p:sp>
      <p:sp>
        <p:nvSpPr>
          <p:cNvPr id="112" name="Freeform: Shape 111">
            <a:extLst>
              <a:ext uri="{FF2B5EF4-FFF2-40B4-BE49-F238E27FC236}">
                <a16:creationId xmlns:a16="http://schemas.microsoft.com/office/drawing/2014/main" id="{DA758195-799E-4EAB-92C5-884343EA7E11}"/>
              </a:ext>
            </a:extLst>
          </p:cNvPr>
          <p:cNvSpPr/>
          <p:nvPr/>
        </p:nvSpPr>
        <p:spPr>
          <a:xfrm>
            <a:off x="0" y="1640278"/>
            <a:ext cx="3022911" cy="2509707"/>
          </a:xfrm>
          <a:custGeom>
            <a:avLst/>
            <a:gdLst>
              <a:gd name="connsiteX0" fmla="*/ 674590 w 3022911"/>
              <a:gd name="connsiteY0" fmla="*/ 0 h 2509707"/>
              <a:gd name="connsiteX1" fmla="*/ 3022911 w 3022911"/>
              <a:gd name="connsiteY1" fmla="*/ 2348322 h 2509707"/>
              <a:gd name="connsiteX2" fmla="*/ 3014762 w 3022911"/>
              <a:gd name="connsiteY2" fmla="*/ 2509707 h 2509707"/>
              <a:gd name="connsiteX3" fmla="*/ 0 w 3022911"/>
              <a:gd name="connsiteY3" fmla="*/ 2509707 h 2509707"/>
              <a:gd name="connsiteX4" fmla="*/ 0 w 3022911"/>
              <a:gd name="connsiteY4" fmla="*/ 99475 h 2509707"/>
              <a:gd name="connsiteX5" fmla="*/ 201321 w 3022911"/>
              <a:gd name="connsiteY5" fmla="*/ 47710 h 2509707"/>
              <a:gd name="connsiteX6" fmla="*/ 674590 w 3022911"/>
              <a:gd name="connsiteY6" fmla="*/ 0 h 250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2911" h="2509707">
                <a:moveTo>
                  <a:pt x="674590" y="0"/>
                </a:moveTo>
                <a:cubicBezTo>
                  <a:pt x="1971532" y="0"/>
                  <a:pt x="3022911" y="1051379"/>
                  <a:pt x="3022911" y="2348322"/>
                </a:cubicBezTo>
                <a:lnTo>
                  <a:pt x="3014762" y="2509707"/>
                </a:lnTo>
                <a:lnTo>
                  <a:pt x="0" y="2509707"/>
                </a:lnTo>
                <a:lnTo>
                  <a:pt x="0" y="99475"/>
                </a:lnTo>
                <a:lnTo>
                  <a:pt x="201321" y="47710"/>
                </a:lnTo>
                <a:cubicBezTo>
                  <a:pt x="354191" y="16428"/>
                  <a:pt x="512472" y="0"/>
                  <a:pt x="674590" y="0"/>
                </a:cubicBezTo>
                <a:close/>
              </a:path>
            </a:pathLst>
          </a:custGeom>
          <a:solidFill>
            <a:srgbClr val="6CBE4C"/>
          </a:solidFill>
          <a:ln w="5175" cap="flat">
            <a:noFill/>
            <a:prstDash val="solid"/>
            <a:miter/>
          </a:ln>
        </p:spPr>
        <p:txBody>
          <a:bodyPr wrap="square" rtlCol="0" anchor="ctr">
            <a:noAutofit/>
          </a:bodyPr>
          <a:lstStyle/>
          <a:p>
            <a:endParaRPr lang="en-IN" dirty="0"/>
          </a:p>
        </p:txBody>
      </p:sp>
      <p:sp>
        <p:nvSpPr>
          <p:cNvPr id="18" name="Rectangle: Rounded Corners 17">
            <a:extLst>
              <a:ext uri="{FF2B5EF4-FFF2-40B4-BE49-F238E27FC236}">
                <a16:creationId xmlns:a16="http://schemas.microsoft.com/office/drawing/2014/main" id="{6EAED3FD-3144-4DA1-ABD9-94AA4B4A465E}"/>
              </a:ext>
            </a:extLst>
          </p:cNvPr>
          <p:cNvSpPr/>
          <p:nvPr/>
        </p:nvSpPr>
        <p:spPr>
          <a:xfrm>
            <a:off x="571499" y="1247202"/>
            <a:ext cx="6639378" cy="2857272"/>
          </a:xfrm>
          <a:custGeom>
            <a:avLst/>
            <a:gdLst>
              <a:gd name="connsiteX0" fmla="*/ 0 w 7213601"/>
              <a:gd name="connsiteY0" fmla="*/ 367117 h 5098144"/>
              <a:gd name="connsiteX1" fmla="*/ 367117 w 7213601"/>
              <a:gd name="connsiteY1" fmla="*/ 0 h 5098144"/>
              <a:gd name="connsiteX2" fmla="*/ 6846484 w 7213601"/>
              <a:gd name="connsiteY2" fmla="*/ 0 h 5098144"/>
              <a:gd name="connsiteX3" fmla="*/ 7213601 w 7213601"/>
              <a:gd name="connsiteY3" fmla="*/ 367117 h 5098144"/>
              <a:gd name="connsiteX4" fmla="*/ 7213601 w 7213601"/>
              <a:gd name="connsiteY4" fmla="*/ 4731027 h 5098144"/>
              <a:gd name="connsiteX5" fmla="*/ 6846484 w 7213601"/>
              <a:gd name="connsiteY5" fmla="*/ 5098144 h 5098144"/>
              <a:gd name="connsiteX6" fmla="*/ 367117 w 7213601"/>
              <a:gd name="connsiteY6" fmla="*/ 5098144 h 5098144"/>
              <a:gd name="connsiteX7" fmla="*/ 0 w 7213601"/>
              <a:gd name="connsiteY7" fmla="*/ 4731027 h 5098144"/>
              <a:gd name="connsiteX8" fmla="*/ 0 w 7213601"/>
              <a:gd name="connsiteY8" fmla="*/ 367117 h 5098144"/>
              <a:gd name="connsiteX0" fmla="*/ 6846484 w 7213601"/>
              <a:gd name="connsiteY0" fmla="*/ 5098144 h 5189584"/>
              <a:gd name="connsiteX1" fmla="*/ 367117 w 7213601"/>
              <a:gd name="connsiteY1" fmla="*/ 5098144 h 5189584"/>
              <a:gd name="connsiteX2" fmla="*/ 0 w 7213601"/>
              <a:gd name="connsiteY2" fmla="*/ 4731027 h 5189584"/>
              <a:gd name="connsiteX3" fmla="*/ 0 w 7213601"/>
              <a:gd name="connsiteY3" fmla="*/ 367117 h 5189584"/>
              <a:gd name="connsiteX4" fmla="*/ 367117 w 7213601"/>
              <a:gd name="connsiteY4" fmla="*/ 0 h 5189584"/>
              <a:gd name="connsiteX5" fmla="*/ 6846484 w 7213601"/>
              <a:gd name="connsiteY5" fmla="*/ 0 h 5189584"/>
              <a:gd name="connsiteX6" fmla="*/ 7213601 w 7213601"/>
              <a:gd name="connsiteY6" fmla="*/ 367117 h 5189584"/>
              <a:gd name="connsiteX7" fmla="*/ 7213601 w 7213601"/>
              <a:gd name="connsiteY7" fmla="*/ 4731027 h 5189584"/>
              <a:gd name="connsiteX8" fmla="*/ 6937924 w 7213601"/>
              <a:gd name="connsiteY8" fmla="*/ 5189584 h 5189584"/>
              <a:gd name="connsiteX0" fmla="*/ 6846484 w 7213601"/>
              <a:gd name="connsiteY0" fmla="*/ 5098144 h 5098144"/>
              <a:gd name="connsiteX1" fmla="*/ 367117 w 7213601"/>
              <a:gd name="connsiteY1" fmla="*/ 5098144 h 5098144"/>
              <a:gd name="connsiteX2" fmla="*/ 0 w 7213601"/>
              <a:gd name="connsiteY2" fmla="*/ 4731027 h 5098144"/>
              <a:gd name="connsiteX3" fmla="*/ 0 w 7213601"/>
              <a:gd name="connsiteY3" fmla="*/ 367117 h 5098144"/>
              <a:gd name="connsiteX4" fmla="*/ 367117 w 7213601"/>
              <a:gd name="connsiteY4" fmla="*/ 0 h 5098144"/>
              <a:gd name="connsiteX5" fmla="*/ 6846484 w 7213601"/>
              <a:gd name="connsiteY5" fmla="*/ 0 h 5098144"/>
              <a:gd name="connsiteX6" fmla="*/ 7213601 w 7213601"/>
              <a:gd name="connsiteY6" fmla="*/ 367117 h 5098144"/>
              <a:gd name="connsiteX7" fmla="*/ 7213601 w 7213601"/>
              <a:gd name="connsiteY7" fmla="*/ 4731027 h 5098144"/>
              <a:gd name="connsiteX0" fmla="*/ 6846484 w 7213601"/>
              <a:gd name="connsiteY0" fmla="*/ 5098144 h 5098144"/>
              <a:gd name="connsiteX1" fmla="*/ 367117 w 7213601"/>
              <a:gd name="connsiteY1" fmla="*/ 5098144 h 5098144"/>
              <a:gd name="connsiteX2" fmla="*/ 0 w 7213601"/>
              <a:gd name="connsiteY2" fmla="*/ 4731027 h 5098144"/>
              <a:gd name="connsiteX3" fmla="*/ 0 w 7213601"/>
              <a:gd name="connsiteY3" fmla="*/ 367117 h 5098144"/>
              <a:gd name="connsiteX4" fmla="*/ 367117 w 7213601"/>
              <a:gd name="connsiteY4" fmla="*/ 0 h 5098144"/>
              <a:gd name="connsiteX5" fmla="*/ 6846484 w 7213601"/>
              <a:gd name="connsiteY5" fmla="*/ 0 h 5098144"/>
              <a:gd name="connsiteX6" fmla="*/ 7213601 w 7213601"/>
              <a:gd name="connsiteY6" fmla="*/ 367117 h 5098144"/>
              <a:gd name="connsiteX0" fmla="*/ 6846484 w 6846484"/>
              <a:gd name="connsiteY0" fmla="*/ 5098144 h 5098144"/>
              <a:gd name="connsiteX1" fmla="*/ 367117 w 6846484"/>
              <a:gd name="connsiteY1" fmla="*/ 5098144 h 5098144"/>
              <a:gd name="connsiteX2" fmla="*/ 0 w 6846484"/>
              <a:gd name="connsiteY2" fmla="*/ 4731027 h 5098144"/>
              <a:gd name="connsiteX3" fmla="*/ 0 w 6846484"/>
              <a:gd name="connsiteY3" fmla="*/ 367117 h 5098144"/>
              <a:gd name="connsiteX4" fmla="*/ 367117 w 6846484"/>
              <a:gd name="connsiteY4" fmla="*/ 0 h 5098144"/>
              <a:gd name="connsiteX5" fmla="*/ 6846484 w 6846484"/>
              <a:gd name="connsiteY5" fmla="*/ 0 h 5098144"/>
              <a:gd name="connsiteX0" fmla="*/ 367117 w 6846484"/>
              <a:gd name="connsiteY0" fmla="*/ 5098144 h 5098144"/>
              <a:gd name="connsiteX1" fmla="*/ 0 w 6846484"/>
              <a:gd name="connsiteY1" fmla="*/ 4731027 h 5098144"/>
              <a:gd name="connsiteX2" fmla="*/ 0 w 6846484"/>
              <a:gd name="connsiteY2" fmla="*/ 367117 h 5098144"/>
              <a:gd name="connsiteX3" fmla="*/ 367117 w 6846484"/>
              <a:gd name="connsiteY3" fmla="*/ 0 h 5098144"/>
              <a:gd name="connsiteX4" fmla="*/ 6846484 w 6846484"/>
              <a:gd name="connsiteY4" fmla="*/ 0 h 5098144"/>
              <a:gd name="connsiteX0" fmla="*/ 0 w 6846484"/>
              <a:gd name="connsiteY0" fmla="*/ 4731027 h 4731027"/>
              <a:gd name="connsiteX1" fmla="*/ 0 w 6846484"/>
              <a:gd name="connsiteY1" fmla="*/ 367117 h 4731027"/>
              <a:gd name="connsiteX2" fmla="*/ 367117 w 6846484"/>
              <a:gd name="connsiteY2" fmla="*/ 0 h 4731027"/>
              <a:gd name="connsiteX3" fmla="*/ 6846484 w 6846484"/>
              <a:gd name="connsiteY3" fmla="*/ 0 h 4731027"/>
              <a:gd name="connsiteX0" fmla="*/ 0 w 6846484"/>
              <a:gd name="connsiteY0" fmla="*/ 4731027 h 4731027"/>
              <a:gd name="connsiteX1" fmla="*/ 1 w 6846484"/>
              <a:gd name="connsiteY1" fmla="*/ 2946401 h 4731027"/>
              <a:gd name="connsiteX2" fmla="*/ 0 w 6846484"/>
              <a:gd name="connsiteY2" fmla="*/ 367117 h 4731027"/>
              <a:gd name="connsiteX3" fmla="*/ 367117 w 6846484"/>
              <a:gd name="connsiteY3" fmla="*/ 0 h 4731027"/>
              <a:gd name="connsiteX4" fmla="*/ 6846484 w 6846484"/>
              <a:gd name="connsiteY4" fmla="*/ 0 h 4731027"/>
              <a:gd name="connsiteX0" fmla="*/ 1 w 6846484"/>
              <a:gd name="connsiteY0" fmla="*/ 2946401 h 2946401"/>
              <a:gd name="connsiteX1" fmla="*/ 0 w 6846484"/>
              <a:gd name="connsiteY1" fmla="*/ 367117 h 2946401"/>
              <a:gd name="connsiteX2" fmla="*/ 367117 w 6846484"/>
              <a:gd name="connsiteY2" fmla="*/ 0 h 2946401"/>
              <a:gd name="connsiteX3" fmla="*/ 6846484 w 6846484"/>
              <a:gd name="connsiteY3" fmla="*/ 0 h 2946401"/>
            </a:gdLst>
            <a:ahLst/>
            <a:cxnLst>
              <a:cxn ang="0">
                <a:pos x="connsiteX0" y="connsiteY0"/>
              </a:cxn>
              <a:cxn ang="0">
                <a:pos x="connsiteX1" y="connsiteY1"/>
              </a:cxn>
              <a:cxn ang="0">
                <a:pos x="connsiteX2" y="connsiteY2"/>
              </a:cxn>
              <a:cxn ang="0">
                <a:pos x="connsiteX3" y="connsiteY3"/>
              </a:cxn>
            </a:cxnLst>
            <a:rect l="l" t="t" r="r" b="b"/>
            <a:pathLst>
              <a:path w="6846484" h="2946401">
                <a:moveTo>
                  <a:pt x="1" y="2946401"/>
                </a:moveTo>
                <a:cubicBezTo>
                  <a:pt x="1" y="2086640"/>
                  <a:pt x="0" y="1226878"/>
                  <a:pt x="0" y="367117"/>
                </a:cubicBezTo>
                <a:cubicBezTo>
                  <a:pt x="0" y="164364"/>
                  <a:pt x="164364" y="0"/>
                  <a:pt x="367117" y="0"/>
                </a:cubicBezTo>
                <a:lnTo>
                  <a:pt x="6846484" y="0"/>
                </a:lnTo>
              </a:path>
            </a:pathLst>
          </a:custGeom>
          <a:noFill/>
          <a:ln>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3" name="Freeform: Shape 112">
            <a:extLst>
              <a:ext uri="{FF2B5EF4-FFF2-40B4-BE49-F238E27FC236}">
                <a16:creationId xmlns:a16="http://schemas.microsoft.com/office/drawing/2014/main" id="{73A141EB-7E16-48B6-BFB7-BBDA3FAB6CD7}"/>
              </a:ext>
            </a:extLst>
          </p:cNvPr>
          <p:cNvSpPr/>
          <p:nvPr/>
        </p:nvSpPr>
        <p:spPr>
          <a:xfrm>
            <a:off x="0" y="3464185"/>
            <a:ext cx="3621821" cy="1466590"/>
          </a:xfrm>
          <a:custGeom>
            <a:avLst/>
            <a:gdLst>
              <a:gd name="connsiteX0" fmla="*/ 0 w 3621821"/>
              <a:gd name="connsiteY0" fmla="*/ 0 h 1466590"/>
              <a:gd name="connsiteX1" fmla="*/ 3377384 w 3621821"/>
              <a:gd name="connsiteY1" fmla="*/ 0 h 1466590"/>
              <a:gd name="connsiteX2" fmla="*/ 3621821 w 3621821"/>
              <a:gd name="connsiteY2" fmla="*/ 244437 h 1466590"/>
              <a:gd name="connsiteX3" fmla="*/ 3621821 w 3621821"/>
              <a:gd name="connsiteY3" fmla="*/ 1222153 h 1466590"/>
              <a:gd name="connsiteX4" fmla="*/ 3377384 w 3621821"/>
              <a:gd name="connsiteY4" fmla="*/ 1466590 h 1466590"/>
              <a:gd name="connsiteX5" fmla="*/ 0 w 3621821"/>
              <a:gd name="connsiteY5" fmla="*/ 1466590 h 1466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1821" h="1466590">
                <a:moveTo>
                  <a:pt x="0" y="0"/>
                </a:moveTo>
                <a:lnTo>
                  <a:pt x="3377384" y="0"/>
                </a:lnTo>
                <a:cubicBezTo>
                  <a:pt x="3512383" y="0"/>
                  <a:pt x="3621821" y="109438"/>
                  <a:pt x="3621821" y="244437"/>
                </a:cubicBezTo>
                <a:lnTo>
                  <a:pt x="3621821" y="1222153"/>
                </a:lnTo>
                <a:cubicBezTo>
                  <a:pt x="3621821" y="1357152"/>
                  <a:pt x="3512383" y="1466590"/>
                  <a:pt x="3377384" y="1466590"/>
                </a:cubicBezTo>
                <a:lnTo>
                  <a:pt x="0" y="1466590"/>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21" name="Group 20">
            <a:extLst>
              <a:ext uri="{FF2B5EF4-FFF2-40B4-BE49-F238E27FC236}">
                <a16:creationId xmlns:a16="http://schemas.microsoft.com/office/drawing/2014/main" id="{A52DDFC0-EF18-401E-A881-9D462039C9DA}"/>
              </a:ext>
            </a:extLst>
          </p:cNvPr>
          <p:cNvGrpSpPr/>
          <p:nvPr/>
        </p:nvGrpSpPr>
        <p:grpSpPr>
          <a:xfrm>
            <a:off x="2564722" y="4498845"/>
            <a:ext cx="1085298" cy="845716"/>
            <a:chOff x="2324652" y="4102359"/>
            <a:chExt cx="1761539" cy="1372676"/>
          </a:xfrm>
        </p:grpSpPr>
        <p:sp>
          <p:nvSpPr>
            <p:cNvPr id="15" name="Freeform: Shape 14">
              <a:extLst>
                <a:ext uri="{FF2B5EF4-FFF2-40B4-BE49-F238E27FC236}">
                  <a16:creationId xmlns:a16="http://schemas.microsoft.com/office/drawing/2014/main" id="{B0201043-D908-4613-BFB0-68358DFB3CF2}"/>
                </a:ext>
              </a:extLst>
            </p:cNvPr>
            <p:cNvSpPr/>
            <p:nvPr/>
          </p:nvSpPr>
          <p:spPr>
            <a:xfrm>
              <a:off x="2324652" y="4102359"/>
              <a:ext cx="1276346" cy="1372676"/>
            </a:xfrm>
            <a:custGeom>
              <a:avLst/>
              <a:gdLst>
                <a:gd name="connsiteX0" fmla="*/ 811646 w 862968"/>
                <a:gd name="connsiteY0" fmla="*/ 551795 h 928099"/>
                <a:gd name="connsiteX1" fmla="*/ 150421 w 862968"/>
                <a:gd name="connsiteY1" fmla="*/ 915311 h 928099"/>
                <a:gd name="connsiteX2" fmla="*/ 0 w 862968"/>
                <a:gd name="connsiteY2" fmla="*/ 827566 h 928099"/>
                <a:gd name="connsiteX3" fmla="*/ 0 w 862968"/>
                <a:gd name="connsiteY3" fmla="*/ 100533 h 928099"/>
                <a:gd name="connsiteX4" fmla="*/ 150421 w 862968"/>
                <a:gd name="connsiteY4" fmla="*/ 12788 h 928099"/>
                <a:gd name="connsiteX5" fmla="*/ 808512 w 862968"/>
                <a:gd name="connsiteY5" fmla="*/ 376304 h 928099"/>
                <a:gd name="connsiteX6" fmla="*/ 811646 w 862968"/>
                <a:gd name="connsiteY6" fmla="*/ 551795 h 92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2968" h="928099">
                  <a:moveTo>
                    <a:pt x="811646" y="551795"/>
                  </a:moveTo>
                  <a:lnTo>
                    <a:pt x="150421" y="915311"/>
                  </a:lnTo>
                  <a:cubicBezTo>
                    <a:pt x="84612" y="952916"/>
                    <a:pt x="0" y="902776"/>
                    <a:pt x="0" y="827566"/>
                  </a:cubicBezTo>
                  <a:lnTo>
                    <a:pt x="0" y="100533"/>
                  </a:lnTo>
                  <a:cubicBezTo>
                    <a:pt x="0" y="25323"/>
                    <a:pt x="81478" y="-24817"/>
                    <a:pt x="150421" y="12788"/>
                  </a:cubicBezTo>
                  <a:lnTo>
                    <a:pt x="808512" y="376304"/>
                  </a:lnTo>
                  <a:cubicBezTo>
                    <a:pt x="880589" y="413909"/>
                    <a:pt x="880589" y="514190"/>
                    <a:pt x="811646" y="551795"/>
                  </a:cubicBezTo>
                  <a:close/>
                </a:path>
              </a:pathLst>
            </a:custGeom>
            <a:noFill/>
            <a:ln w="31296" cap="flat">
              <a:solidFill>
                <a:schemeClr val="accent1"/>
              </a:solidFill>
              <a:prstDash val="solid"/>
              <a:miter/>
            </a:ln>
          </p:spPr>
          <p:txBody>
            <a:bodyPr rtlCol="0" anchor="ctr"/>
            <a:lstStyle/>
            <a:p>
              <a:endParaRPr lang="en-IN" dirty="0"/>
            </a:p>
          </p:txBody>
        </p:sp>
        <p:sp>
          <p:nvSpPr>
            <p:cNvPr id="16" name="Freeform: Shape 15">
              <a:extLst>
                <a:ext uri="{FF2B5EF4-FFF2-40B4-BE49-F238E27FC236}">
                  <a16:creationId xmlns:a16="http://schemas.microsoft.com/office/drawing/2014/main" id="{FFDEB1CF-24C2-45C9-98B4-6BFBAF396AF1}"/>
                </a:ext>
              </a:extLst>
            </p:cNvPr>
            <p:cNvSpPr/>
            <p:nvPr/>
          </p:nvSpPr>
          <p:spPr>
            <a:xfrm>
              <a:off x="2809845" y="4102359"/>
              <a:ext cx="1276346" cy="1372676"/>
            </a:xfrm>
            <a:custGeom>
              <a:avLst/>
              <a:gdLst>
                <a:gd name="connsiteX0" fmla="*/ 811646 w 862968"/>
                <a:gd name="connsiteY0" fmla="*/ 551795 h 928099"/>
                <a:gd name="connsiteX1" fmla="*/ 150421 w 862968"/>
                <a:gd name="connsiteY1" fmla="*/ 915311 h 928099"/>
                <a:gd name="connsiteX2" fmla="*/ 0 w 862968"/>
                <a:gd name="connsiteY2" fmla="*/ 827566 h 928099"/>
                <a:gd name="connsiteX3" fmla="*/ 0 w 862968"/>
                <a:gd name="connsiteY3" fmla="*/ 100533 h 928099"/>
                <a:gd name="connsiteX4" fmla="*/ 150421 w 862968"/>
                <a:gd name="connsiteY4" fmla="*/ 12788 h 928099"/>
                <a:gd name="connsiteX5" fmla="*/ 808512 w 862968"/>
                <a:gd name="connsiteY5" fmla="*/ 376304 h 928099"/>
                <a:gd name="connsiteX6" fmla="*/ 811646 w 862968"/>
                <a:gd name="connsiteY6" fmla="*/ 551795 h 92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2968" h="928099">
                  <a:moveTo>
                    <a:pt x="811646" y="551795"/>
                  </a:moveTo>
                  <a:lnTo>
                    <a:pt x="150421" y="915311"/>
                  </a:lnTo>
                  <a:cubicBezTo>
                    <a:pt x="84612" y="952916"/>
                    <a:pt x="0" y="902776"/>
                    <a:pt x="0" y="827566"/>
                  </a:cubicBezTo>
                  <a:lnTo>
                    <a:pt x="0" y="100533"/>
                  </a:lnTo>
                  <a:cubicBezTo>
                    <a:pt x="0" y="25323"/>
                    <a:pt x="81478" y="-24817"/>
                    <a:pt x="150421" y="12788"/>
                  </a:cubicBezTo>
                  <a:lnTo>
                    <a:pt x="808512" y="376304"/>
                  </a:lnTo>
                  <a:cubicBezTo>
                    <a:pt x="880589" y="413909"/>
                    <a:pt x="880589" y="514190"/>
                    <a:pt x="811646" y="551795"/>
                  </a:cubicBezTo>
                  <a:close/>
                </a:path>
              </a:pathLst>
            </a:custGeom>
            <a:noFill/>
            <a:ln w="31296" cap="flat">
              <a:solidFill>
                <a:schemeClr val="accent2"/>
              </a:solidFill>
              <a:prstDash val="solid"/>
              <a:miter/>
            </a:ln>
          </p:spPr>
          <p:txBody>
            <a:bodyPr rtlCol="0" anchor="ctr"/>
            <a:lstStyle/>
            <a:p>
              <a:endParaRPr lang="en-IN" dirty="0"/>
            </a:p>
          </p:txBody>
        </p:sp>
      </p:grpSp>
      <p:sp>
        <p:nvSpPr>
          <p:cNvPr id="11" name="Rectangle: Rounded Corners 10">
            <a:extLst>
              <a:ext uri="{FF2B5EF4-FFF2-40B4-BE49-F238E27FC236}">
                <a16:creationId xmlns:a16="http://schemas.microsoft.com/office/drawing/2014/main" id="{5AC4F369-C491-4550-B9EE-4D8ADFFA50AE}"/>
              </a:ext>
            </a:extLst>
          </p:cNvPr>
          <p:cNvSpPr/>
          <p:nvPr/>
        </p:nvSpPr>
        <p:spPr>
          <a:xfrm>
            <a:off x="7210877" y="609600"/>
            <a:ext cx="5365904" cy="5631544"/>
          </a:xfrm>
          <a:custGeom>
            <a:avLst/>
            <a:gdLst>
              <a:gd name="connsiteX0" fmla="*/ 0 w 5631544"/>
              <a:gd name="connsiteY0" fmla="*/ 265640 h 5631544"/>
              <a:gd name="connsiteX1" fmla="*/ 265640 w 5631544"/>
              <a:gd name="connsiteY1" fmla="*/ 0 h 5631544"/>
              <a:gd name="connsiteX2" fmla="*/ 5365904 w 5631544"/>
              <a:gd name="connsiteY2" fmla="*/ 0 h 5631544"/>
              <a:gd name="connsiteX3" fmla="*/ 5631544 w 5631544"/>
              <a:gd name="connsiteY3" fmla="*/ 265640 h 5631544"/>
              <a:gd name="connsiteX4" fmla="*/ 5631544 w 5631544"/>
              <a:gd name="connsiteY4" fmla="*/ 5365904 h 5631544"/>
              <a:gd name="connsiteX5" fmla="*/ 5365904 w 5631544"/>
              <a:gd name="connsiteY5" fmla="*/ 5631544 h 5631544"/>
              <a:gd name="connsiteX6" fmla="*/ 265640 w 5631544"/>
              <a:gd name="connsiteY6" fmla="*/ 5631544 h 5631544"/>
              <a:gd name="connsiteX7" fmla="*/ 0 w 5631544"/>
              <a:gd name="connsiteY7" fmla="*/ 5365904 h 5631544"/>
              <a:gd name="connsiteX8" fmla="*/ 0 w 5631544"/>
              <a:gd name="connsiteY8" fmla="*/ 265640 h 5631544"/>
              <a:gd name="connsiteX0" fmla="*/ 5631544 w 5722984"/>
              <a:gd name="connsiteY0" fmla="*/ 265640 h 5631544"/>
              <a:gd name="connsiteX1" fmla="*/ 5631544 w 5722984"/>
              <a:gd name="connsiteY1" fmla="*/ 5365904 h 5631544"/>
              <a:gd name="connsiteX2" fmla="*/ 5365904 w 5722984"/>
              <a:gd name="connsiteY2" fmla="*/ 5631544 h 5631544"/>
              <a:gd name="connsiteX3" fmla="*/ 265640 w 5722984"/>
              <a:gd name="connsiteY3" fmla="*/ 5631544 h 5631544"/>
              <a:gd name="connsiteX4" fmla="*/ 0 w 5722984"/>
              <a:gd name="connsiteY4" fmla="*/ 5365904 h 5631544"/>
              <a:gd name="connsiteX5" fmla="*/ 0 w 5722984"/>
              <a:gd name="connsiteY5" fmla="*/ 265640 h 5631544"/>
              <a:gd name="connsiteX6" fmla="*/ 265640 w 5722984"/>
              <a:gd name="connsiteY6" fmla="*/ 0 h 5631544"/>
              <a:gd name="connsiteX7" fmla="*/ 5365904 w 5722984"/>
              <a:gd name="connsiteY7" fmla="*/ 0 h 5631544"/>
              <a:gd name="connsiteX8" fmla="*/ 5722984 w 5722984"/>
              <a:gd name="connsiteY8" fmla="*/ 357080 h 5631544"/>
              <a:gd name="connsiteX0" fmla="*/ 5631544 w 5722984"/>
              <a:gd name="connsiteY0" fmla="*/ 5365904 h 5631544"/>
              <a:gd name="connsiteX1" fmla="*/ 5365904 w 5722984"/>
              <a:gd name="connsiteY1" fmla="*/ 5631544 h 5631544"/>
              <a:gd name="connsiteX2" fmla="*/ 265640 w 5722984"/>
              <a:gd name="connsiteY2" fmla="*/ 5631544 h 5631544"/>
              <a:gd name="connsiteX3" fmla="*/ 0 w 5722984"/>
              <a:gd name="connsiteY3" fmla="*/ 5365904 h 5631544"/>
              <a:gd name="connsiteX4" fmla="*/ 0 w 5722984"/>
              <a:gd name="connsiteY4" fmla="*/ 265640 h 5631544"/>
              <a:gd name="connsiteX5" fmla="*/ 265640 w 5722984"/>
              <a:gd name="connsiteY5" fmla="*/ 0 h 5631544"/>
              <a:gd name="connsiteX6" fmla="*/ 5365904 w 5722984"/>
              <a:gd name="connsiteY6" fmla="*/ 0 h 5631544"/>
              <a:gd name="connsiteX7" fmla="*/ 5722984 w 5722984"/>
              <a:gd name="connsiteY7" fmla="*/ 357080 h 5631544"/>
              <a:gd name="connsiteX0" fmla="*/ 5631544 w 5631544"/>
              <a:gd name="connsiteY0" fmla="*/ 5365904 h 5631544"/>
              <a:gd name="connsiteX1" fmla="*/ 5365904 w 5631544"/>
              <a:gd name="connsiteY1" fmla="*/ 5631544 h 5631544"/>
              <a:gd name="connsiteX2" fmla="*/ 265640 w 5631544"/>
              <a:gd name="connsiteY2" fmla="*/ 5631544 h 5631544"/>
              <a:gd name="connsiteX3" fmla="*/ 0 w 5631544"/>
              <a:gd name="connsiteY3" fmla="*/ 5365904 h 5631544"/>
              <a:gd name="connsiteX4" fmla="*/ 0 w 5631544"/>
              <a:gd name="connsiteY4" fmla="*/ 265640 h 5631544"/>
              <a:gd name="connsiteX5" fmla="*/ 265640 w 5631544"/>
              <a:gd name="connsiteY5" fmla="*/ 0 h 5631544"/>
              <a:gd name="connsiteX6" fmla="*/ 5365904 w 5631544"/>
              <a:gd name="connsiteY6" fmla="*/ 0 h 5631544"/>
              <a:gd name="connsiteX0" fmla="*/ 5365904 w 5365904"/>
              <a:gd name="connsiteY0" fmla="*/ 5631544 h 5631544"/>
              <a:gd name="connsiteX1" fmla="*/ 265640 w 5365904"/>
              <a:gd name="connsiteY1" fmla="*/ 5631544 h 5631544"/>
              <a:gd name="connsiteX2" fmla="*/ 0 w 5365904"/>
              <a:gd name="connsiteY2" fmla="*/ 5365904 h 5631544"/>
              <a:gd name="connsiteX3" fmla="*/ 0 w 5365904"/>
              <a:gd name="connsiteY3" fmla="*/ 265640 h 5631544"/>
              <a:gd name="connsiteX4" fmla="*/ 265640 w 5365904"/>
              <a:gd name="connsiteY4" fmla="*/ 0 h 5631544"/>
              <a:gd name="connsiteX5" fmla="*/ 5365904 w 5365904"/>
              <a:gd name="connsiteY5" fmla="*/ 0 h 5631544"/>
              <a:gd name="connsiteX0" fmla="*/ 265640 w 5365904"/>
              <a:gd name="connsiteY0" fmla="*/ 5631544 h 5631544"/>
              <a:gd name="connsiteX1" fmla="*/ 0 w 5365904"/>
              <a:gd name="connsiteY1" fmla="*/ 5365904 h 5631544"/>
              <a:gd name="connsiteX2" fmla="*/ 0 w 5365904"/>
              <a:gd name="connsiteY2" fmla="*/ 265640 h 5631544"/>
              <a:gd name="connsiteX3" fmla="*/ 265640 w 5365904"/>
              <a:gd name="connsiteY3" fmla="*/ 0 h 5631544"/>
              <a:gd name="connsiteX4" fmla="*/ 5365904 w 5365904"/>
              <a:gd name="connsiteY4" fmla="*/ 0 h 5631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5904" h="5631544">
                <a:moveTo>
                  <a:pt x="265640" y="5631544"/>
                </a:moveTo>
                <a:cubicBezTo>
                  <a:pt x="118931" y="5631544"/>
                  <a:pt x="0" y="5512613"/>
                  <a:pt x="0" y="5365904"/>
                </a:cubicBezTo>
                <a:lnTo>
                  <a:pt x="0" y="265640"/>
                </a:lnTo>
                <a:cubicBezTo>
                  <a:pt x="0" y="118931"/>
                  <a:pt x="118931" y="0"/>
                  <a:pt x="265640" y="0"/>
                </a:cubicBezTo>
                <a:lnTo>
                  <a:pt x="5365904" y="0"/>
                </a:lnTo>
              </a:path>
            </a:pathLst>
          </a:cu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Freeform: Shape 19">
            <a:extLst>
              <a:ext uri="{FF2B5EF4-FFF2-40B4-BE49-F238E27FC236}">
                <a16:creationId xmlns:a16="http://schemas.microsoft.com/office/drawing/2014/main" id="{E4F3314C-9971-4F26-A6A8-0A8CC601F27A}"/>
              </a:ext>
            </a:extLst>
          </p:cNvPr>
          <p:cNvSpPr/>
          <p:nvPr/>
        </p:nvSpPr>
        <p:spPr>
          <a:xfrm>
            <a:off x="571499" y="3902075"/>
            <a:ext cx="615536" cy="661994"/>
          </a:xfrm>
          <a:custGeom>
            <a:avLst/>
            <a:gdLst>
              <a:gd name="connsiteX0" fmla="*/ 811646 w 862968"/>
              <a:gd name="connsiteY0" fmla="*/ 551795 h 928099"/>
              <a:gd name="connsiteX1" fmla="*/ 150421 w 862968"/>
              <a:gd name="connsiteY1" fmla="*/ 915311 h 928099"/>
              <a:gd name="connsiteX2" fmla="*/ 0 w 862968"/>
              <a:gd name="connsiteY2" fmla="*/ 827566 h 928099"/>
              <a:gd name="connsiteX3" fmla="*/ 0 w 862968"/>
              <a:gd name="connsiteY3" fmla="*/ 100533 h 928099"/>
              <a:gd name="connsiteX4" fmla="*/ 150421 w 862968"/>
              <a:gd name="connsiteY4" fmla="*/ 12788 h 928099"/>
              <a:gd name="connsiteX5" fmla="*/ 808512 w 862968"/>
              <a:gd name="connsiteY5" fmla="*/ 376304 h 928099"/>
              <a:gd name="connsiteX6" fmla="*/ 811646 w 862968"/>
              <a:gd name="connsiteY6" fmla="*/ 551795 h 92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2968" h="928099">
                <a:moveTo>
                  <a:pt x="811646" y="551795"/>
                </a:moveTo>
                <a:lnTo>
                  <a:pt x="150421" y="915311"/>
                </a:lnTo>
                <a:cubicBezTo>
                  <a:pt x="84612" y="952916"/>
                  <a:pt x="0" y="902776"/>
                  <a:pt x="0" y="827566"/>
                </a:cubicBezTo>
                <a:lnTo>
                  <a:pt x="0" y="100533"/>
                </a:lnTo>
                <a:cubicBezTo>
                  <a:pt x="0" y="25323"/>
                  <a:pt x="81478" y="-24817"/>
                  <a:pt x="150421" y="12788"/>
                </a:cubicBezTo>
                <a:lnTo>
                  <a:pt x="808512" y="376304"/>
                </a:lnTo>
                <a:cubicBezTo>
                  <a:pt x="880589" y="413909"/>
                  <a:pt x="880589" y="514190"/>
                  <a:pt x="811646" y="551795"/>
                </a:cubicBezTo>
                <a:close/>
              </a:path>
            </a:pathLst>
          </a:custGeom>
          <a:solidFill>
            <a:schemeClr val="accent1"/>
          </a:solidFill>
          <a:ln w="31296" cap="flat">
            <a:noFill/>
            <a:prstDash val="solid"/>
            <a:miter/>
          </a:ln>
        </p:spPr>
        <p:txBody>
          <a:bodyPr rtlCol="0" anchor="ctr"/>
          <a:lstStyle/>
          <a:p>
            <a:endParaRPr lang="en-IN" dirty="0"/>
          </a:p>
        </p:txBody>
      </p:sp>
      <p:sp>
        <p:nvSpPr>
          <p:cNvPr id="27" name="Rectangle 26">
            <a:extLst>
              <a:ext uri="{FF2B5EF4-FFF2-40B4-BE49-F238E27FC236}">
                <a16:creationId xmlns:a16="http://schemas.microsoft.com/office/drawing/2014/main" id="{8CE39D2C-D2D5-47A0-AD70-234485FCF10E}"/>
              </a:ext>
            </a:extLst>
          </p:cNvPr>
          <p:cNvSpPr/>
          <p:nvPr/>
        </p:nvSpPr>
        <p:spPr>
          <a:xfrm>
            <a:off x="3726642" y="2406134"/>
            <a:ext cx="1291581" cy="400566"/>
          </a:xfrm>
          <a:prstGeom prst="rect">
            <a:avLst/>
          </a:prstGeom>
        </p:spPr>
        <p:txBody>
          <a:bodyPr wrap="none" lIns="0" tIns="0" rIns="0" bIns="0">
            <a:noAutofit/>
          </a:bodyPr>
          <a:lstStyle/>
          <a:p>
            <a:pPr fontAlgn="ctr"/>
            <a:r>
              <a:rPr lang="en-US" sz="2800" dirty="0">
                <a:solidFill>
                  <a:schemeClr val="tx2"/>
                </a:solidFill>
              </a:rPr>
              <a:t>Get started today</a:t>
            </a:r>
          </a:p>
        </p:txBody>
      </p:sp>
      <p:sp>
        <p:nvSpPr>
          <p:cNvPr id="28" name="Rectangle 27">
            <a:extLst>
              <a:ext uri="{FF2B5EF4-FFF2-40B4-BE49-F238E27FC236}">
                <a16:creationId xmlns:a16="http://schemas.microsoft.com/office/drawing/2014/main" id="{E5CFB845-7A05-4BED-B7A8-DE4984523582}"/>
              </a:ext>
            </a:extLst>
          </p:cNvPr>
          <p:cNvSpPr/>
          <p:nvPr/>
        </p:nvSpPr>
        <p:spPr>
          <a:xfrm>
            <a:off x="3730075" y="2997201"/>
            <a:ext cx="2501905" cy="2567074"/>
          </a:xfrm>
          <a:prstGeom prst="rect">
            <a:avLst/>
          </a:prstGeom>
        </p:spPr>
        <p:txBody>
          <a:bodyPr wrap="none" lIns="0" tIns="0" rIns="0" bIns="0" anchor="t">
            <a:noAutofit/>
          </a:bodyPr>
          <a:lstStyle/>
          <a:p>
            <a:pPr fontAlgn="ctr">
              <a:spcBef>
                <a:spcPts val="1200"/>
              </a:spcBef>
            </a:pPr>
            <a:r>
              <a:rPr lang="en-US" dirty="0">
                <a:solidFill>
                  <a:schemeClr val="accent1"/>
                </a:solidFill>
                <a:hlinkClick r:id="rId2"/>
              </a:rPr>
              <a:t>Free Trial</a:t>
            </a:r>
            <a:endParaRPr lang="en-US" dirty="0">
              <a:solidFill>
                <a:schemeClr val="accent1"/>
              </a:solidFill>
            </a:endParaRPr>
          </a:p>
          <a:p>
            <a:pPr fontAlgn="ctr">
              <a:spcBef>
                <a:spcPts val="1200"/>
              </a:spcBef>
            </a:pPr>
            <a:r>
              <a:rPr lang="en-US" dirty="0">
                <a:solidFill>
                  <a:schemeClr val="accent1"/>
                </a:solidFill>
                <a:hlinkClick r:id="rId3"/>
              </a:rPr>
              <a:t>Offer details</a:t>
            </a:r>
            <a:endParaRPr lang="en-US" dirty="0">
              <a:solidFill>
                <a:schemeClr val="accent1"/>
              </a:solidFill>
            </a:endParaRPr>
          </a:p>
          <a:p>
            <a:pPr fontAlgn="ctr">
              <a:spcBef>
                <a:spcPts val="1200"/>
              </a:spcBef>
            </a:pPr>
            <a:endParaRPr lang="en-US" dirty="0">
              <a:solidFill>
                <a:schemeClr val="accent1"/>
              </a:solidFill>
            </a:endParaRPr>
          </a:p>
          <a:p>
            <a:pPr fontAlgn="ctr">
              <a:spcBef>
                <a:spcPts val="1200"/>
              </a:spcBef>
            </a:pPr>
            <a:endParaRPr lang="en-US" dirty="0">
              <a:solidFill>
                <a:schemeClr val="accent1"/>
              </a:solidFill>
            </a:endParaRPr>
          </a:p>
          <a:p>
            <a:pPr fontAlgn="ctr">
              <a:spcBef>
                <a:spcPts val="1200"/>
              </a:spcBef>
            </a:pPr>
            <a:endParaRPr lang="en-US" dirty="0">
              <a:solidFill>
                <a:schemeClr val="accent1"/>
              </a:solidFill>
            </a:endParaRPr>
          </a:p>
          <a:p>
            <a:pPr fontAlgn="ctr">
              <a:spcBef>
                <a:spcPts val="1200"/>
              </a:spcBef>
            </a:pPr>
            <a:endParaRPr lang="en-US" dirty="0">
              <a:solidFill>
                <a:schemeClr val="accent1"/>
              </a:solidFill>
            </a:endParaRPr>
          </a:p>
        </p:txBody>
      </p:sp>
      <p:sp>
        <p:nvSpPr>
          <p:cNvPr id="29" name="Rectangle 28">
            <a:extLst>
              <a:ext uri="{FF2B5EF4-FFF2-40B4-BE49-F238E27FC236}">
                <a16:creationId xmlns:a16="http://schemas.microsoft.com/office/drawing/2014/main" id="{AD4E03D1-8F57-4FDB-AB13-0CF32FE1C9FE}"/>
              </a:ext>
            </a:extLst>
          </p:cNvPr>
          <p:cNvSpPr/>
          <p:nvPr/>
        </p:nvSpPr>
        <p:spPr>
          <a:xfrm>
            <a:off x="7471419" y="2406134"/>
            <a:ext cx="1291581" cy="400566"/>
          </a:xfrm>
          <a:prstGeom prst="rect">
            <a:avLst/>
          </a:prstGeom>
        </p:spPr>
        <p:txBody>
          <a:bodyPr wrap="none" lIns="0" tIns="0" rIns="0" bIns="0">
            <a:noAutofit/>
          </a:bodyPr>
          <a:lstStyle/>
          <a:p>
            <a:pPr fontAlgn="ctr"/>
            <a:r>
              <a:rPr lang="en-US" sz="2800" dirty="0">
                <a:solidFill>
                  <a:schemeClr val="tx2"/>
                </a:solidFill>
              </a:rPr>
              <a:t>Resources </a:t>
            </a:r>
          </a:p>
        </p:txBody>
      </p:sp>
      <p:sp>
        <p:nvSpPr>
          <p:cNvPr id="30" name="Rectangle 29">
            <a:extLst>
              <a:ext uri="{FF2B5EF4-FFF2-40B4-BE49-F238E27FC236}">
                <a16:creationId xmlns:a16="http://schemas.microsoft.com/office/drawing/2014/main" id="{6310D175-E9FA-48E7-A252-C66841704C82}"/>
              </a:ext>
            </a:extLst>
          </p:cNvPr>
          <p:cNvSpPr/>
          <p:nvPr/>
        </p:nvSpPr>
        <p:spPr>
          <a:xfrm>
            <a:off x="7474852" y="2997201"/>
            <a:ext cx="4167698" cy="2567074"/>
          </a:xfrm>
          <a:prstGeom prst="rect">
            <a:avLst/>
          </a:prstGeom>
        </p:spPr>
        <p:txBody>
          <a:bodyPr wrap="none" lIns="0" tIns="0" rIns="0" bIns="0" anchor="t">
            <a:noAutofit/>
          </a:bodyPr>
          <a:lstStyle/>
          <a:p>
            <a:pPr fontAlgn="ctr">
              <a:spcBef>
                <a:spcPts val="1200"/>
              </a:spcBef>
            </a:pPr>
            <a:r>
              <a:rPr lang="en-US" dirty="0">
                <a:solidFill>
                  <a:schemeClr val="accent1"/>
                </a:solidFill>
                <a:hlinkClick r:id="rId4"/>
              </a:rPr>
              <a:t>cisco.com</a:t>
            </a:r>
            <a:endParaRPr lang="en-US">
              <a:solidFill>
                <a:schemeClr val="accent1"/>
              </a:solidFill>
            </a:endParaRPr>
          </a:p>
          <a:p>
            <a:pPr fontAlgn="ctr">
              <a:spcBef>
                <a:spcPts val="1200"/>
              </a:spcBef>
            </a:pPr>
            <a:r>
              <a:rPr lang="en-US" dirty="0">
                <a:solidFill>
                  <a:schemeClr val="accent1"/>
                </a:solidFill>
                <a:hlinkClick r:id="rId5"/>
              </a:rPr>
              <a:t>At-a-Glance</a:t>
            </a:r>
            <a:endParaRPr lang="en-US" dirty="0">
              <a:solidFill>
                <a:schemeClr val="accent1"/>
              </a:solidFill>
            </a:endParaRPr>
          </a:p>
          <a:p>
            <a:pPr fontAlgn="ctr">
              <a:spcBef>
                <a:spcPts val="1200"/>
              </a:spcBef>
            </a:pPr>
            <a:r>
              <a:rPr lang="en-US" dirty="0">
                <a:solidFill>
                  <a:schemeClr val="accent1"/>
                </a:solidFill>
                <a:hlinkClick r:id="rId6"/>
              </a:rPr>
              <a:t>Explainer video</a:t>
            </a:r>
            <a:endParaRPr lang="en-US" dirty="0">
              <a:solidFill>
                <a:schemeClr val="accent1"/>
              </a:solidFill>
            </a:endParaRPr>
          </a:p>
          <a:p>
            <a:pPr fontAlgn="ctr">
              <a:spcBef>
                <a:spcPts val="1200"/>
              </a:spcBef>
            </a:pPr>
            <a:endParaRPr lang="en-US" dirty="0">
              <a:solidFill>
                <a:schemeClr val="accent1"/>
              </a:solidFill>
            </a:endParaRPr>
          </a:p>
          <a:p>
            <a:pPr fontAlgn="ctr">
              <a:spcBef>
                <a:spcPts val="1200"/>
              </a:spcBef>
            </a:pPr>
            <a:endParaRPr lang="en-US" dirty="0">
              <a:solidFill>
                <a:schemeClr val="accent1"/>
              </a:solidFill>
            </a:endParaRPr>
          </a:p>
          <a:p>
            <a:pPr fontAlgn="ctr">
              <a:spcBef>
                <a:spcPts val="1200"/>
              </a:spcBef>
            </a:pPr>
            <a:endParaRPr lang="en-US" dirty="0">
              <a:solidFill>
                <a:schemeClr val="accent1"/>
              </a:solidFill>
            </a:endParaRPr>
          </a:p>
          <a:p>
            <a:pPr fontAlgn="ctr">
              <a:spcBef>
                <a:spcPts val="1200"/>
              </a:spcBef>
            </a:pPr>
            <a:endParaRPr lang="en-US" dirty="0">
              <a:solidFill>
                <a:schemeClr val="accent1"/>
              </a:solidFill>
            </a:endParaRPr>
          </a:p>
        </p:txBody>
      </p:sp>
      <p:grpSp>
        <p:nvGrpSpPr>
          <p:cNvPr id="80" name="Group 79">
            <a:extLst>
              <a:ext uri="{FF2B5EF4-FFF2-40B4-BE49-F238E27FC236}">
                <a16:creationId xmlns:a16="http://schemas.microsoft.com/office/drawing/2014/main" id="{8CA60BDA-EE59-4D92-BE7F-EB94C1310911}"/>
              </a:ext>
            </a:extLst>
          </p:cNvPr>
          <p:cNvGrpSpPr/>
          <p:nvPr/>
        </p:nvGrpSpPr>
        <p:grpSpPr>
          <a:xfrm>
            <a:off x="636445" y="4750479"/>
            <a:ext cx="1069812" cy="1288021"/>
            <a:chOff x="11667303" y="6288993"/>
            <a:chExt cx="1069812" cy="1288021"/>
          </a:xfrm>
        </p:grpSpPr>
        <p:sp>
          <p:nvSpPr>
            <p:cNvPr id="31" name="Freeform: Shape 30">
              <a:extLst>
                <a:ext uri="{FF2B5EF4-FFF2-40B4-BE49-F238E27FC236}">
                  <a16:creationId xmlns:a16="http://schemas.microsoft.com/office/drawing/2014/main" id="{04AF47E5-68AA-4A31-B88B-3065DAC33B32}"/>
                </a:ext>
              </a:extLst>
            </p:cNvPr>
            <p:cNvSpPr/>
            <p:nvPr/>
          </p:nvSpPr>
          <p:spPr>
            <a:xfrm>
              <a:off x="11716976" y="7256113"/>
              <a:ext cx="282593" cy="320901"/>
            </a:xfrm>
            <a:custGeom>
              <a:avLst/>
              <a:gdLst>
                <a:gd name="connsiteX0" fmla="*/ 354049 w 385232"/>
                <a:gd name="connsiteY0" fmla="*/ 437454 h 437454"/>
                <a:gd name="connsiteX1" fmla="*/ 339079 w 385232"/>
                <a:gd name="connsiteY1" fmla="*/ 433569 h 437454"/>
                <a:gd name="connsiteX2" fmla="*/ 16225 w 385232"/>
                <a:gd name="connsiteY2" fmla="*/ 256939 h 437454"/>
                <a:gd name="connsiteX3" fmla="*/ 13 w 385232"/>
                <a:gd name="connsiteY3" fmla="*/ 230471 h 437454"/>
                <a:gd name="connsiteX4" fmla="*/ 14723 w 385232"/>
                <a:gd name="connsiteY4" fmla="*/ 203122 h 437454"/>
                <a:gd name="connsiteX5" fmla="*/ 334055 w 385232"/>
                <a:gd name="connsiteY5" fmla="*/ 4737 h 437454"/>
                <a:gd name="connsiteX6" fmla="*/ 365496 w 385232"/>
                <a:gd name="connsiteY6" fmla="*/ 3908 h 437454"/>
                <a:gd name="connsiteX7" fmla="*/ 381657 w 385232"/>
                <a:gd name="connsiteY7" fmla="*/ 30895 h 437454"/>
                <a:gd name="connsiteX8" fmla="*/ 385231 w 385232"/>
                <a:gd name="connsiteY8" fmla="*/ 405961 h 437454"/>
                <a:gd name="connsiteX9" fmla="*/ 370106 w 385232"/>
                <a:gd name="connsiteY9" fmla="*/ 432999 h 437454"/>
                <a:gd name="connsiteX10" fmla="*/ 354049 w 385232"/>
                <a:gd name="connsiteY10" fmla="*/ 437454 h 437454"/>
                <a:gd name="connsiteX11" fmla="*/ 350475 w 385232"/>
                <a:gd name="connsiteY11" fmla="*/ 15563 h 437454"/>
                <a:gd name="connsiteX12" fmla="*/ 342239 w 385232"/>
                <a:gd name="connsiteY12" fmla="*/ 17945 h 437454"/>
                <a:gd name="connsiteX13" fmla="*/ 22907 w 385232"/>
                <a:gd name="connsiteY13" fmla="*/ 216330 h 437454"/>
                <a:gd name="connsiteX14" fmla="*/ 15552 w 385232"/>
                <a:gd name="connsiteY14" fmla="*/ 230005 h 437454"/>
                <a:gd name="connsiteX15" fmla="*/ 23684 w 385232"/>
                <a:gd name="connsiteY15" fmla="*/ 243265 h 437454"/>
                <a:gd name="connsiteX16" fmla="*/ 346538 w 385232"/>
                <a:gd name="connsiteY16" fmla="*/ 419895 h 437454"/>
                <a:gd name="connsiteX17" fmla="*/ 362077 w 385232"/>
                <a:gd name="connsiteY17" fmla="*/ 419584 h 437454"/>
                <a:gd name="connsiteX18" fmla="*/ 369692 w 385232"/>
                <a:gd name="connsiteY18" fmla="*/ 406013 h 437454"/>
                <a:gd name="connsiteX19" fmla="*/ 366118 w 385232"/>
                <a:gd name="connsiteY19" fmla="*/ 30947 h 437454"/>
                <a:gd name="connsiteX20" fmla="*/ 358037 w 385232"/>
                <a:gd name="connsiteY20" fmla="*/ 17376 h 437454"/>
                <a:gd name="connsiteX21" fmla="*/ 350475 w 385232"/>
                <a:gd name="connsiteY21" fmla="*/ 15563 h 437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5232" h="437454">
                  <a:moveTo>
                    <a:pt x="354049" y="437454"/>
                  </a:moveTo>
                  <a:cubicBezTo>
                    <a:pt x="348921" y="437454"/>
                    <a:pt x="343793" y="436159"/>
                    <a:pt x="339079" y="433569"/>
                  </a:cubicBezTo>
                  <a:lnTo>
                    <a:pt x="16225" y="256939"/>
                  </a:lnTo>
                  <a:cubicBezTo>
                    <a:pt x="6384" y="251553"/>
                    <a:pt x="323" y="241659"/>
                    <a:pt x="13" y="230471"/>
                  </a:cubicBezTo>
                  <a:cubicBezTo>
                    <a:pt x="-299" y="219282"/>
                    <a:pt x="5192" y="209079"/>
                    <a:pt x="14723" y="203122"/>
                  </a:cubicBezTo>
                  <a:lnTo>
                    <a:pt x="334055" y="4737"/>
                  </a:lnTo>
                  <a:cubicBezTo>
                    <a:pt x="343741" y="-1271"/>
                    <a:pt x="355499" y="-1582"/>
                    <a:pt x="365496" y="3908"/>
                  </a:cubicBezTo>
                  <a:cubicBezTo>
                    <a:pt x="375493" y="9399"/>
                    <a:pt x="381553" y="19499"/>
                    <a:pt x="381657" y="30895"/>
                  </a:cubicBezTo>
                  <a:lnTo>
                    <a:pt x="385231" y="405961"/>
                  </a:lnTo>
                  <a:cubicBezTo>
                    <a:pt x="385335" y="417149"/>
                    <a:pt x="379688" y="427250"/>
                    <a:pt x="370106" y="432999"/>
                  </a:cubicBezTo>
                  <a:cubicBezTo>
                    <a:pt x="365082" y="435952"/>
                    <a:pt x="359591" y="437454"/>
                    <a:pt x="354049" y="437454"/>
                  </a:cubicBezTo>
                  <a:close/>
                  <a:moveTo>
                    <a:pt x="350475" y="15563"/>
                  </a:moveTo>
                  <a:cubicBezTo>
                    <a:pt x="347626" y="15563"/>
                    <a:pt x="344777" y="16340"/>
                    <a:pt x="342239" y="17945"/>
                  </a:cubicBezTo>
                  <a:lnTo>
                    <a:pt x="22907" y="216330"/>
                  </a:lnTo>
                  <a:cubicBezTo>
                    <a:pt x="18142" y="219282"/>
                    <a:pt x="15396" y="224411"/>
                    <a:pt x="15552" y="230005"/>
                  </a:cubicBezTo>
                  <a:cubicBezTo>
                    <a:pt x="15707" y="235599"/>
                    <a:pt x="18763" y="240572"/>
                    <a:pt x="23684" y="243265"/>
                  </a:cubicBezTo>
                  <a:lnTo>
                    <a:pt x="346538" y="419895"/>
                  </a:lnTo>
                  <a:cubicBezTo>
                    <a:pt x="351459" y="422588"/>
                    <a:pt x="357260" y="422485"/>
                    <a:pt x="362077" y="419584"/>
                  </a:cubicBezTo>
                  <a:cubicBezTo>
                    <a:pt x="366895" y="416683"/>
                    <a:pt x="369744" y="411659"/>
                    <a:pt x="369692" y="406013"/>
                  </a:cubicBezTo>
                  <a:lnTo>
                    <a:pt x="366118" y="30947"/>
                  </a:lnTo>
                  <a:cubicBezTo>
                    <a:pt x="366066" y="25197"/>
                    <a:pt x="363062" y="20173"/>
                    <a:pt x="358037" y="17376"/>
                  </a:cubicBezTo>
                  <a:cubicBezTo>
                    <a:pt x="355654" y="16184"/>
                    <a:pt x="353064" y="15563"/>
                    <a:pt x="350475" y="15563"/>
                  </a:cubicBezTo>
                  <a:close/>
                </a:path>
              </a:pathLst>
            </a:custGeom>
            <a:solidFill>
              <a:srgbClr val="6CBE4C"/>
            </a:solidFill>
            <a:ln w="5175" cap="flat">
              <a:noFill/>
              <a:prstDash val="solid"/>
              <a:miter/>
            </a:ln>
          </p:spPr>
          <p:txBody>
            <a:bodyPr rtlCol="0" anchor="ctr"/>
            <a:lstStyle/>
            <a:p>
              <a:endParaRPr lang="en-IN" dirty="0"/>
            </a:p>
          </p:txBody>
        </p:sp>
        <p:grpSp>
          <p:nvGrpSpPr>
            <p:cNvPr id="32" name="Group 31">
              <a:extLst>
                <a:ext uri="{FF2B5EF4-FFF2-40B4-BE49-F238E27FC236}">
                  <a16:creationId xmlns:a16="http://schemas.microsoft.com/office/drawing/2014/main" id="{A6070624-BF9E-4C23-8C57-8376DBF856B0}"/>
                </a:ext>
              </a:extLst>
            </p:cNvPr>
            <p:cNvGrpSpPr/>
            <p:nvPr/>
          </p:nvGrpSpPr>
          <p:grpSpPr>
            <a:xfrm>
              <a:off x="11667303" y="6288993"/>
              <a:ext cx="1069812" cy="968618"/>
              <a:chOff x="-563481" y="2982552"/>
              <a:chExt cx="1458372" cy="1320424"/>
            </a:xfrm>
          </p:grpSpPr>
          <p:grpSp>
            <p:nvGrpSpPr>
              <p:cNvPr id="33" name="Graphic 6">
                <a:extLst>
                  <a:ext uri="{FF2B5EF4-FFF2-40B4-BE49-F238E27FC236}">
                    <a16:creationId xmlns:a16="http://schemas.microsoft.com/office/drawing/2014/main" id="{A15DE9E5-F132-477B-A351-85F0B8BE7F68}"/>
                  </a:ext>
                </a:extLst>
              </p:cNvPr>
              <p:cNvGrpSpPr/>
              <p:nvPr/>
            </p:nvGrpSpPr>
            <p:grpSpPr>
              <a:xfrm>
                <a:off x="-563481" y="2982552"/>
                <a:ext cx="926399" cy="58220"/>
                <a:chOff x="1163719" y="2982552"/>
                <a:chExt cx="926399" cy="58220"/>
              </a:xfrm>
              <a:solidFill>
                <a:srgbClr val="26BCEA"/>
              </a:solidFill>
            </p:grpSpPr>
            <p:sp>
              <p:nvSpPr>
                <p:cNvPr id="70" name="Freeform: Shape 69">
                  <a:extLst>
                    <a:ext uri="{FF2B5EF4-FFF2-40B4-BE49-F238E27FC236}">
                      <a16:creationId xmlns:a16="http://schemas.microsoft.com/office/drawing/2014/main" id="{8AFC9F20-785D-4CFA-9CB6-EB4D645FC385}"/>
                    </a:ext>
                  </a:extLst>
                </p:cNvPr>
                <p:cNvSpPr/>
                <p:nvPr/>
              </p:nvSpPr>
              <p:spPr>
                <a:xfrm>
                  <a:off x="2031898"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71" name="Freeform: Shape 70">
                  <a:extLst>
                    <a:ext uri="{FF2B5EF4-FFF2-40B4-BE49-F238E27FC236}">
                      <a16:creationId xmlns:a16="http://schemas.microsoft.com/office/drawing/2014/main" id="{B154741A-CEBD-4897-B744-9CB214D59872}"/>
                    </a:ext>
                  </a:extLst>
                </p:cNvPr>
                <p:cNvSpPr/>
                <p:nvPr/>
              </p:nvSpPr>
              <p:spPr>
                <a:xfrm>
                  <a:off x="1869927"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72" name="Freeform: Shape 71">
                  <a:extLst>
                    <a:ext uri="{FF2B5EF4-FFF2-40B4-BE49-F238E27FC236}">
                      <a16:creationId xmlns:a16="http://schemas.microsoft.com/office/drawing/2014/main" id="{E71D68B4-CFE5-4067-8D0A-E75064E4515B}"/>
                    </a:ext>
                  </a:extLst>
                </p:cNvPr>
                <p:cNvSpPr/>
                <p:nvPr/>
              </p:nvSpPr>
              <p:spPr>
                <a:xfrm>
                  <a:off x="1707904"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73" name="Freeform: Shape 72">
                  <a:extLst>
                    <a:ext uri="{FF2B5EF4-FFF2-40B4-BE49-F238E27FC236}">
                      <a16:creationId xmlns:a16="http://schemas.microsoft.com/office/drawing/2014/main" id="{9296BE61-0166-4F44-9A06-2E3668A3A51F}"/>
                    </a:ext>
                  </a:extLst>
                </p:cNvPr>
                <p:cNvSpPr/>
                <p:nvPr/>
              </p:nvSpPr>
              <p:spPr>
                <a:xfrm>
                  <a:off x="1528270"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74" name="Freeform: Shape 73">
                  <a:extLst>
                    <a:ext uri="{FF2B5EF4-FFF2-40B4-BE49-F238E27FC236}">
                      <a16:creationId xmlns:a16="http://schemas.microsoft.com/office/drawing/2014/main" id="{49919CFD-FFE7-48A4-92A9-5DE27D0548A3}"/>
                    </a:ext>
                  </a:extLst>
                </p:cNvPr>
                <p:cNvSpPr/>
                <p:nvPr/>
              </p:nvSpPr>
              <p:spPr>
                <a:xfrm>
                  <a:off x="1340711"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75" name="Freeform: Shape 74">
                  <a:extLst>
                    <a:ext uri="{FF2B5EF4-FFF2-40B4-BE49-F238E27FC236}">
                      <a16:creationId xmlns:a16="http://schemas.microsoft.com/office/drawing/2014/main" id="{31C84D43-ABAE-4F30-9874-719A363FD622}"/>
                    </a:ext>
                  </a:extLst>
                </p:cNvPr>
                <p:cNvSpPr/>
                <p:nvPr/>
              </p:nvSpPr>
              <p:spPr>
                <a:xfrm>
                  <a:off x="1163719"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34" name="Graphic 6">
                <a:extLst>
                  <a:ext uri="{FF2B5EF4-FFF2-40B4-BE49-F238E27FC236}">
                    <a16:creationId xmlns:a16="http://schemas.microsoft.com/office/drawing/2014/main" id="{630BC282-9E25-41C7-A550-219A3A4C459E}"/>
                  </a:ext>
                </a:extLst>
              </p:cNvPr>
              <p:cNvGrpSpPr/>
              <p:nvPr/>
            </p:nvGrpSpPr>
            <p:grpSpPr>
              <a:xfrm>
                <a:off x="-563481" y="3161927"/>
                <a:ext cx="926399" cy="58220"/>
                <a:chOff x="1163719" y="3161927"/>
                <a:chExt cx="926399" cy="58220"/>
              </a:xfrm>
              <a:solidFill>
                <a:srgbClr val="26BCEA"/>
              </a:solidFill>
            </p:grpSpPr>
            <p:sp>
              <p:nvSpPr>
                <p:cNvPr id="64" name="Freeform: Shape 63">
                  <a:extLst>
                    <a:ext uri="{FF2B5EF4-FFF2-40B4-BE49-F238E27FC236}">
                      <a16:creationId xmlns:a16="http://schemas.microsoft.com/office/drawing/2014/main" id="{92D2D18A-2EA0-4F48-8985-113A4CA259D3}"/>
                    </a:ext>
                  </a:extLst>
                </p:cNvPr>
                <p:cNvSpPr/>
                <p:nvPr/>
              </p:nvSpPr>
              <p:spPr>
                <a:xfrm>
                  <a:off x="2031898"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5" name="Freeform: Shape 64">
                  <a:extLst>
                    <a:ext uri="{FF2B5EF4-FFF2-40B4-BE49-F238E27FC236}">
                      <a16:creationId xmlns:a16="http://schemas.microsoft.com/office/drawing/2014/main" id="{3B33477F-44C4-4483-B066-E07E3CDA03E8}"/>
                    </a:ext>
                  </a:extLst>
                </p:cNvPr>
                <p:cNvSpPr/>
                <p:nvPr/>
              </p:nvSpPr>
              <p:spPr>
                <a:xfrm>
                  <a:off x="1869927"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66" name="Freeform: Shape 65">
                  <a:extLst>
                    <a:ext uri="{FF2B5EF4-FFF2-40B4-BE49-F238E27FC236}">
                      <a16:creationId xmlns:a16="http://schemas.microsoft.com/office/drawing/2014/main" id="{B7784391-CBBB-4888-8381-13C340CAB130}"/>
                    </a:ext>
                  </a:extLst>
                </p:cNvPr>
                <p:cNvSpPr/>
                <p:nvPr/>
              </p:nvSpPr>
              <p:spPr>
                <a:xfrm>
                  <a:off x="1707904"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7" name="Freeform: Shape 66">
                  <a:extLst>
                    <a:ext uri="{FF2B5EF4-FFF2-40B4-BE49-F238E27FC236}">
                      <a16:creationId xmlns:a16="http://schemas.microsoft.com/office/drawing/2014/main" id="{60A37B6D-87AA-4868-8D1D-9C4F8653AE80}"/>
                    </a:ext>
                  </a:extLst>
                </p:cNvPr>
                <p:cNvSpPr/>
                <p:nvPr/>
              </p:nvSpPr>
              <p:spPr>
                <a:xfrm>
                  <a:off x="1528270"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8" name="Freeform: Shape 67">
                  <a:extLst>
                    <a:ext uri="{FF2B5EF4-FFF2-40B4-BE49-F238E27FC236}">
                      <a16:creationId xmlns:a16="http://schemas.microsoft.com/office/drawing/2014/main" id="{B6C40D4C-9248-46F4-807D-885D764C60BD}"/>
                    </a:ext>
                  </a:extLst>
                </p:cNvPr>
                <p:cNvSpPr/>
                <p:nvPr/>
              </p:nvSpPr>
              <p:spPr>
                <a:xfrm>
                  <a:off x="1340711"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69" name="Freeform: Shape 68">
                  <a:extLst>
                    <a:ext uri="{FF2B5EF4-FFF2-40B4-BE49-F238E27FC236}">
                      <a16:creationId xmlns:a16="http://schemas.microsoft.com/office/drawing/2014/main" id="{F713FC6C-4C51-4F48-947C-6303AADA51C5}"/>
                    </a:ext>
                  </a:extLst>
                </p:cNvPr>
                <p:cNvSpPr/>
                <p:nvPr/>
              </p:nvSpPr>
              <p:spPr>
                <a:xfrm>
                  <a:off x="1163719"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35" name="Graphic 6">
                <a:extLst>
                  <a:ext uri="{FF2B5EF4-FFF2-40B4-BE49-F238E27FC236}">
                    <a16:creationId xmlns:a16="http://schemas.microsoft.com/office/drawing/2014/main" id="{93E84B3F-0044-469E-A109-0F1AA5EDE1E4}"/>
                  </a:ext>
                </a:extLst>
              </p:cNvPr>
              <p:cNvGrpSpPr/>
              <p:nvPr/>
            </p:nvGrpSpPr>
            <p:grpSpPr>
              <a:xfrm>
                <a:off x="-563481" y="3341354"/>
                <a:ext cx="926399" cy="58220"/>
                <a:chOff x="1163719" y="3341354"/>
                <a:chExt cx="926399" cy="58220"/>
              </a:xfrm>
              <a:solidFill>
                <a:srgbClr val="26BCEA"/>
              </a:solidFill>
            </p:grpSpPr>
            <p:sp>
              <p:nvSpPr>
                <p:cNvPr id="58" name="Freeform: Shape 57">
                  <a:extLst>
                    <a:ext uri="{FF2B5EF4-FFF2-40B4-BE49-F238E27FC236}">
                      <a16:creationId xmlns:a16="http://schemas.microsoft.com/office/drawing/2014/main" id="{34905CDA-4BCF-411D-AED2-ACB446C9EC07}"/>
                    </a:ext>
                  </a:extLst>
                </p:cNvPr>
                <p:cNvSpPr/>
                <p:nvPr/>
              </p:nvSpPr>
              <p:spPr>
                <a:xfrm>
                  <a:off x="2031898"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59" name="Freeform: Shape 58">
                  <a:extLst>
                    <a:ext uri="{FF2B5EF4-FFF2-40B4-BE49-F238E27FC236}">
                      <a16:creationId xmlns:a16="http://schemas.microsoft.com/office/drawing/2014/main" id="{3A6AF6E3-5E72-4A17-8432-45EA9BD65760}"/>
                    </a:ext>
                  </a:extLst>
                </p:cNvPr>
                <p:cNvSpPr/>
                <p:nvPr/>
              </p:nvSpPr>
              <p:spPr>
                <a:xfrm>
                  <a:off x="1869927"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60" name="Freeform: Shape 59">
                  <a:extLst>
                    <a:ext uri="{FF2B5EF4-FFF2-40B4-BE49-F238E27FC236}">
                      <a16:creationId xmlns:a16="http://schemas.microsoft.com/office/drawing/2014/main" id="{9D9921BF-9002-494F-9A7A-12FBEA97E774}"/>
                    </a:ext>
                  </a:extLst>
                </p:cNvPr>
                <p:cNvSpPr/>
                <p:nvPr/>
              </p:nvSpPr>
              <p:spPr>
                <a:xfrm>
                  <a:off x="1707904"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1" name="Freeform: Shape 60">
                  <a:extLst>
                    <a:ext uri="{FF2B5EF4-FFF2-40B4-BE49-F238E27FC236}">
                      <a16:creationId xmlns:a16="http://schemas.microsoft.com/office/drawing/2014/main" id="{15FCD8EC-7758-4C4A-841E-41A40E71BDAF}"/>
                    </a:ext>
                  </a:extLst>
                </p:cNvPr>
                <p:cNvSpPr/>
                <p:nvPr/>
              </p:nvSpPr>
              <p:spPr>
                <a:xfrm>
                  <a:off x="1528270"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62" name="Freeform: Shape 61">
                  <a:extLst>
                    <a:ext uri="{FF2B5EF4-FFF2-40B4-BE49-F238E27FC236}">
                      <a16:creationId xmlns:a16="http://schemas.microsoft.com/office/drawing/2014/main" id="{6071C240-E807-433F-8A03-BC36CE79C344}"/>
                    </a:ext>
                  </a:extLst>
                </p:cNvPr>
                <p:cNvSpPr/>
                <p:nvPr/>
              </p:nvSpPr>
              <p:spPr>
                <a:xfrm>
                  <a:off x="1340711"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63" name="Freeform: Shape 62">
                  <a:extLst>
                    <a:ext uri="{FF2B5EF4-FFF2-40B4-BE49-F238E27FC236}">
                      <a16:creationId xmlns:a16="http://schemas.microsoft.com/office/drawing/2014/main" id="{7234D7F9-2275-4C4E-AAC8-5199E88D7180}"/>
                    </a:ext>
                  </a:extLst>
                </p:cNvPr>
                <p:cNvSpPr/>
                <p:nvPr/>
              </p:nvSpPr>
              <p:spPr>
                <a:xfrm>
                  <a:off x="1163719"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36" name="Graphic 6">
                <a:extLst>
                  <a:ext uri="{FF2B5EF4-FFF2-40B4-BE49-F238E27FC236}">
                    <a16:creationId xmlns:a16="http://schemas.microsoft.com/office/drawing/2014/main" id="{91C0EF20-C422-47CC-AC44-CB314DEF1020}"/>
                  </a:ext>
                </a:extLst>
              </p:cNvPr>
              <p:cNvGrpSpPr/>
              <p:nvPr/>
            </p:nvGrpSpPr>
            <p:grpSpPr>
              <a:xfrm>
                <a:off x="-563481" y="3520781"/>
                <a:ext cx="926399" cy="58220"/>
                <a:chOff x="1163719" y="3520781"/>
                <a:chExt cx="926399" cy="58220"/>
              </a:xfrm>
              <a:solidFill>
                <a:srgbClr val="26BCEA"/>
              </a:solidFill>
            </p:grpSpPr>
            <p:sp>
              <p:nvSpPr>
                <p:cNvPr id="52" name="Freeform: Shape 51">
                  <a:extLst>
                    <a:ext uri="{FF2B5EF4-FFF2-40B4-BE49-F238E27FC236}">
                      <a16:creationId xmlns:a16="http://schemas.microsoft.com/office/drawing/2014/main" id="{8E7893F0-C3D5-4844-A53D-90BCF3FE1890}"/>
                    </a:ext>
                  </a:extLst>
                </p:cNvPr>
                <p:cNvSpPr/>
                <p:nvPr/>
              </p:nvSpPr>
              <p:spPr>
                <a:xfrm>
                  <a:off x="2031898"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53" name="Freeform: Shape 52">
                  <a:extLst>
                    <a:ext uri="{FF2B5EF4-FFF2-40B4-BE49-F238E27FC236}">
                      <a16:creationId xmlns:a16="http://schemas.microsoft.com/office/drawing/2014/main" id="{039B85F5-6883-466D-93F5-0482D9C1C732}"/>
                    </a:ext>
                  </a:extLst>
                </p:cNvPr>
                <p:cNvSpPr/>
                <p:nvPr/>
              </p:nvSpPr>
              <p:spPr>
                <a:xfrm>
                  <a:off x="1869927"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54" name="Freeform: Shape 53">
                  <a:extLst>
                    <a:ext uri="{FF2B5EF4-FFF2-40B4-BE49-F238E27FC236}">
                      <a16:creationId xmlns:a16="http://schemas.microsoft.com/office/drawing/2014/main" id="{19063C0E-AB5F-4C95-BDD1-966F73944310}"/>
                    </a:ext>
                  </a:extLst>
                </p:cNvPr>
                <p:cNvSpPr/>
                <p:nvPr/>
              </p:nvSpPr>
              <p:spPr>
                <a:xfrm>
                  <a:off x="1707904"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55" name="Freeform: Shape 54">
                  <a:extLst>
                    <a:ext uri="{FF2B5EF4-FFF2-40B4-BE49-F238E27FC236}">
                      <a16:creationId xmlns:a16="http://schemas.microsoft.com/office/drawing/2014/main" id="{D015F1A5-7F92-44C0-A606-062AB15D4783}"/>
                    </a:ext>
                  </a:extLst>
                </p:cNvPr>
                <p:cNvSpPr/>
                <p:nvPr/>
              </p:nvSpPr>
              <p:spPr>
                <a:xfrm>
                  <a:off x="1528270"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56" name="Freeform: Shape 55">
                  <a:extLst>
                    <a:ext uri="{FF2B5EF4-FFF2-40B4-BE49-F238E27FC236}">
                      <a16:creationId xmlns:a16="http://schemas.microsoft.com/office/drawing/2014/main" id="{3BE087B5-651F-421F-A758-DEEA5A32F13A}"/>
                    </a:ext>
                  </a:extLst>
                </p:cNvPr>
                <p:cNvSpPr/>
                <p:nvPr/>
              </p:nvSpPr>
              <p:spPr>
                <a:xfrm>
                  <a:off x="1340711"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57" name="Freeform: Shape 56">
                  <a:extLst>
                    <a:ext uri="{FF2B5EF4-FFF2-40B4-BE49-F238E27FC236}">
                      <a16:creationId xmlns:a16="http://schemas.microsoft.com/office/drawing/2014/main" id="{C7F6CABE-F41C-4A0B-BF31-32D25DEA970D}"/>
                    </a:ext>
                  </a:extLst>
                </p:cNvPr>
                <p:cNvSpPr/>
                <p:nvPr/>
              </p:nvSpPr>
              <p:spPr>
                <a:xfrm>
                  <a:off x="1163719"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37" name="Graphic 6">
                <a:extLst>
                  <a:ext uri="{FF2B5EF4-FFF2-40B4-BE49-F238E27FC236}">
                    <a16:creationId xmlns:a16="http://schemas.microsoft.com/office/drawing/2014/main" id="{307F9BB2-6DD2-4C06-B0D5-89BF43BD1A70}"/>
                  </a:ext>
                </a:extLst>
              </p:cNvPr>
              <p:cNvGrpSpPr/>
              <p:nvPr/>
            </p:nvGrpSpPr>
            <p:grpSpPr>
              <a:xfrm>
                <a:off x="-563481" y="3700208"/>
                <a:ext cx="926399" cy="58220"/>
                <a:chOff x="1163719" y="3700208"/>
                <a:chExt cx="926399" cy="58220"/>
              </a:xfrm>
              <a:solidFill>
                <a:srgbClr val="26BCEA"/>
              </a:solidFill>
            </p:grpSpPr>
            <p:sp>
              <p:nvSpPr>
                <p:cNvPr id="46" name="Freeform: Shape 45">
                  <a:extLst>
                    <a:ext uri="{FF2B5EF4-FFF2-40B4-BE49-F238E27FC236}">
                      <a16:creationId xmlns:a16="http://schemas.microsoft.com/office/drawing/2014/main" id="{F932997D-81BF-48CF-917F-834AE130071B}"/>
                    </a:ext>
                  </a:extLst>
                </p:cNvPr>
                <p:cNvSpPr/>
                <p:nvPr/>
              </p:nvSpPr>
              <p:spPr>
                <a:xfrm>
                  <a:off x="2031898"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47" name="Freeform: Shape 46">
                  <a:extLst>
                    <a:ext uri="{FF2B5EF4-FFF2-40B4-BE49-F238E27FC236}">
                      <a16:creationId xmlns:a16="http://schemas.microsoft.com/office/drawing/2014/main" id="{8FF84DBD-78AF-4066-B25F-8C42251640CC}"/>
                    </a:ext>
                  </a:extLst>
                </p:cNvPr>
                <p:cNvSpPr/>
                <p:nvPr/>
              </p:nvSpPr>
              <p:spPr>
                <a:xfrm>
                  <a:off x="1869927"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48" name="Freeform: Shape 47">
                  <a:extLst>
                    <a:ext uri="{FF2B5EF4-FFF2-40B4-BE49-F238E27FC236}">
                      <a16:creationId xmlns:a16="http://schemas.microsoft.com/office/drawing/2014/main" id="{B0ECEBD5-0227-4BAB-86AF-05DFD8B5CFF5}"/>
                    </a:ext>
                  </a:extLst>
                </p:cNvPr>
                <p:cNvSpPr/>
                <p:nvPr/>
              </p:nvSpPr>
              <p:spPr>
                <a:xfrm>
                  <a:off x="1707904"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49" name="Freeform: Shape 48">
                  <a:extLst>
                    <a:ext uri="{FF2B5EF4-FFF2-40B4-BE49-F238E27FC236}">
                      <a16:creationId xmlns:a16="http://schemas.microsoft.com/office/drawing/2014/main" id="{512E3E75-CC60-4861-AA3D-F12948992AA4}"/>
                    </a:ext>
                  </a:extLst>
                </p:cNvPr>
                <p:cNvSpPr/>
                <p:nvPr/>
              </p:nvSpPr>
              <p:spPr>
                <a:xfrm>
                  <a:off x="1528270"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50" name="Freeform: Shape 49">
                  <a:extLst>
                    <a:ext uri="{FF2B5EF4-FFF2-40B4-BE49-F238E27FC236}">
                      <a16:creationId xmlns:a16="http://schemas.microsoft.com/office/drawing/2014/main" id="{B9496E6B-FD99-4780-8F7B-D0F747DC39D7}"/>
                    </a:ext>
                  </a:extLst>
                </p:cNvPr>
                <p:cNvSpPr/>
                <p:nvPr/>
              </p:nvSpPr>
              <p:spPr>
                <a:xfrm>
                  <a:off x="1340711"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51" name="Freeform: Shape 50">
                  <a:extLst>
                    <a:ext uri="{FF2B5EF4-FFF2-40B4-BE49-F238E27FC236}">
                      <a16:creationId xmlns:a16="http://schemas.microsoft.com/office/drawing/2014/main" id="{CB6B0EFF-84CC-47F2-9C52-56BD40867A93}"/>
                    </a:ext>
                  </a:extLst>
                </p:cNvPr>
                <p:cNvSpPr/>
                <p:nvPr/>
              </p:nvSpPr>
              <p:spPr>
                <a:xfrm>
                  <a:off x="1163719"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grpSp>
            <p:nvGrpSpPr>
              <p:cNvPr id="38" name="Graphic 6">
                <a:extLst>
                  <a:ext uri="{FF2B5EF4-FFF2-40B4-BE49-F238E27FC236}">
                    <a16:creationId xmlns:a16="http://schemas.microsoft.com/office/drawing/2014/main" id="{EE630611-DDBA-423C-92BA-6C60EE35DC88}"/>
                  </a:ext>
                </a:extLst>
              </p:cNvPr>
              <p:cNvGrpSpPr/>
              <p:nvPr/>
            </p:nvGrpSpPr>
            <p:grpSpPr>
              <a:xfrm>
                <a:off x="-563481" y="3879635"/>
                <a:ext cx="926399" cy="58220"/>
                <a:chOff x="1163719" y="3879635"/>
                <a:chExt cx="926399" cy="58220"/>
              </a:xfrm>
              <a:solidFill>
                <a:srgbClr val="26BCEA"/>
              </a:solidFill>
            </p:grpSpPr>
            <p:sp>
              <p:nvSpPr>
                <p:cNvPr id="40" name="Freeform: Shape 39">
                  <a:extLst>
                    <a:ext uri="{FF2B5EF4-FFF2-40B4-BE49-F238E27FC236}">
                      <a16:creationId xmlns:a16="http://schemas.microsoft.com/office/drawing/2014/main" id="{B9336EB5-FEC0-47EE-A40F-8DB33D950DDB}"/>
                    </a:ext>
                  </a:extLst>
                </p:cNvPr>
                <p:cNvSpPr/>
                <p:nvPr/>
              </p:nvSpPr>
              <p:spPr>
                <a:xfrm>
                  <a:off x="2031898"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41" name="Freeform: Shape 40">
                  <a:extLst>
                    <a:ext uri="{FF2B5EF4-FFF2-40B4-BE49-F238E27FC236}">
                      <a16:creationId xmlns:a16="http://schemas.microsoft.com/office/drawing/2014/main" id="{54A90AFB-A820-40EF-83E8-023DC078CE91}"/>
                    </a:ext>
                  </a:extLst>
                </p:cNvPr>
                <p:cNvSpPr/>
                <p:nvPr/>
              </p:nvSpPr>
              <p:spPr>
                <a:xfrm>
                  <a:off x="1869927"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42" name="Freeform: Shape 41">
                  <a:extLst>
                    <a:ext uri="{FF2B5EF4-FFF2-40B4-BE49-F238E27FC236}">
                      <a16:creationId xmlns:a16="http://schemas.microsoft.com/office/drawing/2014/main" id="{E310E551-F002-4BDB-B3FB-288AF1D708D0}"/>
                    </a:ext>
                  </a:extLst>
                </p:cNvPr>
                <p:cNvSpPr/>
                <p:nvPr/>
              </p:nvSpPr>
              <p:spPr>
                <a:xfrm>
                  <a:off x="1707904"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43" name="Freeform: Shape 42">
                  <a:extLst>
                    <a:ext uri="{FF2B5EF4-FFF2-40B4-BE49-F238E27FC236}">
                      <a16:creationId xmlns:a16="http://schemas.microsoft.com/office/drawing/2014/main" id="{DE7CC5E7-B001-4036-82B9-B2D1CA1F385E}"/>
                    </a:ext>
                  </a:extLst>
                </p:cNvPr>
                <p:cNvSpPr/>
                <p:nvPr/>
              </p:nvSpPr>
              <p:spPr>
                <a:xfrm>
                  <a:off x="1528270"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rgbClr val="26BCEA"/>
                </a:solidFill>
                <a:ln w="5175" cap="flat">
                  <a:noFill/>
                  <a:prstDash val="solid"/>
                  <a:miter/>
                </a:ln>
              </p:spPr>
              <p:txBody>
                <a:bodyPr rtlCol="0" anchor="ctr"/>
                <a:lstStyle/>
                <a:p>
                  <a:endParaRPr lang="en-IN" dirty="0"/>
                </a:p>
              </p:txBody>
            </p:sp>
            <p:sp>
              <p:nvSpPr>
                <p:cNvPr id="44" name="Freeform: Shape 43">
                  <a:extLst>
                    <a:ext uri="{FF2B5EF4-FFF2-40B4-BE49-F238E27FC236}">
                      <a16:creationId xmlns:a16="http://schemas.microsoft.com/office/drawing/2014/main" id="{1246A132-6E07-4287-ACFF-28D6FA74A143}"/>
                    </a:ext>
                  </a:extLst>
                </p:cNvPr>
                <p:cNvSpPr/>
                <p:nvPr/>
              </p:nvSpPr>
              <p:spPr>
                <a:xfrm>
                  <a:off x="1340711"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sp>
              <p:nvSpPr>
                <p:cNvPr id="45" name="Freeform: Shape 44">
                  <a:extLst>
                    <a:ext uri="{FF2B5EF4-FFF2-40B4-BE49-F238E27FC236}">
                      <a16:creationId xmlns:a16="http://schemas.microsoft.com/office/drawing/2014/main" id="{33CBB570-B078-487F-8310-5FDFE8B65403}"/>
                    </a:ext>
                  </a:extLst>
                </p:cNvPr>
                <p:cNvSpPr/>
                <p:nvPr/>
              </p:nvSpPr>
              <p:spPr>
                <a:xfrm>
                  <a:off x="1163719"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rgbClr val="26BCEA"/>
                </a:solidFill>
                <a:ln w="5175" cap="flat">
                  <a:noFill/>
                  <a:prstDash val="solid"/>
                  <a:miter/>
                </a:ln>
              </p:spPr>
              <p:txBody>
                <a:bodyPr rtlCol="0" anchor="ctr"/>
                <a:lstStyle/>
                <a:p>
                  <a:endParaRPr lang="en-IN" dirty="0"/>
                </a:p>
              </p:txBody>
            </p:sp>
          </p:grpSp>
          <p:sp>
            <p:nvSpPr>
              <p:cNvPr id="39" name="Freeform: Shape 38">
                <a:extLst>
                  <a:ext uri="{FF2B5EF4-FFF2-40B4-BE49-F238E27FC236}">
                    <a16:creationId xmlns:a16="http://schemas.microsoft.com/office/drawing/2014/main" id="{C3C6D3CA-161B-4D89-8F6F-D602DC5B0714}"/>
                  </a:ext>
                </a:extLst>
              </p:cNvPr>
              <p:cNvSpPr/>
              <p:nvPr/>
            </p:nvSpPr>
            <p:spPr>
              <a:xfrm>
                <a:off x="509877" y="3864678"/>
                <a:ext cx="385014" cy="438298"/>
              </a:xfrm>
              <a:custGeom>
                <a:avLst/>
                <a:gdLst>
                  <a:gd name="connsiteX0" fmla="*/ 35484 w 385014"/>
                  <a:gd name="connsiteY0" fmla="*/ 438298 h 438298"/>
                  <a:gd name="connsiteX1" fmla="*/ 20101 w 385014"/>
                  <a:gd name="connsiteY1" fmla="*/ 434206 h 438298"/>
                  <a:gd name="connsiteX2" fmla="*/ 4354 w 385014"/>
                  <a:gd name="connsiteY2" fmla="*/ 407479 h 438298"/>
                  <a:gd name="connsiteX3" fmla="*/ 3 w 385014"/>
                  <a:gd name="connsiteY3" fmla="*/ 31584 h 438298"/>
                  <a:gd name="connsiteX4" fmla="*/ 15594 w 385014"/>
                  <a:gd name="connsiteY4" fmla="*/ 4235 h 438298"/>
                  <a:gd name="connsiteX5" fmla="*/ 47087 w 385014"/>
                  <a:gd name="connsiteY5" fmla="*/ 4390 h 438298"/>
                  <a:gd name="connsiteX6" fmla="*/ 369734 w 385014"/>
                  <a:gd name="connsiteY6" fmla="*/ 195627 h 438298"/>
                  <a:gd name="connsiteX7" fmla="*/ 385014 w 385014"/>
                  <a:gd name="connsiteY7" fmla="*/ 222562 h 438298"/>
                  <a:gd name="connsiteX8" fmla="*/ 369475 w 385014"/>
                  <a:gd name="connsiteY8" fmla="*/ 249393 h 438298"/>
                  <a:gd name="connsiteX9" fmla="*/ 51127 w 385014"/>
                  <a:gd name="connsiteY9" fmla="*/ 434103 h 438298"/>
                  <a:gd name="connsiteX10" fmla="*/ 35484 w 385014"/>
                  <a:gd name="connsiteY10" fmla="*/ 438298 h 438298"/>
                  <a:gd name="connsiteX11" fmla="*/ 31133 w 385014"/>
                  <a:gd name="connsiteY11" fmla="*/ 15527 h 438298"/>
                  <a:gd name="connsiteX12" fmla="*/ 23312 w 385014"/>
                  <a:gd name="connsiteY12" fmla="*/ 17650 h 438298"/>
                  <a:gd name="connsiteX13" fmla="*/ 15491 w 385014"/>
                  <a:gd name="connsiteY13" fmla="*/ 31377 h 438298"/>
                  <a:gd name="connsiteX14" fmla="*/ 19842 w 385014"/>
                  <a:gd name="connsiteY14" fmla="*/ 407272 h 438298"/>
                  <a:gd name="connsiteX15" fmla="*/ 27715 w 385014"/>
                  <a:gd name="connsiteY15" fmla="*/ 420687 h 438298"/>
                  <a:gd name="connsiteX16" fmla="*/ 43254 w 385014"/>
                  <a:gd name="connsiteY16" fmla="*/ 420636 h 438298"/>
                  <a:gd name="connsiteX17" fmla="*/ 361602 w 385014"/>
                  <a:gd name="connsiteY17" fmla="*/ 235925 h 438298"/>
                  <a:gd name="connsiteX18" fmla="*/ 369372 w 385014"/>
                  <a:gd name="connsiteY18" fmla="*/ 222510 h 438298"/>
                  <a:gd name="connsiteX19" fmla="*/ 361706 w 385014"/>
                  <a:gd name="connsiteY19" fmla="*/ 208991 h 438298"/>
                  <a:gd name="connsiteX20" fmla="*/ 39058 w 385014"/>
                  <a:gd name="connsiteY20" fmla="*/ 17754 h 438298"/>
                  <a:gd name="connsiteX21" fmla="*/ 31133 w 385014"/>
                  <a:gd name="connsiteY21" fmla="*/ 15527 h 43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5014" h="438298">
                    <a:moveTo>
                      <a:pt x="35484" y="438298"/>
                    </a:moveTo>
                    <a:cubicBezTo>
                      <a:pt x="30201" y="438298"/>
                      <a:pt x="24918" y="436952"/>
                      <a:pt x="20101" y="434206"/>
                    </a:cubicBezTo>
                    <a:cubicBezTo>
                      <a:pt x="10363" y="428664"/>
                      <a:pt x="4458" y="418667"/>
                      <a:pt x="4354" y="407479"/>
                    </a:cubicBezTo>
                    <a:lnTo>
                      <a:pt x="3" y="31584"/>
                    </a:lnTo>
                    <a:cubicBezTo>
                      <a:pt x="-152" y="20188"/>
                      <a:pt x="5701" y="9933"/>
                      <a:pt x="15594" y="4235"/>
                    </a:cubicBezTo>
                    <a:cubicBezTo>
                      <a:pt x="25487" y="-1463"/>
                      <a:pt x="37245" y="-1411"/>
                      <a:pt x="47087" y="4390"/>
                    </a:cubicBezTo>
                    <a:lnTo>
                      <a:pt x="369734" y="195627"/>
                    </a:lnTo>
                    <a:cubicBezTo>
                      <a:pt x="379369" y="201324"/>
                      <a:pt x="385066" y="211373"/>
                      <a:pt x="385014" y="222562"/>
                    </a:cubicBezTo>
                    <a:cubicBezTo>
                      <a:pt x="384963" y="233750"/>
                      <a:pt x="379161" y="243747"/>
                      <a:pt x="369475" y="249393"/>
                    </a:cubicBezTo>
                    <a:lnTo>
                      <a:pt x="51127" y="434103"/>
                    </a:lnTo>
                    <a:cubicBezTo>
                      <a:pt x="46206" y="436848"/>
                      <a:pt x="40871" y="438298"/>
                      <a:pt x="35484" y="438298"/>
                    </a:cubicBezTo>
                    <a:close/>
                    <a:moveTo>
                      <a:pt x="31133" y="15527"/>
                    </a:moveTo>
                    <a:cubicBezTo>
                      <a:pt x="28440" y="15527"/>
                      <a:pt x="25746" y="16252"/>
                      <a:pt x="23312" y="17650"/>
                    </a:cubicBezTo>
                    <a:cubicBezTo>
                      <a:pt x="18339" y="20499"/>
                      <a:pt x="15439" y="25627"/>
                      <a:pt x="15491" y="31377"/>
                    </a:cubicBezTo>
                    <a:lnTo>
                      <a:pt x="19842" y="407272"/>
                    </a:lnTo>
                    <a:cubicBezTo>
                      <a:pt x="19893" y="412866"/>
                      <a:pt x="22846" y="417890"/>
                      <a:pt x="27715" y="420687"/>
                    </a:cubicBezTo>
                    <a:cubicBezTo>
                      <a:pt x="32584" y="423484"/>
                      <a:pt x="38437" y="423432"/>
                      <a:pt x="43254" y="420636"/>
                    </a:cubicBezTo>
                    <a:lnTo>
                      <a:pt x="361602" y="235925"/>
                    </a:lnTo>
                    <a:cubicBezTo>
                      <a:pt x="366471" y="233128"/>
                      <a:pt x="369372" y="228104"/>
                      <a:pt x="369372" y="222510"/>
                    </a:cubicBezTo>
                    <a:cubicBezTo>
                      <a:pt x="369372" y="216916"/>
                      <a:pt x="366523" y="211839"/>
                      <a:pt x="361706" y="208991"/>
                    </a:cubicBezTo>
                    <a:lnTo>
                      <a:pt x="39058" y="17754"/>
                    </a:lnTo>
                    <a:cubicBezTo>
                      <a:pt x="36624" y="16252"/>
                      <a:pt x="33879" y="15527"/>
                      <a:pt x="31133" y="15527"/>
                    </a:cubicBezTo>
                    <a:close/>
                  </a:path>
                </a:pathLst>
              </a:custGeom>
              <a:solidFill>
                <a:srgbClr val="6CBE4C"/>
              </a:solidFill>
              <a:ln w="5175" cap="flat">
                <a:noFill/>
                <a:prstDash val="solid"/>
                <a:miter/>
              </a:ln>
            </p:spPr>
            <p:txBody>
              <a:bodyPr rtlCol="0" anchor="ctr"/>
              <a:lstStyle/>
              <a:p>
                <a:endParaRPr lang="en-IN" dirty="0"/>
              </a:p>
            </p:txBody>
          </p:sp>
        </p:grpSp>
      </p:grpSp>
      <p:grpSp>
        <p:nvGrpSpPr>
          <p:cNvPr id="85" name="Group 84">
            <a:extLst>
              <a:ext uri="{FF2B5EF4-FFF2-40B4-BE49-F238E27FC236}">
                <a16:creationId xmlns:a16="http://schemas.microsoft.com/office/drawing/2014/main" id="{9C871071-E4DA-4337-82B6-CF2B4AC74616}"/>
              </a:ext>
            </a:extLst>
          </p:cNvPr>
          <p:cNvGrpSpPr/>
          <p:nvPr/>
        </p:nvGrpSpPr>
        <p:grpSpPr>
          <a:xfrm>
            <a:off x="5727809" y="4877366"/>
            <a:ext cx="1483068" cy="602561"/>
            <a:chOff x="195721" y="4610112"/>
            <a:chExt cx="1483068" cy="602561"/>
          </a:xfrm>
        </p:grpSpPr>
        <p:sp>
          <p:nvSpPr>
            <p:cNvPr id="82" name="Freeform: Shape 81">
              <a:extLst>
                <a:ext uri="{FF2B5EF4-FFF2-40B4-BE49-F238E27FC236}">
                  <a16:creationId xmlns:a16="http://schemas.microsoft.com/office/drawing/2014/main" id="{B95E30A9-7FEF-4C00-988E-746FD62666D8}"/>
                </a:ext>
              </a:extLst>
            </p:cNvPr>
            <p:cNvSpPr/>
            <p:nvPr/>
          </p:nvSpPr>
          <p:spPr>
            <a:xfrm>
              <a:off x="195773" y="4610112"/>
              <a:ext cx="1483016" cy="94426"/>
            </a:xfrm>
            <a:custGeom>
              <a:avLst/>
              <a:gdLst>
                <a:gd name="connsiteX0" fmla="*/ 1432410 w 1483016"/>
                <a:gd name="connsiteY0" fmla="*/ 60241 h 94426"/>
                <a:gd name="connsiteX1" fmla="*/ 1418788 w 1483016"/>
                <a:gd name="connsiteY1" fmla="*/ 45634 h 94426"/>
                <a:gd name="connsiteX2" fmla="*/ 1386518 w 1483016"/>
                <a:gd name="connsiteY2" fmla="*/ 15229 h 94426"/>
                <a:gd name="connsiteX3" fmla="*/ 1334876 w 1483016"/>
                <a:gd name="connsiteY3" fmla="*/ 0 h 94426"/>
                <a:gd name="connsiteX4" fmla="*/ 1334462 w 1483016"/>
                <a:gd name="connsiteY4" fmla="*/ 0 h 94426"/>
                <a:gd name="connsiteX5" fmla="*/ 1265105 w 1483016"/>
                <a:gd name="connsiteY5" fmla="*/ 29835 h 94426"/>
                <a:gd name="connsiteX6" fmla="*/ 1250342 w 1483016"/>
                <a:gd name="connsiteY6" fmla="*/ 45634 h 94426"/>
                <a:gd name="connsiteX7" fmla="*/ 1222475 w 1483016"/>
                <a:gd name="connsiteY7" fmla="*/ 72206 h 94426"/>
                <a:gd name="connsiteX8" fmla="*/ 1186320 w 1483016"/>
                <a:gd name="connsiteY8" fmla="*/ 82876 h 94426"/>
                <a:gd name="connsiteX9" fmla="*/ 1135921 w 1483016"/>
                <a:gd name="connsiteY9" fmla="*/ 60292 h 94426"/>
                <a:gd name="connsiteX10" fmla="*/ 1122298 w 1483016"/>
                <a:gd name="connsiteY10" fmla="*/ 45685 h 94426"/>
                <a:gd name="connsiteX11" fmla="*/ 1090028 w 1483016"/>
                <a:gd name="connsiteY11" fmla="*/ 15332 h 94426"/>
                <a:gd name="connsiteX12" fmla="*/ 1038386 w 1483016"/>
                <a:gd name="connsiteY12" fmla="*/ 104 h 94426"/>
                <a:gd name="connsiteX13" fmla="*/ 1037972 w 1483016"/>
                <a:gd name="connsiteY13" fmla="*/ 104 h 94426"/>
                <a:gd name="connsiteX14" fmla="*/ 968563 w 1483016"/>
                <a:gd name="connsiteY14" fmla="*/ 29939 h 94426"/>
                <a:gd name="connsiteX15" fmla="*/ 953800 w 1483016"/>
                <a:gd name="connsiteY15" fmla="*/ 45685 h 94426"/>
                <a:gd name="connsiteX16" fmla="*/ 925830 w 1483016"/>
                <a:gd name="connsiteY16" fmla="*/ 72258 h 94426"/>
                <a:gd name="connsiteX17" fmla="*/ 889624 w 1483016"/>
                <a:gd name="connsiteY17" fmla="*/ 82928 h 94426"/>
                <a:gd name="connsiteX18" fmla="*/ 839172 w 1483016"/>
                <a:gd name="connsiteY18" fmla="*/ 60344 h 94426"/>
                <a:gd name="connsiteX19" fmla="*/ 825550 w 1483016"/>
                <a:gd name="connsiteY19" fmla="*/ 45737 h 94426"/>
                <a:gd name="connsiteX20" fmla="*/ 793228 w 1483016"/>
                <a:gd name="connsiteY20" fmla="*/ 15332 h 94426"/>
                <a:gd name="connsiteX21" fmla="*/ 741431 w 1483016"/>
                <a:gd name="connsiteY21" fmla="*/ 104 h 94426"/>
                <a:gd name="connsiteX22" fmla="*/ 741016 w 1483016"/>
                <a:gd name="connsiteY22" fmla="*/ 104 h 94426"/>
                <a:gd name="connsiteX23" fmla="*/ 671659 w 1483016"/>
                <a:gd name="connsiteY23" fmla="*/ 29939 h 94426"/>
                <a:gd name="connsiteX24" fmla="*/ 656897 w 1483016"/>
                <a:gd name="connsiteY24" fmla="*/ 45737 h 94426"/>
                <a:gd name="connsiteX25" fmla="*/ 629030 w 1483016"/>
                <a:gd name="connsiteY25" fmla="*/ 72258 h 94426"/>
                <a:gd name="connsiteX26" fmla="*/ 592875 w 1483016"/>
                <a:gd name="connsiteY26" fmla="*/ 82928 h 94426"/>
                <a:gd name="connsiteX27" fmla="*/ 542528 w 1483016"/>
                <a:gd name="connsiteY27" fmla="*/ 60344 h 94426"/>
                <a:gd name="connsiteX28" fmla="*/ 528957 w 1483016"/>
                <a:gd name="connsiteY28" fmla="*/ 45737 h 94426"/>
                <a:gd name="connsiteX29" fmla="*/ 496687 w 1483016"/>
                <a:gd name="connsiteY29" fmla="*/ 15332 h 94426"/>
                <a:gd name="connsiteX30" fmla="*/ 444734 w 1483016"/>
                <a:gd name="connsiteY30" fmla="*/ 104 h 94426"/>
                <a:gd name="connsiteX31" fmla="*/ 444631 w 1483016"/>
                <a:gd name="connsiteY31" fmla="*/ 104 h 94426"/>
                <a:gd name="connsiteX32" fmla="*/ 375274 w 1483016"/>
                <a:gd name="connsiteY32" fmla="*/ 29939 h 94426"/>
                <a:gd name="connsiteX33" fmla="*/ 360511 w 1483016"/>
                <a:gd name="connsiteY33" fmla="*/ 45737 h 94426"/>
                <a:gd name="connsiteX34" fmla="*/ 332644 w 1483016"/>
                <a:gd name="connsiteY34" fmla="*/ 72309 h 94426"/>
                <a:gd name="connsiteX35" fmla="*/ 296489 w 1483016"/>
                <a:gd name="connsiteY35" fmla="*/ 82980 h 94426"/>
                <a:gd name="connsiteX36" fmla="*/ 246090 w 1483016"/>
                <a:gd name="connsiteY36" fmla="*/ 60396 h 94426"/>
                <a:gd name="connsiteX37" fmla="*/ 232468 w 1483016"/>
                <a:gd name="connsiteY37" fmla="*/ 45789 h 94426"/>
                <a:gd name="connsiteX38" fmla="*/ 200198 w 1483016"/>
                <a:gd name="connsiteY38" fmla="*/ 15384 h 94426"/>
                <a:gd name="connsiteX39" fmla="*/ 148555 w 1483016"/>
                <a:gd name="connsiteY39" fmla="*/ 155 h 94426"/>
                <a:gd name="connsiteX40" fmla="*/ 148141 w 1483016"/>
                <a:gd name="connsiteY40" fmla="*/ 155 h 94426"/>
                <a:gd name="connsiteX41" fmla="*/ 78784 w 1483016"/>
                <a:gd name="connsiteY41" fmla="*/ 29991 h 94426"/>
                <a:gd name="connsiteX42" fmla="*/ 64022 w 1483016"/>
                <a:gd name="connsiteY42" fmla="*/ 45789 h 94426"/>
                <a:gd name="connsiteX43" fmla="*/ 36155 w 1483016"/>
                <a:gd name="connsiteY43" fmla="*/ 72309 h 94426"/>
                <a:gd name="connsiteX44" fmla="*/ 0 w 1483016"/>
                <a:gd name="connsiteY44" fmla="*/ 82980 h 94426"/>
                <a:gd name="connsiteX45" fmla="*/ 52 w 1483016"/>
                <a:gd name="connsiteY45" fmla="*/ 94116 h 94426"/>
                <a:gd name="connsiteX46" fmla="*/ 42215 w 1483016"/>
                <a:gd name="connsiteY46" fmla="*/ 81633 h 94426"/>
                <a:gd name="connsiteX47" fmla="*/ 72258 w 1483016"/>
                <a:gd name="connsiteY47" fmla="*/ 53300 h 94426"/>
                <a:gd name="connsiteX48" fmla="*/ 86554 w 1483016"/>
                <a:gd name="connsiteY48" fmla="*/ 37968 h 94426"/>
                <a:gd name="connsiteX49" fmla="*/ 148245 w 1483016"/>
                <a:gd name="connsiteY49" fmla="*/ 11292 h 94426"/>
                <a:gd name="connsiteX50" fmla="*/ 148607 w 1483016"/>
                <a:gd name="connsiteY50" fmla="*/ 11292 h 94426"/>
                <a:gd name="connsiteX51" fmla="*/ 194189 w 1483016"/>
                <a:gd name="connsiteY51" fmla="*/ 24656 h 94426"/>
                <a:gd name="connsiteX52" fmla="*/ 224439 w 1483016"/>
                <a:gd name="connsiteY52" fmla="*/ 53300 h 94426"/>
                <a:gd name="connsiteX53" fmla="*/ 238580 w 1483016"/>
                <a:gd name="connsiteY53" fmla="*/ 68476 h 94426"/>
                <a:gd name="connsiteX54" fmla="*/ 296541 w 1483016"/>
                <a:gd name="connsiteY54" fmla="*/ 94220 h 94426"/>
                <a:gd name="connsiteX55" fmla="*/ 338704 w 1483016"/>
                <a:gd name="connsiteY55" fmla="*/ 81737 h 94426"/>
                <a:gd name="connsiteX56" fmla="*/ 368747 w 1483016"/>
                <a:gd name="connsiteY56" fmla="*/ 53403 h 94426"/>
                <a:gd name="connsiteX57" fmla="*/ 383043 w 1483016"/>
                <a:gd name="connsiteY57" fmla="*/ 38071 h 94426"/>
                <a:gd name="connsiteX58" fmla="*/ 444734 w 1483016"/>
                <a:gd name="connsiteY58" fmla="*/ 11395 h 94426"/>
                <a:gd name="connsiteX59" fmla="*/ 445097 w 1483016"/>
                <a:gd name="connsiteY59" fmla="*/ 11395 h 94426"/>
                <a:gd name="connsiteX60" fmla="*/ 490678 w 1483016"/>
                <a:gd name="connsiteY60" fmla="*/ 24759 h 94426"/>
                <a:gd name="connsiteX61" fmla="*/ 520928 w 1483016"/>
                <a:gd name="connsiteY61" fmla="*/ 53403 h 94426"/>
                <a:gd name="connsiteX62" fmla="*/ 535069 w 1483016"/>
                <a:gd name="connsiteY62" fmla="*/ 68528 h 94426"/>
                <a:gd name="connsiteX63" fmla="*/ 593031 w 1483016"/>
                <a:gd name="connsiteY63" fmla="*/ 94272 h 94426"/>
                <a:gd name="connsiteX64" fmla="*/ 635246 w 1483016"/>
                <a:gd name="connsiteY64" fmla="*/ 81788 h 94426"/>
                <a:gd name="connsiteX65" fmla="*/ 665236 w 1483016"/>
                <a:gd name="connsiteY65" fmla="*/ 53455 h 94426"/>
                <a:gd name="connsiteX66" fmla="*/ 679533 w 1483016"/>
                <a:gd name="connsiteY66" fmla="*/ 38123 h 94426"/>
                <a:gd name="connsiteX67" fmla="*/ 741275 w 1483016"/>
                <a:gd name="connsiteY67" fmla="*/ 11447 h 94426"/>
                <a:gd name="connsiteX68" fmla="*/ 741638 w 1483016"/>
                <a:gd name="connsiteY68" fmla="*/ 11447 h 94426"/>
                <a:gd name="connsiteX69" fmla="*/ 787272 w 1483016"/>
                <a:gd name="connsiteY69" fmla="*/ 24811 h 94426"/>
                <a:gd name="connsiteX70" fmla="*/ 817573 w 1483016"/>
                <a:gd name="connsiteY70" fmla="*/ 53455 h 94426"/>
                <a:gd name="connsiteX71" fmla="*/ 831714 w 1483016"/>
                <a:gd name="connsiteY71" fmla="*/ 68580 h 94426"/>
                <a:gd name="connsiteX72" fmla="*/ 889779 w 1483016"/>
                <a:gd name="connsiteY72" fmla="*/ 94323 h 94426"/>
                <a:gd name="connsiteX73" fmla="*/ 931994 w 1483016"/>
                <a:gd name="connsiteY73" fmla="*/ 81840 h 94426"/>
                <a:gd name="connsiteX74" fmla="*/ 962089 w 1483016"/>
                <a:gd name="connsiteY74" fmla="*/ 53455 h 94426"/>
                <a:gd name="connsiteX75" fmla="*/ 976385 w 1483016"/>
                <a:gd name="connsiteY75" fmla="*/ 38175 h 94426"/>
                <a:gd name="connsiteX76" fmla="*/ 1038179 w 1483016"/>
                <a:gd name="connsiteY76" fmla="*/ 11499 h 94426"/>
                <a:gd name="connsiteX77" fmla="*/ 1038542 w 1483016"/>
                <a:gd name="connsiteY77" fmla="*/ 11499 h 94426"/>
                <a:gd name="connsiteX78" fmla="*/ 1084123 w 1483016"/>
                <a:gd name="connsiteY78" fmla="*/ 24863 h 94426"/>
                <a:gd name="connsiteX79" fmla="*/ 1114373 w 1483016"/>
                <a:gd name="connsiteY79" fmla="*/ 53403 h 94426"/>
                <a:gd name="connsiteX80" fmla="*/ 1128514 w 1483016"/>
                <a:gd name="connsiteY80" fmla="*/ 68580 h 94426"/>
                <a:gd name="connsiteX81" fmla="*/ 1186475 w 1483016"/>
                <a:gd name="connsiteY81" fmla="*/ 94323 h 94426"/>
                <a:gd name="connsiteX82" fmla="*/ 1228639 w 1483016"/>
                <a:gd name="connsiteY82" fmla="*/ 81840 h 94426"/>
                <a:gd name="connsiteX83" fmla="*/ 1258682 w 1483016"/>
                <a:gd name="connsiteY83" fmla="*/ 53507 h 94426"/>
                <a:gd name="connsiteX84" fmla="*/ 1272977 w 1483016"/>
                <a:gd name="connsiteY84" fmla="*/ 38175 h 94426"/>
                <a:gd name="connsiteX85" fmla="*/ 1334720 w 1483016"/>
                <a:gd name="connsiteY85" fmla="*/ 11499 h 94426"/>
                <a:gd name="connsiteX86" fmla="*/ 1335083 w 1483016"/>
                <a:gd name="connsiteY86" fmla="*/ 11499 h 94426"/>
                <a:gd name="connsiteX87" fmla="*/ 1380665 w 1483016"/>
                <a:gd name="connsiteY87" fmla="*/ 24863 h 94426"/>
                <a:gd name="connsiteX88" fmla="*/ 1410914 w 1483016"/>
                <a:gd name="connsiteY88" fmla="*/ 53507 h 94426"/>
                <a:gd name="connsiteX89" fmla="*/ 1425055 w 1483016"/>
                <a:gd name="connsiteY89" fmla="*/ 68684 h 94426"/>
                <a:gd name="connsiteX90" fmla="*/ 1483017 w 1483016"/>
                <a:gd name="connsiteY90" fmla="*/ 94427 h 94426"/>
                <a:gd name="connsiteX91" fmla="*/ 1483017 w 1483016"/>
                <a:gd name="connsiteY91" fmla="*/ 83291 h 94426"/>
                <a:gd name="connsiteX92" fmla="*/ 1432410 w 1483016"/>
                <a:gd name="connsiteY92" fmla="*/ 60241 h 9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483016" h="94426">
                  <a:moveTo>
                    <a:pt x="1432410" y="60241"/>
                  </a:moveTo>
                  <a:cubicBezTo>
                    <a:pt x="1427748" y="55734"/>
                    <a:pt x="1423449" y="50813"/>
                    <a:pt x="1418788" y="45634"/>
                  </a:cubicBezTo>
                  <a:cubicBezTo>
                    <a:pt x="1409309" y="35015"/>
                    <a:pt x="1399519" y="24034"/>
                    <a:pt x="1386518" y="15229"/>
                  </a:cubicBezTo>
                  <a:cubicBezTo>
                    <a:pt x="1371548" y="5128"/>
                    <a:pt x="1354196" y="0"/>
                    <a:pt x="1334876" y="0"/>
                  </a:cubicBezTo>
                  <a:cubicBezTo>
                    <a:pt x="1334720" y="0"/>
                    <a:pt x="1334616" y="0"/>
                    <a:pt x="1334462" y="0"/>
                  </a:cubicBezTo>
                  <a:cubicBezTo>
                    <a:pt x="1299135" y="0"/>
                    <a:pt x="1277950" y="17041"/>
                    <a:pt x="1265105" y="29835"/>
                  </a:cubicBezTo>
                  <a:cubicBezTo>
                    <a:pt x="1259873" y="34963"/>
                    <a:pt x="1255055" y="40402"/>
                    <a:pt x="1250342" y="45634"/>
                  </a:cubicBezTo>
                  <a:cubicBezTo>
                    <a:pt x="1241174" y="55786"/>
                    <a:pt x="1232575" y="65420"/>
                    <a:pt x="1222475" y="72206"/>
                  </a:cubicBezTo>
                  <a:cubicBezTo>
                    <a:pt x="1211235" y="79613"/>
                    <a:pt x="1200461" y="82824"/>
                    <a:pt x="1186320" y="82876"/>
                  </a:cubicBezTo>
                  <a:cubicBezTo>
                    <a:pt x="1163684" y="82824"/>
                    <a:pt x="1149751" y="73760"/>
                    <a:pt x="1135921" y="60292"/>
                  </a:cubicBezTo>
                  <a:cubicBezTo>
                    <a:pt x="1131259" y="55786"/>
                    <a:pt x="1126960" y="50865"/>
                    <a:pt x="1122298" y="45685"/>
                  </a:cubicBezTo>
                  <a:cubicBezTo>
                    <a:pt x="1112819" y="35067"/>
                    <a:pt x="1103030" y="24086"/>
                    <a:pt x="1090028" y="15332"/>
                  </a:cubicBezTo>
                  <a:cubicBezTo>
                    <a:pt x="1075059" y="5232"/>
                    <a:pt x="1057707" y="104"/>
                    <a:pt x="1038386" y="104"/>
                  </a:cubicBezTo>
                  <a:cubicBezTo>
                    <a:pt x="1038231" y="104"/>
                    <a:pt x="1038127" y="104"/>
                    <a:pt x="1037972" y="104"/>
                  </a:cubicBezTo>
                  <a:cubicBezTo>
                    <a:pt x="1002646" y="104"/>
                    <a:pt x="981409" y="17145"/>
                    <a:pt x="968563" y="29939"/>
                  </a:cubicBezTo>
                  <a:cubicBezTo>
                    <a:pt x="963332" y="35067"/>
                    <a:pt x="958514" y="40506"/>
                    <a:pt x="953800" y="45685"/>
                  </a:cubicBezTo>
                  <a:cubicBezTo>
                    <a:pt x="944633" y="55890"/>
                    <a:pt x="935982" y="65472"/>
                    <a:pt x="925830" y="72258"/>
                  </a:cubicBezTo>
                  <a:cubicBezTo>
                    <a:pt x="914746" y="79561"/>
                    <a:pt x="903557" y="82876"/>
                    <a:pt x="889624" y="82928"/>
                  </a:cubicBezTo>
                  <a:cubicBezTo>
                    <a:pt x="866936" y="82876"/>
                    <a:pt x="853003" y="73812"/>
                    <a:pt x="839172" y="60344"/>
                  </a:cubicBezTo>
                  <a:cubicBezTo>
                    <a:pt x="834563" y="55838"/>
                    <a:pt x="830212" y="50917"/>
                    <a:pt x="825550" y="45737"/>
                  </a:cubicBezTo>
                  <a:cubicBezTo>
                    <a:pt x="816071" y="35119"/>
                    <a:pt x="806229" y="24138"/>
                    <a:pt x="793228" y="15332"/>
                  </a:cubicBezTo>
                  <a:cubicBezTo>
                    <a:pt x="778207" y="5232"/>
                    <a:pt x="760803" y="104"/>
                    <a:pt x="741431" y="104"/>
                  </a:cubicBezTo>
                  <a:cubicBezTo>
                    <a:pt x="741275" y="104"/>
                    <a:pt x="741172" y="104"/>
                    <a:pt x="741016" y="104"/>
                  </a:cubicBezTo>
                  <a:cubicBezTo>
                    <a:pt x="705690" y="104"/>
                    <a:pt x="684505" y="17145"/>
                    <a:pt x="671659" y="29939"/>
                  </a:cubicBezTo>
                  <a:cubicBezTo>
                    <a:pt x="666428" y="35067"/>
                    <a:pt x="661610" y="40506"/>
                    <a:pt x="656897" y="45737"/>
                  </a:cubicBezTo>
                  <a:cubicBezTo>
                    <a:pt x="647729" y="55890"/>
                    <a:pt x="639130" y="65472"/>
                    <a:pt x="629030" y="72258"/>
                  </a:cubicBezTo>
                  <a:cubicBezTo>
                    <a:pt x="617945" y="79561"/>
                    <a:pt x="606757" y="82876"/>
                    <a:pt x="592875" y="82928"/>
                  </a:cubicBezTo>
                  <a:cubicBezTo>
                    <a:pt x="570240" y="82876"/>
                    <a:pt x="556358" y="73812"/>
                    <a:pt x="542528" y="60344"/>
                  </a:cubicBezTo>
                  <a:cubicBezTo>
                    <a:pt x="537918" y="55838"/>
                    <a:pt x="533515" y="50917"/>
                    <a:pt x="528957" y="45737"/>
                  </a:cubicBezTo>
                  <a:cubicBezTo>
                    <a:pt x="519478" y="35119"/>
                    <a:pt x="509688" y="24138"/>
                    <a:pt x="496687" y="15332"/>
                  </a:cubicBezTo>
                  <a:cubicBezTo>
                    <a:pt x="481666" y="5180"/>
                    <a:pt x="464417" y="52"/>
                    <a:pt x="444734" y="104"/>
                  </a:cubicBezTo>
                  <a:cubicBezTo>
                    <a:pt x="444682" y="104"/>
                    <a:pt x="444631" y="104"/>
                    <a:pt x="444631" y="104"/>
                  </a:cubicBezTo>
                  <a:cubicBezTo>
                    <a:pt x="409305" y="104"/>
                    <a:pt x="388119" y="17145"/>
                    <a:pt x="375274" y="29939"/>
                  </a:cubicBezTo>
                  <a:cubicBezTo>
                    <a:pt x="370094" y="35067"/>
                    <a:pt x="365225" y="40506"/>
                    <a:pt x="360511" y="45737"/>
                  </a:cubicBezTo>
                  <a:cubicBezTo>
                    <a:pt x="351343" y="55890"/>
                    <a:pt x="342745" y="65524"/>
                    <a:pt x="332644" y="72309"/>
                  </a:cubicBezTo>
                  <a:cubicBezTo>
                    <a:pt x="321404" y="79716"/>
                    <a:pt x="310630" y="82928"/>
                    <a:pt x="296489" y="82980"/>
                  </a:cubicBezTo>
                  <a:cubicBezTo>
                    <a:pt x="273854" y="82928"/>
                    <a:pt x="259920" y="73863"/>
                    <a:pt x="246090" y="60396"/>
                  </a:cubicBezTo>
                  <a:cubicBezTo>
                    <a:pt x="241480" y="55890"/>
                    <a:pt x="237129" y="50969"/>
                    <a:pt x="232468" y="45789"/>
                  </a:cubicBezTo>
                  <a:cubicBezTo>
                    <a:pt x="222989" y="35171"/>
                    <a:pt x="213199" y="24189"/>
                    <a:pt x="200198" y="15384"/>
                  </a:cubicBezTo>
                  <a:cubicBezTo>
                    <a:pt x="185228" y="5283"/>
                    <a:pt x="167876" y="155"/>
                    <a:pt x="148555" y="155"/>
                  </a:cubicBezTo>
                  <a:cubicBezTo>
                    <a:pt x="148400" y="155"/>
                    <a:pt x="148297" y="155"/>
                    <a:pt x="148141" y="155"/>
                  </a:cubicBezTo>
                  <a:cubicBezTo>
                    <a:pt x="112867" y="155"/>
                    <a:pt x="91630" y="17197"/>
                    <a:pt x="78784" y="29991"/>
                  </a:cubicBezTo>
                  <a:cubicBezTo>
                    <a:pt x="73553" y="35119"/>
                    <a:pt x="68735" y="40558"/>
                    <a:pt x="64022" y="45789"/>
                  </a:cubicBezTo>
                  <a:cubicBezTo>
                    <a:pt x="54854" y="55941"/>
                    <a:pt x="46255" y="65576"/>
                    <a:pt x="36155" y="72309"/>
                  </a:cubicBezTo>
                  <a:cubicBezTo>
                    <a:pt x="25070" y="79665"/>
                    <a:pt x="13882" y="82980"/>
                    <a:pt x="0" y="82980"/>
                  </a:cubicBezTo>
                  <a:lnTo>
                    <a:pt x="52" y="94116"/>
                  </a:lnTo>
                  <a:cubicBezTo>
                    <a:pt x="16213" y="94064"/>
                    <a:pt x="29214" y="90231"/>
                    <a:pt x="42215" y="81633"/>
                  </a:cubicBezTo>
                  <a:cubicBezTo>
                    <a:pt x="53507" y="74122"/>
                    <a:pt x="62623" y="64022"/>
                    <a:pt x="72258" y="53300"/>
                  </a:cubicBezTo>
                  <a:cubicBezTo>
                    <a:pt x="76868" y="48172"/>
                    <a:pt x="81581" y="42940"/>
                    <a:pt x="86554" y="37968"/>
                  </a:cubicBezTo>
                  <a:cubicBezTo>
                    <a:pt x="99037" y="25536"/>
                    <a:pt x="117270" y="11292"/>
                    <a:pt x="148245" y="11292"/>
                  </a:cubicBezTo>
                  <a:cubicBezTo>
                    <a:pt x="148348" y="11292"/>
                    <a:pt x="148504" y="11292"/>
                    <a:pt x="148607" y="11292"/>
                  </a:cubicBezTo>
                  <a:cubicBezTo>
                    <a:pt x="165752" y="11292"/>
                    <a:pt x="181084" y="15798"/>
                    <a:pt x="194189" y="24656"/>
                  </a:cubicBezTo>
                  <a:cubicBezTo>
                    <a:pt x="206102" y="32684"/>
                    <a:pt x="215374" y="43147"/>
                    <a:pt x="224439" y="53300"/>
                  </a:cubicBezTo>
                  <a:cubicBezTo>
                    <a:pt x="228997" y="58376"/>
                    <a:pt x="233711" y="63659"/>
                    <a:pt x="238580" y="68476"/>
                  </a:cubicBezTo>
                  <a:cubicBezTo>
                    <a:pt x="252202" y="81788"/>
                    <a:pt x="268726" y="94116"/>
                    <a:pt x="296541" y="94220"/>
                  </a:cubicBezTo>
                  <a:cubicBezTo>
                    <a:pt x="312754" y="94168"/>
                    <a:pt x="325755" y="90335"/>
                    <a:pt x="338704" y="81737"/>
                  </a:cubicBezTo>
                  <a:cubicBezTo>
                    <a:pt x="349996" y="74226"/>
                    <a:pt x="359113" y="64125"/>
                    <a:pt x="368747" y="53403"/>
                  </a:cubicBezTo>
                  <a:cubicBezTo>
                    <a:pt x="373357" y="48275"/>
                    <a:pt x="378071" y="43044"/>
                    <a:pt x="383043" y="38071"/>
                  </a:cubicBezTo>
                  <a:cubicBezTo>
                    <a:pt x="395526" y="25640"/>
                    <a:pt x="413759" y="11395"/>
                    <a:pt x="444734" y="11395"/>
                  </a:cubicBezTo>
                  <a:cubicBezTo>
                    <a:pt x="444838" y="11395"/>
                    <a:pt x="444993" y="11395"/>
                    <a:pt x="445097" y="11395"/>
                  </a:cubicBezTo>
                  <a:cubicBezTo>
                    <a:pt x="462242" y="11395"/>
                    <a:pt x="477574" y="15902"/>
                    <a:pt x="490678" y="24759"/>
                  </a:cubicBezTo>
                  <a:cubicBezTo>
                    <a:pt x="502592" y="32788"/>
                    <a:pt x="511864" y="43251"/>
                    <a:pt x="520928" y="53403"/>
                  </a:cubicBezTo>
                  <a:cubicBezTo>
                    <a:pt x="525487" y="58479"/>
                    <a:pt x="530200" y="63711"/>
                    <a:pt x="535069" y="68528"/>
                  </a:cubicBezTo>
                  <a:cubicBezTo>
                    <a:pt x="548692" y="81840"/>
                    <a:pt x="565215" y="94168"/>
                    <a:pt x="593031" y="94272"/>
                  </a:cubicBezTo>
                  <a:cubicBezTo>
                    <a:pt x="609243" y="94220"/>
                    <a:pt x="622244" y="90387"/>
                    <a:pt x="635246" y="81788"/>
                  </a:cubicBezTo>
                  <a:cubicBezTo>
                    <a:pt x="646538" y="74278"/>
                    <a:pt x="655654" y="64177"/>
                    <a:pt x="665236" y="53455"/>
                  </a:cubicBezTo>
                  <a:cubicBezTo>
                    <a:pt x="669846" y="48327"/>
                    <a:pt x="674560" y="43096"/>
                    <a:pt x="679533" y="38123"/>
                  </a:cubicBezTo>
                  <a:cubicBezTo>
                    <a:pt x="692016" y="25692"/>
                    <a:pt x="710352" y="11447"/>
                    <a:pt x="741275" y="11447"/>
                  </a:cubicBezTo>
                  <a:cubicBezTo>
                    <a:pt x="741379" y="11447"/>
                    <a:pt x="741534" y="11447"/>
                    <a:pt x="741638" y="11447"/>
                  </a:cubicBezTo>
                  <a:cubicBezTo>
                    <a:pt x="758783" y="11447"/>
                    <a:pt x="774167" y="15954"/>
                    <a:pt x="787272" y="24811"/>
                  </a:cubicBezTo>
                  <a:cubicBezTo>
                    <a:pt x="799185" y="32840"/>
                    <a:pt x="808509" y="43355"/>
                    <a:pt x="817573" y="53455"/>
                  </a:cubicBezTo>
                  <a:cubicBezTo>
                    <a:pt x="822131" y="58531"/>
                    <a:pt x="826845" y="63763"/>
                    <a:pt x="831714" y="68580"/>
                  </a:cubicBezTo>
                  <a:cubicBezTo>
                    <a:pt x="845389" y="81892"/>
                    <a:pt x="861912" y="94220"/>
                    <a:pt x="889779" y="94323"/>
                  </a:cubicBezTo>
                  <a:cubicBezTo>
                    <a:pt x="905991" y="94272"/>
                    <a:pt x="918993" y="90439"/>
                    <a:pt x="931994" y="81840"/>
                  </a:cubicBezTo>
                  <a:cubicBezTo>
                    <a:pt x="943338" y="74330"/>
                    <a:pt x="952454" y="64177"/>
                    <a:pt x="962089" y="53455"/>
                  </a:cubicBezTo>
                  <a:cubicBezTo>
                    <a:pt x="966699" y="48379"/>
                    <a:pt x="971412" y="43096"/>
                    <a:pt x="976385" y="38175"/>
                  </a:cubicBezTo>
                  <a:cubicBezTo>
                    <a:pt x="988868" y="25743"/>
                    <a:pt x="1007204" y="11499"/>
                    <a:pt x="1038179" y="11499"/>
                  </a:cubicBezTo>
                  <a:cubicBezTo>
                    <a:pt x="1038283" y="11499"/>
                    <a:pt x="1038438" y="11499"/>
                    <a:pt x="1038542" y="11499"/>
                  </a:cubicBezTo>
                  <a:cubicBezTo>
                    <a:pt x="1055687" y="11499"/>
                    <a:pt x="1071018" y="16005"/>
                    <a:pt x="1084123" y="24863"/>
                  </a:cubicBezTo>
                  <a:cubicBezTo>
                    <a:pt x="1096037" y="32891"/>
                    <a:pt x="1105308" y="43355"/>
                    <a:pt x="1114373" y="53403"/>
                  </a:cubicBezTo>
                  <a:cubicBezTo>
                    <a:pt x="1118931" y="58479"/>
                    <a:pt x="1123645" y="63763"/>
                    <a:pt x="1128514" y="68580"/>
                  </a:cubicBezTo>
                  <a:cubicBezTo>
                    <a:pt x="1142137" y="81892"/>
                    <a:pt x="1158660" y="94220"/>
                    <a:pt x="1186475" y="94323"/>
                  </a:cubicBezTo>
                  <a:cubicBezTo>
                    <a:pt x="1202688" y="94272"/>
                    <a:pt x="1215689" y="90439"/>
                    <a:pt x="1228639" y="81840"/>
                  </a:cubicBezTo>
                  <a:cubicBezTo>
                    <a:pt x="1239931" y="74330"/>
                    <a:pt x="1249047" y="64229"/>
                    <a:pt x="1258682" y="53507"/>
                  </a:cubicBezTo>
                  <a:cubicBezTo>
                    <a:pt x="1263291" y="48379"/>
                    <a:pt x="1268005" y="43147"/>
                    <a:pt x="1272977" y="38175"/>
                  </a:cubicBezTo>
                  <a:cubicBezTo>
                    <a:pt x="1285461" y="25743"/>
                    <a:pt x="1303693" y="11499"/>
                    <a:pt x="1334720" y="11499"/>
                  </a:cubicBezTo>
                  <a:cubicBezTo>
                    <a:pt x="1334824" y="11499"/>
                    <a:pt x="1334979" y="11499"/>
                    <a:pt x="1335083" y="11499"/>
                  </a:cubicBezTo>
                  <a:cubicBezTo>
                    <a:pt x="1352228" y="11499"/>
                    <a:pt x="1367560" y="16005"/>
                    <a:pt x="1380665" y="24863"/>
                  </a:cubicBezTo>
                  <a:cubicBezTo>
                    <a:pt x="1392578" y="32891"/>
                    <a:pt x="1401850" y="43355"/>
                    <a:pt x="1410914" y="53507"/>
                  </a:cubicBezTo>
                  <a:cubicBezTo>
                    <a:pt x="1415472" y="58583"/>
                    <a:pt x="1420186" y="63866"/>
                    <a:pt x="1425055" y="68684"/>
                  </a:cubicBezTo>
                  <a:cubicBezTo>
                    <a:pt x="1438678" y="81996"/>
                    <a:pt x="1455201" y="94323"/>
                    <a:pt x="1483017" y="94427"/>
                  </a:cubicBezTo>
                  <a:lnTo>
                    <a:pt x="1483017" y="83291"/>
                  </a:lnTo>
                  <a:cubicBezTo>
                    <a:pt x="1460122" y="82773"/>
                    <a:pt x="1446292" y="73708"/>
                    <a:pt x="1432410" y="60241"/>
                  </a:cubicBezTo>
                  <a:close/>
                </a:path>
              </a:pathLst>
            </a:custGeom>
            <a:solidFill>
              <a:schemeClr val="accent1"/>
            </a:solidFill>
            <a:ln w="5175" cap="flat">
              <a:noFill/>
              <a:prstDash val="solid"/>
              <a:miter/>
            </a:ln>
          </p:spPr>
          <p:txBody>
            <a:bodyPr rtlCol="0" anchor="ctr"/>
            <a:lstStyle/>
            <a:p>
              <a:endParaRPr lang="en-IN" dirty="0"/>
            </a:p>
          </p:txBody>
        </p:sp>
        <p:sp>
          <p:nvSpPr>
            <p:cNvPr id="83" name="Freeform: Shape 82">
              <a:extLst>
                <a:ext uri="{FF2B5EF4-FFF2-40B4-BE49-F238E27FC236}">
                  <a16:creationId xmlns:a16="http://schemas.microsoft.com/office/drawing/2014/main" id="{382A2A63-F20A-49B2-B3DA-72B9BD94505D}"/>
                </a:ext>
              </a:extLst>
            </p:cNvPr>
            <p:cNvSpPr/>
            <p:nvPr/>
          </p:nvSpPr>
          <p:spPr>
            <a:xfrm>
              <a:off x="195721" y="4864179"/>
              <a:ext cx="1483016" cy="94427"/>
            </a:xfrm>
            <a:custGeom>
              <a:avLst/>
              <a:gdLst>
                <a:gd name="connsiteX0" fmla="*/ 1418788 w 1483016"/>
                <a:gd name="connsiteY0" fmla="*/ 45634 h 94427"/>
                <a:gd name="connsiteX1" fmla="*/ 1386518 w 1483016"/>
                <a:gd name="connsiteY1" fmla="*/ 15229 h 94427"/>
                <a:gd name="connsiteX2" fmla="*/ 1334876 w 1483016"/>
                <a:gd name="connsiteY2" fmla="*/ 0 h 94427"/>
                <a:gd name="connsiteX3" fmla="*/ 1334462 w 1483016"/>
                <a:gd name="connsiteY3" fmla="*/ 0 h 94427"/>
                <a:gd name="connsiteX4" fmla="*/ 1265105 w 1483016"/>
                <a:gd name="connsiteY4" fmla="*/ 29835 h 94427"/>
                <a:gd name="connsiteX5" fmla="*/ 1250342 w 1483016"/>
                <a:gd name="connsiteY5" fmla="*/ 45634 h 94427"/>
                <a:gd name="connsiteX6" fmla="*/ 1222475 w 1483016"/>
                <a:gd name="connsiteY6" fmla="*/ 72206 h 94427"/>
                <a:gd name="connsiteX7" fmla="*/ 1186320 w 1483016"/>
                <a:gd name="connsiteY7" fmla="*/ 82876 h 94427"/>
                <a:gd name="connsiteX8" fmla="*/ 1135921 w 1483016"/>
                <a:gd name="connsiteY8" fmla="*/ 60292 h 94427"/>
                <a:gd name="connsiteX9" fmla="*/ 1122298 w 1483016"/>
                <a:gd name="connsiteY9" fmla="*/ 45686 h 94427"/>
                <a:gd name="connsiteX10" fmla="*/ 1090028 w 1483016"/>
                <a:gd name="connsiteY10" fmla="*/ 15332 h 94427"/>
                <a:gd name="connsiteX11" fmla="*/ 1038386 w 1483016"/>
                <a:gd name="connsiteY11" fmla="*/ 104 h 94427"/>
                <a:gd name="connsiteX12" fmla="*/ 1037972 w 1483016"/>
                <a:gd name="connsiteY12" fmla="*/ 104 h 94427"/>
                <a:gd name="connsiteX13" fmla="*/ 968563 w 1483016"/>
                <a:gd name="connsiteY13" fmla="*/ 29939 h 94427"/>
                <a:gd name="connsiteX14" fmla="*/ 953801 w 1483016"/>
                <a:gd name="connsiteY14" fmla="*/ 45686 h 94427"/>
                <a:gd name="connsiteX15" fmla="*/ 925830 w 1483016"/>
                <a:gd name="connsiteY15" fmla="*/ 72258 h 94427"/>
                <a:gd name="connsiteX16" fmla="*/ 889624 w 1483016"/>
                <a:gd name="connsiteY16" fmla="*/ 82928 h 94427"/>
                <a:gd name="connsiteX17" fmla="*/ 839173 w 1483016"/>
                <a:gd name="connsiteY17" fmla="*/ 60344 h 94427"/>
                <a:gd name="connsiteX18" fmla="*/ 825550 w 1483016"/>
                <a:gd name="connsiteY18" fmla="*/ 45737 h 94427"/>
                <a:gd name="connsiteX19" fmla="*/ 793229 w 1483016"/>
                <a:gd name="connsiteY19" fmla="*/ 15332 h 94427"/>
                <a:gd name="connsiteX20" fmla="*/ 741431 w 1483016"/>
                <a:gd name="connsiteY20" fmla="*/ 104 h 94427"/>
                <a:gd name="connsiteX21" fmla="*/ 741016 w 1483016"/>
                <a:gd name="connsiteY21" fmla="*/ 104 h 94427"/>
                <a:gd name="connsiteX22" fmla="*/ 671660 w 1483016"/>
                <a:gd name="connsiteY22" fmla="*/ 29939 h 94427"/>
                <a:gd name="connsiteX23" fmla="*/ 656897 w 1483016"/>
                <a:gd name="connsiteY23" fmla="*/ 45737 h 94427"/>
                <a:gd name="connsiteX24" fmla="*/ 629030 w 1483016"/>
                <a:gd name="connsiteY24" fmla="*/ 72258 h 94427"/>
                <a:gd name="connsiteX25" fmla="*/ 592875 w 1483016"/>
                <a:gd name="connsiteY25" fmla="*/ 82928 h 94427"/>
                <a:gd name="connsiteX26" fmla="*/ 542528 w 1483016"/>
                <a:gd name="connsiteY26" fmla="*/ 60344 h 94427"/>
                <a:gd name="connsiteX27" fmla="*/ 528957 w 1483016"/>
                <a:gd name="connsiteY27" fmla="*/ 45737 h 94427"/>
                <a:gd name="connsiteX28" fmla="*/ 496687 w 1483016"/>
                <a:gd name="connsiteY28" fmla="*/ 15332 h 94427"/>
                <a:gd name="connsiteX29" fmla="*/ 444734 w 1483016"/>
                <a:gd name="connsiteY29" fmla="*/ 104 h 94427"/>
                <a:gd name="connsiteX30" fmla="*/ 444631 w 1483016"/>
                <a:gd name="connsiteY30" fmla="*/ 104 h 94427"/>
                <a:gd name="connsiteX31" fmla="*/ 375274 w 1483016"/>
                <a:gd name="connsiteY31" fmla="*/ 29939 h 94427"/>
                <a:gd name="connsiteX32" fmla="*/ 360511 w 1483016"/>
                <a:gd name="connsiteY32" fmla="*/ 45737 h 94427"/>
                <a:gd name="connsiteX33" fmla="*/ 332644 w 1483016"/>
                <a:gd name="connsiteY33" fmla="*/ 72309 h 94427"/>
                <a:gd name="connsiteX34" fmla="*/ 296489 w 1483016"/>
                <a:gd name="connsiteY34" fmla="*/ 82980 h 94427"/>
                <a:gd name="connsiteX35" fmla="*/ 246090 w 1483016"/>
                <a:gd name="connsiteY35" fmla="*/ 60396 h 94427"/>
                <a:gd name="connsiteX36" fmla="*/ 232468 w 1483016"/>
                <a:gd name="connsiteY36" fmla="*/ 45789 h 94427"/>
                <a:gd name="connsiteX37" fmla="*/ 200198 w 1483016"/>
                <a:gd name="connsiteY37" fmla="*/ 15384 h 94427"/>
                <a:gd name="connsiteX38" fmla="*/ 148555 w 1483016"/>
                <a:gd name="connsiteY38" fmla="*/ 155 h 94427"/>
                <a:gd name="connsiteX39" fmla="*/ 148141 w 1483016"/>
                <a:gd name="connsiteY39" fmla="*/ 155 h 94427"/>
                <a:gd name="connsiteX40" fmla="*/ 78784 w 1483016"/>
                <a:gd name="connsiteY40" fmla="*/ 29991 h 94427"/>
                <a:gd name="connsiteX41" fmla="*/ 64022 w 1483016"/>
                <a:gd name="connsiteY41" fmla="*/ 45789 h 94427"/>
                <a:gd name="connsiteX42" fmla="*/ 36155 w 1483016"/>
                <a:gd name="connsiteY42" fmla="*/ 72309 h 94427"/>
                <a:gd name="connsiteX43" fmla="*/ 0 w 1483016"/>
                <a:gd name="connsiteY43" fmla="*/ 82980 h 94427"/>
                <a:gd name="connsiteX44" fmla="*/ 52 w 1483016"/>
                <a:gd name="connsiteY44" fmla="*/ 94116 h 94427"/>
                <a:gd name="connsiteX45" fmla="*/ 42215 w 1483016"/>
                <a:gd name="connsiteY45" fmla="*/ 81633 h 94427"/>
                <a:gd name="connsiteX46" fmla="*/ 72258 w 1483016"/>
                <a:gd name="connsiteY46" fmla="*/ 53300 h 94427"/>
                <a:gd name="connsiteX47" fmla="*/ 86554 w 1483016"/>
                <a:gd name="connsiteY47" fmla="*/ 37968 h 94427"/>
                <a:gd name="connsiteX48" fmla="*/ 148245 w 1483016"/>
                <a:gd name="connsiteY48" fmla="*/ 11292 h 94427"/>
                <a:gd name="connsiteX49" fmla="*/ 148607 w 1483016"/>
                <a:gd name="connsiteY49" fmla="*/ 11292 h 94427"/>
                <a:gd name="connsiteX50" fmla="*/ 194189 w 1483016"/>
                <a:gd name="connsiteY50" fmla="*/ 24656 h 94427"/>
                <a:gd name="connsiteX51" fmla="*/ 224439 w 1483016"/>
                <a:gd name="connsiteY51" fmla="*/ 53300 h 94427"/>
                <a:gd name="connsiteX52" fmla="*/ 238580 w 1483016"/>
                <a:gd name="connsiteY52" fmla="*/ 68476 h 94427"/>
                <a:gd name="connsiteX53" fmla="*/ 296541 w 1483016"/>
                <a:gd name="connsiteY53" fmla="*/ 94220 h 94427"/>
                <a:gd name="connsiteX54" fmla="*/ 338704 w 1483016"/>
                <a:gd name="connsiteY54" fmla="*/ 81737 h 94427"/>
                <a:gd name="connsiteX55" fmla="*/ 368747 w 1483016"/>
                <a:gd name="connsiteY55" fmla="*/ 53403 h 94427"/>
                <a:gd name="connsiteX56" fmla="*/ 383043 w 1483016"/>
                <a:gd name="connsiteY56" fmla="*/ 38071 h 94427"/>
                <a:gd name="connsiteX57" fmla="*/ 444734 w 1483016"/>
                <a:gd name="connsiteY57" fmla="*/ 11395 h 94427"/>
                <a:gd name="connsiteX58" fmla="*/ 445097 w 1483016"/>
                <a:gd name="connsiteY58" fmla="*/ 11395 h 94427"/>
                <a:gd name="connsiteX59" fmla="*/ 490679 w 1483016"/>
                <a:gd name="connsiteY59" fmla="*/ 24759 h 94427"/>
                <a:gd name="connsiteX60" fmla="*/ 520928 w 1483016"/>
                <a:gd name="connsiteY60" fmla="*/ 53403 h 94427"/>
                <a:gd name="connsiteX61" fmla="*/ 535069 w 1483016"/>
                <a:gd name="connsiteY61" fmla="*/ 68528 h 94427"/>
                <a:gd name="connsiteX62" fmla="*/ 593031 w 1483016"/>
                <a:gd name="connsiteY62" fmla="*/ 94272 h 94427"/>
                <a:gd name="connsiteX63" fmla="*/ 635246 w 1483016"/>
                <a:gd name="connsiteY63" fmla="*/ 81788 h 94427"/>
                <a:gd name="connsiteX64" fmla="*/ 665236 w 1483016"/>
                <a:gd name="connsiteY64" fmla="*/ 53455 h 94427"/>
                <a:gd name="connsiteX65" fmla="*/ 679533 w 1483016"/>
                <a:gd name="connsiteY65" fmla="*/ 38123 h 94427"/>
                <a:gd name="connsiteX66" fmla="*/ 741275 w 1483016"/>
                <a:gd name="connsiteY66" fmla="*/ 11447 h 94427"/>
                <a:gd name="connsiteX67" fmla="*/ 741638 w 1483016"/>
                <a:gd name="connsiteY67" fmla="*/ 11447 h 94427"/>
                <a:gd name="connsiteX68" fmla="*/ 787272 w 1483016"/>
                <a:gd name="connsiteY68" fmla="*/ 24811 h 94427"/>
                <a:gd name="connsiteX69" fmla="*/ 817573 w 1483016"/>
                <a:gd name="connsiteY69" fmla="*/ 53455 h 94427"/>
                <a:gd name="connsiteX70" fmla="*/ 831714 w 1483016"/>
                <a:gd name="connsiteY70" fmla="*/ 68580 h 94427"/>
                <a:gd name="connsiteX71" fmla="*/ 889779 w 1483016"/>
                <a:gd name="connsiteY71" fmla="*/ 94323 h 94427"/>
                <a:gd name="connsiteX72" fmla="*/ 931994 w 1483016"/>
                <a:gd name="connsiteY72" fmla="*/ 81840 h 94427"/>
                <a:gd name="connsiteX73" fmla="*/ 962089 w 1483016"/>
                <a:gd name="connsiteY73" fmla="*/ 53455 h 94427"/>
                <a:gd name="connsiteX74" fmla="*/ 976385 w 1483016"/>
                <a:gd name="connsiteY74" fmla="*/ 38175 h 94427"/>
                <a:gd name="connsiteX75" fmla="*/ 1038179 w 1483016"/>
                <a:gd name="connsiteY75" fmla="*/ 11499 h 94427"/>
                <a:gd name="connsiteX76" fmla="*/ 1038542 w 1483016"/>
                <a:gd name="connsiteY76" fmla="*/ 11499 h 94427"/>
                <a:gd name="connsiteX77" fmla="*/ 1084123 w 1483016"/>
                <a:gd name="connsiteY77" fmla="*/ 24863 h 94427"/>
                <a:gd name="connsiteX78" fmla="*/ 1114374 w 1483016"/>
                <a:gd name="connsiteY78" fmla="*/ 53403 h 94427"/>
                <a:gd name="connsiteX79" fmla="*/ 1128514 w 1483016"/>
                <a:gd name="connsiteY79" fmla="*/ 68580 h 94427"/>
                <a:gd name="connsiteX80" fmla="*/ 1186475 w 1483016"/>
                <a:gd name="connsiteY80" fmla="*/ 94323 h 94427"/>
                <a:gd name="connsiteX81" fmla="*/ 1228639 w 1483016"/>
                <a:gd name="connsiteY81" fmla="*/ 81840 h 94427"/>
                <a:gd name="connsiteX82" fmla="*/ 1258682 w 1483016"/>
                <a:gd name="connsiteY82" fmla="*/ 53507 h 94427"/>
                <a:gd name="connsiteX83" fmla="*/ 1272978 w 1483016"/>
                <a:gd name="connsiteY83" fmla="*/ 38175 h 94427"/>
                <a:gd name="connsiteX84" fmla="*/ 1334720 w 1483016"/>
                <a:gd name="connsiteY84" fmla="*/ 11499 h 94427"/>
                <a:gd name="connsiteX85" fmla="*/ 1335083 w 1483016"/>
                <a:gd name="connsiteY85" fmla="*/ 11499 h 94427"/>
                <a:gd name="connsiteX86" fmla="*/ 1380665 w 1483016"/>
                <a:gd name="connsiteY86" fmla="*/ 24863 h 94427"/>
                <a:gd name="connsiteX87" fmla="*/ 1410915 w 1483016"/>
                <a:gd name="connsiteY87" fmla="*/ 53507 h 94427"/>
                <a:gd name="connsiteX88" fmla="*/ 1425055 w 1483016"/>
                <a:gd name="connsiteY88" fmla="*/ 68684 h 94427"/>
                <a:gd name="connsiteX89" fmla="*/ 1483017 w 1483016"/>
                <a:gd name="connsiteY89" fmla="*/ 94427 h 94427"/>
                <a:gd name="connsiteX90" fmla="*/ 1483017 w 1483016"/>
                <a:gd name="connsiteY90" fmla="*/ 83290 h 94427"/>
                <a:gd name="connsiteX91" fmla="*/ 1432618 w 1483016"/>
                <a:gd name="connsiteY91" fmla="*/ 60707 h 94427"/>
                <a:gd name="connsiteX92" fmla="*/ 1418788 w 1483016"/>
                <a:gd name="connsiteY92" fmla="*/ 45634 h 9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483016" h="94427">
                  <a:moveTo>
                    <a:pt x="1418788" y="45634"/>
                  </a:moveTo>
                  <a:cubicBezTo>
                    <a:pt x="1409309" y="35015"/>
                    <a:pt x="1399519" y="24034"/>
                    <a:pt x="1386518" y="15229"/>
                  </a:cubicBezTo>
                  <a:cubicBezTo>
                    <a:pt x="1371548" y="5128"/>
                    <a:pt x="1354196" y="0"/>
                    <a:pt x="1334876" y="0"/>
                  </a:cubicBezTo>
                  <a:cubicBezTo>
                    <a:pt x="1334720" y="0"/>
                    <a:pt x="1334616" y="0"/>
                    <a:pt x="1334462" y="0"/>
                  </a:cubicBezTo>
                  <a:cubicBezTo>
                    <a:pt x="1299135" y="0"/>
                    <a:pt x="1277950" y="17041"/>
                    <a:pt x="1265105" y="29835"/>
                  </a:cubicBezTo>
                  <a:cubicBezTo>
                    <a:pt x="1259873" y="34963"/>
                    <a:pt x="1255055" y="40402"/>
                    <a:pt x="1250342" y="45634"/>
                  </a:cubicBezTo>
                  <a:cubicBezTo>
                    <a:pt x="1241174" y="55786"/>
                    <a:pt x="1232575" y="65420"/>
                    <a:pt x="1222475" y="72206"/>
                  </a:cubicBezTo>
                  <a:cubicBezTo>
                    <a:pt x="1211235" y="79613"/>
                    <a:pt x="1200461" y="82824"/>
                    <a:pt x="1186320" y="82876"/>
                  </a:cubicBezTo>
                  <a:cubicBezTo>
                    <a:pt x="1163684" y="82824"/>
                    <a:pt x="1149751" y="73760"/>
                    <a:pt x="1135921" y="60292"/>
                  </a:cubicBezTo>
                  <a:cubicBezTo>
                    <a:pt x="1131259" y="55786"/>
                    <a:pt x="1126960" y="50865"/>
                    <a:pt x="1122298" y="45686"/>
                  </a:cubicBezTo>
                  <a:cubicBezTo>
                    <a:pt x="1112819" y="35067"/>
                    <a:pt x="1103030" y="24086"/>
                    <a:pt x="1090028" y="15332"/>
                  </a:cubicBezTo>
                  <a:cubicBezTo>
                    <a:pt x="1075059" y="5232"/>
                    <a:pt x="1057707" y="104"/>
                    <a:pt x="1038386" y="104"/>
                  </a:cubicBezTo>
                  <a:cubicBezTo>
                    <a:pt x="1038231" y="104"/>
                    <a:pt x="1038127" y="104"/>
                    <a:pt x="1037972" y="104"/>
                  </a:cubicBezTo>
                  <a:cubicBezTo>
                    <a:pt x="1002646" y="104"/>
                    <a:pt x="981409" y="17093"/>
                    <a:pt x="968563" y="29939"/>
                  </a:cubicBezTo>
                  <a:cubicBezTo>
                    <a:pt x="963332" y="35067"/>
                    <a:pt x="958514" y="40506"/>
                    <a:pt x="953801" y="45686"/>
                  </a:cubicBezTo>
                  <a:cubicBezTo>
                    <a:pt x="944633" y="55890"/>
                    <a:pt x="935982" y="65472"/>
                    <a:pt x="925830" y="72258"/>
                  </a:cubicBezTo>
                  <a:cubicBezTo>
                    <a:pt x="914746" y="79561"/>
                    <a:pt x="903557" y="82876"/>
                    <a:pt x="889624" y="82928"/>
                  </a:cubicBezTo>
                  <a:cubicBezTo>
                    <a:pt x="866936" y="82876"/>
                    <a:pt x="853003" y="73812"/>
                    <a:pt x="839173" y="60344"/>
                  </a:cubicBezTo>
                  <a:cubicBezTo>
                    <a:pt x="834563" y="55838"/>
                    <a:pt x="830212" y="50917"/>
                    <a:pt x="825550" y="45737"/>
                  </a:cubicBezTo>
                  <a:cubicBezTo>
                    <a:pt x="816071" y="35119"/>
                    <a:pt x="806229" y="24138"/>
                    <a:pt x="793229" y="15332"/>
                  </a:cubicBezTo>
                  <a:cubicBezTo>
                    <a:pt x="778207" y="5232"/>
                    <a:pt x="760803" y="104"/>
                    <a:pt x="741431" y="104"/>
                  </a:cubicBezTo>
                  <a:cubicBezTo>
                    <a:pt x="741275" y="104"/>
                    <a:pt x="741172" y="104"/>
                    <a:pt x="741016" y="104"/>
                  </a:cubicBezTo>
                  <a:cubicBezTo>
                    <a:pt x="705690" y="104"/>
                    <a:pt x="684505" y="17145"/>
                    <a:pt x="671660" y="29939"/>
                  </a:cubicBezTo>
                  <a:cubicBezTo>
                    <a:pt x="666428" y="35067"/>
                    <a:pt x="661611" y="40506"/>
                    <a:pt x="656897" y="45737"/>
                  </a:cubicBezTo>
                  <a:cubicBezTo>
                    <a:pt x="647729" y="55890"/>
                    <a:pt x="639130" y="65472"/>
                    <a:pt x="629030" y="72258"/>
                  </a:cubicBezTo>
                  <a:cubicBezTo>
                    <a:pt x="617945" y="79561"/>
                    <a:pt x="606757" y="82876"/>
                    <a:pt x="592875" y="82928"/>
                  </a:cubicBezTo>
                  <a:cubicBezTo>
                    <a:pt x="570240" y="82876"/>
                    <a:pt x="556358" y="73812"/>
                    <a:pt x="542528" y="60344"/>
                  </a:cubicBezTo>
                  <a:cubicBezTo>
                    <a:pt x="537918" y="55838"/>
                    <a:pt x="533515" y="50917"/>
                    <a:pt x="528957" y="45737"/>
                  </a:cubicBezTo>
                  <a:cubicBezTo>
                    <a:pt x="519478" y="35119"/>
                    <a:pt x="509688" y="24138"/>
                    <a:pt x="496687" y="15332"/>
                  </a:cubicBezTo>
                  <a:cubicBezTo>
                    <a:pt x="481666" y="5180"/>
                    <a:pt x="464417" y="52"/>
                    <a:pt x="444734" y="104"/>
                  </a:cubicBezTo>
                  <a:cubicBezTo>
                    <a:pt x="444682" y="104"/>
                    <a:pt x="444631" y="104"/>
                    <a:pt x="444631" y="104"/>
                  </a:cubicBezTo>
                  <a:cubicBezTo>
                    <a:pt x="409305" y="104"/>
                    <a:pt x="388119" y="17145"/>
                    <a:pt x="375274" y="29939"/>
                  </a:cubicBezTo>
                  <a:cubicBezTo>
                    <a:pt x="370094" y="35067"/>
                    <a:pt x="365225" y="40506"/>
                    <a:pt x="360511" y="45737"/>
                  </a:cubicBezTo>
                  <a:cubicBezTo>
                    <a:pt x="351343" y="55890"/>
                    <a:pt x="342745" y="65524"/>
                    <a:pt x="332644" y="72309"/>
                  </a:cubicBezTo>
                  <a:cubicBezTo>
                    <a:pt x="321404" y="79716"/>
                    <a:pt x="310630" y="82928"/>
                    <a:pt x="296489" y="82980"/>
                  </a:cubicBezTo>
                  <a:cubicBezTo>
                    <a:pt x="273854" y="82928"/>
                    <a:pt x="259920" y="73863"/>
                    <a:pt x="246090" y="60396"/>
                  </a:cubicBezTo>
                  <a:cubicBezTo>
                    <a:pt x="241480" y="55890"/>
                    <a:pt x="237129" y="50969"/>
                    <a:pt x="232468" y="45789"/>
                  </a:cubicBezTo>
                  <a:cubicBezTo>
                    <a:pt x="222989" y="35171"/>
                    <a:pt x="213199" y="24189"/>
                    <a:pt x="200198" y="15384"/>
                  </a:cubicBezTo>
                  <a:cubicBezTo>
                    <a:pt x="185228" y="5283"/>
                    <a:pt x="167876" y="155"/>
                    <a:pt x="148555" y="155"/>
                  </a:cubicBezTo>
                  <a:cubicBezTo>
                    <a:pt x="148400" y="155"/>
                    <a:pt x="148297" y="155"/>
                    <a:pt x="148141" y="155"/>
                  </a:cubicBezTo>
                  <a:cubicBezTo>
                    <a:pt x="112867" y="155"/>
                    <a:pt x="91630" y="17197"/>
                    <a:pt x="78784" y="29991"/>
                  </a:cubicBezTo>
                  <a:cubicBezTo>
                    <a:pt x="73553" y="35119"/>
                    <a:pt x="68735" y="40557"/>
                    <a:pt x="64022" y="45789"/>
                  </a:cubicBezTo>
                  <a:cubicBezTo>
                    <a:pt x="54854" y="55941"/>
                    <a:pt x="46255" y="65576"/>
                    <a:pt x="36155" y="72309"/>
                  </a:cubicBezTo>
                  <a:cubicBezTo>
                    <a:pt x="25070" y="79665"/>
                    <a:pt x="13882" y="82980"/>
                    <a:pt x="0" y="82980"/>
                  </a:cubicBezTo>
                  <a:lnTo>
                    <a:pt x="52" y="94116"/>
                  </a:lnTo>
                  <a:cubicBezTo>
                    <a:pt x="16213" y="94064"/>
                    <a:pt x="29214" y="90231"/>
                    <a:pt x="42215" y="81633"/>
                  </a:cubicBezTo>
                  <a:cubicBezTo>
                    <a:pt x="53507" y="74122"/>
                    <a:pt x="62623" y="64022"/>
                    <a:pt x="72258" y="53300"/>
                  </a:cubicBezTo>
                  <a:cubicBezTo>
                    <a:pt x="76868" y="48172"/>
                    <a:pt x="81581" y="42940"/>
                    <a:pt x="86554" y="37968"/>
                  </a:cubicBezTo>
                  <a:cubicBezTo>
                    <a:pt x="99037" y="25536"/>
                    <a:pt x="117270" y="11292"/>
                    <a:pt x="148245" y="11292"/>
                  </a:cubicBezTo>
                  <a:cubicBezTo>
                    <a:pt x="148348" y="11292"/>
                    <a:pt x="148504" y="11292"/>
                    <a:pt x="148607" y="11292"/>
                  </a:cubicBezTo>
                  <a:cubicBezTo>
                    <a:pt x="165752" y="11292"/>
                    <a:pt x="181084" y="15798"/>
                    <a:pt x="194189" y="24656"/>
                  </a:cubicBezTo>
                  <a:cubicBezTo>
                    <a:pt x="206103" y="32684"/>
                    <a:pt x="215374" y="43147"/>
                    <a:pt x="224439" y="53300"/>
                  </a:cubicBezTo>
                  <a:cubicBezTo>
                    <a:pt x="228997" y="58376"/>
                    <a:pt x="233711" y="63659"/>
                    <a:pt x="238580" y="68476"/>
                  </a:cubicBezTo>
                  <a:cubicBezTo>
                    <a:pt x="252202" y="81788"/>
                    <a:pt x="268726" y="94116"/>
                    <a:pt x="296541" y="94220"/>
                  </a:cubicBezTo>
                  <a:cubicBezTo>
                    <a:pt x="312754" y="94168"/>
                    <a:pt x="325755" y="90335"/>
                    <a:pt x="338704" y="81737"/>
                  </a:cubicBezTo>
                  <a:cubicBezTo>
                    <a:pt x="349996" y="74226"/>
                    <a:pt x="359113" y="64125"/>
                    <a:pt x="368747" y="53403"/>
                  </a:cubicBezTo>
                  <a:cubicBezTo>
                    <a:pt x="373357" y="48275"/>
                    <a:pt x="378071" y="43044"/>
                    <a:pt x="383043" y="38071"/>
                  </a:cubicBezTo>
                  <a:cubicBezTo>
                    <a:pt x="395527" y="25640"/>
                    <a:pt x="413759" y="11395"/>
                    <a:pt x="444734" y="11395"/>
                  </a:cubicBezTo>
                  <a:cubicBezTo>
                    <a:pt x="444838" y="11395"/>
                    <a:pt x="444993" y="11395"/>
                    <a:pt x="445097" y="11395"/>
                  </a:cubicBezTo>
                  <a:cubicBezTo>
                    <a:pt x="462242" y="11395"/>
                    <a:pt x="477574" y="15902"/>
                    <a:pt x="490679" y="24759"/>
                  </a:cubicBezTo>
                  <a:cubicBezTo>
                    <a:pt x="502592" y="32788"/>
                    <a:pt x="511864" y="43251"/>
                    <a:pt x="520928" y="53403"/>
                  </a:cubicBezTo>
                  <a:cubicBezTo>
                    <a:pt x="525487" y="58480"/>
                    <a:pt x="530200" y="63711"/>
                    <a:pt x="535069" y="68528"/>
                  </a:cubicBezTo>
                  <a:cubicBezTo>
                    <a:pt x="548692" y="81840"/>
                    <a:pt x="565215" y="94168"/>
                    <a:pt x="593031" y="94272"/>
                  </a:cubicBezTo>
                  <a:cubicBezTo>
                    <a:pt x="609243" y="94220"/>
                    <a:pt x="622244" y="90387"/>
                    <a:pt x="635246" y="81788"/>
                  </a:cubicBezTo>
                  <a:cubicBezTo>
                    <a:pt x="646538" y="74278"/>
                    <a:pt x="655654" y="64177"/>
                    <a:pt x="665236" y="53455"/>
                  </a:cubicBezTo>
                  <a:cubicBezTo>
                    <a:pt x="669846" y="48327"/>
                    <a:pt x="674560" y="43096"/>
                    <a:pt x="679533" y="38123"/>
                  </a:cubicBezTo>
                  <a:cubicBezTo>
                    <a:pt x="692016" y="25692"/>
                    <a:pt x="710352" y="11447"/>
                    <a:pt x="741275" y="11447"/>
                  </a:cubicBezTo>
                  <a:cubicBezTo>
                    <a:pt x="741379" y="11447"/>
                    <a:pt x="741534" y="11447"/>
                    <a:pt x="741638" y="11447"/>
                  </a:cubicBezTo>
                  <a:cubicBezTo>
                    <a:pt x="758783" y="11447"/>
                    <a:pt x="774167" y="15954"/>
                    <a:pt x="787272" y="24811"/>
                  </a:cubicBezTo>
                  <a:cubicBezTo>
                    <a:pt x="799185" y="32840"/>
                    <a:pt x="808509" y="43355"/>
                    <a:pt x="817573" y="53455"/>
                  </a:cubicBezTo>
                  <a:cubicBezTo>
                    <a:pt x="822131" y="58531"/>
                    <a:pt x="826845" y="63763"/>
                    <a:pt x="831714" y="68580"/>
                  </a:cubicBezTo>
                  <a:cubicBezTo>
                    <a:pt x="845389" y="81892"/>
                    <a:pt x="861912" y="94220"/>
                    <a:pt x="889779" y="94323"/>
                  </a:cubicBezTo>
                  <a:cubicBezTo>
                    <a:pt x="905991" y="94272"/>
                    <a:pt x="918993" y="90439"/>
                    <a:pt x="931994" y="81840"/>
                  </a:cubicBezTo>
                  <a:cubicBezTo>
                    <a:pt x="943338" y="74330"/>
                    <a:pt x="952454" y="64177"/>
                    <a:pt x="962089" y="53455"/>
                  </a:cubicBezTo>
                  <a:cubicBezTo>
                    <a:pt x="966699" y="48379"/>
                    <a:pt x="971412" y="43096"/>
                    <a:pt x="976385" y="38175"/>
                  </a:cubicBezTo>
                  <a:cubicBezTo>
                    <a:pt x="988868" y="25743"/>
                    <a:pt x="1007204" y="11499"/>
                    <a:pt x="1038179" y="11499"/>
                  </a:cubicBezTo>
                  <a:cubicBezTo>
                    <a:pt x="1038283" y="11499"/>
                    <a:pt x="1038438" y="11499"/>
                    <a:pt x="1038542" y="11499"/>
                  </a:cubicBezTo>
                  <a:cubicBezTo>
                    <a:pt x="1055687" y="11499"/>
                    <a:pt x="1071018" y="16005"/>
                    <a:pt x="1084123" y="24863"/>
                  </a:cubicBezTo>
                  <a:cubicBezTo>
                    <a:pt x="1096037" y="32891"/>
                    <a:pt x="1105309" y="43355"/>
                    <a:pt x="1114374" y="53403"/>
                  </a:cubicBezTo>
                  <a:cubicBezTo>
                    <a:pt x="1118931" y="58480"/>
                    <a:pt x="1123645" y="63763"/>
                    <a:pt x="1128514" y="68580"/>
                  </a:cubicBezTo>
                  <a:cubicBezTo>
                    <a:pt x="1142137" y="81892"/>
                    <a:pt x="1158660" y="94220"/>
                    <a:pt x="1186475" y="94323"/>
                  </a:cubicBezTo>
                  <a:cubicBezTo>
                    <a:pt x="1202688" y="94272"/>
                    <a:pt x="1215689" y="90439"/>
                    <a:pt x="1228639" y="81840"/>
                  </a:cubicBezTo>
                  <a:cubicBezTo>
                    <a:pt x="1239931" y="74330"/>
                    <a:pt x="1249047" y="64229"/>
                    <a:pt x="1258682" y="53507"/>
                  </a:cubicBezTo>
                  <a:cubicBezTo>
                    <a:pt x="1263292" y="48379"/>
                    <a:pt x="1268005" y="43147"/>
                    <a:pt x="1272978" y="38175"/>
                  </a:cubicBezTo>
                  <a:cubicBezTo>
                    <a:pt x="1285461" y="25743"/>
                    <a:pt x="1303693" y="11499"/>
                    <a:pt x="1334720" y="11499"/>
                  </a:cubicBezTo>
                  <a:cubicBezTo>
                    <a:pt x="1334824" y="11499"/>
                    <a:pt x="1334979" y="11499"/>
                    <a:pt x="1335083" y="11499"/>
                  </a:cubicBezTo>
                  <a:cubicBezTo>
                    <a:pt x="1352228" y="11499"/>
                    <a:pt x="1367560" y="16005"/>
                    <a:pt x="1380665" y="24863"/>
                  </a:cubicBezTo>
                  <a:cubicBezTo>
                    <a:pt x="1392578" y="32891"/>
                    <a:pt x="1401850" y="43355"/>
                    <a:pt x="1410915" y="53507"/>
                  </a:cubicBezTo>
                  <a:cubicBezTo>
                    <a:pt x="1415472" y="58583"/>
                    <a:pt x="1420186" y="63866"/>
                    <a:pt x="1425055" y="68684"/>
                  </a:cubicBezTo>
                  <a:cubicBezTo>
                    <a:pt x="1438678" y="81996"/>
                    <a:pt x="1455201" y="94323"/>
                    <a:pt x="1483017" y="94427"/>
                  </a:cubicBezTo>
                  <a:lnTo>
                    <a:pt x="1483017" y="83290"/>
                  </a:lnTo>
                  <a:cubicBezTo>
                    <a:pt x="1460329" y="83239"/>
                    <a:pt x="1446448" y="74174"/>
                    <a:pt x="1432618" y="60707"/>
                  </a:cubicBezTo>
                  <a:cubicBezTo>
                    <a:pt x="1427800" y="55734"/>
                    <a:pt x="1423449" y="50813"/>
                    <a:pt x="1418788" y="45634"/>
                  </a:cubicBezTo>
                  <a:close/>
                </a:path>
              </a:pathLst>
            </a:custGeom>
            <a:solidFill>
              <a:schemeClr val="accent1"/>
            </a:solidFill>
            <a:ln w="5175" cap="flat">
              <a:noFill/>
              <a:prstDash val="solid"/>
              <a:miter/>
            </a:ln>
          </p:spPr>
          <p:txBody>
            <a:bodyPr rtlCol="0" anchor="ctr"/>
            <a:lstStyle/>
            <a:p>
              <a:endParaRPr lang="en-IN" dirty="0"/>
            </a:p>
          </p:txBody>
        </p:sp>
        <p:sp>
          <p:nvSpPr>
            <p:cNvPr id="84" name="Freeform: Shape 83">
              <a:extLst>
                <a:ext uri="{FF2B5EF4-FFF2-40B4-BE49-F238E27FC236}">
                  <a16:creationId xmlns:a16="http://schemas.microsoft.com/office/drawing/2014/main" id="{D49ECA64-C2B5-463B-8C25-7F140707AEF7}"/>
                </a:ext>
              </a:extLst>
            </p:cNvPr>
            <p:cNvSpPr/>
            <p:nvPr/>
          </p:nvSpPr>
          <p:spPr>
            <a:xfrm>
              <a:off x="195721" y="5118246"/>
              <a:ext cx="1483016" cy="94427"/>
            </a:xfrm>
            <a:custGeom>
              <a:avLst/>
              <a:gdLst>
                <a:gd name="connsiteX0" fmla="*/ 1418788 w 1483016"/>
                <a:gd name="connsiteY0" fmla="*/ 45634 h 94427"/>
                <a:gd name="connsiteX1" fmla="*/ 1386518 w 1483016"/>
                <a:gd name="connsiteY1" fmla="*/ 15229 h 94427"/>
                <a:gd name="connsiteX2" fmla="*/ 1334876 w 1483016"/>
                <a:gd name="connsiteY2" fmla="*/ 0 h 94427"/>
                <a:gd name="connsiteX3" fmla="*/ 1334462 w 1483016"/>
                <a:gd name="connsiteY3" fmla="*/ 0 h 94427"/>
                <a:gd name="connsiteX4" fmla="*/ 1265105 w 1483016"/>
                <a:gd name="connsiteY4" fmla="*/ 29835 h 94427"/>
                <a:gd name="connsiteX5" fmla="*/ 1250342 w 1483016"/>
                <a:gd name="connsiteY5" fmla="*/ 45634 h 94427"/>
                <a:gd name="connsiteX6" fmla="*/ 1222475 w 1483016"/>
                <a:gd name="connsiteY6" fmla="*/ 72206 h 94427"/>
                <a:gd name="connsiteX7" fmla="*/ 1186320 w 1483016"/>
                <a:gd name="connsiteY7" fmla="*/ 82876 h 94427"/>
                <a:gd name="connsiteX8" fmla="*/ 1135921 w 1483016"/>
                <a:gd name="connsiteY8" fmla="*/ 60292 h 94427"/>
                <a:gd name="connsiteX9" fmla="*/ 1122298 w 1483016"/>
                <a:gd name="connsiteY9" fmla="*/ 45686 h 94427"/>
                <a:gd name="connsiteX10" fmla="*/ 1090028 w 1483016"/>
                <a:gd name="connsiteY10" fmla="*/ 15332 h 94427"/>
                <a:gd name="connsiteX11" fmla="*/ 1038386 w 1483016"/>
                <a:gd name="connsiteY11" fmla="*/ 104 h 94427"/>
                <a:gd name="connsiteX12" fmla="*/ 1037972 w 1483016"/>
                <a:gd name="connsiteY12" fmla="*/ 104 h 94427"/>
                <a:gd name="connsiteX13" fmla="*/ 968563 w 1483016"/>
                <a:gd name="connsiteY13" fmla="*/ 29939 h 94427"/>
                <a:gd name="connsiteX14" fmla="*/ 953801 w 1483016"/>
                <a:gd name="connsiteY14" fmla="*/ 45686 h 94427"/>
                <a:gd name="connsiteX15" fmla="*/ 925830 w 1483016"/>
                <a:gd name="connsiteY15" fmla="*/ 72258 h 94427"/>
                <a:gd name="connsiteX16" fmla="*/ 889624 w 1483016"/>
                <a:gd name="connsiteY16" fmla="*/ 82928 h 94427"/>
                <a:gd name="connsiteX17" fmla="*/ 839173 w 1483016"/>
                <a:gd name="connsiteY17" fmla="*/ 60344 h 94427"/>
                <a:gd name="connsiteX18" fmla="*/ 825550 w 1483016"/>
                <a:gd name="connsiteY18" fmla="*/ 45737 h 94427"/>
                <a:gd name="connsiteX19" fmla="*/ 793229 w 1483016"/>
                <a:gd name="connsiteY19" fmla="*/ 15332 h 94427"/>
                <a:gd name="connsiteX20" fmla="*/ 741431 w 1483016"/>
                <a:gd name="connsiteY20" fmla="*/ 104 h 94427"/>
                <a:gd name="connsiteX21" fmla="*/ 741016 w 1483016"/>
                <a:gd name="connsiteY21" fmla="*/ 104 h 94427"/>
                <a:gd name="connsiteX22" fmla="*/ 671660 w 1483016"/>
                <a:gd name="connsiteY22" fmla="*/ 29939 h 94427"/>
                <a:gd name="connsiteX23" fmla="*/ 656897 w 1483016"/>
                <a:gd name="connsiteY23" fmla="*/ 45737 h 94427"/>
                <a:gd name="connsiteX24" fmla="*/ 629030 w 1483016"/>
                <a:gd name="connsiteY24" fmla="*/ 72258 h 94427"/>
                <a:gd name="connsiteX25" fmla="*/ 592875 w 1483016"/>
                <a:gd name="connsiteY25" fmla="*/ 82928 h 94427"/>
                <a:gd name="connsiteX26" fmla="*/ 542528 w 1483016"/>
                <a:gd name="connsiteY26" fmla="*/ 60344 h 94427"/>
                <a:gd name="connsiteX27" fmla="*/ 528957 w 1483016"/>
                <a:gd name="connsiteY27" fmla="*/ 45737 h 94427"/>
                <a:gd name="connsiteX28" fmla="*/ 496687 w 1483016"/>
                <a:gd name="connsiteY28" fmla="*/ 15332 h 94427"/>
                <a:gd name="connsiteX29" fmla="*/ 444734 w 1483016"/>
                <a:gd name="connsiteY29" fmla="*/ 104 h 94427"/>
                <a:gd name="connsiteX30" fmla="*/ 444631 w 1483016"/>
                <a:gd name="connsiteY30" fmla="*/ 104 h 94427"/>
                <a:gd name="connsiteX31" fmla="*/ 375274 w 1483016"/>
                <a:gd name="connsiteY31" fmla="*/ 29939 h 94427"/>
                <a:gd name="connsiteX32" fmla="*/ 360511 w 1483016"/>
                <a:gd name="connsiteY32" fmla="*/ 45737 h 94427"/>
                <a:gd name="connsiteX33" fmla="*/ 332644 w 1483016"/>
                <a:gd name="connsiteY33" fmla="*/ 72310 h 94427"/>
                <a:gd name="connsiteX34" fmla="*/ 296489 w 1483016"/>
                <a:gd name="connsiteY34" fmla="*/ 82980 h 94427"/>
                <a:gd name="connsiteX35" fmla="*/ 246090 w 1483016"/>
                <a:gd name="connsiteY35" fmla="*/ 60396 h 94427"/>
                <a:gd name="connsiteX36" fmla="*/ 232468 w 1483016"/>
                <a:gd name="connsiteY36" fmla="*/ 45789 h 94427"/>
                <a:gd name="connsiteX37" fmla="*/ 200198 w 1483016"/>
                <a:gd name="connsiteY37" fmla="*/ 15384 h 94427"/>
                <a:gd name="connsiteX38" fmla="*/ 148555 w 1483016"/>
                <a:gd name="connsiteY38" fmla="*/ 155 h 94427"/>
                <a:gd name="connsiteX39" fmla="*/ 148141 w 1483016"/>
                <a:gd name="connsiteY39" fmla="*/ 155 h 94427"/>
                <a:gd name="connsiteX40" fmla="*/ 78784 w 1483016"/>
                <a:gd name="connsiteY40" fmla="*/ 29991 h 94427"/>
                <a:gd name="connsiteX41" fmla="*/ 64022 w 1483016"/>
                <a:gd name="connsiteY41" fmla="*/ 45789 h 94427"/>
                <a:gd name="connsiteX42" fmla="*/ 36155 w 1483016"/>
                <a:gd name="connsiteY42" fmla="*/ 72310 h 94427"/>
                <a:gd name="connsiteX43" fmla="*/ 0 w 1483016"/>
                <a:gd name="connsiteY43" fmla="*/ 82980 h 94427"/>
                <a:gd name="connsiteX44" fmla="*/ 52 w 1483016"/>
                <a:gd name="connsiteY44" fmla="*/ 94116 h 94427"/>
                <a:gd name="connsiteX45" fmla="*/ 42215 w 1483016"/>
                <a:gd name="connsiteY45" fmla="*/ 81633 h 94427"/>
                <a:gd name="connsiteX46" fmla="*/ 72258 w 1483016"/>
                <a:gd name="connsiteY46" fmla="*/ 53300 h 94427"/>
                <a:gd name="connsiteX47" fmla="*/ 86554 w 1483016"/>
                <a:gd name="connsiteY47" fmla="*/ 37968 h 94427"/>
                <a:gd name="connsiteX48" fmla="*/ 148245 w 1483016"/>
                <a:gd name="connsiteY48" fmla="*/ 11292 h 94427"/>
                <a:gd name="connsiteX49" fmla="*/ 148607 w 1483016"/>
                <a:gd name="connsiteY49" fmla="*/ 11292 h 94427"/>
                <a:gd name="connsiteX50" fmla="*/ 194189 w 1483016"/>
                <a:gd name="connsiteY50" fmla="*/ 24656 h 94427"/>
                <a:gd name="connsiteX51" fmla="*/ 224439 w 1483016"/>
                <a:gd name="connsiteY51" fmla="*/ 53300 h 94427"/>
                <a:gd name="connsiteX52" fmla="*/ 238580 w 1483016"/>
                <a:gd name="connsiteY52" fmla="*/ 68476 h 94427"/>
                <a:gd name="connsiteX53" fmla="*/ 296541 w 1483016"/>
                <a:gd name="connsiteY53" fmla="*/ 94220 h 94427"/>
                <a:gd name="connsiteX54" fmla="*/ 338704 w 1483016"/>
                <a:gd name="connsiteY54" fmla="*/ 81737 h 94427"/>
                <a:gd name="connsiteX55" fmla="*/ 368747 w 1483016"/>
                <a:gd name="connsiteY55" fmla="*/ 53403 h 94427"/>
                <a:gd name="connsiteX56" fmla="*/ 383043 w 1483016"/>
                <a:gd name="connsiteY56" fmla="*/ 38071 h 94427"/>
                <a:gd name="connsiteX57" fmla="*/ 444734 w 1483016"/>
                <a:gd name="connsiteY57" fmla="*/ 11396 h 94427"/>
                <a:gd name="connsiteX58" fmla="*/ 445097 w 1483016"/>
                <a:gd name="connsiteY58" fmla="*/ 11396 h 94427"/>
                <a:gd name="connsiteX59" fmla="*/ 490679 w 1483016"/>
                <a:gd name="connsiteY59" fmla="*/ 24759 h 94427"/>
                <a:gd name="connsiteX60" fmla="*/ 520928 w 1483016"/>
                <a:gd name="connsiteY60" fmla="*/ 53403 h 94427"/>
                <a:gd name="connsiteX61" fmla="*/ 535069 w 1483016"/>
                <a:gd name="connsiteY61" fmla="*/ 68528 h 94427"/>
                <a:gd name="connsiteX62" fmla="*/ 593031 w 1483016"/>
                <a:gd name="connsiteY62" fmla="*/ 94272 h 94427"/>
                <a:gd name="connsiteX63" fmla="*/ 635246 w 1483016"/>
                <a:gd name="connsiteY63" fmla="*/ 81788 h 94427"/>
                <a:gd name="connsiteX64" fmla="*/ 665236 w 1483016"/>
                <a:gd name="connsiteY64" fmla="*/ 53455 h 94427"/>
                <a:gd name="connsiteX65" fmla="*/ 679533 w 1483016"/>
                <a:gd name="connsiteY65" fmla="*/ 38123 h 94427"/>
                <a:gd name="connsiteX66" fmla="*/ 741275 w 1483016"/>
                <a:gd name="connsiteY66" fmla="*/ 11447 h 94427"/>
                <a:gd name="connsiteX67" fmla="*/ 741638 w 1483016"/>
                <a:gd name="connsiteY67" fmla="*/ 11447 h 94427"/>
                <a:gd name="connsiteX68" fmla="*/ 787272 w 1483016"/>
                <a:gd name="connsiteY68" fmla="*/ 24811 h 94427"/>
                <a:gd name="connsiteX69" fmla="*/ 817573 w 1483016"/>
                <a:gd name="connsiteY69" fmla="*/ 53455 h 94427"/>
                <a:gd name="connsiteX70" fmla="*/ 831714 w 1483016"/>
                <a:gd name="connsiteY70" fmla="*/ 68580 h 94427"/>
                <a:gd name="connsiteX71" fmla="*/ 889779 w 1483016"/>
                <a:gd name="connsiteY71" fmla="*/ 94324 h 94427"/>
                <a:gd name="connsiteX72" fmla="*/ 931994 w 1483016"/>
                <a:gd name="connsiteY72" fmla="*/ 81840 h 94427"/>
                <a:gd name="connsiteX73" fmla="*/ 962089 w 1483016"/>
                <a:gd name="connsiteY73" fmla="*/ 53455 h 94427"/>
                <a:gd name="connsiteX74" fmla="*/ 976385 w 1483016"/>
                <a:gd name="connsiteY74" fmla="*/ 38175 h 94427"/>
                <a:gd name="connsiteX75" fmla="*/ 1038179 w 1483016"/>
                <a:gd name="connsiteY75" fmla="*/ 11499 h 94427"/>
                <a:gd name="connsiteX76" fmla="*/ 1038542 w 1483016"/>
                <a:gd name="connsiteY76" fmla="*/ 11499 h 94427"/>
                <a:gd name="connsiteX77" fmla="*/ 1084123 w 1483016"/>
                <a:gd name="connsiteY77" fmla="*/ 24863 h 94427"/>
                <a:gd name="connsiteX78" fmla="*/ 1114374 w 1483016"/>
                <a:gd name="connsiteY78" fmla="*/ 53403 h 94427"/>
                <a:gd name="connsiteX79" fmla="*/ 1128514 w 1483016"/>
                <a:gd name="connsiteY79" fmla="*/ 68580 h 94427"/>
                <a:gd name="connsiteX80" fmla="*/ 1186475 w 1483016"/>
                <a:gd name="connsiteY80" fmla="*/ 94324 h 94427"/>
                <a:gd name="connsiteX81" fmla="*/ 1228639 w 1483016"/>
                <a:gd name="connsiteY81" fmla="*/ 81840 h 94427"/>
                <a:gd name="connsiteX82" fmla="*/ 1258682 w 1483016"/>
                <a:gd name="connsiteY82" fmla="*/ 53507 h 94427"/>
                <a:gd name="connsiteX83" fmla="*/ 1272978 w 1483016"/>
                <a:gd name="connsiteY83" fmla="*/ 38175 h 94427"/>
                <a:gd name="connsiteX84" fmla="*/ 1334720 w 1483016"/>
                <a:gd name="connsiteY84" fmla="*/ 11499 h 94427"/>
                <a:gd name="connsiteX85" fmla="*/ 1335083 w 1483016"/>
                <a:gd name="connsiteY85" fmla="*/ 11499 h 94427"/>
                <a:gd name="connsiteX86" fmla="*/ 1380665 w 1483016"/>
                <a:gd name="connsiteY86" fmla="*/ 24863 h 94427"/>
                <a:gd name="connsiteX87" fmla="*/ 1410915 w 1483016"/>
                <a:gd name="connsiteY87" fmla="*/ 53507 h 94427"/>
                <a:gd name="connsiteX88" fmla="*/ 1425055 w 1483016"/>
                <a:gd name="connsiteY88" fmla="*/ 68684 h 94427"/>
                <a:gd name="connsiteX89" fmla="*/ 1483017 w 1483016"/>
                <a:gd name="connsiteY89" fmla="*/ 94427 h 94427"/>
                <a:gd name="connsiteX90" fmla="*/ 1483017 w 1483016"/>
                <a:gd name="connsiteY90" fmla="*/ 83291 h 94427"/>
                <a:gd name="connsiteX91" fmla="*/ 1432618 w 1483016"/>
                <a:gd name="connsiteY91" fmla="*/ 60707 h 94427"/>
                <a:gd name="connsiteX92" fmla="*/ 1418788 w 1483016"/>
                <a:gd name="connsiteY92" fmla="*/ 45634 h 9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483016" h="94427">
                  <a:moveTo>
                    <a:pt x="1418788" y="45634"/>
                  </a:moveTo>
                  <a:cubicBezTo>
                    <a:pt x="1409309" y="35015"/>
                    <a:pt x="1399519" y="24034"/>
                    <a:pt x="1386518" y="15229"/>
                  </a:cubicBezTo>
                  <a:cubicBezTo>
                    <a:pt x="1371548" y="5128"/>
                    <a:pt x="1354196" y="0"/>
                    <a:pt x="1334876" y="0"/>
                  </a:cubicBezTo>
                  <a:cubicBezTo>
                    <a:pt x="1334720" y="0"/>
                    <a:pt x="1334616" y="0"/>
                    <a:pt x="1334462" y="0"/>
                  </a:cubicBezTo>
                  <a:cubicBezTo>
                    <a:pt x="1299135" y="0"/>
                    <a:pt x="1277950" y="16990"/>
                    <a:pt x="1265105" y="29835"/>
                  </a:cubicBezTo>
                  <a:cubicBezTo>
                    <a:pt x="1259873" y="34963"/>
                    <a:pt x="1255055" y="40402"/>
                    <a:pt x="1250342" y="45634"/>
                  </a:cubicBezTo>
                  <a:cubicBezTo>
                    <a:pt x="1241174" y="55786"/>
                    <a:pt x="1232575" y="65420"/>
                    <a:pt x="1222475" y="72206"/>
                  </a:cubicBezTo>
                  <a:cubicBezTo>
                    <a:pt x="1211235" y="79613"/>
                    <a:pt x="1200461" y="82824"/>
                    <a:pt x="1186320" y="82876"/>
                  </a:cubicBezTo>
                  <a:cubicBezTo>
                    <a:pt x="1163684" y="82824"/>
                    <a:pt x="1149751" y="73760"/>
                    <a:pt x="1135921" y="60292"/>
                  </a:cubicBezTo>
                  <a:cubicBezTo>
                    <a:pt x="1131259" y="55786"/>
                    <a:pt x="1126960" y="50865"/>
                    <a:pt x="1122298" y="45686"/>
                  </a:cubicBezTo>
                  <a:cubicBezTo>
                    <a:pt x="1112819" y="35067"/>
                    <a:pt x="1103030" y="24086"/>
                    <a:pt x="1090028" y="15332"/>
                  </a:cubicBezTo>
                  <a:cubicBezTo>
                    <a:pt x="1075059" y="5232"/>
                    <a:pt x="1057707" y="104"/>
                    <a:pt x="1038386" y="104"/>
                  </a:cubicBezTo>
                  <a:cubicBezTo>
                    <a:pt x="1038231" y="104"/>
                    <a:pt x="1038127" y="104"/>
                    <a:pt x="1037972" y="104"/>
                  </a:cubicBezTo>
                  <a:cubicBezTo>
                    <a:pt x="1002646" y="104"/>
                    <a:pt x="981409" y="17145"/>
                    <a:pt x="968563" y="29939"/>
                  </a:cubicBezTo>
                  <a:cubicBezTo>
                    <a:pt x="963332" y="35067"/>
                    <a:pt x="958514" y="40506"/>
                    <a:pt x="953801" y="45686"/>
                  </a:cubicBezTo>
                  <a:cubicBezTo>
                    <a:pt x="944633" y="55890"/>
                    <a:pt x="935982" y="65472"/>
                    <a:pt x="925830" y="72258"/>
                  </a:cubicBezTo>
                  <a:cubicBezTo>
                    <a:pt x="914746" y="79561"/>
                    <a:pt x="903557" y="82876"/>
                    <a:pt x="889624" y="82928"/>
                  </a:cubicBezTo>
                  <a:cubicBezTo>
                    <a:pt x="866936" y="82876"/>
                    <a:pt x="853003" y="73812"/>
                    <a:pt x="839173" y="60344"/>
                  </a:cubicBezTo>
                  <a:cubicBezTo>
                    <a:pt x="834563" y="55838"/>
                    <a:pt x="830212" y="50917"/>
                    <a:pt x="825550" y="45737"/>
                  </a:cubicBezTo>
                  <a:cubicBezTo>
                    <a:pt x="816071" y="35119"/>
                    <a:pt x="806229" y="24138"/>
                    <a:pt x="793229" y="15332"/>
                  </a:cubicBezTo>
                  <a:cubicBezTo>
                    <a:pt x="778207" y="5232"/>
                    <a:pt x="760803" y="104"/>
                    <a:pt x="741431" y="104"/>
                  </a:cubicBezTo>
                  <a:cubicBezTo>
                    <a:pt x="741275" y="104"/>
                    <a:pt x="741172" y="104"/>
                    <a:pt x="741016" y="104"/>
                  </a:cubicBezTo>
                  <a:cubicBezTo>
                    <a:pt x="705690" y="104"/>
                    <a:pt x="684505" y="17093"/>
                    <a:pt x="671660" y="29939"/>
                  </a:cubicBezTo>
                  <a:cubicBezTo>
                    <a:pt x="666428" y="35067"/>
                    <a:pt x="661611" y="40506"/>
                    <a:pt x="656897" y="45737"/>
                  </a:cubicBezTo>
                  <a:cubicBezTo>
                    <a:pt x="647729" y="55890"/>
                    <a:pt x="639130" y="65472"/>
                    <a:pt x="629030" y="72258"/>
                  </a:cubicBezTo>
                  <a:cubicBezTo>
                    <a:pt x="617945" y="79561"/>
                    <a:pt x="606757" y="82876"/>
                    <a:pt x="592875" y="82928"/>
                  </a:cubicBezTo>
                  <a:cubicBezTo>
                    <a:pt x="570240" y="82876"/>
                    <a:pt x="556358" y="73812"/>
                    <a:pt x="542528" y="60344"/>
                  </a:cubicBezTo>
                  <a:cubicBezTo>
                    <a:pt x="537918" y="55838"/>
                    <a:pt x="533515" y="50917"/>
                    <a:pt x="528957" y="45737"/>
                  </a:cubicBezTo>
                  <a:cubicBezTo>
                    <a:pt x="519478" y="35119"/>
                    <a:pt x="509688" y="24138"/>
                    <a:pt x="496687" y="15332"/>
                  </a:cubicBezTo>
                  <a:cubicBezTo>
                    <a:pt x="481666" y="5180"/>
                    <a:pt x="464417" y="52"/>
                    <a:pt x="444734" y="104"/>
                  </a:cubicBezTo>
                  <a:cubicBezTo>
                    <a:pt x="444682" y="104"/>
                    <a:pt x="444631" y="104"/>
                    <a:pt x="444631" y="104"/>
                  </a:cubicBezTo>
                  <a:cubicBezTo>
                    <a:pt x="409305" y="104"/>
                    <a:pt x="388119" y="17145"/>
                    <a:pt x="375274" y="29939"/>
                  </a:cubicBezTo>
                  <a:cubicBezTo>
                    <a:pt x="370094" y="35067"/>
                    <a:pt x="365225" y="40506"/>
                    <a:pt x="360511" y="45737"/>
                  </a:cubicBezTo>
                  <a:cubicBezTo>
                    <a:pt x="351343" y="55890"/>
                    <a:pt x="342745" y="65524"/>
                    <a:pt x="332644" y="72310"/>
                  </a:cubicBezTo>
                  <a:cubicBezTo>
                    <a:pt x="321404" y="79717"/>
                    <a:pt x="310630" y="82928"/>
                    <a:pt x="296489" y="82980"/>
                  </a:cubicBezTo>
                  <a:cubicBezTo>
                    <a:pt x="273854" y="82928"/>
                    <a:pt x="259920" y="73863"/>
                    <a:pt x="246090" y="60396"/>
                  </a:cubicBezTo>
                  <a:cubicBezTo>
                    <a:pt x="241480" y="55890"/>
                    <a:pt x="237129" y="50969"/>
                    <a:pt x="232468" y="45789"/>
                  </a:cubicBezTo>
                  <a:cubicBezTo>
                    <a:pt x="222989" y="35171"/>
                    <a:pt x="213199" y="24190"/>
                    <a:pt x="200198" y="15384"/>
                  </a:cubicBezTo>
                  <a:cubicBezTo>
                    <a:pt x="185228" y="5283"/>
                    <a:pt x="167876" y="155"/>
                    <a:pt x="148555" y="155"/>
                  </a:cubicBezTo>
                  <a:cubicBezTo>
                    <a:pt x="148400" y="155"/>
                    <a:pt x="148297" y="155"/>
                    <a:pt x="148141" y="155"/>
                  </a:cubicBezTo>
                  <a:cubicBezTo>
                    <a:pt x="112867" y="155"/>
                    <a:pt x="91630" y="17197"/>
                    <a:pt x="78784" y="29991"/>
                  </a:cubicBezTo>
                  <a:cubicBezTo>
                    <a:pt x="73553" y="35119"/>
                    <a:pt x="68735" y="40558"/>
                    <a:pt x="64022" y="45789"/>
                  </a:cubicBezTo>
                  <a:cubicBezTo>
                    <a:pt x="54854" y="55941"/>
                    <a:pt x="46255" y="65576"/>
                    <a:pt x="36155" y="72310"/>
                  </a:cubicBezTo>
                  <a:cubicBezTo>
                    <a:pt x="25070" y="79665"/>
                    <a:pt x="13882" y="82980"/>
                    <a:pt x="0" y="82980"/>
                  </a:cubicBezTo>
                  <a:lnTo>
                    <a:pt x="52" y="94116"/>
                  </a:lnTo>
                  <a:cubicBezTo>
                    <a:pt x="16213" y="94064"/>
                    <a:pt x="29214" y="90231"/>
                    <a:pt x="42215" y="81633"/>
                  </a:cubicBezTo>
                  <a:cubicBezTo>
                    <a:pt x="53507" y="74122"/>
                    <a:pt x="62623" y="64022"/>
                    <a:pt x="72258" y="53300"/>
                  </a:cubicBezTo>
                  <a:cubicBezTo>
                    <a:pt x="76868" y="48172"/>
                    <a:pt x="81581" y="42940"/>
                    <a:pt x="86554" y="37968"/>
                  </a:cubicBezTo>
                  <a:cubicBezTo>
                    <a:pt x="99037" y="25536"/>
                    <a:pt x="117270" y="11292"/>
                    <a:pt x="148245" y="11292"/>
                  </a:cubicBezTo>
                  <a:cubicBezTo>
                    <a:pt x="148348" y="11292"/>
                    <a:pt x="148504" y="11292"/>
                    <a:pt x="148607" y="11292"/>
                  </a:cubicBezTo>
                  <a:cubicBezTo>
                    <a:pt x="165752" y="11292"/>
                    <a:pt x="181084" y="15798"/>
                    <a:pt x="194189" y="24656"/>
                  </a:cubicBezTo>
                  <a:cubicBezTo>
                    <a:pt x="206103" y="32684"/>
                    <a:pt x="215374" y="43147"/>
                    <a:pt x="224439" y="53300"/>
                  </a:cubicBezTo>
                  <a:cubicBezTo>
                    <a:pt x="228997" y="58376"/>
                    <a:pt x="233711" y="63659"/>
                    <a:pt x="238580" y="68476"/>
                  </a:cubicBezTo>
                  <a:cubicBezTo>
                    <a:pt x="252202" y="81788"/>
                    <a:pt x="268726" y="94116"/>
                    <a:pt x="296541" y="94220"/>
                  </a:cubicBezTo>
                  <a:cubicBezTo>
                    <a:pt x="312754" y="94168"/>
                    <a:pt x="325755" y="90335"/>
                    <a:pt x="338704" y="81737"/>
                  </a:cubicBezTo>
                  <a:cubicBezTo>
                    <a:pt x="349996" y="74226"/>
                    <a:pt x="359113" y="64125"/>
                    <a:pt x="368747" y="53403"/>
                  </a:cubicBezTo>
                  <a:cubicBezTo>
                    <a:pt x="373357" y="48275"/>
                    <a:pt x="378071" y="43044"/>
                    <a:pt x="383043" y="38071"/>
                  </a:cubicBezTo>
                  <a:cubicBezTo>
                    <a:pt x="395527" y="25640"/>
                    <a:pt x="413759" y="11396"/>
                    <a:pt x="444734" y="11396"/>
                  </a:cubicBezTo>
                  <a:cubicBezTo>
                    <a:pt x="444838" y="11396"/>
                    <a:pt x="444993" y="11396"/>
                    <a:pt x="445097" y="11396"/>
                  </a:cubicBezTo>
                  <a:cubicBezTo>
                    <a:pt x="462242" y="11396"/>
                    <a:pt x="477574" y="15902"/>
                    <a:pt x="490679" y="24759"/>
                  </a:cubicBezTo>
                  <a:cubicBezTo>
                    <a:pt x="502592" y="32788"/>
                    <a:pt x="511864" y="43251"/>
                    <a:pt x="520928" y="53403"/>
                  </a:cubicBezTo>
                  <a:cubicBezTo>
                    <a:pt x="525487" y="58480"/>
                    <a:pt x="530200" y="63711"/>
                    <a:pt x="535069" y="68528"/>
                  </a:cubicBezTo>
                  <a:cubicBezTo>
                    <a:pt x="548692" y="81840"/>
                    <a:pt x="565215" y="94168"/>
                    <a:pt x="593031" y="94272"/>
                  </a:cubicBezTo>
                  <a:cubicBezTo>
                    <a:pt x="609243" y="94220"/>
                    <a:pt x="622244" y="90387"/>
                    <a:pt x="635246" y="81788"/>
                  </a:cubicBezTo>
                  <a:cubicBezTo>
                    <a:pt x="646538" y="74278"/>
                    <a:pt x="655654" y="64177"/>
                    <a:pt x="665236" y="53455"/>
                  </a:cubicBezTo>
                  <a:cubicBezTo>
                    <a:pt x="669846" y="48327"/>
                    <a:pt x="674560" y="43096"/>
                    <a:pt x="679533" y="38123"/>
                  </a:cubicBezTo>
                  <a:cubicBezTo>
                    <a:pt x="692016" y="25692"/>
                    <a:pt x="710352" y="11447"/>
                    <a:pt x="741275" y="11447"/>
                  </a:cubicBezTo>
                  <a:cubicBezTo>
                    <a:pt x="741379" y="11447"/>
                    <a:pt x="741534" y="11447"/>
                    <a:pt x="741638" y="11447"/>
                  </a:cubicBezTo>
                  <a:cubicBezTo>
                    <a:pt x="758783" y="11447"/>
                    <a:pt x="774167" y="15954"/>
                    <a:pt x="787272" y="24811"/>
                  </a:cubicBezTo>
                  <a:cubicBezTo>
                    <a:pt x="799185" y="32840"/>
                    <a:pt x="808509" y="43355"/>
                    <a:pt x="817573" y="53455"/>
                  </a:cubicBezTo>
                  <a:cubicBezTo>
                    <a:pt x="822131" y="58531"/>
                    <a:pt x="826845" y="63763"/>
                    <a:pt x="831714" y="68580"/>
                  </a:cubicBezTo>
                  <a:cubicBezTo>
                    <a:pt x="845389" y="81892"/>
                    <a:pt x="861912" y="94220"/>
                    <a:pt x="889779" y="94324"/>
                  </a:cubicBezTo>
                  <a:cubicBezTo>
                    <a:pt x="905991" y="94272"/>
                    <a:pt x="918993" y="90439"/>
                    <a:pt x="931994" y="81840"/>
                  </a:cubicBezTo>
                  <a:cubicBezTo>
                    <a:pt x="943338" y="74330"/>
                    <a:pt x="952454" y="64177"/>
                    <a:pt x="962089" y="53455"/>
                  </a:cubicBezTo>
                  <a:cubicBezTo>
                    <a:pt x="966699" y="48379"/>
                    <a:pt x="971412" y="43096"/>
                    <a:pt x="976385" y="38175"/>
                  </a:cubicBezTo>
                  <a:cubicBezTo>
                    <a:pt x="988868" y="25743"/>
                    <a:pt x="1007204" y="11499"/>
                    <a:pt x="1038179" y="11499"/>
                  </a:cubicBezTo>
                  <a:cubicBezTo>
                    <a:pt x="1038283" y="11499"/>
                    <a:pt x="1038438" y="11499"/>
                    <a:pt x="1038542" y="11499"/>
                  </a:cubicBezTo>
                  <a:cubicBezTo>
                    <a:pt x="1055687" y="11499"/>
                    <a:pt x="1071018" y="16005"/>
                    <a:pt x="1084123" y="24863"/>
                  </a:cubicBezTo>
                  <a:cubicBezTo>
                    <a:pt x="1096037" y="32891"/>
                    <a:pt x="1105309" y="43355"/>
                    <a:pt x="1114374" y="53403"/>
                  </a:cubicBezTo>
                  <a:cubicBezTo>
                    <a:pt x="1118931" y="58480"/>
                    <a:pt x="1123645" y="63763"/>
                    <a:pt x="1128514" y="68580"/>
                  </a:cubicBezTo>
                  <a:cubicBezTo>
                    <a:pt x="1142137" y="81892"/>
                    <a:pt x="1158660" y="94220"/>
                    <a:pt x="1186475" y="94324"/>
                  </a:cubicBezTo>
                  <a:cubicBezTo>
                    <a:pt x="1202688" y="94272"/>
                    <a:pt x="1215689" y="90439"/>
                    <a:pt x="1228639" y="81840"/>
                  </a:cubicBezTo>
                  <a:cubicBezTo>
                    <a:pt x="1239931" y="74330"/>
                    <a:pt x="1249047" y="64229"/>
                    <a:pt x="1258682" y="53507"/>
                  </a:cubicBezTo>
                  <a:cubicBezTo>
                    <a:pt x="1263292" y="48379"/>
                    <a:pt x="1268005" y="43147"/>
                    <a:pt x="1272978" y="38175"/>
                  </a:cubicBezTo>
                  <a:cubicBezTo>
                    <a:pt x="1285461" y="25743"/>
                    <a:pt x="1303693" y="11499"/>
                    <a:pt x="1334720" y="11499"/>
                  </a:cubicBezTo>
                  <a:cubicBezTo>
                    <a:pt x="1334824" y="11499"/>
                    <a:pt x="1334979" y="11499"/>
                    <a:pt x="1335083" y="11499"/>
                  </a:cubicBezTo>
                  <a:cubicBezTo>
                    <a:pt x="1352228" y="11499"/>
                    <a:pt x="1367560" y="16005"/>
                    <a:pt x="1380665" y="24863"/>
                  </a:cubicBezTo>
                  <a:cubicBezTo>
                    <a:pt x="1392578" y="32891"/>
                    <a:pt x="1401850" y="43355"/>
                    <a:pt x="1410915" y="53507"/>
                  </a:cubicBezTo>
                  <a:cubicBezTo>
                    <a:pt x="1415472" y="58583"/>
                    <a:pt x="1420186" y="63867"/>
                    <a:pt x="1425055" y="68684"/>
                  </a:cubicBezTo>
                  <a:cubicBezTo>
                    <a:pt x="1438678" y="81996"/>
                    <a:pt x="1455201" y="94324"/>
                    <a:pt x="1483017" y="94427"/>
                  </a:cubicBezTo>
                  <a:lnTo>
                    <a:pt x="1483017" y="83291"/>
                  </a:lnTo>
                  <a:cubicBezTo>
                    <a:pt x="1460329" y="83239"/>
                    <a:pt x="1446448" y="74174"/>
                    <a:pt x="1432618" y="60707"/>
                  </a:cubicBezTo>
                  <a:cubicBezTo>
                    <a:pt x="1427800" y="55734"/>
                    <a:pt x="1423449" y="50865"/>
                    <a:pt x="1418788" y="45634"/>
                  </a:cubicBezTo>
                  <a:close/>
                </a:path>
              </a:pathLst>
            </a:custGeom>
            <a:solidFill>
              <a:schemeClr val="accent1"/>
            </a:solidFill>
            <a:ln w="5175" cap="flat">
              <a:noFill/>
              <a:prstDash val="solid"/>
              <a:miter/>
            </a:ln>
          </p:spPr>
          <p:txBody>
            <a:bodyPr rtlCol="0" anchor="ctr"/>
            <a:lstStyle/>
            <a:p>
              <a:endParaRPr lang="en-IN" dirty="0"/>
            </a:p>
          </p:txBody>
        </p:sp>
      </p:grpSp>
      <p:grpSp>
        <p:nvGrpSpPr>
          <p:cNvPr id="81" name="Group 80">
            <a:extLst>
              <a:ext uri="{FF2B5EF4-FFF2-40B4-BE49-F238E27FC236}">
                <a16:creationId xmlns:a16="http://schemas.microsoft.com/office/drawing/2014/main" id="{84A6A042-AC59-4AE1-ABA6-42D7136BA2B2}"/>
              </a:ext>
            </a:extLst>
          </p:cNvPr>
          <p:cNvGrpSpPr/>
          <p:nvPr/>
        </p:nvGrpSpPr>
        <p:grpSpPr>
          <a:xfrm>
            <a:off x="10641215" y="5258603"/>
            <a:ext cx="1086328" cy="1078266"/>
            <a:chOff x="10641215" y="4934858"/>
            <a:chExt cx="1412494" cy="1402011"/>
          </a:xfrm>
        </p:grpSpPr>
        <p:sp>
          <p:nvSpPr>
            <p:cNvPr id="76" name="Freeform: Shape 75">
              <a:extLst>
                <a:ext uri="{FF2B5EF4-FFF2-40B4-BE49-F238E27FC236}">
                  <a16:creationId xmlns:a16="http://schemas.microsoft.com/office/drawing/2014/main" id="{C9B07E41-9107-40AA-BCC6-D0D4F0207690}"/>
                </a:ext>
              </a:extLst>
            </p:cNvPr>
            <p:cNvSpPr/>
            <p:nvPr/>
          </p:nvSpPr>
          <p:spPr>
            <a:xfrm>
              <a:off x="10641215" y="5215514"/>
              <a:ext cx="1119691" cy="1121355"/>
            </a:xfrm>
            <a:custGeom>
              <a:avLst/>
              <a:gdLst>
                <a:gd name="connsiteX0" fmla="*/ 93053 w 1235289"/>
                <a:gd name="connsiteY0" fmla="*/ 1237059 h 1237125"/>
                <a:gd name="connsiteX1" fmla="*/ 27704 w 1235289"/>
                <a:gd name="connsiteY1" fmla="*/ 1210217 h 1237125"/>
                <a:gd name="connsiteX2" fmla="*/ 0 w 1235289"/>
                <a:gd name="connsiteY2" fmla="*/ 1143609 h 1237125"/>
                <a:gd name="connsiteX3" fmla="*/ 0 w 1235289"/>
                <a:gd name="connsiteY3" fmla="*/ 1143609 h 1237125"/>
                <a:gd name="connsiteX4" fmla="*/ 3911 w 1235289"/>
                <a:gd name="connsiteY4" fmla="*/ 76755 h 1237125"/>
                <a:gd name="connsiteX5" fmla="*/ 28234 w 1235289"/>
                <a:gd name="connsiteY5" fmla="*/ 20752 h 1237125"/>
                <a:gd name="connsiteX6" fmla="*/ 85033 w 1235289"/>
                <a:gd name="connsiteY6" fmla="*/ 140 h 1237125"/>
                <a:gd name="connsiteX7" fmla="*/ 874785 w 1235289"/>
                <a:gd name="connsiteY7" fmla="*/ 351604 h 1237125"/>
                <a:gd name="connsiteX8" fmla="*/ 1234865 w 1235289"/>
                <a:gd name="connsiteY8" fmla="*/ 1111929 h 1237125"/>
                <a:gd name="connsiteX9" fmla="*/ 1210277 w 1235289"/>
                <a:gd name="connsiteY9" fmla="*/ 1186225 h 1237125"/>
                <a:gd name="connsiteX10" fmla="*/ 1138234 w 1235289"/>
                <a:gd name="connsiteY10" fmla="*/ 1219164 h 1237125"/>
                <a:gd name="connsiteX11" fmla="*/ 94643 w 1235289"/>
                <a:gd name="connsiteY11" fmla="*/ 1237125 h 1237125"/>
                <a:gd name="connsiteX12" fmla="*/ 93053 w 1235289"/>
                <a:gd name="connsiteY12" fmla="*/ 1237059 h 1237125"/>
                <a:gd name="connsiteX13" fmla="*/ 26577 w 1235289"/>
                <a:gd name="connsiteY13" fmla="*/ 1143742 h 1237125"/>
                <a:gd name="connsiteX14" fmla="*/ 46394 w 1235289"/>
                <a:gd name="connsiteY14" fmla="*/ 1191394 h 1237125"/>
                <a:gd name="connsiteX15" fmla="*/ 94312 w 1235289"/>
                <a:gd name="connsiteY15" fmla="*/ 1210548 h 1237125"/>
                <a:gd name="connsiteX16" fmla="*/ 1137903 w 1235289"/>
                <a:gd name="connsiteY16" fmla="*/ 1192588 h 1237125"/>
                <a:gd name="connsiteX17" fmla="*/ 1190659 w 1235289"/>
                <a:gd name="connsiteY17" fmla="*/ 1168463 h 1237125"/>
                <a:gd name="connsiteX18" fmla="*/ 1208620 w 1235289"/>
                <a:gd name="connsiteY18" fmla="*/ 1114315 h 1237125"/>
                <a:gd name="connsiteX19" fmla="*/ 856294 w 1235289"/>
                <a:gd name="connsiteY19" fmla="*/ 370427 h 1237125"/>
                <a:gd name="connsiteX20" fmla="*/ 83575 w 1235289"/>
                <a:gd name="connsiteY20" fmla="*/ 26518 h 1237125"/>
                <a:gd name="connsiteX21" fmla="*/ 46460 w 1235289"/>
                <a:gd name="connsiteY21" fmla="*/ 40038 h 1237125"/>
                <a:gd name="connsiteX22" fmla="*/ 30488 w 1235289"/>
                <a:gd name="connsiteY22" fmla="*/ 76822 h 1237125"/>
                <a:gd name="connsiteX23" fmla="*/ 26577 w 1235289"/>
                <a:gd name="connsiteY23" fmla="*/ 1143742 h 1237125"/>
                <a:gd name="connsiteX24" fmla="*/ 26577 w 1235289"/>
                <a:gd name="connsiteY24" fmla="*/ 1143742 h 123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35289" h="1237125">
                  <a:moveTo>
                    <a:pt x="93053" y="1237059"/>
                  </a:moveTo>
                  <a:cubicBezTo>
                    <a:pt x="68464" y="1237059"/>
                    <a:pt x="45334" y="1227582"/>
                    <a:pt x="27704" y="1210217"/>
                  </a:cubicBezTo>
                  <a:cubicBezTo>
                    <a:pt x="9743" y="1192521"/>
                    <a:pt x="-66" y="1168860"/>
                    <a:pt x="0" y="1143609"/>
                  </a:cubicBezTo>
                  <a:lnTo>
                    <a:pt x="0" y="1143609"/>
                  </a:lnTo>
                  <a:lnTo>
                    <a:pt x="3911" y="76755"/>
                  </a:lnTo>
                  <a:cubicBezTo>
                    <a:pt x="3977" y="55613"/>
                    <a:pt x="12858" y="35200"/>
                    <a:pt x="28234" y="20752"/>
                  </a:cubicBezTo>
                  <a:cubicBezTo>
                    <a:pt x="43743" y="6171"/>
                    <a:pt x="63957" y="-1120"/>
                    <a:pt x="85033" y="140"/>
                  </a:cubicBezTo>
                  <a:cubicBezTo>
                    <a:pt x="382350" y="17637"/>
                    <a:pt x="662833" y="142502"/>
                    <a:pt x="874785" y="351604"/>
                  </a:cubicBezTo>
                  <a:cubicBezTo>
                    <a:pt x="1080309" y="554344"/>
                    <a:pt x="1208156" y="824355"/>
                    <a:pt x="1234865" y="1111929"/>
                  </a:cubicBezTo>
                  <a:cubicBezTo>
                    <a:pt x="1237384" y="1139301"/>
                    <a:pt x="1228636" y="1165679"/>
                    <a:pt x="1210277" y="1186225"/>
                  </a:cubicBezTo>
                  <a:cubicBezTo>
                    <a:pt x="1191918" y="1206705"/>
                    <a:pt x="1165673" y="1218701"/>
                    <a:pt x="1138234" y="1219164"/>
                  </a:cubicBezTo>
                  <a:lnTo>
                    <a:pt x="94643" y="1237125"/>
                  </a:lnTo>
                  <a:cubicBezTo>
                    <a:pt x="94179" y="1237059"/>
                    <a:pt x="93649" y="1237059"/>
                    <a:pt x="93053" y="1237059"/>
                  </a:cubicBezTo>
                  <a:close/>
                  <a:moveTo>
                    <a:pt x="26577" y="1143742"/>
                  </a:moveTo>
                  <a:cubicBezTo>
                    <a:pt x="26511" y="1161769"/>
                    <a:pt x="33536" y="1178736"/>
                    <a:pt x="46394" y="1191394"/>
                  </a:cubicBezTo>
                  <a:cubicBezTo>
                    <a:pt x="59252" y="1204053"/>
                    <a:pt x="76351" y="1210814"/>
                    <a:pt x="94312" y="1210548"/>
                  </a:cubicBezTo>
                  <a:lnTo>
                    <a:pt x="1137903" y="1192588"/>
                  </a:lnTo>
                  <a:cubicBezTo>
                    <a:pt x="1157985" y="1192256"/>
                    <a:pt x="1177271" y="1183441"/>
                    <a:pt x="1190659" y="1168463"/>
                  </a:cubicBezTo>
                  <a:cubicBezTo>
                    <a:pt x="1204113" y="1153484"/>
                    <a:pt x="1210476" y="1134198"/>
                    <a:pt x="1208620" y="1114315"/>
                  </a:cubicBezTo>
                  <a:cubicBezTo>
                    <a:pt x="1182507" y="833037"/>
                    <a:pt x="1057376" y="568859"/>
                    <a:pt x="856294" y="370427"/>
                  </a:cubicBezTo>
                  <a:cubicBezTo>
                    <a:pt x="648914" y="165831"/>
                    <a:pt x="374463" y="43683"/>
                    <a:pt x="83575" y="26518"/>
                  </a:cubicBezTo>
                  <a:cubicBezTo>
                    <a:pt x="69657" y="25656"/>
                    <a:pt x="56601" y="30494"/>
                    <a:pt x="46460" y="40038"/>
                  </a:cubicBezTo>
                  <a:cubicBezTo>
                    <a:pt x="36187" y="49715"/>
                    <a:pt x="30488" y="62771"/>
                    <a:pt x="30488" y="76822"/>
                  </a:cubicBezTo>
                  <a:lnTo>
                    <a:pt x="26577" y="1143742"/>
                  </a:lnTo>
                  <a:lnTo>
                    <a:pt x="26577" y="1143742"/>
                  </a:lnTo>
                  <a:close/>
                </a:path>
              </a:pathLst>
            </a:custGeom>
            <a:solidFill>
              <a:srgbClr val="12284B"/>
            </a:solidFill>
            <a:ln w="6623" cap="flat">
              <a:noFill/>
              <a:prstDash val="solid"/>
              <a:miter/>
            </a:ln>
          </p:spPr>
          <p:txBody>
            <a:bodyPr rtlCol="0" anchor="ctr"/>
            <a:lstStyle/>
            <a:p>
              <a:endParaRPr lang="en-IN" dirty="0"/>
            </a:p>
          </p:txBody>
        </p:sp>
        <p:sp>
          <p:nvSpPr>
            <p:cNvPr id="77" name="Freeform: Shape 76">
              <a:extLst>
                <a:ext uri="{FF2B5EF4-FFF2-40B4-BE49-F238E27FC236}">
                  <a16:creationId xmlns:a16="http://schemas.microsoft.com/office/drawing/2014/main" id="{4BBA122D-0AB6-4CEF-A4A2-0549136FF408}"/>
                </a:ext>
              </a:extLst>
            </p:cNvPr>
            <p:cNvSpPr/>
            <p:nvPr/>
          </p:nvSpPr>
          <p:spPr>
            <a:xfrm>
              <a:off x="10787616" y="5075180"/>
              <a:ext cx="1119751" cy="1121294"/>
            </a:xfrm>
            <a:custGeom>
              <a:avLst/>
              <a:gdLst>
                <a:gd name="connsiteX0" fmla="*/ 93052 w 1235356"/>
                <a:gd name="connsiteY0" fmla="*/ 1237059 h 1237058"/>
                <a:gd name="connsiteX1" fmla="*/ 27704 w 1235356"/>
                <a:gd name="connsiteY1" fmla="*/ 1210217 h 1237058"/>
                <a:gd name="connsiteX2" fmla="*/ 0 w 1235356"/>
                <a:gd name="connsiteY2" fmla="*/ 1143609 h 1237058"/>
                <a:gd name="connsiteX3" fmla="*/ 3911 w 1235356"/>
                <a:gd name="connsiteY3" fmla="*/ 76755 h 1237058"/>
                <a:gd name="connsiteX4" fmla="*/ 28301 w 1235356"/>
                <a:gd name="connsiteY4" fmla="*/ 20752 h 1237058"/>
                <a:gd name="connsiteX5" fmla="*/ 85100 w 1235356"/>
                <a:gd name="connsiteY5" fmla="*/ 140 h 1237058"/>
                <a:gd name="connsiteX6" fmla="*/ 874851 w 1235356"/>
                <a:gd name="connsiteY6" fmla="*/ 351604 h 1237058"/>
                <a:gd name="connsiteX7" fmla="*/ 1234932 w 1235356"/>
                <a:gd name="connsiteY7" fmla="*/ 1111863 h 1237058"/>
                <a:gd name="connsiteX8" fmla="*/ 1210343 w 1235356"/>
                <a:gd name="connsiteY8" fmla="*/ 1186159 h 1237058"/>
                <a:gd name="connsiteX9" fmla="*/ 1138301 w 1235356"/>
                <a:gd name="connsiteY9" fmla="*/ 1219098 h 1237058"/>
                <a:gd name="connsiteX10" fmla="*/ 94709 w 1235356"/>
                <a:gd name="connsiteY10" fmla="*/ 1237059 h 1237058"/>
                <a:gd name="connsiteX11" fmla="*/ 93052 w 1235356"/>
                <a:gd name="connsiteY11" fmla="*/ 1237059 h 1237058"/>
                <a:gd name="connsiteX12" fmla="*/ 80526 w 1235356"/>
                <a:gd name="connsiteY12" fmla="*/ 26518 h 1237058"/>
                <a:gd name="connsiteX13" fmla="*/ 46461 w 1235356"/>
                <a:gd name="connsiteY13" fmla="*/ 40104 h 1237058"/>
                <a:gd name="connsiteX14" fmla="*/ 30421 w 1235356"/>
                <a:gd name="connsiteY14" fmla="*/ 76888 h 1237058"/>
                <a:gd name="connsiteX15" fmla="*/ 26511 w 1235356"/>
                <a:gd name="connsiteY15" fmla="*/ 1143742 h 1237058"/>
                <a:gd name="connsiteX16" fmla="*/ 46328 w 1235356"/>
                <a:gd name="connsiteY16" fmla="*/ 1191395 h 1237058"/>
                <a:gd name="connsiteX17" fmla="*/ 94246 w 1235356"/>
                <a:gd name="connsiteY17" fmla="*/ 1210548 h 1237058"/>
                <a:gd name="connsiteX18" fmla="*/ 1137836 w 1235356"/>
                <a:gd name="connsiteY18" fmla="*/ 1192587 h 1237058"/>
                <a:gd name="connsiteX19" fmla="*/ 1190593 w 1235356"/>
                <a:gd name="connsiteY19" fmla="*/ 1168463 h 1237058"/>
                <a:gd name="connsiteX20" fmla="*/ 1208554 w 1235356"/>
                <a:gd name="connsiteY20" fmla="*/ 1114315 h 1237058"/>
                <a:gd name="connsiteX21" fmla="*/ 856227 w 1235356"/>
                <a:gd name="connsiteY21" fmla="*/ 370427 h 1237058"/>
                <a:gd name="connsiteX22" fmla="*/ 83509 w 1235356"/>
                <a:gd name="connsiteY22" fmla="*/ 26518 h 1237058"/>
                <a:gd name="connsiteX23" fmla="*/ 80526 w 1235356"/>
                <a:gd name="connsiteY23" fmla="*/ 26518 h 123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5356" h="1237058">
                  <a:moveTo>
                    <a:pt x="93052" y="1237059"/>
                  </a:moveTo>
                  <a:cubicBezTo>
                    <a:pt x="68464" y="1237059"/>
                    <a:pt x="45267" y="1227581"/>
                    <a:pt x="27704" y="1210217"/>
                  </a:cubicBezTo>
                  <a:cubicBezTo>
                    <a:pt x="9743" y="1192521"/>
                    <a:pt x="-66" y="1168861"/>
                    <a:pt x="0" y="1143609"/>
                  </a:cubicBezTo>
                  <a:lnTo>
                    <a:pt x="3911" y="76755"/>
                  </a:lnTo>
                  <a:cubicBezTo>
                    <a:pt x="3977" y="55613"/>
                    <a:pt x="12858" y="35200"/>
                    <a:pt x="28301" y="20752"/>
                  </a:cubicBezTo>
                  <a:cubicBezTo>
                    <a:pt x="43809" y="6171"/>
                    <a:pt x="64090" y="-1120"/>
                    <a:pt x="85100" y="140"/>
                  </a:cubicBezTo>
                  <a:cubicBezTo>
                    <a:pt x="382416" y="17637"/>
                    <a:pt x="662899" y="142502"/>
                    <a:pt x="874851" y="351604"/>
                  </a:cubicBezTo>
                  <a:cubicBezTo>
                    <a:pt x="1080375" y="554410"/>
                    <a:pt x="1208288" y="824355"/>
                    <a:pt x="1234932" y="1111863"/>
                  </a:cubicBezTo>
                  <a:cubicBezTo>
                    <a:pt x="1237450" y="1139235"/>
                    <a:pt x="1228702" y="1165613"/>
                    <a:pt x="1210343" y="1186159"/>
                  </a:cubicBezTo>
                  <a:cubicBezTo>
                    <a:pt x="1191985" y="1206638"/>
                    <a:pt x="1165739" y="1218634"/>
                    <a:pt x="1138301" y="1219098"/>
                  </a:cubicBezTo>
                  <a:lnTo>
                    <a:pt x="94709" y="1237059"/>
                  </a:lnTo>
                  <a:cubicBezTo>
                    <a:pt x="94113" y="1237059"/>
                    <a:pt x="93583" y="1237059"/>
                    <a:pt x="93052" y="1237059"/>
                  </a:cubicBezTo>
                  <a:close/>
                  <a:moveTo>
                    <a:pt x="80526" y="26518"/>
                  </a:moveTo>
                  <a:cubicBezTo>
                    <a:pt x="67868" y="26518"/>
                    <a:pt x="55805" y="31290"/>
                    <a:pt x="46461" y="40104"/>
                  </a:cubicBezTo>
                  <a:cubicBezTo>
                    <a:pt x="36187" y="49781"/>
                    <a:pt x="30488" y="62837"/>
                    <a:pt x="30421" y="76888"/>
                  </a:cubicBezTo>
                  <a:lnTo>
                    <a:pt x="26511" y="1143742"/>
                  </a:lnTo>
                  <a:cubicBezTo>
                    <a:pt x="26445" y="1161769"/>
                    <a:pt x="33470" y="1178669"/>
                    <a:pt x="46328" y="1191395"/>
                  </a:cubicBezTo>
                  <a:cubicBezTo>
                    <a:pt x="59185" y="1204053"/>
                    <a:pt x="75887" y="1210880"/>
                    <a:pt x="94246" y="1210548"/>
                  </a:cubicBezTo>
                  <a:lnTo>
                    <a:pt x="1137836" y="1192587"/>
                  </a:lnTo>
                  <a:cubicBezTo>
                    <a:pt x="1157918" y="1192256"/>
                    <a:pt x="1177205" y="1183441"/>
                    <a:pt x="1190593" y="1168463"/>
                  </a:cubicBezTo>
                  <a:cubicBezTo>
                    <a:pt x="1204047" y="1153484"/>
                    <a:pt x="1210410" y="1134198"/>
                    <a:pt x="1208554" y="1114315"/>
                  </a:cubicBezTo>
                  <a:cubicBezTo>
                    <a:pt x="1182440" y="833037"/>
                    <a:pt x="1057376" y="568859"/>
                    <a:pt x="856227" y="370427"/>
                  </a:cubicBezTo>
                  <a:cubicBezTo>
                    <a:pt x="648848" y="165765"/>
                    <a:pt x="374397" y="43683"/>
                    <a:pt x="83509" y="26518"/>
                  </a:cubicBezTo>
                  <a:cubicBezTo>
                    <a:pt x="82515" y="26518"/>
                    <a:pt x="81520" y="26518"/>
                    <a:pt x="80526" y="26518"/>
                  </a:cubicBezTo>
                  <a:close/>
                </a:path>
              </a:pathLst>
            </a:custGeom>
            <a:solidFill>
              <a:srgbClr val="12284B"/>
            </a:solidFill>
            <a:ln w="6623" cap="flat">
              <a:noFill/>
              <a:prstDash val="solid"/>
              <a:miter/>
            </a:ln>
          </p:spPr>
          <p:txBody>
            <a:bodyPr rtlCol="0" anchor="ctr"/>
            <a:lstStyle/>
            <a:p>
              <a:endParaRPr lang="en-IN" dirty="0"/>
            </a:p>
          </p:txBody>
        </p:sp>
        <p:sp>
          <p:nvSpPr>
            <p:cNvPr id="78" name="Freeform: Shape 77">
              <a:extLst>
                <a:ext uri="{FF2B5EF4-FFF2-40B4-BE49-F238E27FC236}">
                  <a16:creationId xmlns:a16="http://schemas.microsoft.com/office/drawing/2014/main" id="{C57F2C24-DBC2-4A0B-AFA5-F1F30464D2F0}"/>
                </a:ext>
              </a:extLst>
            </p:cNvPr>
            <p:cNvSpPr/>
            <p:nvPr/>
          </p:nvSpPr>
          <p:spPr>
            <a:xfrm>
              <a:off x="10933958" y="4934858"/>
              <a:ext cx="1119751" cy="1121343"/>
            </a:xfrm>
            <a:custGeom>
              <a:avLst/>
              <a:gdLst>
                <a:gd name="connsiteX0" fmla="*/ 93052 w 1235355"/>
                <a:gd name="connsiteY0" fmla="*/ 1237047 h 1237112"/>
                <a:gd name="connsiteX1" fmla="*/ 27703 w 1235355"/>
                <a:gd name="connsiteY1" fmla="*/ 1210205 h 1237112"/>
                <a:gd name="connsiteX2" fmla="*/ 0 w 1235355"/>
                <a:gd name="connsiteY2" fmla="*/ 1143597 h 1237112"/>
                <a:gd name="connsiteX3" fmla="*/ 3910 w 1235355"/>
                <a:gd name="connsiteY3" fmla="*/ 76743 h 1237112"/>
                <a:gd name="connsiteX4" fmla="*/ 28301 w 1235355"/>
                <a:gd name="connsiteY4" fmla="*/ 20739 h 1237112"/>
                <a:gd name="connsiteX5" fmla="*/ 85099 w 1235355"/>
                <a:gd name="connsiteY5" fmla="*/ 127 h 1237112"/>
                <a:gd name="connsiteX6" fmla="*/ 874851 w 1235355"/>
                <a:gd name="connsiteY6" fmla="*/ 351592 h 1237112"/>
                <a:gd name="connsiteX7" fmla="*/ 1234931 w 1235355"/>
                <a:gd name="connsiteY7" fmla="*/ 1111916 h 1237112"/>
                <a:gd name="connsiteX8" fmla="*/ 1210277 w 1235355"/>
                <a:gd name="connsiteY8" fmla="*/ 1186212 h 1237112"/>
                <a:gd name="connsiteX9" fmla="*/ 1138234 w 1235355"/>
                <a:gd name="connsiteY9" fmla="*/ 1219152 h 1237112"/>
                <a:gd name="connsiteX10" fmla="*/ 94643 w 1235355"/>
                <a:gd name="connsiteY10" fmla="*/ 1237113 h 1237112"/>
                <a:gd name="connsiteX11" fmla="*/ 93052 w 1235355"/>
                <a:gd name="connsiteY11" fmla="*/ 1237047 h 1237112"/>
                <a:gd name="connsiteX12" fmla="*/ 80593 w 1235355"/>
                <a:gd name="connsiteY12" fmla="*/ 26439 h 1237112"/>
                <a:gd name="connsiteX13" fmla="*/ 46527 w 1235355"/>
                <a:gd name="connsiteY13" fmla="*/ 40026 h 1237112"/>
                <a:gd name="connsiteX14" fmla="*/ 30487 w 1235355"/>
                <a:gd name="connsiteY14" fmla="*/ 76809 h 1237112"/>
                <a:gd name="connsiteX15" fmla="*/ 26577 w 1235355"/>
                <a:gd name="connsiteY15" fmla="*/ 1143729 h 1237112"/>
                <a:gd name="connsiteX16" fmla="*/ 46394 w 1235355"/>
                <a:gd name="connsiteY16" fmla="*/ 1191382 h 1237112"/>
                <a:gd name="connsiteX17" fmla="*/ 94312 w 1235355"/>
                <a:gd name="connsiteY17" fmla="*/ 1210536 h 1237112"/>
                <a:gd name="connsiteX18" fmla="*/ 1137902 w 1235355"/>
                <a:gd name="connsiteY18" fmla="*/ 1192575 h 1237112"/>
                <a:gd name="connsiteX19" fmla="*/ 1190659 w 1235355"/>
                <a:gd name="connsiteY19" fmla="*/ 1168450 h 1237112"/>
                <a:gd name="connsiteX20" fmla="*/ 1208620 w 1235355"/>
                <a:gd name="connsiteY20" fmla="*/ 1114303 h 1237112"/>
                <a:gd name="connsiteX21" fmla="*/ 856293 w 1235355"/>
                <a:gd name="connsiteY21" fmla="*/ 370414 h 1237112"/>
                <a:gd name="connsiteX22" fmla="*/ 83575 w 1235355"/>
                <a:gd name="connsiteY22" fmla="*/ 26505 h 1237112"/>
                <a:gd name="connsiteX23" fmla="*/ 80593 w 1235355"/>
                <a:gd name="connsiteY23" fmla="*/ 26439 h 1237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35355" h="1237112">
                  <a:moveTo>
                    <a:pt x="93052" y="1237047"/>
                  </a:moveTo>
                  <a:cubicBezTo>
                    <a:pt x="68464" y="1237047"/>
                    <a:pt x="45267" y="1227569"/>
                    <a:pt x="27703" y="1210205"/>
                  </a:cubicBezTo>
                  <a:cubicBezTo>
                    <a:pt x="9743" y="1192509"/>
                    <a:pt x="-66" y="1168848"/>
                    <a:pt x="0" y="1143597"/>
                  </a:cubicBezTo>
                  <a:lnTo>
                    <a:pt x="3910" y="76743"/>
                  </a:lnTo>
                  <a:cubicBezTo>
                    <a:pt x="3977" y="55601"/>
                    <a:pt x="12858" y="35188"/>
                    <a:pt x="28301" y="20739"/>
                  </a:cubicBezTo>
                  <a:cubicBezTo>
                    <a:pt x="43809" y="6158"/>
                    <a:pt x="63957" y="-1066"/>
                    <a:pt x="85099" y="127"/>
                  </a:cubicBezTo>
                  <a:cubicBezTo>
                    <a:pt x="382416" y="17624"/>
                    <a:pt x="662832" y="142489"/>
                    <a:pt x="874851" y="351592"/>
                  </a:cubicBezTo>
                  <a:cubicBezTo>
                    <a:pt x="1080375" y="554332"/>
                    <a:pt x="1208222" y="824343"/>
                    <a:pt x="1234931" y="1111916"/>
                  </a:cubicBezTo>
                  <a:cubicBezTo>
                    <a:pt x="1237450" y="1139289"/>
                    <a:pt x="1228702" y="1165667"/>
                    <a:pt x="1210277" y="1186212"/>
                  </a:cubicBezTo>
                  <a:cubicBezTo>
                    <a:pt x="1191918" y="1206692"/>
                    <a:pt x="1165673" y="1218688"/>
                    <a:pt x="1138234" y="1219152"/>
                  </a:cubicBezTo>
                  <a:lnTo>
                    <a:pt x="94643" y="1237113"/>
                  </a:lnTo>
                  <a:cubicBezTo>
                    <a:pt x="94179" y="1237047"/>
                    <a:pt x="93583" y="1237047"/>
                    <a:pt x="93052" y="1237047"/>
                  </a:cubicBezTo>
                  <a:close/>
                  <a:moveTo>
                    <a:pt x="80593" y="26439"/>
                  </a:moveTo>
                  <a:cubicBezTo>
                    <a:pt x="67934" y="26439"/>
                    <a:pt x="55937" y="31211"/>
                    <a:pt x="46527" y="40026"/>
                  </a:cubicBezTo>
                  <a:cubicBezTo>
                    <a:pt x="36253" y="49702"/>
                    <a:pt x="30554" y="62759"/>
                    <a:pt x="30487" y="76809"/>
                  </a:cubicBezTo>
                  <a:lnTo>
                    <a:pt x="26577" y="1143729"/>
                  </a:lnTo>
                  <a:cubicBezTo>
                    <a:pt x="26511" y="1161757"/>
                    <a:pt x="33536" y="1178657"/>
                    <a:pt x="46394" y="1191382"/>
                  </a:cubicBezTo>
                  <a:cubicBezTo>
                    <a:pt x="59251" y="1204041"/>
                    <a:pt x="76152" y="1210801"/>
                    <a:pt x="94312" y="1210536"/>
                  </a:cubicBezTo>
                  <a:lnTo>
                    <a:pt x="1137902" y="1192575"/>
                  </a:lnTo>
                  <a:cubicBezTo>
                    <a:pt x="1157984" y="1192244"/>
                    <a:pt x="1177205" y="1183429"/>
                    <a:pt x="1190659" y="1168450"/>
                  </a:cubicBezTo>
                  <a:cubicBezTo>
                    <a:pt x="1204112" y="1153472"/>
                    <a:pt x="1210476" y="1134186"/>
                    <a:pt x="1208620" y="1114303"/>
                  </a:cubicBezTo>
                  <a:cubicBezTo>
                    <a:pt x="1182506" y="833025"/>
                    <a:pt x="1057376" y="568846"/>
                    <a:pt x="856293" y="370414"/>
                  </a:cubicBezTo>
                  <a:cubicBezTo>
                    <a:pt x="648914" y="165752"/>
                    <a:pt x="374463" y="43671"/>
                    <a:pt x="83575" y="26505"/>
                  </a:cubicBezTo>
                  <a:cubicBezTo>
                    <a:pt x="82581" y="26505"/>
                    <a:pt x="81586" y="26439"/>
                    <a:pt x="80593" y="26439"/>
                  </a:cubicBezTo>
                  <a:close/>
                </a:path>
              </a:pathLst>
            </a:custGeom>
            <a:solidFill>
              <a:srgbClr val="12284B"/>
            </a:solidFill>
            <a:ln w="6623" cap="flat">
              <a:noFill/>
              <a:prstDash val="solid"/>
              <a:miter/>
            </a:ln>
          </p:spPr>
          <p:txBody>
            <a:bodyPr rtlCol="0" anchor="ctr"/>
            <a:lstStyle/>
            <a:p>
              <a:endParaRPr lang="en-IN" dirty="0"/>
            </a:p>
          </p:txBody>
        </p:sp>
      </p:grpSp>
      <p:cxnSp>
        <p:nvCxnSpPr>
          <p:cNvPr id="9" name="Straight Connector 8">
            <a:extLst>
              <a:ext uri="{FF2B5EF4-FFF2-40B4-BE49-F238E27FC236}">
                <a16:creationId xmlns:a16="http://schemas.microsoft.com/office/drawing/2014/main" id="{AA7961C0-78D2-4AD9-8573-9057CA8C0C27}"/>
              </a:ext>
            </a:extLst>
          </p:cNvPr>
          <p:cNvCxnSpPr>
            <a:cxnSpLocks/>
            <a:stCxn id="11" idx="0"/>
          </p:cNvCxnSpPr>
          <p:nvPr/>
        </p:nvCxnSpPr>
        <p:spPr>
          <a:xfrm>
            <a:off x="7476517" y="6241144"/>
            <a:ext cx="2851089" cy="0"/>
          </a:xfrm>
          <a:prstGeom prst="line">
            <a:avLst/>
          </a:prstGeom>
          <a:noFill/>
          <a:ln>
            <a:solidFill>
              <a:schemeClr val="accent1"/>
            </a:solidFill>
            <a:tailEnd type="oval"/>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5913458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9" name="Group 148">
            <a:extLst>
              <a:ext uri="{FF2B5EF4-FFF2-40B4-BE49-F238E27FC236}">
                <a16:creationId xmlns:a16="http://schemas.microsoft.com/office/drawing/2014/main" id="{C06CC503-B98A-4299-AB26-B05CFA1FA1D7}"/>
              </a:ext>
            </a:extLst>
          </p:cNvPr>
          <p:cNvGrpSpPr/>
          <p:nvPr/>
        </p:nvGrpSpPr>
        <p:grpSpPr>
          <a:xfrm>
            <a:off x="1673212" y="236221"/>
            <a:ext cx="8644670" cy="6385559"/>
            <a:chOff x="2055885" y="804826"/>
            <a:chExt cx="6748985" cy="4985275"/>
          </a:xfrm>
        </p:grpSpPr>
        <p:sp>
          <p:nvSpPr>
            <p:cNvPr id="7" name="Freeform: Shape 6">
              <a:extLst>
                <a:ext uri="{FF2B5EF4-FFF2-40B4-BE49-F238E27FC236}">
                  <a16:creationId xmlns:a16="http://schemas.microsoft.com/office/drawing/2014/main" id="{4D87D138-9B18-40AA-AAD9-C374A0220C7D}"/>
                </a:ext>
              </a:extLst>
            </p:cNvPr>
            <p:cNvSpPr/>
            <p:nvPr/>
          </p:nvSpPr>
          <p:spPr>
            <a:xfrm>
              <a:off x="2715452" y="911303"/>
              <a:ext cx="3385505" cy="3385505"/>
            </a:xfrm>
            <a:custGeom>
              <a:avLst/>
              <a:gdLst>
                <a:gd name="connsiteX0" fmla="*/ 3385505 w 3385505"/>
                <a:gd name="connsiteY0" fmla="*/ 1692753 h 3385505"/>
                <a:gd name="connsiteX1" fmla="*/ 1692753 w 3385505"/>
                <a:gd name="connsiteY1" fmla="*/ 3385505 h 3385505"/>
                <a:gd name="connsiteX2" fmla="*/ 0 w 3385505"/>
                <a:gd name="connsiteY2" fmla="*/ 1692753 h 3385505"/>
                <a:gd name="connsiteX3" fmla="*/ 1692753 w 3385505"/>
                <a:gd name="connsiteY3" fmla="*/ 0 h 3385505"/>
                <a:gd name="connsiteX4" fmla="*/ 3385505 w 3385505"/>
                <a:gd name="connsiteY4" fmla="*/ 1692753 h 3385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5505" h="3385505">
                  <a:moveTo>
                    <a:pt x="3385505" y="1692753"/>
                  </a:moveTo>
                  <a:cubicBezTo>
                    <a:pt x="3385505" y="2627634"/>
                    <a:pt x="2627634" y="3385505"/>
                    <a:pt x="1692753" y="3385505"/>
                  </a:cubicBezTo>
                  <a:cubicBezTo>
                    <a:pt x="757871" y="3385505"/>
                    <a:pt x="0" y="2627634"/>
                    <a:pt x="0" y="1692753"/>
                  </a:cubicBezTo>
                  <a:cubicBezTo>
                    <a:pt x="0" y="757871"/>
                    <a:pt x="757871" y="0"/>
                    <a:pt x="1692753" y="0"/>
                  </a:cubicBezTo>
                  <a:cubicBezTo>
                    <a:pt x="2627634" y="0"/>
                    <a:pt x="3385505" y="757871"/>
                    <a:pt x="3385505" y="1692753"/>
                  </a:cubicBezTo>
                  <a:close/>
                </a:path>
              </a:pathLst>
            </a:custGeom>
            <a:solidFill>
              <a:srgbClr val="6CBE4C"/>
            </a:solidFill>
            <a:ln w="6213" cap="flat">
              <a:noFill/>
              <a:prstDash val="solid"/>
              <a:miter/>
            </a:ln>
          </p:spPr>
          <p:txBody>
            <a:bodyPr rtlCol="0" anchor="ctr"/>
            <a:lstStyle/>
            <a:p>
              <a:endParaRPr lang="en-IN" dirty="0"/>
            </a:p>
          </p:txBody>
        </p:sp>
        <p:pic>
          <p:nvPicPr>
            <p:cNvPr id="8" name="Picture 7" descr="A person with collar shirt&#10;&#10;Description automatically generated">
              <a:extLst>
                <a:ext uri="{FF2B5EF4-FFF2-40B4-BE49-F238E27FC236}">
                  <a16:creationId xmlns:a16="http://schemas.microsoft.com/office/drawing/2014/main" id="{678788D2-0313-4E40-9ED7-455BD00468F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839995" y="868387"/>
              <a:ext cx="2720196" cy="4111889"/>
            </a:xfrm>
            <a:prstGeom prst="rect">
              <a:avLst/>
            </a:prstGeom>
          </p:spPr>
        </p:pic>
        <p:sp>
          <p:nvSpPr>
            <p:cNvPr id="9" name="Freeform: Shape 8">
              <a:extLst>
                <a:ext uri="{FF2B5EF4-FFF2-40B4-BE49-F238E27FC236}">
                  <a16:creationId xmlns:a16="http://schemas.microsoft.com/office/drawing/2014/main" id="{777D751E-94F4-47DB-8B56-9934D15483C5}"/>
                </a:ext>
              </a:extLst>
            </p:cNvPr>
            <p:cNvSpPr/>
            <p:nvPr/>
          </p:nvSpPr>
          <p:spPr>
            <a:xfrm>
              <a:off x="4581168" y="2767565"/>
              <a:ext cx="3906385" cy="943244"/>
            </a:xfrm>
            <a:custGeom>
              <a:avLst/>
              <a:gdLst>
                <a:gd name="connsiteX0" fmla="*/ 0 w 3906385"/>
                <a:gd name="connsiteY0" fmla="*/ 0 h 943244"/>
                <a:gd name="connsiteX1" fmla="*/ 3906385 w 3906385"/>
                <a:gd name="connsiteY1" fmla="*/ 0 h 943244"/>
                <a:gd name="connsiteX2" fmla="*/ 3906385 w 3906385"/>
                <a:gd name="connsiteY2" fmla="*/ 943244 h 943244"/>
                <a:gd name="connsiteX3" fmla="*/ 0 w 3906385"/>
                <a:gd name="connsiteY3" fmla="*/ 943244 h 943244"/>
              </a:gdLst>
              <a:ahLst/>
              <a:cxnLst>
                <a:cxn ang="0">
                  <a:pos x="connsiteX0" y="connsiteY0"/>
                </a:cxn>
                <a:cxn ang="0">
                  <a:pos x="connsiteX1" y="connsiteY1"/>
                </a:cxn>
                <a:cxn ang="0">
                  <a:pos x="connsiteX2" y="connsiteY2"/>
                </a:cxn>
                <a:cxn ang="0">
                  <a:pos x="connsiteX3" y="connsiteY3"/>
                </a:cxn>
              </a:cxnLst>
              <a:rect l="l" t="t" r="r" b="b"/>
              <a:pathLst>
                <a:path w="3906385" h="943244">
                  <a:moveTo>
                    <a:pt x="0" y="0"/>
                  </a:moveTo>
                  <a:lnTo>
                    <a:pt x="3906385" y="0"/>
                  </a:lnTo>
                  <a:lnTo>
                    <a:pt x="3906385" y="943244"/>
                  </a:lnTo>
                  <a:lnTo>
                    <a:pt x="0" y="943244"/>
                  </a:lnTo>
                  <a:close/>
                </a:path>
              </a:pathLst>
            </a:custGeom>
            <a:solidFill>
              <a:schemeClr val="bg2">
                <a:lumMod val="95000"/>
              </a:schemeClr>
            </a:solidFill>
            <a:ln w="6213" cap="flat">
              <a:noFill/>
              <a:prstDash val="solid"/>
              <a:miter/>
            </a:ln>
          </p:spPr>
          <p:txBody>
            <a:bodyPr rtlCol="0" anchor="ctr"/>
            <a:lstStyle/>
            <a:p>
              <a:endParaRPr lang="en-IN" dirty="0"/>
            </a:p>
          </p:txBody>
        </p:sp>
        <p:sp>
          <p:nvSpPr>
            <p:cNvPr id="14" name="Freeform: Shape 13">
              <a:extLst>
                <a:ext uri="{FF2B5EF4-FFF2-40B4-BE49-F238E27FC236}">
                  <a16:creationId xmlns:a16="http://schemas.microsoft.com/office/drawing/2014/main" id="{2F5DFD86-1D09-4BEE-8ECE-A478BE01F6CD}"/>
                </a:ext>
              </a:extLst>
            </p:cNvPr>
            <p:cNvSpPr/>
            <p:nvPr/>
          </p:nvSpPr>
          <p:spPr>
            <a:xfrm>
              <a:off x="5009876" y="804826"/>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30"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15" name="Freeform: Shape 14">
              <a:extLst>
                <a:ext uri="{FF2B5EF4-FFF2-40B4-BE49-F238E27FC236}">
                  <a16:creationId xmlns:a16="http://schemas.microsoft.com/office/drawing/2014/main" id="{F9062F33-2653-4BF1-A8D7-57EF2D2F2511}"/>
                </a:ext>
              </a:extLst>
            </p:cNvPr>
            <p:cNvSpPr/>
            <p:nvPr/>
          </p:nvSpPr>
          <p:spPr>
            <a:xfrm>
              <a:off x="5476772" y="804826"/>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16" name="Freeform: Shape 15">
              <a:extLst>
                <a:ext uri="{FF2B5EF4-FFF2-40B4-BE49-F238E27FC236}">
                  <a16:creationId xmlns:a16="http://schemas.microsoft.com/office/drawing/2014/main" id="{F3FC3948-D87C-4735-B0E2-C70B7BC4F640}"/>
                </a:ext>
              </a:extLst>
            </p:cNvPr>
            <p:cNvSpPr/>
            <p:nvPr/>
          </p:nvSpPr>
          <p:spPr>
            <a:xfrm>
              <a:off x="5943605" y="804826"/>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17" name="Freeform: Shape 16">
              <a:extLst>
                <a:ext uri="{FF2B5EF4-FFF2-40B4-BE49-F238E27FC236}">
                  <a16:creationId xmlns:a16="http://schemas.microsoft.com/office/drawing/2014/main" id="{29294178-E7E7-4B86-87EC-84F99DB7E875}"/>
                </a:ext>
              </a:extLst>
            </p:cNvPr>
            <p:cNvSpPr/>
            <p:nvPr/>
          </p:nvSpPr>
          <p:spPr>
            <a:xfrm>
              <a:off x="6410500" y="804826"/>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18" name="Freeform: Shape 17">
              <a:extLst>
                <a:ext uri="{FF2B5EF4-FFF2-40B4-BE49-F238E27FC236}">
                  <a16:creationId xmlns:a16="http://schemas.microsoft.com/office/drawing/2014/main" id="{0DF04BBE-23FE-4153-976B-60E8E671F491}"/>
                </a:ext>
              </a:extLst>
            </p:cNvPr>
            <p:cNvSpPr/>
            <p:nvPr/>
          </p:nvSpPr>
          <p:spPr>
            <a:xfrm>
              <a:off x="6877334" y="804826"/>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19" name="Freeform: Shape 18">
              <a:extLst>
                <a:ext uri="{FF2B5EF4-FFF2-40B4-BE49-F238E27FC236}">
                  <a16:creationId xmlns:a16="http://schemas.microsoft.com/office/drawing/2014/main" id="{8EB82D23-84D1-45C6-B61A-8C5607AACD50}"/>
                </a:ext>
              </a:extLst>
            </p:cNvPr>
            <p:cNvSpPr/>
            <p:nvPr/>
          </p:nvSpPr>
          <p:spPr>
            <a:xfrm>
              <a:off x="5943605" y="1255799"/>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20" name="Freeform: Shape 19">
              <a:extLst>
                <a:ext uri="{FF2B5EF4-FFF2-40B4-BE49-F238E27FC236}">
                  <a16:creationId xmlns:a16="http://schemas.microsoft.com/office/drawing/2014/main" id="{B54A39C2-ADDE-454F-AD00-7497D01D80FA}"/>
                </a:ext>
              </a:extLst>
            </p:cNvPr>
            <p:cNvSpPr/>
            <p:nvPr/>
          </p:nvSpPr>
          <p:spPr>
            <a:xfrm>
              <a:off x="6410500" y="1255799"/>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21" name="Freeform: Shape 20">
              <a:extLst>
                <a:ext uri="{FF2B5EF4-FFF2-40B4-BE49-F238E27FC236}">
                  <a16:creationId xmlns:a16="http://schemas.microsoft.com/office/drawing/2014/main" id="{D3FDB4D6-65E3-4662-A202-805149F2A341}"/>
                </a:ext>
              </a:extLst>
            </p:cNvPr>
            <p:cNvSpPr/>
            <p:nvPr/>
          </p:nvSpPr>
          <p:spPr>
            <a:xfrm>
              <a:off x="6877334" y="1255799"/>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22" name="Freeform: Shape 21">
              <a:extLst>
                <a:ext uri="{FF2B5EF4-FFF2-40B4-BE49-F238E27FC236}">
                  <a16:creationId xmlns:a16="http://schemas.microsoft.com/office/drawing/2014/main" id="{4D88EB8A-FB16-40AF-A0C9-D48374A50EC5}"/>
                </a:ext>
              </a:extLst>
            </p:cNvPr>
            <p:cNvSpPr/>
            <p:nvPr/>
          </p:nvSpPr>
          <p:spPr>
            <a:xfrm>
              <a:off x="7342052" y="1255799"/>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23" name="Freeform: Shape 22">
              <a:extLst>
                <a:ext uri="{FF2B5EF4-FFF2-40B4-BE49-F238E27FC236}">
                  <a16:creationId xmlns:a16="http://schemas.microsoft.com/office/drawing/2014/main" id="{9DB789FF-2C63-4836-A289-194340868B13}"/>
                </a:ext>
              </a:extLst>
            </p:cNvPr>
            <p:cNvSpPr/>
            <p:nvPr/>
          </p:nvSpPr>
          <p:spPr>
            <a:xfrm>
              <a:off x="7806833" y="1255799"/>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24" name="Freeform: Shape 23">
              <a:extLst>
                <a:ext uri="{FF2B5EF4-FFF2-40B4-BE49-F238E27FC236}">
                  <a16:creationId xmlns:a16="http://schemas.microsoft.com/office/drawing/2014/main" id="{4071ACCC-1E2D-43B0-8DDB-2B104BACA585}"/>
                </a:ext>
              </a:extLst>
            </p:cNvPr>
            <p:cNvSpPr/>
            <p:nvPr/>
          </p:nvSpPr>
          <p:spPr>
            <a:xfrm>
              <a:off x="5943605" y="1706773"/>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25" name="Freeform: Shape 24">
              <a:extLst>
                <a:ext uri="{FF2B5EF4-FFF2-40B4-BE49-F238E27FC236}">
                  <a16:creationId xmlns:a16="http://schemas.microsoft.com/office/drawing/2014/main" id="{A2AD7FF2-DF93-4E41-9504-79A31B99B746}"/>
                </a:ext>
              </a:extLst>
            </p:cNvPr>
            <p:cNvSpPr/>
            <p:nvPr/>
          </p:nvSpPr>
          <p:spPr>
            <a:xfrm>
              <a:off x="6410500" y="1706773"/>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26" name="Freeform: Shape 25">
              <a:extLst>
                <a:ext uri="{FF2B5EF4-FFF2-40B4-BE49-F238E27FC236}">
                  <a16:creationId xmlns:a16="http://schemas.microsoft.com/office/drawing/2014/main" id="{4BC33A53-87C2-416F-9558-231790BE4DA0}"/>
                </a:ext>
              </a:extLst>
            </p:cNvPr>
            <p:cNvSpPr/>
            <p:nvPr/>
          </p:nvSpPr>
          <p:spPr>
            <a:xfrm>
              <a:off x="6877334" y="1706773"/>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27" name="Freeform: Shape 26">
              <a:extLst>
                <a:ext uri="{FF2B5EF4-FFF2-40B4-BE49-F238E27FC236}">
                  <a16:creationId xmlns:a16="http://schemas.microsoft.com/office/drawing/2014/main" id="{40C049FC-B524-486E-A10F-D6310AE4E512}"/>
                </a:ext>
              </a:extLst>
            </p:cNvPr>
            <p:cNvSpPr/>
            <p:nvPr/>
          </p:nvSpPr>
          <p:spPr>
            <a:xfrm>
              <a:off x="7342052" y="1706773"/>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28" name="Freeform: Shape 27">
              <a:extLst>
                <a:ext uri="{FF2B5EF4-FFF2-40B4-BE49-F238E27FC236}">
                  <a16:creationId xmlns:a16="http://schemas.microsoft.com/office/drawing/2014/main" id="{FCA886A8-8610-4753-B876-FC7AF22078C5}"/>
                </a:ext>
              </a:extLst>
            </p:cNvPr>
            <p:cNvSpPr/>
            <p:nvPr/>
          </p:nvSpPr>
          <p:spPr>
            <a:xfrm>
              <a:off x="7806833" y="1706773"/>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29" name="Freeform: Shape 28">
              <a:extLst>
                <a:ext uri="{FF2B5EF4-FFF2-40B4-BE49-F238E27FC236}">
                  <a16:creationId xmlns:a16="http://schemas.microsoft.com/office/drawing/2014/main" id="{22364090-7DC2-46B2-AB40-EECEDC8CD883}"/>
                </a:ext>
              </a:extLst>
            </p:cNvPr>
            <p:cNvSpPr/>
            <p:nvPr/>
          </p:nvSpPr>
          <p:spPr>
            <a:xfrm>
              <a:off x="8276030" y="1706773"/>
              <a:ext cx="63562" cy="63562"/>
            </a:xfrm>
            <a:custGeom>
              <a:avLst/>
              <a:gdLst>
                <a:gd name="connsiteX0" fmla="*/ 63563 w 63562"/>
                <a:gd name="connsiteY0" fmla="*/ 31782 h 63562"/>
                <a:gd name="connsiteX1" fmla="*/ 31782 w 63562"/>
                <a:gd name="connsiteY1" fmla="*/ 63563 h 63562"/>
                <a:gd name="connsiteX2" fmla="*/ 1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30" y="63563"/>
                    <a:pt x="1" y="49334"/>
                    <a:pt x="1" y="31782"/>
                  </a:cubicBezTo>
                  <a:cubicBezTo>
                    <a:pt x="1" y="14229"/>
                    <a:pt x="14230"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30" name="Freeform: Shape 29">
              <a:extLst>
                <a:ext uri="{FF2B5EF4-FFF2-40B4-BE49-F238E27FC236}">
                  <a16:creationId xmlns:a16="http://schemas.microsoft.com/office/drawing/2014/main" id="{4A95203D-7319-479D-AA07-69D4E0FE061E}"/>
                </a:ext>
              </a:extLst>
            </p:cNvPr>
            <p:cNvSpPr/>
            <p:nvPr/>
          </p:nvSpPr>
          <p:spPr>
            <a:xfrm>
              <a:off x="6410500" y="2604055"/>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31" name="Freeform: Shape 30">
              <a:extLst>
                <a:ext uri="{FF2B5EF4-FFF2-40B4-BE49-F238E27FC236}">
                  <a16:creationId xmlns:a16="http://schemas.microsoft.com/office/drawing/2014/main" id="{234AFA1E-72AE-4494-926F-BC2C69A98DB3}"/>
                </a:ext>
              </a:extLst>
            </p:cNvPr>
            <p:cNvSpPr/>
            <p:nvPr/>
          </p:nvSpPr>
          <p:spPr>
            <a:xfrm>
              <a:off x="6877334" y="2604055"/>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32" name="Freeform: Shape 31">
              <a:extLst>
                <a:ext uri="{FF2B5EF4-FFF2-40B4-BE49-F238E27FC236}">
                  <a16:creationId xmlns:a16="http://schemas.microsoft.com/office/drawing/2014/main" id="{23427F61-A3EF-4A2A-9FDA-477E3560C1A7}"/>
                </a:ext>
              </a:extLst>
            </p:cNvPr>
            <p:cNvSpPr/>
            <p:nvPr/>
          </p:nvSpPr>
          <p:spPr>
            <a:xfrm>
              <a:off x="7342052" y="2604055"/>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33" name="Freeform: Shape 32">
              <a:extLst>
                <a:ext uri="{FF2B5EF4-FFF2-40B4-BE49-F238E27FC236}">
                  <a16:creationId xmlns:a16="http://schemas.microsoft.com/office/drawing/2014/main" id="{BD152800-DB72-474F-AB2E-44DEFA6966B5}"/>
                </a:ext>
              </a:extLst>
            </p:cNvPr>
            <p:cNvSpPr/>
            <p:nvPr/>
          </p:nvSpPr>
          <p:spPr>
            <a:xfrm>
              <a:off x="7806833" y="2604055"/>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34" name="Freeform: Shape 33">
              <a:extLst>
                <a:ext uri="{FF2B5EF4-FFF2-40B4-BE49-F238E27FC236}">
                  <a16:creationId xmlns:a16="http://schemas.microsoft.com/office/drawing/2014/main" id="{89205B75-9D23-4CC2-8109-CBB068FB5319}"/>
                </a:ext>
              </a:extLst>
            </p:cNvPr>
            <p:cNvSpPr/>
            <p:nvPr/>
          </p:nvSpPr>
          <p:spPr>
            <a:xfrm>
              <a:off x="8276030" y="2604055"/>
              <a:ext cx="63562" cy="63562"/>
            </a:xfrm>
            <a:custGeom>
              <a:avLst/>
              <a:gdLst>
                <a:gd name="connsiteX0" fmla="*/ 63563 w 63562"/>
                <a:gd name="connsiteY0" fmla="*/ 31781 h 63562"/>
                <a:gd name="connsiteX1" fmla="*/ 31782 w 63562"/>
                <a:gd name="connsiteY1" fmla="*/ 63563 h 63562"/>
                <a:gd name="connsiteX2" fmla="*/ 1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30" y="63563"/>
                    <a:pt x="1" y="49334"/>
                    <a:pt x="1" y="31781"/>
                  </a:cubicBezTo>
                  <a:cubicBezTo>
                    <a:pt x="1" y="14229"/>
                    <a:pt x="14230"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35" name="Freeform: Shape 34">
              <a:extLst>
                <a:ext uri="{FF2B5EF4-FFF2-40B4-BE49-F238E27FC236}">
                  <a16:creationId xmlns:a16="http://schemas.microsoft.com/office/drawing/2014/main" id="{2DEF5AF1-1D06-4862-BCCD-E4175526E137}"/>
                </a:ext>
              </a:extLst>
            </p:cNvPr>
            <p:cNvSpPr/>
            <p:nvPr/>
          </p:nvSpPr>
          <p:spPr>
            <a:xfrm>
              <a:off x="8276030" y="2150594"/>
              <a:ext cx="63562" cy="63562"/>
            </a:xfrm>
            <a:custGeom>
              <a:avLst/>
              <a:gdLst>
                <a:gd name="connsiteX0" fmla="*/ 63563 w 63562"/>
                <a:gd name="connsiteY0" fmla="*/ 31782 h 63562"/>
                <a:gd name="connsiteX1" fmla="*/ 31782 w 63562"/>
                <a:gd name="connsiteY1" fmla="*/ 63563 h 63562"/>
                <a:gd name="connsiteX2" fmla="*/ 1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30" y="63563"/>
                    <a:pt x="1" y="49334"/>
                    <a:pt x="1" y="31782"/>
                  </a:cubicBezTo>
                  <a:cubicBezTo>
                    <a:pt x="1" y="14229"/>
                    <a:pt x="14230"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36" name="Freeform: Shape 35">
              <a:extLst>
                <a:ext uri="{FF2B5EF4-FFF2-40B4-BE49-F238E27FC236}">
                  <a16:creationId xmlns:a16="http://schemas.microsoft.com/office/drawing/2014/main" id="{0C24D289-35C0-4568-8C39-13BE14D7C2AD}"/>
                </a:ext>
              </a:extLst>
            </p:cNvPr>
            <p:cNvSpPr/>
            <p:nvPr/>
          </p:nvSpPr>
          <p:spPr>
            <a:xfrm>
              <a:off x="8741308" y="2150594"/>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37" name="Freeform: Shape 36">
              <a:extLst>
                <a:ext uri="{FF2B5EF4-FFF2-40B4-BE49-F238E27FC236}">
                  <a16:creationId xmlns:a16="http://schemas.microsoft.com/office/drawing/2014/main" id="{CBCA66D0-809E-4D67-AC6E-ECEDF93D3569}"/>
                </a:ext>
              </a:extLst>
            </p:cNvPr>
            <p:cNvSpPr/>
            <p:nvPr/>
          </p:nvSpPr>
          <p:spPr>
            <a:xfrm>
              <a:off x="8741308" y="2596841"/>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38" name="Freeform: Shape 37">
              <a:extLst>
                <a:ext uri="{FF2B5EF4-FFF2-40B4-BE49-F238E27FC236}">
                  <a16:creationId xmlns:a16="http://schemas.microsoft.com/office/drawing/2014/main" id="{6380CD53-E8B5-448C-8C13-7EF62A4693DB}"/>
                </a:ext>
              </a:extLst>
            </p:cNvPr>
            <p:cNvSpPr/>
            <p:nvPr/>
          </p:nvSpPr>
          <p:spPr>
            <a:xfrm>
              <a:off x="6407142" y="3943667"/>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40" name="Freeform: Shape 39">
              <a:extLst>
                <a:ext uri="{FF2B5EF4-FFF2-40B4-BE49-F238E27FC236}">
                  <a16:creationId xmlns:a16="http://schemas.microsoft.com/office/drawing/2014/main" id="{C9E3671D-3025-4F7C-BD85-EA312BFE384F}"/>
                </a:ext>
              </a:extLst>
            </p:cNvPr>
            <p:cNvSpPr/>
            <p:nvPr/>
          </p:nvSpPr>
          <p:spPr>
            <a:xfrm>
              <a:off x="3143911" y="3939500"/>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41" name="Freeform: Shape 40">
              <a:extLst>
                <a:ext uri="{FF2B5EF4-FFF2-40B4-BE49-F238E27FC236}">
                  <a16:creationId xmlns:a16="http://schemas.microsoft.com/office/drawing/2014/main" id="{49F5AC9E-9841-4E8E-BE6F-6F8DAD719319}"/>
                </a:ext>
              </a:extLst>
            </p:cNvPr>
            <p:cNvSpPr/>
            <p:nvPr/>
          </p:nvSpPr>
          <p:spPr>
            <a:xfrm>
              <a:off x="3143911" y="4385746"/>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44" name="Freeform: Shape 43">
              <a:extLst>
                <a:ext uri="{FF2B5EF4-FFF2-40B4-BE49-F238E27FC236}">
                  <a16:creationId xmlns:a16="http://schemas.microsoft.com/office/drawing/2014/main" id="{D38FC965-28D6-49D1-A1C6-C01F75961AAE}"/>
                </a:ext>
              </a:extLst>
            </p:cNvPr>
            <p:cNvSpPr/>
            <p:nvPr/>
          </p:nvSpPr>
          <p:spPr>
            <a:xfrm>
              <a:off x="3609128" y="4837777"/>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45" name="Freeform: Shape 44">
              <a:extLst>
                <a:ext uri="{FF2B5EF4-FFF2-40B4-BE49-F238E27FC236}">
                  <a16:creationId xmlns:a16="http://schemas.microsoft.com/office/drawing/2014/main" id="{C7513E60-0FC9-4C80-A8B2-5612FBC13968}"/>
                </a:ext>
              </a:extLst>
            </p:cNvPr>
            <p:cNvSpPr/>
            <p:nvPr/>
          </p:nvSpPr>
          <p:spPr>
            <a:xfrm>
              <a:off x="4077578" y="4837777"/>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46" name="Freeform: Shape 45">
              <a:extLst>
                <a:ext uri="{FF2B5EF4-FFF2-40B4-BE49-F238E27FC236}">
                  <a16:creationId xmlns:a16="http://schemas.microsoft.com/office/drawing/2014/main" id="{0BAB57EB-5563-416E-B5C3-FFCF8CB3958B}"/>
                </a:ext>
              </a:extLst>
            </p:cNvPr>
            <p:cNvSpPr/>
            <p:nvPr/>
          </p:nvSpPr>
          <p:spPr>
            <a:xfrm>
              <a:off x="4077578" y="5281350"/>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47" name="Freeform: Shape 46">
              <a:extLst>
                <a:ext uri="{FF2B5EF4-FFF2-40B4-BE49-F238E27FC236}">
                  <a16:creationId xmlns:a16="http://schemas.microsoft.com/office/drawing/2014/main" id="{E0174A79-2966-4732-9745-64A2907B63B5}"/>
                </a:ext>
              </a:extLst>
            </p:cNvPr>
            <p:cNvSpPr/>
            <p:nvPr/>
          </p:nvSpPr>
          <p:spPr>
            <a:xfrm>
              <a:off x="4542359" y="5281350"/>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48" name="Freeform: Shape 47">
              <a:extLst>
                <a:ext uri="{FF2B5EF4-FFF2-40B4-BE49-F238E27FC236}">
                  <a16:creationId xmlns:a16="http://schemas.microsoft.com/office/drawing/2014/main" id="{E49C5F25-09CA-4D6B-BC77-7F005C773FC9}"/>
                </a:ext>
              </a:extLst>
            </p:cNvPr>
            <p:cNvSpPr/>
            <p:nvPr/>
          </p:nvSpPr>
          <p:spPr>
            <a:xfrm>
              <a:off x="5007077" y="5281350"/>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49" name="Freeform: Shape 48">
              <a:extLst>
                <a:ext uri="{FF2B5EF4-FFF2-40B4-BE49-F238E27FC236}">
                  <a16:creationId xmlns:a16="http://schemas.microsoft.com/office/drawing/2014/main" id="{1C7E58A9-0F2D-49F8-9B6A-D742539CC7C3}"/>
                </a:ext>
              </a:extLst>
            </p:cNvPr>
            <p:cNvSpPr/>
            <p:nvPr/>
          </p:nvSpPr>
          <p:spPr>
            <a:xfrm>
              <a:off x="5471796" y="5281350"/>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50" name="Freeform: Shape 49">
              <a:extLst>
                <a:ext uri="{FF2B5EF4-FFF2-40B4-BE49-F238E27FC236}">
                  <a16:creationId xmlns:a16="http://schemas.microsoft.com/office/drawing/2014/main" id="{BE0F6626-BE32-495C-98E3-CDF1AB6CE46D}"/>
                </a:ext>
              </a:extLst>
            </p:cNvPr>
            <p:cNvSpPr/>
            <p:nvPr/>
          </p:nvSpPr>
          <p:spPr>
            <a:xfrm>
              <a:off x="5936577" y="5281350"/>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30"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51" name="Freeform: Shape 50">
              <a:extLst>
                <a:ext uri="{FF2B5EF4-FFF2-40B4-BE49-F238E27FC236}">
                  <a16:creationId xmlns:a16="http://schemas.microsoft.com/office/drawing/2014/main" id="{23FD2C18-75B1-4F46-AF04-6E3A87EFE678}"/>
                </a:ext>
              </a:extLst>
            </p:cNvPr>
            <p:cNvSpPr/>
            <p:nvPr/>
          </p:nvSpPr>
          <p:spPr>
            <a:xfrm>
              <a:off x="6401296" y="5281350"/>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52" name="Freeform: Shape 51">
              <a:extLst>
                <a:ext uri="{FF2B5EF4-FFF2-40B4-BE49-F238E27FC236}">
                  <a16:creationId xmlns:a16="http://schemas.microsoft.com/office/drawing/2014/main" id="{E56286C4-5A4E-4F6D-8081-47A88E3A52A5}"/>
                </a:ext>
              </a:extLst>
            </p:cNvPr>
            <p:cNvSpPr/>
            <p:nvPr/>
          </p:nvSpPr>
          <p:spPr>
            <a:xfrm>
              <a:off x="6866014" y="5281350"/>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53" name="Freeform: Shape 52">
              <a:extLst>
                <a:ext uri="{FF2B5EF4-FFF2-40B4-BE49-F238E27FC236}">
                  <a16:creationId xmlns:a16="http://schemas.microsoft.com/office/drawing/2014/main" id="{B2D04F8E-544F-4B6E-A81F-985A5B490D03}"/>
                </a:ext>
              </a:extLst>
            </p:cNvPr>
            <p:cNvSpPr/>
            <p:nvPr/>
          </p:nvSpPr>
          <p:spPr>
            <a:xfrm>
              <a:off x="5007077" y="5726539"/>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54" name="Freeform: Shape 53">
              <a:extLst>
                <a:ext uri="{FF2B5EF4-FFF2-40B4-BE49-F238E27FC236}">
                  <a16:creationId xmlns:a16="http://schemas.microsoft.com/office/drawing/2014/main" id="{84FE294D-2E06-4076-8EB1-E5502B8331EC}"/>
                </a:ext>
              </a:extLst>
            </p:cNvPr>
            <p:cNvSpPr/>
            <p:nvPr/>
          </p:nvSpPr>
          <p:spPr>
            <a:xfrm>
              <a:off x="5471796" y="5726539"/>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55" name="Freeform: Shape 54">
              <a:extLst>
                <a:ext uri="{FF2B5EF4-FFF2-40B4-BE49-F238E27FC236}">
                  <a16:creationId xmlns:a16="http://schemas.microsoft.com/office/drawing/2014/main" id="{EAE3ABCB-CA32-42AE-BB32-112F98D7D343}"/>
                </a:ext>
              </a:extLst>
            </p:cNvPr>
            <p:cNvSpPr/>
            <p:nvPr/>
          </p:nvSpPr>
          <p:spPr>
            <a:xfrm>
              <a:off x="5936577" y="5726539"/>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30"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56" name="Freeform: Shape 55">
              <a:extLst>
                <a:ext uri="{FF2B5EF4-FFF2-40B4-BE49-F238E27FC236}">
                  <a16:creationId xmlns:a16="http://schemas.microsoft.com/office/drawing/2014/main" id="{CC31F5E7-D729-49AE-9BCF-C1AF37581143}"/>
                </a:ext>
              </a:extLst>
            </p:cNvPr>
            <p:cNvSpPr/>
            <p:nvPr/>
          </p:nvSpPr>
          <p:spPr>
            <a:xfrm>
              <a:off x="6401296" y="5726539"/>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57" name="Freeform: Shape 56">
              <a:extLst>
                <a:ext uri="{FF2B5EF4-FFF2-40B4-BE49-F238E27FC236}">
                  <a16:creationId xmlns:a16="http://schemas.microsoft.com/office/drawing/2014/main" id="{3689195D-0431-4E0B-A652-8A224B2920D5}"/>
                </a:ext>
              </a:extLst>
            </p:cNvPr>
            <p:cNvSpPr/>
            <p:nvPr/>
          </p:nvSpPr>
          <p:spPr>
            <a:xfrm>
              <a:off x="6866014" y="5726539"/>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58" name="Freeform: Shape 57">
              <a:extLst>
                <a:ext uri="{FF2B5EF4-FFF2-40B4-BE49-F238E27FC236}">
                  <a16:creationId xmlns:a16="http://schemas.microsoft.com/office/drawing/2014/main" id="{2EEED852-0F1B-4D7D-B28D-57AE86D1E7C7}"/>
                </a:ext>
              </a:extLst>
            </p:cNvPr>
            <p:cNvSpPr/>
            <p:nvPr/>
          </p:nvSpPr>
          <p:spPr>
            <a:xfrm>
              <a:off x="7330795" y="5281350"/>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59" name="Freeform: Shape 58">
              <a:extLst>
                <a:ext uri="{FF2B5EF4-FFF2-40B4-BE49-F238E27FC236}">
                  <a16:creationId xmlns:a16="http://schemas.microsoft.com/office/drawing/2014/main" id="{3EEE6032-8456-4394-AFB9-78D3F06BF7FF}"/>
                </a:ext>
              </a:extLst>
            </p:cNvPr>
            <p:cNvSpPr/>
            <p:nvPr/>
          </p:nvSpPr>
          <p:spPr>
            <a:xfrm>
              <a:off x="7795514" y="5281350"/>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30" y="63563"/>
                    <a:pt x="0" y="49334"/>
                    <a:pt x="0" y="31782"/>
                  </a:cubicBezTo>
                  <a:cubicBezTo>
                    <a:pt x="0" y="14229"/>
                    <a:pt x="14230"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60" name="Freeform: Shape 59">
              <a:extLst>
                <a:ext uri="{FF2B5EF4-FFF2-40B4-BE49-F238E27FC236}">
                  <a16:creationId xmlns:a16="http://schemas.microsoft.com/office/drawing/2014/main" id="{60816D41-AEFA-4113-975B-3AEEDEFFDE32}"/>
                </a:ext>
              </a:extLst>
            </p:cNvPr>
            <p:cNvSpPr/>
            <p:nvPr/>
          </p:nvSpPr>
          <p:spPr>
            <a:xfrm>
              <a:off x="6873975" y="3943667"/>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61" name="Freeform: Shape 60">
              <a:extLst>
                <a:ext uri="{FF2B5EF4-FFF2-40B4-BE49-F238E27FC236}">
                  <a16:creationId xmlns:a16="http://schemas.microsoft.com/office/drawing/2014/main" id="{01154755-6DB3-48F1-A91C-C8B959A6E004}"/>
                </a:ext>
              </a:extLst>
            </p:cNvPr>
            <p:cNvSpPr/>
            <p:nvPr/>
          </p:nvSpPr>
          <p:spPr>
            <a:xfrm>
              <a:off x="6407142" y="4836098"/>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62" name="Freeform: Shape 61">
              <a:extLst>
                <a:ext uri="{FF2B5EF4-FFF2-40B4-BE49-F238E27FC236}">
                  <a16:creationId xmlns:a16="http://schemas.microsoft.com/office/drawing/2014/main" id="{F49FF1B7-5561-4275-800E-58BC114B44B9}"/>
                </a:ext>
              </a:extLst>
            </p:cNvPr>
            <p:cNvSpPr/>
            <p:nvPr/>
          </p:nvSpPr>
          <p:spPr>
            <a:xfrm>
              <a:off x="6873975" y="4836098"/>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63" name="Freeform: Shape 62">
              <a:extLst>
                <a:ext uri="{FF2B5EF4-FFF2-40B4-BE49-F238E27FC236}">
                  <a16:creationId xmlns:a16="http://schemas.microsoft.com/office/drawing/2014/main" id="{7EB4522C-813F-43C6-8DB8-6793ECD19912}"/>
                </a:ext>
              </a:extLst>
            </p:cNvPr>
            <p:cNvSpPr/>
            <p:nvPr/>
          </p:nvSpPr>
          <p:spPr>
            <a:xfrm>
              <a:off x="7338694" y="3943667"/>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64" name="Freeform: Shape 63">
              <a:extLst>
                <a:ext uri="{FF2B5EF4-FFF2-40B4-BE49-F238E27FC236}">
                  <a16:creationId xmlns:a16="http://schemas.microsoft.com/office/drawing/2014/main" id="{3432DE1B-6879-489E-99C6-E95FC8467A48}"/>
                </a:ext>
              </a:extLst>
            </p:cNvPr>
            <p:cNvSpPr/>
            <p:nvPr/>
          </p:nvSpPr>
          <p:spPr>
            <a:xfrm>
              <a:off x="7803475" y="3943667"/>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65" name="Freeform: Shape 64">
              <a:extLst>
                <a:ext uri="{FF2B5EF4-FFF2-40B4-BE49-F238E27FC236}">
                  <a16:creationId xmlns:a16="http://schemas.microsoft.com/office/drawing/2014/main" id="{1B8637F3-158B-444E-846D-FA2C0B979769}"/>
                </a:ext>
              </a:extLst>
            </p:cNvPr>
            <p:cNvSpPr/>
            <p:nvPr/>
          </p:nvSpPr>
          <p:spPr>
            <a:xfrm>
              <a:off x="8272671" y="3943667"/>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66" name="Freeform: Shape 65">
              <a:extLst>
                <a:ext uri="{FF2B5EF4-FFF2-40B4-BE49-F238E27FC236}">
                  <a16:creationId xmlns:a16="http://schemas.microsoft.com/office/drawing/2014/main" id="{E2B74347-27BE-47EA-861F-7559845E5917}"/>
                </a:ext>
              </a:extLst>
            </p:cNvPr>
            <p:cNvSpPr/>
            <p:nvPr/>
          </p:nvSpPr>
          <p:spPr>
            <a:xfrm>
              <a:off x="8737950" y="3936452"/>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67" name="Freeform: Shape 66">
              <a:extLst>
                <a:ext uri="{FF2B5EF4-FFF2-40B4-BE49-F238E27FC236}">
                  <a16:creationId xmlns:a16="http://schemas.microsoft.com/office/drawing/2014/main" id="{BFEADED0-1C87-4E3F-A751-12650DC2C00D}"/>
                </a:ext>
              </a:extLst>
            </p:cNvPr>
            <p:cNvSpPr/>
            <p:nvPr/>
          </p:nvSpPr>
          <p:spPr>
            <a:xfrm>
              <a:off x="8741308" y="3492444"/>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endParaRPr lang="en-IN" dirty="0"/>
            </a:p>
          </p:txBody>
        </p:sp>
        <p:sp>
          <p:nvSpPr>
            <p:cNvPr id="98" name="Freeform: Shape 97">
              <a:extLst>
                <a:ext uri="{FF2B5EF4-FFF2-40B4-BE49-F238E27FC236}">
                  <a16:creationId xmlns:a16="http://schemas.microsoft.com/office/drawing/2014/main" id="{9A543256-916A-4BB2-8D13-58F8A347F7EB}"/>
                </a:ext>
              </a:extLst>
            </p:cNvPr>
            <p:cNvSpPr/>
            <p:nvPr/>
          </p:nvSpPr>
          <p:spPr>
            <a:xfrm>
              <a:off x="5943605" y="2150594"/>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99" name="Freeform: Shape 98">
              <a:extLst>
                <a:ext uri="{FF2B5EF4-FFF2-40B4-BE49-F238E27FC236}">
                  <a16:creationId xmlns:a16="http://schemas.microsoft.com/office/drawing/2014/main" id="{A540E360-1539-48F4-B930-109CA0BB99B4}"/>
                </a:ext>
              </a:extLst>
            </p:cNvPr>
            <p:cNvSpPr/>
            <p:nvPr/>
          </p:nvSpPr>
          <p:spPr>
            <a:xfrm>
              <a:off x="6410500" y="2150594"/>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100" name="Freeform: Shape 99">
              <a:extLst>
                <a:ext uri="{FF2B5EF4-FFF2-40B4-BE49-F238E27FC236}">
                  <a16:creationId xmlns:a16="http://schemas.microsoft.com/office/drawing/2014/main" id="{48F4325A-AB57-4BF4-BD34-B5437B16667F}"/>
                </a:ext>
              </a:extLst>
            </p:cNvPr>
            <p:cNvSpPr/>
            <p:nvPr/>
          </p:nvSpPr>
          <p:spPr>
            <a:xfrm>
              <a:off x="6877334" y="2150594"/>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101" name="Freeform: Shape 100">
              <a:extLst>
                <a:ext uri="{FF2B5EF4-FFF2-40B4-BE49-F238E27FC236}">
                  <a16:creationId xmlns:a16="http://schemas.microsoft.com/office/drawing/2014/main" id="{BDDCAC4A-B73C-45F6-A073-1ED5BDB450B4}"/>
                </a:ext>
              </a:extLst>
            </p:cNvPr>
            <p:cNvSpPr/>
            <p:nvPr/>
          </p:nvSpPr>
          <p:spPr>
            <a:xfrm>
              <a:off x="7342052" y="2150594"/>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102" name="Freeform: Shape 101">
              <a:extLst>
                <a:ext uri="{FF2B5EF4-FFF2-40B4-BE49-F238E27FC236}">
                  <a16:creationId xmlns:a16="http://schemas.microsoft.com/office/drawing/2014/main" id="{1CD0A110-A42E-4D2D-86B4-F1A3E4B903C7}"/>
                </a:ext>
              </a:extLst>
            </p:cNvPr>
            <p:cNvSpPr/>
            <p:nvPr/>
          </p:nvSpPr>
          <p:spPr>
            <a:xfrm>
              <a:off x="7806833" y="2150594"/>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104" name="Rectangle 103">
              <a:extLst>
                <a:ext uri="{FF2B5EF4-FFF2-40B4-BE49-F238E27FC236}">
                  <a16:creationId xmlns:a16="http://schemas.microsoft.com/office/drawing/2014/main" id="{1DF48251-24D5-4522-AABB-43135DA1C711}"/>
                </a:ext>
              </a:extLst>
            </p:cNvPr>
            <p:cNvSpPr/>
            <p:nvPr/>
          </p:nvSpPr>
          <p:spPr>
            <a:xfrm>
              <a:off x="4735270" y="2893652"/>
              <a:ext cx="3151867" cy="691072"/>
            </a:xfrm>
            <a:prstGeom prst="rect">
              <a:avLst/>
            </a:prstGeom>
          </p:spPr>
          <p:txBody>
            <a:bodyPr wrap="none" anchor="ctr">
              <a:spAutoFit/>
            </a:bodyPr>
            <a:lstStyle/>
            <a:p>
              <a:r>
                <a:rPr lang="en-US" sz="4400" b="1" dirty="0">
                  <a:solidFill>
                    <a:schemeClr val="accent1"/>
                  </a:solidFill>
                  <a:latin typeface="CiscoSansTT" panose="020B0503020201020303" pitchFamily="34" charset="0"/>
                </a:rPr>
                <a:t>THANK YOU</a:t>
              </a:r>
              <a:endParaRPr lang="en-IN" sz="2400" b="1" dirty="0">
                <a:solidFill>
                  <a:schemeClr val="accent1"/>
                </a:solidFill>
                <a:latin typeface="CiscoSansTT" panose="020B0503020201020303" pitchFamily="34" charset="0"/>
              </a:endParaRPr>
            </a:p>
          </p:txBody>
        </p:sp>
        <p:grpSp>
          <p:nvGrpSpPr>
            <p:cNvPr id="110" name="Group 109">
              <a:extLst>
                <a:ext uri="{FF2B5EF4-FFF2-40B4-BE49-F238E27FC236}">
                  <a16:creationId xmlns:a16="http://schemas.microsoft.com/office/drawing/2014/main" id="{68615961-4CEB-4781-8A9E-5255771CD81C}"/>
                </a:ext>
              </a:extLst>
            </p:cNvPr>
            <p:cNvGrpSpPr/>
            <p:nvPr/>
          </p:nvGrpSpPr>
          <p:grpSpPr>
            <a:xfrm>
              <a:off x="6401296" y="4389913"/>
              <a:ext cx="1457780" cy="63562"/>
              <a:chOff x="5109525" y="4033122"/>
              <a:chExt cx="1457780" cy="63562"/>
            </a:xfrm>
          </p:grpSpPr>
          <p:sp>
            <p:nvSpPr>
              <p:cNvPr id="106" name="Freeform: Shape 105">
                <a:extLst>
                  <a:ext uri="{FF2B5EF4-FFF2-40B4-BE49-F238E27FC236}">
                    <a16:creationId xmlns:a16="http://schemas.microsoft.com/office/drawing/2014/main" id="{EDE8EDAA-87B4-4324-89F9-0FA74FA66E6C}"/>
                  </a:ext>
                </a:extLst>
              </p:cNvPr>
              <p:cNvSpPr/>
              <p:nvPr/>
            </p:nvSpPr>
            <p:spPr>
              <a:xfrm>
                <a:off x="5109525" y="4033122"/>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107" name="Freeform: Shape 106">
                <a:extLst>
                  <a:ext uri="{FF2B5EF4-FFF2-40B4-BE49-F238E27FC236}">
                    <a16:creationId xmlns:a16="http://schemas.microsoft.com/office/drawing/2014/main" id="{551608C5-8D6F-49B3-A5D4-070F51FCAFBF}"/>
                  </a:ext>
                </a:extLst>
              </p:cNvPr>
              <p:cNvSpPr/>
              <p:nvPr/>
            </p:nvSpPr>
            <p:spPr>
              <a:xfrm>
                <a:off x="5574243" y="4033122"/>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108" name="Freeform: Shape 107">
                <a:extLst>
                  <a:ext uri="{FF2B5EF4-FFF2-40B4-BE49-F238E27FC236}">
                    <a16:creationId xmlns:a16="http://schemas.microsoft.com/office/drawing/2014/main" id="{AFD1243A-AB29-4059-AD85-C79E2D1247D4}"/>
                  </a:ext>
                </a:extLst>
              </p:cNvPr>
              <p:cNvSpPr/>
              <p:nvPr/>
            </p:nvSpPr>
            <p:spPr>
              <a:xfrm>
                <a:off x="6039024" y="4033122"/>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109" name="Freeform: Shape 108">
                <a:extLst>
                  <a:ext uri="{FF2B5EF4-FFF2-40B4-BE49-F238E27FC236}">
                    <a16:creationId xmlns:a16="http://schemas.microsoft.com/office/drawing/2014/main" id="{E7502394-9401-4432-B0D6-E93CEC72A927}"/>
                  </a:ext>
                </a:extLst>
              </p:cNvPr>
              <p:cNvSpPr/>
              <p:nvPr/>
            </p:nvSpPr>
            <p:spPr>
              <a:xfrm>
                <a:off x="6503743" y="4033122"/>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30" y="63563"/>
                      <a:pt x="0" y="49334"/>
                      <a:pt x="0" y="31782"/>
                    </a:cubicBezTo>
                    <a:cubicBezTo>
                      <a:pt x="0" y="14229"/>
                      <a:pt x="14230"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grpSp>
        <p:sp>
          <p:nvSpPr>
            <p:cNvPr id="111" name="Freeform: Shape 110">
              <a:extLst>
                <a:ext uri="{FF2B5EF4-FFF2-40B4-BE49-F238E27FC236}">
                  <a16:creationId xmlns:a16="http://schemas.microsoft.com/office/drawing/2014/main" id="{4AE53587-EB5D-4098-8459-C68D7FD75C99}"/>
                </a:ext>
              </a:extLst>
            </p:cNvPr>
            <p:cNvSpPr/>
            <p:nvPr/>
          </p:nvSpPr>
          <p:spPr>
            <a:xfrm>
              <a:off x="8272671" y="4389913"/>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112" name="Freeform: Shape 111">
              <a:extLst>
                <a:ext uri="{FF2B5EF4-FFF2-40B4-BE49-F238E27FC236}">
                  <a16:creationId xmlns:a16="http://schemas.microsoft.com/office/drawing/2014/main" id="{849ED4EF-6995-4958-9EEB-5D583A2D133D}"/>
                </a:ext>
              </a:extLst>
            </p:cNvPr>
            <p:cNvSpPr/>
            <p:nvPr/>
          </p:nvSpPr>
          <p:spPr>
            <a:xfrm>
              <a:off x="7330795" y="4836098"/>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113" name="Freeform: Shape 112">
              <a:extLst>
                <a:ext uri="{FF2B5EF4-FFF2-40B4-BE49-F238E27FC236}">
                  <a16:creationId xmlns:a16="http://schemas.microsoft.com/office/drawing/2014/main" id="{EF3D33DA-7A77-426F-AC9F-45153DC6B0F6}"/>
                </a:ext>
              </a:extLst>
            </p:cNvPr>
            <p:cNvSpPr/>
            <p:nvPr/>
          </p:nvSpPr>
          <p:spPr>
            <a:xfrm>
              <a:off x="7795514" y="4836098"/>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30" y="63563"/>
                    <a:pt x="0" y="49334"/>
                    <a:pt x="0" y="31782"/>
                  </a:cubicBezTo>
                  <a:cubicBezTo>
                    <a:pt x="0" y="14229"/>
                    <a:pt x="14230"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endParaRPr lang="en-IN" dirty="0"/>
            </a:p>
          </p:txBody>
        </p:sp>
        <p:sp>
          <p:nvSpPr>
            <p:cNvPr id="115" name="Freeform: Shape 114">
              <a:extLst>
                <a:ext uri="{FF2B5EF4-FFF2-40B4-BE49-F238E27FC236}">
                  <a16:creationId xmlns:a16="http://schemas.microsoft.com/office/drawing/2014/main" id="{802A4FCE-0683-437B-A312-37E0D057DE58}"/>
                </a:ext>
              </a:extLst>
            </p:cNvPr>
            <p:cNvSpPr/>
            <p:nvPr/>
          </p:nvSpPr>
          <p:spPr>
            <a:xfrm>
              <a:off x="8002190" y="2435304"/>
              <a:ext cx="741760" cy="742130"/>
            </a:xfrm>
            <a:custGeom>
              <a:avLst/>
              <a:gdLst>
                <a:gd name="connsiteX0" fmla="*/ 279321 w 714851"/>
                <a:gd name="connsiteY0" fmla="*/ 682704 h 715208"/>
                <a:gd name="connsiteX1" fmla="*/ 32147 w 714851"/>
                <a:gd name="connsiteY1" fmla="*/ 435531 h 715208"/>
                <a:gd name="connsiteX2" fmla="*/ 32147 w 714851"/>
                <a:gd name="connsiteY2" fmla="*/ 279321 h 715208"/>
                <a:gd name="connsiteX3" fmla="*/ 279321 w 714851"/>
                <a:gd name="connsiteY3" fmla="*/ 32147 h 715208"/>
                <a:gd name="connsiteX4" fmla="*/ 435531 w 714851"/>
                <a:gd name="connsiteY4" fmla="*/ 32147 h 715208"/>
                <a:gd name="connsiteX5" fmla="*/ 682704 w 714851"/>
                <a:gd name="connsiteY5" fmla="*/ 279321 h 715208"/>
                <a:gd name="connsiteX6" fmla="*/ 682704 w 714851"/>
                <a:gd name="connsiteY6" fmla="*/ 435531 h 715208"/>
                <a:gd name="connsiteX7" fmla="*/ 435531 w 714851"/>
                <a:gd name="connsiteY7" fmla="*/ 682704 h 715208"/>
                <a:gd name="connsiteX8" fmla="*/ 279321 w 714851"/>
                <a:gd name="connsiteY8" fmla="*/ 682704 h 715208"/>
                <a:gd name="connsiteX9" fmla="*/ 418862 w 714851"/>
                <a:gd name="connsiteY9" fmla="*/ 48816 h 715208"/>
                <a:gd name="connsiteX10" fmla="*/ 295990 w 714851"/>
                <a:gd name="connsiteY10" fmla="*/ 48816 h 715208"/>
                <a:gd name="connsiteX11" fmla="*/ 48816 w 714851"/>
                <a:gd name="connsiteY11" fmla="*/ 295989 h 715208"/>
                <a:gd name="connsiteX12" fmla="*/ 48816 w 714851"/>
                <a:gd name="connsiteY12" fmla="*/ 418862 h 715208"/>
                <a:gd name="connsiteX13" fmla="*/ 295990 w 714851"/>
                <a:gd name="connsiteY13" fmla="*/ 666036 h 715208"/>
                <a:gd name="connsiteX14" fmla="*/ 418862 w 714851"/>
                <a:gd name="connsiteY14" fmla="*/ 666036 h 715208"/>
                <a:gd name="connsiteX15" fmla="*/ 666036 w 714851"/>
                <a:gd name="connsiteY15" fmla="*/ 418862 h 715208"/>
                <a:gd name="connsiteX16" fmla="*/ 666036 w 714851"/>
                <a:gd name="connsiteY16" fmla="*/ 295989 h 715208"/>
                <a:gd name="connsiteX17" fmla="*/ 418862 w 714851"/>
                <a:gd name="connsiteY17" fmla="*/ 48816 h 71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4851" h="715208">
                  <a:moveTo>
                    <a:pt x="279321" y="682704"/>
                  </a:moveTo>
                  <a:lnTo>
                    <a:pt x="32147" y="435531"/>
                  </a:lnTo>
                  <a:cubicBezTo>
                    <a:pt x="-10716" y="392668"/>
                    <a:pt x="-10716" y="322659"/>
                    <a:pt x="32147" y="279321"/>
                  </a:cubicBezTo>
                  <a:lnTo>
                    <a:pt x="279321" y="32147"/>
                  </a:lnTo>
                  <a:cubicBezTo>
                    <a:pt x="322183" y="-10716"/>
                    <a:pt x="392192" y="-10716"/>
                    <a:pt x="435531" y="32147"/>
                  </a:cubicBezTo>
                  <a:lnTo>
                    <a:pt x="682704" y="279321"/>
                  </a:lnTo>
                  <a:cubicBezTo>
                    <a:pt x="725567" y="322183"/>
                    <a:pt x="725567" y="392192"/>
                    <a:pt x="682704" y="435531"/>
                  </a:cubicBezTo>
                  <a:lnTo>
                    <a:pt x="435531" y="682704"/>
                  </a:lnTo>
                  <a:cubicBezTo>
                    <a:pt x="392668" y="726043"/>
                    <a:pt x="322659" y="726043"/>
                    <a:pt x="279321" y="682704"/>
                  </a:cubicBezTo>
                  <a:close/>
                  <a:moveTo>
                    <a:pt x="418862" y="48816"/>
                  </a:moveTo>
                  <a:cubicBezTo>
                    <a:pt x="385048" y="15002"/>
                    <a:pt x="329803" y="15002"/>
                    <a:pt x="295990" y="48816"/>
                  </a:cubicBezTo>
                  <a:lnTo>
                    <a:pt x="48816" y="295989"/>
                  </a:lnTo>
                  <a:cubicBezTo>
                    <a:pt x="15002" y="329803"/>
                    <a:pt x="15002" y="385048"/>
                    <a:pt x="48816" y="418862"/>
                  </a:cubicBezTo>
                  <a:lnTo>
                    <a:pt x="295990" y="666036"/>
                  </a:lnTo>
                  <a:cubicBezTo>
                    <a:pt x="329803" y="699849"/>
                    <a:pt x="385048" y="699849"/>
                    <a:pt x="418862" y="666036"/>
                  </a:cubicBezTo>
                  <a:lnTo>
                    <a:pt x="666036" y="418862"/>
                  </a:lnTo>
                  <a:cubicBezTo>
                    <a:pt x="699849" y="385048"/>
                    <a:pt x="699849" y="329803"/>
                    <a:pt x="666036" y="295989"/>
                  </a:cubicBezTo>
                  <a:lnTo>
                    <a:pt x="418862" y="48816"/>
                  </a:lnTo>
                  <a:close/>
                </a:path>
              </a:pathLst>
            </a:custGeom>
            <a:solidFill>
              <a:schemeClr val="accent3"/>
            </a:solidFill>
            <a:ln w="4763" cap="flat">
              <a:noFill/>
              <a:prstDash val="solid"/>
              <a:miter/>
            </a:ln>
          </p:spPr>
          <p:txBody>
            <a:bodyPr rtlCol="0" anchor="ctr"/>
            <a:lstStyle/>
            <a:p>
              <a:endParaRPr lang="en-US" dirty="0"/>
            </a:p>
          </p:txBody>
        </p:sp>
        <p:grpSp>
          <p:nvGrpSpPr>
            <p:cNvPr id="121" name="Group 120">
              <a:extLst>
                <a:ext uri="{FF2B5EF4-FFF2-40B4-BE49-F238E27FC236}">
                  <a16:creationId xmlns:a16="http://schemas.microsoft.com/office/drawing/2014/main" id="{966C7075-B3D9-464E-8CE2-DB939268600D}"/>
                </a:ext>
              </a:extLst>
            </p:cNvPr>
            <p:cNvGrpSpPr/>
            <p:nvPr/>
          </p:nvGrpSpPr>
          <p:grpSpPr>
            <a:xfrm rot="16200000">
              <a:off x="8087205" y="3211609"/>
              <a:ext cx="273018" cy="943559"/>
              <a:chOff x="5373033" y="1847265"/>
              <a:chExt cx="273018" cy="943559"/>
            </a:xfrm>
            <a:solidFill>
              <a:schemeClr val="accent2"/>
            </a:solidFill>
          </p:grpSpPr>
          <p:sp>
            <p:nvSpPr>
              <p:cNvPr id="117" name="Freeform: Shape 116">
                <a:extLst>
                  <a:ext uri="{FF2B5EF4-FFF2-40B4-BE49-F238E27FC236}">
                    <a16:creationId xmlns:a16="http://schemas.microsoft.com/office/drawing/2014/main" id="{4FEAD606-1909-47E3-B015-51FC2F4D8C4B}"/>
                  </a:ext>
                </a:extLst>
              </p:cNvPr>
              <p:cNvSpPr/>
              <p:nvPr/>
            </p:nvSpPr>
            <p:spPr>
              <a:xfrm>
                <a:off x="5373033" y="1847265"/>
                <a:ext cx="273018" cy="215373"/>
              </a:xfrm>
              <a:custGeom>
                <a:avLst/>
                <a:gdLst>
                  <a:gd name="connsiteX0" fmla="*/ 136227 w 273018"/>
                  <a:gd name="connsiteY0" fmla="*/ 215374 h 215373"/>
                  <a:gd name="connsiteX1" fmla="*/ 116700 w 273018"/>
                  <a:gd name="connsiteY1" fmla="*/ 205372 h 215373"/>
                  <a:gd name="connsiteX2" fmla="*/ 4305 w 273018"/>
                  <a:gd name="connsiteY2" fmla="*/ 44876 h 215373"/>
                  <a:gd name="connsiteX3" fmla="*/ 10020 w 273018"/>
                  <a:gd name="connsiteY3" fmla="*/ 11538 h 215373"/>
                  <a:gd name="connsiteX4" fmla="*/ 43358 w 273018"/>
                  <a:gd name="connsiteY4" fmla="*/ 17254 h 215373"/>
                  <a:gd name="connsiteX5" fmla="*/ 136227 w 273018"/>
                  <a:gd name="connsiteY5" fmla="*/ 149175 h 215373"/>
                  <a:gd name="connsiteX6" fmla="*/ 229572 w 273018"/>
                  <a:gd name="connsiteY6" fmla="*/ 10586 h 215373"/>
                  <a:gd name="connsiteX7" fmla="*/ 262433 w 273018"/>
                  <a:gd name="connsiteY7" fmla="*/ 3919 h 215373"/>
                  <a:gd name="connsiteX8" fmla="*/ 269100 w 273018"/>
                  <a:gd name="connsiteY8" fmla="*/ 36780 h 215373"/>
                  <a:gd name="connsiteX9" fmla="*/ 156705 w 273018"/>
                  <a:gd name="connsiteY9" fmla="*/ 203944 h 215373"/>
                  <a:gd name="connsiteX10" fmla="*/ 136227 w 273018"/>
                  <a:gd name="connsiteY10" fmla="*/ 215374 h 215373"/>
                  <a:gd name="connsiteX11" fmla="*/ 136227 w 273018"/>
                  <a:gd name="connsiteY11" fmla="*/ 215374 h 21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018" h="215373">
                    <a:moveTo>
                      <a:pt x="136227" y="215374"/>
                    </a:moveTo>
                    <a:cubicBezTo>
                      <a:pt x="128606" y="215374"/>
                      <a:pt x="120986" y="211563"/>
                      <a:pt x="116700" y="205372"/>
                    </a:cubicBezTo>
                    <a:lnTo>
                      <a:pt x="4305" y="44876"/>
                    </a:lnTo>
                    <a:cubicBezTo>
                      <a:pt x="-3315" y="33922"/>
                      <a:pt x="-457" y="19158"/>
                      <a:pt x="10020" y="11538"/>
                    </a:cubicBezTo>
                    <a:cubicBezTo>
                      <a:pt x="20974" y="3919"/>
                      <a:pt x="35737" y="6776"/>
                      <a:pt x="43358" y="17254"/>
                    </a:cubicBezTo>
                    <a:lnTo>
                      <a:pt x="136227" y="149175"/>
                    </a:lnTo>
                    <a:lnTo>
                      <a:pt x="229572" y="10586"/>
                    </a:lnTo>
                    <a:cubicBezTo>
                      <a:pt x="236715" y="-368"/>
                      <a:pt x="251479" y="-3225"/>
                      <a:pt x="262433" y="3919"/>
                    </a:cubicBezTo>
                    <a:cubicBezTo>
                      <a:pt x="273386" y="11062"/>
                      <a:pt x="276244" y="25826"/>
                      <a:pt x="269100" y="36780"/>
                    </a:cubicBezTo>
                    <a:lnTo>
                      <a:pt x="156705" y="203944"/>
                    </a:lnTo>
                    <a:cubicBezTo>
                      <a:pt x="151466" y="211087"/>
                      <a:pt x="144323" y="215374"/>
                      <a:pt x="136227" y="215374"/>
                    </a:cubicBezTo>
                    <a:cubicBezTo>
                      <a:pt x="136227" y="215374"/>
                      <a:pt x="136227" y="215374"/>
                      <a:pt x="136227" y="215374"/>
                    </a:cubicBezTo>
                    <a:close/>
                  </a:path>
                </a:pathLst>
              </a:custGeom>
              <a:grpFill/>
              <a:ln w="4763"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240F9D23-CE75-417D-A940-03B84783C428}"/>
                  </a:ext>
                </a:extLst>
              </p:cNvPr>
              <p:cNvSpPr/>
              <p:nvPr/>
            </p:nvSpPr>
            <p:spPr>
              <a:xfrm>
                <a:off x="5373033" y="2089676"/>
                <a:ext cx="273018" cy="215373"/>
              </a:xfrm>
              <a:custGeom>
                <a:avLst/>
                <a:gdLst>
                  <a:gd name="connsiteX0" fmla="*/ 136227 w 273018"/>
                  <a:gd name="connsiteY0" fmla="*/ 215374 h 215373"/>
                  <a:gd name="connsiteX1" fmla="*/ 116700 w 273018"/>
                  <a:gd name="connsiteY1" fmla="*/ 205372 h 215373"/>
                  <a:gd name="connsiteX2" fmla="*/ 4305 w 273018"/>
                  <a:gd name="connsiteY2" fmla="*/ 44876 h 215373"/>
                  <a:gd name="connsiteX3" fmla="*/ 10020 w 273018"/>
                  <a:gd name="connsiteY3" fmla="*/ 11539 h 215373"/>
                  <a:gd name="connsiteX4" fmla="*/ 43358 w 273018"/>
                  <a:gd name="connsiteY4" fmla="*/ 17253 h 215373"/>
                  <a:gd name="connsiteX5" fmla="*/ 136227 w 273018"/>
                  <a:gd name="connsiteY5" fmla="*/ 149175 h 215373"/>
                  <a:gd name="connsiteX6" fmla="*/ 229572 w 273018"/>
                  <a:gd name="connsiteY6" fmla="*/ 10586 h 215373"/>
                  <a:gd name="connsiteX7" fmla="*/ 262433 w 273018"/>
                  <a:gd name="connsiteY7" fmla="*/ 3919 h 215373"/>
                  <a:gd name="connsiteX8" fmla="*/ 269100 w 273018"/>
                  <a:gd name="connsiteY8" fmla="*/ 36780 h 215373"/>
                  <a:gd name="connsiteX9" fmla="*/ 156705 w 273018"/>
                  <a:gd name="connsiteY9" fmla="*/ 203944 h 215373"/>
                  <a:gd name="connsiteX10" fmla="*/ 136227 w 273018"/>
                  <a:gd name="connsiteY10" fmla="*/ 215374 h 215373"/>
                  <a:gd name="connsiteX11" fmla="*/ 136227 w 273018"/>
                  <a:gd name="connsiteY11" fmla="*/ 215374 h 21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018" h="215373">
                    <a:moveTo>
                      <a:pt x="136227" y="215374"/>
                    </a:moveTo>
                    <a:cubicBezTo>
                      <a:pt x="128606" y="215374"/>
                      <a:pt x="120986" y="211564"/>
                      <a:pt x="116700" y="205372"/>
                    </a:cubicBezTo>
                    <a:lnTo>
                      <a:pt x="4305" y="44876"/>
                    </a:lnTo>
                    <a:cubicBezTo>
                      <a:pt x="-3315" y="33922"/>
                      <a:pt x="-457" y="19158"/>
                      <a:pt x="10020" y="11539"/>
                    </a:cubicBezTo>
                    <a:cubicBezTo>
                      <a:pt x="20974" y="3919"/>
                      <a:pt x="35737" y="6776"/>
                      <a:pt x="43358" y="17253"/>
                    </a:cubicBezTo>
                    <a:lnTo>
                      <a:pt x="136227" y="149175"/>
                    </a:lnTo>
                    <a:lnTo>
                      <a:pt x="229572" y="10586"/>
                    </a:lnTo>
                    <a:cubicBezTo>
                      <a:pt x="236715" y="-368"/>
                      <a:pt x="251479" y="-3225"/>
                      <a:pt x="262433" y="3919"/>
                    </a:cubicBezTo>
                    <a:cubicBezTo>
                      <a:pt x="273386" y="11062"/>
                      <a:pt x="276244" y="25826"/>
                      <a:pt x="269100" y="36780"/>
                    </a:cubicBezTo>
                    <a:lnTo>
                      <a:pt x="156705" y="203944"/>
                    </a:lnTo>
                    <a:cubicBezTo>
                      <a:pt x="151466" y="211564"/>
                      <a:pt x="144323" y="215374"/>
                      <a:pt x="136227" y="215374"/>
                    </a:cubicBezTo>
                    <a:cubicBezTo>
                      <a:pt x="136227" y="215374"/>
                      <a:pt x="136227" y="215374"/>
                      <a:pt x="136227" y="215374"/>
                    </a:cubicBezTo>
                    <a:close/>
                  </a:path>
                </a:pathLst>
              </a:custGeom>
              <a:grpFill/>
              <a:ln w="4763" cap="flat">
                <a:noFill/>
                <a:prstDash val="solid"/>
                <a:miter/>
              </a:ln>
            </p:spPr>
            <p:txBody>
              <a:bodyPr rtlCol="0" anchor="ctr"/>
              <a:lstStyle/>
              <a:p>
                <a:endParaRPr lang="en-US" dirty="0"/>
              </a:p>
            </p:txBody>
          </p:sp>
          <p:sp>
            <p:nvSpPr>
              <p:cNvPr id="119" name="Freeform: Shape 118">
                <a:extLst>
                  <a:ext uri="{FF2B5EF4-FFF2-40B4-BE49-F238E27FC236}">
                    <a16:creationId xmlns:a16="http://schemas.microsoft.com/office/drawing/2014/main" id="{8DA0EF50-C7E9-4880-AFE6-AF8B73A0AEB8}"/>
                  </a:ext>
                </a:extLst>
              </p:cNvPr>
              <p:cNvSpPr/>
              <p:nvPr/>
            </p:nvSpPr>
            <p:spPr>
              <a:xfrm>
                <a:off x="5373033" y="2332563"/>
                <a:ext cx="273018" cy="215373"/>
              </a:xfrm>
              <a:custGeom>
                <a:avLst/>
                <a:gdLst>
                  <a:gd name="connsiteX0" fmla="*/ 136227 w 273018"/>
                  <a:gd name="connsiteY0" fmla="*/ 215374 h 215373"/>
                  <a:gd name="connsiteX1" fmla="*/ 116700 w 273018"/>
                  <a:gd name="connsiteY1" fmla="*/ 205372 h 215373"/>
                  <a:gd name="connsiteX2" fmla="*/ 4305 w 273018"/>
                  <a:gd name="connsiteY2" fmla="*/ 44876 h 215373"/>
                  <a:gd name="connsiteX3" fmla="*/ 10020 w 273018"/>
                  <a:gd name="connsiteY3" fmla="*/ 11539 h 215373"/>
                  <a:gd name="connsiteX4" fmla="*/ 43358 w 273018"/>
                  <a:gd name="connsiteY4" fmla="*/ 17253 h 215373"/>
                  <a:gd name="connsiteX5" fmla="*/ 136227 w 273018"/>
                  <a:gd name="connsiteY5" fmla="*/ 149175 h 215373"/>
                  <a:gd name="connsiteX6" fmla="*/ 229572 w 273018"/>
                  <a:gd name="connsiteY6" fmla="*/ 10586 h 215373"/>
                  <a:gd name="connsiteX7" fmla="*/ 262433 w 273018"/>
                  <a:gd name="connsiteY7" fmla="*/ 3919 h 215373"/>
                  <a:gd name="connsiteX8" fmla="*/ 269100 w 273018"/>
                  <a:gd name="connsiteY8" fmla="*/ 36780 h 215373"/>
                  <a:gd name="connsiteX9" fmla="*/ 156705 w 273018"/>
                  <a:gd name="connsiteY9" fmla="*/ 203943 h 215373"/>
                  <a:gd name="connsiteX10" fmla="*/ 136227 w 273018"/>
                  <a:gd name="connsiteY10" fmla="*/ 215374 h 215373"/>
                  <a:gd name="connsiteX11" fmla="*/ 136227 w 273018"/>
                  <a:gd name="connsiteY11" fmla="*/ 215374 h 21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018" h="215373">
                    <a:moveTo>
                      <a:pt x="136227" y="215374"/>
                    </a:moveTo>
                    <a:cubicBezTo>
                      <a:pt x="128606" y="215374"/>
                      <a:pt x="120986" y="211564"/>
                      <a:pt x="116700" y="205372"/>
                    </a:cubicBezTo>
                    <a:lnTo>
                      <a:pt x="4305" y="44876"/>
                    </a:lnTo>
                    <a:cubicBezTo>
                      <a:pt x="-3315" y="33922"/>
                      <a:pt x="-457" y="19158"/>
                      <a:pt x="10020" y="11539"/>
                    </a:cubicBezTo>
                    <a:cubicBezTo>
                      <a:pt x="20974" y="3919"/>
                      <a:pt x="35737" y="6776"/>
                      <a:pt x="43358" y="17253"/>
                    </a:cubicBezTo>
                    <a:lnTo>
                      <a:pt x="136227" y="149175"/>
                    </a:lnTo>
                    <a:lnTo>
                      <a:pt x="229572" y="10586"/>
                    </a:lnTo>
                    <a:cubicBezTo>
                      <a:pt x="236715" y="-368"/>
                      <a:pt x="251479" y="-3225"/>
                      <a:pt x="262433" y="3919"/>
                    </a:cubicBezTo>
                    <a:cubicBezTo>
                      <a:pt x="273386" y="11062"/>
                      <a:pt x="276244" y="25826"/>
                      <a:pt x="269100" y="36780"/>
                    </a:cubicBezTo>
                    <a:lnTo>
                      <a:pt x="156705" y="203943"/>
                    </a:lnTo>
                    <a:cubicBezTo>
                      <a:pt x="151466" y="211564"/>
                      <a:pt x="144323" y="215374"/>
                      <a:pt x="136227" y="215374"/>
                    </a:cubicBezTo>
                    <a:cubicBezTo>
                      <a:pt x="136227" y="215374"/>
                      <a:pt x="136227" y="215374"/>
                      <a:pt x="136227" y="215374"/>
                    </a:cubicBezTo>
                    <a:close/>
                  </a:path>
                </a:pathLst>
              </a:custGeom>
              <a:grpFill/>
              <a:ln w="4763" cap="flat">
                <a:noFill/>
                <a:prstDash val="solid"/>
                <a:miter/>
              </a:ln>
            </p:spPr>
            <p:txBody>
              <a:bodyPr rtlCol="0" anchor="ctr"/>
              <a:lstStyle/>
              <a:p>
                <a:endParaRPr lang="en-US" dirty="0"/>
              </a:p>
            </p:txBody>
          </p:sp>
          <p:sp>
            <p:nvSpPr>
              <p:cNvPr id="120" name="Freeform: Shape 119">
                <a:extLst>
                  <a:ext uri="{FF2B5EF4-FFF2-40B4-BE49-F238E27FC236}">
                    <a16:creationId xmlns:a16="http://schemas.microsoft.com/office/drawing/2014/main" id="{0D68AFA4-DEDC-4945-AAA7-873EE23F440B}"/>
                  </a:ext>
                </a:extLst>
              </p:cNvPr>
              <p:cNvSpPr/>
              <p:nvPr/>
            </p:nvSpPr>
            <p:spPr>
              <a:xfrm>
                <a:off x="5373033" y="2575451"/>
                <a:ext cx="273018" cy="215373"/>
              </a:xfrm>
              <a:custGeom>
                <a:avLst/>
                <a:gdLst>
                  <a:gd name="connsiteX0" fmla="*/ 136227 w 273018"/>
                  <a:gd name="connsiteY0" fmla="*/ 215374 h 215373"/>
                  <a:gd name="connsiteX1" fmla="*/ 116700 w 273018"/>
                  <a:gd name="connsiteY1" fmla="*/ 205372 h 215373"/>
                  <a:gd name="connsiteX2" fmla="*/ 4305 w 273018"/>
                  <a:gd name="connsiteY2" fmla="*/ 44876 h 215373"/>
                  <a:gd name="connsiteX3" fmla="*/ 10020 w 273018"/>
                  <a:gd name="connsiteY3" fmla="*/ 11539 h 215373"/>
                  <a:gd name="connsiteX4" fmla="*/ 43358 w 273018"/>
                  <a:gd name="connsiteY4" fmla="*/ 17254 h 215373"/>
                  <a:gd name="connsiteX5" fmla="*/ 136227 w 273018"/>
                  <a:gd name="connsiteY5" fmla="*/ 149175 h 215373"/>
                  <a:gd name="connsiteX6" fmla="*/ 229572 w 273018"/>
                  <a:gd name="connsiteY6" fmla="*/ 10586 h 215373"/>
                  <a:gd name="connsiteX7" fmla="*/ 262433 w 273018"/>
                  <a:gd name="connsiteY7" fmla="*/ 3918 h 215373"/>
                  <a:gd name="connsiteX8" fmla="*/ 269100 w 273018"/>
                  <a:gd name="connsiteY8" fmla="*/ 36780 h 215373"/>
                  <a:gd name="connsiteX9" fmla="*/ 156705 w 273018"/>
                  <a:gd name="connsiteY9" fmla="*/ 203944 h 215373"/>
                  <a:gd name="connsiteX10" fmla="*/ 136227 w 273018"/>
                  <a:gd name="connsiteY10" fmla="*/ 215374 h 215373"/>
                  <a:gd name="connsiteX11" fmla="*/ 136227 w 273018"/>
                  <a:gd name="connsiteY11" fmla="*/ 215374 h 21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018" h="215373">
                    <a:moveTo>
                      <a:pt x="136227" y="215374"/>
                    </a:moveTo>
                    <a:cubicBezTo>
                      <a:pt x="128606" y="215374"/>
                      <a:pt x="120986" y="211564"/>
                      <a:pt x="116700" y="205372"/>
                    </a:cubicBezTo>
                    <a:lnTo>
                      <a:pt x="4305" y="44876"/>
                    </a:lnTo>
                    <a:cubicBezTo>
                      <a:pt x="-3315" y="33922"/>
                      <a:pt x="-457" y="19159"/>
                      <a:pt x="10020" y="11539"/>
                    </a:cubicBezTo>
                    <a:cubicBezTo>
                      <a:pt x="20974" y="3918"/>
                      <a:pt x="35737" y="6776"/>
                      <a:pt x="43358" y="17254"/>
                    </a:cubicBezTo>
                    <a:lnTo>
                      <a:pt x="136227" y="149175"/>
                    </a:lnTo>
                    <a:lnTo>
                      <a:pt x="229572" y="10586"/>
                    </a:lnTo>
                    <a:cubicBezTo>
                      <a:pt x="236715" y="-368"/>
                      <a:pt x="251479" y="-3225"/>
                      <a:pt x="262433" y="3918"/>
                    </a:cubicBezTo>
                    <a:cubicBezTo>
                      <a:pt x="273386" y="11062"/>
                      <a:pt x="276244" y="25826"/>
                      <a:pt x="269100" y="36780"/>
                    </a:cubicBezTo>
                    <a:lnTo>
                      <a:pt x="156705" y="203944"/>
                    </a:lnTo>
                    <a:cubicBezTo>
                      <a:pt x="151466" y="211087"/>
                      <a:pt x="144323" y="215374"/>
                      <a:pt x="136227" y="215374"/>
                    </a:cubicBezTo>
                    <a:cubicBezTo>
                      <a:pt x="136227" y="215374"/>
                      <a:pt x="136227" y="215374"/>
                      <a:pt x="136227" y="215374"/>
                    </a:cubicBezTo>
                    <a:close/>
                  </a:path>
                </a:pathLst>
              </a:custGeom>
              <a:grpFill/>
              <a:ln w="4763" cap="flat">
                <a:noFill/>
                <a:prstDash val="solid"/>
                <a:miter/>
              </a:ln>
            </p:spPr>
            <p:txBody>
              <a:bodyPr rtlCol="0" anchor="ctr"/>
              <a:lstStyle/>
              <a:p>
                <a:endParaRPr lang="en-US" dirty="0"/>
              </a:p>
            </p:txBody>
          </p:sp>
        </p:grpSp>
        <p:grpSp>
          <p:nvGrpSpPr>
            <p:cNvPr id="125" name="Group 124">
              <a:extLst>
                <a:ext uri="{FF2B5EF4-FFF2-40B4-BE49-F238E27FC236}">
                  <a16:creationId xmlns:a16="http://schemas.microsoft.com/office/drawing/2014/main" id="{3BE751C1-A800-4A2B-B8DF-CC8B9B0DDA60}"/>
                </a:ext>
              </a:extLst>
            </p:cNvPr>
            <p:cNvGrpSpPr/>
            <p:nvPr/>
          </p:nvGrpSpPr>
          <p:grpSpPr>
            <a:xfrm flipH="1">
              <a:off x="2055885" y="1489207"/>
              <a:ext cx="2196971" cy="1402472"/>
              <a:chOff x="4098771" y="576622"/>
              <a:chExt cx="2196971" cy="1402472"/>
            </a:xfrm>
            <a:solidFill>
              <a:schemeClr val="tx2"/>
            </a:solidFill>
          </p:grpSpPr>
          <p:sp>
            <p:nvSpPr>
              <p:cNvPr id="122" name="Freeform: Shape 121">
                <a:extLst>
                  <a:ext uri="{FF2B5EF4-FFF2-40B4-BE49-F238E27FC236}">
                    <a16:creationId xmlns:a16="http://schemas.microsoft.com/office/drawing/2014/main" id="{D3A4B4AA-BB9D-4DC9-A546-ED5C1A6ACF32}"/>
                  </a:ext>
                </a:extLst>
              </p:cNvPr>
              <p:cNvSpPr/>
              <p:nvPr/>
            </p:nvSpPr>
            <p:spPr>
              <a:xfrm>
                <a:off x="5693509" y="1816189"/>
                <a:ext cx="164331" cy="162905"/>
              </a:xfrm>
              <a:custGeom>
                <a:avLst/>
                <a:gdLst>
                  <a:gd name="connsiteX0" fmla="*/ 126398 w 164331"/>
                  <a:gd name="connsiteY0" fmla="*/ 162906 h 162905"/>
                  <a:gd name="connsiteX1" fmla="*/ 37934 w 164331"/>
                  <a:gd name="connsiteY1" fmla="*/ 162906 h 162905"/>
                  <a:gd name="connsiteX2" fmla="*/ 0 w 164331"/>
                  <a:gd name="connsiteY2" fmla="*/ 124972 h 162905"/>
                  <a:gd name="connsiteX3" fmla="*/ 0 w 164331"/>
                  <a:gd name="connsiteY3" fmla="*/ 37934 h 162905"/>
                  <a:gd name="connsiteX4" fmla="*/ 37934 w 164331"/>
                  <a:gd name="connsiteY4" fmla="*/ 0 h 162905"/>
                  <a:gd name="connsiteX5" fmla="*/ 126398 w 164331"/>
                  <a:gd name="connsiteY5" fmla="*/ 0 h 162905"/>
                  <a:gd name="connsiteX6" fmla="*/ 164332 w 164331"/>
                  <a:gd name="connsiteY6" fmla="*/ 37934 h 162905"/>
                  <a:gd name="connsiteX7" fmla="*/ 164332 w 164331"/>
                  <a:gd name="connsiteY7" fmla="*/ 124972 h 162905"/>
                  <a:gd name="connsiteX8" fmla="*/ 126398 w 164331"/>
                  <a:gd name="connsiteY8" fmla="*/ 162906 h 162905"/>
                  <a:gd name="connsiteX9" fmla="*/ 37934 w 164331"/>
                  <a:gd name="connsiteY9" fmla="*/ 14213 h 162905"/>
                  <a:gd name="connsiteX10" fmla="*/ 14261 w 164331"/>
                  <a:gd name="connsiteY10" fmla="*/ 37886 h 162905"/>
                  <a:gd name="connsiteX11" fmla="*/ 14261 w 164331"/>
                  <a:gd name="connsiteY11" fmla="*/ 124925 h 162905"/>
                  <a:gd name="connsiteX12" fmla="*/ 37934 w 164331"/>
                  <a:gd name="connsiteY12" fmla="*/ 148597 h 162905"/>
                  <a:gd name="connsiteX13" fmla="*/ 126398 w 164331"/>
                  <a:gd name="connsiteY13" fmla="*/ 148597 h 162905"/>
                  <a:gd name="connsiteX14" fmla="*/ 150071 w 164331"/>
                  <a:gd name="connsiteY14" fmla="*/ 124925 h 162905"/>
                  <a:gd name="connsiteX15" fmla="*/ 150071 w 164331"/>
                  <a:gd name="connsiteY15" fmla="*/ 37886 h 162905"/>
                  <a:gd name="connsiteX16" fmla="*/ 126398 w 164331"/>
                  <a:gd name="connsiteY16" fmla="*/ 14213 h 162905"/>
                  <a:gd name="connsiteX17" fmla="*/ 37934 w 164331"/>
                  <a:gd name="connsiteY17" fmla="*/ 14213 h 162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4331" h="162905">
                    <a:moveTo>
                      <a:pt x="126398" y="162906"/>
                    </a:moveTo>
                    <a:lnTo>
                      <a:pt x="37934" y="162906"/>
                    </a:lnTo>
                    <a:cubicBezTo>
                      <a:pt x="17018" y="162906"/>
                      <a:pt x="0" y="145888"/>
                      <a:pt x="0" y="124972"/>
                    </a:cubicBezTo>
                    <a:lnTo>
                      <a:pt x="0" y="37934"/>
                    </a:lnTo>
                    <a:cubicBezTo>
                      <a:pt x="0" y="17018"/>
                      <a:pt x="17018" y="0"/>
                      <a:pt x="37934" y="0"/>
                    </a:cubicBezTo>
                    <a:lnTo>
                      <a:pt x="126398" y="0"/>
                    </a:lnTo>
                    <a:cubicBezTo>
                      <a:pt x="147314" y="0"/>
                      <a:pt x="164332" y="17018"/>
                      <a:pt x="164332" y="37934"/>
                    </a:cubicBezTo>
                    <a:lnTo>
                      <a:pt x="164332" y="124972"/>
                    </a:lnTo>
                    <a:cubicBezTo>
                      <a:pt x="164332" y="145888"/>
                      <a:pt x="147314" y="162906"/>
                      <a:pt x="126398" y="162906"/>
                    </a:cubicBezTo>
                    <a:close/>
                    <a:moveTo>
                      <a:pt x="37934" y="14213"/>
                    </a:moveTo>
                    <a:cubicBezTo>
                      <a:pt x="24861" y="14213"/>
                      <a:pt x="14261" y="24861"/>
                      <a:pt x="14261" y="37886"/>
                    </a:cubicBezTo>
                    <a:lnTo>
                      <a:pt x="14261" y="124925"/>
                    </a:lnTo>
                    <a:cubicBezTo>
                      <a:pt x="14261" y="137997"/>
                      <a:pt x="24909" y="148597"/>
                      <a:pt x="37934" y="148597"/>
                    </a:cubicBezTo>
                    <a:lnTo>
                      <a:pt x="126398" y="148597"/>
                    </a:lnTo>
                    <a:cubicBezTo>
                      <a:pt x="139470" y="148597"/>
                      <a:pt x="150071" y="137949"/>
                      <a:pt x="150071" y="124925"/>
                    </a:cubicBezTo>
                    <a:lnTo>
                      <a:pt x="150071" y="37886"/>
                    </a:lnTo>
                    <a:cubicBezTo>
                      <a:pt x="150071" y="24814"/>
                      <a:pt x="139423" y="14213"/>
                      <a:pt x="126398" y="14213"/>
                    </a:cubicBezTo>
                    <a:lnTo>
                      <a:pt x="37934" y="14213"/>
                    </a:lnTo>
                    <a:close/>
                  </a:path>
                </a:pathLst>
              </a:custGeom>
              <a:grpFill/>
              <a:ln w="4748" cap="flat">
                <a:noFill/>
                <a:prstDash val="solid"/>
                <a:miter/>
              </a:ln>
            </p:spPr>
            <p:txBody>
              <a:bodyPr rtlCol="0" anchor="ctr"/>
              <a:lstStyle/>
              <a:p>
                <a:endParaRPr lang="en-US" dirty="0"/>
              </a:p>
            </p:txBody>
          </p:sp>
          <p:sp>
            <p:nvSpPr>
              <p:cNvPr id="123" name="Freeform: Shape 122">
                <a:extLst>
                  <a:ext uri="{FF2B5EF4-FFF2-40B4-BE49-F238E27FC236}">
                    <a16:creationId xmlns:a16="http://schemas.microsoft.com/office/drawing/2014/main" id="{85B2756A-DC26-42E3-BEBE-B64EF55105A7}"/>
                  </a:ext>
                </a:extLst>
              </p:cNvPr>
              <p:cNvSpPr/>
              <p:nvPr/>
            </p:nvSpPr>
            <p:spPr>
              <a:xfrm>
                <a:off x="4098771" y="690870"/>
                <a:ext cx="152115" cy="152115"/>
              </a:xfrm>
              <a:custGeom>
                <a:avLst/>
                <a:gdLst>
                  <a:gd name="connsiteX0" fmla="*/ 152115 w 152115"/>
                  <a:gd name="connsiteY0" fmla="*/ 76058 h 152115"/>
                  <a:gd name="connsiteX1" fmla="*/ 76058 w 152115"/>
                  <a:gd name="connsiteY1" fmla="*/ 152115 h 152115"/>
                  <a:gd name="connsiteX2" fmla="*/ 0 w 152115"/>
                  <a:gd name="connsiteY2" fmla="*/ 76058 h 152115"/>
                  <a:gd name="connsiteX3" fmla="*/ 76058 w 152115"/>
                  <a:gd name="connsiteY3" fmla="*/ 0 h 152115"/>
                  <a:gd name="connsiteX4" fmla="*/ 152115 w 152115"/>
                  <a:gd name="connsiteY4" fmla="*/ 76058 h 152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15" h="152115">
                    <a:moveTo>
                      <a:pt x="152115" y="76058"/>
                    </a:moveTo>
                    <a:cubicBezTo>
                      <a:pt x="152115" y="118063"/>
                      <a:pt x="118063" y="152115"/>
                      <a:pt x="76058" y="152115"/>
                    </a:cubicBezTo>
                    <a:cubicBezTo>
                      <a:pt x="34052" y="152115"/>
                      <a:pt x="0" y="118063"/>
                      <a:pt x="0" y="76058"/>
                    </a:cubicBezTo>
                    <a:cubicBezTo>
                      <a:pt x="0" y="34052"/>
                      <a:pt x="34052" y="0"/>
                      <a:pt x="76058" y="0"/>
                    </a:cubicBezTo>
                    <a:cubicBezTo>
                      <a:pt x="118063" y="0"/>
                      <a:pt x="152115" y="34052"/>
                      <a:pt x="152115" y="76058"/>
                    </a:cubicBezTo>
                    <a:close/>
                  </a:path>
                </a:pathLst>
              </a:custGeom>
              <a:grpFill/>
              <a:ln w="4748"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CF5CB4B1-C077-4103-8106-6B14B4682062}"/>
                  </a:ext>
                </a:extLst>
              </p:cNvPr>
              <p:cNvSpPr/>
              <p:nvPr/>
            </p:nvSpPr>
            <p:spPr>
              <a:xfrm>
                <a:off x="4171359" y="576622"/>
                <a:ext cx="2124383" cy="1335446"/>
              </a:xfrm>
              <a:custGeom>
                <a:avLst/>
                <a:gdLst>
                  <a:gd name="connsiteX0" fmla="*/ 1599253 w 2124383"/>
                  <a:gd name="connsiteY0" fmla="*/ 1335446 h 1335446"/>
                  <a:gd name="connsiteX1" fmla="*/ 1585516 w 2124383"/>
                  <a:gd name="connsiteY1" fmla="*/ 1316052 h 1335446"/>
                  <a:gd name="connsiteX2" fmla="*/ 2097193 w 2124383"/>
                  <a:gd name="connsiteY2" fmla="*/ 621219 h 1335446"/>
                  <a:gd name="connsiteX3" fmla="*/ 1989144 w 2124383"/>
                  <a:gd name="connsiteY3" fmla="*/ 280100 h 1335446"/>
                  <a:gd name="connsiteX4" fmla="*/ 1490444 w 2124383"/>
                  <a:gd name="connsiteY4" fmla="*/ 45130 h 1335446"/>
                  <a:gd name="connsiteX5" fmla="*/ 829646 w 2124383"/>
                  <a:gd name="connsiteY5" fmla="*/ 44750 h 1335446"/>
                  <a:gd name="connsiteX6" fmla="*/ 6893 w 2124383"/>
                  <a:gd name="connsiteY6" fmla="*/ 209129 h 1335446"/>
                  <a:gd name="connsiteX7" fmla="*/ 0 w 2124383"/>
                  <a:gd name="connsiteY7" fmla="*/ 186359 h 1335446"/>
                  <a:gd name="connsiteX8" fmla="*/ 826699 w 2124383"/>
                  <a:gd name="connsiteY8" fmla="*/ 21172 h 1335446"/>
                  <a:gd name="connsiteX9" fmla="*/ 1493914 w 2124383"/>
                  <a:gd name="connsiteY9" fmla="*/ 21647 h 1335446"/>
                  <a:gd name="connsiteX10" fmla="*/ 2007160 w 2124383"/>
                  <a:gd name="connsiteY10" fmla="*/ 264699 h 1335446"/>
                  <a:gd name="connsiteX11" fmla="*/ 2120723 w 2124383"/>
                  <a:gd name="connsiteY11" fmla="*/ 624213 h 1335446"/>
                  <a:gd name="connsiteX12" fmla="*/ 1842020 w 2124383"/>
                  <a:gd name="connsiteY12" fmla="*/ 1121012 h 1335446"/>
                  <a:gd name="connsiteX13" fmla="*/ 1599253 w 2124383"/>
                  <a:gd name="connsiteY13" fmla="*/ 1335446 h 133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24383" h="1335446">
                    <a:moveTo>
                      <a:pt x="1599253" y="1335446"/>
                    </a:moveTo>
                    <a:lnTo>
                      <a:pt x="1585516" y="1316052"/>
                    </a:lnTo>
                    <a:cubicBezTo>
                      <a:pt x="1590174" y="1312724"/>
                      <a:pt x="2052509" y="981256"/>
                      <a:pt x="2097193" y="621219"/>
                    </a:cubicBezTo>
                    <a:cubicBezTo>
                      <a:pt x="2112642" y="496769"/>
                      <a:pt x="2076277" y="382017"/>
                      <a:pt x="1989144" y="280100"/>
                    </a:cubicBezTo>
                    <a:cubicBezTo>
                      <a:pt x="1885990" y="159407"/>
                      <a:pt x="1718188" y="80354"/>
                      <a:pt x="1490444" y="45130"/>
                    </a:cubicBezTo>
                    <a:cubicBezTo>
                      <a:pt x="1306955" y="16751"/>
                      <a:pt x="1084629" y="16609"/>
                      <a:pt x="829646" y="44750"/>
                    </a:cubicBezTo>
                    <a:cubicBezTo>
                      <a:pt x="394644" y="92761"/>
                      <a:pt x="10743" y="207988"/>
                      <a:pt x="6893" y="209129"/>
                    </a:cubicBezTo>
                    <a:lnTo>
                      <a:pt x="0" y="186359"/>
                    </a:lnTo>
                    <a:cubicBezTo>
                      <a:pt x="3850" y="185219"/>
                      <a:pt x="389605" y="69421"/>
                      <a:pt x="826699" y="21172"/>
                    </a:cubicBezTo>
                    <a:cubicBezTo>
                      <a:pt x="1083821" y="-7207"/>
                      <a:pt x="1308286" y="-7064"/>
                      <a:pt x="1493914" y="21647"/>
                    </a:cubicBezTo>
                    <a:cubicBezTo>
                      <a:pt x="1727506" y="57775"/>
                      <a:pt x="1900204" y="139537"/>
                      <a:pt x="2007160" y="264699"/>
                    </a:cubicBezTo>
                    <a:cubicBezTo>
                      <a:pt x="2098809" y="371892"/>
                      <a:pt x="2137028" y="492871"/>
                      <a:pt x="2120723" y="624213"/>
                    </a:cubicBezTo>
                    <a:cubicBezTo>
                      <a:pt x="2096622" y="818303"/>
                      <a:pt x="1955868" y="1001506"/>
                      <a:pt x="1842020" y="1121012"/>
                    </a:cubicBezTo>
                    <a:cubicBezTo>
                      <a:pt x="1719282" y="1249929"/>
                      <a:pt x="1600442" y="1334638"/>
                      <a:pt x="1599253" y="1335446"/>
                    </a:cubicBezTo>
                    <a:close/>
                  </a:path>
                </a:pathLst>
              </a:custGeom>
              <a:grpFill/>
              <a:ln w="4748" cap="flat">
                <a:noFill/>
                <a:prstDash val="solid"/>
                <a:miter/>
              </a:ln>
            </p:spPr>
            <p:txBody>
              <a:bodyPr rtlCol="0" anchor="ctr"/>
              <a:lstStyle/>
              <a:p>
                <a:endParaRPr lang="en-US" dirty="0"/>
              </a:p>
            </p:txBody>
          </p:sp>
        </p:grpSp>
        <p:grpSp>
          <p:nvGrpSpPr>
            <p:cNvPr id="126" name="Graphic 1">
              <a:extLst>
                <a:ext uri="{FF2B5EF4-FFF2-40B4-BE49-F238E27FC236}">
                  <a16:creationId xmlns:a16="http://schemas.microsoft.com/office/drawing/2014/main" id="{53D15986-DB7B-46E8-8966-C9B8ACB6512C}"/>
                </a:ext>
              </a:extLst>
            </p:cNvPr>
            <p:cNvGrpSpPr/>
            <p:nvPr/>
          </p:nvGrpSpPr>
          <p:grpSpPr>
            <a:xfrm>
              <a:off x="3335837" y="3536301"/>
              <a:ext cx="1103147" cy="1103147"/>
              <a:chOff x="1587124" y="912209"/>
              <a:chExt cx="1609449" cy="1609449"/>
            </a:xfrm>
            <a:solidFill>
              <a:schemeClr val="tx2"/>
            </a:solidFill>
          </p:grpSpPr>
          <p:sp>
            <p:nvSpPr>
              <p:cNvPr id="127" name="Freeform: Shape 126">
                <a:extLst>
                  <a:ext uri="{FF2B5EF4-FFF2-40B4-BE49-F238E27FC236}">
                    <a16:creationId xmlns:a16="http://schemas.microsoft.com/office/drawing/2014/main" id="{3AF7AEC4-C002-4F60-838E-C189CF6601B2}"/>
                  </a:ext>
                </a:extLst>
              </p:cNvPr>
              <p:cNvSpPr/>
              <p:nvPr/>
            </p:nvSpPr>
            <p:spPr>
              <a:xfrm>
                <a:off x="2110876" y="1435960"/>
                <a:ext cx="1038827" cy="1038779"/>
              </a:xfrm>
              <a:custGeom>
                <a:avLst/>
                <a:gdLst>
                  <a:gd name="connsiteX0" fmla="*/ 1018589 w 1038827"/>
                  <a:gd name="connsiteY0" fmla="*/ 3458 h 1038779"/>
                  <a:gd name="connsiteX1" fmla="*/ 3458 w 1038827"/>
                  <a:gd name="connsiteY1" fmla="*/ 1018589 h 1038779"/>
                  <a:gd name="connsiteX2" fmla="*/ 3458 w 1038827"/>
                  <a:gd name="connsiteY2" fmla="*/ 1035322 h 1038779"/>
                  <a:gd name="connsiteX3" fmla="*/ 20191 w 1038827"/>
                  <a:gd name="connsiteY3" fmla="*/ 1035322 h 1038779"/>
                  <a:gd name="connsiteX4" fmla="*/ 1035369 w 1038827"/>
                  <a:gd name="connsiteY4" fmla="*/ 20191 h 1038779"/>
                  <a:gd name="connsiteX5" fmla="*/ 1035369 w 1038827"/>
                  <a:gd name="connsiteY5" fmla="*/ 3458 h 1038779"/>
                  <a:gd name="connsiteX6" fmla="*/ 1018589 w 1038827"/>
                  <a:gd name="connsiteY6" fmla="*/ 3458 h 1038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827" h="1038779">
                    <a:moveTo>
                      <a:pt x="1018589" y="3458"/>
                    </a:moveTo>
                    <a:lnTo>
                      <a:pt x="3458" y="1018589"/>
                    </a:lnTo>
                    <a:cubicBezTo>
                      <a:pt x="-1153" y="1023200"/>
                      <a:pt x="-1153" y="1030711"/>
                      <a:pt x="3458" y="1035322"/>
                    </a:cubicBezTo>
                    <a:cubicBezTo>
                      <a:pt x="8069" y="1039933"/>
                      <a:pt x="15580" y="1039933"/>
                      <a:pt x="20191" y="1035322"/>
                    </a:cubicBezTo>
                    <a:lnTo>
                      <a:pt x="1035369" y="20191"/>
                    </a:lnTo>
                    <a:cubicBezTo>
                      <a:pt x="1039980" y="15580"/>
                      <a:pt x="1039980" y="8069"/>
                      <a:pt x="1035369" y="3458"/>
                    </a:cubicBezTo>
                    <a:cubicBezTo>
                      <a:pt x="1030711" y="-1153"/>
                      <a:pt x="1023248" y="-1153"/>
                      <a:pt x="1018589" y="3458"/>
                    </a:cubicBezTo>
                    <a:close/>
                  </a:path>
                </a:pathLst>
              </a:custGeom>
              <a:grpFill/>
              <a:ln w="4748" cap="flat">
                <a:noFill/>
                <a:prstDash val="solid"/>
                <a:miter/>
              </a:ln>
            </p:spPr>
            <p:txBody>
              <a:bodyPr rtlCol="0" anchor="ctr"/>
              <a:lstStyle/>
              <a:p>
                <a:endParaRPr lang="en-US" dirty="0"/>
              </a:p>
            </p:txBody>
          </p:sp>
          <p:sp>
            <p:nvSpPr>
              <p:cNvPr id="128" name="Freeform: Shape 127">
                <a:extLst>
                  <a:ext uri="{FF2B5EF4-FFF2-40B4-BE49-F238E27FC236}">
                    <a16:creationId xmlns:a16="http://schemas.microsoft.com/office/drawing/2014/main" id="{EC1441F0-DB7C-4D41-9D26-B71D17DCA650}"/>
                  </a:ext>
                </a:extLst>
              </p:cNvPr>
              <p:cNvSpPr/>
              <p:nvPr/>
            </p:nvSpPr>
            <p:spPr>
              <a:xfrm>
                <a:off x="2036197" y="1361287"/>
                <a:ext cx="1082132" cy="1082174"/>
              </a:xfrm>
              <a:custGeom>
                <a:avLst/>
                <a:gdLst>
                  <a:gd name="connsiteX0" fmla="*/ 1061990 w 1082132"/>
                  <a:gd name="connsiteY0" fmla="*/ 3452 h 1082174"/>
                  <a:gd name="connsiteX1" fmla="*/ 3458 w 1082132"/>
                  <a:gd name="connsiteY1" fmla="*/ 1061983 h 1082174"/>
                  <a:gd name="connsiteX2" fmla="*/ 3458 w 1082132"/>
                  <a:gd name="connsiteY2" fmla="*/ 1078716 h 1082174"/>
                  <a:gd name="connsiteX3" fmla="*/ 20191 w 1082132"/>
                  <a:gd name="connsiteY3" fmla="*/ 1078716 h 1082174"/>
                  <a:gd name="connsiteX4" fmla="*/ 1078675 w 1082132"/>
                  <a:gd name="connsiteY4" fmla="*/ 20233 h 1082174"/>
                  <a:gd name="connsiteX5" fmla="*/ 1078675 w 1082132"/>
                  <a:gd name="connsiteY5" fmla="*/ 3500 h 1082174"/>
                  <a:gd name="connsiteX6" fmla="*/ 1061990 w 1082132"/>
                  <a:gd name="connsiteY6" fmla="*/ 3452 h 1082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2132" h="1082174">
                    <a:moveTo>
                      <a:pt x="1061990" y="3452"/>
                    </a:moveTo>
                    <a:lnTo>
                      <a:pt x="3458" y="1061983"/>
                    </a:lnTo>
                    <a:cubicBezTo>
                      <a:pt x="-1153" y="1066594"/>
                      <a:pt x="-1153" y="1074105"/>
                      <a:pt x="3458" y="1078716"/>
                    </a:cubicBezTo>
                    <a:cubicBezTo>
                      <a:pt x="8069" y="1083327"/>
                      <a:pt x="15580" y="1083327"/>
                      <a:pt x="20191" y="1078716"/>
                    </a:cubicBezTo>
                    <a:lnTo>
                      <a:pt x="1078675" y="20233"/>
                    </a:lnTo>
                    <a:cubicBezTo>
                      <a:pt x="1083286" y="15622"/>
                      <a:pt x="1083286" y="8111"/>
                      <a:pt x="1078675" y="3500"/>
                    </a:cubicBezTo>
                    <a:cubicBezTo>
                      <a:pt x="1074111" y="-1159"/>
                      <a:pt x="1066601" y="-1159"/>
                      <a:pt x="1061990" y="3452"/>
                    </a:cubicBezTo>
                    <a:close/>
                  </a:path>
                </a:pathLst>
              </a:custGeom>
              <a:grpFill/>
              <a:ln w="4748" cap="flat">
                <a:no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5CAB95E2-2029-45AC-A53F-4DDA2B284A98}"/>
                  </a:ext>
                </a:extLst>
              </p:cNvPr>
              <p:cNvSpPr/>
              <p:nvPr/>
            </p:nvSpPr>
            <p:spPr>
              <a:xfrm>
                <a:off x="1967602" y="1292651"/>
                <a:ext cx="1113459" cy="1113494"/>
              </a:xfrm>
              <a:custGeom>
                <a:avLst/>
                <a:gdLst>
                  <a:gd name="connsiteX0" fmla="*/ 1093268 w 1113459"/>
                  <a:gd name="connsiteY0" fmla="*/ 3494 h 1113494"/>
                  <a:gd name="connsiteX1" fmla="*/ 3458 w 1113459"/>
                  <a:gd name="connsiteY1" fmla="*/ 1093304 h 1113494"/>
                  <a:gd name="connsiteX2" fmla="*/ 3458 w 1113459"/>
                  <a:gd name="connsiteY2" fmla="*/ 1110036 h 1113494"/>
                  <a:gd name="connsiteX3" fmla="*/ 20191 w 1113459"/>
                  <a:gd name="connsiteY3" fmla="*/ 1110036 h 1113494"/>
                  <a:gd name="connsiteX4" fmla="*/ 1110001 w 1113459"/>
                  <a:gd name="connsiteY4" fmla="*/ 20227 h 1113494"/>
                  <a:gd name="connsiteX5" fmla="*/ 1110001 w 1113459"/>
                  <a:gd name="connsiteY5" fmla="*/ 3494 h 1113494"/>
                  <a:gd name="connsiteX6" fmla="*/ 1093268 w 1113459"/>
                  <a:gd name="connsiteY6" fmla="*/ 3494 h 111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3459" h="1113494">
                    <a:moveTo>
                      <a:pt x="1093268" y="3494"/>
                    </a:moveTo>
                    <a:lnTo>
                      <a:pt x="3458" y="1093304"/>
                    </a:lnTo>
                    <a:cubicBezTo>
                      <a:pt x="-1153" y="1097915"/>
                      <a:pt x="-1153" y="1105425"/>
                      <a:pt x="3458" y="1110036"/>
                    </a:cubicBezTo>
                    <a:cubicBezTo>
                      <a:pt x="8069" y="1114647"/>
                      <a:pt x="15580" y="1114647"/>
                      <a:pt x="20191" y="1110036"/>
                    </a:cubicBezTo>
                    <a:lnTo>
                      <a:pt x="1110001" y="20227"/>
                    </a:lnTo>
                    <a:cubicBezTo>
                      <a:pt x="1114612" y="15616"/>
                      <a:pt x="1114612" y="8105"/>
                      <a:pt x="1110001" y="3494"/>
                    </a:cubicBezTo>
                    <a:cubicBezTo>
                      <a:pt x="1105390" y="-1165"/>
                      <a:pt x="1097879" y="-1165"/>
                      <a:pt x="1093268" y="3494"/>
                    </a:cubicBezTo>
                    <a:close/>
                  </a:path>
                </a:pathLst>
              </a:custGeom>
              <a:grpFill/>
              <a:ln w="4748" cap="flat">
                <a:noFill/>
                <a:prstDash val="solid"/>
                <a:miter/>
              </a:ln>
            </p:spPr>
            <p:txBody>
              <a:bodyPr rtlCol="0" anchor="ctr"/>
              <a:lstStyle/>
              <a:p>
                <a:endParaRPr lang="en-US" dirty="0"/>
              </a:p>
            </p:txBody>
          </p:sp>
          <p:sp>
            <p:nvSpPr>
              <p:cNvPr id="130" name="Freeform: Shape 129">
                <a:extLst>
                  <a:ext uri="{FF2B5EF4-FFF2-40B4-BE49-F238E27FC236}">
                    <a16:creationId xmlns:a16="http://schemas.microsoft.com/office/drawing/2014/main" id="{2BB8D838-EDA3-4832-997A-5DADE28A9488}"/>
                  </a:ext>
                </a:extLst>
              </p:cNvPr>
              <p:cNvSpPr/>
              <p:nvPr/>
            </p:nvSpPr>
            <p:spPr>
              <a:xfrm>
                <a:off x="2192352" y="1517401"/>
                <a:ext cx="981832" cy="981867"/>
              </a:xfrm>
              <a:custGeom>
                <a:avLst/>
                <a:gdLst>
                  <a:gd name="connsiteX0" fmla="*/ 961641 w 981832"/>
                  <a:gd name="connsiteY0" fmla="*/ 3494 h 981867"/>
                  <a:gd name="connsiteX1" fmla="*/ 3458 w 981832"/>
                  <a:gd name="connsiteY1" fmla="*/ 961676 h 981867"/>
                  <a:gd name="connsiteX2" fmla="*/ 3458 w 981832"/>
                  <a:gd name="connsiteY2" fmla="*/ 978409 h 981867"/>
                  <a:gd name="connsiteX3" fmla="*/ 20191 w 981832"/>
                  <a:gd name="connsiteY3" fmla="*/ 978409 h 981867"/>
                  <a:gd name="connsiteX4" fmla="*/ 978374 w 981832"/>
                  <a:gd name="connsiteY4" fmla="*/ 20227 h 981867"/>
                  <a:gd name="connsiteX5" fmla="*/ 978374 w 981832"/>
                  <a:gd name="connsiteY5" fmla="*/ 3494 h 981867"/>
                  <a:gd name="connsiteX6" fmla="*/ 961641 w 981832"/>
                  <a:gd name="connsiteY6" fmla="*/ 3494 h 981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832" h="981867">
                    <a:moveTo>
                      <a:pt x="961641" y="3494"/>
                    </a:moveTo>
                    <a:lnTo>
                      <a:pt x="3458" y="961676"/>
                    </a:lnTo>
                    <a:cubicBezTo>
                      <a:pt x="-1153" y="966287"/>
                      <a:pt x="-1153" y="973798"/>
                      <a:pt x="3458" y="978409"/>
                    </a:cubicBezTo>
                    <a:cubicBezTo>
                      <a:pt x="8069" y="983020"/>
                      <a:pt x="15580" y="983020"/>
                      <a:pt x="20191" y="978409"/>
                    </a:cubicBezTo>
                    <a:lnTo>
                      <a:pt x="978374" y="20227"/>
                    </a:lnTo>
                    <a:cubicBezTo>
                      <a:pt x="982985" y="15616"/>
                      <a:pt x="982985" y="8105"/>
                      <a:pt x="978374" y="3494"/>
                    </a:cubicBezTo>
                    <a:cubicBezTo>
                      <a:pt x="973763" y="-1165"/>
                      <a:pt x="966252" y="-1165"/>
                      <a:pt x="961641" y="3494"/>
                    </a:cubicBezTo>
                    <a:close/>
                  </a:path>
                </a:pathLst>
              </a:custGeom>
              <a:grpFill/>
              <a:ln w="4748" cap="flat">
                <a:noFill/>
                <a:prstDash val="solid"/>
                <a:miter/>
              </a:ln>
            </p:spPr>
            <p:txBody>
              <a:bodyPr rtlCol="0" anchor="ctr"/>
              <a:lstStyle/>
              <a:p>
                <a:endParaRPr lang="en-US" dirty="0"/>
              </a:p>
            </p:txBody>
          </p:sp>
          <p:sp>
            <p:nvSpPr>
              <p:cNvPr id="131" name="Freeform: Shape 130">
                <a:extLst>
                  <a:ext uri="{FF2B5EF4-FFF2-40B4-BE49-F238E27FC236}">
                    <a16:creationId xmlns:a16="http://schemas.microsoft.com/office/drawing/2014/main" id="{DDDBDF06-BFD4-4BE7-B141-714FA1F30039}"/>
                  </a:ext>
                </a:extLst>
              </p:cNvPr>
              <p:cNvSpPr/>
              <p:nvPr/>
            </p:nvSpPr>
            <p:spPr>
              <a:xfrm>
                <a:off x="2866223" y="2191307"/>
                <a:ext cx="163927" cy="163927"/>
              </a:xfrm>
              <a:custGeom>
                <a:avLst/>
                <a:gdLst>
                  <a:gd name="connsiteX0" fmla="*/ 143737 w 163927"/>
                  <a:gd name="connsiteY0" fmla="*/ 3458 h 163927"/>
                  <a:gd name="connsiteX1" fmla="*/ 3458 w 163927"/>
                  <a:gd name="connsiteY1" fmla="*/ 143737 h 163927"/>
                  <a:gd name="connsiteX2" fmla="*/ 3458 w 163927"/>
                  <a:gd name="connsiteY2" fmla="*/ 160470 h 163927"/>
                  <a:gd name="connsiteX3" fmla="*/ 20191 w 163927"/>
                  <a:gd name="connsiteY3" fmla="*/ 160470 h 163927"/>
                  <a:gd name="connsiteX4" fmla="*/ 160470 w 163927"/>
                  <a:gd name="connsiteY4" fmla="*/ 20191 h 163927"/>
                  <a:gd name="connsiteX5" fmla="*/ 160470 w 163927"/>
                  <a:gd name="connsiteY5" fmla="*/ 3458 h 163927"/>
                  <a:gd name="connsiteX6" fmla="*/ 143737 w 163927"/>
                  <a:gd name="connsiteY6" fmla="*/ 3458 h 16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927" h="163927">
                    <a:moveTo>
                      <a:pt x="143737" y="3458"/>
                    </a:moveTo>
                    <a:lnTo>
                      <a:pt x="3458" y="143737"/>
                    </a:lnTo>
                    <a:cubicBezTo>
                      <a:pt x="-1153" y="148348"/>
                      <a:pt x="-1153" y="155859"/>
                      <a:pt x="3458" y="160470"/>
                    </a:cubicBezTo>
                    <a:cubicBezTo>
                      <a:pt x="8069" y="165081"/>
                      <a:pt x="15580" y="165081"/>
                      <a:pt x="20191" y="160470"/>
                    </a:cubicBezTo>
                    <a:lnTo>
                      <a:pt x="160470" y="20191"/>
                    </a:lnTo>
                    <a:cubicBezTo>
                      <a:pt x="165081" y="15580"/>
                      <a:pt x="165081" y="8069"/>
                      <a:pt x="160470" y="3458"/>
                    </a:cubicBezTo>
                    <a:cubicBezTo>
                      <a:pt x="155859" y="-1153"/>
                      <a:pt x="148348" y="-1153"/>
                      <a:pt x="143737" y="3458"/>
                    </a:cubicBezTo>
                    <a:close/>
                  </a:path>
                </a:pathLst>
              </a:custGeom>
              <a:grpFill/>
              <a:ln w="4748" cap="flat">
                <a:noFill/>
                <a:prstDash val="solid"/>
                <a:miter/>
              </a:ln>
            </p:spPr>
            <p:txBody>
              <a:bodyPr rtlCol="0" anchor="ctr"/>
              <a:lstStyle/>
              <a:p>
                <a:endParaRPr lang="en-US" dirty="0"/>
              </a:p>
            </p:txBody>
          </p:sp>
          <p:sp>
            <p:nvSpPr>
              <p:cNvPr id="132" name="Freeform: Shape 131">
                <a:extLst>
                  <a:ext uri="{FF2B5EF4-FFF2-40B4-BE49-F238E27FC236}">
                    <a16:creationId xmlns:a16="http://schemas.microsoft.com/office/drawing/2014/main" id="{414C6A17-9DD9-4934-BC4F-6DFBD7DE9B16}"/>
                  </a:ext>
                </a:extLst>
              </p:cNvPr>
              <p:cNvSpPr/>
              <p:nvPr/>
            </p:nvSpPr>
            <p:spPr>
              <a:xfrm>
                <a:off x="2636148" y="1961233"/>
                <a:ext cx="518070" cy="518070"/>
              </a:xfrm>
              <a:custGeom>
                <a:avLst/>
                <a:gdLst>
                  <a:gd name="connsiteX0" fmla="*/ 497880 w 518070"/>
                  <a:gd name="connsiteY0" fmla="*/ 3458 h 518070"/>
                  <a:gd name="connsiteX1" fmla="*/ 3458 w 518070"/>
                  <a:gd name="connsiteY1" fmla="*/ 497880 h 518070"/>
                  <a:gd name="connsiteX2" fmla="*/ 3458 w 518070"/>
                  <a:gd name="connsiteY2" fmla="*/ 514613 h 518070"/>
                  <a:gd name="connsiteX3" fmla="*/ 20191 w 518070"/>
                  <a:gd name="connsiteY3" fmla="*/ 514613 h 518070"/>
                  <a:gd name="connsiteX4" fmla="*/ 514613 w 518070"/>
                  <a:gd name="connsiteY4" fmla="*/ 20191 h 518070"/>
                  <a:gd name="connsiteX5" fmla="*/ 514613 w 518070"/>
                  <a:gd name="connsiteY5" fmla="*/ 3458 h 518070"/>
                  <a:gd name="connsiteX6" fmla="*/ 497880 w 518070"/>
                  <a:gd name="connsiteY6" fmla="*/ 3458 h 51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070" h="518070">
                    <a:moveTo>
                      <a:pt x="497880" y="3458"/>
                    </a:moveTo>
                    <a:lnTo>
                      <a:pt x="3458" y="497880"/>
                    </a:lnTo>
                    <a:cubicBezTo>
                      <a:pt x="-1153" y="502491"/>
                      <a:pt x="-1153" y="510002"/>
                      <a:pt x="3458" y="514613"/>
                    </a:cubicBezTo>
                    <a:cubicBezTo>
                      <a:pt x="8069" y="519224"/>
                      <a:pt x="15580" y="519224"/>
                      <a:pt x="20191" y="514613"/>
                    </a:cubicBezTo>
                    <a:lnTo>
                      <a:pt x="514613" y="20191"/>
                    </a:lnTo>
                    <a:cubicBezTo>
                      <a:pt x="519224" y="15580"/>
                      <a:pt x="519224" y="8069"/>
                      <a:pt x="514613" y="3458"/>
                    </a:cubicBezTo>
                    <a:cubicBezTo>
                      <a:pt x="510002" y="-1153"/>
                      <a:pt x="502539" y="-1153"/>
                      <a:pt x="497880" y="3458"/>
                    </a:cubicBezTo>
                    <a:close/>
                  </a:path>
                </a:pathLst>
              </a:custGeom>
              <a:grpFill/>
              <a:ln w="4748" cap="flat">
                <a:noFill/>
                <a:prstDash val="solid"/>
                <a:miter/>
              </a:ln>
            </p:spPr>
            <p:txBody>
              <a:bodyPr rtlCol="0" anchor="ctr"/>
              <a:lstStyle/>
              <a:p>
                <a:endParaRPr lang="en-US" dirty="0"/>
              </a:p>
            </p:txBody>
          </p:sp>
          <p:sp>
            <p:nvSpPr>
              <p:cNvPr id="133" name="Freeform: Shape 132">
                <a:extLst>
                  <a:ext uri="{FF2B5EF4-FFF2-40B4-BE49-F238E27FC236}">
                    <a16:creationId xmlns:a16="http://schemas.microsoft.com/office/drawing/2014/main" id="{8CC7BBB5-8556-43C5-841B-564DFF69AA61}"/>
                  </a:ext>
                </a:extLst>
              </p:cNvPr>
              <p:cNvSpPr/>
              <p:nvPr/>
            </p:nvSpPr>
            <p:spPr>
              <a:xfrm>
                <a:off x="2281958" y="1607042"/>
                <a:ext cx="908579" cy="908578"/>
              </a:xfrm>
              <a:custGeom>
                <a:avLst/>
                <a:gdLst>
                  <a:gd name="connsiteX0" fmla="*/ 888388 w 908579"/>
                  <a:gd name="connsiteY0" fmla="*/ 3458 h 908578"/>
                  <a:gd name="connsiteX1" fmla="*/ 3458 w 908579"/>
                  <a:gd name="connsiteY1" fmla="*/ 888388 h 908578"/>
                  <a:gd name="connsiteX2" fmla="*/ 3458 w 908579"/>
                  <a:gd name="connsiteY2" fmla="*/ 905121 h 908578"/>
                  <a:gd name="connsiteX3" fmla="*/ 20191 w 908579"/>
                  <a:gd name="connsiteY3" fmla="*/ 905121 h 908578"/>
                  <a:gd name="connsiteX4" fmla="*/ 905121 w 908579"/>
                  <a:gd name="connsiteY4" fmla="*/ 20191 h 908578"/>
                  <a:gd name="connsiteX5" fmla="*/ 905121 w 908579"/>
                  <a:gd name="connsiteY5" fmla="*/ 3458 h 908578"/>
                  <a:gd name="connsiteX6" fmla="*/ 888388 w 908579"/>
                  <a:gd name="connsiteY6" fmla="*/ 3458 h 90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579" h="908578">
                    <a:moveTo>
                      <a:pt x="888388" y="3458"/>
                    </a:moveTo>
                    <a:lnTo>
                      <a:pt x="3458" y="888388"/>
                    </a:lnTo>
                    <a:cubicBezTo>
                      <a:pt x="-1153" y="892999"/>
                      <a:pt x="-1153" y="900510"/>
                      <a:pt x="3458" y="905121"/>
                    </a:cubicBezTo>
                    <a:cubicBezTo>
                      <a:pt x="8069" y="909732"/>
                      <a:pt x="15580" y="909732"/>
                      <a:pt x="20191" y="905121"/>
                    </a:cubicBezTo>
                    <a:lnTo>
                      <a:pt x="905121" y="20191"/>
                    </a:lnTo>
                    <a:cubicBezTo>
                      <a:pt x="909732" y="15580"/>
                      <a:pt x="909732" y="8069"/>
                      <a:pt x="905121" y="3458"/>
                    </a:cubicBezTo>
                    <a:cubicBezTo>
                      <a:pt x="900510" y="-1153"/>
                      <a:pt x="892999" y="-1153"/>
                      <a:pt x="888388" y="3458"/>
                    </a:cubicBezTo>
                    <a:close/>
                  </a:path>
                </a:pathLst>
              </a:custGeom>
              <a:grpFill/>
              <a:ln w="4748" cap="flat">
                <a:no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80E5E3EB-671D-4054-BA1E-286183A8F58D}"/>
                  </a:ext>
                </a:extLst>
              </p:cNvPr>
              <p:cNvSpPr/>
              <p:nvPr/>
            </p:nvSpPr>
            <p:spPr>
              <a:xfrm>
                <a:off x="2496393" y="1821441"/>
                <a:ext cx="691672" cy="691707"/>
              </a:xfrm>
              <a:custGeom>
                <a:avLst/>
                <a:gdLst>
                  <a:gd name="connsiteX0" fmla="*/ 671482 w 691672"/>
                  <a:gd name="connsiteY0" fmla="*/ 3494 h 691707"/>
                  <a:gd name="connsiteX1" fmla="*/ 3458 w 691672"/>
                  <a:gd name="connsiteY1" fmla="*/ 671517 h 691707"/>
                  <a:gd name="connsiteX2" fmla="*/ 3458 w 691672"/>
                  <a:gd name="connsiteY2" fmla="*/ 688250 h 691707"/>
                  <a:gd name="connsiteX3" fmla="*/ 20191 w 691672"/>
                  <a:gd name="connsiteY3" fmla="*/ 688250 h 691707"/>
                  <a:gd name="connsiteX4" fmla="*/ 688214 w 691672"/>
                  <a:gd name="connsiteY4" fmla="*/ 20227 h 691707"/>
                  <a:gd name="connsiteX5" fmla="*/ 688214 w 691672"/>
                  <a:gd name="connsiteY5" fmla="*/ 3494 h 691707"/>
                  <a:gd name="connsiteX6" fmla="*/ 671482 w 691672"/>
                  <a:gd name="connsiteY6" fmla="*/ 3494 h 69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672" h="691707">
                    <a:moveTo>
                      <a:pt x="671482" y="3494"/>
                    </a:moveTo>
                    <a:lnTo>
                      <a:pt x="3458" y="671517"/>
                    </a:lnTo>
                    <a:cubicBezTo>
                      <a:pt x="-1153" y="676128"/>
                      <a:pt x="-1153" y="683639"/>
                      <a:pt x="3458" y="688250"/>
                    </a:cubicBezTo>
                    <a:cubicBezTo>
                      <a:pt x="8069" y="692861"/>
                      <a:pt x="15580" y="692861"/>
                      <a:pt x="20191" y="688250"/>
                    </a:cubicBezTo>
                    <a:lnTo>
                      <a:pt x="688214" y="20227"/>
                    </a:lnTo>
                    <a:cubicBezTo>
                      <a:pt x="692825" y="15616"/>
                      <a:pt x="692825" y="8105"/>
                      <a:pt x="688214" y="3494"/>
                    </a:cubicBezTo>
                    <a:cubicBezTo>
                      <a:pt x="683603" y="-1165"/>
                      <a:pt x="676093" y="-1165"/>
                      <a:pt x="671482" y="3494"/>
                    </a:cubicBezTo>
                    <a:close/>
                  </a:path>
                </a:pathLst>
              </a:custGeom>
              <a:grpFill/>
              <a:ln w="4748" cap="flat">
                <a:noFill/>
                <a:prstDash val="solid"/>
                <a:miter/>
              </a:ln>
            </p:spPr>
            <p:txBody>
              <a:bodyPr rtlCol="0" anchor="ctr"/>
              <a:lstStyle/>
              <a:p>
                <a:endParaRPr lang="en-US" dirty="0"/>
              </a:p>
            </p:txBody>
          </p:sp>
          <p:sp>
            <p:nvSpPr>
              <p:cNvPr id="135" name="Freeform: Shape 134">
                <a:extLst>
                  <a:ext uri="{FF2B5EF4-FFF2-40B4-BE49-F238E27FC236}">
                    <a16:creationId xmlns:a16="http://schemas.microsoft.com/office/drawing/2014/main" id="{6C2D727A-6D4D-4F39-8EE3-D4BAB5975B32}"/>
                  </a:ext>
                </a:extLst>
              </p:cNvPr>
              <p:cNvSpPr/>
              <p:nvPr/>
            </p:nvSpPr>
            <p:spPr>
              <a:xfrm>
                <a:off x="2381878" y="1706963"/>
                <a:ext cx="814695" cy="814695"/>
              </a:xfrm>
              <a:custGeom>
                <a:avLst/>
                <a:gdLst>
                  <a:gd name="connsiteX0" fmla="*/ 794505 w 814695"/>
                  <a:gd name="connsiteY0" fmla="*/ 3458 h 814695"/>
                  <a:gd name="connsiteX1" fmla="*/ 3458 w 814695"/>
                  <a:gd name="connsiteY1" fmla="*/ 794504 h 814695"/>
                  <a:gd name="connsiteX2" fmla="*/ 3458 w 814695"/>
                  <a:gd name="connsiteY2" fmla="*/ 811237 h 814695"/>
                  <a:gd name="connsiteX3" fmla="*/ 20191 w 814695"/>
                  <a:gd name="connsiteY3" fmla="*/ 811237 h 814695"/>
                  <a:gd name="connsiteX4" fmla="*/ 811237 w 814695"/>
                  <a:gd name="connsiteY4" fmla="*/ 20191 h 814695"/>
                  <a:gd name="connsiteX5" fmla="*/ 811237 w 814695"/>
                  <a:gd name="connsiteY5" fmla="*/ 3458 h 814695"/>
                  <a:gd name="connsiteX6" fmla="*/ 794505 w 814695"/>
                  <a:gd name="connsiteY6" fmla="*/ 3458 h 81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4695" h="814695">
                    <a:moveTo>
                      <a:pt x="794505" y="3458"/>
                    </a:moveTo>
                    <a:lnTo>
                      <a:pt x="3458" y="794504"/>
                    </a:lnTo>
                    <a:cubicBezTo>
                      <a:pt x="-1153" y="799115"/>
                      <a:pt x="-1153" y="806626"/>
                      <a:pt x="3458" y="811237"/>
                    </a:cubicBezTo>
                    <a:cubicBezTo>
                      <a:pt x="8069" y="815848"/>
                      <a:pt x="15580" y="815848"/>
                      <a:pt x="20191" y="811237"/>
                    </a:cubicBezTo>
                    <a:lnTo>
                      <a:pt x="811237" y="20191"/>
                    </a:lnTo>
                    <a:cubicBezTo>
                      <a:pt x="815848" y="15580"/>
                      <a:pt x="815848" y="8069"/>
                      <a:pt x="811237" y="3458"/>
                    </a:cubicBezTo>
                    <a:cubicBezTo>
                      <a:pt x="806626" y="-1153"/>
                      <a:pt x="799163" y="-1153"/>
                      <a:pt x="794505" y="3458"/>
                    </a:cubicBezTo>
                    <a:close/>
                  </a:path>
                </a:pathLst>
              </a:custGeom>
              <a:grpFill/>
              <a:ln w="4748" cap="flat">
                <a:noFill/>
                <a:prstDash val="solid"/>
                <a:miter/>
              </a:ln>
            </p:spPr>
            <p:txBody>
              <a:bodyPr rtlCol="0" anchor="ctr"/>
              <a:lstStyle/>
              <a:p>
                <a:endParaRPr lang="en-US" dirty="0"/>
              </a:p>
            </p:txBody>
          </p:sp>
          <p:sp>
            <p:nvSpPr>
              <p:cNvPr id="136" name="Freeform: Shape 135">
                <a:extLst>
                  <a:ext uri="{FF2B5EF4-FFF2-40B4-BE49-F238E27FC236}">
                    <a16:creationId xmlns:a16="http://schemas.microsoft.com/office/drawing/2014/main" id="{5A1878E4-CF7D-407C-AE93-10268388800A}"/>
                  </a:ext>
                </a:extLst>
              </p:cNvPr>
              <p:cNvSpPr/>
              <p:nvPr/>
            </p:nvSpPr>
            <p:spPr>
              <a:xfrm>
                <a:off x="1904427" y="1229512"/>
                <a:ext cx="1133757" cy="1133756"/>
              </a:xfrm>
              <a:custGeom>
                <a:avLst/>
                <a:gdLst>
                  <a:gd name="connsiteX0" fmla="*/ 1113566 w 1133757"/>
                  <a:gd name="connsiteY0" fmla="*/ 3458 h 1133756"/>
                  <a:gd name="connsiteX1" fmla="*/ 3458 w 1133757"/>
                  <a:gd name="connsiteY1" fmla="*/ 1113566 h 1133756"/>
                  <a:gd name="connsiteX2" fmla="*/ 3458 w 1133757"/>
                  <a:gd name="connsiteY2" fmla="*/ 1130298 h 1133756"/>
                  <a:gd name="connsiteX3" fmla="*/ 20191 w 1133757"/>
                  <a:gd name="connsiteY3" fmla="*/ 1130298 h 1133756"/>
                  <a:gd name="connsiteX4" fmla="*/ 1130299 w 1133757"/>
                  <a:gd name="connsiteY4" fmla="*/ 20191 h 1133756"/>
                  <a:gd name="connsiteX5" fmla="*/ 1130299 w 1133757"/>
                  <a:gd name="connsiteY5" fmla="*/ 3458 h 1133756"/>
                  <a:gd name="connsiteX6" fmla="*/ 1113566 w 1133757"/>
                  <a:gd name="connsiteY6" fmla="*/ 3458 h 113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3757" h="1133756">
                    <a:moveTo>
                      <a:pt x="1113566" y="3458"/>
                    </a:moveTo>
                    <a:lnTo>
                      <a:pt x="3458" y="1113566"/>
                    </a:lnTo>
                    <a:cubicBezTo>
                      <a:pt x="-1153" y="1118177"/>
                      <a:pt x="-1153" y="1125687"/>
                      <a:pt x="3458" y="1130298"/>
                    </a:cubicBezTo>
                    <a:cubicBezTo>
                      <a:pt x="8069" y="1134909"/>
                      <a:pt x="15580" y="1134909"/>
                      <a:pt x="20191" y="1130298"/>
                    </a:cubicBezTo>
                    <a:lnTo>
                      <a:pt x="1130299" y="20191"/>
                    </a:lnTo>
                    <a:cubicBezTo>
                      <a:pt x="1134910" y="15580"/>
                      <a:pt x="1134910" y="8069"/>
                      <a:pt x="1130299" y="3458"/>
                    </a:cubicBezTo>
                    <a:cubicBezTo>
                      <a:pt x="1125688" y="-1153"/>
                      <a:pt x="1118225" y="-1153"/>
                      <a:pt x="1113566" y="3458"/>
                    </a:cubicBezTo>
                    <a:close/>
                  </a:path>
                </a:pathLst>
              </a:custGeom>
              <a:grpFill/>
              <a:ln w="4748" cap="flat">
                <a:noFill/>
                <a:prstDash val="solid"/>
                <a:miter/>
              </a:ln>
            </p:spPr>
            <p:txBody>
              <a:bodyPr rtlCol="0" anchor="ctr"/>
              <a:lstStyle/>
              <a:p>
                <a:endParaRPr lang="en-US" dirty="0"/>
              </a:p>
            </p:txBody>
          </p:sp>
          <p:sp>
            <p:nvSpPr>
              <p:cNvPr id="137" name="Freeform: Shape 136">
                <a:extLst>
                  <a:ext uri="{FF2B5EF4-FFF2-40B4-BE49-F238E27FC236}">
                    <a16:creationId xmlns:a16="http://schemas.microsoft.com/office/drawing/2014/main" id="{8A36D269-D895-4BA4-AADC-86F4AC95D11B}"/>
                  </a:ext>
                </a:extLst>
              </p:cNvPr>
              <p:cNvSpPr/>
              <p:nvPr/>
            </p:nvSpPr>
            <p:spPr>
              <a:xfrm>
                <a:off x="1846480" y="1171565"/>
                <a:ext cx="1143739" cy="1143739"/>
              </a:xfrm>
              <a:custGeom>
                <a:avLst/>
                <a:gdLst>
                  <a:gd name="connsiteX0" fmla="*/ 1123549 w 1143739"/>
                  <a:gd name="connsiteY0" fmla="*/ 3458 h 1143739"/>
                  <a:gd name="connsiteX1" fmla="*/ 3458 w 1143739"/>
                  <a:gd name="connsiteY1" fmla="*/ 1123548 h 1143739"/>
                  <a:gd name="connsiteX2" fmla="*/ 3458 w 1143739"/>
                  <a:gd name="connsiteY2" fmla="*/ 1140281 h 1143739"/>
                  <a:gd name="connsiteX3" fmla="*/ 20191 w 1143739"/>
                  <a:gd name="connsiteY3" fmla="*/ 1140281 h 1143739"/>
                  <a:gd name="connsiteX4" fmla="*/ 1140282 w 1143739"/>
                  <a:gd name="connsiteY4" fmla="*/ 20191 h 1143739"/>
                  <a:gd name="connsiteX5" fmla="*/ 1140282 w 1143739"/>
                  <a:gd name="connsiteY5" fmla="*/ 3458 h 1143739"/>
                  <a:gd name="connsiteX6" fmla="*/ 1123549 w 1143739"/>
                  <a:gd name="connsiteY6" fmla="*/ 3458 h 114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739" h="1143739">
                    <a:moveTo>
                      <a:pt x="1123549" y="3458"/>
                    </a:moveTo>
                    <a:lnTo>
                      <a:pt x="3458" y="1123548"/>
                    </a:lnTo>
                    <a:cubicBezTo>
                      <a:pt x="-1153" y="1128159"/>
                      <a:pt x="-1153" y="1135670"/>
                      <a:pt x="3458" y="1140281"/>
                    </a:cubicBezTo>
                    <a:cubicBezTo>
                      <a:pt x="8069" y="1144892"/>
                      <a:pt x="15580" y="1144892"/>
                      <a:pt x="20191" y="1140281"/>
                    </a:cubicBezTo>
                    <a:lnTo>
                      <a:pt x="1140282" y="20191"/>
                    </a:lnTo>
                    <a:cubicBezTo>
                      <a:pt x="1144893" y="15580"/>
                      <a:pt x="1144893" y="8069"/>
                      <a:pt x="1140282" y="3458"/>
                    </a:cubicBezTo>
                    <a:cubicBezTo>
                      <a:pt x="1135671" y="-1153"/>
                      <a:pt x="1128160" y="-1153"/>
                      <a:pt x="1123549" y="3458"/>
                    </a:cubicBezTo>
                    <a:close/>
                  </a:path>
                </a:pathLst>
              </a:custGeom>
              <a:grpFill/>
              <a:ln w="4748" cap="flat">
                <a:noFill/>
                <a:prstDash val="solid"/>
                <a:miter/>
              </a:ln>
            </p:spPr>
            <p:txBody>
              <a:bodyPr rtlCol="0" anchor="ctr"/>
              <a:lstStyle/>
              <a:p>
                <a:endParaRPr lang="en-US" dirty="0"/>
              </a:p>
            </p:txBody>
          </p:sp>
          <p:sp>
            <p:nvSpPr>
              <p:cNvPr id="138" name="Freeform: Shape 137">
                <a:extLst>
                  <a:ext uri="{FF2B5EF4-FFF2-40B4-BE49-F238E27FC236}">
                    <a16:creationId xmlns:a16="http://schemas.microsoft.com/office/drawing/2014/main" id="{DAA1D430-817E-4202-B948-167E242D8279}"/>
                  </a:ext>
                </a:extLst>
              </p:cNvPr>
              <p:cNvSpPr/>
              <p:nvPr/>
            </p:nvSpPr>
            <p:spPr>
              <a:xfrm>
                <a:off x="1629479" y="954564"/>
                <a:ext cx="518070" cy="518070"/>
              </a:xfrm>
              <a:custGeom>
                <a:avLst/>
                <a:gdLst>
                  <a:gd name="connsiteX0" fmla="*/ 20191 w 518070"/>
                  <a:gd name="connsiteY0" fmla="*/ 514613 h 518070"/>
                  <a:gd name="connsiteX1" fmla="*/ 514613 w 518070"/>
                  <a:gd name="connsiteY1" fmla="*/ 20191 h 518070"/>
                  <a:gd name="connsiteX2" fmla="*/ 514613 w 518070"/>
                  <a:gd name="connsiteY2" fmla="*/ 3458 h 518070"/>
                  <a:gd name="connsiteX3" fmla="*/ 497880 w 518070"/>
                  <a:gd name="connsiteY3" fmla="*/ 3458 h 518070"/>
                  <a:gd name="connsiteX4" fmla="*/ 3458 w 518070"/>
                  <a:gd name="connsiteY4" fmla="*/ 497880 h 518070"/>
                  <a:gd name="connsiteX5" fmla="*/ 3458 w 518070"/>
                  <a:gd name="connsiteY5" fmla="*/ 514613 h 518070"/>
                  <a:gd name="connsiteX6" fmla="*/ 20191 w 518070"/>
                  <a:gd name="connsiteY6" fmla="*/ 514613 h 51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070" h="518070">
                    <a:moveTo>
                      <a:pt x="20191" y="514613"/>
                    </a:moveTo>
                    <a:lnTo>
                      <a:pt x="514613" y="20191"/>
                    </a:lnTo>
                    <a:cubicBezTo>
                      <a:pt x="519224" y="15580"/>
                      <a:pt x="519224" y="8069"/>
                      <a:pt x="514613" y="3458"/>
                    </a:cubicBezTo>
                    <a:cubicBezTo>
                      <a:pt x="510002" y="-1153"/>
                      <a:pt x="502491" y="-1153"/>
                      <a:pt x="497880" y="3458"/>
                    </a:cubicBezTo>
                    <a:lnTo>
                      <a:pt x="3458" y="497880"/>
                    </a:lnTo>
                    <a:cubicBezTo>
                      <a:pt x="-1153" y="502491"/>
                      <a:pt x="-1153" y="510002"/>
                      <a:pt x="3458" y="514613"/>
                    </a:cubicBezTo>
                    <a:cubicBezTo>
                      <a:pt x="8069" y="519223"/>
                      <a:pt x="15580" y="519223"/>
                      <a:pt x="20191" y="514613"/>
                    </a:cubicBezTo>
                    <a:close/>
                  </a:path>
                </a:pathLst>
              </a:custGeom>
              <a:grpFill/>
              <a:ln w="4748" cap="flat">
                <a:noFill/>
                <a:prstDash val="solid"/>
                <a:miter/>
              </a:ln>
            </p:spPr>
            <p:txBody>
              <a:bodyPr rtlCol="0" anchor="ctr"/>
              <a:lstStyle/>
              <a:p>
                <a:endParaRPr lang="en-US" dirty="0"/>
              </a:p>
            </p:txBody>
          </p:sp>
          <p:sp>
            <p:nvSpPr>
              <p:cNvPr id="139" name="Freeform: Shape 138">
                <a:extLst>
                  <a:ext uri="{FF2B5EF4-FFF2-40B4-BE49-F238E27FC236}">
                    <a16:creationId xmlns:a16="http://schemas.microsoft.com/office/drawing/2014/main" id="{C640B2C0-3063-432B-A127-D382BFA8411A}"/>
                  </a:ext>
                </a:extLst>
              </p:cNvPr>
              <p:cNvSpPr/>
              <p:nvPr/>
            </p:nvSpPr>
            <p:spPr>
              <a:xfrm>
                <a:off x="1753595" y="1078632"/>
                <a:ext cx="163927" cy="163963"/>
              </a:xfrm>
              <a:custGeom>
                <a:avLst/>
                <a:gdLst>
                  <a:gd name="connsiteX0" fmla="*/ 20191 w 163927"/>
                  <a:gd name="connsiteY0" fmla="*/ 160470 h 163963"/>
                  <a:gd name="connsiteX1" fmla="*/ 160470 w 163927"/>
                  <a:gd name="connsiteY1" fmla="*/ 20191 h 163963"/>
                  <a:gd name="connsiteX2" fmla="*/ 160470 w 163927"/>
                  <a:gd name="connsiteY2" fmla="*/ 3458 h 163963"/>
                  <a:gd name="connsiteX3" fmla="*/ 143737 w 163927"/>
                  <a:gd name="connsiteY3" fmla="*/ 3458 h 163963"/>
                  <a:gd name="connsiteX4" fmla="*/ 3458 w 163927"/>
                  <a:gd name="connsiteY4" fmla="*/ 143737 h 163963"/>
                  <a:gd name="connsiteX5" fmla="*/ 3458 w 163927"/>
                  <a:gd name="connsiteY5" fmla="*/ 160470 h 163963"/>
                  <a:gd name="connsiteX6" fmla="*/ 20191 w 163927"/>
                  <a:gd name="connsiteY6" fmla="*/ 160470 h 16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927" h="163963">
                    <a:moveTo>
                      <a:pt x="20191" y="160470"/>
                    </a:moveTo>
                    <a:lnTo>
                      <a:pt x="160470" y="20191"/>
                    </a:lnTo>
                    <a:cubicBezTo>
                      <a:pt x="165081" y="15580"/>
                      <a:pt x="165081" y="8069"/>
                      <a:pt x="160470" y="3458"/>
                    </a:cubicBezTo>
                    <a:cubicBezTo>
                      <a:pt x="155859" y="-1153"/>
                      <a:pt x="148348" y="-1153"/>
                      <a:pt x="143737" y="3458"/>
                    </a:cubicBezTo>
                    <a:lnTo>
                      <a:pt x="3458" y="143737"/>
                    </a:lnTo>
                    <a:cubicBezTo>
                      <a:pt x="-1153" y="148348"/>
                      <a:pt x="-1153" y="155859"/>
                      <a:pt x="3458" y="160470"/>
                    </a:cubicBezTo>
                    <a:cubicBezTo>
                      <a:pt x="8069" y="165128"/>
                      <a:pt x="15532" y="165128"/>
                      <a:pt x="20191" y="160470"/>
                    </a:cubicBezTo>
                    <a:close/>
                  </a:path>
                </a:pathLst>
              </a:custGeom>
              <a:grpFill/>
              <a:ln w="4748" cap="flat">
                <a:noFill/>
                <a:prstDash val="solid"/>
                <a:miter/>
              </a:ln>
            </p:spPr>
            <p:txBody>
              <a:bodyPr rtlCol="0" anchor="ctr"/>
              <a:lstStyle/>
              <a:p>
                <a:endParaRPr lang="en-US" dirty="0"/>
              </a:p>
            </p:txBody>
          </p:sp>
          <p:sp>
            <p:nvSpPr>
              <p:cNvPr id="140" name="Freeform: Shape 139">
                <a:extLst>
                  <a:ext uri="{FF2B5EF4-FFF2-40B4-BE49-F238E27FC236}">
                    <a16:creationId xmlns:a16="http://schemas.microsoft.com/office/drawing/2014/main" id="{D073D7F7-48A7-4AAD-9E59-924F6690E904}"/>
                  </a:ext>
                </a:extLst>
              </p:cNvPr>
              <p:cNvSpPr/>
              <p:nvPr/>
            </p:nvSpPr>
            <p:spPr>
              <a:xfrm>
                <a:off x="1593161" y="918294"/>
                <a:ext cx="908579" cy="908566"/>
              </a:xfrm>
              <a:custGeom>
                <a:avLst/>
                <a:gdLst>
                  <a:gd name="connsiteX0" fmla="*/ 20238 w 908579"/>
                  <a:gd name="connsiteY0" fmla="*/ 905073 h 908566"/>
                  <a:gd name="connsiteX1" fmla="*/ 905121 w 908579"/>
                  <a:gd name="connsiteY1" fmla="*/ 20191 h 908566"/>
                  <a:gd name="connsiteX2" fmla="*/ 905121 w 908579"/>
                  <a:gd name="connsiteY2" fmla="*/ 3458 h 908566"/>
                  <a:gd name="connsiteX3" fmla="*/ 888388 w 908579"/>
                  <a:gd name="connsiteY3" fmla="*/ 3458 h 908566"/>
                  <a:gd name="connsiteX4" fmla="*/ 3458 w 908579"/>
                  <a:gd name="connsiteY4" fmla="*/ 888340 h 908566"/>
                  <a:gd name="connsiteX5" fmla="*/ 3458 w 908579"/>
                  <a:gd name="connsiteY5" fmla="*/ 905073 h 908566"/>
                  <a:gd name="connsiteX6" fmla="*/ 20238 w 908579"/>
                  <a:gd name="connsiteY6" fmla="*/ 905073 h 90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579" h="908566">
                    <a:moveTo>
                      <a:pt x="20238" y="905073"/>
                    </a:moveTo>
                    <a:lnTo>
                      <a:pt x="905121" y="20191"/>
                    </a:lnTo>
                    <a:cubicBezTo>
                      <a:pt x="909732" y="15580"/>
                      <a:pt x="909732" y="8069"/>
                      <a:pt x="905121" y="3458"/>
                    </a:cubicBezTo>
                    <a:cubicBezTo>
                      <a:pt x="900510" y="-1153"/>
                      <a:pt x="892999" y="-1153"/>
                      <a:pt x="888388" y="3458"/>
                    </a:cubicBezTo>
                    <a:lnTo>
                      <a:pt x="3458" y="888340"/>
                    </a:lnTo>
                    <a:cubicBezTo>
                      <a:pt x="-1153" y="892951"/>
                      <a:pt x="-1153" y="900462"/>
                      <a:pt x="3458" y="905073"/>
                    </a:cubicBezTo>
                    <a:cubicBezTo>
                      <a:pt x="8117" y="909731"/>
                      <a:pt x="15580" y="909731"/>
                      <a:pt x="20238" y="905073"/>
                    </a:cubicBezTo>
                    <a:close/>
                  </a:path>
                </a:pathLst>
              </a:custGeom>
              <a:grpFill/>
              <a:ln w="4748" cap="flat">
                <a:noFill/>
                <a:prstDash val="solid"/>
                <a:miter/>
              </a:ln>
            </p:spPr>
            <p:txBody>
              <a:bodyPr rtlCol="0" anchor="ctr"/>
              <a:lstStyle/>
              <a:p>
                <a:endParaRPr lang="en-US" dirty="0"/>
              </a:p>
            </p:txBody>
          </p:sp>
          <p:sp>
            <p:nvSpPr>
              <p:cNvPr id="141" name="Freeform: Shape 140">
                <a:extLst>
                  <a:ext uri="{FF2B5EF4-FFF2-40B4-BE49-F238E27FC236}">
                    <a16:creationId xmlns:a16="http://schemas.microsoft.com/office/drawing/2014/main" id="{03A5E097-D145-4DD0-B668-517F6572FE31}"/>
                  </a:ext>
                </a:extLst>
              </p:cNvPr>
              <p:cNvSpPr/>
              <p:nvPr/>
            </p:nvSpPr>
            <p:spPr>
              <a:xfrm>
                <a:off x="1587124" y="912209"/>
                <a:ext cx="814743" cy="814736"/>
              </a:xfrm>
              <a:custGeom>
                <a:avLst/>
                <a:gdLst>
                  <a:gd name="connsiteX0" fmla="*/ 20191 w 814743"/>
                  <a:gd name="connsiteY0" fmla="*/ 811285 h 814736"/>
                  <a:gd name="connsiteX1" fmla="*/ 811285 w 814743"/>
                  <a:gd name="connsiteY1" fmla="*/ 20191 h 814736"/>
                  <a:gd name="connsiteX2" fmla="*/ 811285 w 814743"/>
                  <a:gd name="connsiteY2" fmla="*/ 3458 h 814736"/>
                  <a:gd name="connsiteX3" fmla="*/ 794552 w 814743"/>
                  <a:gd name="connsiteY3" fmla="*/ 3458 h 814736"/>
                  <a:gd name="connsiteX4" fmla="*/ 3458 w 814743"/>
                  <a:gd name="connsiteY4" fmla="*/ 794504 h 814736"/>
                  <a:gd name="connsiteX5" fmla="*/ 3458 w 814743"/>
                  <a:gd name="connsiteY5" fmla="*/ 811237 h 814736"/>
                  <a:gd name="connsiteX6" fmla="*/ 20191 w 814743"/>
                  <a:gd name="connsiteY6" fmla="*/ 811285 h 8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4743" h="814736">
                    <a:moveTo>
                      <a:pt x="20191" y="811285"/>
                    </a:moveTo>
                    <a:lnTo>
                      <a:pt x="811285" y="20191"/>
                    </a:lnTo>
                    <a:cubicBezTo>
                      <a:pt x="815896" y="15580"/>
                      <a:pt x="815896" y="8069"/>
                      <a:pt x="811285" y="3458"/>
                    </a:cubicBezTo>
                    <a:cubicBezTo>
                      <a:pt x="806674" y="-1153"/>
                      <a:pt x="799163" y="-1153"/>
                      <a:pt x="794552" y="3458"/>
                    </a:cubicBezTo>
                    <a:lnTo>
                      <a:pt x="3458" y="794504"/>
                    </a:lnTo>
                    <a:cubicBezTo>
                      <a:pt x="-1153" y="799115"/>
                      <a:pt x="-1153" y="806626"/>
                      <a:pt x="3458" y="811237"/>
                    </a:cubicBezTo>
                    <a:cubicBezTo>
                      <a:pt x="8069" y="815895"/>
                      <a:pt x="15580" y="815895"/>
                      <a:pt x="20191" y="811285"/>
                    </a:cubicBezTo>
                    <a:close/>
                  </a:path>
                </a:pathLst>
              </a:custGeom>
              <a:grpFill/>
              <a:ln w="4748" cap="flat">
                <a:noFill/>
                <a:prstDash val="solid"/>
                <a:miter/>
              </a:ln>
            </p:spPr>
            <p:txBody>
              <a:bodyPr rtlCol="0" anchor="ctr"/>
              <a:lstStyle/>
              <a:p>
                <a:endParaRPr lang="en-US" dirty="0"/>
              </a:p>
            </p:txBody>
          </p:sp>
          <p:sp>
            <p:nvSpPr>
              <p:cNvPr id="142" name="Freeform: Shape 141">
                <a:extLst>
                  <a:ext uri="{FF2B5EF4-FFF2-40B4-BE49-F238E27FC236}">
                    <a16:creationId xmlns:a16="http://schemas.microsoft.com/office/drawing/2014/main" id="{042EAF03-5169-4229-B8F2-441A6CE0D481}"/>
                  </a:ext>
                </a:extLst>
              </p:cNvPr>
              <p:cNvSpPr/>
              <p:nvPr/>
            </p:nvSpPr>
            <p:spPr>
              <a:xfrm>
                <a:off x="1595633" y="920765"/>
                <a:ext cx="691719" cy="691666"/>
              </a:xfrm>
              <a:custGeom>
                <a:avLst/>
                <a:gdLst>
                  <a:gd name="connsiteX0" fmla="*/ 20238 w 691719"/>
                  <a:gd name="connsiteY0" fmla="*/ 688214 h 691666"/>
                  <a:gd name="connsiteX1" fmla="*/ 688262 w 691719"/>
                  <a:gd name="connsiteY1" fmla="*/ 20191 h 691666"/>
                  <a:gd name="connsiteX2" fmla="*/ 688262 w 691719"/>
                  <a:gd name="connsiteY2" fmla="*/ 3458 h 691666"/>
                  <a:gd name="connsiteX3" fmla="*/ 671529 w 691719"/>
                  <a:gd name="connsiteY3" fmla="*/ 3458 h 691666"/>
                  <a:gd name="connsiteX4" fmla="*/ 3458 w 691719"/>
                  <a:gd name="connsiteY4" fmla="*/ 671434 h 691666"/>
                  <a:gd name="connsiteX5" fmla="*/ 3458 w 691719"/>
                  <a:gd name="connsiteY5" fmla="*/ 688166 h 691666"/>
                  <a:gd name="connsiteX6" fmla="*/ 20238 w 691719"/>
                  <a:gd name="connsiteY6" fmla="*/ 688214 h 691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719" h="691666">
                    <a:moveTo>
                      <a:pt x="20238" y="688214"/>
                    </a:moveTo>
                    <a:lnTo>
                      <a:pt x="688262" y="20191"/>
                    </a:lnTo>
                    <a:cubicBezTo>
                      <a:pt x="692873" y="15580"/>
                      <a:pt x="692873" y="8069"/>
                      <a:pt x="688262" y="3458"/>
                    </a:cubicBezTo>
                    <a:cubicBezTo>
                      <a:pt x="683651" y="-1153"/>
                      <a:pt x="676140" y="-1153"/>
                      <a:pt x="671529" y="3458"/>
                    </a:cubicBezTo>
                    <a:lnTo>
                      <a:pt x="3458" y="671434"/>
                    </a:lnTo>
                    <a:cubicBezTo>
                      <a:pt x="-1153" y="676045"/>
                      <a:pt x="-1153" y="683555"/>
                      <a:pt x="3458" y="688166"/>
                    </a:cubicBezTo>
                    <a:cubicBezTo>
                      <a:pt x="8117" y="692825"/>
                      <a:pt x="15580" y="692825"/>
                      <a:pt x="20238" y="688214"/>
                    </a:cubicBezTo>
                    <a:close/>
                  </a:path>
                </a:pathLst>
              </a:custGeom>
              <a:grpFill/>
              <a:ln w="4748" cap="flat">
                <a:noFill/>
                <a:prstDash val="solid"/>
                <a:miter/>
              </a:ln>
            </p:spPr>
            <p:txBody>
              <a:bodyPr rtlCol="0" anchor="ctr"/>
              <a:lstStyle/>
              <a:p>
                <a:endParaRPr lang="en-US" dirty="0"/>
              </a:p>
            </p:txBody>
          </p:sp>
          <p:sp>
            <p:nvSpPr>
              <p:cNvPr id="143" name="Freeform: Shape 142">
                <a:extLst>
                  <a:ext uri="{FF2B5EF4-FFF2-40B4-BE49-F238E27FC236}">
                    <a16:creationId xmlns:a16="http://schemas.microsoft.com/office/drawing/2014/main" id="{5E31B743-279E-44C7-A484-7F2846CE905D}"/>
                  </a:ext>
                </a:extLst>
              </p:cNvPr>
              <p:cNvSpPr/>
              <p:nvPr/>
            </p:nvSpPr>
            <p:spPr>
              <a:xfrm>
                <a:off x="1609514" y="934598"/>
                <a:ext cx="981879" cy="981855"/>
              </a:xfrm>
              <a:custGeom>
                <a:avLst/>
                <a:gdLst>
                  <a:gd name="connsiteX0" fmla="*/ 20191 w 981879"/>
                  <a:gd name="connsiteY0" fmla="*/ 978421 h 981855"/>
                  <a:gd name="connsiteX1" fmla="*/ 978421 w 981879"/>
                  <a:gd name="connsiteY1" fmla="*/ 20191 h 981855"/>
                  <a:gd name="connsiteX2" fmla="*/ 978421 w 981879"/>
                  <a:gd name="connsiteY2" fmla="*/ 3458 h 981855"/>
                  <a:gd name="connsiteX3" fmla="*/ 961689 w 981879"/>
                  <a:gd name="connsiteY3" fmla="*/ 3458 h 981855"/>
                  <a:gd name="connsiteX4" fmla="*/ 3458 w 981879"/>
                  <a:gd name="connsiteY4" fmla="*/ 961641 h 981855"/>
                  <a:gd name="connsiteX5" fmla="*/ 3458 w 981879"/>
                  <a:gd name="connsiteY5" fmla="*/ 978373 h 981855"/>
                  <a:gd name="connsiteX6" fmla="*/ 20191 w 981879"/>
                  <a:gd name="connsiteY6" fmla="*/ 978421 h 98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879" h="981855">
                    <a:moveTo>
                      <a:pt x="20191" y="978421"/>
                    </a:moveTo>
                    <a:lnTo>
                      <a:pt x="978421" y="20191"/>
                    </a:lnTo>
                    <a:cubicBezTo>
                      <a:pt x="983032" y="15580"/>
                      <a:pt x="983032" y="8069"/>
                      <a:pt x="978421" y="3458"/>
                    </a:cubicBezTo>
                    <a:cubicBezTo>
                      <a:pt x="973810" y="-1153"/>
                      <a:pt x="966300" y="-1153"/>
                      <a:pt x="961689" y="3458"/>
                    </a:cubicBezTo>
                    <a:lnTo>
                      <a:pt x="3458" y="961641"/>
                    </a:lnTo>
                    <a:cubicBezTo>
                      <a:pt x="-1153" y="966252"/>
                      <a:pt x="-1153" y="973762"/>
                      <a:pt x="3458" y="978373"/>
                    </a:cubicBezTo>
                    <a:cubicBezTo>
                      <a:pt x="8069" y="982984"/>
                      <a:pt x="15580" y="983032"/>
                      <a:pt x="20191" y="978421"/>
                    </a:cubicBezTo>
                    <a:close/>
                  </a:path>
                </a:pathLst>
              </a:custGeom>
              <a:grpFill/>
              <a:ln w="4748" cap="flat">
                <a:noFill/>
                <a:prstDash val="solid"/>
                <a:miter/>
              </a:ln>
            </p:spPr>
            <p:txBody>
              <a:bodyPr rtlCol="0" anchor="ctr"/>
              <a:lstStyle/>
              <a:p>
                <a:endParaRPr lang="en-US" dirty="0"/>
              </a:p>
            </p:txBody>
          </p:sp>
          <p:sp>
            <p:nvSpPr>
              <p:cNvPr id="144" name="Freeform: Shape 143">
                <a:extLst>
                  <a:ext uri="{FF2B5EF4-FFF2-40B4-BE49-F238E27FC236}">
                    <a16:creationId xmlns:a16="http://schemas.microsoft.com/office/drawing/2014/main" id="{98F2933B-E5BB-4372-BF53-797B13F5D371}"/>
                  </a:ext>
                </a:extLst>
              </p:cNvPr>
              <p:cNvSpPr/>
              <p:nvPr/>
            </p:nvSpPr>
            <p:spPr>
              <a:xfrm>
                <a:off x="1793478" y="1118610"/>
                <a:ext cx="1143739" cy="1143733"/>
              </a:xfrm>
              <a:custGeom>
                <a:avLst/>
                <a:gdLst>
                  <a:gd name="connsiteX0" fmla="*/ 20191 w 1143739"/>
                  <a:gd name="connsiteY0" fmla="*/ 1140281 h 1143733"/>
                  <a:gd name="connsiteX1" fmla="*/ 1140282 w 1143739"/>
                  <a:gd name="connsiteY1" fmla="*/ 20191 h 1143733"/>
                  <a:gd name="connsiteX2" fmla="*/ 1140282 w 1143739"/>
                  <a:gd name="connsiteY2" fmla="*/ 3458 h 1143733"/>
                  <a:gd name="connsiteX3" fmla="*/ 1123549 w 1143739"/>
                  <a:gd name="connsiteY3" fmla="*/ 3458 h 1143733"/>
                  <a:gd name="connsiteX4" fmla="*/ 3458 w 1143739"/>
                  <a:gd name="connsiteY4" fmla="*/ 1123501 h 1143733"/>
                  <a:gd name="connsiteX5" fmla="*/ 3458 w 1143739"/>
                  <a:gd name="connsiteY5" fmla="*/ 1140233 h 1143733"/>
                  <a:gd name="connsiteX6" fmla="*/ 20191 w 1143739"/>
                  <a:gd name="connsiteY6" fmla="*/ 1140281 h 114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739" h="1143733">
                    <a:moveTo>
                      <a:pt x="20191" y="1140281"/>
                    </a:moveTo>
                    <a:lnTo>
                      <a:pt x="1140282" y="20191"/>
                    </a:lnTo>
                    <a:cubicBezTo>
                      <a:pt x="1144893" y="15580"/>
                      <a:pt x="1144893" y="8069"/>
                      <a:pt x="1140282" y="3458"/>
                    </a:cubicBezTo>
                    <a:cubicBezTo>
                      <a:pt x="1135671" y="-1153"/>
                      <a:pt x="1128160" y="-1153"/>
                      <a:pt x="1123549" y="3458"/>
                    </a:cubicBezTo>
                    <a:lnTo>
                      <a:pt x="3458" y="1123501"/>
                    </a:lnTo>
                    <a:cubicBezTo>
                      <a:pt x="-1153" y="1128112"/>
                      <a:pt x="-1153" y="1135622"/>
                      <a:pt x="3458" y="1140233"/>
                    </a:cubicBezTo>
                    <a:cubicBezTo>
                      <a:pt x="8069" y="1144892"/>
                      <a:pt x="15580" y="1144892"/>
                      <a:pt x="20191" y="1140281"/>
                    </a:cubicBezTo>
                    <a:close/>
                  </a:path>
                </a:pathLst>
              </a:custGeom>
              <a:grpFill/>
              <a:ln w="4748" cap="flat">
                <a:noFill/>
                <a:prstDash val="solid"/>
                <a:miter/>
              </a:ln>
            </p:spPr>
            <p:txBody>
              <a:bodyPr rtlCol="0" anchor="ctr"/>
              <a:lstStyle/>
              <a:p>
                <a:endParaRPr lang="en-US" dirty="0"/>
              </a:p>
            </p:txBody>
          </p:sp>
          <p:sp>
            <p:nvSpPr>
              <p:cNvPr id="145" name="Freeform: Shape 144">
                <a:extLst>
                  <a:ext uri="{FF2B5EF4-FFF2-40B4-BE49-F238E27FC236}">
                    <a16:creationId xmlns:a16="http://schemas.microsoft.com/office/drawing/2014/main" id="{3F2975BA-95F5-4885-9895-16D753AECF38}"/>
                  </a:ext>
                </a:extLst>
              </p:cNvPr>
              <p:cNvSpPr/>
              <p:nvPr/>
            </p:nvSpPr>
            <p:spPr>
              <a:xfrm>
                <a:off x="1745514" y="1070599"/>
                <a:ext cx="1133757" cy="1133756"/>
              </a:xfrm>
              <a:custGeom>
                <a:avLst/>
                <a:gdLst>
                  <a:gd name="connsiteX0" fmla="*/ 20191 w 1133757"/>
                  <a:gd name="connsiteY0" fmla="*/ 1130298 h 1133756"/>
                  <a:gd name="connsiteX1" fmla="*/ 1130299 w 1133757"/>
                  <a:gd name="connsiteY1" fmla="*/ 20191 h 1133756"/>
                  <a:gd name="connsiteX2" fmla="*/ 1130299 w 1133757"/>
                  <a:gd name="connsiteY2" fmla="*/ 3458 h 1133756"/>
                  <a:gd name="connsiteX3" fmla="*/ 1113566 w 1133757"/>
                  <a:gd name="connsiteY3" fmla="*/ 3458 h 1133756"/>
                  <a:gd name="connsiteX4" fmla="*/ 3458 w 1133757"/>
                  <a:gd name="connsiteY4" fmla="*/ 1113566 h 1133756"/>
                  <a:gd name="connsiteX5" fmla="*/ 3458 w 1133757"/>
                  <a:gd name="connsiteY5" fmla="*/ 1130298 h 1133756"/>
                  <a:gd name="connsiteX6" fmla="*/ 20191 w 1133757"/>
                  <a:gd name="connsiteY6" fmla="*/ 1130298 h 113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3757" h="1133756">
                    <a:moveTo>
                      <a:pt x="20191" y="1130298"/>
                    </a:moveTo>
                    <a:lnTo>
                      <a:pt x="1130299" y="20191"/>
                    </a:lnTo>
                    <a:cubicBezTo>
                      <a:pt x="1134910" y="15580"/>
                      <a:pt x="1134910" y="8069"/>
                      <a:pt x="1130299" y="3458"/>
                    </a:cubicBezTo>
                    <a:cubicBezTo>
                      <a:pt x="1125688" y="-1153"/>
                      <a:pt x="1118177" y="-1153"/>
                      <a:pt x="1113566" y="3458"/>
                    </a:cubicBezTo>
                    <a:lnTo>
                      <a:pt x="3458" y="1113566"/>
                    </a:lnTo>
                    <a:cubicBezTo>
                      <a:pt x="-1153" y="1118177"/>
                      <a:pt x="-1153" y="1125687"/>
                      <a:pt x="3458" y="1130298"/>
                    </a:cubicBezTo>
                    <a:cubicBezTo>
                      <a:pt x="8069" y="1134909"/>
                      <a:pt x="15580" y="1134909"/>
                      <a:pt x="20191" y="1130298"/>
                    </a:cubicBezTo>
                    <a:close/>
                  </a:path>
                </a:pathLst>
              </a:custGeom>
              <a:grpFill/>
              <a:ln w="4748" cap="flat">
                <a:noFill/>
                <a:prstDash val="solid"/>
                <a:miter/>
              </a:ln>
            </p:spPr>
            <p:txBody>
              <a:bodyPr rtlCol="0" anchor="ctr"/>
              <a:lstStyle/>
              <a:p>
                <a:endParaRPr lang="en-US" dirty="0"/>
              </a:p>
            </p:txBody>
          </p:sp>
          <p:sp>
            <p:nvSpPr>
              <p:cNvPr id="146" name="Freeform: Shape 145">
                <a:extLst>
                  <a:ext uri="{FF2B5EF4-FFF2-40B4-BE49-F238E27FC236}">
                    <a16:creationId xmlns:a16="http://schemas.microsoft.com/office/drawing/2014/main" id="{06E76BA4-F5AA-4C2F-ABD5-38C8228D652C}"/>
                  </a:ext>
                </a:extLst>
              </p:cNvPr>
              <p:cNvSpPr/>
              <p:nvPr/>
            </p:nvSpPr>
            <p:spPr>
              <a:xfrm>
                <a:off x="1634042" y="959127"/>
                <a:ext cx="1038780" cy="1038815"/>
              </a:xfrm>
              <a:custGeom>
                <a:avLst/>
                <a:gdLst>
                  <a:gd name="connsiteX0" fmla="*/ 20191 w 1038780"/>
                  <a:gd name="connsiteY0" fmla="*/ 1035322 h 1038815"/>
                  <a:gd name="connsiteX1" fmla="*/ 1035322 w 1038780"/>
                  <a:gd name="connsiteY1" fmla="*/ 20191 h 1038815"/>
                  <a:gd name="connsiteX2" fmla="*/ 1035322 w 1038780"/>
                  <a:gd name="connsiteY2" fmla="*/ 3458 h 1038815"/>
                  <a:gd name="connsiteX3" fmla="*/ 1018589 w 1038780"/>
                  <a:gd name="connsiteY3" fmla="*/ 3458 h 1038815"/>
                  <a:gd name="connsiteX4" fmla="*/ 3458 w 1038780"/>
                  <a:gd name="connsiteY4" fmla="*/ 1018589 h 1038815"/>
                  <a:gd name="connsiteX5" fmla="*/ 3458 w 1038780"/>
                  <a:gd name="connsiteY5" fmla="*/ 1035322 h 1038815"/>
                  <a:gd name="connsiteX6" fmla="*/ 20191 w 1038780"/>
                  <a:gd name="connsiteY6" fmla="*/ 1035322 h 103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780" h="1038815">
                    <a:moveTo>
                      <a:pt x="20191" y="1035322"/>
                    </a:moveTo>
                    <a:lnTo>
                      <a:pt x="1035322" y="20191"/>
                    </a:lnTo>
                    <a:cubicBezTo>
                      <a:pt x="1039933" y="15580"/>
                      <a:pt x="1039933" y="8069"/>
                      <a:pt x="1035322" y="3458"/>
                    </a:cubicBezTo>
                    <a:cubicBezTo>
                      <a:pt x="1030711" y="-1153"/>
                      <a:pt x="1023200" y="-1153"/>
                      <a:pt x="1018589" y="3458"/>
                    </a:cubicBezTo>
                    <a:lnTo>
                      <a:pt x="3458" y="1018589"/>
                    </a:lnTo>
                    <a:cubicBezTo>
                      <a:pt x="-1153" y="1023200"/>
                      <a:pt x="-1153" y="1030711"/>
                      <a:pt x="3458" y="1035322"/>
                    </a:cubicBezTo>
                    <a:cubicBezTo>
                      <a:pt x="8069" y="1039980"/>
                      <a:pt x="15580" y="1039980"/>
                      <a:pt x="20191" y="1035322"/>
                    </a:cubicBezTo>
                    <a:close/>
                  </a:path>
                </a:pathLst>
              </a:custGeom>
              <a:grpFill/>
              <a:ln w="4748" cap="flat">
                <a:noFill/>
                <a:prstDash val="solid"/>
                <a:miter/>
              </a:ln>
            </p:spPr>
            <p:txBody>
              <a:bodyPr rtlCol="0" anchor="ctr"/>
              <a:lstStyle/>
              <a:p>
                <a:endParaRPr lang="en-US" dirty="0"/>
              </a:p>
            </p:txBody>
          </p:sp>
          <p:sp>
            <p:nvSpPr>
              <p:cNvPr id="147" name="Freeform: Shape 146">
                <a:extLst>
                  <a:ext uri="{FF2B5EF4-FFF2-40B4-BE49-F238E27FC236}">
                    <a16:creationId xmlns:a16="http://schemas.microsoft.com/office/drawing/2014/main" id="{72055E96-9ECC-401B-842D-2C2C6718EC59}"/>
                  </a:ext>
                </a:extLst>
              </p:cNvPr>
              <p:cNvSpPr/>
              <p:nvPr/>
            </p:nvSpPr>
            <p:spPr>
              <a:xfrm>
                <a:off x="1702637" y="1027769"/>
                <a:ext cx="1113506" cy="1113458"/>
              </a:xfrm>
              <a:custGeom>
                <a:avLst/>
                <a:gdLst>
                  <a:gd name="connsiteX0" fmla="*/ 20238 w 1113506"/>
                  <a:gd name="connsiteY0" fmla="*/ 1110001 h 1113458"/>
                  <a:gd name="connsiteX1" fmla="*/ 1110049 w 1113506"/>
                  <a:gd name="connsiteY1" fmla="*/ 20191 h 1113458"/>
                  <a:gd name="connsiteX2" fmla="*/ 1110049 w 1113506"/>
                  <a:gd name="connsiteY2" fmla="*/ 3458 h 1113458"/>
                  <a:gd name="connsiteX3" fmla="*/ 1093316 w 1113506"/>
                  <a:gd name="connsiteY3" fmla="*/ 3458 h 1113458"/>
                  <a:gd name="connsiteX4" fmla="*/ 3458 w 1113506"/>
                  <a:gd name="connsiteY4" fmla="*/ 1093268 h 1113458"/>
                  <a:gd name="connsiteX5" fmla="*/ 3458 w 1113506"/>
                  <a:gd name="connsiteY5" fmla="*/ 1110001 h 1113458"/>
                  <a:gd name="connsiteX6" fmla="*/ 20238 w 1113506"/>
                  <a:gd name="connsiteY6" fmla="*/ 1110001 h 1113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3506" h="1113458">
                    <a:moveTo>
                      <a:pt x="20238" y="1110001"/>
                    </a:moveTo>
                    <a:lnTo>
                      <a:pt x="1110049" y="20191"/>
                    </a:lnTo>
                    <a:cubicBezTo>
                      <a:pt x="1114660" y="15580"/>
                      <a:pt x="1114660" y="8069"/>
                      <a:pt x="1110049" y="3458"/>
                    </a:cubicBezTo>
                    <a:cubicBezTo>
                      <a:pt x="1105438" y="-1153"/>
                      <a:pt x="1097927" y="-1153"/>
                      <a:pt x="1093316" y="3458"/>
                    </a:cubicBezTo>
                    <a:lnTo>
                      <a:pt x="3458" y="1093268"/>
                    </a:lnTo>
                    <a:cubicBezTo>
                      <a:pt x="-1153" y="1097879"/>
                      <a:pt x="-1153" y="1105390"/>
                      <a:pt x="3458" y="1110001"/>
                    </a:cubicBezTo>
                    <a:cubicBezTo>
                      <a:pt x="8069" y="1114612"/>
                      <a:pt x="15627" y="1114612"/>
                      <a:pt x="20238" y="1110001"/>
                    </a:cubicBezTo>
                    <a:close/>
                  </a:path>
                </a:pathLst>
              </a:custGeom>
              <a:grpFill/>
              <a:ln w="4748" cap="flat">
                <a:noFill/>
                <a:prstDash val="solid"/>
                <a:miter/>
              </a:ln>
            </p:spPr>
            <p:txBody>
              <a:bodyPr rtlCol="0" anchor="ctr"/>
              <a:lstStyle/>
              <a:p>
                <a:endParaRPr lang="en-US" dirty="0"/>
              </a:p>
            </p:txBody>
          </p:sp>
          <p:sp>
            <p:nvSpPr>
              <p:cNvPr id="148" name="Freeform: Shape 147">
                <a:extLst>
                  <a:ext uri="{FF2B5EF4-FFF2-40B4-BE49-F238E27FC236}">
                    <a16:creationId xmlns:a16="http://schemas.microsoft.com/office/drawing/2014/main" id="{6B8949EC-FDAD-4746-8C59-A717A04F1005}"/>
                  </a:ext>
                </a:extLst>
              </p:cNvPr>
              <p:cNvSpPr/>
              <p:nvPr/>
            </p:nvSpPr>
            <p:spPr>
              <a:xfrm>
                <a:off x="1665321" y="990453"/>
                <a:ext cx="1082180" cy="1082132"/>
              </a:xfrm>
              <a:custGeom>
                <a:avLst/>
                <a:gdLst>
                  <a:gd name="connsiteX0" fmla="*/ 20238 w 1082180"/>
                  <a:gd name="connsiteY0" fmla="*/ 1078674 h 1082132"/>
                  <a:gd name="connsiteX1" fmla="*/ 1078722 w 1082180"/>
                  <a:gd name="connsiteY1" fmla="*/ 20191 h 1082132"/>
                  <a:gd name="connsiteX2" fmla="*/ 1078722 w 1082180"/>
                  <a:gd name="connsiteY2" fmla="*/ 3458 h 1082132"/>
                  <a:gd name="connsiteX3" fmla="*/ 1061990 w 1082180"/>
                  <a:gd name="connsiteY3" fmla="*/ 3458 h 1082132"/>
                  <a:gd name="connsiteX4" fmla="*/ 3458 w 1082180"/>
                  <a:gd name="connsiteY4" fmla="*/ 1061942 h 1082132"/>
                  <a:gd name="connsiteX5" fmla="*/ 3458 w 1082180"/>
                  <a:gd name="connsiteY5" fmla="*/ 1078674 h 1082132"/>
                  <a:gd name="connsiteX6" fmla="*/ 20238 w 1082180"/>
                  <a:gd name="connsiteY6" fmla="*/ 1078674 h 108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2180" h="1082132">
                    <a:moveTo>
                      <a:pt x="20238" y="1078674"/>
                    </a:moveTo>
                    <a:lnTo>
                      <a:pt x="1078722" y="20191"/>
                    </a:lnTo>
                    <a:cubicBezTo>
                      <a:pt x="1083333" y="15580"/>
                      <a:pt x="1083333" y="8069"/>
                      <a:pt x="1078722" y="3458"/>
                    </a:cubicBezTo>
                    <a:cubicBezTo>
                      <a:pt x="1074111" y="-1153"/>
                      <a:pt x="1066601" y="-1153"/>
                      <a:pt x="1061990" y="3458"/>
                    </a:cubicBezTo>
                    <a:lnTo>
                      <a:pt x="3458" y="1061942"/>
                    </a:lnTo>
                    <a:cubicBezTo>
                      <a:pt x="-1153" y="1066553"/>
                      <a:pt x="-1153" y="1074063"/>
                      <a:pt x="3458" y="1078674"/>
                    </a:cubicBezTo>
                    <a:cubicBezTo>
                      <a:pt x="8069" y="1083285"/>
                      <a:pt x="15580" y="1083285"/>
                      <a:pt x="20238" y="1078674"/>
                    </a:cubicBezTo>
                    <a:close/>
                  </a:path>
                </a:pathLst>
              </a:custGeom>
              <a:grpFill/>
              <a:ln w="4748" cap="flat">
                <a:noFill/>
                <a:prstDash val="solid"/>
                <a:miter/>
              </a:ln>
            </p:spPr>
            <p:txBody>
              <a:bodyPr rtlCol="0" anchor="ctr"/>
              <a:lstStyle/>
              <a:p>
                <a:endParaRPr lang="en-US" dirty="0"/>
              </a:p>
            </p:txBody>
          </p:sp>
        </p:grpSp>
      </p:grpSp>
      <p:sp>
        <p:nvSpPr>
          <p:cNvPr id="3" name="Footer Placeholder 2">
            <a:extLst>
              <a:ext uri="{FF2B5EF4-FFF2-40B4-BE49-F238E27FC236}">
                <a16:creationId xmlns:a16="http://schemas.microsoft.com/office/drawing/2014/main" id="{EDE474CE-0713-45FE-AACA-18F93A7D2C8F}"/>
              </a:ext>
            </a:extLst>
          </p:cNvPr>
          <p:cNvSpPr>
            <a:spLocks noGrp="1"/>
          </p:cNvSpPr>
          <p:nvPr>
            <p:ph type="ftr" sz="quarter" idx="10"/>
          </p:nvPr>
        </p:nvSpPr>
        <p:spPr>
          <a:xfrm>
            <a:off x="533400" y="6365805"/>
            <a:ext cx="3568285" cy="123111"/>
          </a:xfrm>
        </p:spPr>
        <p:txBody>
          <a:bodyPr/>
          <a:lstStyle/>
          <a:p>
            <a:pPr>
              <a:defRPr/>
            </a:pPr>
            <a:r>
              <a:rPr lang="en-US" sz="800" spc="27" dirty="0">
                <a:solidFill>
                  <a:srgbClr val="FFFFFF">
                    <a:lumMod val="65000"/>
                  </a:srgbClr>
                </a:solidFill>
                <a:cs typeface="CiscoSans Thin"/>
              </a:rPr>
              <a:t>© 2020 Cisco and/or its affiliates. All rights reserved. Cisco Confidential</a:t>
            </a:r>
          </a:p>
        </p:txBody>
      </p:sp>
    </p:spTree>
    <p:extLst>
      <p:ext uri="{BB962C8B-B14F-4D97-AF65-F5344CB8AC3E}">
        <p14:creationId xmlns:p14="http://schemas.microsoft.com/office/powerpoint/2010/main" val="37238495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CC45DECD-E1CF-4486-BD8D-A100AEA68D55}"/>
              </a:ext>
            </a:extLst>
          </p:cNvPr>
          <p:cNvCxnSpPr/>
          <p:nvPr/>
        </p:nvCxnSpPr>
        <p:spPr>
          <a:xfrm>
            <a:off x="0" y="3795277"/>
            <a:ext cx="12192000" cy="0"/>
          </a:xfrm>
          <a:prstGeom prst="line">
            <a:avLst/>
          </a:prstGeom>
          <a:ln w="15875" cap="rnd">
            <a:prstDash val="sysDot"/>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62C7B66-2969-46D1-8A28-B168A82A8283}"/>
              </a:ext>
            </a:extLst>
          </p:cNvPr>
          <p:cNvSpPr/>
          <p:nvPr/>
        </p:nvSpPr>
        <p:spPr>
          <a:xfrm>
            <a:off x="1" y="3994362"/>
            <a:ext cx="12192000" cy="2148386"/>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405ED80D-C24C-4ECD-9CD6-27C485FA2DF6}"/>
              </a:ext>
            </a:extLst>
          </p:cNvPr>
          <p:cNvSpPr txBox="1"/>
          <p:nvPr/>
        </p:nvSpPr>
        <p:spPr>
          <a:xfrm>
            <a:off x="8500676" y="6369780"/>
            <a:ext cx="3157917" cy="169277"/>
          </a:xfrm>
          <a:prstGeom prst="rect">
            <a:avLst/>
          </a:prstGeom>
          <a:noFill/>
        </p:spPr>
        <p:txBody>
          <a:bodyPr wrap="none" lIns="0" tIns="0" rIns="0" bIns="0" rtlCol="0">
            <a:spAutoFit/>
          </a:bodyPr>
          <a:lstStyle/>
          <a:p>
            <a:pPr algn="r"/>
            <a:r>
              <a:rPr lang="en-US" sz="1100" dirty="0">
                <a:solidFill>
                  <a:schemeClr val="bg1"/>
                </a:solidFill>
              </a:rPr>
              <a:t>Source: Global Workplace Analytics, March 2020</a:t>
            </a:r>
          </a:p>
        </p:txBody>
      </p:sp>
      <p:sp>
        <p:nvSpPr>
          <p:cNvPr id="21" name="Rectangle 20">
            <a:extLst>
              <a:ext uri="{FF2B5EF4-FFF2-40B4-BE49-F238E27FC236}">
                <a16:creationId xmlns:a16="http://schemas.microsoft.com/office/drawing/2014/main" id="{18C8FCBD-7ED2-4370-8FE4-9BCA771D1E40}"/>
              </a:ext>
            </a:extLst>
          </p:cNvPr>
          <p:cNvSpPr/>
          <p:nvPr/>
        </p:nvSpPr>
        <p:spPr>
          <a:xfrm>
            <a:off x="533398" y="4117120"/>
            <a:ext cx="3574801" cy="1415772"/>
          </a:xfrm>
          <a:prstGeom prst="rect">
            <a:avLst/>
          </a:prstGeom>
        </p:spPr>
        <p:txBody>
          <a:bodyPr wrap="square">
            <a:spAutoFit/>
          </a:bodyPr>
          <a:lstStyle/>
          <a:p>
            <a:pPr algn="ctr">
              <a:spcBef>
                <a:spcPts val="1200"/>
              </a:spcBef>
            </a:pPr>
            <a:r>
              <a:rPr lang="en-US" sz="2000" dirty="0">
                <a:solidFill>
                  <a:schemeClr val="accent1"/>
                </a:solidFill>
              </a:rPr>
              <a:t>Lower</a:t>
            </a:r>
            <a:br>
              <a:rPr lang="en-US" sz="2000" dirty="0">
                <a:solidFill>
                  <a:schemeClr val="accent1"/>
                </a:solidFill>
              </a:rPr>
            </a:br>
            <a:r>
              <a:rPr lang="en-US" sz="2000" dirty="0">
                <a:solidFill>
                  <a:schemeClr val="accent1"/>
                </a:solidFill>
              </a:rPr>
              <a:t>overhead costs</a:t>
            </a:r>
          </a:p>
          <a:p>
            <a:pPr algn="ctr">
              <a:spcBef>
                <a:spcPts val="1200"/>
              </a:spcBef>
            </a:pPr>
            <a:r>
              <a:rPr lang="en-US" dirty="0">
                <a:solidFill>
                  <a:schemeClr val="bg1"/>
                </a:solidFill>
              </a:rPr>
              <a:t>Employers save $11K/year</a:t>
            </a:r>
            <a:br>
              <a:rPr lang="en-US" dirty="0">
                <a:solidFill>
                  <a:schemeClr val="bg1"/>
                </a:solidFill>
              </a:rPr>
            </a:br>
            <a:r>
              <a:rPr lang="en-US" dirty="0">
                <a:solidFill>
                  <a:schemeClr val="bg1"/>
                </a:solidFill>
              </a:rPr>
              <a:t>per employee</a:t>
            </a:r>
          </a:p>
        </p:txBody>
      </p:sp>
      <p:sp>
        <p:nvSpPr>
          <p:cNvPr id="22" name="Rectangle 21">
            <a:extLst>
              <a:ext uri="{FF2B5EF4-FFF2-40B4-BE49-F238E27FC236}">
                <a16:creationId xmlns:a16="http://schemas.microsoft.com/office/drawing/2014/main" id="{17FC5917-4F27-4BFD-9AC5-084C4135DBDD}"/>
              </a:ext>
            </a:extLst>
          </p:cNvPr>
          <p:cNvSpPr/>
          <p:nvPr/>
        </p:nvSpPr>
        <p:spPr>
          <a:xfrm>
            <a:off x="4308595" y="4117120"/>
            <a:ext cx="3574801" cy="1415772"/>
          </a:xfrm>
          <a:prstGeom prst="rect">
            <a:avLst/>
          </a:prstGeom>
        </p:spPr>
        <p:txBody>
          <a:bodyPr wrap="square">
            <a:spAutoFit/>
          </a:bodyPr>
          <a:lstStyle/>
          <a:p>
            <a:pPr algn="ctr">
              <a:spcBef>
                <a:spcPts val="1200"/>
              </a:spcBef>
            </a:pPr>
            <a:r>
              <a:rPr lang="en-US" sz="2000" dirty="0">
                <a:solidFill>
                  <a:schemeClr val="accent1"/>
                </a:solidFill>
              </a:rPr>
              <a:t>Lower</a:t>
            </a:r>
            <a:br>
              <a:rPr lang="en-US" sz="2000" dirty="0">
                <a:solidFill>
                  <a:schemeClr val="accent1"/>
                </a:solidFill>
              </a:rPr>
            </a:br>
            <a:r>
              <a:rPr lang="en-US" sz="2000" dirty="0">
                <a:solidFill>
                  <a:schemeClr val="accent1"/>
                </a:solidFill>
              </a:rPr>
              <a:t>employee costs</a:t>
            </a:r>
          </a:p>
          <a:p>
            <a:pPr algn="ctr">
              <a:spcBef>
                <a:spcPts val="1200"/>
              </a:spcBef>
            </a:pPr>
            <a:r>
              <a:rPr lang="en-US" dirty="0">
                <a:solidFill>
                  <a:schemeClr val="bg1"/>
                </a:solidFill>
              </a:rPr>
              <a:t>Workers save $4K/year commuting, parking, food</a:t>
            </a:r>
          </a:p>
        </p:txBody>
      </p:sp>
      <p:sp>
        <p:nvSpPr>
          <p:cNvPr id="23" name="Rectangle 22">
            <a:extLst>
              <a:ext uri="{FF2B5EF4-FFF2-40B4-BE49-F238E27FC236}">
                <a16:creationId xmlns:a16="http://schemas.microsoft.com/office/drawing/2014/main" id="{E3C7BA90-C91F-4013-B3B2-B51216168D32}"/>
              </a:ext>
            </a:extLst>
          </p:cNvPr>
          <p:cNvSpPr/>
          <p:nvPr/>
        </p:nvSpPr>
        <p:spPr>
          <a:xfrm>
            <a:off x="8083792" y="4117120"/>
            <a:ext cx="3574801" cy="1415772"/>
          </a:xfrm>
          <a:prstGeom prst="rect">
            <a:avLst/>
          </a:prstGeom>
        </p:spPr>
        <p:txBody>
          <a:bodyPr wrap="square">
            <a:spAutoFit/>
          </a:bodyPr>
          <a:lstStyle/>
          <a:p>
            <a:pPr algn="ctr">
              <a:spcBef>
                <a:spcPts val="1200"/>
              </a:spcBef>
            </a:pPr>
            <a:r>
              <a:rPr lang="en-US" sz="2000" dirty="0">
                <a:solidFill>
                  <a:schemeClr val="accent1"/>
                </a:solidFill>
              </a:rPr>
              <a:t>Higher productivity</a:t>
            </a:r>
            <a:br>
              <a:rPr lang="en-US" sz="2000" dirty="0">
                <a:solidFill>
                  <a:schemeClr val="accent1"/>
                </a:solidFill>
              </a:rPr>
            </a:br>
            <a:r>
              <a:rPr lang="en-US" sz="2000" dirty="0">
                <a:solidFill>
                  <a:schemeClr val="accent1"/>
                </a:solidFill>
              </a:rPr>
              <a:t>and efficiency</a:t>
            </a:r>
          </a:p>
          <a:p>
            <a:pPr algn="ctr">
              <a:spcBef>
                <a:spcPts val="1200"/>
              </a:spcBef>
            </a:pPr>
            <a:r>
              <a:rPr lang="en-US" dirty="0">
                <a:solidFill>
                  <a:schemeClr val="bg1"/>
                </a:solidFill>
              </a:rPr>
              <a:t>Workers save 30 days/year in time spent commuting</a:t>
            </a:r>
          </a:p>
        </p:txBody>
      </p:sp>
      <p:grpSp>
        <p:nvGrpSpPr>
          <p:cNvPr id="33" name="Group 32">
            <a:extLst>
              <a:ext uri="{FF2B5EF4-FFF2-40B4-BE49-F238E27FC236}">
                <a16:creationId xmlns:a16="http://schemas.microsoft.com/office/drawing/2014/main" id="{53F115D7-92D6-44A7-8729-B26C8128269B}"/>
              </a:ext>
            </a:extLst>
          </p:cNvPr>
          <p:cNvGrpSpPr/>
          <p:nvPr/>
        </p:nvGrpSpPr>
        <p:grpSpPr>
          <a:xfrm>
            <a:off x="4198656" y="1981526"/>
            <a:ext cx="3784938" cy="1813752"/>
            <a:chOff x="4198656" y="2485086"/>
            <a:chExt cx="3784938" cy="1064869"/>
          </a:xfrm>
        </p:grpSpPr>
        <p:cxnSp>
          <p:nvCxnSpPr>
            <p:cNvPr id="26" name="Straight Connector 25">
              <a:extLst>
                <a:ext uri="{FF2B5EF4-FFF2-40B4-BE49-F238E27FC236}">
                  <a16:creationId xmlns:a16="http://schemas.microsoft.com/office/drawing/2014/main" id="{9D8203BF-21AA-4AF7-8A09-A803D9EA5E91}"/>
                </a:ext>
              </a:extLst>
            </p:cNvPr>
            <p:cNvCxnSpPr>
              <a:cxnSpLocks/>
            </p:cNvCxnSpPr>
            <p:nvPr/>
          </p:nvCxnSpPr>
          <p:spPr>
            <a:xfrm>
              <a:off x="4198656" y="2485086"/>
              <a:ext cx="0" cy="1064869"/>
            </a:xfrm>
            <a:prstGeom prst="line">
              <a:avLst/>
            </a:prstGeom>
            <a:ln w="15875" cap="rnd">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ABAFB89-6747-4A8F-B3C8-BE73CA2371B5}"/>
                </a:ext>
              </a:extLst>
            </p:cNvPr>
            <p:cNvCxnSpPr>
              <a:cxnSpLocks/>
            </p:cNvCxnSpPr>
            <p:nvPr/>
          </p:nvCxnSpPr>
          <p:spPr>
            <a:xfrm>
              <a:off x="7983594" y="2485086"/>
              <a:ext cx="0" cy="1064869"/>
            </a:xfrm>
            <a:prstGeom prst="line">
              <a:avLst/>
            </a:prstGeom>
            <a:ln w="15875" cap="rnd">
              <a:prstDash val="sysDot"/>
            </a:ln>
          </p:spPr>
          <p:style>
            <a:lnRef idx="1">
              <a:schemeClr val="accent1"/>
            </a:lnRef>
            <a:fillRef idx="0">
              <a:schemeClr val="accent1"/>
            </a:fillRef>
            <a:effectRef idx="0">
              <a:schemeClr val="accent1"/>
            </a:effectRef>
            <a:fontRef idx="minor">
              <a:schemeClr val="tx1"/>
            </a:fontRef>
          </p:style>
        </p:cxnSp>
      </p:grpSp>
      <p:sp>
        <p:nvSpPr>
          <p:cNvPr id="30" name="Oval 29">
            <a:extLst>
              <a:ext uri="{FF2B5EF4-FFF2-40B4-BE49-F238E27FC236}">
                <a16:creationId xmlns:a16="http://schemas.microsoft.com/office/drawing/2014/main" id="{93E881D7-A558-44D7-83B5-C283838D390F}"/>
              </a:ext>
            </a:extLst>
          </p:cNvPr>
          <p:cNvSpPr/>
          <p:nvPr/>
        </p:nvSpPr>
        <p:spPr>
          <a:xfrm>
            <a:off x="2254212" y="3724028"/>
            <a:ext cx="133174" cy="13317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a:extLst>
              <a:ext uri="{FF2B5EF4-FFF2-40B4-BE49-F238E27FC236}">
                <a16:creationId xmlns:a16="http://schemas.microsoft.com/office/drawing/2014/main" id="{F17AB00B-73A2-4627-8EA2-EB326CE0D080}"/>
              </a:ext>
            </a:extLst>
          </p:cNvPr>
          <p:cNvSpPr/>
          <p:nvPr/>
        </p:nvSpPr>
        <p:spPr>
          <a:xfrm>
            <a:off x="6029408" y="3724028"/>
            <a:ext cx="133174" cy="13317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a:extLst>
              <a:ext uri="{FF2B5EF4-FFF2-40B4-BE49-F238E27FC236}">
                <a16:creationId xmlns:a16="http://schemas.microsoft.com/office/drawing/2014/main" id="{9BE00BC1-1289-4884-B497-578A8ECAF239}"/>
              </a:ext>
            </a:extLst>
          </p:cNvPr>
          <p:cNvSpPr/>
          <p:nvPr/>
        </p:nvSpPr>
        <p:spPr>
          <a:xfrm>
            <a:off x="9804605" y="3724028"/>
            <a:ext cx="133174" cy="13317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1" name="Group 90">
            <a:extLst>
              <a:ext uri="{FF2B5EF4-FFF2-40B4-BE49-F238E27FC236}">
                <a16:creationId xmlns:a16="http://schemas.microsoft.com/office/drawing/2014/main" id="{96893401-6DFF-4E3B-88B7-1CA40E2C7F43}"/>
              </a:ext>
            </a:extLst>
          </p:cNvPr>
          <p:cNvGrpSpPr/>
          <p:nvPr/>
        </p:nvGrpSpPr>
        <p:grpSpPr>
          <a:xfrm>
            <a:off x="1277584" y="1714704"/>
            <a:ext cx="2281171" cy="1684098"/>
            <a:chOff x="1277584" y="1382281"/>
            <a:chExt cx="2281171" cy="1684098"/>
          </a:xfrm>
        </p:grpSpPr>
        <p:sp>
          <p:nvSpPr>
            <p:cNvPr id="67" name="Freeform: Shape 66">
              <a:extLst>
                <a:ext uri="{FF2B5EF4-FFF2-40B4-BE49-F238E27FC236}">
                  <a16:creationId xmlns:a16="http://schemas.microsoft.com/office/drawing/2014/main" id="{4B7FF58B-DEB8-461C-BBBC-1B0CADD677BF}"/>
                </a:ext>
              </a:extLst>
            </p:cNvPr>
            <p:cNvSpPr>
              <a:spLocks/>
            </p:cNvSpPr>
            <p:nvPr/>
          </p:nvSpPr>
          <p:spPr bwMode="auto">
            <a:xfrm>
              <a:off x="2585945" y="1382281"/>
              <a:ext cx="972810" cy="986972"/>
            </a:xfrm>
            <a:custGeom>
              <a:avLst/>
              <a:gdLst>
                <a:gd name="connsiteX0" fmla="*/ 578304 w 652973"/>
                <a:gd name="connsiteY0" fmla="*/ 527099 h 662481"/>
                <a:gd name="connsiteX1" fmla="*/ 584704 w 652973"/>
                <a:gd name="connsiteY1" fmla="*/ 527099 h 662481"/>
                <a:gd name="connsiteX2" fmla="*/ 584704 w 652973"/>
                <a:gd name="connsiteY2" fmla="*/ 533647 h 662481"/>
                <a:gd name="connsiteX3" fmla="*/ 527107 w 652973"/>
                <a:gd name="connsiteY3" fmla="*/ 592583 h 662481"/>
                <a:gd name="connsiteX4" fmla="*/ 520707 w 652973"/>
                <a:gd name="connsiteY4" fmla="*/ 592583 h 662481"/>
                <a:gd name="connsiteX5" fmla="*/ 520707 w 652973"/>
                <a:gd name="connsiteY5" fmla="*/ 586035 h 662481"/>
                <a:gd name="connsiteX6" fmla="*/ 578304 w 652973"/>
                <a:gd name="connsiteY6" fmla="*/ 527099 h 662481"/>
                <a:gd name="connsiteX7" fmla="*/ 627431 w 652973"/>
                <a:gd name="connsiteY7" fmla="*/ 433440 h 662481"/>
                <a:gd name="connsiteX8" fmla="*/ 633895 w 652973"/>
                <a:gd name="connsiteY8" fmla="*/ 433440 h 662481"/>
                <a:gd name="connsiteX9" fmla="*/ 633895 w 652973"/>
                <a:gd name="connsiteY9" fmla="*/ 440001 h 662481"/>
                <a:gd name="connsiteX10" fmla="*/ 433529 w 652973"/>
                <a:gd name="connsiteY10" fmla="*/ 643379 h 662481"/>
                <a:gd name="connsiteX11" fmla="*/ 427066 w 652973"/>
                <a:gd name="connsiteY11" fmla="*/ 643379 h 662481"/>
                <a:gd name="connsiteX12" fmla="*/ 427066 w 652973"/>
                <a:gd name="connsiteY12" fmla="*/ 636819 h 662481"/>
                <a:gd name="connsiteX13" fmla="*/ 627431 w 652973"/>
                <a:gd name="connsiteY13" fmla="*/ 433440 h 662481"/>
                <a:gd name="connsiteX14" fmla="*/ 640169 w 652973"/>
                <a:gd name="connsiteY14" fmla="*/ 374697 h 662481"/>
                <a:gd name="connsiteX15" fmla="*/ 646604 w 652973"/>
                <a:gd name="connsiteY15" fmla="*/ 374697 h 662481"/>
                <a:gd name="connsiteX16" fmla="*/ 646604 w 652973"/>
                <a:gd name="connsiteY16" fmla="*/ 383423 h 662481"/>
                <a:gd name="connsiteX17" fmla="*/ 378486 w 652973"/>
                <a:gd name="connsiteY17" fmla="*/ 656085 h 662481"/>
                <a:gd name="connsiteX18" fmla="*/ 369906 w 652973"/>
                <a:gd name="connsiteY18" fmla="*/ 656085 h 662481"/>
                <a:gd name="connsiteX19" fmla="*/ 369906 w 652973"/>
                <a:gd name="connsiteY19" fmla="*/ 649541 h 662481"/>
                <a:gd name="connsiteX20" fmla="*/ 640169 w 652973"/>
                <a:gd name="connsiteY20" fmla="*/ 374697 h 662481"/>
                <a:gd name="connsiteX21" fmla="*/ 644894 w 652973"/>
                <a:gd name="connsiteY21" fmla="*/ 328664 h 662481"/>
                <a:gd name="connsiteX22" fmla="*/ 651358 w 652973"/>
                <a:gd name="connsiteY22" fmla="*/ 328664 h 662481"/>
                <a:gd name="connsiteX23" fmla="*/ 651358 w 652973"/>
                <a:gd name="connsiteY23" fmla="*/ 335220 h 662481"/>
                <a:gd name="connsiteX24" fmla="*/ 330342 w 652973"/>
                <a:gd name="connsiteY24" fmla="*/ 660843 h 662481"/>
                <a:gd name="connsiteX25" fmla="*/ 323879 w 652973"/>
                <a:gd name="connsiteY25" fmla="*/ 660843 h 662481"/>
                <a:gd name="connsiteX26" fmla="*/ 323879 w 652973"/>
                <a:gd name="connsiteY26" fmla="*/ 654287 h 662481"/>
                <a:gd name="connsiteX27" fmla="*/ 644894 w 652973"/>
                <a:gd name="connsiteY27" fmla="*/ 328664 h 662481"/>
                <a:gd name="connsiteX28" fmla="*/ 643322 w 652973"/>
                <a:gd name="connsiteY28" fmla="*/ 287381 h 662481"/>
                <a:gd name="connsiteX29" fmla="*/ 649774 w 652973"/>
                <a:gd name="connsiteY29" fmla="*/ 287381 h 662481"/>
                <a:gd name="connsiteX30" fmla="*/ 649774 w 652973"/>
                <a:gd name="connsiteY30" fmla="*/ 293916 h 662481"/>
                <a:gd name="connsiteX31" fmla="*/ 290638 w 652973"/>
                <a:gd name="connsiteY31" fmla="*/ 657675 h 662481"/>
                <a:gd name="connsiteX32" fmla="*/ 284187 w 652973"/>
                <a:gd name="connsiteY32" fmla="*/ 657675 h 662481"/>
                <a:gd name="connsiteX33" fmla="*/ 284187 w 652973"/>
                <a:gd name="connsiteY33" fmla="*/ 651140 h 662481"/>
                <a:gd name="connsiteX34" fmla="*/ 643322 w 652973"/>
                <a:gd name="connsiteY34" fmla="*/ 287381 h 662481"/>
                <a:gd name="connsiteX35" fmla="*/ 636971 w 652973"/>
                <a:gd name="connsiteY35" fmla="*/ 250868 h 662481"/>
                <a:gd name="connsiteX36" fmla="*/ 643423 w 652973"/>
                <a:gd name="connsiteY36" fmla="*/ 250868 h 662481"/>
                <a:gd name="connsiteX37" fmla="*/ 643423 w 652973"/>
                <a:gd name="connsiteY37" fmla="*/ 257397 h 662481"/>
                <a:gd name="connsiteX38" fmla="*/ 254127 w 652973"/>
                <a:gd name="connsiteY38" fmla="*/ 651328 h 662481"/>
                <a:gd name="connsiteX39" fmla="*/ 247675 w 652973"/>
                <a:gd name="connsiteY39" fmla="*/ 651328 h 662481"/>
                <a:gd name="connsiteX40" fmla="*/ 247675 w 652973"/>
                <a:gd name="connsiteY40" fmla="*/ 644798 h 662481"/>
                <a:gd name="connsiteX41" fmla="*/ 636971 w 652973"/>
                <a:gd name="connsiteY41" fmla="*/ 250868 h 662481"/>
                <a:gd name="connsiteX42" fmla="*/ 625843 w 652973"/>
                <a:gd name="connsiteY42" fmla="*/ 217532 h 662481"/>
                <a:gd name="connsiteX43" fmla="*/ 632307 w 652973"/>
                <a:gd name="connsiteY43" fmla="*/ 217532 h 662481"/>
                <a:gd name="connsiteX44" fmla="*/ 632307 w 652973"/>
                <a:gd name="connsiteY44" fmla="*/ 224068 h 662481"/>
                <a:gd name="connsiteX45" fmla="*/ 220804 w 652973"/>
                <a:gd name="connsiteY45" fmla="*/ 640212 h 662481"/>
                <a:gd name="connsiteX46" fmla="*/ 214341 w 652973"/>
                <a:gd name="connsiteY46" fmla="*/ 640212 h 662481"/>
                <a:gd name="connsiteX47" fmla="*/ 214341 w 652973"/>
                <a:gd name="connsiteY47" fmla="*/ 633676 h 662481"/>
                <a:gd name="connsiteX48" fmla="*/ 625843 w 652973"/>
                <a:gd name="connsiteY48" fmla="*/ 217532 h 662481"/>
                <a:gd name="connsiteX49" fmla="*/ 613140 w 652973"/>
                <a:gd name="connsiteY49" fmla="*/ 187370 h 662481"/>
                <a:gd name="connsiteX50" fmla="*/ 619607 w 652973"/>
                <a:gd name="connsiteY50" fmla="*/ 187370 h 662481"/>
                <a:gd name="connsiteX51" fmla="*/ 619607 w 652973"/>
                <a:gd name="connsiteY51" fmla="*/ 193907 h 662481"/>
                <a:gd name="connsiteX52" fmla="*/ 190647 w 652973"/>
                <a:gd name="connsiteY52" fmla="*/ 627512 h 662481"/>
                <a:gd name="connsiteX53" fmla="*/ 184180 w 652973"/>
                <a:gd name="connsiteY53" fmla="*/ 627512 h 662481"/>
                <a:gd name="connsiteX54" fmla="*/ 184180 w 652973"/>
                <a:gd name="connsiteY54" fmla="*/ 620975 h 662481"/>
                <a:gd name="connsiteX55" fmla="*/ 613140 w 652973"/>
                <a:gd name="connsiteY55" fmla="*/ 187370 h 662481"/>
                <a:gd name="connsiteX56" fmla="*/ 597299 w 652973"/>
                <a:gd name="connsiteY56" fmla="*/ 158793 h 662481"/>
                <a:gd name="connsiteX57" fmla="*/ 603739 w 652973"/>
                <a:gd name="connsiteY57" fmla="*/ 158793 h 662481"/>
                <a:gd name="connsiteX58" fmla="*/ 603739 w 652973"/>
                <a:gd name="connsiteY58" fmla="*/ 165325 h 662481"/>
                <a:gd name="connsiteX59" fmla="*/ 163624 w 652973"/>
                <a:gd name="connsiteY59" fmla="*/ 611639 h 662481"/>
                <a:gd name="connsiteX60" fmla="*/ 157183 w 652973"/>
                <a:gd name="connsiteY60" fmla="*/ 611639 h 662481"/>
                <a:gd name="connsiteX61" fmla="*/ 157183 w 652973"/>
                <a:gd name="connsiteY61" fmla="*/ 605108 h 662481"/>
                <a:gd name="connsiteX62" fmla="*/ 597299 w 652973"/>
                <a:gd name="connsiteY62" fmla="*/ 158793 h 662481"/>
                <a:gd name="connsiteX63" fmla="*/ 581377 w 652973"/>
                <a:gd name="connsiteY63" fmla="*/ 133390 h 662481"/>
                <a:gd name="connsiteX64" fmla="*/ 587854 w 652973"/>
                <a:gd name="connsiteY64" fmla="*/ 133390 h 662481"/>
                <a:gd name="connsiteX65" fmla="*/ 587854 w 652973"/>
                <a:gd name="connsiteY65" fmla="*/ 139910 h 662481"/>
                <a:gd name="connsiteX66" fmla="*/ 136684 w 652973"/>
                <a:gd name="connsiteY66" fmla="*/ 594181 h 662481"/>
                <a:gd name="connsiteX67" fmla="*/ 130208 w 652973"/>
                <a:gd name="connsiteY67" fmla="*/ 594181 h 662481"/>
                <a:gd name="connsiteX68" fmla="*/ 130208 w 652973"/>
                <a:gd name="connsiteY68" fmla="*/ 587660 h 662481"/>
                <a:gd name="connsiteX69" fmla="*/ 581377 w 652973"/>
                <a:gd name="connsiteY69" fmla="*/ 133390 h 662481"/>
                <a:gd name="connsiteX70" fmla="*/ 560761 w 652973"/>
                <a:gd name="connsiteY70" fmla="*/ 109579 h 662481"/>
                <a:gd name="connsiteX71" fmla="*/ 567221 w 652973"/>
                <a:gd name="connsiteY71" fmla="*/ 109579 h 662481"/>
                <a:gd name="connsiteX72" fmla="*/ 567221 w 652973"/>
                <a:gd name="connsiteY72" fmla="*/ 116105 h 662481"/>
                <a:gd name="connsiteX73" fmla="*/ 112850 w 652973"/>
                <a:gd name="connsiteY73" fmla="*/ 575128 h 662481"/>
                <a:gd name="connsiteX74" fmla="*/ 106390 w 652973"/>
                <a:gd name="connsiteY74" fmla="*/ 575128 h 662481"/>
                <a:gd name="connsiteX75" fmla="*/ 106390 w 652973"/>
                <a:gd name="connsiteY75" fmla="*/ 568601 h 662481"/>
                <a:gd name="connsiteX76" fmla="*/ 560761 w 652973"/>
                <a:gd name="connsiteY76" fmla="*/ 109579 h 662481"/>
                <a:gd name="connsiteX77" fmla="*/ 540124 w 652973"/>
                <a:gd name="connsiteY77" fmla="*/ 87354 h 662481"/>
                <a:gd name="connsiteX78" fmla="*/ 546584 w 652973"/>
                <a:gd name="connsiteY78" fmla="*/ 87354 h 662481"/>
                <a:gd name="connsiteX79" fmla="*/ 546584 w 652973"/>
                <a:gd name="connsiteY79" fmla="*/ 93880 h 662481"/>
                <a:gd name="connsiteX80" fmla="*/ 92213 w 652973"/>
                <a:gd name="connsiteY80" fmla="*/ 552903 h 662481"/>
                <a:gd name="connsiteX81" fmla="*/ 85753 w 652973"/>
                <a:gd name="connsiteY81" fmla="*/ 552903 h 662481"/>
                <a:gd name="connsiteX82" fmla="*/ 85753 w 652973"/>
                <a:gd name="connsiteY82" fmla="*/ 546376 h 662481"/>
                <a:gd name="connsiteX83" fmla="*/ 540124 w 652973"/>
                <a:gd name="connsiteY83" fmla="*/ 87354 h 662481"/>
                <a:gd name="connsiteX84" fmla="*/ 125866 w 652973"/>
                <a:gd name="connsiteY84" fmla="*/ 69899 h 662481"/>
                <a:gd name="connsiteX85" fmla="*/ 132266 w 652973"/>
                <a:gd name="connsiteY85" fmla="*/ 69899 h 662481"/>
                <a:gd name="connsiteX86" fmla="*/ 132266 w 652973"/>
                <a:gd name="connsiteY86" fmla="*/ 76447 h 662481"/>
                <a:gd name="connsiteX87" fmla="*/ 74669 w 652973"/>
                <a:gd name="connsiteY87" fmla="*/ 135383 h 662481"/>
                <a:gd name="connsiteX88" fmla="*/ 68269 w 652973"/>
                <a:gd name="connsiteY88" fmla="*/ 135383 h 662481"/>
                <a:gd name="connsiteX89" fmla="*/ 68269 w 652973"/>
                <a:gd name="connsiteY89" fmla="*/ 128835 h 662481"/>
                <a:gd name="connsiteX90" fmla="*/ 125866 w 652973"/>
                <a:gd name="connsiteY90" fmla="*/ 69899 h 662481"/>
                <a:gd name="connsiteX91" fmla="*/ 516319 w 652973"/>
                <a:gd name="connsiteY91" fmla="*/ 68302 h 662481"/>
                <a:gd name="connsiteX92" fmla="*/ 522773 w 652973"/>
                <a:gd name="connsiteY92" fmla="*/ 68302 h 662481"/>
                <a:gd name="connsiteX93" fmla="*/ 522773 w 652973"/>
                <a:gd name="connsiteY93" fmla="*/ 74822 h 662481"/>
                <a:gd name="connsiteX94" fmla="*/ 73154 w 652973"/>
                <a:gd name="connsiteY94" fmla="*/ 529093 h 662481"/>
                <a:gd name="connsiteX95" fmla="*/ 66701 w 652973"/>
                <a:gd name="connsiteY95" fmla="*/ 529093 h 662481"/>
                <a:gd name="connsiteX96" fmla="*/ 66701 w 652973"/>
                <a:gd name="connsiteY96" fmla="*/ 522572 h 662481"/>
                <a:gd name="connsiteX97" fmla="*/ 516319 w 652973"/>
                <a:gd name="connsiteY97" fmla="*/ 68302 h 662481"/>
                <a:gd name="connsiteX98" fmla="*/ 490906 w 652973"/>
                <a:gd name="connsiteY98" fmla="*/ 50843 h 662481"/>
                <a:gd name="connsiteX99" fmla="*/ 497370 w 652973"/>
                <a:gd name="connsiteY99" fmla="*/ 50843 h 662481"/>
                <a:gd name="connsiteX100" fmla="*/ 497370 w 652973"/>
                <a:gd name="connsiteY100" fmla="*/ 57375 h 662481"/>
                <a:gd name="connsiteX101" fmla="*/ 55704 w 652973"/>
                <a:gd name="connsiteY101" fmla="*/ 503689 h 662481"/>
                <a:gd name="connsiteX102" fmla="*/ 49241 w 652973"/>
                <a:gd name="connsiteY102" fmla="*/ 503689 h 662481"/>
                <a:gd name="connsiteX103" fmla="*/ 49241 w 652973"/>
                <a:gd name="connsiteY103" fmla="*/ 497158 h 662481"/>
                <a:gd name="connsiteX104" fmla="*/ 490906 w 652973"/>
                <a:gd name="connsiteY104" fmla="*/ 50843 h 662481"/>
                <a:gd name="connsiteX105" fmla="*/ 462327 w 652973"/>
                <a:gd name="connsiteY105" fmla="*/ 34970 h 662481"/>
                <a:gd name="connsiteX106" fmla="*/ 468794 w 652973"/>
                <a:gd name="connsiteY106" fmla="*/ 34970 h 662481"/>
                <a:gd name="connsiteX107" fmla="*/ 468794 w 652973"/>
                <a:gd name="connsiteY107" fmla="*/ 41507 h 662481"/>
                <a:gd name="connsiteX108" fmla="*/ 39834 w 652973"/>
                <a:gd name="connsiteY108" fmla="*/ 475112 h 662481"/>
                <a:gd name="connsiteX109" fmla="*/ 33367 w 652973"/>
                <a:gd name="connsiteY109" fmla="*/ 475112 h 662481"/>
                <a:gd name="connsiteX110" fmla="*/ 33367 w 652973"/>
                <a:gd name="connsiteY110" fmla="*/ 468575 h 662481"/>
                <a:gd name="connsiteX111" fmla="*/ 462327 w 652973"/>
                <a:gd name="connsiteY111" fmla="*/ 34970 h 662481"/>
                <a:gd name="connsiteX112" fmla="*/ 432168 w 652973"/>
                <a:gd name="connsiteY112" fmla="*/ 22270 h 662481"/>
                <a:gd name="connsiteX113" fmla="*/ 438632 w 652973"/>
                <a:gd name="connsiteY113" fmla="*/ 22270 h 662481"/>
                <a:gd name="connsiteX114" fmla="*/ 438632 w 652973"/>
                <a:gd name="connsiteY114" fmla="*/ 28806 h 662481"/>
                <a:gd name="connsiteX115" fmla="*/ 27129 w 652973"/>
                <a:gd name="connsiteY115" fmla="*/ 444950 h 662481"/>
                <a:gd name="connsiteX116" fmla="*/ 20665 w 652973"/>
                <a:gd name="connsiteY116" fmla="*/ 444950 h 662481"/>
                <a:gd name="connsiteX117" fmla="*/ 20665 w 652973"/>
                <a:gd name="connsiteY117" fmla="*/ 438414 h 662481"/>
                <a:gd name="connsiteX118" fmla="*/ 432168 w 652973"/>
                <a:gd name="connsiteY118" fmla="*/ 22270 h 662481"/>
                <a:gd name="connsiteX119" fmla="*/ 219444 w 652973"/>
                <a:gd name="connsiteY119" fmla="*/ 19103 h 662481"/>
                <a:gd name="connsiteX120" fmla="*/ 225908 w 652973"/>
                <a:gd name="connsiteY120" fmla="*/ 19103 h 662481"/>
                <a:gd name="connsiteX121" fmla="*/ 225908 w 652973"/>
                <a:gd name="connsiteY121" fmla="*/ 25663 h 662481"/>
                <a:gd name="connsiteX122" fmla="*/ 25542 w 652973"/>
                <a:gd name="connsiteY122" fmla="*/ 229042 h 662481"/>
                <a:gd name="connsiteX123" fmla="*/ 19078 w 652973"/>
                <a:gd name="connsiteY123" fmla="*/ 229042 h 662481"/>
                <a:gd name="connsiteX124" fmla="*/ 19078 w 652973"/>
                <a:gd name="connsiteY124" fmla="*/ 222482 h 662481"/>
                <a:gd name="connsiteX125" fmla="*/ 219444 w 652973"/>
                <a:gd name="connsiteY125" fmla="*/ 19103 h 662481"/>
                <a:gd name="connsiteX126" fmla="*/ 400400 w 652973"/>
                <a:gd name="connsiteY126" fmla="*/ 11154 h 662481"/>
                <a:gd name="connsiteX127" fmla="*/ 406878 w 652973"/>
                <a:gd name="connsiteY127" fmla="*/ 11154 h 662481"/>
                <a:gd name="connsiteX128" fmla="*/ 406878 w 652973"/>
                <a:gd name="connsiteY128" fmla="*/ 17684 h 662481"/>
                <a:gd name="connsiteX129" fmla="*/ 16036 w 652973"/>
                <a:gd name="connsiteY129" fmla="*/ 411615 h 662481"/>
                <a:gd name="connsiteX130" fmla="*/ 9558 w 652973"/>
                <a:gd name="connsiteY130" fmla="*/ 411615 h 662481"/>
                <a:gd name="connsiteX131" fmla="*/ 9558 w 652973"/>
                <a:gd name="connsiteY131" fmla="*/ 405085 h 662481"/>
                <a:gd name="connsiteX132" fmla="*/ 400400 w 652973"/>
                <a:gd name="connsiteY132" fmla="*/ 11154 h 662481"/>
                <a:gd name="connsiteX133" fmla="*/ 274488 w 652973"/>
                <a:gd name="connsiteY133" fmla="*/ 6397 h 662481"/>
                <a:gd name="connsiteX134" fmla="*/ 283067 w 652973"/>
                <a:gd name="connsiteY134" fmla="*/ 6397 h 662481"/>
                <a:gd name="connsiteX135" fmla="*/ 283067 w 652973"/>
                <a:gd name="connsiteY135" fmla="*/ 12941 h 662481"/>
                <a:gd name="connsiteX136" fmla="*/ 12804 w 652973"/>
                <a:gd name="connsiteY136" fmla="*/ 287785 h 662481"/>
                <a:gd name="connsiteX137" fmla="*/ 6369 w 652973"/>
                <a:gd name="connsiteY137" fmla="*/ 287785 h 662481"/>
                <a:gd name="connsiteX138" fmla="*/ 6369 w 652973"/>
                <a:gd name="connsiteY138" fmla="*/ 279060 h 662481"/>
                <a:gd name="connsiteX139" fmla="*/ 274488 w 652973"/>
                <a:gd name="connsiteY139" fmla="*/ 6397 h 662481"/>
                <a:gd name="connsiteX140" fmla="*/ 363885 w 652973"/>
                <a:gd name="connsiteY140" fmla="*/ 4806 h 662481"/>
                <a:gd name="connsiteX141" fmla="*/ 370364 w 652973"/>
                <a:gd name="connsiteY141" fmla="*/ 4806 h 662481"/>
                <a:gd name="connsiteX142" fmla="*/ 370364 w 652973"/>
                <a:gd name="connsiteY142" fmla="*/ 11341 h 662481"/>
                <a:gd name="connsiteX143" fmla="*/ 9688 w 652973"/>
                <a:gd name="connsiteY143" fmla="*/ 375100 h 662481"/>
                <a:gd name="connsiteX144" fmla="*/ 3208 w 652973"/>
                <a:gd name="connsiteY144" fmla="*/ 375100 h 662481"/>
                <a:gd name="connsiteX145" fmla="*/ 3208 w 652973"/>
                <a:gd name="connsiteY145" fmla="*/ 368565 h 662481"/>
                <a:gd name="connsiteX146" fmla="*/ 363885 w 652973"/>
                <a:gd name="connsiteY146" fmla="*/ 4806 h 662481"/>
                <a:gd name="connsiteX147" fmla="*/ 322631 w 652973"/>
                <a:gd name="connsiteY147" fmla="*/ 1638 h 662481"/>
                <a:gd name="connsiteX148" fmla="*/ 329095 w 652973"/>
                <a:gd name="connsiteY148" fmla="*/ 1638 h 662481"/>
                <a:gd name="connsiteX149" fmla="*/ 329095 w 652973"/>
                <a:gd name="connsiteY149" fmla="*/ 8194 h 662481"/>
                <a:gd name="connsiteX150" fmla="*/ 8079 w 652973"/>
                <a:gd name="connsiteY150" fmla="*/ 333818 h 662481"/>
                <a:gd name="connsiteX151" fmla="*/ 1615 w 652973"/>
                <a:gd name="connsiteY151" fmla="*/ 333818 h 662481"/>
                <a:gd name="connsiteX152" fmla="*/ 1615 w 652973"/>
                <a:gd name="connsiteY152" fmla="*/ 327262 h 662481"/>
                <a:gd name="connsiteX153" fmla="*/ 322631 w 652973"/>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3" h="662481">
                  <a:moveTo>
                    <a:pt x="578304" y="527099"/>
                  </a:moveTo>
                  <a:cubicBezTo>
                    <a:pt x="578304" y="524916"/>
                    <a:pt x="582571" y="524916"/>
                    <a:pt x="584704" y="527099"/>
                  </a:cubicBezTo>
                  <a:cubicBezTo>
                    <a:pt x="586837" y="529282"/>
                    <a:pt x="586837" y="531465"/>
                    <a:pt x="584704" y="533647"/>
                  </a:cubicBezTo>
                  <a:cubicBezTo>
                    <a:pt x="584704" y="533647"/>
                    <a:pt x="584704" y="533647"/>
                    <a:pt x="527107" y="592583"/>
                  </a:cubicBezTo>
                  <a:cubicBezTo>
                    <a:pt x="524974" y="594766"/>
                    <a:pt x="522841" y="594766"/>
                    <a:pt x="520707" y="592583"/>
                  </a:cubicBezTo>
                  <a:cubicBezTo>
                    <a:pt x="518574" y="590401"/>
                    <a:pt x="518574" y="586035"/>
                    <a:pt x="520707" y="586035"/>
                  </a:cubicBezTo>
                  <a:cubicBezTo>
                    <a:pt x="520707" y="586035"/>
                    <a:pt x="520707" y="586035"/>
                    <a:pt x="578304"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4" y="328664"/>
                  </a:moveTo>
                  <a:cubicBezTo>
                    <a:pt x="647049" y="326478"/>
                    <a:pt x="649203" y="326478"/>
                    <a:pt x="651358" y="328664"/>
                  </a:cubicBezTo>
                  <a:cubicBezTo>
                    <a:pt x="653512" y="330849"/>
                    <a:pt x="653512" y="333034"/>
                    <a:pt x="651358" y="335220"/>
                  </a:cubicBezTo>
                  <a:cubicBezTo>
                    <a:pt x="651358" y="335220"/>
                    <a:pt x="651358" y="335220"/>
                    <a:pt x="330342" y="660843"/>
                  </a:cubicBezTo>
                  <a:cubicBezTo>
                    <a:pt x="328188" y="663028"/>
                    <a:pt x="326033" y="663028"/>
                    <a:pt x="323879" y="660843"/>
                  </a:cubicBezTo>
                  <a:cubicBezTo>
                    <a:pt x="321724" y="658657"/>
                    <a:pt x="321724" y="656472"/>
                    <a:pt x="323879" y="654287"/>
                  </a:cubicBezTo>
                  <a:cubicBezTo>
                    <a:pt x="323879" y="654287"/>
                    <a:pt x="323879" y="654287"/>
                    <a:pt x="644894" y="328664"/>
                  </a:cubicBezTo>
                  <a:close/>
                  <a:moveTo>
                    <a:pt x="643322" y="287381"/>
                  </a:moveTo>
                  <a:cubicBezTo>
                    <a:pt x="645473" y="285203"/>
                    <a:pt x="647623" y="285203"/>
                    <a:pt x="649774" y="287381"/>
                  </a:cubicBezTo>
                  <a:cubicBezTo>
                    <a:pt x="651924" y="289560"/>
                    <a:pt x="651924" y="291738"/>
                    <a:pt x="649774" y="293916"/>
                  </a:cubicBezTo>
                  <a:cubicBezTo>
                    <a:pt x="649774" y="293916"/>
                    <a:pt x="649774" y="293916"/>
                    <a:pt x="290638" y="657675"/>
                  </a:cubicBezTo>
                  <a:cubicBezTo>
                    <a:pt x="288488" y="659853"/>
                    <a:pt x="286337" y="659853"/>
                    <a:pt x="284187" y="657675"/>
                  </a:cubicBezTo>
                  <a:cubicBezTo>
                    <a:pt x="282036" y="655497"/>
                    <a:pt x="282036" y="653319"/>
                    <a:pt x="284187" y="651140"/>
                  </a:cubicBezTo>
                  <a:cubicBezTo>
                    <a:pt x="284187" y="651140"/>
                    <a:pt x="284187" y="651140"/>
                    <a:pt x="643322" y="287381"/>
                  </a:cubicBezTo>
                  <a:close/>
                  <a:moveTo>
                    <a:pt x="636971" y="250868"/>
                  </a:moveTo>
                  <a:cubicBezTo>
                    <a:pt x="639122" y="248691"/>
                    <a:pt x="641273" y="248691"/>
                    <a:pt x="643423" y="250868"/>
                  </a:cubicBezTo>
                  <a:cubicBezTo>
                    <a:pt x="645574" y="253044"/>
                    <a:pt x="645574" y="255220"/>
                    <a:pt x="643423" y="257397"/>
                  </a:cubicBezTo>
                  <a:cubicBezTo>
                    <a:pt x="643423" y="257397"/>
                    <a:pt x="643423" y="257397"/>
                    <a:pt x="254127" y="651328"/>
                  </a:cubicBezTo>
                  <a:cubicBezTo>
                    <a:pt x="251977" y="653504"/>
                    <a:pt x="249826" y="653504"/>
                    <a:pt x="247675" y="651328"/>
                  </a:cubicBezTo>
                  <a:cubicBezTo>
                    <a:pt x="245524" y="649151"/>
                    <a:pt x="245524" y="646975"/>
                    <a:pt x="247675" y="644798"/>
                  </a:cubicBezTo>
                  <a:cubicBezTo>
                    <a:pt x="247675" y="644798"/>
                    <a:pt x="247675" y="644798"/>
                    <a:pt x="636971"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40" y="187370"/>
                  </a:moveTo>
                  <a:cubicBezTo>
                    <a:pt x="615295" y="185191"/>
                    <a:pt x="617451" y="185191"/>
                    <a:pt x="619607" y="187370"/>
                  </a:cubicBezTo>
                  <a:cubicBezTo>
                    <a:pt x="621762" y="187370"/>
                    <a:pt x="621762" y="191728"/>
                    <a:pt x="619607" y="193907"/>
                  </a:cubicBezTo>
                  <a:cubicBezTo>
                    <a:pt x="619607" y="193907"/>
                    <a:pt x="619607" y="193907"/>
                    <a:pt x="190647" y="627512"/>
                  </a:cubicBezTo>
                  <a:cubicBezTo>
                    <a:pt x="188491" y="629691"/>
                    <a:pt x="184180" y="629691"/>
                    <a:pt x="184180" y="627512"/>
                  </a:cubicBezTo>
                  <a:cubicBezTo>
                    <a:pt x="182024" y="625333"/>
                    <a:pt x="182024" y="623154"/>
                    <a:pt x="184180" y="620975"/>
                  </a:cubicBezTo>
                  <a:cubicBezTo>
                    <a:pt x="184180" y="620975"/>
                    <a:pt x="184180" y="620975"/>
                    <a:pt x="613140" y="187370"/>
                  </a:cubicBezTo>
                  <a:close/>
                  <a:moveTo>
                    <a:pt x="597299" y="158793"/>
                  </a:moveTo>
                  <a:cubicBezTo>
                    <a:pt x="599446" y="156616"/>
                    <a:pt x="601592" y="156616"/>
                    <a:pt x="603739" y="158793"/>
                  </a:cubicBezTo>
                  <a:cubicBezTo>
                    <a:pt x="605886" y="160970"/>
                    <a:pt x="605886" y="163148"/>
                    <a:pt x="603739" y="165325"/>
                  </a:cubicBezTo>
                  <a:cubicBezTo>
                    <a:pt x="603739" y="165325"/>
                    <a:pt x="603739" y="165325"/>
                    <a:pt x="163624" y="611639"/>
                  </a:cubicBezTo>
                  <a:cubicBezTo>
                    <a:pt x="161477" y="613816"/>
                    <a:pt x="159330" y="613816"/>
                    <a:pt x="157183" y="611639"/>
                  </a:cubicBezTo>
                  <a:cubicBezTo>
                    <a:pt x="155036" y="609462"/>
                    <a:pt x="155036" y="607285"/>
                    <a:pt x="157183" y="605108"/>
                  </a:cubicBezTo>
                  <a:cubicBezTo>
                    <a:pt x="157183" y="605108"/>
                    <a:pt x="157183" y="605108"/>
                    <a:pt x="597299" y="158793"/>
                  </a:cubicBezTo>
                  <a:close/>
                  <a:moveTo>
                    <a:pt x="581377" y="133390"/>
                  </a:moveTo>
                  <a:cubicBezTo>
                    <a:pt x="583536" y="131216"/>
                    <a:pt x="585695" y="131216"/>
                    <a:pt x="587854" y="133390"/>
                  </a:cubicBezTo>
                  <a:cubicBezTo>
                    <a:pt x="590012" y="135563"/>
                    <a:pt x="590012" y="137737"/>
                    <a:pt x="587854" y="139910"/>
                  </a:cubicBezTo>
                  <a:cubicBezTo>
                    <a:pt x="587854" y="139910"/>
                    <a:pt x="587854" y="139910"/>
                    <a:pt x="136684" y="594181"/>
                  </a:cubicBezTo>
                  <a:cubicBezTo>
                    <a:pt x="134525" y="596354"/>
                    <a:pt x="132367" y="596354"/>
                    <a:pt x="130208" y="594181"/>
                  </a:cubicBezTo>
                  <a:cubicBezTo>
                    <a:pt x="128049" y="592007"/>
                    <a:pt x="128049" y="589834"/>
                    <a:pt x="130208" y="587660"/>
                  </a:cubicBezTo>
                  <a:cubicBezTo>
                    <a:pt x="130208" y="587660"/>
                    <a:pt x="130208" y="587660"/>
                    <a:pt x="581377"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4" y="87354"/>
                  </a:moveTo>
                  <a:cubicBezTo>
                    <a:pt x="542277" y="85178"/>
                    <a:pt x="544430" y="85178"/>
                    <a:pt x="546584" y="87354"/>
                  </a:cubicBezTo>
                  <a:cubicBezTo>
                    <a:pt x="548737" y="89529"/>
                    <a:pt x="548737" y="91705"/>
                    <a:pt x="546584" y="93880"/>
                  </a:cubicBezTo>
                  <a:cubicBezTo>
                    <a:pt x="546584" y="93880"/>
                    <a:pt x="546584" y="93880"/>
                    <a:pt x="92213" y="552903"/>
                  </a:cubicBezTo>
                  <a:cubicBezTo>
                    <a:pt x="90059" y="555078"/>
                    <a:pt x="87906" y="555078"/>
                    <a:pt x="85753" y="552903"/>
                  </a:cubicBezTo>
                  <a:cubicBezTo>
                    <a:pt x="83599" y="550727"/>
                    <a:pt x="83599" y="548552"/>
                    <a:pt x="85753" y="546376"/>
                  </a:cubicBezTo>
                  <a:cubicBezTo>
                    <a:pt x="85753" y="546376"/>
                    <a:pt x="85753" y="546376"/>
                    <a:pt x="540124"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319" y="68302"/>
                  </a:moveTo>
                  <a:cubicBezTo>
                    <a:pt x="518470" y="66128"/>
                    <a:pt x="520622" y="66128"/>
                    <a:pt x="522773" y="68302"/>
                  </a:cubicBezTo>
                  <a:cubicBezTo>
                    <a:pt x="524924" y="70475"/>
                    <a:pt x="524924" y="72649"/>
                    <a:pt x="522773" y="74822"/>
                  </a:cubicBezTo>
                  <a:cubicBezTo>
                    <a:pt x="522773" y="74822"/>
                    <a:pt x="522773" y="74822"/>
                    <a:pt x="73154" y="529093"/>
                  </a:cubicBezTo>
                  <a:cubicBezTo>
                    <a:pt x="71003" y="531266"/>
                    <a:pt x="68852" y="531266"/>
                    <a:pt x="66701" y="529093"/>
                  </a:cubicBezTo>
                  <a:cubicBezTo>
                    <a:pt x="64549" y="526919"/>
                    <a:pt x="64549" y="524746"/>
                    <a:pt x="66701" y="522572"/>
                  </a:cubicBezTo>
                  <a:cubicBezTo>
                    <a:pt x="66701" y="522572"/>
                    <a:pt x="66701" y="522572"/>
                    <a:pt x="516319" y="68302"/>
                  </a:cubicBezTo>
                  <a:close/>
                  <a:moveTo>
                    <a:pt x="490906" y="50843"/>
                  </a:moveTo>
                  <a:cubicBezTo>
                    <a:pt x="493061" y="48666"/>
                    <a:pt x="495215" y="48666"/>
                    <a:pt x="497370" y="50843"/>
                  </a:cubicBezTo>
                  <a:cubicBezTo>
                    <a:pt x="499524" y="53020"/>
                    <a:pt x="499524" y="55198"/>
                    <a:pt x="497370" y="57375"/>
                  </a:cubicBezTo>
                  <a:cubicBezTo>
                    <a:pt x="497370" y="57375"/>
                    <a:pt x="497370" y="57375"/>
                    <a:pt x="55704" y="503689"/>
                  </a:cubicBezTo>
                  <a:cubicBezTo>
                    <a:pt x="53550" y="505866"/>
                    <a:pt x="51395" y="505866"/>
                    <a:pt x="49241" y="503689"/>
                  </a:cubicBezTo>
                  <a:cubicBezTo>
                    <a:pt x="47086" y="501512"/>
                    <a:pt x="47086" y="499335"/>
                    <a:pt x="49241" y="497158"/>
                  </a:cubicBezTo>
                  <a:cubicBezTo>
                    <a:pt x="49241" y="497158"/>
                    <a:pt x="49241" y="497158"/>
                    <a:pt x="490906"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4"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4" y="19103"/>
                  </a:moveTo>
                  <a:cubicBezTo>
                    <a:pt x="221599" y="16916"/>
                    <a:pt x="223753" y="16916"/>
                    <a:pt x="225908" y="19103"/>
                  </a:cubicBezTo>
                  <a:cubicBezTo>
                    <a:pt x="228062" y="21290"/>
                    <a:pt x="228062" y="23476"/>
                    <a:pt x="225908" y="25663"/>
                  </a:cubicBezTo>
                  <a:cubicBezTo>
                    <a:pt x="225908" y="25663"/>
                    <a:pt x="225908" y="25663"/>
                    <a:pt x="25542" y="229042"/>
                  </a:cubicBezTo>
                  <a:cubicBezTo>
                    <a:pt x="23387" y="231229"/>
                    <a:pt x="21233" y="231229"/>
                    <a:pt x="19078" y="229042"/>
                  </a:cubicBezTo>
                  <a:cubicBezTo>
                    <a:pt x="16924" y="226855"/>
                    <a:pt x="16924" y="224669"/>
                    <a:pt x="19078" y="222482"/>
                  </a:cubicBezTo>
                  <a:cubicBezTo>
                    <a:pt x="19078" y="222482"/>
                    <a:pt x="19078" y="222482"/>
                    <a:pt x="219444" y="19103"/>
                  </a:cubicBezTo>
                  <a:close/>
                  <a:moveTo>
                    <a:pt x="400400" y="11154"/>
                  </a:moveTo>
                  <a:cubicBezTo>
                    <a:pt x="402559" y="8978"/>
                    <a:pt x="404719" y="8978"/>
                    <a:pt x="406878" y="11154"/>
                  </a:cubicBezTo>
                  <a:cubicBezTo>
                    <a:pt x="409037" y="13331"/>
                    <a:pt x="409037" y="15507"/>
                    <a:pt x="406878" y="17684"/>
                  </a:cubicBezTo>
                  <a:cubicBezTo>
                    <a:pt x="406878" y="17684"/>
                    <a:pt x="406878" y="17684"/>
                    <a:pt x="16036" y="411615"/>
                  </a:cubicBezTo>
                  <a:cubicBezTo>
                    <a:pt x="13877" y="413791"/>
                    <a:pt x="11717" y="413791"/>
                    <a:pt x="9558" y="411615"/>
                  </a:cubicBezTo>
                  <a:cubicBezTo>
                    <a:pt x="7399" y="409438"/>
                    <a:pt x="7399" y="407262"/>
                    <a:pt x="9558" y="405085"/>
                  </a:cubicBezTo>
                  <a:cubicBezTo>
                    <a:pt x="9558" y="405085"/>
                    <a:pt x="9558" y="405085"/>
                    <a:pt x="400400" y="11154"/>
                  </a:cubicBezTo>
                  <a:close/>
                  <a:moveTo>
                    <a:pt x="274488" y="6397"/>
                  </a:moveTo>
                  <a:cubicBezTo>
                    <a:pt x="276632" y="4216"/>
                    <a:pt x="280922" y="4216"/>
                    <a:pt x="283067" y="6397"/>
                  </a:cubicBezTo>
                  <a:cubicBezTo>
                    <a:pt x="285212" y="6397"/>
                    <a:pt x="285212" y="10760"/>
                    <a:pt x="283067" y="12941"/>
                  </a:cubicBezTo>
                  <a:cubicBezTo>
                    <a:pt x="283067" y="12941"/>
                    <a:pt x="283067" y="12941"/>
                    <a:pt x="12804" y="287785"/>
                  </a:cubicBezTo>
                  <a:cubicBezTo>
                    <a:pt x="10659" y="289966"/>
                    <a:pt x="6369" y="289966"/>
                    <a:pt x="6369" y="287785"/>
                  </a:cubicBezTo>
                  <a:cubicBezTo>
                    <a:pt x="4224" y="285604"/>
                    <a:pt x="4224" y="281241"/>
                    <a:pt x="6369" y="279060"/>
                  </a:cubicBezTo>
                  <a:cubicBezTo>
                    <a:pt x="6369" y="279060"/>
                    <a:pt x="6369" y="279060"/>
                    <a:pt x="274488" y="6397"/>
                  </a:cubicBezTo>
                  <a:close/>
                  <a:moveTo>
                    <a:pt x="363885" y="4806"/>
                  </a:moveTo>
                  <a:cubicBezTo>
                    <a:pt x="366045" y="2628"/>
                    <a:pt x="368205" y="2628"/>
                    <a:pt x="370364" y="4806"/>
                  </a:cubicBezTo>
                  <a:cubicBezTo>
                    <a:pt x="372524" y="6984"/>
                    <a:pt x="372524" y="9162"/>
                    <a:pt x="370364" y="11341"/>
                  </a:cubicBezTo>
                  <a:cubicBezTo>
                    <a:pt x="370364" y="11341"/>
                    <a:pt x="370364" y="11341"/>
                    <a:pt x="9688" y="375100"/>
                  </a:cubicBezTo>
                  <a:cubicBezTo>
                    <a:pt x="7528" y="377278"/>
                    <a:pt x="5368" y="377278"/>
                    <a:pt x="3208" y="375100"/>
                  </a:cubicBezTo>
                  <a:cubicBezTo>
                    <a:pt x="1049" y="372922"/>
                    <a:pt x="1049" y="370744"/>
                    <a:pt x="3208" y="368565"/>
                  </a:cubicBezTo>
                  <a:cubicBezTo>
                    <a:pt x="3208" y="368565"/>
                    <a:pt x="3208" y="368565"/>
                    <a:pt x="363885"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bg2">
                <a:lumMod val="85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4" name="Oval 33">
              <a:extLst>
                <a:ext uri="{FF2B5EF4-FFF2-40B4-BE49-F238E27FC236}">
                  <a16:creationId xmlns:a16="http://schemas.microsoft.com/office/drawing/2014/main" id="{F427A2F6-C298-48B1-B798-C5159210AC77}"/>
                </a:ext>
              </a:extLst>
            </p:cNvPr>
            <p:cNvSpPr/>
            <p:nvPr/>
          </p:nvSpPr>
          <p:spPr>
            <a:xfrm>
              <a:off x="1667473" y="1736204"/>
              <a:ext cx="1306650" cy="130665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5" name="Picture 44" descr="A picture containing lamp, light&#10;&#10;Description automatically generated">
              <a:extLst>
                <a:ext uri="{FF2B5EF4-FFF2-40B4-BE49-F238E27FC236}">
                  <a16:creationId xmlns:a16="http://schemas.microsoft.com/office/drawing/2014/main" id="{15AA4565-BEA0-4329-82DC-32090D05C1F6}"/>
                </a:ext>
              </a:extLst>
            </p:cNvPr>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2894742" y="1666343"/>
              <a:ext cx="586738" cy="586738"/>
            </a:xfrm>
            <a:prstGeom prst="rect">
              <a:avLst/>
            </a:prstGeom>
          </p:spPr>
        </p:pic>
        <p:grpSp>
          <p:nvGrpSpPr>
            <p:cNvPr id="66" name="Group 65">
              <a:extLst>
                <a:ext uri="{FF2B5EF4-FFF2-40B4-BE49-F238E27FC236}">
                  <a16:creationId xmlns:a16="http://schemas.microsoft.com/office/drawing/2014/main" id="{EB81ABC4-EC17-4D12-A7F2-AF3FE48A35E5}"/>
                </a:ext>
              </a:extLst>
            </p:cNvPr>
            <p:cNvGrpSpPr/>
            <p:nvPr/>
          </p:nvGrpSpPr>
          <p:grpSpPr>
            <a:xfrm>
              <a:off x="1667473" y="1879957"/>
              <a:ext cx="1883645" cy="1186422"/>
              <a:chOff x="1667473" y="1879957"/>
              <a:chExt cx="1883645" cy="1186422"/>
            </a:xfrm>
          </p:grpSpPr>
          <p:pic>
            <p:nvPicPr>
              <p:cNvPr id="43" name="Picture 42" descr="A picture containing animal, shellfish, black, white&#10;&#10;Description automatically generated">
                <a:extLst>
                  <a:ext uri="{FF2B5EF4-FFF2-40B4-BE49-F238E27FC236}">
                    <a16:creationId xmlns:a16="http://schemas.microsoft.com/office/drawing/2014/main" id="{757E9221-637A-413D-9FB5-40B0329A5AB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3"/>
              <a:stretch/>
            </p:blipFill>
            <p:spPr>
              <a:xfrm>
                <a:off x="2825105" y="1879957"/>
                <a:ext cx="726013" cy="1186422"/>
              </a:xfrm>
              <a:custGeom>
                <a:avLst/>
                <a:gdLst>
                  <a:gd name="connsiteX0" fmla="*/ 9845 w 2701521"/>
                  <a:gd name="connsiteY0" fmla="*/ 0 h 1568036"/>
                  <a:gd name="connsiteX1" fmla="*/ 2701521 w 2701521"/>
                  <a:gd name="connsiteY1" fmla="*/ 0 h 1568036"/>
                  <a:gd name="connsiteX2" fmla="*/ 2701521 w 2701521"/>
                  <a:gd name="connsiteY2" fmla="*/ 1554551 h 1568036"/>
                  <a:gd name="connsiteX3" fmla="*/ 2683487 w 2701521"/>
                  <a:gd name="connsiteY3" fmla="*/ 1568036 h 1568036"/>
                  <a:gd name="connsiteX4" fmla="*/ 718679 w 2701521"/>
                  <a:gd name="connsiteY4" fmla="*/ 1568036 h 1568036"/>
                  <a:gd name="connsiteX5" fmla="*/ 619036 w 2701521"/>
                  <a:gd name="connsiteY5" fmla="*/ 1493524 h 1568036"/>
                  <a:gd name="connsiteX6" fmla="*/ 0 w 2701521"/>
                  <a:gd name="connsiteY6" fmla="*/ 180886 h 1568036"/>
                  <a:gd name="connsiteX7" fmla="*/ 8783 w 2701521"/>
                  <a:gd name="connsiteY7" fmla="*/ 6960 h 1568036"/>
                  <a:gd name="connsiteX8" fmla="*/ 9845 w 2701521"/>
                  <a:gd name="connsiteY8" fmla="*/ 0 h 156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1521" h="1568036">
                    <a:moveTo>
                      <a:pt x="9845" y="0"/>
                    </a:moveTo>
                    <a:lnTo>
                      <a:pt x="2701521" y="0"/>
                    </a:lnTo>
                    <a:lnTo>
                      <a:pt x="2701521" y="1554551"/>
                    </a:lnTo>
                    <a:lnTo>
                      <a:pt x="2683487" y="1568036"/>
                    </a:lnTo>
                    <a:lnTo>
                      <a:pt x="718679" y="1568036"/>
                    </a:lnTo>
                    <a:lnTo>
                      <a:pt x="619036" y="1493524"/>
                    </a:lnTo>
                    <a:cubicBezTo>
                      <a:pt x="240975" y="1181521"/>
                      <a:pt x="0" y="709345"/>
                      <a:pt x="0" y="180886"/>
                    </a:cubicBezTo>
                    <a:cubicBezTo>
                      <a:pt x="0" y="122168"/>
                      <a:pt x="2975" y="64146"/>
                      <a:pt x="8783" y="6960"/>
                    </a:cubicBezTo>
                    <a:lnTo>
                      <a:pt x="9845" y="0"/>
                    </a:lnTo>
                    <a:close/>
                  </a:path>
                </a:pathLst>
              </a:custGeom>
            </p:spPr>
          </p:pic>
          <p:pic>
            <p:nvPicPr>
              <p:cNvPr id="65" name="Picture 64" descr="A picture containing animal, shellfish, black, white&#10;&#10;Description automatically generated">
                <a:extLst>
                  <a:ext uri="{FF2B5EF4-FFF2-40B4-BE49-F238E27FC236}">
                    <a16:creationId xmlns:a16="http://schemas.microsoft.com/office/drawing/2014/main" id="{E4F35E02-DED0-4598-9935-F36FC209F40D}"/>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1667473" y="1879958"/>
                <a:ext cx="1306650" cy="1162897"/>
              </a:xfrm>
              <a:custGeom>
                <a:avLst/>
                <a:gdLst>
                  <a:gd name="connsiteX0" fmla="*/ 249049 w 1306650"/>
                  <a:gd name="connsiteY0" fmla="*/ 0 h 1162897"/>
                  <a:gd name="connsiteX1" fmla="*/ 1057601 w 1306650"/>
                  <a:gd name="connsiteY1" fmla="*/ 0 h 1162897"/>
                  <a:gd name="connsiteX2" fmla="*/ 1115295 w 1306650"/>
                  <a:gd name="connsiteY2" fmla="*/ 47602 h 1162897"/>
                  <a:gd name="connsiteX3" fmla="*/ 1306650 w 1306650"/>
                  <a:gd name="connsiteY3" fmla="*/ 509572 h 1162897"/>
                  <a:gd name="connsiteX4" fmla="*/ 653325 w 1306650"/>
                  <a:gd name="connsiteY4" fmla="*/ 1162897 h 1162897"/>
                  <a:gd name="connsiteX5" fmla="*/ 0 w 1306650"/>
                  <a:gd name="connsiteY5" fmla="*/ 509572 h 1162897"/>
                  <a:gd name="connsiteX6" fmla="*/ 191355 w 1306650"/>
                  <a:gd name="connsiteY6" fmla="*/ 47602 h 1162897"/>
                  <a:gd name="connsiteX7" fmla="*/ 249049 w 1306650"/>
                  <a:gd name="connsiteY7" fmla="*/ 0 h 116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6650" h="1162897">
                    <a:moveTo>
                      <a:pt x="249049" y="0"/>
                    </a:moveTo>
                    <a:lnTo>
                      <a:pt x="1057601" y="0"/>
                    </a:lnTo>
                    <a:lnTo>
                      <a:pt x="1115295" y="47602"/>
                    </a:lnTo>
                    <a:cubicBezTo>
                      <a:pt x="1233524" y="165830"/>
                      <a:pt x="1306650" y="329162"/>
                      <a:pt x="1306650" y="509572"/>
                    </a:cubicBezTo>
                    <a:cubicBezTo>
                      <a:pt x="1306650" y="870393"/>
                      <a:pt x="1014146" y="1162897"/>
                      <a:pt x="653325" y="1162897"/>
                    </a:cubicBezTo>
                    <a:cubicBezTo>
                      <a:pt x="292504" y="1162897"/>
                      <a:pt x="0" y="870393"/>
                      <a:pt x="0" y="509572"/>
                    </a:cubicBezTo>
                    <a:cubicBezTo>
                      <a:pt x="0" y="329162"/>
                      <a:pt x="73126" y="165830"/>
                      <a:pt x="191355" y="47602"/>
                    </a:cubicBezTo>
                    <a:lnTo>
                      <a:pt x="249049" y="0"/>
                    </a:lnTo>
                    <a:close/>
                  </a:path>
                </a:pathLst>
              </a:custGeom>
            </p:spPr>
          </p:pic>
        </p:grpSp>
        <p:sp>
          <p:nvSpPr>
            <p:cNvPr id="68" name="Freeform 202">
              <a:extLst>
                <a:ext uri="{FF2B5EF4-FFF2-40B4-BE49-F238E27FC236}">
                  <a16:creationId xmlns:a16="http://schemas.microsoft.com/office/drawing/2014/main" id="{0237EEED-1DB3-4AF3-A0EA-8661A5130E14}"/>
                </a:ext>
              </a:extLst>
            </p:cNvPr>
            <p:cNvSpPr>
              <a:spLocks noEditPoints="1"/>
            </p:cNvSpPr>
            <p:nvPr/>
          </p:nvSpPr>
          <p:spPr bwMode="auto">
            <a:xfrm rot="5400000">
              <a:off x="2611201" y="1825146"/>
              <a:ext cx="276294" cy="326807"/>
            </a:xfrm>
            <a:custGeom>
              <a:avLst/>
              <a:gdLst>
                <a:gd name="T0" fmla="*/ 21 w 266"/>
                <a:gd name="T1" fmla="*/ 311 h 311"/>
                <a:gd name="T2" fmla="*/ 11 w 266"/>
                <a:gd name="T3" fmla="*/ 308 h 311"/>
                <a:gd name="T4" fmla="*/ 0 w 266"/>
                <a:gd name="T5" fmla="*/ 289 h 311"/>
                <a:gd name="T6" fmla="*/ 0 w 266"/>
                <a:gd name="T7" fmla="*/ 23 h 311"/>
                <a:gd name="T8" fmla="*/ 11 w 266"/>
                <a:gd name="T9" fmla="*/ 4 h 311"/>
                <a:gd name="T10" fmla="*/ 32 w 266"/>
                <a:gd name="T11" fmla="*/ 4 h 311"/>
                <a:gd name="T12" fmla="*/ 256 w 266"/>
                <a:gd name="T13" fmla="*/ 138 h 311"/>
                <a:gd name="T14" fmla="*/ 266 w 266"/>
                <a:gd name="T15" fmla="*/ 156 h 311"/>
                <a:gd name="T16" fmla="*/ 256 w 266"/>
                <a:gd name="T17" fmla="*/ 174 h 311"/>
                <a:gd name="T18" fmla="*/ 32 w 266"/>
                <a:gd name="T19" fmla="*/ 308 h 311"/>
                <a:gd name="T20" fmla="*/ 21 w 266"/>
                <a:gd name="T21" fmla="*/ 311 h 311"/>
                <a:gd name="T22" fmla="*/ 21 w 266"/>
                <a:gd name="T23" fmla="*/ 13 h 311"/>
                <a:gd name="T24" fmla="*/ 17 w 266"/>
                <a:gd name="T25" fmla="*/ 14 h 311"/>
                <a:gd name="T26" fmla="*/ 12 w 266"/>
                <a:gd name="T27" fmla="*/ 23 h 311"/>
                <a:gd name="T28" fmla="*/ 12 w 266"/>
                <a:gd name="T29" fmla="*/ 289 h 311"/>
                <a:gd name="T30" fmla="*/ 17 w 266"/>
                <a:gd name="T31" fmla="*/ 298 h 311"/>
                <a:gd name="T32" fmla="*/ 26 w 266"/>
                <a:gd name="T33" fmla="*/ 297 h 311"/>
                <a:gd name="T34" fmla="*/ 250 w 266"/>
                <a:gd name="T35" fmla="*/ 164 h 311"/>
                <a:gd name="T36" fmla="*/ 254 w 266"/>
                <a:gd name="T37" fmla="*/ 156 h 311"/>
                <a:gd name="T38" fmla="*/ 250 w 266"/>
                <a:gd name="T39" fmla="*/ 148 h 311"/>
                <a:gd name="T40" fmla="*/ 250 w 266"/>
                <a:gd name="T41" fmla="*/ 148 h 311"/>
                <a:gd name="T42" fmla="*/ 26 w 266"/>
                <a:gd name="T43" fmla="*/ 15 h 311"/>
                <a:gd name="T44" fmla="*/ 21 w 266"/>
                <a:gd name="T45" fmla="*/ 13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311">
                  <a:moveTo>
                    <a:pt x="21" y="311"/>
                  </a:moveTo>
                  <a:cubicBezTo>
                    <a:pt x="18" y="311"/>
                    <a:pt x="14" y="310"/>
                    <a:pt x="11" y="308"/>
                  </a:cubicBezTo>
                  <a:cubicBezTo>
                    <a:pt x="4" y="304"/>
                    <a:pt x="0" y="297"/>
                    <a:pt x="0" y="289"/>
                  </a:cubicBezTo>
                  <a:cubicBezTo>
                    <a:pt x="0" y="23"/>
                    <a:pt x="0" y="23"/>
                    <a:pt x="0" y="23"/>
                  </a:cubicBezTo>
                  <a:cubicBezTo>
                    <a:pt x="0" y="15"/>
                    <a:pt x="4" y="8"/>
                    <a:pt x="11" y="4"/>
                  </a:cubicBezTo>
                  <a:cubicBezTo>
                    <a:pt x="17" y="0"/>
                    <a:pt x="25" y="0"/>
                    <a:pt x="32" y="4"/>
                  </a:cubicBezTo>
                  <a:cubicBezTo>
                    <a:pt x="256" y="138"/>
                    <a:pt x="256" y="138"/>
                    <a:pt x="256" y="138"/>
                  </a:cubicBezTo>
                  <a:cubicBezTo>
                    <a:pt x="262" y="142"/>
                    <a:pt x="266" y="148"/>
                    <a:pt x="266" y="156"/>
                  </a:cubicBezTo>
                  <a:cubicBezTo>
                    <a:pt x="266" y="164"/>
                    <a:pt x="262" y="170"/>
                    <a:pt x="256" y="174"/>
                  </a:cubicBezTo>
                  <a:cubicBezTo>
                    <a:pt x="32" y="308"/>
                    <a:pt x="32" y="308"/>
                    <a:pt x="32" y="308"/>
                  </a:cubicBezTo>
                  <a:cubicBezTo>
                    <a:pt x="29" y="310"/>
                    <a:pt x="25" y="311"/>
                    <a:pt x="21" y="311"/>
                  </a:cubicBezTo>
                  <a:close/>
                  <a:moveTo>
                    <a:pt x="21" y="13"/>
                  </a:moveTo>
                  <a:cubicBezTo>
                    <a:pt x="20" y="13"/>
                    <a:pt x="18" y="14"/>
                    <a:pt x="17" y="14"/>
                  </a:cubicBezTo>
                  <a:cubicBezTo>
                    <a:pt x="14" y="16"/>
                    <a:pt x="12" y="19"/>
                    <a:pt x="12" y="23"/>
                  </a:cubicBezTo>
                  <a:cubicBezTo>
                    <a:pt x="12" y="289"/>
                    <a:pt x="12" y="289"/>
                    <a:pt x="12" y="289"/>
                  </a:cubicBezTo>
                  <a:cubicBezTo>
                    <a:pt x="12" y="293"/>
                    <a:pt x="14" y="296"/>
                    <a:pt x="17" y="298"/>
                  </a:cubicBezTo>
                  <a:cubicBezTo>
                    <a:pt x="20" y="299"/>
                    <a:pt x="23" y="299"/>
                    <a:pt x="26" y="297"/>
                  </a:cubicBezTo>
                  <a:cubicBezTo>
                    <a:pt x="250" y="164"/>
                    <a:pt x="250" y="164"/>
                    <a:pt x="250" y="164"/>
                  </a:cubicBezTo>
                  <a:cubicBezTo>
                    <a:pt x="252" y="162"/>
                    <a:pt x="254" y="159"/>
                    <a:pt x="254" y="156"/>
                  </a:cubicBezTo>
                  <a:cubicBezTo>
                    <a:pt x="254" y="153"/>
                    <a:pt x="252" y="150"/>
                    <a:pt x="250" y="148"/>
                  </a:cubicBezTo>
                  <a:cubicBezTo>
                    <a:pt x="250" y="148"/>
                    <a:pt x="250" y="148"/>
                    <a:pt x="250" y="148"/>
                  </a:cubicBezTo>
                  <a:cubicBezTo>
                    <a:pt x="26" y="15"/>
                    <a:pt x="26" y="15"/>
                    <a:pt x="26" y="15"/>
                  </a:cubicBezTo>
                  <a:cubicBezTo>
                    <a:pt x="25" y="14"/>
                    <a:pt x="23" y="13"/>
                    <a:pt x="21" y="13"/>
                  </a:cubicBezTo>
                  <a:close/>
                </a:path>
              </a:pathLst>
            </a:custGeom>
            <a:solidFill>
              <a:srgbClr val="6CBD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Isosceles Triangle 22">
              <a:extLst>
                <a:ext uri="{FF2B5EF4-FFF2-40B4-BE49-F238E27FC236}">
                  <a16:creationId xmlns:a16="http://schemas.microsoft.com/office/drawing/2014/main" id="{2A67D4D4-5DAC-4AF5-BFFC-DD2452CEAB04}"/>
                </a:ext>
              </a:extLst>
            </p:cNvPr>
            <p:cNvSpPr/>
            <p:nvPr/>
          </p:nvSpPr>
          <p:spPr>
            <a:xfrm flipV="1">
              <a:off x="2622656" y="1673005"/>
              <a:ext cx="260070" cy="230314"/>
            </a:xfrm>
            <a:custGeom>
              <a:avLst/>
              <a:gdLst>
                <a:gd name="connsiteX0" fmla="*/ 0 w 857250"/>
                <a:gd name="connsiteY0" fmla="*/ 739009 h 739009"/>
                <a:gd name="connsiteX1" fmla="*/ 428625 w 857250"/>
                <a:gd name="connsiteY1" fmla="*/ 0 h 739009"/>
                <a:gd name="connsiteX2" fmla="*/ 857250 w 857250"/>
                <a:gd name="connsiteY2" fmla="*/ 739009 h 739009"/>
                <a:gd name="connsiteX3" fmla="*/ 0 w 857250"/>
                <a:gd name="connsiteY3" fmla="*/ 739009 h 739009"/>
                <a:gd name="connsiteX0" fmla="*/ 0 w 857250"/>
                <a:gd name="connsiteY0" fmla="*/ 739009 h 739009"/>
                <a:gd name="connsiteX1" fmla="*/ 428625 w 857250"/>
                <a:gd name="connsiteY1" fmla="*/ 0 h 739009"/>
                <a:gd name="connsiteX2" fmla="*/ 490538 w 857250"/>
                <a:gd name="connsiteY2" fmla="*/ 104775 h 739009"/>
                <a:gd name="connsiteX3" fmla="*/ 857250 w 857250"/>
                <a:gd name="connsiteY3" fmla="*/ 739009 h 739009"/>
                <a:gd name="connsiteX4" fmla="*/ 0 w 857250"/>
                <a:gd name="connsiteY4" fmla="*/ 739009 h 739009"/>
                <a:gd name="connsiteX0" fmla="*/ 0 w 857250"/>
                <a:gd name="connsiteY0" fmla="*/ 739009 h 739009"/>
                <a:gd name="connsiteX1" fmla="*/ 369094 w 857250"/>
                <a:gd name="connsiteY1" fmla="*/ 104775 h 739009"/>
                <a:gd name="connsiteX2" fmla="*/ 428625 w 857250"/>
                <a:gd name="connsiteY2" fmla="*/ 0 h 739009"/>
                <a:gd name="connsiteX3" fmla="*/ 490538 w 857250"/>
                <a:gd name="connsiteY3" fmla="*/ 104775 h 739009"/>
                <a:gd name="connsiteX4" fmla="*/ 857250 w 857250"/>
                <a:gd name="connsiteY4" fmla="*/ 739009 h 739009"/>
                <a:gd name="connsiteX5" fmla="*/ 0 w 857250"/>
                <a:gd name="connsiteY5" fmla="*/ 739009 h 739009"/>
                <a:gd name="connsiteX0" fmla="*/ 0 w 857250"/>
                <a:gd name="connsiteY0" fmla="*/ 739009 h 739009"/>
                <a:gd name="connsiteX1" fmla="*/ 61913 w 857250"/>
                <a:gd name="connsiteY1" fmla="*/ 633412 h 739009"/>
                <a:gd name="connsiteX2" fmla="*/ 369094 w 857250"/>
                <a:gd name="connsiteY2" fmla="*/ 104775 h 739009"/>
                <a:gd name="connsiteX3" fmla="*/ 428625 w 857250"/>
                <a:gd name="connsiteY3" fmla="*/ 0 h 739009"/>
                <a:gd name="connsiteX4" fmla="*/ 490538 w 857250"/>
                <a:gd name="connsiteY4" fmla="*/ 104775 h 739009"/>
                <a:gd name="connsiteX5" fmla="*/ 857250 w 857250"/>
                <a:gd name="connsiteY5" fmla="*/ 739009 h 739009"/>
                <a:gd name="connsiteX6" fmla="*/ 0 w 857250"/>
                <a:gd name="connsiteY6" fmla="*/ 739009 h 739009"/>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857250 w 857250"/>
                <a:gd name="connsiteY5" fmla="*/ 739009 h 740568"/>
                <a:gd name="connsiteX6" fmla="*/ 114300 w 857250"/>
                <a:gd name="connsiteY6" fmla="*/ 740568 h 740568"/>
                <a:gd name="connsiteX7" fmla="*/ 0 w 857250"/>
                <a:gd name="connsiteY7"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114300 w 857250"/>
                <a:gd name="connsiteY7" fmla="*/ 740568 h 740568"/>
                <a:gd name="connsiteX8" fmla="*/ 0 w 857250"/>
                <a:gd name="connsiteY8"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750094 w 857250"/>
                <a:gd name="connsiteY7" fmla="*/ 738186 h 740568"/>
                <a:gd name="connsiteX8" fmla="*/ 114300 w 857250"/>
                <a:gd name="connsiteY8" fmla="*/ 740568 h 740568"/>
                <a:gd name="connsiteX9" fmla="*/ 0 w 857250"/>
                <a:gd name="connsiteY9" fmla="*/ 739009 h 740568"/>
                <a:gd name="connsiteX0" fmla="*/ 0 w 797719"/>
                <a:gd name="connsiteY0" fmla="*/ 739009 h 740568"/>
                <a:gd name="connsiteX1" fmla="*/ 61913 w 797719"/>
                <a:gd name="connsiteY1" fmla="*/ 633412 h 740568"/>
                <a:gd name="connsiteX2" fmla="*/ 369094 w 797719"/>
                <a:gd name="connsiteY2" fmla="*/ 104775 h 740568"/>
                <a:gd name="connsiteX3" fmla="*/ 428625 w 797719"/>
                <a:gd name="connsiteY3" fmla="*/ 0 h 740568"/>
                <a:gd name="connsiteX4" fmla="*/ 490538 w 797719"/>
                <a:gd name="connsiteY4" fmla="*/ 104775 h 740568"/>
                <a:gd name="connsiteX5" fmla="*/ 797719 w 797719"/>
                <a:gd name="connsiteY5" fmla="*/ 638174 h 740568"/>
                <a:gd name="connsiteX6" fmla="*/ 750094 w 797719"/>
                <a:gd name="connsiteY6" fmla="*/ 738186 h 740568"/>
                <a:gd name="connsiteX7" fmla="*/ 114300 w 797719"/>
                <a:gd name="connsiteY7" fmla="*/ 740568 h 740568"/>
                <a:gd name="connsiteX8" fmla="*/ 0 w 797719"/>
                <a:gd name="connsiteY8" fmla="*/ 739009 h 740568"/>
                <a:gd name="connsiteX0" fmla="*/ 0 w 812104"/>
                <a:gd name="connsiteY0" fmla="*/ 739009 h 740568"/>
                <a:gd name="connsiteX1" fmla="*/ 61913 w 812104"/>
                <a:gd name="connsiteY1" fmla="*/ 633412 h 740568"/>
                <a:gd name="connsiteX2" fmla="*/ 369094 w 812104"/>
                <a:gd name="connsiteY2" fmla="*/ 104775 h 740568"/>
                <a:gd name="connsiteX3" fmla="*/ 428625 w 812104"/>
                <a:gd name="connsiteY3" fmla="*/ 0 h 740568"/>
                <a:gd name="connsiteX4" fmla="*/ 490538 w 812104"/>
                <a:gd name="connsiteY4" fmla="*/ 104775 h 740568"/>
                <a:gd name="connsiteX5" fmla="*/ 797719 w 812104"/>
                <a:gd name="connsiteY5" fmla="*/ 638174 h 740568"/>
                <a:gd name="connsiteX6" fmla="*/ 750094 w 812104"/>
                <a:gd name="connsiteY6" fmla="*/ 738186 h 740568"/>
                <a:gd name="connsiteX7" fmla="*/ 114300 w 812104"/>
                <a:gd name="connsiteY7" fmla="*/ 740568 h 740568"/>
                <a:gd name="connsiteX8" fmla="*/ 0 w 812104"/>
                <a:gd name="connsiteY8" fmla="*/ 739009 h 740568"/>
                <a:gd name="connsiteX0" fmla="*/ 0 w 818915"/>
                <a:gd name="connsiteY0" fmla="*/ 739009 h 740568"/>
                <a:gd name="connsiteX1" fmla="*/ 61913 w 818915"/>
                <a:gd name="connsiteY1" fmla="*/ 633412 h 740568"/>
                <a:gd name="connsiteX2" fmla="*/ 369094 w 818915"/>
                <a:gd name="connsiteY2" fmla="*/ 104775 h 740568"/>
                <a:gd name="connsiteX3" fmla="*/ 428625 w 818915"/>
                <a:gd name="connsiteY3" fmla="*/ 0 h 740568"/>
                <a:gd name="connsiteX4" fmla="*/ 490538 w 818915"/>
                <a:gd name="connsiteY4" fmla="*/ 104775 h 740568"/>
                <a:gd name="connsiteX5" fmla="*/ 797719 w 818915"/>
                <a:gd name="connsiteY5" fmla="*/ 638174 h 740568"/>
                <a:gd name="connsiteX6" fmla="*/ 750094 w 818915"/>
                <a:gd name="connsiteY6" fmla="*/ 738186 h 740568"/>
                <a:gd name="connsiteX7" fmla="*/ 114300 w 818915"/>
                <a:gd name="connsiteY7" fmla="*/ 740568 h 740568"/>
                <a:gd name="connsiteX8" fmla="*/ 0 w 818915"/>
                <a:gd name="connsiteY8" fmla="*/ 739009 h 740568"/>
                <a:gd name="connsiteX0" fmla="*/ 52387 w 757002"/>
                <a:gd name="connsiteY0" fmla="*/ 740568 h 740568"/>
                <a:gd name="connsiteX1" fmla="*/ 0 w 757002"/>
                <a:gd name="connsiteY1" fmla="*/ 633412 h 740568"/>
                <a:gd name="connsiteX2" fmla="*/ 307181 w 757002"/>
                <a:gd name="connsiteY2" fmla="*/ 104775 h 740568"/>
                <a:gd name="connsiteX3" fmla="*/ 366712 w 757002"/>
                <a:gd name="connsiteY3" fmla="*/ 0 h 740568"/>
                <a:gd name="connsiteX4" fmla="*/ 428625 w 757002"/>
                <a:gd name="connsiteY4" fmla="*/ 104775 h 740568"/>
                <a:gd name="connsiteX5" fmla="*/ 735806 w 757002"/>
                <a:gd name="connsiteY5" fmla="*/ 638174 h 740568"/>
                <a:gd name="connsiteX6" fmla="*/ 688181 w 757002"/>
                <a:gd name="connsiteY6" fmla="*/ 738186 h 740568"/>
                <a:gd name="connsiteX7" fmla="*/ 52387 w 757002"/>
                <a:gd name="connsiteY7" fmla="*/ 740568 h 740568"/>
                <a:gd name="connsiteX0" fmla="*/ 61912 w 766527"/>
                <a:gd name="connsiteY0" fmla="*/ 740568 h 740568"/>
                <a:gd name="connsiteX1" fmla="*/ 0 w 766527"/>
                <a:gd name="connsiteY1" fmla="*/ 645318 h 740568"/>
                <a:gd name="connsiteX2" fmla="*/ 316706 w 766527"/>
                <a:gd name="connsiteY2" fmla="*/ 104775 h 740568"/>
                <a:gd name="connsiteX3" fmla="*/ 376237 w 766527"/>
                <a:gd name="connsiteY3" fmla="*/ 0 h 740568"/>
                <a:gd name="connsiteX4" fmla="*/ 438150 w 766527"/>
                <a:gd name="connsiteY4" fmla="*/ 104775 h 740568"/>
                <a:gd name="connsiteX5" fmla="*/ 745331 w 766527"/>
                <a:gd name="connsiteY5" fmla="*/ 638174 h 740568"/>
                <a:gd name="connsiteX6" fmla="*/ 697706 w 766527"/>
                <a:gd name="connsiteY6" fmla="*/ 738186 h 740568"/>
                <a:gd name="connsiteX7" fmla="*/ 61912 w 766527"/>
                <a:gd name="connsiteY7" fmla="*/ 740568 h 740568"/>
                <a:gd name="connsiteX0" fmla="*/ 71526 w 776141"/>
                <a:gd name="connsiteY0" fmla="*/ 740568 h 740568"/>
                <a:gd name="connsiteX1" fmla="*/ 9614 w 776141"/>
                <a:gd name="connsiteY1" fmla="*/ 645318 h 740568"/>
                <a:gd name="connsiteX2" fmla="*/ 326320 w 776141"/>
                <a:gd name="connsiteY2" fmla="*/ 104775 h 740568"/>
                <a:gd name="connsiteX3" fmla="*/ 385851 w 776141"/>
                <a:gd name="connsiteY3" fmla="*/ 0 h 740568"/>
                <a:gd name="connsiteX4" fmla="*/ 447764 w 776141"/>
                <a:gd name="connsiteY4" fmla="*/ 104775 h 740568"/>
                <a:gd name="connsiteX5" fmla="*/ 754945 w 776141"/>
                <a:gd name="connsiteY5" fmla="*/ 638174 h 740568"/>
                <a:gd name="connsiteX6" fmla="*/ 707320 w 776141"/>
                <a:gd name="connsiteY6" fmla="*/ 738186 h 740568"/>
                <a:gd name="connsiteX7" fmla="*/ 71526 w 776141"/>
                <a:gd name="connsiteY7" fmla="*/ 740568 h 740568"/>
                <a:gd name="connsiteX0" fmla="*/ 78919 w 783534"/>
                <a:gd name="connsiteY0" fmla="*/ 740568 h 740614"/>
                <a:gd name="connsiteX1" fmla="*/ 17007 w 783534"/>
                <a:gd name="connsiteY1" fmla="*/ 645318 h 740614"/>
                <a:gd name="connsiteX2" fmla="*/ 333713 w 783534"/>
                <a:gd name="connsiteY2" fmla="*/ 104775 h 740614"/>
                <a:gd name="connsiteX3" fmla="*/ 393244 w 783534"/>
                <a:gd name="connsiteY3" fmla="*/ 0 h 740614"/>
                <a:gd name="connsiteX4" fmla="*/ 455157 w 783534"/>
                <a:gd name="connsiteY4" fmla="*/ 104775 h 740614"/>
                <a:gd name="connsiteX5" fmla="*/ 762338 w 783534"/>
                <a:gd name="connsiteY5" fmla="*/ 638174 h 740614"/>
                <a:gd name="connsiteX6" fmla="*/ 714713 w 783534"/>
                <a:gd name="connsiteY6" fmla="*/ 738186 h 740614"/>
                <a:gd name="connsiteX7" fmla="*/ 78919 w 783534"/>
                <a:gd name="connsiteY7" fmla="*/ 740568 h 740614"/>
                <a:gd name="connsiteX0" fmla="*/ 78919 w 783534"/>
                <a:gd name="connsiteY0" fmla="*/ 635793 h 635839"/>
                <a:gd name="connsiteX1" fmla="*/ 17007 w 783534"/>
                <a:gd name="connsiteY1" fmla="*/ 540543 h 635839"/>
                <a:gd name="connsiteX2" fmla="*/ 333713 w 783534"/>
                <a:gd name="connsiteY2" fmla="*/ 0 h 635839"/>
                <a:gd name="connsiteX3" fmla="*/ 455157 w 783534"/>
                <a:gd name="connsiteY3" fmla="*/ 0 h 635839"/>
                <a:gd name="connsiteX4" fmla="*/ 762338 w 783534"/>
                <a:gd name="connsiteY4" fmla="*/ 533399 h 635839"/>
                <a:gd name="connsiteX5" fmla="*/ 714713 w 783534"/>
                <a:gd name="connsiteY5" fmla="*/ 633411 h 635839"/>
                <a:gd name="connsiteX6" fmla="*/ 78919 w 783534"/>
                <a:gd name="connsiteY6" fmla="*/ 635793 h 635839"/>
                <a:gd name="connsiteX0" fmla="*/ 78919 w 783534"/>
                <a:gd name="connsiteY0" fmla="*/ 667542 h 667588"/>
                <a:gd name="connsiteX1" fmla="*/ 17007 w 783534"/>
                <a:gd name="connsiteY1" fmla="*/ 572292 h 667588"/>
                <a:gd name="connsiteX2" fmla="*/ 333713 w 783534"/>
                <a:gd name="connsiteY2" fmla="*/ 31749 h 667588"/>
                <a:gd name="connsiteX3" fmla="*/ 455157 w 783534"/>
                <a:gd name="connsiteY3" fmla="*/ 31749 h 667588"/>
                <a:gd name="connsiteX4" fmla="*/ 762338 w 783534"/>
                <a:gd name="connsiteY4" fmla="*/ 565148 h 667588"/>
                <a:gd name="connsiteX5" fmla="*/ 714713 w 783534"/>
                <a:gd name="connsiteY5" fmla="*/ 665160 h 667588"/>
                <a:gd name="connsiteX6" fmla="*/ 78919 w 783534"/>
                <a:gd name="connsiteY6" fmla="*/ 667542 h 667588"/>
                <a:gd name="connsiteX0" fmla="*/ 78919 w 783534"/>
                <a:gd name="connsiteY0" fmla="*/ 691171 h 691217"/>
                <a:gd name="connsiteX1" fmla="*/ 17007 w 783534"/>
                <a:gd name="connsiteY1" fmla="*/ 595921 h 691217"/>
                <a:gd name="connsiteX2" fmla="*/ 333713 w 783534"/>
                <a:gd name="connsiteY2" fmla="*/ 55378 h 691217"/>
                <a:gd name="connsiteX3" fmla="*/ 455157 w 783534"/>
                <a:gd name="connsiteY3" fmla="*/ 55378 h 691217"/>
                <a:gd name="connsiteX4" fmla="*/ 762338 w 783534"/>
                <a:gd name="connsiteY4" fmla="*/ 588777 h 691217"/>
                <a:gd name="connsiteX5" fmla="*/ 714713 w 783534"/>
                <a:gd name="connsiteY5" fmla="*/ 688789 h 691217"/>
                <a:gd name="connsiteX6" fmla="*/ 78919 w 783534"/>
                <a:gd name="connsiteY6" fmla="*/ 691171 h 691217"/>
                <a:gd name="connsiteX0" fmla="*/ 78919 w 783534"/>
                <a:gd name="connsiteY0" fmla="*/ 693838 h 693884"/>
                <a:gd name="connsiteX1" fmla="*/ 17007 w 783534"/>
                <a:gd name="connsiteY1" fmla="*/ 598588 h 693884"/>
                <a:gd name="connsiteX2" fmla="*/ 333713 w 783534"/>
                <a:gd name="connsiteY2" fmla="*/ 58045 h 693884"/>
                <a:gd name="connsiteX3" fmla="*/ 455157 w 783534"/>
                <a:gd name="connsiteY3" fmla="*/ 58045 h 693884"/>
                <a:gd name="connsiteX4" fmla="*/ 762338 w 783534"/>
                <a:gd name="connsiteY4" fmla="*/ 591444 h 693884"/>
                <a:gd name="connsiteX5" fmla="*/ 714713 w 783534"/>
                <a:gd name="connsiteY5" fmla="*/ 691456 h 693884"/>
                <a:gd name="connsiteX6" fmla="*/ 78919 w 783534"/>
                <a:gd name="connsiteY6" fmla="*/ 693838 h 69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534" h="693884">
                  <a:moveTo>
                    <a:pt x="78919" y="693838"/>
                  </a:moveTo>
                  <a:cubicBezTo>
                    <a:pt x="3514" y="695425"/>
                    <a:pt x="-19506" y="656532"/>
                    <a:pt x="17007" y="598588"/>
                  </a:cubicBezTo>
                  <a:lnTo>
                    <a:pt x="333713" y="58045"/>
                  </a:lnTo>
                  <a:cubicBezTo>
                    <a:pt x="374195" y="-20535"/>
                    <a:pt x="417057" y="-18155"/>
                    <a:pt x="455157" y="58045"/>
                  </a:cubicBezTo>
                  <a:lnTo>
                    <a:pt x="762338" y="591444"/>
                  </a:lnTo>
                  <a:cubicBezTo>
                    <a:pt x="808375" y="648593"/>
                    <a:pt x="773450" y="691457"/>
                    <a:pt x="714713" y="691456"/>
                  </a:cubicBezTo>
                  <a:lnTo>
                    <a:pt x="78919" y="693838"/>
                  </a:lnTo>
                  <a:close/>
                </a:path>
              </a:pathLst>
            </a:custGeom>
            <a:solidFill>
              <a:schemeClr val="accent1"/>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a typeface="+mn-ea"/>
                <a:cs typeface="+mn-cs"/>
              </a:endParaRPr>
            </a:p>
          </p:txBody>
        </p:sp>
        <p:sp>
          <p:nvSpPr>
            <p:cNvPr id="70" name="Isosceles Triangle 22">
              <a:extLst>
                <a:ext uri="{FF2B5EF4-FFF2-40B4-BE49-F238E27FC236}">
                  <a16:creationId xmlns:a16="http://schemas.microsoft.com/office/drawing/2014/main" id="{06428B1B-7236-4E22-9057-436F7ED5EB56}"/>
                </a:ext>
              </a:extLst>
            </p:cNvPr>
            <p:cNvSpPr/>
            <p:nvPr/>
          </p:nvSpPr>
          <p:spPr>
            <a:xfrm flipV="1">
              <a:off x="2622656" y="1515353"/>
              <a:ext cx="260070" cy="230314"/>
            </a:xfrm>
            <a:custGeom>
              <a:avLst/>
              <a:gdLst>
                <a:gd name="connsiteX0" fmla="*/ 0 w 857250"/>
                <a:gd name="connsiteY0" fmla="*/ 739009 h 739009"/>
                <a:gd name="connsiteX1" fmla="*/ 428625 w 857250"/>
                <a:gd name="connsiteY1" fmla="*/ 0 h 739009"/>
                <a:gd name="connsiteX2" fmla="*/ 857250 w 857250"/>
                <a:gd name="connsiteY2" fmla="*/ 739009 h 739009"/>
                <a:gd name="connsiteX3" fmla="*/ 0 w 857250"/>
                <a:gd name="connsiteY3" fmla="*/ 739009 h 739009"/>
                <a:gd name="connsiteX0" fmla="*/ 0 w 857250"/>
                <a:gd name="connsiteY0" fmla="*/ 739009 h 739009"/>
                <a:gd name="connsiteX1" fmla="*/ 428625 w 857250"/>
                <a:gd name="connsiteY1" fmla="*/ 0 h 739009"/>
                <a:gd name="connsiteX2" fmla="*/ 490538 w 857250"/>
                <a:gd name="connsiteY2" fmla="*/ 104775 h 739009"/>
                <a:gd name="connsiteX3" fmla="*/ 857250 w 857250"/>
                <a:gd name="connsiteY3" fmla="*/ 739009 h 739009"/>
                <a:gd name="connsiteX4" fmla="*/ 0 w 857250"/>
                <a:gd name="connsiteY4" fmla="*/ 739009 h 739009"/>
                <a:gd name="connsiteX0" fmla="*/ 0 w 857250"/>
                <a:gd name="connsiteY0" fmla="*/ 739009 h 739009"/>
                <a:gd name="connsiteX1" fmla="*/ 369094 w 857250"/>
                <a:gd name="connsiteY1" fmla="*/ 104775 h 739009"/>
                <a:gd name="connsiteX2" fmla="*/ 428625 w 857250"/>
                <a:gd name="connsiteY2" fmla="*/ 0 h 739009"/>
                <a:gd name="connsiteX3" fmla="*/ 490538 w 857250"/>
                <a:gd name="connsiteY3" fmla="*/ 104775 h 739009"/>
                <a:gd name="connsiteX4" fmla="*/ 857250 w 857250"/>
                <a:gd name="connsiteY4" fmla="*/ 739009 h 739009"/>
                <a:gd name="connsiteX5" fmla="*/ 0 w 857250"/>
                <a:gd name="connsiteY5" fmla="*/ 739009 h 739009"/>
                <a:gd name="connsiteX0" fmla="*/ 0 w 857250"/>
                <a:gd name="connsiteY0" fmla="*/ 739009 h 739009"/>
                <a:gd name="connsiteX1" fmla="*/ 61913 w 857250"/>
                <a:gd name="connsiteY1" fmla="*/ 633412 h 739009"/>
                <a:gd name="connsiteX2" fmla="*/ 369094 w 857250"/>
                <a:gd name="connsiteY2" fmla="*/ 104775 h 739009"/>
                <a:gd name="connsiteX3" fmla="*/ 428625 w 857250"/>
                <a:gd name="connsiteY3" fmla="*/ 0 h 739009"/>
                <a:gd name="connsiteX4" fmla="*/ 490538 w 857250"/>
                <a:gd name="connsiteY4" fmla="*/ 104775 h 739009"/>
                <a:gd name="connsiteX5" fmla="*/ 857250 w 857250"/>
                <a:gd name="connsiteY5" fmla="*/ 739009 h 739009"/>
                <a:gd name="connsiteX6" fmla="*/ 0 w 857250"/>
                <a:gd name="connsiteY6" fmla="*/ 739009 h 739009"/>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857250 w 857250"/>
                <a:gd name="connsiteY5" fmla="*/ 739009 h 740568"/>
                <a:gd name="connsiteX6" fmla="*/ 114300 w 857250"/>
                <a:gd name="connsiteY6" fmla="*/ 740568 h 740568"/>
                <a:gd name="connsiteX7" fmla="*/ 0 w 857250"/>
                <a:gd name="connsiteY7"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114300 w 857250"/>
                <a:gd name="connsiteY7" fmla="*/ 740568 h 740568"/>
                <a:gd name="connsiteX8" fmla="*/ 0 w 857250"/>
                <a:gd name="connsiteY8"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750094 w 857250"/>
                <a:gd name="connsiteY7" fmla="*/ 738186 h 740568"/>
                <a:gd name="connsiteX8" fmla="*/ 114300 w 857250"/>
                <a:gd name="connsiteY8" fmla="*/ 740568 h 740568"/>
                <a:gd name="connsiteX9" fmla="*/ 0 w 857250"/>
                <a:gd name="connsiteY9" fmla="*/ 739009 h 740568"/>
                <a:gd name="connsiteX0" fmla="*/ 0 w 797719"/>
                <a:gd name="connsiteY0" fmla="*/ 739009 h 740568"/>
                <a:gd name="connsiteX1" fmla="*/ 61913 w 797719"/>
                <a:gd name="connsiteY1" fmla="*/ 633412 h 740568"/>
                <a:gd name="connsiteX2" fmla="*/ 369094 w 797719"/>
                <a:gd name="connsiteY2" fmla="*/ 104775 h 740568"/>
                <a:gd name="connsiteX3" fmla="*/ 428625 w 797719"/>
                <a:gd name="connsiteY3" fmla="*/ 0 h 740568"/>
                <a:gd name="connsiteX4" fmla="*/ 490538 w 797719"/>
                <a:gd name="connsiteY4" fmla="*/ 104775 h 740568"/>
                <a:gd name="connsiteX5" fmla="*/ 797719 w 797719"/>
                <a:gd name="connsiteY5" fmla="*/ 638174 h 740568"/>
                <a:gd name="connsiteX6" fmla="*/ 750094 w 797719"/>
                <a:gd name="connsiteY6" fmla="*/ 738186 h 740568"/>
                <a:gd name="connsiteX7" fmla="*/ 114300 w 797719"/>
                <a:gd name="connsiteY7" fmla="*/ 740568 h 740568"/>
                <a:gd name="connsiteX8" fmla="*/ 0 w 797719"/>
                <a:gd name="connsiteY8" fmla="*/ 739009 h 740568"/>
                <a:gd name="connsiteX0" fmla="*/ 0 w 812104"/>
                <a:gd name="connsiteY0" fmla="*/ 739009 h 740568"/>
                <a:gd name="connsiteX1" fmla="*/ 61913 w 812104"/>
                <a:gd name="connsiteY1" fmla="*/ 633412 h 740568"/>
                <a:gd name="connsiteX2" fmla="*/ 369094 w 812104"/>
                <a:gd name="connsiteY2" fmla="*/ 104775 h 740568"/>
                <a:gd name="connsiteX3" fmla="*/ 428625 w 812104"/>
                <a:gd name="connsiteY3" fmla="*/ 0 h 740568"/>
                <a:gd name="connsiteX4" fmla="*/ 490538 w 812104"/>
                <a:gd name="connsiteY4" fmla="*/ 104775 h 740568"/>
                <a:gd name="connsiteX5" fmla="*/ 797719 w 812104"/>
                <a:gd name="connsiteY5" fmla="*/ 638174 h 740568"/>
                <a:gd name="connsiteX6" fmla="*/ 750094 w 812104"/>
                <a:gd name="connsiteY6" fmla="*/ 738186 h 740568"/>
                <a:gd name="connsiteX7" fmla="*/ 114300 w 812104"/>
                <a:gd name="connsiteY7" fmla="*/ 740568 h 740568"/>
                <a:gd name="connsiteX8" fmla="*/ 0 w 812104"/>
                <a:gd name="connsiteY8" fmla="*/ 739009 h 740568"/>
                <a:gd name="connsiteX0" fmla="*/ 0 w 818915"/>
                <a:gd name="connsiteY0" fmla="*/ 739009 h 740568"/>
                <a:gd name="connsiteX1" fmla="*/ 61913 w 818915"/>
                <a:gd name="connsiteY1" fmla="*/ 633412 h 740568"/>
                <a:gd name="connsiteX2" fmla="*/ 369094 w 818915"/>
                <a:gd name="connsiteY2" fmla="*/ 104775 h 740568"/>
                <a:gd name="connsiteX3" fmla="*/ 428625 w 818915"/>
                <a:gd name="connsiteY3" fmla="*/ 0 h 740568"/>
                <a:gd name="connsiteX4" fmla="*/ 490538 w 818915"/>
                <a:gd name="connsiteY4" fmla="*/ 104775 h 740568"/>
                <a:gd name="connsiteX5" fmla="*/ 797719 w 818915"/>
                <a:gd name="connsiteY5" fmla="*/ 638174 h 740568"/>
                <a:gd name="connsiteX6" fmla="*/ 750094 w 818915"/>
                <a:gd name="connsiteY6" fmla="*/ 738186 h 740568"/>
                <a:gd name="connsiteX7" fmla="*/ 114300 w 818915"/>
                <a:gd name="connsiteY7" fmla="*/ 740568 h 740568"/>
                <a:gd name="connsiteX8" fmla="*/ 0 w 818915"/>
                <a:gd name="connsiteY8" fmla="*/ 739009 h 740568"/>
                <a:gd name="connsiteX0" fmla="*/ 52387 w 757002"/>
                <a:gd name="connsiteY0" fmla="*/ 740568 h 740568"/>
                <a:gd name="connsiteX1" fmla="*/ 0 w 757002"/>
                <a:gd name="connsiteY1" fmla="*/ 633412 h 740568"/>
                <a:gd name="connsiteX2" fmla="*/ 307181 w 757002"/>
                <a:gd name="connsiteY2" fmla="*/ 104775 h 740568"/>
                <a:gd name="connsiteX3" fmla="*/ 366712 w 757002"/>
                <a:gd name="connsiteY3" fmla="*/ 0 h 740568"/>
                <a:gd name="connsiteX4" fmla="*/ 428625 w 757002"/>
                <a:gd name="connsiteY4" fmla="*/ 104775 h 740568"/>
                <a:gd name="connsiteX5" fmla="*/ 735806 w 757002"/>
                <a:gd name="connsiteY5" fmla="*/ 638174 h 740568"/>
                <a:gd name="connsiteX6" fmla="*/ 688181 w 757002"/>
                <a:gd name="connsiteY6" fmla="*/ 738186 h 740568"/>
                <a:gd name="connsiteX7" fmla="*/ 52387 w 757002"/>
                <a:gd name="connsiteY7" fmla="*/ 740568 h 740568"/>
                <a:gd name="connsiteX0" fmla="*/ 61912 w 766527"/>
                <a:gd name="connsiteY0" fmla="*/ 740568 h 740568"/>
                <a:gd name="connsiteX1" fmla="*/ 0 w 766527"/>
                <a:gd name="connsiteY1" fmla="*/ 645318 h 740568"/>
                <a:gd name="connsiteX2" fmla="*/ 316706 w 766527"/>
                <a:gd name="connsiteY2" fmla="*/ 104775 h 740568"/>
                <a:gd name="connsiteX3" fmla="*/ 376237 w 766527"/>
                <a:gd name="connsiteY3" fmla="*/ 0 h 740568"/>
                <a:gd name="connsiteX4" fmla="*/ 438150 w 766527"/>
                <a:gd name="connsiteY4" fmla="*/ 104775 h 740568"/>
                <a:gd name="connsiteX5" fmla="*/ 745331 w 766527"/>
                <a:gd name="connsiteY5" fmla="*/ 638174 h 740568"/>
                <a:gd name="connsiteX6" fmla="*/ 697706 w 766527"/>
                <a:gd name="connsiteY6" fmla="*/ 738186 h 740568"/>
                <a:gd name="connsiteX7" fmla="*/ 61912 w 766527"/>
                <a:gd name="connsiteY7" fmla="*/ 740568 h 740568"/>
                <a:gd name="connsiteX0" fmla="*/ 71526 w 776141"/>
                <a:gd name="connsiteY0" fmla="*/ 740568 h 740568"/>
                <a:gd name="connsiteX1" fmla="*/ 9614 w 776141"/>
                <a:gd name="connsiteY1" fmla="*/ 645318 h 740568"/>
                <a:gd name="connsiteX2" fmla="*/ 326320 w 776141"/>
                <a:gd name="connsiteY2" fmla="*/ 104775 h 740568"/>
                <a:gd name="connsiteX3" fmla="*/ 385851 w 776141"/>
                <a:gd name="connsiteY3" fmla="*/ 0 h 740568"/>
                <a:gd name="connsiteX4" fmla="*/ 447764 w 776141"/>
                <a:gd name="connsiteY4" fmla="*/ 104775 h 740568"/>
                <a:gd name="connsiteX5" fmla="*/ 754945 w 776141"/>
                <a:gd name="connsiteY5" fmla="*/ 638174 h 740568"/>
                <a:gd name="connsiteX6" fmla="*/ 707320 w 776141"/>
                <a:gd name="connsiteY6" fmla="*/ 738186 h 740568"/>
                <a:gd name="connsiteX7" fmla="*/ 71526 w 776141"/>
                <a:gd name="connsiteY7" fmla="*/ 740568 h 740568"/>
                <a:gd name="connsiteX0" fmla="*/ 78919 w 783534"/>
                <a:gd name="connsiteY0" fmla="*/ 740568 h 740614"/>
                <a:gd name="connsiteX1" fmla="*/ 17007 w 783534"/>
                <a:gd name="connsiteY1" fmla="*/ 645318 h 740614"/>
                <a:gd name="connsiteX2" fmla="*/ 333713 w 783534"/>
                <a:gd name="connsiteY2" fmla="*/ 104775 h 740614"/>
                <a:gd name="connsiteX3" fmla="*/ 393244 w 783534"/>
                <a:gd name="connsiteY3" fmla="*/ 0 h 740614"/>
                <a:gd name="connsiteX4" fmla="*/ 455157 w 783534"/>
                <a:gd name="connsiteY4" fmla="*/ 104775 h 740614"/>
                <a:gd name="connsiteX5" fmla="*/ 762338 w 783534"/>
                <a:gd name="connsiteY5" fmla="*/ 638174 h 740614"/>
                <a:gd name="connsiteX6" fmla="*/ 714713 w 783534"/>
                <a:gd name="connsiteY6" fmla="*/ 738186 h 740614"/>
                <a:gd name="connsiteX7" fmla="*/ 78919 w 783534"/>
                <a:gd name="connsiteY7" fmla="*/ 740568 h 740614"/>
                <a:gd name="connsiteX0" fmla="*/ 78919 w 783534"/>
                <a:gd name="connsiteY0" fmla="*/ 635793 h 635839"/>
                <a:gd name="connsiteX1" fmla="*/ 17007 w 783534"/>
                <a:gd name="connsiteY1" fmla="*/ 540543 h 635839"/>
                <a:gd name="connsiteX2" fmla="*/ 333713 w 783534"/>
                <a:gd name="connsiteY2" fmla="*/ 0 h 635839"/>
                <a:gd name="connsiteX3" fmla="*/ 455157 w 783534"/>
                <a:gd name="connsiteY3" fmla="*/ 0 h 635839"/>
                <a:gd name="connsiteX4" fmla="*/ 762338 w 783534"/>
                <a:gd name="connsiteY4" fmla="*/ 533399 h 635839"/>
                <a:gd name="connsiteX5" fmla="*/ 714713 w 783534"/>
                <a:gd name="connsiteY5" fmla="*/ 633411 h 635839"/>
                <a:gd name="connsiteX6" fmla="*/ 78919 w 783534"/>
                <a:gd name="connsiteY6" fmla="*/ 635793 h 635839"/>
                <a:gd name="connsiteX0" fmla="*/ 78919 w 783534"/>
                <a:gd name="connsiteY0" fmla="*/ 667542 h 667588"/>
                <a:gd name="connsiteX1" fmla="*/ 17007 w 783534"/>
                <a:gd name="connsiteY1" fmla="*/ 572292 h 667588"/>
                <a:gd name="connsiteX2" fmla="*/ 333713 w 783534"/>
                <a:gd name="connsiteY2" fmla="*/ 31749 h 667588"/>
                <a:gd name="connsiteX3" fmla="*/ 455157 w 783534"/>
                <a:gd name="connsiteY3" fmla="*/ 31749 h 667588"/>
                <a:gd name="connsiteX4" fmla="*/ 762338 w 783534"/>
                <a:gd name="connsiteY4" fmla="*/ 565148 h 667588"/>
                <a:gd name="connsiteX5" fmla="*/ 714713 w 783534"/>
                <a:gd name="connsiteY5" fmla="*/ 665160 h 667588"/>
                <a:gd name="connsiteX6" fmla="*/ 78919 w 783534"/>
                <a:gd name="connsiteY6" fmla="*/ 667542 h 667588"/>
                <a:gd name="connsiteX0" fmla="*/ 78919 w 783534"/>
                <a:gd name="connsiteY0" fmla="*/ 691171 h 691217"/>
                <a:gd name="connsiteX1" fmla="*/ 17007 w 783534"/>
                <a:gd name="connsiteY1" fmla="*/ 595921 h 691217"/>
                <a:gd name="connsiteX2" fmla="*/ 333713 w 783534"/>
                <a:gd name="connsiteY2" fmla="*/ 55378 h 691217"/>
                <a:gd name="connsiteX3" fmla="*/ 455157 w 783534"/>
                <a:gd name="connsiteY3" fmla="*/ 55378 h 691217"/>
                <a:gd name="connsiteX4" fmla="*/ 762338 w 783534"/>
                <a:gd name="connsiteY4" fmla="*/ 588777 h 691217"/>
                <a:gd name="connsiteX5" fmla="*/ 714713 w 783534"/>
                <a:gd name="connsiteY5" fmla="*/ 688789 h 691217"/>
                <a:gd name="connsiteX6" fmla="*/ 78919 w 783534"/>
                <a:gd name="connsiteY6" fmla="*/ 691171 h 691217"/>
                <a:gd name="connsiteX0" fmla="*/ 78919 w 783534"/>
                <a:gd name="connsiteY0" fmla="*/ 693838 h 693884"/>
                <a:gd name="connsiteX1" fmla="*/ 17007 w 783534"/>
                <a:gd name="connsiteY1" fmla="*/ 598588 h 693884"/>
                <a:gd name="connsiteX2" fmla="*/ 333713 w 783534"/>
                <a:gd name="connsiteY2" fmla="*/ 58045 h 693884"/>
                <a:gd name="connsiteX3" fmla="*/ 455157 w 783534"/>
                <a:gd name="connsiteY3" fmla="*/ 58045 h 693884"/>
                <a:gd name="connsiteX4" fmla="*/ 762338 w 783534"/>
                <a:gd name="connsiteY4" fmla="*/ 591444 h 693884"/>
                <a:gd name="connsiteX5" fmla="*/ 714713 w 783534"/>
                <a:gd name="connsiteY5" fmla="*/ 691456 h 693884"/>
                <a:gd name="connsiteX6" fmla="*/ 78919 w 783534"/>
                <a:gd name="connsiteY6" fmla="*/ 693838 h 69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534" h="693884">
                  <a:moveTo>
                    <a:pt x="78919" y="693838"/>
                  </a:moveTo>
                  <a:cubicBezTo>
                    <a:pt x="3514" y="695425"/>
                    <a:pt x="-19506" y="656532"/>
                    <a:pt x="17007" y="598588"/>
                  </a:cubicBezTo>
                  <a:lnTo>
                    <a:pt x="333713" y="58045"/>
                  </a:lnTo>
                  <a:cubicBezTo>
                    <a:pt x="374195" y="-20535"/>
                    <a:pt x="417057" y="-18155"/>
                    <a:pt x="455157" y="58045"/>
                  </a:cubicBezTo>
                  <a:lnTo>
                    <a:pt x="762338" y="591444"/>
                  </a:lnTo>
                  <a:cubicBezTo>
                    <a:pt x="808375" y="648593"/>
                    <a:pt x="773450" y="691457"/>
                    <a:pt x="714713" y="691456"/>
                  </a:cubicBezTo>
                  <a:lnTo>
                    <a:pt x="78919" y="693838"/>
                  </a:lnTo>
                  <a:close/>
                </a:path>
              </a:pathLst>
            </a:custGeom>
            <a:solidFill>
              <a:schemeClr val="tx2"/>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a typeface="+mn-ea"/>
                <a:cs typeface="+mn-cs"/>
              </a:endParaRPr>
            </a:p>
          </p:txBody>
        </p:sp>
        <p:grpSp>
          <p:nvGrpSpPr>
            <p:cNvPr id="71" name="Group 70">
              <a:extLst>
                <a:ext uri="{FF2B5EF4-FFF2-40B4-BE49-F238E27FC236}">
                  <a16:creationId xmlns:a16="http://schemas.microsoft.com/office/drawing/2014/main" id="{324F53D8-57D6-4799-85F0-4086D20E27F5}"/>
                </a:ext>
              </a:extLst>
            </p:cNvPr>
            <p:cNvGrpSpPr/>
            <p:nvPr/>
          </p:nvGrpSpPr>
          <p:grpSpPr>
            <a:xfrm rot="2946422">
              <a:off x="1225080" y="2142335"/>
              <a:ext cx="797673" cy="692665"/>
              <a:chOff x="2560638" y="2862263"/>
              <a:chExt cx="1314450" cy="1141412"/>
            </a:xfrm>
          </p:grpSpPr>
          <p:sp>
            <p:nvSpPr>
              <p:cNvPr id="72" name="Oval 189">
                <a:extLst>
                  <a:ext uri="{FF2B5EF4-FFF2-40B4-BE49-F238E27FC236}">
                    <a16:creationId xmlns:a16="http://schemas.microsoft.com/office/drawing/2014/main" id="{82806D4F-9A7D-471B-8558-15E3A5E6E16E}"/>
                  </a:ext>
                </a:extLst>
              </p:cNvPr>
              <p:cNvSpPr>
                <a:spLocks noChangeArrowheads="1"/>
              </p:cNvSpPr>
              <p:nvPr/>
            </p:nvSpPr>
            <p:spPr bwMode="auto">
              <a:xfrm>
                <a:off x="2560638" y="3646488"/>
                <a:ext cx="73025" cy="77788"/>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Oval 190">
                <a:extLst>
                  <a:ext uri="{FF2B5EF4-FFF2-40B4-BE49-F238E27FC236}">
                    <a16:creationId xmlns:a16="http://schemas.microsoft.com/office/drawing/2014/main" id="{AAA79A5F-EBBA-4DA1-BFE2-793E76D9D219}"/>
                  </a:ext>
                </a:extLst>
              </p:cNvPr>
              <p:cNvSpPr>
                <a:spLocks noChangeArrowheads="1"/>
              </p:cNvSpPr>
              <p:nvPr/>
            </p:nvSpPr>
            <p:spPr bwMode="auto">
              <a:xfrm>
                <a:off x="2781301" y="3646488"/>
                <a:ext cx="74613" cy="77788"/>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Oval 191">
                <a:extLst>
                  <a:ext uri="{FF2B5EF4-FFF2-40B4-BE49-F238E27FC236}">
                    <a16:creationId xmlns:a16="http://schemas.microsoft.com/office/drawing/2014/main" id="{D7393836-9A02-465E-920F-FC5818A7D950}"/>
                  </a:ext>
                </a:extLst>
              </p:cNvPr>
              <p:cNvSpPr>
                <a:spLocks noChangeArrowheads="1"/>
              </p:cNvSpPr>
              <p:nvPr/>
            </p:nvSpPr>
            <p:spPr bwMode="auto">
              <a:xfrm>
                <a:off x="3265488" y="3646488"/>
                <a:ext cx="74613" cy="77788"/>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Oval 192">
                <a:extLst>
                  <a:ext uri="{FF2B5EF4-FFF2-40B4-BE49-F238E27FC236}">
                    <a16:creationId xmlns:a16="http://schemas.microsoft.com/office/drawing/2014/main" id="{F71DB4C6-0920-4CB5-A532-AAF805DA5F32}"/>
                  </a:ext>
                </a:extLst>
              </p:cNvPr>
              <p:cNvSpPr>
                <a:spLocks noChangeArrowheads="1"/>
              </p:cNvSpPr>
              <p:nvPr/>
            </p:nvSpPr>
            <p:spPr bwMode="auto">
              <a:xfrm>
                <a:off x="3265488" y="3398838"/>
                <a:ext cx="74613" cy="74613"/>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Oval 193">
                <a:extLst>
                  <a:ext uri="{FF2B5EF4-FFF2-40B4-BE49-F238E27FC236}">
                    <a16:creationId xmlns:a16="http://schemas.microsoft.com/office/drawing/2014/main" id="{5F861670-A68F-4C71-B506-5929395BF33A}"/>
                  </a:ext>
                </a:extLst>
              </p:cNvPr>
              <p:cNvSpPr>
                <a:spLocks noChangeArrowheads="1"/>
              </p:cNvSpPr>
              <p:nvPr/>
            </p:nvSpPr>
            <p:spPr bwMode="auto">
              <a:xfrm>
                <a:off x="3505201" y="3138488"/>
                <a:ext cx="74613" cy="77788"/>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Oval 194">
                <a:extLst>
                  <a:ext uri="{FF2B5EF4-FFF2-40B4-BE49-F238E27FC236}">
                    <a16:creationId xmlns:a16="http://schemas.microsoft.com/office/drawing/2014/main" id="{BEB5BD78-47B8-49E6-B44B-B0691D5D92CF}"/>
                  </a:ext>
                </a:extLst>
              </p:cNvPr>
              <p:cNvSpPr>
                <a:spLocks noChangeArrowheads="1"/>
              </p:cNvSpPr>
              <p:nvPr/>
            </p:nvSpPr>
            <p:spPr bwMode="auto">
              <a:xfrm>
                <a:off x="3505201" y="2890838"/>
                <a:ext cx="74613" cy="74613"/>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Oval 195">
                <a:extLst>
                  <a:ext uri="{FF2B5EF4-FFF2-40B4-BE49-F238E27FC236}">
                    <a16:creationId xmlns:a16="http://schemas.microsoft.com/office/drawing/2014/main" id="{80EF4F8E-C5C6-4408-A078-B6A7329F313C}"/>
                  </a:ext>
                </a:extLst>
              </p:cNvPr>
              <p:cNvSpPr>
                <a:spLocks noChangeArrowheads="1"/>
              </p:cNvSpPr>
              <p:nvPr/>
            </p:nvSpPr>
            <p:spPr bwMode="auto">
              <a:xfrm>
                <a:off x="3771901" y="3144838"/>
                <a:ext cx="73025" cy="79375"/>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Oval 196">
                <a:extLst>
                  <a:ext uri="{FF2B5EF4-FFF2-40B4-BE49-F238E27FC236}">
                    <a16:creationId xmlns:a16="http://schemas.microsoft.com/office/drawing/2014/main" id="{18A602D2-5CE4-4F25-AEF7-E3BAB0683818}"/>
                  </a:ext>
                </a:extLst>
              </p:cNvPr>
              <p:cNvSpPr>
                <a:spLocks noChangeArrowheads="1"/>
              </p:cNvSpPr>
              <p:nvPr/>
            </p:nvSpPr>
            <p:spPr bwMode="auto">
              <a:xfrm>
                <a:off x="2560638" y="3900488"/>
                <a:ext cx="73025" cy="74613"/>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Oval 197">
                <a:extLst>
                  <a:ext uri="{FF2B5EF4-FFF2-40B4-BE49-F238E27FC236}">
                    <a16:creationId xmlns:a16="http://schemas.microsoft.com/office/drawing/2014/main" id="{2F05065D-25AE-43B7-B0E5-0BDE2B5E5574}"/>
                  </a:ext>
                </a:extLst>
              </p:cNvPr>
              <p:cNvSpPr>
                <a:spLocks noChangeArrowheads="1"/>
              </p:cNvSpPr>
              <p:nvPr/>
            </p:nvSpPr>
            <p:spPr bwMode="auto">
              <a:xfrm>
                <a:off x="3265488" y="3900488"/>
                <a:ext cx="74613" cy="74613"/>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Oval 198">
                <a:extLst>
                  <a:ext uri="{FF2B5EF4-FFF2-40B4-BE49-F238E27FC236}">
                    <a16:creationId xmlns:a16="http://schemas.microsoft.com/office/drawing/2014/main" id="{7704125A-A8A7-4A0F-BDCD-9E9317DE775D}"/>
                  </a:ext>
                </a:extLst>
              </p:cNvPr>
              <p:cNvSpPr>
                <a:spLocks noChangeArrowheads="1"/>
              </p:cNvSpPr>
              <p:nvPr/>
            </p:nvSpPr>
            <p:spPr bwMode="auto">
              <a:xfrm>
                <a:off x="3505201" y="3900488"/>
                <a:ext cx="74613" cy="74613"/>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99">
                <a:extLst>
                  <a:ext uri="{FF2B5EF4-FFF2-40B4-BE49-F238E27FC236}">
                    <a16:creationId xmlns:a16="http://schemas.microsoft.com/office/drawing/2014/main" id="{43698A90-D7F5-4DB3-8A2B-F7470C728DB1}"/>
                  </a:ext>
                </a:extLst>
              </p:cNvPr>
              <p:cNvSpPr>
                <a:spLocks noEditPoints="1"/>
              </p:cNvSpPr>
              <p:nvPr/>
            </p:nvSpPr>
            <p:spPr bwMode="auto">
              <a:xfrm>
                <a:off x="3741738" y="3870325"/>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200">
                <a:extLst>
                  <a:ext uri="{FF2B5EF4-FFF2-40B4-BE49-F238E27FC236}">
                    <a16:creationId xmlns:a16="http://schemas.microsoft.com/office/drawing/2014/main" id="{1F892B3D-EBEF-4E4C-9866-07B10BE7D9E9}"/>
                  </a:ext>
                </a:extLst>
              </p:cNvPr>
              <p:cNvSpPr>
                <a:spLocks noEditPoints="1"/>
              </p:cNvSpPr>
              <p:nvPr/>
            </p:nvSpPr>
            <p:spPr bwMode="auto">
              <a:xfrm>
                <a:off x="3476626" y="3619500"/>
                <a:ext cx="131763"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201">
                <a:extLst>
                  <a:ext uri="{FF2B5EF4-FFF2-40B4-BE49-F238E27FC236}">
                    <a16:creationId xmlns:a16="http://schemas.microsoft.com/office/drawing/2014/main" id="{6CEAA9CD-53B1-4510-A6A1-369A71C9D50D}"/>
                  </a:ext>
                </a:extLst>
              </p:cNvPr>
              <p:cNvSpPr>
                <a:spLocks noEditPoints="1"/>
              </p:cNvSpPr>
              <p:nvPr/>
            </p:nvSpPr>
            <p:spPr bwMode="auto">
              <a:xfrm>
                <a:off x="3476626" y="3368675"/>
                <a:ext cx="131763" cy="134938"/>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202">
                <a:extLst>
                  <a:ext uri="{FF2B5EF4-FFF2-40B4-BE49-F238E27FC236}">
                    <a16:creationId xmlns:a16="http://schemas.microsoft.com/office/drawing/2014/main" id="{BB484CE4-0873-48FD-B224-81B2F8488E0D}"/>
                  </a:ext>
                </a:extLst>
              </p:cNvPr>
              <p:cNvSpPr>
                <a:spLocks noEditPoints="1"/>
              </p:cNvSpPr>
              <p:nvPr/>
            </p:nvSpPr>
            <p:spPr bwMode="auto">
              <a:xfrm>
                <a:off x="3741738"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203">
                <a:extLst>
                  <a:ext uri="{FF2B5EF4-FFF2-40B4-BE49-F238E27FC236}">
                    <a16:creationId xmlns:a16="http://schemas.microsoft.com/office/drawing/2014/main" id="{5EC50E16-DE9E-4B55-AD29-463930235531}"/>
                  </a:ext>
                </a:extLst>
              </p:cNvPr>
              <p:cNvSpPr>
                <a:spLocks noEditPoints="1"/>
              </p:cNvSpPr>
              <p:nvPr/>
            </p:nvSpPr>
            <p:spPr bwMode="auto">
              <a:xfrm>
                <a:off x="2992438"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204">
                <a:extLst>
                  <a:ext uri="{FF2B5EF4-FFF2-40B4-BE49-F238E27FC236}">
                    <a16:creationId xmlns:a16="http://schemas.microsoft.com/office/drawing/2014/main" id="{51F2A84A-A59F-4CA9-83F4-63D6594950A3}"/>
                  </a:ext>
                </a:extLst>
              </p:cNvPr>
              <p:cNvSpPr>
                <a:spLocks noEditPoints="1"/>
              </p:cNvSpPr>
              <p:nvPr/>
            </p:nvSpPr>
            <p:spPr bwMode="auto">
              <a:xfrm>
                <a:off x="3235326" y="3119438"/>
                <a:ext cx="133350" cy="130175"/>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205">
                <a:extLst>
                  <a:ext uri="{FF2B5EF4-FFF2-40B4-BE49-F238E27FC236}">
                    <a16:creationId xmlns:a16="http://schemas.microsoft.com/office/drawing/2014/main" id="{9A3CAA02-1727-41B3-916E-52AE223139AF}"/>
                  </a:ext>
                </a:extLst>
              </p:cNvPr>
              <p:cNvSpPr>
                <a:spLocks noEditPoints="1"/>
              </p:cNvSpPr>
              <p:nvPr/>
            </p:nvSpPr>
            <p:spPr bwMode="auto">
              <a:xfrm>
                <a:off x="3235326" y="2862263"/>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206">
                <a:extLst>
                  <a:ext uri="{FF2B5EF4-FFF2-40B4-BE49-F238E27FC236}">
                    <a16:creationId xmlns:a16="http://schemas.microsoft.com/office/drawing/2014/main" id="{C1311C17-A4A4-445C-91DF-FE9A19C3282E}"/>
                  </a:ext>
                </a:extLst>
              </p:cNvPr>
              <p:cNvSpPr>
                <a:spLocks noEditPoints="1"/>
              </p:cNvSpPr>
              <p:nvPr/>
            </p:nvSpPr>
            <p:spPr bwMode="auto">
              <a:xfrm>
                <a:off x="3741738" y="2862263"/>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207">
                <a:extLst>
                  <a:ext uri="{FF2B5EF4-FFF2-40B4-BE49-F238E27FC236}">
                    <a16:creationId xmlns:a16="http://schemas.microsoft.com/office/drawing/2014/main" id="{293642F9-7A06-4FD6-A479-068C05FFC06A}"/>
                  </a:ext>
                </a:extLst>
              </p:cNvPr>
              <p:cNvSpPr>
                <a:spLocks noEditPoints="1"/>
              </p:cNvSpPr>
              <p:nvPr/>
            </p:nvSpPr>
            <p:spPr bwMode="auto">
              <a:xfrm>
                <a:off x="2992438" y="3870325"/>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17" name="Group 116">
            <a:extLst>
              <a:ext uri="{FF2B5EF4-FFF2-40B4-BE49-F238E27FC236}">
                <a16:creationId xmlns:a16="http://schemas.microsoft.com/office/drawing/2014/main" id="{2F0FC971-66AF-4B34-BA05-9161F9A96506}"/>
              </a:ext>
            </a:extLst>
          </p:cNvPr>
          <p:cNvGrpSpPr/>
          <p:nvPr/>
        </p:nvGrpSpPr>
        <p:grpSpPr>
          <a:xfrm>
            <a:off x="5160807" y="1654362"/>
            <a:ext cx="2003314" cy="1804783"/>
            <a:chOff x="5206283" y="1780490"/>
            <a:chExt cx="1779422" cy="1603079"/>
          </a:xfrm>
        </p:grpSpPr>
        <p:sp>
          <p:nvSpPr>
            <p:cNvPr id="106" name="Freeform: Shape 105">
              <a:extLst>
                <a:ext uri="{FF2B5EF4-FFF2-40B4-BE49-F238E27FC236}">
                  <a16:creationId xmlns:a16="http://schemas.microsoft.com/office/drawing/2014/main" id="{CC4EFB16-3682-485C-A032-97B291A12042}"/>
                </a:ext>
              </a:extLst>
            </p:cNvPr>
            <p:cNvSpPr>
              <a:spLocks/>
            </p:cNvSpPr>
            <p:nvPr/>
          </p:nvSpPr>
          <p:spPr bwMode="auto">
            <a:xfrm>
              <a:off x="5868716" y="2987621"/>
              <a:ext cx="1116989" cy="263332"/>
            </a:xfrm>
            <a:custGeom>
              <a:avLst/>
              <a:gdLst>
                <a:gd name="connsiteX0" fmla="*/ 3785 w 1225550"/>
                <a:gd name="connsiteY0" fmla="*/ 254000 h 288926"/>
                <a:gd name="connsiteX1" fmla="*/ 45427 w 1225550"/>
                <a:gd name="connsiteY1" fmla="*/ 281164 h 288926"/>
                <a:gd name="connsiteX2" fmla="*/ 45427 w 1225550"/>
                <a:gd name="connsiteY2" fmla="*/ 285045 h 288926"/>
                <a:gd name="connsiteX3" fmla="*/ 45427 w 1225550"/>
                <a:gd name="connsiteY3" fmla="*/ 288925 h 288926"/>
                <a:gd name="connsiteX4" fmla="*/ 41642 w 1225550"/>
                <a:gd name="connsiteY4" fmla="*/ 288925 h 288926"/>
                <a:gd name="connsiteX5" fmla="*/ 0 w 1225550"/>
                <a:gd name="connsiteY5" fmla="*/ 261761 h 288926"/>
                <a:gd name="connsiteX6" fmla="*/ 0 w 1225550"/>
                <a:gd name="connsiteY6" fmla="*/ 257881 h 288926"/>
                <a:gd name="connsiteX7" fmla="*/ 3785 w 1225550"/>
                <a:gd name="connsiteY7" fmla="*/ 254000 h 288926"/>
                <a:gd name="connsiteX8" fmla="*/ 3798 w 1225550"/>
                <a:gd name="connsiteY8" fmla="*/ 215900 h 288926"/>
                <a:gd name="connsiteX9" fmla="*/ 106363 w 1225550"/>
                <a:gd name="connsiteY9" fmla="*/ 281238 h 288926"/>
                <a:gd name="connsiteX10" fmla="*/ 106363 w 1225550"/>
                <a:gd name="connsiteY10" fmla="*/ 285082 h 288926"/>
                <a:gd name="connsiteX11" fmla="*/ 102564 w 1225550"/>
                <a:gd name="connsiteY11" fmla="*/ 288925 h 288926"/>
                <a:gd name="connsiteX12" fmla="*/ 0 w 1225550"/>
                <a:gd name="connsiteY12" fmla="*/ 223587 h 288926"/>
                <a:gd name="connsiteX13" fmla="*/ 0 w 1225550"/>
                <a:gd name="connsiteY13" fmla="*/ 219744 h 288926"/>
                <a:gd name="connsiteX14" fmla="*/ 3798 w 1225550"/>
                <a:gd name="connsiteY14" fmla="*/ 215900 h 288926"/>
                <a:gd name="connsiteX15" fmla="*/ 3788 w 1225550"/>
                <a:gd name="connsiteY15" fmla="*/ 176213 h 288926"/>
                <a:gd name="connsiteX16" fmla="*/ 166688 w 1225550"/>
                <a:gd name="connsiteY16" fmla="*/ 281153 h 288926"/>
                <a:gd name="connsiteX17" fmla="*/ 166688 w 1225550"/>
                <a:gd name="connsiteY17" fmla="*/ 285039 h 288926"/>
                <a:gd name="connsiteX18" fmla="*/ 162899 w 1225550"/>
                <a:gd name="connsiteY18" fmla="*/ 288926 h 288926"/>
                <a:gd name="connsiteX19" fmla="*/ 0 w 1225550"/>
                <a:gd name="connsiteY19" fmla="*/ 183986 h 288926"/>
                <a:gd name="connsiteX20" fmla="*/ 0 w 1225550"/>
                <a:gd name="connsiteY20" fmla="*/ 180100 h 288926"/>
                <a:gd name="connsiteX21" fmla="*/ 3788 w 1225550"/>
                <a:gd name="connsiteY21" fmla="*/ 176213 h 288926"/>
                <a:gd name="connsiteX22" fmla="*/ 0 w 1225550"/>
                <a:gd name="connsiteY22" fmla="*/ 136525 h 288926"/>
                <a:gd name="connsiteX23" fmla="*/ 3783 w 1225550"/>
                <a:gd name="connsiteY23" fmla="*/ 136525 h 288926"/>
                <a:gd name="connsiteX24" fmla="*/ 227013 w 1225550"/>
                <a:gd name="connsiteY24" fmla="*/ 281110 h 288926"/>
                <a:gd name="connsiteX25" fmla="*/ 227013 w 1225550"/>
                <a:gd name="connsiteY25" fmla="*/ 285017 h 288926"/>
                <a:gd name="connsiteX26" fmla="*/ 223229 w 1225550"/>
                <a:gd name="connsiteY26" fmla="*/ 288925 h 288926"/>
                <a:gd name="connsiteX27" fmla="*/ 0 w 1225550"/>
                <a:gd name="connsiteY27" fmla="*/ 144341 h 288926"/>
                <a:gd name="connsiteX28" fmla="*/ 0 w 1225550"/>
                <a:gd name="connsiteY28" fmla="*/ 136525 h 288926"/>
                <a:gd name="connsiteX29" fmla="*/ 0 w 1225550"/>
                <a:gd name="connsiteY29" fmla="*/ 96838 h 288926"/>
                <a:gd name="connsiteX30" fmla="*/ 3781 w 1225550"/>
                <a:gd name="connsiteY30" fmla="*/ 96838 h 288926"/>
                <a:gd name="connsiteX31" fmla="*/ 287338 w 1225550"/>
                <a:gd name="connsiteY31" fmla="*/ 281086 h 288926"/>
                <a:gd name="connsiteX32" fmla="*/ 287338 w 1225550"/>
                <a:gd name="connsiteY32" fmla="*/ 285006 h 288926"/>
                <a:gd name="connsiteX33" fmla="*/ 283557 w 1225550"/>
                <a:gd name="connsiteY33" fmla="*/ 288926 h 288926"/>
                <a:gd name="connsiteX34" fmla="*/ 0 w 1225550"/>
                <a:gd name="connsiteY34" fmla="*/ 100758 h 288926"/>
                <a:gd name="connsiteX35" fmla="*/ 0 w 1225550"/>
                <a:gd name="connsiteY35" fmla="*/ 96838 h 288926"/>
                <a:gd name="connsiteX36" fmla="*/ 0 w 1225550"/>
                <a:gd name="connsiteY36" fmla="*/ 58738 h 288926"/>
                <a:gd name="connsiteX37" fmla="*/ 3779 w 1225550"/>
                <a:gd name="connsiteY37" fmla="*/ 58738 h 288926"/>
                <a:gd name="connsiteX38" fmla="*/ 347663 w 1225550"/>
                <a:gd name="connsiteY38" fmla="*/ 281123 h 288926"/>
                <a:gd name="connsiteX39" fmla="*/ 347663 w 1225550"/>
                <a:gd name="connsiteY39" fmla="*/ 285025 h 288926"/>
                <a:gd name="connsiteX40" fmla="*/ 343884 w 1225550"/>
                <a:gd name="connsiteY40" fmla="*/ 288926 h 288926"/>
                <a:gd name="connsiteX41" fmla="*/ 0 w 1225550"/>
                <a:gd name="connsiteY41" fmla="*/ 62640 h 288926"/>
                <a:gd name="connsiteX42" fmla="*/ 0 w 1225550"/>
                <a:gd name="connsiteY42" fmla="*/ 58738 h 288926"/>
                <a:gd name="connsiteX43" fmla="*/ 0 w 1225550"/>
                <a:gd name="connsiteY43" fmla="*/ 19050 h 288926"/>
                <a:gd name="connsiteX44" fmla="*/ 3777 w 1225550"/>
                <a:gd name="connsiteY44" fmla="*/ 19050 h 288926"/>
                <a:gd name="connsiteX45" fmla="*/ 407988 w 1225550"/>
                <a:gd name="connsiteY45" fmla="*/ 281103 h 288926"/>
                <a:gd name="connsiteX46" fmla="*/ 407988 w 1225550"/>
                <a:gd name="connsiteY46" fmla="*/ 285014 h 288926"/>
                <a:gd name="connsiteX47" fmla="*/ 404210 w 1225550"/>
                <a:gd name="connsiteY47" fmla="*/ 288925 h 288926"/>
                <a:gd name="connsiteX48" fmla="*/ 3777 w 1225550"/>
                <a:gd name="connsiteY48" fmla="*/ 26873 h 288926"/>
                <a:gd name="connsiteX49" fmla="*/ 0 w 1225550"/>
                <a:gd name="connsiteY49" fmla="*/ 22961 h 288926"/>
                <a:gd name="connsiteX50" fmla="*/ 0 w 1225550"/>
                <a:gd name="connsiteY50" fmla="*/ 19050 h 288926"/>
                <a:gd name="connsiteX51" fmla="*/ 1180123 w 1225550"/>
                <a:gd name="connsiteY51" fmla="*/ 0 h 288926"/>
                <a:gd name="connsiteX52" fmla="*/ 1183908 w 1225550"/>
                <a:gd name="connsiteY52" fmla="*/ 0 h 288926"/>
                <a:gd name="connsiteX53" fmla="*/ 1225550 w 1225550"/>
                <a:gd name="connsiteY53" fmla="*/ 27164 h 288926"/>
                <a:gd name="connsiteX54" fmla="*/ 1225550 w 1225550"/>
                <a:gd name="connsiteY54" fmla="*/ 31045 h 288926"/>
                <a:gd name="connsiteX55" fmla="*/ 1221765 w 1225550"/>
                <a:gd name="connsiteY55" fmla="*/ 34925 h 288926"/>
                <a:gd name="connsiteX56" fmla="*/ 1180123 w 1225550"/>
                <a:gd name="connsiteY56" fmla="*/ 7761 h 288926"/>
                <a:gd name="connsiteX57" fmla="*/ 1180123 w 1225550"/>
                <a:gd name="connsiteY57" fmla="*/ 3881 h 288926"/>
                <a:gd name="connsiteX58" fmla="*/ 1180123 w 1225550"/>
                <a:gd name="connsiteY58" fmla="*/ 0 h 288926"/>
                <a:gd name="connsiteX59" fmla="*/ 1122986 w 1225550"/>
                <a:gd name="connsiteY59" fmla="*/ 0 h 288926"/>
                <a:gd name="connsiteX60" fmla="*/ 1225550 w 1225550"/>
                <a:gd name="connsiteY60" fmla="*/ 66759 h 288926"/>
                <a:gd name="connsiteX61" fmla="*/ 1225550 w 1225550"/>
                <a:gd name="connsiteY61" fmla="*/ 70686 h 288926"/>
                <a:gd name="connsiteX62" fmla="*/ 1221752 w 1225550"/>
                <a:gd name="connsiteY62" fmla="*/ 74613 h 288926"/>
                <a:gd name="connsiteX63" fmla="*/ 1119187 w 1225550"/>
                <a:gd name="connsiteY63" fmla="*/ 7854 h 288926"/>
                <a:gd name="connsiteX64" fmla="*/ 1119187 w 1225550"/>
                <a:gd name="connsiteY64" fmla="*/ 3927 h 288926"/>
                <a:gd name="connsiteX65" fmla="*/ 1122986 w 1225550"/>
                <a:gd name="connsiteY65" fmla="*/ 0 h 288926"/>
                <a:gd name="connsiteX66" fmla="*/ 1062651 w 1225550"/>
                <a:gd name="connsiteY66" fmla="*/ 0 h 288926"/>
                <a:gd name="connsiteX67" fmla="*/ 1225550 w 1225550"/>
                <a:gd name="connsiteY67" fmla="*/ 104940 h 288926"/>
                <a:gd name="connsiteX68" fmla="*/ 1225550 w 1225550"/>
                <a:gd name="connsiteY68" fmla="*/ 108826 h 288926"/>
                <a:gd name="connsiteX69" fmla="*/ 1221762 w 1225550"/>
                <a:gd name="connsiteY69" fmla="*/ 112713 h 288926"/>
                <a:gd name="connsiteX70" fmla="*/ 1058862 w 1225550"/>
                <a:gd name="connsiteY70" fmla="*/ 7773 h 288926"/>
                <a:gd name="connsiteX71" fmla="*/ 1058862 w 1225550"/>
                <a:gd name="connsiteY71" fmla="*/ 3887 h 288926"/>
                <a:gd name="connsiteX72" fmla="*/ 1062651 w 1225550"/>
                <a:gd name="connsiteY72" fmla="*/ 0 h 288926"/>
                <a:gd name="connsiteX73" fmla="*/ 1002321 w 1225550"/>
                <a:gd name="connsiteY73" fmla="*/ 0 h 288926"/>
                <a:gd name="connsiteX74" fmla="*/ 1225550 w 1225550"/>
                <a:gd name="connsiteY74" fmla="*/ 144585 h 288926"/>
                <a:gd name="connsiteX75" fmla="*/ 1225550 w 1225550"/>
                <a:gd name="connsiteY75" fmla="*/ 152400 h 288926"/>
                <a:gd name="connsiteX76" fmla="*/ 1221767 w 1225550"/>
                <a:gd name="connsiteY76" fmla="*/ 152400 h 288926"/>
                <a:gd name="connsiteX77" fmla="*/ 998537 w 1225550"/>
                <a:gd name="connsiteY77" fmla="*/ 7816 h 288926"/>
                <a:gd name="connsiteX78" fmla="*/ 998537 w 1225550"/>
                <a:gd name="connsiteY78" fmla="*/ 3908 h 288926"/>
                <a:gd name="connsiteX79" fmla="*/ 1002321 w 1225550"/>
                <a:gd name="connsiteY79" fmla="*/ 0 h 288926"/>
                <a:gd name="connsiteX80" fmla="*/ 941993 w 1225550"/>
                <a:gd name="connsiteY80" fmla="*/ 0 h 288926"/>
                <a:gd name="connsiteX81" fmla="*/ 1225550 w 1225550"/>
                <a:gd name="connsiteY81" fmla="*/ 188168 h 288926"/>
                <a:gd name="connsiteX82" fmla="*/ 1225550 w 1225550"/>
                <a:gd name="connsiteY82" fmla="*/ 192088 h 288926"/>
                <a:gd name="connsiteX83" fmla="*/ 1221769 w 1225550"/>
                <a:gd name="connsiteY83" fmla="*/ 192088 h 288926"/>
                <a:gd name="connsiteX84" fmla="*/ 938212 w 1225550"/>
                <a:gd name="connsiteY84" fmla="*/ 7840 h 288926"/>
                <a:gd name="connsiteX85" fmla="*/ 938212 w 1225550"/>
                <a:gd name="connsiteY85" fmla="*/ 3920 h 288926"/>
                <a:gd name="connsiteX86" fmla="*/ 941993 w 1225550"/>
                <a:gd name="connsiteY86" fmla="*/ 0 h 288926"/>
                <a:gd name="connsiteX87" fmla="*/ 881666 w 1225550"/>
                <a:gd name="connsiteY87" fmla="*/ 0 h 288926"/>
                <a:gd name="connsiteX88" fmla="*/ 1225550 w 1225550"/>
                <a:gd name="connsiteY88" fmla="*/ 226287 h 288926"/>
                <a:gd name="connsiteX89" fmla="*/ 1225550 w 1225550"/>
                <a:gd name="connsiteY89" fmla="*/ 230188 h 288926"/>
                <a:gd name="connsiteX90" fmla="*/ 1221771 w 1225550"/>
                <a:gd name="connsiteY90" fmla="*/ 230188 h 288926"/>
                <a:gd name="connsiteX91" fmla="*/ 877887 w 1225550"/>
                <a:gd name="connsiteY91" fmla="*/ 7803 h 288926"/>
                <a:gd name="connsiteX92" fmla="*/ 877887 w 1225550"/>
                <a:gd name="connsiteY92" fmla="*/ 3902 h 288926"/>
                <a:gd name="connsiteX93" fmla="*/ 881666 w 1225550"/>
                <a:gd name="connsiteY93" fmla="*/ 0 h 288926"/>
                <a:gd name="connsiteX94" fmla="*/ 821340 w 1225550"/>
                <a:gd name="connsiteY94" fmla="*/ 0 h 288926"/>
                <a:gd name="connsiteX95" fmla="*/ 1221773 w 1225550"/>
                <a:gd name="connsiteY95" fmla="*/ 262053 h 288926"/>
                <a:gd name="connsiteX96" fmla="*/ 1225550 w 1225550"/>
                <a:gd name="connsiteY96" fmla="*/ 265964 h 288926"/>
                <a:gd name="connsiteX97" fmla="*/ 1225550 w 1225550"/>
                <a:gd name="connsiteY97" fmla="*/ 269875 h 288926"/>
                <a:gd name="connsiteX98" fmla="*/ 1221773 w 1225550"/>
                <a:gd name="connsiteY98" fmla="*/ 269875 h 288926"/>
                <a:gd name="connsiteX99" fmla="*/ 817562 w 1225550"/>
                <a:gd name="connsiteY99" fmla="*/ 7823 h 288926"/>
                <a:gd name="connsiteX100" fmla="*/ 817562 w 1225550"/>
                <a:gd name="connsiteY100" fmla="*/ 3911 h 288926"/>
                <a:gd name="connsiteX101" fmla="*/ 821340 w 1225550"/>
                <a:gd name="connsiteY101" fmla="*/ 0 h 288926"/>
                <a:gd name="connsiteX102" fmla="*/ 759433 w 1225550"/>
                <a:gd name="connsiteY102" fmla="*/ 0 h 288926"/>
                <a:gd name="connsiteX103" fmla="*/ 1190625 w 1225550"/>
                <a:gd name="connsiteY103" fmla="*/ 281116 h 288926"/>
                <a:gd name="connsiteX104" fmla="*/ 1190625 w 1225550"/>
                <a:gd name="connsiteY104" fmla="*/ 285021 h 288926"/>
                <a:gd name="connsiteX105" fmla="*/ 1190625 w 1225550"/>
                <a:gd name="connsiteY105" fmla="*/ 288925 h 288926"/>
                <a:gd name="connsiteX106" fmla="*/ 1186843 w 1225550"/>
                <a:gd name="connsiteY106" fmla="*/ 288925 h 288926"/>
                <a:gd name="connsiteX107" fmla="*/ 755650 w 1225550"/>
                <a:gd name="connsiteY107" fmla="*/ 7809 h 288926"/>
                <a:gd name="connsiteX108" fmla="*/ 755650 w 1225550"/>
                <a:gd name="connsiteY108" fmla="*/ 3905 h 288926"/>
                <a:gd name="connsiteX109" fmla="*/ 759433 w 1225550"/>
                <a:gd name="connsiteY109" fmla="*/ 0 h 288926"/>
                <a:gd name="connsiteX110" fmla="*/ 699116 w 1225550"/>
                <a:gd name="connsiteY110" fmla="*/ 0 h 288926"/>
                <a:gd name="connsiteX111" fmla="*/ 1131272 w 1225550"/>
                <a:gd name="connsiteY111" fmla="*/ 281116 h 288926"/>
                <a:gd name="connsiteX112" fmla="*/ 1131272 w 1225550"/>
                <a:gd name="connsiteY112" fmla="*/ 285021 h 288926"/>
                <a:gd name="connsiteX113" fmla="*/ 1131272 w 1225550"/>
                <a:gd name="connsiteY113" fmla="*/ 288925 h 288926"/>
                <a:gd name="connsiteX114" fmla="*/ 1127482 w 1225550"/>
                <a:gd name="connsiteY114" fmla="*/ 288925 h 288926"/>
                <a:gd name="connsiteX115" fmla="*/ 695325 w 1225550"/>
                <a:gd name="connsiteY115" fmla="*/ 7809 h 288926"/>
                <a:gd name="connsiteX116" fmla="*/ 695325 w 1225550"/>
                <a:gd name="connsiteY116" fmla="*/ 3905 h 288926"/>
                <a:gd name="connsiteX117" fmla="*/ 699116 w 1225550"/>
                <a:gd name="connsiteY117" fmla="*/ 0 h 288926"/>
                <a:gd name="connsiteX118" fmla="*/ 638791 w 1225550"/>
                <a:gd name="connsiteY118" fmla="*/ 0 h 288926"/>
                <a:gd name="connsiteX119" fmla="*/ 1070947 w 1225550"/>
                <a:gd name="connsiteY119" fmla="*/ 281116 h 288926"/>
                <a:gd name="connsiteX120" fmla="*/ 1070947 w 1225550"/>
                <a:gd name="connsiteY120" fmla="*/ 285021 h 288926"/>
                <a:gd name="connsiteX121" fmla="*/ 1070947 w 1225550"/>
                <a:gd name="connsiteY121" fmla="*/ 288925 h 288926"/>
                <a:gd name="connsiteX122" fmla="*/ 1067157 w 1225550"/>
                <a:gd name="connsiteY122" fmla="*/ 288925 h 288926"/>
                <a:gd name="connsiteX123" fmla="*/ 635000 w 1225550"/>
                <a:gd name="connsiteY123" fmla="*/ 7809 h 288926"/>
                <a:gd name="connsiteX124" fmla="*/ 635000 w 1225550"/>
                <a:gd name="connsiteY124" fmla="*/ 3905 h 288926"/>
                <a:gd name="connsiteX125" fmla="*/ 638791 w 1225550"/>
                <a:gd name="connsiteY125" fmla="*/ 0 h 288926"/>
                <a:gd name="connsiteX126" fmla="*/ 578452 w 1225550"/>
                <a:gd name="connsiteY126" fmla="*/ 0 h 288926"/>
                <a:gd name="connsiteX127" fmla="*/ 1009048 w 1225550"/>
                <a:gd name="connsiteY127" fmla="*/ 281116 h 288926"/>
                <a:gd name="connsiteX128" fmla="*/ 1009048 w 1225550"/>
                <a:gd name="connsiteY128" fmla="*/ 285021 h 288926"/>
                <a:gd name="connsiteX129" fmla="*/ 1009048 w 1225550"/>
                <a:gd name="connsiteY129" fmla="*/ 288925 h 288926"/>
                <a:gd name="connsiteX130" fmla="*/ 1005271 w 1225550"/>
                <a:gd name="connsiteY130" fmla="*/ 288925 h 288926"/>
                <a:gd name="connsiteX131" fmla="*/ 578452 w 1225550"/>
                <a:gd name="connsiteY131" fmla="*/ 7809 h 288926"/>
                <a:gd name="connsiteX132" fmla="*/ 574675 w 1225550"/>
                <a:gd name="connsiteY132" fmla="*/ 3905 h 288926"/>
                <a:gd name="connsiteX133" fmla="*/ 578452 w 1225550"/>
                <a:gd name="connsiteY133" fmla="*/ 0 h 288926"/>
                <a:gd name="connsiteX134" fmla="*/ 518127 w 1225550"/>
                <a:gd name="connsiteY134" fmla="*/ 0 h 288926"/>
                <a:gd name="connsiteX135" fmla="*/ 521904 w 1225550"/>
                <a:gd name="connsiteY135" fmla="*/ 0 h 288926"/>
                <a:gd name="connsiteX136" fmla="*/ 948723 w 1225550"/>
                <a:gd name="connsiteY136" fmla="*/ 281116 h 288926"/>
                <a:gd name="connsiteX137" fmla="*/ 948723 w 1225550"/>
                <a:gd name="connsiteY137" fmla="*/ 285021 h 288926"/>
                <a:gd name="connsiteX138" fmla="*/ 948723 w 1225550"/>
                <a:gd name="connsiteY138" fmla="*/ 288925 h 288926"/>
                <a:gd name="connsiteX139" fmla="*/ 944946 w 1225550"/>
                <a:gd name="connsiteY139" fmla="*/ 288925 h 288926"/>
                <a:gd name="connsiteX140" fmla="*/ 518127 w 1225550"/>
                <a:gd name="connsiteY140" fmla="*/ 7809 h 288926"/>
                <a:gd name="connsiteX141" fmla="*/ 514350 w 1225550"/>
                <a:gd name="connsiteY141" fmla="*/ 3905 h 288926"/>
                <a:gd name="connsiteX142" fmla="*/ 518127 w 1225550"/>
                <a:gd name="connsiteY142" fmla="*/ 0 h 288926"/>
                <a:gd name="connsiteX143" fmla="*/ 457802 w 1225550"/>
                <a:gd name="connsiteY143" fmla="*/ 0 h 288926"/>
                <a:gd name="connsiteX144" fmla="*/ 461579 w 1225550"/>
                <a:gd name="connsiteY144" fmla="*/ 0 h 288926"/>
                <a:gd name="connsiteX145" fmla="*/ 888398 w 1225550"/>
                <a:gd name="connsiteY145" fmla="*/ 281116 h 288926"/>
                <a:gd name="connsiteX146" fmla="*/ 892175 w 1225550"/>
                <a:gd name="connsiteY146" fmla="*/ 285021 h 288926"/>
                <a:gd name="connsiteX147" fmla="*/ 888398 w 1225550"/>
                <a:gd name="connsiteY147" fmla="*/ 288925 h 288926"/>
                <a:gd name="connsiteX148" fmla="*/ 884621 w 1225550"/>
                <a:gd name="connsiteY148" fmla="*/ 288925 h 288926"/>
                <a:gd name="connsiteX149" fmla="*/ 457802 w 1225550"/>
                <a:gd name="connsiteY149" fmla="*/ 7809 h 288926"/>
                <a:gd name="connsiteX150" fmla="*/ 454025 w 1225550"/>
                <a:gd name="connsiteY150" fmla="*/ 3905 h 288926"/>
                <a:gd name="connsiteX151" fmla="*/ 457802 w 1225550"/>
                <a:gd name="connsiteY151" fmla="*/ 0 h 288926"/>
                <a:gd name="connsiteX152" fmla="*/ 397477 w 1225550"/>
                <a:gd name="connsiteY152" fmla="*/ 0 h 288926"/>
                <a:gd name="connsiteX153" fmla="*/ 401254 w 1225550"/>
                <a:gd name="connsiteY153" fmla="*/ 0 h 288926"/>
                <a:gd name="connsiteX154" fmla="*/ 828073 w 1225550"/>
                <a:gd name="connsiteY154" fmla="*/ 281116 h 288926"/>
                <a:gd name="connsiteX155" fmla="*/ 831850 w 1225550"/>
                <a:gd name="connsiteY155" fmla="*/ 285021 h 288926"/>
                <a:gd name="connsiteX156" fmla="*/ 828073 w 1225550"/>
                <a:gd name="connsiteY156" fmla="*/ 288925 h 288926"/>
                <a:gd name="connsiteX157" fmla="*/ 824296 w 1225550"/>
                <a:gd name="connsiteY157" fmla="*/ 288925 h 288926"/>
                <a:gd name="connsiteX158" fmla="*/ 397477 w 1225550"/>
                <a:gd name="connsiteY158" fmla="*/ 7809 h 288926"/>
                <a:gd name="connsiteX159" fmla="*/ 393700 w 1225550"/>
                <a:gd name="connsiteY159" fmla="*/ 3905 h 288926"/>
                <a:gd name="connsiteX160" fmla="*/ 397477 w 1225550"/>
                <a:gd name="connsiteY160" fmla="*/ 0 h 288926"/>
                <a:gd name="connsiteX161" fmla="*/ 337152 w 1225550"/>
                <a:gd name="connsiteY161" fmla="*/ 0 h 288926"/>
                <a:gd name="connsiteX162" fmla="*/ 340929 w 1225550"/>
                <a:gd name="connsiteY162" fmla="*/ 0 h 288926"/>
                <a:gd name="connsiteX163" fmla="*/ 767748 w 1225550"/>
                <a:gd name="connsiteY163" fmla="*/ 281116 h 288926"/>
                <a:gd name="connsiteX164" fmla="*/ 771525 w 1225550"/>
                <a:gd name="connsiteY164" fmla="*/ 285021 h 288926"/>
                <a:gd name="connsiteX165" fmla="*/ 767748 w 1225550"/>
                <a:gd name="connsiteY165" fmla="*/ 288925 h 288926"/>
                <a:gd name="connsiteX166" fmla="*/ 763971 w 1225550"/>
                <a:gd name="connsiteY166" fmla="*/ 288925 h 288926"/>
                <a:gd name="connsiteX167" fmla="*/ 337152 w 1225550"/>
                <a:gd name="connsiteY167" fmla="*/ 7809 h 288926"/>
                <a:gd name="connsiteX168" fmla="*/ 333375 w 1225550"/>
                <a:gd name="connsiteY168" fmla="*/ 3905 h 288926"/>
                <a:gd name="connsiteX169" fmla="*/ 337152 w 1225550"/>
                <a:gd name="connsiteY169" fmla="*/ 0 h 288926"/>
                <a:gd name="connsiteX170" fmla="*/ 276827 w 1225550"/>
                <a:gd name="connsiteY170" fmla="*/ 0 h 288926"/>
                <a:gd name="connsiteX171" fmla="*/ 280604 w 1225550"/>
                <a:gd name="connsiteY171" fmla="*/ 0 h 288926"/>
                <a:gd name="connsiteX172" fmla="*/ 707423 w 1225550"/>
                <a:gd name="connsiteY172" fmla="*/ 281116 h 288926"/>
                <a:gd name="connsiteX173" fmla="*/ 711200 w 1225550"/>
                <a:gd name="connsiteY173" fmla="*/ 285021 h 288926"/>
                <a:gd name="connsiteX174" fmla="*/ 707423 w 1225550"/>
                <a:gd name="connsiteY174" fmla="*/ 288925 h 288926"/>
                <a:gd name="connsiteX175" fmla="*/ 276827 w 1225550"/>
                <a:gd name="connsiteY175" fmla="*/ 7809 h 288926"/>
                <a:gd name="connsiteX176" fmla="*/ 276827 w 1225550"/>
                <a:gd name="connsiteY176" fmla="*/ 3905 h 288926"/>
                <a:gd name="connsiteX177" fmla="*/ 276827 w 1225550"/>
                <a:gd name="connsiteY177" fmla="*/ 0 h 288926"/>
                <a:gd name="connsiteX178" fmla="*/ 216502 w 1225550"/>
                <a:gd name="connsiteY178" fmla="*/ 0 h 288926"/>
                <a:gd name="connsiteX179" fmla="*/ 220279 w 1225550"/>
                <a:gd name="connsiteY179" fmla="*/ 0 h 288926"/>
                <a:gd name="connsiteX180" fmla="*/ 647098 w 1225550"/>
                <a:gd name="connsiteY180" fmla="*/ 281116 h 288926"/>
                <a:gd name="connsiteX181" fmla="*/ 650875 w 1225550"/>
                <a:gd name="connsiteY181" fmla="*/ 285021 h 288926"/>
                <a:gd name="connsiteX182" fmla="*/ 647098 w 1225550"/>
                <a:gd name="connsiteY182" fmla="*/ 288925 h 288926"/>
                <a:gd name="connsiteX183" fmla="*/ 216502 w 1225550"/>
                <a:gd name="connsiteY183" fmla="*/ 7809 h 288926"/>
                <a:gd name="connsiteX184" fmla="*/ 216502 w 1225550"/>
                <a:gd name="connsiteY184" fmla="*/ 3905 h 288926"/>
                <a:gd name="connsiteX185" fmla="*/ 216502 w 1225550"/>
                <a:gd name="connsiteY185" fmla="*/ 0 h 288926"/>
                <a:gd name="connsiteX186" fmla="*/ 154603 w 1225550"/>
                <a:gd name="connsiteY186" fmla="*/ 0 h 288926"/>
                <a:gd name="connsiteX187" fmla="*/ 158393 w 1225550"/>
                <a:gd name="connsiteY187" fmla="*/ 0 h 288926"/>
                <a:gd name="connsiteX188" fmla="*/ 590550 w 1225550"/>
                <a:gd name="connsiteY188" fmla="*/ 281116 h 288926"/>
                <a:gd name="connsiteX189" fmla="*/ 590550 w 1225550"/>
                <a:gd name="connsiteY189" fmla="*/ 285021 h 288926"/>
                <a:gd name="connsiteX190" fmla="*/ 586759 w 1225550"/>
                <a:gd name="connsiteY190" fmla="*/ 288925 h 288926"/>
                <a:gd name="connsiteX191" fmla="*/ 154603 w 1225550"/>
                <a:gd name="connsiteY191" fmla="*/ 7809 h 288926"/>
                <a:gd name="connsiteX192" fmla="*/ 154603 w 1225550"/>
                <a:gd name="connsiteY192" fmla="*/ 3905 h 288926"/>
                <a:gd name="connsiteX193" fmla="*/ 154603 w 1225550"/>
                <a:gd name="connsiteY193" fmla="*/ 0 h 288926"/>
                <a:gd name="connsiteX194" fmla="*/ 94278 w 1225550"/>
                <a:gd name="connsiteY194" fmla="*/ 0 h 288926"/>
                <a:gd name="connsiteX195" fmla="*/ 98068 w 1225550"/>
                <a:gd name="connsiteY195" fmla="*/ 0 h 288926"/>
                <a:gd name="connsiteX196" fmla="*/ 530225 w 1225550"/>
                <a:gd name="connsiteY196" fmla="*/ 281116 h 288926"/>
                <a:gd name="connsiteX197" fmla="*/ 530225 w 1225550"/>
                <a:gd name="connsiteY197" fmla="*/ 285021 h 288926"/>
                <a:gd name="connsiteX198" fmla="*/ 526434 w 1225550"/>
                <a:gd name="connsiteY198" fmla="*/ 288925 h 288926"/>
                <a:gd name="connsiteX199" fmla="*/ 94278 w 1225550"/>
                <a:gd name="connsiteY199" fmla="*/ 7809 h 288926"/>
                <a:gd name="connsiteX200" fmla="*/ 94278 w 1225550"/>
                <a:gd name="connsiteY200" fmla="*/ 3905 h 288926"/>
                <a:gd name="connsiteX201" fmla="*/ 94278 w 1225550"/>
                <a:gd name="connsiteY201" fmla="*/ 0 h 288926"/>
                <a:gd name="connsiteX202" fmla="*/ 34925 w 1225550"/>
                <a:gd name="connsiteY202" fmla="*/ 0 h 288926"/>
                <a:gd name="connsiteX203" fmla="*/ 38693 w 1225550"/>
                <a:gd name="connsiteY203" fmla="*/ 0 h 288926"/>
                <a:gd name="connsiteX204" fmla="*/ 468313 w 1225550"/>
                <a:gd name="connsiteY204" fmla="*/ 281116 h 288926"/>
                <a:gd name="connsiteX205" fmla="*/ 468313 w 1225550"/>
                <a:gd name="connsiteY205" fmla="*/ 285021 h 288926"/>
                <a:gd name="connsiteX206" fmla="*/ 464544 w 1225550"/>
                <a:gd name="connsiteY206" fmla="*/ 288925 h 288926"/>
                <a:gd name="connsiteX207" fmla="*/ 34925 w 1225550"/>
                <a:gd name="connsiteY207" fmla="*/ 7809 h 288926"/>
                <a:gd name="connsiteX208" fmla="*/ 34925 w 1225550"/>
                <a:gd name="connsiteY208" fmla="*/ 3905 h 288926"/>
                <a:gd name="connsiteX209" fmla="*/ 34925 w 1225550"/>
                <a:gd name="connsiteY209" fmla="*/ 0 h 288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1225550" h="288926">
                  <a:moveTo>
                    <a:pt x="3785" y="254000"/>
                  </a:moveTo>
                  <a:cubicBezTo>
                    <a:pt x="3785" y="254000"/>
                    <a:pt x="3785" y="254000"/>
                    <a:pt x="45427" y="281164"/>
                  </a:cubicBezTo>
                  <a:cubicBezTo>
                    <a:pt x="45427" y="285045"/>
                    <a:pt x="49213" y="285045"/>
                    <a:pt x="45427" y="285045"/>
                  </a:cubicBezTo>
                  <a:cubicBezTo>
                    <a:pt x="45427" y="285045"/>
                    <a:pt x="45427" y="285045"/>
                    <a:pt x="45427" y="288925"/>
                  </a:cubicBezTo>
                  <a:cubicBezTo>
                    <a:pt x="45427" y="288925"/>
                    <a:pt x="45427" y="288925"/>
                    <a:pt x="41642" y="288925"/>
                  </a:cubicBezTo>
                  <a:cubicBezTo>
                    <a:pt x="41642" y="288925"/>
                    <a:pt x="41642" y="288925"/>
                    <a:pt x="0" y="261761"/>
                  </a:cubicBezTo>
                  <a:cubicBezTo>
                    <a:pt x="0" y="261761"/>
                    <a:pt x="0" y="257881"/>
                    <a:pt x="0" y="257881"/>
                  </a:cubicBezTo>
                  <a:cubicBezTo>
                    <a:pt x="0" y="254000"/>
                    <a:pt x="0" y="254000"/>
                    <a:pt x="3785" y="254000"/>
                  </a:cubicBezTo>
                  <a:close/>
                  <a:moveTo>
                    <a:pt x="3798" y="215900"/>
                  </a:moveTo>
                  <a:cubicBezTo>
                    <a:pt x="3798" y="215900"/>
                    <a:pt x="3798" y="215900"/>
                    <a:pt x="106363" y="281238"/>
                  </a:cubicBezTo>
                  <a:cubicBezTo>
                    <a:pt x="106363" y="285082"/>
                    <a:pt x="106363" y="285082"/>
                    <a:pt x="106363" y="285082"/>
                  </a:cubicBezTo>
                  <a:cubicBezTo>
                    <a:pt x="106363" y="285082"/>
                    <a:pt x="106363" y="285082"/>
                    <a:pt x="102564" y="288925"/>
                  </a:cubicBezTo>
                  <a:cubicBezTo>
                    <a:pt x="102564" y="288925"/>
                    <a:pt x="102564" y="288925"/>
                    <a:pt x="0" y="223587"/>
                  </a:cubicBezTo>
                  <a:cubicBezTo>
                    <a:pt x="0" y="223587"/>
                    <a:pt x="0" y="219744"/>
                    <a:pt x="0" y="219744"/>
                  </a:cubicBezTo>
                  <a:cubicBezTo>
                    <a:pt x="0" y="215900"/>
                    <a:pt x="0" y="215900"/>
                    <a:pt x="3798" y="215900"/>
                  </a:cubicBezTo>
                  <a:close/>
                  <a:moveTo>
                    <a:pt x="3788" y="176213"/>
                  </a:moveTo>
                  <a:cubicBezTo>
                    <a:pt x="3788" y="176213"/>
                    <a:pt x="3788" y="176213"/>
                    <a:pt x="166688" y="281153"/>
                  </a:cubicBezTo>
                  <a:cubicBezTo>
                    <a:pt x="166688" y="285039"/>
                    <a:pt x="166688" y="285039"/>
                    <a:pt x="166688" y="285039"/>
                  </a:cubicBezTo>
                  <a:cubicBezTo>
                    <a:pt x="166688" y="285039"/>
                    <a:pt x="166688" y="285039"/>
                    <a:pt x="162899" y="288926"/>
                  </a:cubicBezTo>
                  <a:cubicBezTo>
                    <a:pt x="162899" y="288926"/>
                    <a:pt x="162899" y="288926"/>
                    <a:pt x="0" y="183986"/>
                  </a:cubicBezTo>
                  <a:cubicBezTo>
                    <a:pt x="0" y="180100"/>
                    <a:pt x="0" y="180100"/>
                    <a:pt x="0" y="180100"/>
                  </a:cubicBezTo>
                  <a:cubicBezTo>
                    <a:pt x="0" y="176213"/>
                    <a:pt x="0" y="176213"/>
                    <a:pt x="3788" y="176213"/>
                  </a:cubicBezTo>
                  <a:close/>
                  <a:moveTo>
                    <a:pt x="0" y="136525"/>
                  </a:moveTo>
                  <a:cubicBezTo>
                    <a:pt x="0" y="136525"/>
                    <a:pt x="0" y="136525"/>
                    <a:pt x="3783" y="136525"/>
                  </a:cubicBezTo>
                  <a:cubicBezTo>
                    <a:pt x="3783" y="136525"/>
                    <a:pt x="3783" y="136525"/>
                    <a:pt x="227013" y="281110"/>
                  </a:cubicBezTo>
                  <a:cubicBezTo>
                    <a:pt x="227013" y="285017"/>
                    <a:pt x="227013" y="285017"/>
                    <a:pt x="227013" y="285017"/>
                  </a:cubicBezTo>
                  <a:cubicBezTo>
                    <a:pt x="227013" y="285017"/>
                    <a:pt x="227013" y="285017"/>
                    <a:pt x="223229" y="288925"/>
                  </a:cubicBezTo>
                  <a:cubicBezTo>
                    <a:pt x="223229" y="288925"/>
                    <a:pt x="223229" y="288925"/>
                    <a:pt x="0" y="144341"/>
                  </a:cubicBezTo>
                  <a:cubicBezTo>
                    <a:pt x="0" y="140433"/>
                    <a:pt x="0" y="140433"/>
                    <a:pt x="0" y="136525"/>
                  </a:cubicBezTo>
                  <a:close/>
                  <a:moveTo>
                    <a:pt x="0" y="96838"/>
                  </a:moveTo>
                  <a:cubicBezTo>
                    <a:pt x="0" y="96838"/>
                    <a:pt x="0" y="96838"/>
                    <a:pt x="3781" y="96838"/>
                  </a:cubicBezTo>
                  <a:cubicBezTo>
                    <a:pt x="3781" y="96838"/>
                    <a:pt x="3781" y="96838"/>
                    <a:pt x="287338" y="281086"/>
                  </a:cubicBezTo>
                  <a:cubicBezTo>
                    <a:pt x="287338" y="285006"/>
                    <a:pt x="287338" y="285006"/>
                    <a:pt x="287338" y="285006"/>
                  </a:cubicBezTo>
                  <a:cubicBezTo>
                    <a:pt x="287338" y="285006"/>
                    <a:pt x="287338" y="285006"/>
                    <a:pt x="283557" y="288926"/>
                  </a:cubicBezTo>
                  <a:cubicBezTo>
                    <a:pt x="283557" y="288926"/>
                    <a:pt x="283557" y="288926"/>
                    <a:pt x="0" y="100758"/>
                  </a:cubicBezTo>
                  <a:cubicBezTo>
                    <a:pt x="0" y="100758"/>
                    <a:pt x="0" y="100758"/>
                    <a:pt x="0" y="96838"/>
                  </a:cubicBezTo>
                  <a:close/>
                  <a:moveTo>
                    <a:pt x="0" y="58738"/>
                  </a:moveTo>
                  <a:cubicBezTo>
                    <a:pt x="0" y="58738"/>
                    <a:pt x="0" y="58738"/>
                    <a:pt x="3779" y="58738"/>
                  </a:cubicBezTo>
                  <a:cubicBezTo>
                    <a:pt x="3779" y="58738"/>
                    <a:pt x="3779" y="58738"/>
                    <a:pt x="347663" y="281123"/>
                  </a:cubicBezTo>
                  <a:cubicBezTo>
                    <a:pt x="347663" y="285025"/>
                    <a:pt x="347663" y="285025"/>
                    <a:pt x="347663" y="285025"/>
                  </a:cubicBezTo>
                  <a:cubicBezTo>
                    <a:pt x="347663" y="285025"/>
                    <a:pt x="347663" y="285025"/>
                    <a:pt x="343884" y="288926"/>
                  </a:cubicBezTo>
                  <a:cubicBezTo>
                    <a:pt x="343884" y="288926"/>
                    <a:pt x="343884" y="288926"/>
                    <a:pt x="0" y="62640"/>
                  </a:cubicBezTo>
                  <a:cubicBezTo>
                    <a:pt x="0" y="62640"/>
                    <a:pt x="0" y="62640"/>
                    <a:pt x="0" y="58738"/>
                  </a:cubicBezTo>
                  <a:close/>
                  <a:moveTo>
                    <a:pt x="0" y="19050"/>
                  </a:moveTo>
                  <a:cubicBezTo>
                    <a:pt x="0" y="19050"/>
                    <a:pt x="0" y="19050"/>
                    <a:pt x="3777" y="19050"/>
                  </a:cubicBezTo>
                  <a:cubicBezTo>
                    <a:pt x="3777" y="19050"/>
                    <a:pt x="3777" y="19050"/>
                    <a:pt x="407988" y="281103"/>
                  </a:cubicBezTo>
                  <a:cubicBezTo>
                    <a:pt x="407988" y="285014"/>
                    <a:pt x="407988" y="285014"/>
                    <a:pt x="407988" y="285014"/>
                  </a:cubicBezTo>
                  <a:cubicBezTo>
                    <a:pt x="407988" y="285014"/>
                    <a:pt x="407988" y="285014"/>
                    <a:pt x="404210" y="288925"/>
                  </a:cubicBezTo>
                  <a:cubicBezTo>
                    <a:pt x="404210" y="288925"/>
                    <a:pt x="404210" y="288925"/>
                    <a:pt x="3777" y="26873"/>
                  </a:cubicBezTo>
                  <a:cubicBezTo>
                    <a:pt x="0" y="26873"/>
                    <a:pt x="0" y="22961"/>
                    <a:pt x="0" y="22961"/>
                  </a:cubicBezTo>
                  <a:cubicBezTo>
                    <a:pt x="0" y="22961"/>
                    <a:pt x="0" y="22961"/>
                    <a:pt x="0" y="19050"/>
                  </a:cubicBezTo>
                  <a:close/>
                  <a:moveTo>
                    <a:pt x="1180123" y="0"/>
                  </a:moveTo>
                  <a:cubicBezTo>
                    <a:pt x="1183908" y="0"/>
                    <a:pt x="1183908" y="0"/>
                    <a:pt x="1183908" y="0"/>
                  </a:cubicBezTo>
                  <a:cubicBezTo>
                    <a:pt x="1183908" y="0"/>
                    <a:pt x="1183908" y="0"/>
                    <a:pt x="1225550" y="27164"/>
                  </a:cubicBezTo>
                  <a:cubicBezTo>
                    <a:pt x="1225550" y="27164"/>
                    <a:pt x="1225550" y="31045"/>
                    <a:pt x="1225550" y="31045"/>
                  </a:cubicBezTo>
                  <a:cubicBezTo>
                    <a:pt x="1225550" y="31045"/>
                    <a:pt x="1225550" y="31045"/>
                    <a:pt x="1221765" y="34925"/>
                  </a:cubicBezTo>
                  <a:cubicBezTo>
                    <a:pt x="1221765" y="34925"/>
                    <a:pt x="1221765" y="34925"/>
                    <a:pt x="1180123" y="7761"/>
                  </a:cubicBezTo>
                  <a:cubicBezTo>
                    <a:pt x="1180123" y="3881"/>
                    <a:pt x="1176337" y="3881"/>
                    <a:pt x="1180123" y="3881"/>
                  </a:cubicBezTo>
                  <a:cubicBezTo>
                    <a:pt x="1180123" y="0"/>
                    <a:pt x="1180123" y="0"/>
                    <a:pt x="1180123" y="0"/>
                  </a:cubicBezTo>
                  <a:close/>
                  <a:moveTo>
                    <a:pt x="1122986" y="0"/>
                  </a:moveTo>
                  <a:cubicBezTo>
                    <a:pt x="1122986" y="0"/>
                    <a:pt x="1122986" y="0"/>
                    <a:pt x="1225550" y="66759"/>
                  </a:cubicBezTo>
                  <a:cubicBezTo>
                    <a:pt x="1225550" y="66759"/>
                    <a:pt x="1225550" y="70686"/>
                    <a:pt x="1225550" y="70686"/>
                  </a:cubicBezTo>
                  <a:cubicBezTo>
                    <a:pt x="1225550" y="70686"/>
                    <a:pt x="1225550" y="70686"/>
                    <a:pt x="1221752" y="74613"/>
                  </a:cubicBezTo>
                  <a:cubicBezTo>
                    <a:pt x="1221752" y="74613"/>
                    <a:pt x="1221752" y="74613"/>
                    <a:pt x="1119187" y="7854"/>
                  </a:cubicBezTo>
                  <a:cubicBezTo>
                    <a:pt x="1119187" y="3927"/>
                    <a:pt x="1119187" y="3927"/>
                    <a:pt x="1119187" y="3927"/>
                  </a:cubicBezTo>
                  <a:cubicBezTo>
                    <a:pt x="1119187" y="0"/>
                    <a:pt x="1119187" y="0"/>
                    <a:pt x="1122986" y="0"/>
                  </a:cubicBezTo>
                  <a:close/>
                  <a:moveTo>
                    <a:pt x="1062651" y="0"/>
                  </a:moveTo>
                  <a:cubicBezTo>
                    <a:pt x="1062651" y="0"/>
                    <a:pt x="1062651" y="0"/>
                    <a:pt x="1225550" y="104940"/>
                  </a:cubicBezTo>
                  <a:cubicBezTo>
                    <a:pt x="1225550" y="108826"/>
                    <a:pt x="1225550" y="108826"/>
                    <a:pt x="1225550" y="108826"/>
                  </a:cubicBezTo>
                  <a:cubicBezTo>
                    <a:pt x="1225550" y="108826"/>
                    <a:pt x="1225550" y="108826"/>
                    <a:pt x="1221762" y="112713"/>
                  </a:cubicBezTo>
                  <a:cubicBezTo>
                    <a:pt x="1221762" y="112713"/>
                    <a:pt x="1221762" y="112713"/>
                    <a:pt x="1058862" y="7773"/>
                  </a:cubicBezTo>
                  <a:cubicBezTo>
                    <a:pt x="1058862" y="3887"/>
                    <a:pt x="1058862" y="3887"/>
                    <a:pt x="1058862" y="3887"/>
                  </a:cubicBezTo>
                  <a:cubicBezTo>
                    <a:pt x="1058862" y="0"/>
                    <a:pt x="1058862" y="0"/>
                    <a:pt x="1062651" y="0"/>
                  </a:cubicBezTo>
                  <a:close/>
                  <a:moveTo>
                    <a:pt x="1002321" y="0"/>
                  </a:moveTo>
                  <a:cubicBezTo>
                    <a:pt x="1002321" y="0"/>
                    <a:pt x="1002321" y="0"/>
                    <a:pt x="1225550" y="144585"/>
                  </a:cubicBezTo>
                  <a:cubicBezTo>
                    <a:pt x="1225550" y="148492"/>
                    <a:pt x="1225550" y="148492"/>
                    <a:pt x="1225550" y="152400"/>
                  </a:cubicBezTo>
                  <a:cubicBezTo>
                    <a:pt x="1225550" y="152400"/>
                    <a:pt x="1225550" y="152400"/>
                    <a:pt x="1221767" y="152400"/>
                  </a:cubicBezTo>
                  <a:cubicBezTo>
                    <a:pt x="1221767" y="152400"/>
                    <a:pt x="1221767" y="152400"/>
                    <a:pt x="998537" y="7816"/>
                  </a:cubicBezTo>
                  <a:cubicBezTo>
                    <a:pt x="998537" y="3908"/>
                    <a:pt x="998537" y="3908"/>
                    <a:pt x="998537" y="3908"/>
                  </a:cubicBezTo>
                  <a:cubicBezTo>
                    <a:pt x="998537" y="0"/>
                    <a:pt x="998537" y="0"/>
                    <a:pt x="1002321" y="0"/>
                  </a:cubicBezTo>
                  <a:close/>
                  <a:moveTo>
                    <a:pt x="941993" y="0"/>
                  </a:moveTo>
                  <a:cubicBezTo>
                    <a:pt x="941993" y="0"/>
                    <a:pt x="941993" y="0"/>
                    <a:pt x="1225550" y="188168"/>
                  </a:cubicBezTo>
                  <a:cubicBezTo>
                    <a:pt x="1225550" y="188168"/>
                    <a:pt x="1225550" y="188168"/>
                    <a:pt x="1225550" y="192088"/>
                  </a:cubicBezTo>
                  <a:cubicBezTo>
                    <a:pt x="1225550" y="192088"/>
                    <a:pt x="1225550" y="192088"/>
                    <a:pt x="1221769" y="192088"/>
                  </a:cubicBezTo>
                  <a:cubicBezTo>
                    <a:pt x="1221769" y="192088"/>
                    <a:pt x="1221769" y="192088"/>
                    <a:pt x="938212" y="7840"/>
                  </a:cubicBezTo>
                  <a:cubicBezTo>
                    <a:pt x="938212" y="3920"/>
                    <a:pt x="938212" y="3920"/>
                    <a:pt x="938212" y="3920"/>
                  </a:cubicBezTo>
                  <a:cubicBezTo>
                    <a:pt x="938212" y="0"/>
                    <a:pt x="938212" y="0"/>
                    <a:pt x="941993" y="0"/>
                  </a:cubicBezTo>
                  <a:close/>
                  <a:moveTo>
                    <a:pt x="881666" y="0"/>
                  </a:moveTo>
                  <a:cubicBezTo>
                    <a:pt x="881666" y="0"/>
                    <a:pt x="881666" y="0"/>
                    <a:pt x="1225550" y="226287"/>
                  </a:cubicBezTo>
                  <a:cubicBezTo>
                    <a:pt x="1225550" y="226287"/>
                    <a:pt x="1225550" y="226287"/>
                    <a:pt x="1225550" y="230188"/>
                  </a:cubicBezTo>
                  <a:cubicBezTo>
                    <a:pt x="1225550" y="230188"/>
                    <a:pt x="1225550" y="230188"/>
                    <a:pt x="1221771" y="230188"/>
                  </a:cubicBezTo>
                  <a:cubicBezTo>
                    <a:pt x="1221771" y="230188"/>
                    <a:pt x="1221771" y="230188"/>
                    <a:pt x="877887" y="7803"/>
                  </a:cubicBezTo>
                  <a:cubicBezTo>
                    <a:pt x="877887" y="3902"/>
                    <a:pt x="877887" y="3902"/>
                    <a:pt x="877887" y="3902"/>
                  </a:cubicBezTo>
                  <a:cubicBezTo>
                    <a:pt x="877887" y="0"/>
                    <a:pt x="877887" y="0"/>
                    <a:pt x="881666" y="0"/>
                  </a:cubicBezTo>
                  <a:close/>
                  <a:moveTo>
                    <a:pt x="821340" y="0"/>
                  </a:moveTo>
                  <a:cubicBezTo>
                    <a:pt x="821340" y="0"/>
                    <a:pt x="821340" y="0"/>
                    <a:pt x="1221773" y="262053"/>
                  </a:cubicBezTo>
                  <a:cubicBezTo>
                    <a:pt x="1225550" y="262053"/>
                    <a:pt x="1225550" y="265964"/>
                    <a:pt x="1225550" y="265964"/>
                  </a:cubicBezTo>
                  <a:cubicBezTo>
                    <a:pt x="1225550" y="265964"/>
                    <a:pt x="1225550" y="265964"/>
                    <a:pt x="1225550" y="269875"/>
                  </a:cubicBezTo>
                  <a:cubicBezTo>
                    <a:pt x="1225550" y="269875"/>
                    <a:pt x="1225550" y="269875"/>
                    <a:pt x="1221773" y="269875"/>
                  </a:cubicBezTo>
                  <a:cubicBezTo>
                    <a:pt x="1221773" y="269875"/>
                    <a:pt x="1221773" y="269875"/>
                    <a:pt x="817562" y="7823"/>
                  </a:cubicBezTo>
                  <a:cubicBezTo>
                    <a:pt x="817562" y="3911"/>
                    <a:pt x="817562" y="3911"/>
                    <a:pt x="817562" y="3911"/>
                  </a:cubicBezTo>
                  <a:cubicBezTo>
                    <a:pt x="817562" y="0"/>
                    <a:pt x="817562" y="0"/>
                    <a:pt x="821340" y="0"/>
                  </a:cubicBezTo>
                  <a:close/>
                  <a:moveTo>
                    <a:pt x="759433" y="0"/>
                  </a:moveTo>
                  <a:cubicBezTo>
                    <a:pt x="759433" y="0"/>
                    <a:pt x="759433" y="0"/>
                    <a:pt x="1190625" y="281116"/>
                  </a:cubicBezTo>
                  <a:cubicBezTo>
                    <a:pt x="1190625" y="285021"/>
                    <a:pt x="1190625" y="285021"/>
                    <a:pt x="1190625" y="285021"/>
                  </a:cubicBezTo>
                  <a:cubicBezTo>
                    <a:pt x="1190625" y="285021"/>
                    <a:pt x="1190625" y="285021"/>
                    <a:pt x="1190625" y="288925"/>
                  </a:cubicBezTo>
                  <a:cubicBezTo>
                    <a:pt x="1190625" y="288925"/>
                    <a:pt x="1190625" y="288925"/>
                    <a:pt x="1186843" y="288925"/>
                  </a:cubicBezTo>
                  <a:cubicBezTo>
                    <a:pt x="1186843" y="288925"/>
                    <a:pt x="1186843" y="288925"/>
                    <a:pt x="755650" y="7809"/>
                  </a:cubicBezTo>
                  <a:cubicBezTo>
                    <a:pt x="755650" y="3905"/>
                    <a:pt x="755650" y="3905"/>
                    <a:pt x="755650" y="3905"/>
                  </a:cubicBezTo>
                  <a:cubicBezTo>
                    <a:pt x="755650" y="0"/>
                    <a:pt x="759433" y="0"/>
                    <a:pt x="759433" y="0"/>
                  </a:cubicBezTo>
                  <a:close/>
                  <a:moveTo>
                    <a:pt x="699116" y="0"/>
                  </a:moveTo>
                  <a:cubicBezTo>
                    <a:pt x="699116" y="0"/>
                    <a:pt x="699116" y="0"/>
                    <a:pt x="1131272" y="281116"/>
                  </a:cubicBezTo>
                  <a:cubicBezTo>
                    <a:pt x="1131272" y="285021"/>
                    <a:pt x="1135063" y="285021"/>
                    <a:pt x="1131272" y="285021"/>
                  </a:cubicBezTo>
                  <a:cubicBezTo>
                    <a:pt x="1131272" y="285021"/>
                    <a:pt x="1131272" y="285021"/>
                    <a:pt x="1131272" y="288925"/>
                  </a:cubicBezTo>
                  <a:cubicBezTo>
                    <a:pt x="1131272" y="288925"/>
                    <a:pt x="1131272" y="288925"/>
                    <a:pt x="1127482" y="288925"/>
                  </a:cubicBezTo>
                  <a:cubicBezTo>
                    <a:pt x="1127482" y="288925"/>
                    <a:pt x="1127482" y="288925"/>
                    <a:pt x="695325" y="7809"/>
                  </a:cubicBezTo>
                  <a:cubicBezTo>
                    <a:pt x="695325" y="3905"/>
                    <a:pt x="695325" y="3905"/>
                    <a:pt x="695325" y="3905"/>
                  </a:cubicBezTo>
                  <a:cubicBezTo>
                    <a:pt x="695325" y="0"/>
                    <a:pt x="699116" y="0"/>
                    <a:pt x="699116" y="0"/>
                  </a:cubicBezTo>
                  <a:close/>
                  <a:moveTo>
                    <a:pt x="638791" y="0"/>
                  </a:moveTo>
                  <a:cubicBezTo>
                    <a:pt x="638791" y="0"/>
                    <a:pt x="638791" y="0"/>
                    <a:pt x="1070947" y="281116"/>
                  </a:cubicBezTo>
                  <a:cubicBezTo>
                    <a:pt x="1070947" y="285021"/>
                    <a:pt x="1074738" y="285021"/>
                    <a:pt x="1070947" y="285021"/>
                  </a:cubicBezTo>
                  <a:cubicBezTo>
                    <a:pt x="1070947" y="285021"/>
                    <a:pt x="1070947" y="285021"/>
                    <a:pt x="1070947" y="288925"/>
                  </a:cubicBezTo>
                  <a:cubicBezTo>
                    <a:pt x="1070947" y="288925"/>
                    <a:pt x="1070947" y="288925"/>
                    <a:pt x="1067157" y="288925"/>
                  </a:cubicBezTo>
                  <a:cubicBezTo>
                    <a:pt x="1067157" y="288925"/>
                    <a:pt x="1067157" y="288925"/>
                    <a:pt x="635000" y="7809"/>
                  </a:cubicBezTo>
                  <a:cubicBezTo>
                    <a:pt x="635000" y="3905"/>
                    <a:pt x="635000" y="3905"/>
                    <a:pt x="635000" y="3905"/>
                  </a:cubicBezTo>
                  <a:cubicBezTo>
                    <a:pt x="635000" y="0"/>
                    <a:pt x="638791" y="0"/>
                    <a:pt x="638791" y="0"/>
                  </a:cubicBezTo>
                  <a:close/>
                  <a:moveTo>
                    <a:pt x="578452" y="0"/>
                  </a:moveTo>
                  <a:cubicBezTo>
                    <a:pt x="578452" y="0"/>
                    <a:pt x="578452" y="0"/>
                    <a:pt x="1009048" y="281116"/>
                  </a:cubicBezTo>
                  <a:cubicBezTo>
                    <a:pt x="1012825" y="285021"/>
                    <a:pt x="1012825" y="285021"/>
                    <a:pt x="1009048" y="285021"/>
                  </a:cubicBezTo>
                  <a:cubicBezTo>
                    <a:pt x="1009048" y="285021"/>
                    <a:pt x="1009048" y="285021"/>
                    <a:pt x="1009048" y="288925"/>
                  </a:cubicBezTo>
                  <a:cubicBezTo>
                    <a:pt x="1009048" y="288925"/>
                    <a:pt x="1009048" y="288925"/>
                    <a:pt x="1005271" y="288925"/>
                  </a:cubicBezTo>
                  <a:cubicBezTo>
                    <a:pt x="1005271" y="288925"/>
                    <a:pt x="1005271" y="288925"/>
                    <a:pt x="578452" y="7809"/>
                  </a:cubicBezTo>
                  <a:cubicBezTo>
                    <a:pt x="574675" y="3905"/>
                    <a:pt x="574675" y="3905"/>
                    <a:pt x="574675" y="3905"/>
                  </a:cubicBezTo>
                  <a:cubicBezTo>
                    <a:pt x="574675" y="0"/>
                    <a:pt x="578452" y="0"/>
                    <a:pt x="578452" y="0"/>
                  </a:cubicBezTo>
                  <a:close/>
                  <a:moveTo>
                    <a:pt x="518127" y="0"/>
                  </a:moveTo>
                  <a:cubicBezTo>
                    <a:pt x="518127" y="0"/>
                    <a:pt x="518127" y="0"/>
                    <a:pt x="521904" y="0"/>
                  </a:cubicBezTo>
                  <a:cubicBezTo>
                    <a:pt x="521904" y="0"/>
                    <a:pt x="521904" y="0"/>
                    <a:pt x="948723" y="281116"/>
                  </a:cubicBezTo>
                  <a:cubicBezTo>
                    <a:pt x="952500" y="285021"/>
                    <a:pt x="952500" y="285021"/>
                    <a:pt x="948723" y="285021"/>
                  </a:cubicBezTo>
                  <a:cubicBezTo>
                    <a:pt x="948723" y="285021"/>
                    <a:pt x="948723" y="285021"/>
                    <a:pt x="948723" y="288925"/>
                  </a:cubicBezTo>
                  <a:cubicBezTo>
                    <a:pt x="948723" y="288925"/>
                    <a:pt x="948723" y="288925"/>
                    <a:pt x="944946" y="288925"/>
                  </a:cubicBezTo>
                  <a:cubicBezTo>
                    <a:pt x="944946" y="288925"/>
                    <a:pt x="944946" y="288925"/>
                    <a:pt x="518127" y="7809"/>
                  </a:cubicBezTo>
                  <a:cubicBezTo>
                    <a:pt x="514350" y="3905"/>
                    <a:pt x="514350" y="3905"/>
                    <a:pt x="514350" y="3905"/>
                  </a:cubicBezTo>
                  <a:cubicBezTo>
                    <a:pt x="514350" y="0"/>
                    <a:pt x="518127" y="0"/>
                    <a:pt x="518127" y="0"/>
                  </a:cubicBezTo>
                  <a:close/>
                  <a:moveTo>
                    <a:pt x="457802" y="0"/>
                  </a:moveTo>
                  <a:cubicBezTo>
                    <a:pt x="457802" y="0"/>
                    <a:pt x="457802" y="0"/>
                    <a:pt x="461579" y="0"/>
                  </a:cubicBezTo>
                  <a:cubicBezTo>
                    <a:pt x="461579" y="0"/>
                    <a:pt x="461579" y="0"/>
                    <a:pt x="888398" y="281116"/>
                  </a:cubicBezTo>
                  <a:cubicBezTo>
                    <a:pt x="892175" y="285021"/>
                    <a:pt x="892175" y="285021"/>
                    <a:pt x="892175" y="285021"/>
                  </a:cubicBezTo>
                  <a:cubicBezTo>
                    <a:pt x="892175" y="285021"/>
                    <a:pt x="892175" y="285021"/>
                    <a:pt x="888398" y="288925"/>
                  </a:cubicBezTo>
                  <a:cubicBezTo>
                    <a:pt x="888398" y="288925"/>
                    <a:pt x="888398" y="288925"/>
                    <a:pt x="884621" y="288925"/>
                  </a:cubicBezTo>
                  <a:cubicBezTo>
                    <a:pt x="884621" y="288925"/>
                    <a:pt x="884621" y="288925"/>
                    <a:pt x="457802" y="7809"/>
                  </a:cubicBezTo>
                  <a:cubicBezTo>
                    <a:pt x="454025" y="3905"/>
                    <a:pt x="454025" y="3905"/>
                    <a:pt x="454025" y="3905"/>
                  </a:cubicBezTo>
                  <a:cubicBezTo>
                    <a:pt x="457802" y="0"/>
                    <a:pt x="457802" y="0"/>
                    <a:pt x="457802" y="0"/>
                  </a:cubicBezTo>
                  <a:close/>
                  <a:moveTo>
                    <a:pt x="397477" y="0"/>
                  </a:moveTo>
                  <a:cubicBezTo>
                    <a:pt x="397477" y="0"/>
                    <a:pt x="397477" y="0"/>
                    <a:pt x="401254" y="0"/>
                  </a:cubicBezTo>
                  <a:cubicBezTo>
                    <a:pt x="401254" y="0"/>
                    <a:pt x="401254" y="0"/>
                    <a:pt x="828073" y="281116"/>
                  </a:cubicBezTo>
                  <a:cubicBezTo>
                    <a:pt x="831850" y="285021"/>
                    <a:pt x="831850" y="285021"/>
                    <a:pt x="831850" y="285021"/>
                  </a:cubicBezTo>
                  <a:cubicBezTo>
                    <a:pt x="831850" y="285021"/>
                    <a:pt x="831850" y="285021"/>
                    <a:pt x="828073" y="288925"/>
                  </a:cubicBezTo>
                  <a:cubicBezTo>
                    <a:pt x="828073" y="288925"/>
                    <a:pt x="828073" y="288925"/>
                    <a:pt x="824296" y="288925"/>
                  </a:cubicBezTo>
                  <a:cubicBezTo>
                    <a:pt x="824296" y="288925"/>
                    <a:pt x="824296" y="288925"/>
                    <a:pt x="397477" y="7809"/>
                  </a:cubicBezTo>
                  <a:cubicBezTo>
                    <a:pt x="393700" y="3905"/>
                    <a:pt x="393700" y="3905"/>
                    <a:pt x="393700" y="3905"/>
                  </a:cubicBezTo>
                  <a:cubicBezTo>
                    <a:pt x="397477" y="0"/>
                    <a:pt x="397477" y="0"/>
                    <a:pt x="397477" y="0"/>
                  </a:cubicBezTo>
                  <a:close/>
                  <a:moveTo>
                    <a:pt x="337152" y="0"/>
                  </a:moveTo>
                  <a:cubicBezTo>
                    <a:pt x="337152" y="0"/>
                    <a:pt x="340929" y="0"/>
                    <a:pt x="340929" y="0"/>
                  </a:cubicBezTo>
                  <a:cubicBezTo>
                    <a:pt x="340929" y="0"/>
                    <a:pt x="340929" y="0"/>
                    <a:pt x="767748" y="281116"/>
                  </a:cubicBezTo>
                  <a:cubicBezTo>
                    <a:pt x="771525" y="285021"/>
                    <a:pt x="771525" y="285021"/>
                    <a:pt x="771525" y="285021"/>
                  </a:cubicBezTo>
                  <a:cubicBezTo>
                    <a:pt x="771525" y="285021"/>
                    <a:pt x="771525" y="285021"/>
                    <a:pt x="767748" y="288925"/>
                  </a:cubicBezTo>
                  <a:cubicBezTo>
                    <a:pt x="767748" y="288925"/>
                    <a:pt x="767748" y="288925"/>
                    <a:pt x="763971" y="288925"/>
                  </a:cubicBezTo>
                  <a:cubicBezTo>
                    <a:pt x="763971" y="288925"/>
                    <a:pt x="763971" y="288925"/>
                    <a:pt x="337152" y="7809"/>
                  </a:cubicBezTo>
                  <a:cubicBezTo>
                    <a:pt x="333375" y="3905"/>
                    <a:pt x="333375" y="3905"/>
                    <a:pt x="333375" y="3905"/>
                  </a:cubicBezTo>
                  <a:cubicBezTo>
                    <a:pt x="337152" y="0"/>
                    <a:pt x="337152" y="0"/>
                    <a:pt x="337152" y="0"/>
                  </a:cubicBezTo>
                  <a:close/>
                  <a:moveTo>
                    <a:pt x="276827" y="0"/>
                  </a:moveTo>
                  <a:cubicBezTo>
                    <a:pt x="276827" y="0"/>
                    <a:pt x="280604" y="0"/>
                    <a:pt x="280604" y="0"/>
                  </a:cubicBezTo>
                  <a:cubicBezTo>
                    <a:pt x="280604" y="0"/>
                    <a:pt x="280604" y="0"/>
                    <a:pt x="707423" y="281116"/>
                  </a:cubicBezTo>
                  <a:cubicBezTo>
                    <a:pt x="711200" y="285021"/>
                    <a:pt x="711200" y="285021"/>
                    <a:pt x="711200" y="285021"/>
                  </a:cubicBezTo>
                  <a:cubicBezTo>
                    <a:pt x="711200" y="285021"/>
                    <a:pt x="711200" y="285021"/>
                    <a:pt x="707423" y="288925"/>
                  </a:cubicBezTo>
                  <a:cubicBezTo>
                    <a:pt x="707423" y="288925"/>
                    <a:pt x="707423" y="288925"/>
                    <a:pt x="276827" y="7809"/>
                  </a:cubicBezTo>
                  <a:cubicBezTo>
                    <a:pt x="273050" y="3905"/>
                    <a:pt x="273050" y="3905"/>
                    <a:pt x="276827" y="3905"/>
                  </a:cubicBezTo>
                  <a:cubicBezTo>
                    <a:pt x="276827" y="0"/>
                    <a:pt x="276827" y="0"/>
                    <a:pt x="276827" y="0"/>
                  </a:cubicBezTo>
                  <a:close/>
                  <a:moveTo>
                    <a:pt x="216502" y="0"/>
                  </a:moveTo>
                  <a:cubicBezTo>
                    <a:pt x="216502" y="0"/>
                    <a:pt x="220279" y="0"/>
                    <a:pt x="220279" y="0"/>
                  </a:cubicBezTo>
                  <a:cubicBezTo>
                    <a:pt x="220279" y="0"/>
                    <a:pt x="220279" y="0"/>
                    <a:pt x="647098" y="281116"/>
                  </a:cubicBezTo>
                  <a:cubicBezTo>
                    <a:pt x="650875" y="285021"/>
                    <a:pt x="650875" y="285021"/>
                    <a:pt x="650875" y="285021"/>
                  </a:cubicBezTo>
                  <a:cubicBezTo>
                    <a:pt x="650875" y="285021"/>
                    <a:pt x="650875" y="285021"/>
                    <a:pt x="647098" y="288925"/>
                  </a:cubicBezTo>
                  <a:cubicBezTo>
                    <a:pt x="647098" y="288925"/>
                    <a:pt x="647098" y="288925"/>
                    <a:pt x="216502" y="7809"/>
                  </a:cubicBezTo>
                  <a:cubicBezTo>
                    <a:pt x="212725" y="3905"/>
                    <a:pt x="212725" y="3905"/>
                    <a:pt x="216502" y="3905"/>
                  </a:cubicBezTo>
                  <a:cubicBezTo>
                    <a:pt x="216502" y="0"/>
                    <a:pt x="216502" y="0"/>
                    <a:pt x="216502" y="0"/>
                  </a:cubicBezTo>
                  <a:close/>
                  <a:moveTo>
                    <a:pt x="154603" y="0"/>
                  </a:moveTo>
                  <a:cubicBezTo>
                    <a:pt x="158393" y="0"/>
                    <a:pt x="158393" y="0"/>
                    <a:pt x="158393" y="0"/>
                  </a:cubicBezTo>
                  <a:cubicBezTo>
                    <a:pt x="158393" y="0"/>
                    <a:pt x="158393" y="0"/>
                    <a:pt x="590550" y="281116"/>
                  </a:cubicBezTo>
                  <a:cubicBezTo>
                    <a:pt x="590550" y="285021"/>
                    <a:pt x="590550" y="285021"/>
                    <a:pt x="590550" y="285021"/>
                  </a:cubicBezTo>
                  <a:cubicBezTo>
                    <a:pt x="590550" y="285021"/>
                    <a:pt x="590550" y="285021"/>
                    <a:pt x="586759" y="288925"/>
                  </a:cubicBezTo>
                  <a:cubicBezTo>
                    <a:pt x="586759" y="288925"/>
                    <a:pt x="586759" y="288925"/>
                    <a:pt x="154603" y="7809"/>
                  </a:cubicBezTo>
                  <a:cubicBezTo>
                    <a:pt x="154603" y="3905"/>
                    <a:pt x="150812" y="3905"/>
                    <a:pt x="154603" y="3905"/>
                  </a:cubicBezTo>
                  <a:cubicBezTo>
                    <a:pt x="154603" y="0"/>
                    <a:pt x="154603" y="0"/>
                    <a:pt x="154603" y="0"/>
                  </a:cubicBezTo>
                  <a:close/>
                  <a:moveTo>
                    <a:pt x="94278" y="0"/>
                  </a:moveTo>
                  <a:cubicBezTo>
                    <a:pt x="98068" y="0"/>
                    <a:pt x="98068" y="0"/>
                    <a:pt x="98068" y="0"/>
                  </a:cubicBezTo>
                  <a:cubicBezTo>
                    <a:pt x="98068" y="0"/>
                    <a:pt x="98068" y="0"/>
                    <a:pt x="530225" y="281116"/>
                  </a:cubicBezTo>
                  <a:cubicBezTo>
                    <a:pt x="530225" y="285021"/>
                    <a:pt x="530225" y="285021"/>
                    <a:pt x="530225" y="285021"/>
                  </a:cubicBezTo>
                  <a:cubicBezTo>
                    <a:pt x="530225" y="285021"/>
                    <a:pt x="530225" y="285021"/>
                    <a:pt x="526434" y="288925"/>
                  </a:cubicBezTo>
                  <a:cubicBezTo>
                    <a:pt x="526434" y="288925"/>
                    <a:pt x="526434" y="288925"/>
                    <a:pt x="94278" y="7809"/>
                  </a:cubicBezTo>
                  <a:cubicBezTo>
                    <a:pt x="94278" y="3905"/>
                    <a:pt x="90487" y="3905"/>
                    <a:pt x="94278" y="3905"/>
                  </a:cubicBezTo>
                  <a:cubicBezTo>
                    <a:pt x="94278" y="0"/>
                    <a:pt x="94278" y="0"/>
                    <a:pt x="94278" y="0"/>
                  </a:cubicBezTo>
                  <a:close/>
                  <a:moveTo>
                    <a:pt x="34925" y="0"/>
                  </a:moveTo>
                  <a:cubicBezTo>
                    <a:pt x="38693" y="0"/>
                    <a:pt x="38693" y="0"/>
                    <a:pt x="38693" y="0"/>
                  </a:cubicBezTo>
                  <a:cubicBezTo>
                    <a:pt x="38693" y="0"/>
                    <a:pt x="38693" y="0"/>
                    <a:pt x="468313" y="281116"/>
                  </a:cubicBezTo>
                  <a:cubicBezTo>
                    <a:pt x="468313" y="285021"/>
                    <a:pt x="468313" y="285021"/>
                    <a:pt x="468313" y="285021"/>
                  </a:cubicBezTo>
                  <a:cubicBezTo>
                    <a:pt x="468313" y="285021"/>
                    <a:pt x="468313" y="285021"/>
                    <a:pt x="464544" y="288925"/>
                  </a:cubicBezTo>
                  <a:cubicBezTo>
                    <a:pt x="464544" y="288925"/>
                    <a:pt x="464544" y="288925"/>
                    <a:pt x="34925" y="7809"/>
                  </a:cubicBezTo>
                  <a:cubicBezTo>
                    <a:pt x="34925" y="3905"/>
                    <a:pt x="34925" y="3905"/>
                    <a:pt x="34925" y="3905"/>
                  </a:cubicBezTo>
                  <a:cubicBezTo>
                    <a:pt x="34925" y="0"/>
                    <a:pt x="34925" y="0"/>
                    <a:pt x="3492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100" name="Group 99">
              <a:extLst>
                <a:ext uri="{FF2B5EF4-FFF2-40B4-BE49-F238E27FC236}">
                  <a16:creationId xmlns:a16="http://schemas.microsoft.com/office/drawing/2014/main" id="{314E4E64-BFB7-45D8-9827-6CF3544F14B7}"/>
                </a:ext>
              </a:extLst>
            </p:cNvPr>
            <p:cNvGrpSpPr/>
            <p:nvPr/>
          </p:nvGrpSpPr>
          <p:grpSpPr>
            <a:xfrm>
              <a:off x="5442670" y="1981526"/>
              <a:ext cx="1306650" cy="1306650"/>
              <a:chOff x="5442670" y="1736204"/>
              <a:chExt cx="1306650" cy="1306650"/>
            </a:xfrm>
          </p:grpSpPr>
          <p:sp>
            <p:nvSpPr>
              <p:cNvPr id="35" name="Oval 34">
                <a:extLst>
                  <a:ext uri="{FF2B5EF4-FFF2-40B4-BE49-F238E27FC236}">
                    <a16:creationId xmlns:a16="http://schemas.microsoft.com/office/drawing/2014/main" id="{A296CF30-CCD4-4BD9-942C-B606BBD792BD}"/>
                  </a:ext>
                </a:extLst>
              </p:cNvPr>
              <p:cNvSpPr/>
              <p:nvPr/>
            </p:nvSpPr>
            <p:spPr>
              <a:xfrm>
                <a:off x="5442670" y="1736204"/>
                <a:ext cx="1306650" cy="1306650"/>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9" name="Picture 98">
                <a:extLst>
                  <a:ext uri="{FF2B5EF4-FFF2-40B4-BE49-F238E27FC236}">
                    <a16:creationId xmlns:a16="http://schemas.microsoft.com/office/drawing/2014/main" id="{FD8285FF-B599-43F4-906C-5899C3120B2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2"/>
              <a:stretch/>
            </p:blipFill>
            <p:spPr>
              <a:xfrm>
                <a:off x="5553968" y="1822328"/>
                <a:ext cx="1056127" cy="1220526"/>
              </a:xfrm>
              <a:custGeom>
                <a:avLst/>
                <a:gdLst>
                  <a:gd name="connsiteX0" fmla="*/ 223643 w 1056127"/>
                  <a:gd name="connsiteY0" fmla="*/ 0 h 1220526"/>
                  <a:gd name="connsiteX1" fmla="*/ 860412 w 1056127"/>
                  <a:gd name="connsiteY1" fmla="*/ 0 h 1220526"/>
                  <a:gd name="connsiteX2" fmla="*/ 907307 w 1056127"/>
                  <a:gd name="connsiteY2" fmla="*/ 25454 h 1220526"/>
                  <a:gd name="connsiteX3" fmla="*/ 1003997 w 1056127"/>
                  <a:gd name="connsiteY3" fmla="*/ 105231 h 1220526"/>
                  <a:gd name="connsiteX4" fmla="*/ 1056127 w 1056127"/>
                  <a:gd name="connsiteY4" fmla="*/ 168413 h 1220526"/>
                  <a:gd name="connsiteX5" fmla="*/ 1056127 w 1056127"/>
                  <a:gd name="connsiteY5" fmla="*/ 965989 h 1220526"/>
                  <a:gd name="connsiteX6" fmla="*/ 1003997 w 1056127"/>
                  <a:gd name="connsiteY6" fmla="*/ 1029171 h 1220526"/>
                  <a:gd name="connsiteX7" fmla="*/ 542027 w 1056127"/>
                  <a:gd name="connsiteY7" fmla="*/ 1220526 h 1220526"/>
                  <a:gd name="connsiteX8" fmla="*/ 280 w 1056127"/>
                  <a:gd name="connsiteY8" fmla="*/ 932481 h 1220526"/>
                  <a:gd name="connsiteX9" fmla="*/ 0 w 1056127"/>
                  <a:gd name="connsiteY9" fmla="*/ 931965 h 1220526"/>
                  <a:gd name="connsiteX10" fmla="*/ 0 w 1056127"/>
                  <a:gd name="connsiteY10" fmla="*/ 202437 h 1220526"/>
                  <a:gd name="connsiteX11" fmla="*/ 280 w 1056127"/>
                  <a:gd name="connsiteY11" fmla="*/ 201921 h 1220526"/>
                  <a:gd name="connsiteX12" fmla="*/ 176747 w 1056127"/>
                  <a:gd name="connsiteY12" fmla="*/ 25454 h 1220526"/>
                  <a:gd name="connsiteX13" fmla="*/ 223643 w 1056127"/>
                  <a:gd name="connsiteY13" fmla="*/ 0 h 122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56127" h="1220526">
                    <a:moveTo>
                      <a:pt x="223643" y="0"/>
                    </a:moveTo>
                    <a:lnTo>
                      <a:pt x="860412" y="0"/>
                    </a:lnTo>
                    <a:lnTo>
                      <a:pt x="907307" y="25454"/>
                    </a:lnTo>
                    <a:cubicBezTo>
                      <a:pt x="942064" y="48935"/>
                      <a:pt x="974440" y="75674"/>
                      <a:pt x="1003997" y="105231"/>
                    </a:cubicBezTo>
                    <a:lnTo>
                      <a:pt x="1056127" y="168413"/>
                    </a:lnTo>
                    <a:lnTo>
                      <a:pt x="1056127" y="965989"/>
                    </a:lnTo>
                    <a:lnTo>
                      <a:pt x="1003997" y="1029171"/>
                    </a:lnTo>
                    <a:cubicBezTo>
                      <a:pt x="885769" y="1147400"/>
                      <a:pt x="722438" y="1220526"/>
                      <a:pt x="542027" y="1220526"/>
                    </a:cubicBezTo>
                    <a:cubicBezTo>
                      <a:pt x="316514" y="1220526"/>
                      <a:pt x="117687" y="1106267"/>
                      <a:pt x="280" y="932481"/>
                    </a:cubicBezTo>
                    <a:lnTo>
                      <a:pt x="0" y="931965"/>
                    </a:lnTo>
                    <a:lnTo>
                      <a:pt x="0" y="202437"/>
                    </a:lnTo>
                    <a:lnTo>
                      <a:pt x="280" y="201921"/>
                    </a:lnTo>
                    <a:cubicBezTo>
                      <a:pt x="47243" y="132407"/>
                      <a:pt x="107233" y="72417"/>
                      <a:pt x="176747" y="25454"/>
                    </a:cubicBezTo>
                    <a:lnTo>
                      <a:pt x="223643" y="0"/>
                    </a:lnTo>
                    <a:close/>
                  </a:path>
                </a:pathLst>
              </a:custGeom>
            </p:spPr>
          </p:pic>
        </p:grpSp>
        <p:pic>
          <p:nvPicPr>
            <p:cNvPr id="47" name="Picture 46" descr="A picture containing lamp, light&#10;&#10;Description automatically generated">
              <a:extLst>
                <a:ext uri="{FF2B5EF4-FFF2-40B4-BE49-F238E27FC236}">
                  <a16:creationId xmlns:a16="http://schemas.microsoft.com/office/drawing/2014/main" id="{8A66E24E-393C-4FFA-BDF2-97888F670320}"/>
                </a:ext>
              </a:extLst>
            </p:cNvPr>
            <p:cNvPicPr>
              <a:picLocks noChangeAspect="1"/>
            </p:cNvPicPr>
            <p:nvPr/>
          </p:nvPicPr>
          <p:blipFill>
            <a:blip r:embed="rId7" cstate="screen">
              <a:grayscl/>
              <a:extLst>
                <a:ext uri="{28A0092B-C50C-407E-A947-70E740481C1C}">
                  <a14:useLocalDpi xmlns:a14="http://schemas.microsoft.com/office/drawing/2010/main"/>
                </a:ext>
              </a:extLst>
            </a:blip>
            <a:stretch>
              <a:fillRect/>
            </a:stretch>
          </p:blipFill>
          <p:spPr>
            <a:xfrm>
              <a:off x="5414743" y="2105380"/>
              <a:ext cx="473701" cy="473701"/>
            </a:xfrm>
            <a:prstGeom prst="rect">
              <a:avLst/>
            </a:prstGeom>
          </p:spPr>
        </p:pic>
        <p:grpSp>
          <p:nvGrpSpPr>
            <p:cNvPr id="101" name="Group 100">
              <a:extLst>
                <a:ext uri="{FF2B5EF4-FFF2-40B4-BE49-F238E27FC236}">
                  <a16:creationId xmlns:a16="http://schemas.microsoft.com/office/drawing/2014/main" id="{C5CFE3EE-9C48-439E-B665-3BCCD87A6877}"/>
                </a:ext>
              </a:extLst>
            </p:cNvPr>
            <p:cNvGrpSpPr/>
            <p:nvPr/>
          </p:nvGrpSpPr>
          <p:grpSpPr>
            <a:xfrm>
              <a:off x="5206283" y="1780490"/>
              <a:ext cx="1149350" cy="1252537"/>
              <a:chOff x="4606926" y="4303713"/>
              <a:chExt cx="1149350" cy="1252537"/>
            </a:xfrm>
            <a:solidFill>
              <a:schemeClr val="accent2"/>
            </a:solidFill>
          </p:grpSpPr>
          <p:sp>
            <p:nvSpPr>
              <p:cNvPr id="102" name="Freeform 295">
                <a:extLst>
                  <a:ext uri="{FF2B5EF4-FFF2-40B4-BE49-F238E27FC236}">
                    <a16:creationId xmlns:a16="http://schemas.microsoft.com/office/drawing/2014/main" id="{F15882E5-B968-42BB-9219-8D12DE2479DD}"/>
                  </a:ext>
                </a:extLst>
              </p:cNvPr>
              <p:cNvSpPr>
                <a:spLocks noEditPoints="1"/>
              </p:cNvSpPr>
              <p:nvPr/>
            </p:nvSpPr>
            <p:spPr bwMode="auto">
              <a:xfrm>
                <a:off x="4606926" y="4516438"/>
                <a:ext cx="1149350" cy="1039812"/>
              </a:xfrm>
              <a:custGeom>
                <a:avLst/>
                <a:gdLst>
                  <a:gd name="T0" fmla="*/ 231 w 328"/>
                  <a:gd name="T1" fmla="*/ 233 h 294"/>
                  <a:gd name="T2" fmla="*/ 228 w 328"/>
                  <a:gd name="T3" fmla="*/ 233 h 294"/>
                  <a:gd name="T4" fmla="*/ 210 w 328"/>
                  <a:gd name="T5" fmla="*/ 265 h 294"/>
                  <a:gd name="T6" fmla="*/ 164 w 328"/>
                  <a:gd name="T7" fmla="*/ 292 h 294"/>
                  <a:gd name="T8" fmla="*/ 118 w 328"/>
                  <a:gd name="T9" fmla="*/ 265 h 294"/>
                  <a:gd name="T10" fmla="*/ 100 w 328"/>
                  <a:gd name="T11" fmla="*/ 233 h 294"/>
                  <a:gd name="T12" fmla="*/ 97 w 328"/>
                  <a:gd name="T13" fmla="*/ 233 h 294"/>
                  <a:gd name="T14" fmla="*/ 116 w 328"/>
                  <a:gd name="T15" fmla="*/ 266 h 294"/>
                  <a:gd name="T16" fmla="*/ 164 w 328"/>
                  <a:gd name="T17" fmla="*/ 294 h 294"/>
                  <a:gd name="T18" fmla="*/ 212 w 328"/>
                  <a:gd name="T19" fmla="*/ 266 h 294"/>
                  <a:gd name="T20" fmla="*/ 231 w 328"/>
                  <a:gd name="T21" fmla="*/ 233 h 294"/>
                  <a:gd name="T22" fmla="*/ 33 w 328"/>
                  <a:gd name="T23" fmla="*/ 117 h 294"/>
                  <a:gd name="T24" fmla="*/ 31 w 328"/>
                  <a:gd name="T25" fmla="*/ 119 h 294"/>
                  <a:gd name="T26" fmla="*/ 96 w 328"/>
                  <a:gd name="T27" fmla="*/ 231 h 294"/>
                  <a:gd name="T28" fmla="*/ 98 w 328"/>
                  <a:gd name="T29" fmla="*/ 231 h 294"/>
                  <a:gd name="T30" fmla="*/ 33 w 328"/>
                  <a:gd name="T31" fmla="*/ 117 h 294"/>
                  <a:gd name="T32" fmla="*/ 295 w 328"/>
                  <a:gd name="T33" fmla="*/ 117 h 294"/>
                  <a:gd name="T34" fmla="*/ 230 w 328"/>
                  <a:gd name="T35" fmla="*/ 231 h 294"/>
                  <a:gd name="T36" fmla="*/ 232 w 328"/>
                  <a:gd name="T37" fmla="*/ 231 h 294"/>
                  <a:gd name="T38" fmla="*/ 297 w 328"/>
                  <a:gd name="T39" fmla="*/ 119 h 294"/>
                  <a:gd name="T40" fmla="*/ 295 w 328"/>
                  <a:gd name="T41" fmla="*/ 117 h 294"/>
                  <a:gd name="T42" fmla="*/ 97 w 328"/>
                  <a:gd name="T43" fmla="*/ 0 h 294"/>
                  <a:gd name="T44" fmla="*/ 58 w 328"/>
                  <a:gd name="T45" fmla="*/ 0 h 294"/>
                  <a:gd name="T46" fmla="*/ 10 w 328"/>
                  <a:gd name="T47" fmla="*/ 28 h 294"/>
                  <a:gd name="T48" fmla="*/ 10 w 328"/>
                  <a:gd name="T49" fmla="*/ 84 h 294"/>
                  <a:gd name="T50" fmla="*/ 30 w 328"/>
                  <a:gd name="T51" fmla="*/ 117 h 294"/>
                  <a:gd name="T52" fmla="*/ 31 w 328"/>
                  <a:gd name="T53" fmla="*/ 115 h 294"/>
                  <a:gd name="T54" fmla="*/ 13 w 328"/>
                  <a:gd name="T55" fmla="*/ 82 h 294"/>
                  <a:gd name="T56" fmla="*/ 13 w 328"/>
                  <a:gd name="T57" fmla="*/ 29 h 294"/>
                  <a:gd name="T58" fmla="*/ 58 w 328"/>
                  <a:gd name="T59" fmla="*/ 3 h 294"/>
                  <a:gd name="T60" fmla="*/ 96 w 328"/>
                  <a:gd name="T61" fmla="*/ 3 h 294"/>
                  <a:gd name="T62" fmla="*/ 97 w 328"/>
                  <a:gd name="T63" fmla="*/ 0 h 294"/>
                  <a:gd name="T64" fmla="*/ 228 w 328"/>
                  <a:gd name="T65" fmla="*/ 0 h 294"/>
                  <a:gd name="T66" fmla="*/ 100 w 328"/>
                  <a:gd name="T67" fmla="*/ 0 h 294"/>
                  <a:gd name="T68" fmla="*/ 98 w 328"/>
                  <a:gd name="T69" fmla="*/ 3 h 294"/>
                  <a:gd name="T70" fmla="*/ 230 w 328"/>
                  <a:gd name="T71" fmla="*/ 3 h 294"/>
                  <a:gd name="T72" fmla="*/ 228 w 328"/>
                  <a:gd name="T73" fmla="*/ 0 h 294"/>
                  <a:gd name="T74" fmla="*/ 270 w 328"/>
                  <a:gd name="T75" fmla="*/ 0 h 294"/>
                  <a:gd name="T76" fmla="*/ 231 w 328"/>
                  <a:gd name="T77" fmla="*/ 0 h 294"/>
                  <a:gd name="T78" fmla="*/ 232 w 328"/>
                  <a:gd name="T79" fmla="*/ 3 h 294"/>
                  <a:gd name="T80" fmla="*/ 270 w 328"/>
                  <a:gd name="T81" fmla="*/ 3 h 294"/>
                  <a:gd name="T82" fmla="*/ 315 w 328"/>
                  <a:gd name="T83" fmla="*/ 29 h 294"/>
                  <a:gd name="T84" fmla="*/ 315 w 328"/>
                  <a:gd name="T85" fmla="*/ 82 h 294"/>
                  <a:gd name="T86" fmla="*/ 297 w 328"/>
                  <a:gd name="T87" fmla="*/ 115 h 294"/>
                  <a:gd name="T88" fmla="*/ 298 w 328"/>
                  <a:gd name="T89" fmla="*/ 117 h 294"/>
                  <a:gd name="T90" fmla="*/ 318 w 328"/>
                  <a:gd name="T91" fmla="*/ 84 h 294"/>
                  <a:gd name="T92" fmla="*/ 318 w 328"/>
                  <a:gd name="T93" fmla="*/ 28 h 294"/>
                  <a:gd name="T94" fmla="*/ 270 w 328"/>
                  <a:gd name="T95"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8" h="294">
                    <a:moveTo>
                      <a:pt x="231" y="233"/>
                    </a:moveTo>
                    <a:cubicBezTo>
                      <a:pt x="228" y="233"/>
                      <a:pt x="228" y="233"/>
                      <a:pt x="228" y="233"/>
                    </a:cubicBezTo>
                    <a:cubicBezTo>
                      <a:pt x="210" y="265"/>
                      <a:pt x="210" y="265"/>
                      <a:pt x="210" y="265"/>
                    </a:cubicBezTo>
                    <a:cubicBezTo>
                      <a:pt x="200" y="282"/>
                      <a:pt x="183" y="292"/>
                      <a:pt x="164" y="292"/>
                    </a:cubicBezTo>
                    <a:cubicBezTo>
                      <a:pt x="145" y="292"/>
                      <a:pt x="128" y="282"/>
                      <a:pt x="118" y="265"/>
                    </a:cubicBezTo>
                    <a:cubicBezTo>
                      <a:pt x="100" y="233"/>
                      <a:pt x="100" y="233"/>
                      <a:pt x="100" y="233"/>
                    </a:cubicBezTo>
                    <a:cubicBezTo>
                      <a:pt x="97" y="233"/>
                      <a:pt x="97" y="233"/>
                      <a:pt x="97" y="233"/>
                    </a:cubicBezTo>
                    <a:cubicBezTo>
                      <a:pt x="116" y="266"/>
                      <a:pt x="116" y="266"/>
                      <a:pt x="116" y="266"/>
                    </a:cubicBezTo>
                    <a:cubicBezTo>
                      <a:pt x="126" y="284"/>
                      <a:pt x="144" y="294"/>
                      <a:pt x="164" y="294"/>
                    </a:cubicBezTo>
                    <a:cubicBezTo>
                      <a:pt x="184" y="294"/>
                      <a:pt x="202" y="284"/>
                      <a:pt x="212" y="266"/>
                    </a:cubicBezTo>
                    <a:cubicBezTo>
                      <a:pt x="231" y="233"/>
                      <a:pt x="231" y="233"/>
                      <a:pt x="231" y="233"/>
                    </a:cubicBezTo>
                    <a:moveTo>
                      <a:pt x="33" y="117"/>
                    </a:moveTo>
                    <a:cubicBezTo>
                      <a:pt x="31" y="119"/>
                      <a:pt x="31" y="119"/>
                      <a:pt x="31" y="119"/>
                    </a:cubicBezTo>
                    <a:cubicBezTo>
                      <a:pt x="96" y="231"/>
                      <a:pt x="96" y="231"/>
                      <a:pt x="96" y="231"/>
                    </a:cubicBezTo>
                    <a:cubicBezTo>
                      <a:pt x="98" y="231"/>
                      <a:pt x="98" y="231"/>
                      <a:pt x="98" y="231"/>
                    </a:cubicBezTo>
                    <a:cubicBezTo>
                      <a:pt x="33" y="117"/>
                      <a:pt x="33" y="117"/>
                      <a:pt x="33" y="117"/>
                    </a:cubicBezTo>
                    <a:moveTo>
                      <a:pt x="295" y="117"/>
                    </a:moveTo>
                    <a:cubicBezTo>
                      <a:pt x="230" y="231"/>
                      <a:pt x="230" y="231"/>
                      <a:pt x="230" y="231"/>
                    </a:cubicBezTo>
                    <a:cubicBezTo>
                      <a:pt x="232" y="231"/>
                      <a:pt x="232" y="231"/>
                      <a:pt x="232" y="231"/>
                    </a:cubicBezTo>
                    <a:cubicBezTo>
                      <a:pt x="297" y="119"/>
                      <a:pt x="297" y="119"/>
                      <a:pt x="297" y="119"/>
                    </a:cubicBezTo>
                    <a:cubicBezTo>
                      <a:pt x="295" y="117"/>
                      <a:pt x="295" y="117"/>
                      <a:pt x="295" y="117"/>
                    </a:cubicBezTo>
                    <a:moveTo>
                      <a:pt x="97" y="0"/>
                    </a:moveTo>
                    <a:cubicBezTo>
                      <a:pt x="58" y="0"/>
                      <a:pt x="58" y="0"/>
                      <a:pt x="58" y="0"/>
                    </a:cubicBezTo>
                    <a:cubicBezTo>
                      <a:pt x="38" y="0"/>
                      <a:pt x="20" y="11"/>
                      <a:pt x="10" y="28"/>
                    </a:cubicBezTo>
                    <a:cubicBezTo>
                      <a:pt x="0" y="46"/>
                      <a:pt x="0" y="66"/>
                      <a:pt x="10" y="84"/>
                    </a:cubicBezTo>
                    <a:cubicBezTo>
                      <a:pt x="30" y="117"/>
                      <a:pt x="30" y="117"/>
                      <a:pt x="30" y="117"/>
                    </a:cubicBezTo>
                    <a:cubicBezTo>
                      <a:pt x="31" y="115"/>
                      <a:pt x="31" y="115"/>
                      <a:pt x="31" y="115"/>
                    </a:cubicBezTo>
                    <a:cubicBezTo>
                      <a:pt x="13" y="82"/>
                      <a:pt x="13" y="82"/>
                      <a:pt x="13" y="82"/>
                    </a:cubicBezTo>
                    <a:cubicBezTo>
                      <a:pt x="3" y="66"/>
                      <a:pt x="3" y="46"/>
                      <a:pt x="13" y="29"/>
                    </a:cubicBezTo>
                    <a:cubicBezTo>
                      <a:pt x="22" y="13"/>
                      <a:pt x="39" y="3"/>
                      <a:pt x="58" y="3"/>
                    </a:cubicBezTo>
                    <a:cubicBezTo>
                      <a:pt x="96" y="3"/>
                      <a:pt x="96" y="3"/>
                      <a:pt x="96" y="3"/>
                    </a:cubicBezTo>
                    <a:cubicBezTo>
                      <a:pt x="97" y="0"/>
                      <a:pt x="97" y="0"/>
                      <a:pt x="97" y="0"/>
                    </a:cubicBezTo>
                    <a:moveTo>
                      <a:pt x="228" y="0"/>
                    </a:moveTo>
                    <a:cubicBezTo>
                      <a:pt x="100" y="0"/>
                      <a:pt x="100" y="0"/>
                      <a:pt x="100" y="0"/>
                    </a:cubicBezTo>
                    <a:cubicBezTo>
                      <a:pt x="98" y="3"/>
                      <a:pt x="98" y="3"/>
                      <a:pt x="98" y="3"/>
                    </a:cubicBezTo>
                    <a:cubicBezTo>
                      <a:pt x="230" y="3"/>
                      <a:pt x="230" y="3"/>
                      <a:pt x="230" y="3"/>
                    </a:cubicBezTo>
                    <a:cubicBezTo>
                      <a:pt x="228" y="0"/>
                      <a:pt x="228" y="0"/>
                      <a:pt x="228" y="0"/>
                    </a:cubicBezTo>
                    <a:moveTo>
                      <a:pt x="270" y="0"/>
                    </a:moveTo>
                    <a:cubicBezTo>
                      <a:pt x="231" y="0"/>
                      <a:pt x="231" y="0"/>
                      <a:pt x="231" y="0"/>
                    </a:cubicBezTo>
                    <a:cubicBezTo>
                      <a:pt x="232" y="3"/>
                      <a:pt x="232" y="3"/>
                      <a:pt x="232" y="3"/>
                    </a:cubicBezTo>
                    <a:cubicBezTo>
                      <a:pt x="270" y="3"/>
                      <a:pt x="270" y="3"/>
                      <a:pt x="270" y="3"/>
                    </a:cubicBezTo>
                    <a:cubicBezTo>
                      <a:pt x="289" y="3"/>
                      <a:pt x="306" y="13"/>
                      <a:pt x="315" y="29"/>
                    </a:cubicBezTo>
                    <a:cubicBezTo>
                      <a:pt x="325" y="46"/>
                      <a:pt x="325" y="66"/>
                      <a:pt x="315" y="82"/>
                    </a:cubicBezTo>
                    <a:cubicBezTo>
                      <a:pt x="297" y="115"/>
                      <a:pt x="297" y="115"/>
                      <a:pt x="297" y="115"/>
                    </a:cubicBezTo>
                    <a:cubicBezTo>
                      <a:pt x="298" y="117"/>
                      <a:pt x="298" y="117"/>
                      <a:pt x="298" y="117"/>
                    </a:cubicBezTo>
                    <a:cubicBezTo>
                      <a:pt x="318" y="84"/>
                      <a:pt x="318" y="84"/>
                      <a:pt x="318" y="84"/>
                    </a:cubicBezTo>
                    <a:cubicBezTo>
                      <a:pt x="328" y="66"/>
                      <a:pt x="328" y="46"/>
                      <a:pt x="318" y="28"/>
                    </a:cubicBezTo>
                    <a:cubicBezTo>
                      <a:pt x="308" y="11"/>
                      <a:pt x="290" y="0"/>
                      <a:pt x="2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296">
                <a:extLst>
                  <a:ext uri="{FF2B5EF4-FFF2-40B4-BE49-F238E27FC236}">
                    <a16:creationId xmlns:a16="http://schemas.microsoft.com/office/drawing/2014/main" id="{5B2F5EBF-B474-440F-ADCB-14693A3DD3A1}"/>
                  </a:ext>
                </a:extLst>
              </p:cNvPr>
              <p:cNvSpPr>
                <a:spLocks noEditPoints="1"/>
              </p:cNvSpPr>
              <p:nvPr/>
            </p:nvSpPr>
            <p:spPr bwMode="auto">
              <a:xfrm>
                <a:off x="4606926" y="4303713"/>
                <a:ext cx="1149350" cy="1036637"/>
              </a:xfrm>
              <a:custGeom>
                <a:avLst/>
                <a:gdLst>
                  <a:gd name="T0" fmla="*/ 230 w 328"/>
                  <a:gd name="T1" fmla="*/ 291 h 293"/>
                  <a:gd name="T2" fmla="*/ 98 w 328"/>
                  <a:gd name="T3" fmla="*/ 291 h 293"/>
                  <a:gd name="T4" fmla="*/ 100 w 328"/>
                  <a:gd name="T5" fmla="*/ 293 h 293"/>
                  <a:gd name="T6" fmla="*/ 228 w 328"/>
                  <a:gd name="T7" fmla="*/ 293 h 293"/>
                  <a:gd name="T8" fmla="*/ 230 w 328"/>
                  <a:gd name="T9" fmla="*/ 291 h 293"/>
                  <a:gd name="T10" fmla="*/ 30 w 328"/>
                  <a:gd name="T11" fmla="*/ 177 h 293"/>
                  <a:gd name="T12" fmla="*/ 10 w 328"/>
                  <a:gd name="T13" fmla="*/ 210 h 293"/>
                  <a:gd name="T14" fmla="*/ 10 w 328"/>
                  <a:gd name="T15" fmla="*/ 266 h 293"/>
                  <a:gd name="T16" fmla="*/ 58 w 328"/>
                  <a:gd name="T17" fmla="*/ 293 h 293"/>
                  <a:gd name="T18" fmla="*/ 97 w 328"/>
                  <a:gd name="T19" fmla="*/ 293 h 293"/>
                  <a:gd name="T20" fmla="*/ 96 w 328"/>
                  <a:gd name="T21" fmla="*/ 291 h 293"/>
                  <a:gd name="T22" fmla="*/ 58 w 328"/>
                  <a:gd name="T23" fmla="*/ 291 h 293"/>
                  <a:gd name="T24" fmla="*/ 13 w 328"/>
                  <a:gd name="T25" fmla="*/ 265 h 293"/>
                  <a:gd name="T26" fmla="*/ 13 w 328"/>
                  <a:gd name="T27" fmla="*/ 212 h 293"/>
                  <a:gd name="T28" fmla="*/ 31 w 328"/>
                  <a:gd name="T29" fmla="*/ 179 h 293"/>
                  <a:gd name="T30" fmla="*/ 30 w 328"/>
                  <a:gd name="T31" fmla="*/ 177 h 293"/>
                  <a:gd name="T32" fmla="*/ 298 w 328"/>
                  <a:gd name="T33" fmla="*/ 177 h 293"/>
                  <a:gd name="T34" fmla="*/ 297 w 328"/>
                  <a:gd name="T35" fmla="*/ 179 h 293"/>
                  <a:gd name="T36" fmla="*/ 315 w 328"/>
                  <a:gd name="T37" fmla="*/ 212 h 293"/>
                  <a:gd name="T38" fmla="*/ 315 w 328"/>
                  <a:gd name="T39" fmla="*/ 265 h 293"/>
                  <a:gd name="T40" fmla="*/ 270 w 328"/>
                  <a:gd name="T41" fmla="*/ 291 h 293"/>
                  <a:gd name="T42" fmla="*/ 232 w 328"/>
                  <a:gd name="T43" fmla="*/ 291 h 293"/>
                  <a:gd name="T44" fmla="*/ 231 w 328"/>
                  <a:gd name="T45" fmla="*/ 293 h 293"/>
                  <a:gd name="T46" fmla="*/ 270 w 328"/>
                  <a:gd name="T47" fmla="*/ 293 h 293"/>
                  <a:gd name="T48" fmla="*/ 318 w 328"/>
                  <a:gd name="T49" fmla="*/ 266 h 293"/>
                  <a:gd name="T50" fmla="*/ 318 w 328"/>
                  <a:gd name="T51" fmla="*/ 210 h 293"/>
                  <a:gd name="T52" fmla="*/ 298 w 328"/>
                  <a:gd name="T53" fmla="*/ 177 h 293"/>
                  <a:gd name="T54" fmla="*/ 98 w 328"/>
                  <a:gd name="T55" fmla="*/ 63 h 293"/>
                  <a:gd name="T56" fmla="*/ 96 w 328"/>
                  <a:gd name="T57" fmla="*/ 63 h 293"/>
                  <a:gd name="T58" fmla="*/ 31 w 328"/>
                  <a:gd name="T59" fmla="*/ 175 h 293"/>
                  <a:gd name="T60" fmla="*/ 33 w 328"/>
                  <a:gd name="T61" fmla="*/ 177 h 293"/>
                  <a:gd name="T62" fmla="*/ 98 w 328"/>
                  <a:gd name="T63" fmla="*/ 63 h 293"/>
                  <a:gd name="T64" fmla="*/ 232 w 328"/>
                  <a:gd name="T65" fmla="*/ 63 h 293"/>
                  <a:gd name="T66" fmla="*/ 230 w 328"/>
                  <a:gd name="T67" fmla="*/ 63 h 293"/>
                  <a:gd name="T68" fmla="*/ 295 w 328"/>
                  <a:gd name="T69" fmla="*/ 177 h 293"/>
                  <a:gd name="T70" fmla="*/ 297 w 328"/>
                  <a:gd name="T71" fmla="*/ 175 h 293"/>
                  <a:gd name="T72" fmla="*/ 232 w 328"/>
                  <a:gd name="T73" fmla="*/ 63 h 293"/>
                  <a:gd name="T74" fmla="*/ 164 w 328"/>
                  <a:gd name="T75" fmla="*/ 0 h 293"/>
                  <a:gd name="T76" fmla="*/ 116 w 328"/>
                  <a:gd name="T77" fmla="*/ 28 h 293"/>
                  <a:gd name="T78" fmla="*/ 117 w 328"/>
                  <a:gd name="T79" fmla="*/ 28 h 293"/>
                  <a:gd name="T80" fmla="*/ 116 w 328"/>
                  <a:gd name="T81" fmla="*/ 28 h 293"/>
                  <a:gd name="T82" fmla="*/ 97 w 328"/>
                  <a:gd name="T83" fmla="*/ 60 h 293"/>
                  <a:gd name="T84" fmla="*/ 100 w 328"/>
                  <a:gd name="T85" fmla="*/ 60 h 293"/>
                  <a:gd name="T86" fmla="*/ 118 w 328"/>
                  <a:gd name="T87" fmla="*/ 29 h 293"/>
                  <a:gd name="T88" fmla="*/ 164 w 328"/>
                  <a:gd name="T89" fmla="*/ 2 h 293"/>
                  <a:gd name="T90" fmla="*/ 210 w 328"/>
                  <a:gd name="T91" fmla="*/ 29 h 293"/>
                  <a:gd name="T92" fmla="*/ 228 w 328"/>
                  <a:gd name="T93" fmla="*/ 60 h 293"/>
                  <a:gd name="T94" fmla="*/ 231 w 328"/>
                  <a:gd name="T95" fmla="*/ 60 h 293"/>
                  <a:gd name="T96" fmla="*/ 212 w 328"/>
                  <a:gd name="T97" fmla="*/ 28 h 293"/>
                  <a:gd name="T98" fmla="*/ 164 w 328"/>
                  <a:gd name="T99"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8" h="293">
                    <a:moveTo>
                      <a:pt x="230" y="291"/>
                    </a:moveTo>
                    <a:cubicBezTo>
                      <a:pt x="98" y="291"/>
                      <a:pt x="98" y="291"/>
                      <a:pt x="98" y="291"/>
                    </a:cubicBezTo>
                    <a:cubicBezTo>
                      <a:pt x="100" y="293"/>
                      <a:pt x="100" y="293"/>
                      <a:pt x="100" y="293"/>
                    </a:cubicBezTo>
                    <a:cubicBezTo>
                      <a:pt x="228" y="293"/>
                      <a:pt x="228" y="293"/>
                      <a:pt x="228" y="293"/>
                    </a:cubicBezTo>
                    <a:cubicBezTo>
                      <a:pt x="230" y="291"/>
                      <a:pt x="230" y="291"/>
                      <a:pt x="230" y="291"/>
                    </a:cubicBezTo>
                    <a:moveTo>
                      <a:pt x="30" y="177"/>
                    </a:moveTo>
                    <a:cubicBezTo>
                      <a:pt x="10" y="210"/>
                      <a:pt x="10" y="210"/>
                      <a:pt x="10" y="210"/>
                    </a:cubicBezTo>
                    <a:cubicBezTo>
                      <a:pt x="0" y="228"/>
                      <a:pt x="0" y="248"/>
                      <a:pt x="10" y="266"/>
                    </a:cubicBezTo>
                    <a:cubicBezTo>
                      <a:pt x="20" y="283"/>
                      <a:pt x="38" y="293"/>
                      <a:pt x="58" y="293"/>
                    </a:cubicBezTo>
                    <a:cubicBezTo>
                      <a:pt x="97" y="293"/>
                      <a:pt x="97" y="293"/>
                      <a:pt x="97" y="293"/>
                    </a:cubicBezTo>
                    <a:cubicBezTo>
                      <a:pt x="96" y="291"/>
                      <a:pt x="96" y="291"/>
                      <a:pt x="96" y="291"/>
                    </a:cubicBezTo>
                    <a:cubicBezTo>
                      <a:pt x="58" y="291"/>
                      <a:pt x="58" y="291"/>
                      <a:pt x="58" y="291"/>
                    </a:cubicBezTo>
                    <a:cubicBezTo>
                      <a:pt x="39" y="291"/>
                      <a:pt x="22" y="281"/>
                      <a:pt x="13" y="265"/>
                    </a:cubicBezTo>
                    <a:cubicBezTo>
                      <a:pt x="3" y="248"/>
                      <a:pt x="3" y="228"/>
                      <a:pt x="13" y="212"/>
                    </a:cubicBezTo>
                    <a:cubicBezTo>
                      <a:pt x="31" y="179"/>
                      <a:pt x="31" y="179"/>
                      <a:pt x="31" y="179"/>
                    </a:cubicBezTo>
                    <a:cubicBezTo>
                      <a:pt x="30" y="177"/>
                      <a:pt x="30" y="177"/>
                      <a:pt x="30" y="177"/>
                    </a:cubicBezTo>
                    <a:moveTo>
                      <a:pt x="298" y="177"/>
                    </a:moveTo>
                    <a:cubicBezTo>
                      <a:pt x="297" y="179"/>
                      <a:pt x="297" y="179"/>
                      <a:pt x="297" y="179"/>
                    </a:cubicBezTo>
                    <a:cubicBezTo>
                      <a:pt x="315" y="212"/>
                      <a:pt x="315" y="212"/>
                      <a:pt x="315" y="212"/>
                    </a:cubicBezTo>
                    <a:cubicBezTo>
                      <a:pt x="325" y="228"/>
                      <a:pt x="325" y="248"/>
                      <a:pt x="315" y="265"/>
                    </a:cubicBezTo>
                    <a:cubicBezTo>
                      <a:pt x="306" y="281"/>
                      <a:pt x="289" y="291"/>
                      <a:pt x="270" y="291"/>
                    </a:cubicBezTo>
                    <a:cubicBezTo>
                      <a:pt x="232" y="291"/>
                      <a:pt x="232" y="291"/>
                      <a:pt x="232" y="291"/>
                    </a:cubicBezTo>
                    <a:cubicBezTo>
                      <a:pt x="231" y="293"/>
                      <a:pt x="231" y="293"/>
                      <a:pt x="231" y="293"/>
                    </a:cubicBezTo>
                    <a:cubicBezTo>
                      <a:pt x="270" y="293"/>
                      <a:pt x="270" y="293"/>
                      <a:pt x="270" y="293"/>
                    </a:cubicBezTo>
                    <a:cubicBezTo>
                      <a:pt x="290" y="293"/>
                      <a:pt x="308" y="283"/>
                      <a:pt x="318" y="266"/>
                    </a:cubicBezTo>
                    <a:cubicBezTo>
                      <a:pt x="328" y="248"/>
                      <a:pt x="328" y="228"/>
                      <a:pt x="318" y="210"/>
                    </a:cubicBezTo>
                    <a:cubicBezTo>
                      <a:pt x="298" y="177"/>
                      <a:pt x="298" y="177"/>
                      <a:pt x="298" y="177"/>
                    </a:cubicBezTo>
                    <a:moveTo>
                      <a:pt x="98" y="63"/>
                    </a:moveTo>
                    <a:cubicBezTo>
                      <a:pt x="96" y="63"/>
                      <a:pt x="96" y="63"/>
                      <a:pt x="96" y="63"/>
                    </a:cubicBezTo>
                    <a:cubicBezTo>
                      <a:pt x="31" y="175"/>
                      <a:pt x="31" y="175"/>
                      <a:pt x="31" y="175"/>
                    </a:cubicBezTo>
                    <a:cubicBezTo>
                      <a:pt x="33" y="177"/>
                      <a:pt x="33" y="177"/>
                      <a:pt x="33" y="177"/>
                    </a:cubicBezTo>
                    <a:cubicBezTo>
                      <a:pt x="98" y="63"/>
                      <a:pt x="98" y="63"/>
                      <a:pt x="98" y="63"/>
                    </a:cubicBezTo>
                    <a:moveTo>
                      <a:pt x="232" y="63"/>
                    </a:moveTo>
                    <a:cubicBezTo>
                      <a:pt x="230" y="63"/>
                      <a:pt x="230" y="63"/>
                      <a:pt x="230" y="63"/>
                    </a:cubicBezTo>
                    <a:cubicBezTo>
                      <a:pt x="295" y="177"/>
                      <a:pt x="295" y="177"/>
                      <a:pt x="295" y="177"/>
                    </a:cubicBezTo>
                    <a:cubicBezTo>
                      <a:pt x="297" y="175"/>
                      <a:pt x="297" y="175"/>
                      <a:pt x="297" y="175"/>
                    </a:cubicBezTo>
                    <a:cubicBezTo>
                      <a:pt x="232" y="63"/>
                      <a:pt x="232" y="63"/>
                      <a:pt x="232" y="63"/>
                    </a:cubicBezTo>
                    <a:moveTo>
                      <a:pt x="164" y="0"/>
                    </a:moveTo>
                    <a:cubicBezTo>
                      <a:pt x="144" y="0"/>
                      <a:pt x="126" y="10"/>
                      <a:pt x="116" y="28"/>
                    </a:cubicBezTo>
                    <a:cubicBezTo>
                      <a:pt x="117" y="28"/>
                      <a:pt x="117" y="28"/>
                      <a:pt x="117" y="28"/>
                    </a:cubicBezTo>
                    <a:cubicBezTo>
                      <a:pt x="116" y="28"/>
                      <a:pt x="116" y="28"/>
                      <a:pt x="116" y="28"/>
                    </a:cubicBezTo>
                    <a:cubicBezTo>
                      <a:pt x="97" y="60"/>
                      <a:pt x="97" y="60"/>
                      <a:pt x="97" y="60"/>
                    </a:cubicBezTo>
                    <a:cubicBezTo>
                      <a:pt x="100" y="60"/>
                      <a:pt x="100" y="60"/>
                      <a:pt x="100" y="60"/>
                    </a:cubicBezTo>
                    <a:cubicBezTo>
                      <a:pt x="118" y="29"/>
                      <a:pt x="118" y="29"/>
                      <a:pt x="118" y="29"/>
                    </a:cubicBezTo>
                    <a:cubicBezTo>
                      <a:pt x="128" y="12"/>
                      <a:pt x="145" y="2"/>
                      <a:pt x="164" y="2"/>
                    </a:cubicBezTo>
                    <a:cubicBezTo>
                      <a:pt x="183" y="2"/>
                      <a:pt x="200" y="12"/>
                      <a:pt x="210" y="29"/>
                    </a:cubicBezTo>
                    <a:cubicBezTo>
                      <a:pt x="228" y="60"/>
                      <a:pt x="228" y="60"/>
                      <a:pt x="228" y="60"/>
                    </a:cubicBezTo>
                    <a:cubicBezTo>
                      <a:pt x="231" y="60"/>
                      <a:pt x="231" y="60"/>
                      <a:pt x="231" y="60"/>
                    </a:cubicBezTo>
                    <a:cubicBezTo>
                      <a:pt x="212" y="28"/>
                      <a:pt x="212" y="28"/>
                      <a:pt x="212" y="28"/>
                    </a:cubicBezTo>
                    <a:cubicBezTo>
                      <a:pt x="202" y="10"/>
                      <a:pt x="184" y="0"/>
                      <a:pt x="1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297">
                <a:extLst>
                  <a:ext uri="{FF2B5EF4-FFF2-40B4-BE49-F238E27FC236}">
                    <a16:creationId xmlns:a16="http://schemas.microsoft.com/office/drawing/2014/main" id="{0F785F33-27B7-4B80-B67B-647062A89AEF}"/>
                  </a:ext>
                </a:extLst>
              </p:cNvPr>
              <p:cNvSpPr>
                <a:spLocks noEditPoints="1"/>
              </p:cNvSpPr>
              <p:nvPr/>
            </p:nvSpPr>
            <p:spPr bwMode="auto">
              <a:xfrm>
                <a:off x="4713288" y="4516438"/>
                <a:ext cx="938213" cy="823912"/>
              </a:xfrm>
              <a:custGeom>
                <a:avLst/>
                <a:gdLst>
                  <a:gd name="T0" fmla="*/ 150 w 591"/>
                  <a:gd name="T1" fmla="*/ 514 h 519"/>
                  <a:gd name="T2" fmla="*/ 145 w 591"/>
                  <a:gd name="T3" fmla="*/ 514 h 519"/>
                  <a:gd name="T4" fmla="*/ 147 w 591"/>
                  <a:gd name="T5" fmla="*/ 519 h 519"/>
                  <a:gd name="T6" fmla="*/ 154 w 591"/>
                  <a:gd name="T7" fmla="*/ 519 h 519"/>
                  <a:gd name="T8" fmla="*/ 150 w 591"/>
                  <a:gd name="T9" fmla="*/ 514 h 519"/>
                  <a:gd name="T10" fmla="*/ 445 w 591"/>
                  <a:gd name="T11" fmla="*/ 514 h 519"/>
                  <a:gd name="T12" fmla="*/ 441 w 591"/>
                  <a:gd name="T13" fmla="*/ 514 h 519"/>
                  <a:gd name="T14" fmla="*/ 436 w 591"/>
                  <a:gd name="T15" fmla="*/ 519 h 519"/>
                  <a:gd name="T16" fmla="*/ 443 w 591"/>
                  <a:gd name="T17" fmla="*/ 519 h 519"/>
                  <a:gd name="T18" fmla="*/ 445 w 591"/>
                  <a:gd name="T19" fmla="*/ 514 h 519"/>
                  <a:gd name="T20" fmla="*/ 2 w 591"/>
                  <a:gd name="T21" fmla="*/ 256 h 519"/>
                  <a:gd name="T22" fmla="*/ 0 w 591"/>
                  <a:gd name="T23" fmla="*/ 260 h 519"/>
                  <a:gd name="T24" fmla="*/ 2 w 591"/>
                  <a:gd name="T25" fmla="*/ 265 h 519"/>
                  <a:gd name="T26" fmla="*/ 6 w 591"/>
                  <a:gd name="T27" fmla="*/ 260 h 519"/>
                  <a:gd name="T28" fmla="*/ 2 w 591"/>
                  <a:gd name="T29" fmla="*/ 256 h 519"/>
                  <a:gd name="T30" fmla="*/ 589 w 591"/>
                  <a:gd name="T31" fmla="*/ 256 h 519"/>
                  <a:gd name="T32" fmla="*/ 584 w 591"/>
                  <a:gd name="T33" fmla="*/ 260 h 519"/>
                  <a:gd name="T34" fmla="*/ 589 w 591"/>
                  <a:gd name="T35" fmla="*/ 265 h 519"/>
                  <a:gd name="T36" fmla="*/ 591 w 591"/>
                  <a:gd name="T37" fmla="*/ 260 h 519"/>
                  <a:gd name="T38" fmla="*/ 589 w 591"/>
                  <a:gd name="T39" fmla="*/ 256 h 519"/>
                  <a:gd name="T40" fmla="*/ 154 w 591"/>
                  <a:gd name="T41" fmla="*/ 0 h 519"/>
                  <a:gd name="T42" fmla="*/ 147 w 591"/>
                  <a:gd name="T43" fmla="*/ 0 h 519"/>
                  <a:gd name="T44" fmla="*/ 145 w 591"/>
                  <a:gd name="T45" fmla="*/ 6 h 519"/>
                  <a:gd name="T46" fmla="*/ 150 w 591"/>
                  <a:gd name="T47" fmla="*/ 6 h 519"/>
                  <a:gd name="T48" fmla="*/ 154 w 591"/>
                  <a:gd name="T49" fmla="*/ 0 h 519"/>
                  <a:gd name="T50" fmla="*/ 443 w 591"/>
                  <a:gd name="T51" fmla="*/ 0 h 519"/>
                  <a:gd name="T52" fmla="*/ 436 w 591"/>
                  <a:gd name="T53" fmla="*/ 0 h 519"/>
                  <a:gd name="T54" fmla="*/ 441 w 591"/>
                  <a:gd name="T55" fmla="*/ 6 h 519"/>
                  <a:gd name="T56" fmla="*/ 445 w 591"/>
                  <a:gd name="T57" fmla="*/ 6 h 519"/>
                  <a:gd name="T58" fmla="*/ 443 w 591"/>
                  <a:gd name="T59"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1" h="519">
                    <a:moveTo>
                      <a:pt x="150" y="514"/>
                    </a:moveTo>
                    <a:lnTo>
                      <a:pt x="145" y="514"/>
                    </a:lnTo>
                    <a:lnTo>
                      <a:pt x="147" y="519"/>
                    </a:lnTo>
                    <a:lnTo>
                      <a:pt x="154" y="519"/>
                    </a:lnTo>
                    <a:lnTo>
                      <a:pt x="150" y="514"/>
                    </a:lnTo>
                    <a:close/>
                    <a:moveTo>
                      <a:pt x="445" y="514"/>
                    </a:moveTo>
                    <a:lnTo>
                      <a:pt x="441" y="514"/>
                    </a:lnTo>
                    <a:lnTo>
                      <a:pt x="436" y="519"/>
                    </a:lnTo>
                    <a:lnTo>
                      <a:pt x="443" y="519"/>
                    </a:lnTo>
                    <a:lnTo>
                      <a:pt x="445" y="514"/>
                    </a:lnTo>
                    <a:close/>
                    <a:moveTo>
                      <a:pt x="2" y="256"/>
                    </a:moveTo>
                    <a:lnTo>
                      <a:pt x="0" y="260"/>
                    </a:lnTo>
                    <a:lnTo>
                      <a:pt x="2" y="265"/>
                    </a:lnTo>
                    <a:lnTo>
                      <a:pt x="6" y="260"/>
                    </a:lnTo>
                    <a:lnTo>
                      <a:pt x="2" y="256"/>
                    </a:lnTo>
                    <a:close/>
                    <a:moveTo>
                      <a:pt x="589" y="256"/>
                    </a:moveTo>
                    <a:lnTo>
                      <a:pt x="584" y="260"/>
                    </a:lnTo>
                    <a:lnTo>
                      <a:pt x="589" y="265"/>
                    </a:lnTo>
                    <a:lnTo>
                      <a:pt x="591" y="260"/>
                    </a:lnTo>
                    <a:lnTo>
                      <a:pt x="589" y="256"/>
                    </a:lnTo>
                    <a:close/>
                    <a:moveTo>
                      <a:pt x="154" y="0"/>
                    </a:moveTo>
                    <a:lnTo>
                      <a:pt x="147" y="0"/>
                    </a:lnTo>
                    <a:lnTo>
                      <a:pt x="145" y="6"/>
                    </a:lnTo>
                    <a:lnTo>
                      <a:pt x="150" y="6"/>
                    </a:lnTo>
                    <a:lnTo>
                      <a:pt x="154" y="0"/>
                    </a:lnTo>
                    <a:close/>
                    <a:moveTo>
                      <a:pt x="443" y="0"/>
                    </a:moveTo>
                    <a:lnTo>
                      <a:pt x="436" y="0"/>
                    </a:lnTo>
                    <a:lnTo>
                      <a:pt x="441" y="6"/>
                    </a:lnTo>
                    <a:lnTo>
                      <a:pt x="445" y="6"/>
                    </a:lnTo>
                    <a:lnTo>
                      <a:pt x="4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98">
                <a:extLst>
                  <a:ext uri="{FF2B5EF4-FFF2-40B4-BE49-F238E27FC236}">
                    <a16:creationId xmlns:a16="http://schemas.microsoft.com/office/drawing/2014/main" id="{F43EEDB5-D979-4A6B-890F-98572C6321B1}"/>
                  </a:ext>
                </a:extLst>
              </p:cNvPr>
              <p:cNvSpPr>
                <a:spLocks noEditPoints="1"/>
              </p:cNvSpPr>
              <p:nvPr/>
            </p:nvSpPr>
            <p:spPr bwMode="auto">
              <a:xfrm>
                <a:off x="4713288" y="4516438"/>
                <a:ext cx="938213" cy="823912"/>
              </a:xfrm>
              <a:custGeom>
                <a:avLst/>
                <a:gdLst>
                  <a:gd name="T0" fmla="*/ 150 w 591"/>
                  <a:gd name="T1" fmla="*/ 514 h 519"/>
                  <a:gd name="T2" fmla="*/ 145 w 591"/>
                  <a:gd name="T3" fmla="*/ 514 h 519"/>
                  <a:gd name="T4" fmla="*/ 147 w 591"/>
                  <a:gd name="T5" fmla="*/ 519 h 519"/>
                  <a:gd name="T6" fmla="*/ 154 w 591"/>
                  <a:gd name="T7" fmla="*/ 519 h 519"/>
                  <a:gd name="T8" fmla="*/ 150 w 591"/>
                  <a:gd name="T9" fmla="*/ 514 h 519"/>
                  <a:gd name="T10" fmla="*/ 445 w 591"/>
                  <a:gd name="T11" fmla="*/ 514 h 519"/>
                  <a:gd name="T12" fmla="*/ 441 w 591"/>
                  <a:gd name="T13" fmla="*/ 514 h 519"/>
                  <a:gd name="T14" fmla="*/ 436 w 591"/>
                  <a:gd name="T15" fmla="*/ 519 h 519"/>
                  <a:gd name="T16" fmla="*/ 443 w 591"/>
                  <a:gd name="T17" fmla="*/ 519 h 519"/>
                  <a:gd name="T18" fmla="*/ 445 w 591"/>
                  <a:gd name="T19" fmla="*/ 514 h 519"/>
                  <a:gd name="T20" fmla="*/ 2 w 591"/>
                  <a:gd name="T21" fmla="*/ 256 h 519"/>
                  <a:gd name="T22" fmla="*/ 0 w 591"/>
                  <a:gd name="T23" fmla="*/ 260 h 519"/>
                  <a:gd name="T24" fmla="*/ 2 w 591"/>
                  <a:gd name="T25" fmla="*/ 265 h 519"/>
                  <a:gd name="T26" fmla="*/ 6 w 591"/>
                  <a:gd name="T27" fmla="*/ 260 h 519"/>
                  <a:gd name="T28" fmla="*/ 2 w 591"/>
                  <a:gd name="T29" fmla="*/ 256 h 519"/>
                  <a:gd name="T30" fmla="*/ 589 w 591"/>
                  <a:gd name="T31" fmla="*/ 256 h 519"/>
                  <a:gd name="T32" fmla="*/ 584 w 591"/>
                  <a:gd name="T33" fmla="*/ 260 h 519"/>
                  <a:gd name="T34" fmla="*/ 589 w 591"/>
                  <a:gd name="T35" fmla="*/ 265 h 519"/>
                  <a:gd name="T36" fmla="*/ 591 w 591"/>
                  <a:gd name="T37" fmla="*/ 260 h 519"/>
                  <a:gd name="T38" fmla="*/ 589 w 591"/>
                  <a:gd name="T39" fmla="*/ 256 h 519"/>
                  <a:gd name="T40" fmla="*/ 154 w 591"/>
                  <a:gd name="T41" fmla="*/ 0 h 519"/>
                  <a:gd name="T42" fmla="*/ 147 w 591"/>
                  <a:gd name="T43" fmla="*/ 0 h 519"/>
                  <a:gd name="T44" fmla="*/ 145 w 591"/>
                  <a:gd name="T45" fmla="*/ 6 h 519"/>
                  <a:gd name="T46" fmla="*/ 150 w 591"/>
                  <a:gd name="T47" fmla="*/ 6 h 519"/>
                  <a:gd name="T48" fmla="*/ 154 w 591"/>
                  <a:gd name="T49" fmla="*/ 0 h 519"/>
                  <a:gd name="T50" fmla="*/ 443 w 591"/>
                  <a:gd name="T51" fmla="*/ 0 h 519"/>
                  <a:gd name="T52" fmla="*/ 436 w 591"/>
                  <a:gd name="T53" fmla="*/ 0 h 519"/>
                  <a:gd name="T54" fmla="*/ 441 w 591"/>
                  <a:gd name="T55" fmla="*/ 6 h 519"/>
                  <a:gd name="T56" fmla="*/ 445 w 591"/>
                  <a:gd name="T57" fmla="*/ 6 h 519"/>
                  <a:gd name="T58" fmla="*/ 443 w 591"/>
                  <a:gd name="T59"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91" h="519">
                    <a:moveTo>
                      <a:pt x="150" y="514"/>
                    </a:moveTo>
                    <a:lnTo>
                      <a:pt x="145" y="514"/>
                    </a:lnTo>
                    <a:lnTo>
                      <a:pt x="147" y="519"/>
                    </a:lnTo>
                    <a:lnTo>
                      <a:pt x="154" y="519"/>
                    </a:lnTo>
                    <a:lnTo>
                      <a:pt x="150" y="514"/>
                    </a:lnTo>
                    <a:moveTo>
                      <a:pt x="445" y="514"/>
                    </a:moveTo>
                    <a:lnTo>
                      <a:pt x="441" y="514"/>
                    </a:lnTo>
                    <a:lnTo>
                      <a:pt x="436" y="519"/>
                    </a:lnTo>
                    <a:lnTo>
                      <a:pt x="443" y="519"/>
                    </a:lnTo>
                    <a:lnTo>
                      <a:pt x="445" y="514"/>
                    </a:lnTo>
                    <a:moveTo>
                      <a:pt x="2" y="256"/>
                    </a:moveTo>
                    <a:lnTo>
                      <a:pt x="0" y="260"/>
                    </a:lnTo>
                    <a:lnTo>
                      <a:pt x="2" y="265"/>
                    </a:lnTo>
                    <a:lnTo>
                      <a:pt x="6" y="260"/>
                    </a:lnTo>
                    <a:lnTo>
                      <a:pt x="2" y="256"/>
                    </a:lnTo>
                    <a:moveTo>
                      <a:pt x="589" y="256"/>
                    </a:moveTo>
                    <a:lnTo>
                      <a:pt x="584" y="260"/>
                    </a:lnTo>
                    <a:lnTo>
                      <a:pt x="589" y="265"/>
                    </a:lnTo>
                    <a:lnTo>
                      <a:pt x="591" y="260"/>
                    </a:lnTo>
                    <a:lnTo>
                      <a:pt x="589" y="256"/>
                    </a:lnTo>
                    <a:moveTo>
                      <a:pt x="154" y="0"/>
                    </a:moveTo>
                    <a:lnTo>
                      <a:pt x="147" y="0"/>
                    </a:lnTo>
                    <a:lnTo>
                      <a:pt x="145" y="6"/>
                    </a:lnTo>
                    <a:lnTo>
                      <a:pt x="150" y="6"/>
                    </a:lnTo>
                    <a:lnTo>
                      <a:pt x="154" y="0"/>
                    </a:lnTo>
                    <a:moveTo>
                      <a:pt x="443" y="0"/>
                    </a:moveTo>
                    <a:lnTo>
                      <a:pt x="436" y="0"/>
                    </a:lnTo>
                    <a:lnTo>
                      <a:pt x="441" y="6"/>
                    </a:lnTo>
                    <a:lnTo>
                      <a:pt x="445" y="6"/>
                    </a:lnTo>
                    <a:lnTo>
                      <a:pt x="44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7" name="Group 106">
              <a:extLst>
                <a:ext uri="{FF2B5EF4-FFF2-40B4-BE49-F238E27FC236}">
                  <a16:creationId xmlns:a16="http://schemas.microsoft.com/office/drawing/2014/main" id="{7A83A5C1-82EE-475C-95A3-82D9DB2F5AB4}"/>
                </a:ext>
              </a:extLst>
            </p:cNvPr>
            <p:cNvGrpSpPr>
              <a:grpSpLocks noChangeAspect="1"/>
            </p:cNvGrpSpPr>
            <p:nvPr/>
          </p:nvGrpSpPr>
          <p:grpSpPr>
            <a:xfrm flipV="1">
              <a:off x="6640575" y="2230092"/>
              <a:ext cx="154686" cy="1153477"/>
              <a:chOff x="4859338" y="2822575"/>
              <a:chExt cx="184150" cy="1373187"/>
            </a:xfrm>
          </p:grpSpPr>
          <p:sp>
            <p:nvSpPr>
              <p:cNvPr id="108" name="Freeform 15">
                <a:extLst>
                  <a:ext uri="{FF2B5EF4-FFF2-40B4-BE49-F238E27FC236}">
                    <a16:creationId xmlns:a16="http://schemas.microsoft.com/office/drawing/2014/main" id="{9AE94E90-B1C8-452C-B39E-ACDDBC166FB8}"/>
                  </a:ext>
                </a:extLst>
              </p:cNvPr>
              <p:cNvSpPr>
                <a:spLocks/>
              </p:cNvSpPr>
              <p:nvPr/>
            </p:nvSpPr>
            <p:spPr bwMode="auto">
              <a:xfrm>
                <a:off x="4929188" y="2889476"/>
                <a:ext cx="44450" cy="1306286"/>
              </a:xfrm>
              <a:custGeom>
                <a:avLst/>
                <a:gdLst>
                  <a:gd name="T0" fmla="*/ 5 w 10"/>
                  <a:gd name="T1" fmla="*/ 342 h 342"/>
                  <a:gd name="T2" fmla="*/ 5 w 10"/>
                  <a:gd name="T3" fmla="*/ 342 h 342"/>
                  <a:gd name="T4" fmla="*/ 0 w 10"/>
                  <a:gd name="T5" fmla="*/ 337 h 342"/>
                  <a:gd name="T6" fmla="*/ 0 w 10"/>
                  <a:gd name="T7" fmla="*/ 5 h 342"/>
                  <a:gd name="T8" fmla="*/ 5 w 10"/>
                  <a:gd name="T9" fmla="*/ 0 h 342"/>
                  <a:gd name="T10" fmla="*/ 5 w 10"/>
                  <a:gd name="T11" fmla="*/ 0 h 342"/>
                  <a:gd name="T12" fmla="*/ 10 w 10"/>
                  <a:gd name="T13" fmla="*/ 5 h 342"/>
                  <a:gd name="T14" fmla="*/ 10 w 10"/>
                  <a:gd name="T15" fmla="*/ 337 h 342"/>
                  <a:gd name="T16" fmla="*/ 5 w 10"/>
                  <a:gd name="T17"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42">
                    <a:moveTo>
                      <a:pt x="5" y="342"/>
                    </a:moveTo>
                    <a:cubicBezTo>
                      <a:pt x="5" y="342"/>
                      <a:pt x="5" y="342"/>
                      <a:pt x="5" y="342"/>
                    </a:cubicBezTo>
                    <a:cubicBezTo>
                      <a:pt x="2" y="342"/>
                      <a:pt x="0" y="339"/>
                      <a:pt x="0" y="337"/>
                    </a:cubicBezTo>
                    <a:cubicBezTo>
                      <a:pt x="0" y="5"/>
                      <a:pt x="0" y="5"/>
                      <a:pt x="0" y="5"/>
                    </a:cubicBezTo>
                    <a:cubicBezTo>
                      <a:pt x="0" y="3"/>
                      <a:pt x="2" y="0"/>
                      <a:pt x="5" y="0"/>
                    </a:cubicBezTo>
                    <a:cubicBezTo>
                      <a:pt x="5" y="0"/>
                      <a:pt x="5" y="0"/>
                      <a:pt x="5" y="0"/>
                    </a:cubicBezTo>
                    <a:cubicBezTo>
                      <a:pt x="8" y="0"/>
                      <a:pt x="10" y="3"/>
                      <a:pt x="10" y="5"/>
                    </a:cubicBezTo>
                    <a:cubicBezTo>
                      <a:pt x="10" y="337"/>
                      <a:pt x="10" y="337"/>
                      <a:pt x="10" y="337"/>
                    </a:cubicBezTo>
                    <a:cubicBezTo>
                      <a:pt x="10" y="339"/>
                      <a:pt x="8" y="342"/>
                      <a:pt x="5" y="342"/>
                    </a:cubicBez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16">
                <a:extLst>
                  <a:ext uri="{FF2B5EF4-FFF2-40B4-BE49-F238E27FC236}">
                    <a16:creationId xmlns:a16="http://schemas.microsoft.com/office/drawing/2014/main" id="{9DDC210A-62F0-4845-8CFF-396F956270DF}"/>
                  </a:ext>
                </a:extLst>
              </p:cNvPr>
              <p:cNvSpPr>
                <a:spLocks/>
              </p:cNvSpPr>
              <p:nvPr/>
            </p:nvSpPr>
            <p:spPr bwMode="auto">
              <a:xfrm>
                <a:off x="4859338" y="2822575"/>
                <a:ext cx="184150" cy="165100"/>
              </a:xfrm>
              <a:custGeom>
                <a:avLst/>
                <a:gdLst>
                  <a:gd name="T0" fmla="*/ 58 w 116"/>
                  <a:gd name="T1" fmla="*/ 0 h 104"/>
                  <a:gd name="T2" fmla="*/ 0 w 116"/>
                  <a:gd name="T3" fmla="*/ 104 h 104"/>
                  <a:gd name="T4" fmla="*/ 116 w 116"/>
                  <a:gd name="T5" fmla="*/ 104 h 104"/>
                  <a:gd name="T6" fmla="*/ 58 w 116"/>
                  <a:gd name="T7" fmla="*/ 0 h 104"/>
                </a:gdLst>
                <a:ahLst/>
                <a:cxnLst>
                  <a:cxn ang="0">
                    <a:pos x="T0" y="T1"/>
                  </a:cxn>
                  <a:cxn ang="0">
                    <a:pos x="T2" y="T3"/>
                  </a:cxn>
                  <a:cxn ang="0">
                    <a:pos x="T4" y="T5"/>
                  </a:cxn>
                  <a:cxn ang="0">
                    <a:pos x="T6" y="T7"/>
                  </a:cxn>
                </a:cxnLst>
                <a:rect l="0" t="0" r="r" b="b"/>
                <a:pathLst>
                  <a:path w="116" h="104">
                    <a:moveTo>
                      <a:pt x="58" y="0"/>
                    </a:moveTo>
                    <a:lnTo>
                      <a:pt x="0" y="104"/>
                    </a:lnTo>
                    <a:lnTo>
                      <a:pt x="116" y="104"/>
                    </a:lnTo>
                    <a:lnTo>
                      <a:pt x="58"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7">
                <a:extLst>
                  <a:ext uri="{FF2B5EF4-FFF2-40B4-BE49-F238E27FC236}">
                    <a16:creationId xmlns:a16="http://schemas.microsoft.com/office/drawing/2014/main" id="{A28F4FE7-E931-4701-BFEC-818A7214AC2A}"/>
                  </a:ext>
                </a:extLst>
              </p:cNvPr>
              <p:cNvSpPr>
                <a:spLocks/>
              </p:cNvSpPr>
              <p:nvPr/>
            </p:nvSpPr>
            <p:spPr bwMode="auto">
              <a:xfrm>
                <a:off x="4859338" y="3228975"/>
                <a:ext cx="184150" cy="165100"/>
              </a:xfrm>
              <a:custGeom>
                <a:avLst/>
                <a:gdLst>
                  <a:gd name="T0" fmla="*/ 58 w 116"/>
                  <a:gd name="T1" fmla="*/ 0 h 104"/>
                  <a:gd name="T2" fmla="*/ 0 w 116"/>
                  <a:gd name="T3" fmla="*/ 104 h 104"/>
                  <a:gd name="T4" fmla="*/ 116 w 116"/>
                  <a:gd name="T5" fmla="*/ 104 h 104"/>
                  <a:gd name="T6" fmla="*/ 58 w 116"/>
                  <a:gd name="T7" fmla="*/ 0 h 104"/>
                </a:gdLst>
                <a:ahLst/>
                <a:cxnLst>
                  <a:cxn ang="0">
                    <a:pos x="T0" y="T1"/>
                  </a:cxn>
                  <a:cxn ang="0">
                    <a:pos x="T2" y="T3"/>
                  </a:cxn>
                  <a:cxn ang="0">
                    <a:pos x="T4" y="T5"/>
                  </a:cxn>
                  <a:cxn ang="0">
                    <a:pos x="T6" y="T7"/>
                  </a:cxn>
                </a:cxnLst>
                <a:rect l="0" t="0" r="r" b="b"/>
                <a:pathLst>
                  <a:path w="116" h="104">
                    <a:moveTo>
                      <a:pt x="58" y="0"/>
                    </a:moveTo>
                    <a:lnTo>
                      <a:pt x="0" y="104"/>
                    </a:lnTo>
                    <a:lnTo>
                      <a:pt x="116" y="104"/>
                    </a:lnTo>
                    <a:lnTo>
                      <a:pt x="58" y="0"/>
                    </a:ln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8">
                <a:extLst>
                  <a:ext uri="{FF2B5EF4-FFF2-40B4-BE49-F238E27FC236}">
                    <a16:creationId xmlns:a16="http://schemas.microsoft.com/office/drawing/2014/main" id="{0AAE82DC-839E-4B09-A3F0-2A4DBC560B8C}"/>
                  </a:ext>
                </a:extLst>
              </p:cNvPr>
              <p:cNvSpPr>
                <a:spLocks/>
              </p:cNvSpPr>
              <p:nvPr/>
            </p:nvSpPr>
            <p:spPr bwMode="auto">
              <a:xfrm>
                <a:off x="4859338" y="3451225"/>
                <a:ext cx="184150" cy="160338"/>
              </a:xfrm>
              <a:custGeom>
                <a:avLst/>
                <a:gdLst>
                  <a:gd name="T0" fmla="*/ 58 w 116"/>
                  <a:gd name="T1" fmla="*/ 0 h 101"/>
                  <a:gd name="T2" fmla="*/ 0 w 116"/>
                  <a:gd name="T3" fmla="*/ 101 h 101"/>
                  <a:gd name="T4" fmla="*/ 116 w 116"/>
                  <a:gd name="T5" fmla="*/ 101 h 101"/>
                  <a:gd name="T6" fmla="*/ 58 w 116"/>
                  <a:gd name="T7" fmla="*/ 0 h 101"/>
                </a:gdLst>
                <a:ahLst/>
                <a:cxnLst>
                  <a:cxn ang="0">
                    <a:pos x="T0" y="T1"/>
                  </a:cxn>
                  <a:cxn ang="0">
                    <a:pos x="T2" y="T3"/>
                  </a:cxn>
                  <a:cxn ang="0">
                    <a:pos x="T4" y="T5"/>
                  </a:cxn>
                  <a:cxn ang="0">
                    <a:pos x="T6" y="T7"/>
                  </a:cxn>
                </a:cxnLst>
                <a:rect l="0" t="0" r="r" b="b"/>
                <a:pathLst>
                  <a:path w="116" h="101">
                    <a:moveTo>
                      <a:pt x="58" y="0"/>
                    </a:moveTo>
                    <a:lnTo>
                      <a:pt x="0" y="101"/>
                    </a:lnTo>
                    <a:lnTo>
                      <a:pt x="116" y="101"/>
                    </a:lnTo>
                    <a:lnTo>
                      <a:pt x="58" y="0"/>
                    </a:ln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9">
                <a:extLst>
                  <a:ext uri="{FF2B5EF4-FFF2-40B4-BE49-F238E27FC236}">
                    <a16:creationId xmlns:a16="http://schemas.microsoft.com/office/drawing/2014/main" id="{B4837EE6-4AFC-42F1-9E1E-8BF6C2AF4E54}"/>
                  </a:ext>
                </a:extLst>
              </p:cNvPr>
              <p:cNvSpPr>
                <a:spLocks/>
              </p:cNvSpPr>
              <p:nvPr/>
            </p:nvSpPr>
            <p:spPr bwMode="auto">
              <a:xfrm>
                <a:off x="4859338" y="3759200"/>
                <a:ext cx="184150" cy="160338"/>
              </a:xfrm>
              <a:custGeom>
                <a:avLst/>
                <a:gdLst>
                  <a:gd name="T0" fmla="*/ 58 w 116"/>
                  <a:gd name="T1" fmla="*/ 0 h 101"/>
                  <a:gd name="T2" fmla="*/ 0 w 116"/>
                  <a:gd name="T3" fmla="*/ 101 h 101"/>
                  <a:gd name="T4" fmla="*/ 116 w 116"/>
                  <a:gd name="T5" fmla="*/ 101 h 101"/>
                  <a:gd name="T6" fmla="*/ 58 w 116"/>
                  <a:gd name="T7" fmla="*/ 0 h 101"/>
                </a:gdLst>
                <a:ahLst/>
                <a:cxnLst>
                  <a:cxn ang="0">
                    <a:pos x="T0" y="T1"/>
                  </a:cxn>
                  <a:cxn ang="0">
                    <a:pos x="T2" y="T3"/>
                  </a:cxn>
                  <a:cxn ang="0">
                    <a:pos x="T4" y="T5"/>
                  </a:cxn>
                  <a:cxn ang="0">
                    <a:pos x="T6" y="T7"/>
                  </a:cxn>
                </a:cxnLst>
                <a:rect l="0" t="0" r="r" b="b"/>
                <a:pathLst>
                  <a:path w="116" h="101">
                    <a:moveTo>
                      <a:pt x="58" y="0"/>
                    </a:moveTo>
                    <a:lnTo>
                      <a:pt x="0" y="101"/>
                    </a:lnTo>
                    <a:lnTo>
                      <a:pt x="116" y="101"/>
                    </a:lnTo>
                    <a:lnTo>
                      <a:pt x="58" y="0"/>
                    </a:ln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55" name="Group 154">
            <a:extLst>
              <a:ext uri="{FF2B5EF4-FFF2-40B4-BE49-F238E27FC236}">
                <a16:creationId xmlns:a16="http://schemas.microsoft.com/office/drawing/2014/main" id="{A5F6436A-FBE9-47DB-B4A2-FC8D0BD811D3}"/>
              </a:ext>
            </a:extLst>
          </p:cNvPr>
          <p:cNvGrpSpPr/>
          <p:nvPr/>
        </p:nvGrpSpPr>
        <p:grpSpPr>
          <a:xfrm>
            <a:off x="8949825" y="1441136"/>
            <a:ext cx="2311086" cy="1971282"/>
            <a:chOff x="8981484" y="1318384"/>
            <a:chExt cx="2221235" cy="1894642"/>
          </a:xfrm>
        </p:grpSpPr>
        <p:pic>
          <p:nvPicPr>
            <p:cNvPr id="154" name="Picture 153" descr="A picture containing clock&#10;&#10;Description automatically generated">
              <a:extLst>
                <a:ext uri="{FF2B5EF4-FFF2-40B4-BE49-F238E27FC236}">
                  <a16:creationId xmlns:a16="http://schemas.microsoft.com/office/drawing/2014/main" id="{F9695557-CAEE-475B-AC1F-83BC99FC8BA0}"/>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a:off x="9077093" y="1318384"/>
              <a:ext cx="1772436" cy="1589122"/>
            </a:xfrm>
            <a:custGeom>
              <a:avLst/>
              <a:gdLst>
                <a:gd name="connsiteX0" fmla="*/ 763686 w 1772436"/>
                <a:gd name="connsiteY0" fmla="*/ 0 h 1589122"/>
                <a:gd name="connsiteX1" fmla="*/ 1772436 w 1772436"/>
                <a:gd name="connsiteY1" fmla="*/ 0 h 1589122"/>
                <a:gd name="connsiteX2" fmla="*/ 1772436 w 1772436"/>
                <a:gd name="connsiteY2" fmla="*/ 1589122 h 1589122"/>
                <a:gd name="connsiteX3" fmla="*/ 0 w 1772436"/>
                <a:gd name="connsiteY3" fmla="*/ 1589122 h 1589122"/>
                <a:gd name="connsiteX4" fmla="*/ 0 w 1772436"/>
                <a:gd name="connsiteY4" fmla="*/ 1366471 h 1589122"/>
                <a:gd name="connsiteX5" fmla="*/ 245103 w 1772436"/>
                <a:gd name="connsiteY5" fmla="*/ 970963 h 1589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2436" h="1589122">
                  <a:moveTo>
                    <a:pt x="763686" y="0"/>
                  </a:moveTo>
                  <a:lnTo>
                    <a:pt x="1772436" y="0"/>
                  </a:lnTo>
                  <a:lnTo>
                    <a:pt x="1772436" y="1589122"/>
                  </a:lnTo>
                  <a:lnTo>
                    <a:pt x="0" y="1589122"/>
                  </a:lnTo>
                  <a:lnTo>
                    <a:pt x="0" y="1366471"/>
                  </a:lnTo>
                  <a:lnTo>
                    <a:pt x="245103" y="970963"/>
                  </a:lnTo>
                  <a:close/>
                </a:path>
              </a:pathLst>
            </a:custGeom>
          </p:spPr>
        </p:pic>
        <p:grpSp>
          <p:nvGrpSpPr>
            <p:cNvPr id="150" name="Group 149">
              <a:extLst>
                <a:ext uri="{FF2B5EF4-FFF2-40B4-BE49-F238E27FC236}">
                  <a16:creationId xmlns:a16="http://schemas.microsoft.com/office/drawing/2014/main" id="{D6BB7F12-05C6-4C9A-AD53-BB5A2C1111C2}"/>
                </a:ext>
              </a:extLst>
            </p:cNvPr>
            <p:cNvGrpSpPr/>
            <p:nvPr/>
          </p:nvGrpSpPr>
          <p:grpSpPr>
            <a:xfrm>
              <a:off x="8981484" y="1684153"/>
              <a:ext cx="2221235" cy="1528873"/>
              <a:chOff x="8981484" y="1684153"/>
              <a:chExt cx="2221235" cy="1528873"/>
            </a:xfrm>
          </p:grpSpPr>
          <p:grpSp>
            <p:nvGrpSpPr>
              <p:cNvPr id="120" name="Group 119">
                <a:extLst>
                  <a:ext uri="{FF2B5EF4-FFF2-40B4-BE49-F238E27FC236}">
                    <a16:creationId xmlns:a16="http://schemas.microsoft.com/office/drawing/2014/main" id="{5E1D9481-E248-4D49-9F0C-B22B38062CDF}"/>
                  </a:ext>
                </a:extLst>
              </p:cNvPr>
              <p:cNvGrpSpPr/>
              <p:nvPr/>
            </p:nvGrpSpPr>
            <p:grpSpPr>
              <a:xfrm>
                <a:off x="8981484" y="1694619"/>
                <a:ext cx="812013" cy="819531"/>
                <a:chOff x="2168526" y="4175125"/>
                <a:chExt cx="685800" cy="692151"/>
              </a:xfrm>
            </p:grpSpPr>
            <p:sp>
              <p:nvSpPr>
                <p:cNvPr id="121" name="Freeform 71">
                  <a:extLst>
                    <a:ext uri="{FF2B5EF4-FFF2-40B4-BE49-F238E27FC236}">
                      <a16:creationId xmlns:a16="http://schemas.microsoft.com/office/drawing/2014/main" id="{EB2FE8CE-E030-43D4-B884-E525D2A58D6B}"/>
                    </a:ext>
                  </a:extLst>
                </p:cNvPr>
                <p:cNvSpPr>
                  <a:spLocks/>
                </p:cNvSpPr>
                <p:nvPr/>
              </p:nvSpPr>
              <p:spPr bwMode="auto">
                <a:xfrm>
                  <a:off x="2503488" y="4175125"/>
                  <a:ext cx="15875" cy="239713"/>
                </a:xfrm>
                <a:custGeom>
                  <a:avLst/>
                  <a:gdLst>
                    <a:gd name="T0" fmla="*/ 4 w 8"/>
                    <a:gd name="T1" fmla="*/ 110 h 110"/>
                    <a:gd name="T2" fmla="*/ 0 w 8"/>
                    <a:gd name="T3" fmla="*/ 106 h 110"/>
                    <a:gd name="T4" fmla="*/ 0 w 8"/>
                    <a:gd name="T5" fmla="*/ 4 h 110"/>
                    <a:gd name="T6" fmla="*/ 4 w 8"/>
                    <a:gd name="T7" fmla="*/ 0 h 110"/>
                    <a:gd name="T8" fmla="*/ 8 w 8"/>
                    <a:gd name="T9" fmla="*/ 4 h 110"/>
                    <a:gd name="T10" fmla="*/ 8 w 8"/>
                    <a:gd name="T11" fmla="*/ 106 h 110"/>
                    <a:gd name="T12" fmla="*/ 4 w 8"/>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8" h="110">
                      <a:moveTo>
                        <a:pt x="4" y="110"/>
                      </a:moveTo>
                      <a:cubicBezTo>
                        <a:pt x="2" y="110"/>
                        <a:pt x="0" y="108"/>
                        <a:pt x="0" y="106"/>
                      </a:cubicBezTo>
                      <a:cubicBezTo>
                        <a:pt x="0" y="4"/>
                        <a:pt x="0" y="4"/>
                        <a:pt x="0" y="4"/>
                      </a:cubicBezTo>
                      <a:cubicBezTo>
                        <a:pt x="0" y="2"/>
                        <a:pt x="2" y="0"/>
                        <a:pt x="4" y="0"/>
                      </a:cubicBezTo>
                      <a:cubicBezTo>
                        <a:pt x="6" y="0"/>
                        <a:pt x="8" y="2"/>
                        <a:pt x="8" y="4"/>
                      </a:cubicBezTo>
                      <a:cubicBezTo>
                        <a:pt x="8" y="106"/>
                        <a:pt x="8" y="106"/>
                        <a:pt x="8" y="106"/>
                      </a:cubicBezTo>
                      <a:cubicBezTo>
                        <a:pt x="8" y="108"/>
                        <a:pt x="6" y="110"/>
                        <a:pt x="4" y="11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72">
                  <a:extLst>
                    <a:ext uri="{FF2B5EF4-FFF2-40B4-BE49-F238E27FC236}">
                      <a16:creationId xmlns:a16="http://schemas.microsoft.com/office/drawing/2014/main" id="{C0AE890C-F893-41CF-AB76-D735DD3CEDF0}"/>
                    </a:ext>
                  </a:extLst>
                </p:cNvPr>
                <p:cNvSpPr>
                  <a:spLocks/>
                </p:cNvSpPr>
                <p:nvPr/>
              </p:nvSpPr>
              <p:spPr bwMode="auto">
                <a:xfrm>
                  <a:off x="2503488" y="4627563"/>
                  <a:ext cx="15875" cy="239713"/>
                </a:xfrm>
                <a:custGeom>
                  <a:avLst/>
                  <a:gdLst>
                    <a:gd name="T0" fmla="*/ 4 w 8"/>
                    <a:gd name="T1" fmla="*/ 110 h 110"/>
                    <a:gd name="T2" fmla="*/ 0 w 8"/>
                    <a:gd name="T3" fmla="*/ 106 h 110"/>
                    <a:gd name="T4" fmla="*/ 0 w 8"/>
                    <a:gd name="T5" fmla="*/ 4 h 110"/>
                    <a:gd name="T6" fmla="*/ 4 w 8"/>
                    <a:gd name="T7" fmla="*/ 0 h 110"/>
                    <a:gd name="T8" fmla="*/ 8 w 8"/>
                    <a:gd name="T9" fmla="*/ 4 h 110"/>
                    <a:gd name="T10" fmla="*/ 8 w 8"/>
                    <a:gd name="T11" fmla="*/ 106 h 110"/>
                    <a:gd name="T12" fmla="*/ 4 w 8"/>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8" h="110">
                      <a:moveTo>
                        <a:pt x="4" y="110"/>
                      </a:moveTo>
                      <a:cubicBezTo>
                        <a:pt x="2" y="110"/>
                        <a:pt x="0" y="108"/>
                        <a:pt x="0" y="106"/>
                      </a:cubicBezTo>
                      <a:cubicBezTo>
                        <a:pt x="0" y="4"/>
                        <a:pt x="0" y="4"/>
                        <a:pt x="0" y="4"/>
                      </a:cubicBezTo>
                      <a:cubicBezTo>
                        <a:pt x="0" y="2"/>
                        <a:pt x="2" y="0"/>
                        <a:pt x="4" y="0"/>
                      </a:cubicBezTo>
                      <a:cubicBezTo>
                        <a:pt x="6" y="0"/>
                        <a:pt x="8" y="2"/>
                        <a:pt x="8" y="4"/>
                      </a:cubicBezTo>
                      <a:cubicBezTo>
                        <a:pt x="8" y="106"/>
                        <a:pt x="8" y="106"/>
                        <a:pt x="8" y="106"/>
                      </a:cubicBezTo>
                      <a:cubicBezTo>
                        <a:pt x="8" y="108"/>
                        <a:pt x="6" y="110"/>
                        <a:pt x="4" y="11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73">
                  <a:extLst>
                    <a:ext uri="{FF2B5EF4-FFF2-40B4-BE49-F238E27FC236}">
                      <a16:creationId xmlns:a16="http://schemas.microsoft.com/office/drawing/2014/main" id="{67289028-63E9-4ACF-B37A-01EDEBD6A52A}"/>
                    </a:ext>
                  </a:extLst>
                </p:cNvPr>
                <p:cNvSpPr>
                  <a:spLocks/>
                </p:cNvSpPr>
                <p:nvPr/>
              </p:nvSpPr>
              <p:spPr bwMode="auto">
                <a:xfrm>
                  <a:off x="2335213" y="4217988"/>
                  <a:ext cx="128588" cy="211138"/>
                </a:xfrm>
                <a:custGeom>
                  <a:avLst/>
                  <a:gdLst>
                    <a:gd name="T0" fmla="*/ 55 w 60"/>
                    <a:gd name="T1" fmla="*/ 97 h 97"/>
                    <a:gd name="T2" fmla="*/ 52 w 60"/>
                    <a:gd name="T3" fmla="*/ 95 h 97"/>
                    <a:gd name="T4" fmla="*/ 1 w 60"/>
                    <a:gd name="T5" fmla="*/ 7 h 97"/>
                    <a:gd name="T6" fmla="*/ 2 w 60"/>
                    <a:gd name="T7" fmla="*/ 1 h 97"/>
                    <a:gd name="T8" fmla="*/ 8 w 60"/>
                    <a:gd name="T9" fmla="*/ 3 h 97"/>
                    <a:gd name="T10" fmla="*/ 59 w 60"/>
                    <a:gd name="T11" fmla="*/ 91 h 97"/>
                    <a:gd name="T12" fmla="*/ 57 w 60"/>
                    <a:gd name="T13" fmla="*/ 96 h 97"/>
                    <a:gd name="T14" fmla="*/ 55 w 60"/>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7">
                      <a:moveTo>
                        <a:pt x="55" y="97"/>
                      </a:moveTo>
                      <a:cubicBezTo>
                        <a:pt x="54" y="97"/>
                        <a:pt x="53" y="96"/>
                        <a:pt x="52" y="95"/>
                      </a:cubicBezTo>
                      <a:cubicBezTo>
                        <a:pt x="1" y="7"/>
                        <a:pt x="1" y="7"/>
                        <a:pt x="1" y="7"/>
                      </a:cubicBezTo>
                      <a:cubicBezTo>
                        <a:pt x="0" y="5"/>
                        <a:pt x="0" y="2"/>
                        <a:pt x="2" y="1"/>
                      </a:cubicBezTo>
                      <a:cubicBezTo>
                        <a:pt x="4" y="0"/>
                        <a:pt x="7" y="1"/>
                        <a:pt x="8" y="3"/>
                      </a:cubicBezTo>
                      <a:cubicBezTo>
                        <a:pt x="59" y="91"/>
                        <a:pt x="59" y="91"/>
                        <a:pt x="59" y="91"/>
                      </a:cubicBezTo>
                      <a:cubicBezTo>
                        <a:pt x="60" y="93"/>
                        <a:pt x="59" y="95"/>
                        <a:pt x="57" y="96"/>
                      </a:cubicBezTo>
                      <a:cubicBezTo>
                        <a:pt x="57" y="97"/>
                        <a:pt x="56" y="97"/>
                        <a:pt x="55" y="97"/>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74">
                  <a:extLst>
                    <a:ext uri="{FF2B5EF4-FFF2-40B4-BE49-F238E27FC236}">
                      <a16:creationId xmlns:a16="http://schemas.microsoft.com/office/drawing/2014/main" id="{05F4F5DE-29EF-4023-A6E3-DE7B81ADC232}"/>
                    </a:ext>
                  </a:extLst>
                </p:cNvPr>
                <p:cNvSpPr>
                  <a:spLocks/>
                </p:cNvSpPr>
                <p:nvPr/>
              </p:nvSpPr>
              <p:spPr bwMode="auto">
                <a:xfrm>
                  <a:off x="2559051" y="4610100"/>
                  <a:ext cx="128588" cy="211138"/>
                </a:xfrm>
                <a:custGeom>
                  <a:avLst/>
                  <a:gdLst>
                    <a:gd name="T0" fmla="*/ 56 w 60"/>
                    <a:gd name="T1" fmla="*/ 97 h 97"/>
                    <a:gd name="T2" fmla="*/ 52 w 60"/>
                    <a:gd name="T3" fmla="*/ 95 h 97"/>
                    <a:gd name="T4" fmla="*/ 1 w 60"/>
                    <a:gd name="T5" fmla="*/ 7 h 97"/>
                    <a:gd name="T6" fmla="*/ 3 w 60"/>
                    <a:gd name="T7" fmla="*/ 2 h 97"/>
                    <a:gd name="T8" fmla="*/ 8 w 60"/>
                    <a:gd name="T9" fmla="*/ 3 h 97"/>
                    <a:gd name="T10" fmla="*/ 59 w 60"/>
                    <a:gd name="T11" fmla="*/ 91 h 97"/>
                    <a:gd name="T12" fmla="*/ 58 w 60"/>
                    <a:gd name="T13" fmla="*/ 97 h 97"/>
                    <a:gd name="T14" fmla="*/ 56 w 60"/>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7">
                      <a:moveTo>
                        <a:pt x="56" y="97"/>
                      </a:moveTo>
                      <a:cubicBezTo>
                        <a:pt x="54" y="97"/>
                        <a:pt x="53" y="97"/>
                        <a:pt x="52" y="95"/>
                      </a:cubicBezTo>
                      <a:cubicBezTo>
                        <a:pt x="1" y="7"/>
                        <a:pt x="1" y="7"/>
                        <a:pt x="1" y="7"/>
                      </a:cubicBezTo>
                      <a:cubicBezTo>
                        <a:pt x="0" y="5"/>
                        <a:pt x="1" y="3"/>
                        <a:pt x="3" y="2"/>
                      </a:cubicBezTo>
                      <a:cubicBezTo>
                        <a:pt x="4" y="0"/>
                        <a:pt x="7" y="1"/>
                        <a:pt x="8" y="3"/>
                      </a:cubicBezTo>
                      <a:cubicBezTo>
                        <a:pt x="59" y="91"/>
                        <a:pt x="59" y="91"/>
                        <a:pt x="59" y="91"/>
                      </a:cubicBezTo>
                      <a:cubicBezTo>
                        <a:pt x="60" y="93"/>
                        <a:pt x="60" y="96"/>
                        <a:pt x="58" y="97"/>
                      </a:cubicBezTo>
                      <a:cubicBezTo>
                        <a:pt x="57" y="97"/>
                        <a:pt x="56" y="97"/>
                        <a:pt x="56" y="97"/>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75">
                  <a:extLst>
                    <a:ext uri="{FF2B5EF4-FFF2-40B4-BE49-F238E27FC236}">
                      <a16:creationId xmlns:a16="http://schemas.microsoft.com/office/drawing/2014/main" id="{D6C382C1-69FA-4373-9937-E6559C8F8A3B}"/>
                    </a:ext>
                  </a:extLst>
                </p:cNvPr>
                <p:cNvSpPr>
                  <a:spLocks/>
                </p:cNvSpPr>
                <p:nvPr/>
              </p:nvSpPr>
              <p:spPr bwMode="auto">
                <a:xfrm>
                  <a:off x="2212976" y="4343400"/>
                  <a:ext cx="209550" cy="127000"/>
                </a:xfrm>
                <a:custGeom>
                  <a:avLst/>
                  <a:gdLst>
                    <a:gd name="T0" fmla="*/ 93 w 98"/>
                    <a:gd name="T1" fmla="*/ 59 h 59"/>
                    <a:gd name="T2" fmla="*/ 91 w 98"/>
                    <a:gd name="T3" fmla="*/ 59 h 59"/>
                    <a:gd name="T4" fmla="*/ 3 w 98"/>
                    <a:gd name="T5" fmla="*/ 8 h 59"/>
                    <a:gd name="T6" fmla="*/ 1 w 98"/>
                    <a:gd name="T7" fmla="*/ 2 h 59"/>
                    <a:gd name="T8" fmla="*/ 7 w 98"/>
                    <a:gd name="T9" fmla="*/ 1 h 59"/>
                    <a:gd name="T10" fmla="*/ 95 w 98"/>
                    <a:gd name="T11" fmla="*/ 52 h 59"/>
                    <a:gd name="T12" fmla="*/ 96 w 98"/>
                    <a:gd name="T13" fmla="*/ 57 h 59"/>
                    <a:gd name="T14" fmla="*/ 93 w 98"/>
                    <a:gd name="T15" fmla="*/ 5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59">
                      <a:moveTo>
                        <a:pt x="93" y="59"/>
                      </a:moveTo>
                      <a:cubicBezTo>
                        <a:pt x="92" y="59"/>
                        <a:pt x="92" y="59"/>
                        <a:pt x="91" y="59"/>
                      </a:cubicBezTo>
                      <a:cubicBezTo>
                        <a:pt x="3" y="8"/>
                        <a:pt x="3" y="8"/>
                        <a:pt x="3" y="8"/>
                      </a:cubicBezTo>
                      <a:cubicBezTo>
                        <a:pt x="1" y="7"/>
                        <a:pt x="0" y="4"/>
                        <a:pt x="1" y="2"/>
                      </a:cubicBezTo>
                      <a:cubicBezTo>
                        <a:pt x="2" y="0"/>
                        <a:pt x="5" y="0"/>
                        <a:pt x="7" y="1"/>
                      </a:cubicBezTo>
                      <a:cubicBezTo>
                        <a:pt x="95" y="52"/>
                        <a:pt x="95" y="52"/>
                        <a:pt x="95" y="52"/>
                      </a:cubicBezTo>
                      <a:cubicBezTo>
                        <a:pt x="97" y="53"/>
                        <a:pt x="98" y="56"/>
                        <a:pt x="96" y="57"/>
                      </a:cubicBezTo>
                      <a:cubicBezTo>
                        <a:pt x="96" y="59"/>
                        <a:pt x="94" y="59"/>
                        <a:pt x="93" y="5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76">
                  <a:extLst>
                    <a:ext uri="{FF2B5EF4-FFF2-40B4-BE49-F238E27FC236}">
                      <a16:creationId xmlns:a16="http://schemas.microsoft.com/office/drawing/2014/main" id="{60D3A550-296A-4132-984E-E5917356B302}"/>
                    </a:ext>
                  </a:extLst>
                </p:cNvPr>
                <p:cNvSpPr>
                  <a:spLocks/>
                </p:cNvSpPr>
                <p:nvPr/>
              </p:nvSpPr>
              <p:spPr bwMode="auto">
                <a:xfrm>
                  <a:off x="2600326" y="4568825"/>
                  <a:ext cx="209550" cy="130175"/>
                </a:xfrm>
                <a:custGeom>
                  <a:avLst/>
                  <a:gdLst>
                    <a:gd name="T0" fmla="*/ 93 w 98"/>
                    <a:gd name="T1" fmla="*/ 60 h 60"/>
                    <a:gd name="T2" fmla="*/ 91 w 98"/>
                    <a:gd name="T3" fmla="*/ 59 h 60"/>
                    <a:gd name="T4" fmla="*/ 3 w 98"/>
                    <a:gd name="T5" fmla="*/ 8 h 60"/>
                    <a:gd name="T6" fmla="*/ 2 w 98"/>
                    <a:gd name="T7" fmla="*/ 3 h 60"/>
                    <a:gd name="T8" fmla="*/ 7 w 98"/>
                    <a:gd name="T9" fmla="*/ 1 h 60"/>
                    <a:gd name="T10" fmla="*/ 95 w 98"/>
                    <a:gd name="T11" fmla="*/ 52 h 60"/>
                    <a:gd name="T12" fmla="*/ 97 w 98"/>
                    <a:gd name="T13" fmla="*/ 58 h 60"/>
                    <a:gd name="T14" fmla="*/ 93 w 98"/>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60">
                      <a:moveTo>
                        <a:pt x="93" y="60"/>
                      </a:moveTo>
                      <a:cubicBezTo>
                        <a:pt x="93" y="60"/>
                        <a:pt x="92" y="59"/>
                        <a:pt x="91" y="59"/>
                      </a:cubicBezTo>
                      <a:cubicBezTo>
                        <a:pt x="3" y="8"/>
                        <a:pt x="3" y="8"/>
                        <a:pt x="3" y="8"/>
                      </a:cubicBezTo>
                      <a:cubicBezTo>
                        <a:pt x="1" y="7"/>
                        <a:pt x="0" y="4"/>
                        <a:pt x="2" y="3"/>
                      </a:cubicBezTo>
                      <a:cubicBezTo>
                        <a:pt x="3" y="1"/>
                        <a:pt x="5" y="0"/>
                        <a:pt x="7" y="1"/>
                      </a:cubicBezTo>
                      <a:cubicBezTo>
                        <a:pt x="95" y="52"/>
                        <a:pt x="95" y="52"/>
                        <a:pt x="95" y="52"/>
                      </a:cubicBezTo>
                      <a:cubicBezTo>
                        <a:pt x="97" y="53"/>
                        <a:pt x="98" y="56"/>
                        <a:pt x="97" y="58"/>
                      </a:cubicBezTo>
                      <a:cubicBezTo>
                        <a:pt x="96" y="59"/>
                        <a:pt x="95" y="60"/>
                        <a:pt x="93" y="6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77">
                  <a:extLst>
                    <a:ext uri="{FF2B5EF4-FFF2-40B4-BE49-F238E27FC236}">
                      <a16:creationId xmlns:a16="http://schemas.microsoft.com/office/drawing/2014/main" id="{1D40145B-1341-4491-AFF0-6F84DF628AE6}"/>
                    </a:ext>
                  </a:extLst>
                </p:cNvPr>
                <p:cNvSpPr>
                  <a:spLocks/>
                </p:cNvSpPr>
                <p:nvPr/>
              </p:nvSpPr>
              <p:spPr bwMode="auto">
                <a:xfrm>
                  <a:off x="2168526" y="4513263"/>
                  <a:ext cx="238125" cy="17463"/>
                </a:xfrm>
                <a:custGeom>
                  <a:avLst/>
                  <a:gdLst>
                    <a:gd name="T0" fmla="*/ 106 w 110"/>
                    <a:gd name="T1" fmla="*/ 8 h 8"/>
                    <a:gd name="T2" fmla="*/ 4 w 110"/>
                    <a:gd name="T3" fmla="*/ 8 h 8"/>
                    <a:gd name="T4" fmla="*/ 0 w 110"/>
                    <a:gd name="T5" fmla="*/ 4 h 8"/>
                    <a:gd name="T6" fmla="*/ 4 w 110"/>
                    <a:gd name="T7" fmla="*/ 0 h 8"/>
                    <a:gd name="T8" fmla="*/ 106 w 110"/>
                    <a:gd name="T9" fmla="*/ 0 h 8"/>
                    <a:gd name="T10" fmla="*/ 110 w 110"/>
                    <a:gd name="T11" fmla="*/ 4 h 8"/>
                    <a:gd name="T12" fmla="*/ 106 w 1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10" h="8">
                      <a:moveTo>
                        <a:pt x="106" y="8"/>
                      </a:moveTo>
                      <a:cubicBezTo>
                        <a:pt x="4" y="8"/>
                        <a:pt x="4" y="8"/>
                        <a:pt x="4" y="8"/>
                      </a:cubicBezTo>
                      <a:cubicBezTo>
                        <a:pt x="2" y="8"/>
                        <a:pt x="0" y="6"/>
                        <a:pt x="0" y="4"/>
                      </a:cubicBezTo>
                      <a:cubicBezTo>
                        <a:pt x="0" y="2"/>
                        <a:pt x="2" y="0"/>
                        <a:pt x="4" y="0"/>
                      </a:cubicBezTo>
                      <a:cubicBezTo>
                        <a:pt x="106" y="0"/>
                        <a:pt x="106" y="0"/>
                        <a:pt x="106" y="0"/>
                      </a:cubicBezTo>
                      <a:cubicBezTo>
                        <a:pt x="108" y="0"/>
                        <a:pt x="110" y="2"/>
                        <a:pt x="110" y="4"/>
                      </a:cubicBezTo>
                      <a:cubicBezTo>
                        <a:pt x="110" y="6"/>
                        <a:pt x="108" y="8"/>
                        <a:pt x="106" y="8"/>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78">
                  <a:extLst>
                    <a:ext uri="{FF2B5EF4-FFF2-40B4-BE49-F238E27FC236}">
                      <a16:creationId xmlns:a16="http://schemas.microsoft.com/office/drawing/2014/main" id="{0E03B24F-B39E-4D55-84C5-0563A1EC2385}"/>
                    </a:ext>
                  </a:extLst>
                </p:cNvPr>
                <p:cNvSpPr>
                  <a:spLocks/>
                </p:cNvSpPr>
                <p:nvPr/>
              </p:nvSpPr>
              <p:spPr bwMode="auto">
                <a:xfrm>
                  <a:off x="2616201" y="4513263"/>
                  <a:ext cx="238125" cy="17463"/>
                </a:xfrm>
                <a:custGeom>
                  <a:avLst/>
                  <a:gdLst>
                    <a:gd name="T0" fmla="*/ 106 w 110"/>
                    <a:gd name="T1" fmla="*/ 8 h 8"/>
                    <a:gd name="T2" fmla="*/ 4 w 110"/>
                    <a:gd name="T3" fmla="*/ 8 h 8"/>
                    <a:gd name="T4" fmla="*/ 0 w 110"/>
                    <a:gd name="T5" fmla="*/ 4 h 8"/>
                    <a:gd name="T6" fmla="*/ 4 w 110"/>
                    <a:gd name="T7" fmla="*/ 0 h 8"/>
                    <a:gd name="T8" fmla="*/ 106 w 110"/>
                    <a:gd name="T9" fmla="*/ 0 h 8"/>
                    <a:gd name="T10" fmla="*/ 110 w 110"/>
                    <a:gd name="T11" fmla="*/ 4 h 8"/>
                    <a:gd name="T12" fmla="*/ 106 w 1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10" h="8">
                      <a:moveTo>
                        <a:pt x="106" y="8"/>
                      </a:moveTo>
                      <a:cubicBezTo>
                        <a:pt x="4" y="8"/>
                        <a:pt x="4" y="8"/>
                        <a:pt x="4" y="8"/>
                      </a:cubicBezTo>
                      <a:cubicBezTo>
                        <a:pt x="2" y="8"/>
                        <a:pt x="0" y="6"/>
                        <a:pt x="0" y="4"/>
                      </a:cubicBezTo>
                      <a:cubicBezTo>
                        <a:pt x="0" y="2"/>
                        <a:pt x="2" y="0"/>
                        <a:pt x="4" y="0"/>
                      </a:cubicBezTo>
                      <a:cubicBezTo>
                        <a:pt x="106" y="0"/>
                        <a:pt x="106" y="0"/>
                        <a:pt x="106" y="0"/>
                      </a:cubicBezTo>
                      <a:cubicBezTo>
                        <a:pt x="108" y="0"/>
                        <a:pt x="110" y="2"/>
                        <a:pt x="110" y="4"/>
                      </a:cubicBezTo>
                      <a:cubicBezTo>
                        <a:pt x="110" y="6"/>
                        <a:pt x="108" y="8"/>
                        <a:pt x="106" y="8"/>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79">
                  <a:extLst>
                    <a:ext uri="{FF2B5EF4-FFF2-40B4-BE49-F238E27FC236}">
                      <a16:creationId xmlns:a16="http://schemas.microsoft.com/office/drawing/2014/main" id="{099DCEFD-6B8A-4DBD-ABBB-3A636F3D53D5}"/>
                    </a:ext>
                  </a:extLst>
                </p:cNvPr>
                <p:cNvSpPr>
                  <a:spLocks/>
                </p:cNvSpPr>
                <p:nvPr/>
              </p:nvSpPr>
              <p:spPr bwMode="auto">
                <a:xfrm>
                  <a:off x="2212976" y="4568825"/>
                  <a:ext cx="209550" cy="130175"/>
                </a:xfrm>
                <a:custGeom>
                  <a:avLst/>
                  <a:gdLst>
                    <a:gd name="T0" fmla="*/ 5 w 98"/>
                    <a:gd name="T1" fmla="*/ 60 h 60"/>
                    <a:gd name="T2" fmla="*/ 1 w 98"/>
                    <a:gd name="T3" fmla="*/ 58 h 60"/>
                    <a:gd name="T4" fmla="*/ 3 w 98"/>
                    <a:gd name="T5" fmla="*/ 52 h 60"/>
                    <a:gd name="T6" fmla="*/ 91 w 98"/>
                    <a:gd name="T7" fmla="*/ 1 h 60"/>
                    <a:gd name="T8" fmla="*/ 96 w 98"/>
                    <a:gd name="T9" fmla="*/ 3 h 60"/>
                    <a:gd name="T10" fmla="*/ 95 w 98"/>
                    <a:gd name="T11" fmla="*/ 8 h 60"/>
                    <a:gd name="T12" fmla="*/ 7 w 98"/>
                    <a:gd name="T13" fmla="*/ 59 h 60"/>
                    <a:gd name="T14" fmla="*/ 5 w 98"/>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60">
                      <a:moveTo>
                        <a:pt x="5" y="60"/>
                      </a:moveTo>
                      <a:cubicBezTo>
                        <a:pt x="3" y="60"/>
                        <a:pt x="2" y="59"/>
                        <a:pt x="1" y="58"/>
                      </a:cubicBezTo>
                      <a:cubicBezTo>
                        <a:pt x="0" y="56"/>
                        <a:pt x="1" y="53"/>
                        <a:pt x="3" y="52"/>
                      </a:cubicBezTo>
                      <a:cubicBezTo>
                        <a:pt x="91" y="1"/>
                        <a:pt x="91" y="1"/>
                        <a:pt x="91" y="1"/>
                      </a:cubicBezTo>
                      <a:cubicBezTo>
                        <a:pt x="93" y="0"/>
                        <a:pt x="95" y="1"/>
                        <a:pt x="96" y="3"/>
                      </a:cubicBezTo>
                      <a:cubicBezTo>
                        <a:pt x="98" y="4"/>
                        <a:pt x="97" y="7"/>
                        <a:pt x="95" y="8"/>
                      </a:cubicBezTo>
                      <a:cubicBezTo>
                        <a:pt x="7" y="59"/>
                        <a:pt x="7" y="59"/>
                        <a:pt x="7" y="59"/>
                      </a:cubicBezTo>
                      <a:cubicBezTo>
                        <a:pt x="6" y="59"/>
                        <a:pt x="5" y="60"/>
                        <a:pt x="5" y="6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80">
                  <a:extLst>
                    <a:ext uri="{FF2B5EF4-FFF2-40B4-BE49-F238E27FC236}">
                      <a16:creationId xmlns:a16="http://schemas.microsoft.com/office/drawing/2014/main" id="{74724BD5-7C39-4114-ACA4-143BB75B5872}"/>
                    </a:ext>
                  </a:extLst>
                </p:cNvPr>
                <p:cNvSpPr>
                  <a:spLocks/>
                </p:cNvSpPr>
                <p:nvPr/>
              </p:nvSpPr>
              <p:spPr bwMode="auto">
                <a:xfrm>
                  <a:off x="2600326" y="4343400"/>
                  <a:ext cx="209550" cy="127000"/>
                </a:xfrm>
                <a:custGeom>
                  <a:avLst/>
                  <a:gdLst>
                    <a:gd name="T0" fmla="*/ 5 w 98"/>
                    <a:gd name="T1" fmla="*/ 59 h 59"/>
                    <a:gd name="T2" fmla="*/ 2 w 98"/>
                    <a:gd name="T3" fmla="*/ 57 h 59"/>
                    <a:gd name="T4" fmla="*/ 3 w 98"/>
                    <a:gd name="T5" fmla="*/ 52 h 59"/>
                    <a:gd name="T6" fmla="*/ 91 w 98"/>
                    <a:gd name="T7" fmla="*/ 1 h 59"/>
                    <a:gd name="T8" fmla="*/ 97 w 98"/>
                    <a:gd name="T9" fmla="*/ 2 h 59"/>
                    <a:gd name="T10" fmla="*/ 95 w 98"/>
                    <a:gd name="T11" fmla="*/ 8 h 59"/>
                    <a:gd name="T12" fmla="*/ 7 w 98"/>
                    <a:gd name="T13" fmla="*/ 59 h 59"/>
                    <a:gd name="T14" fmla="*/ 5 w 98"/>
                    <a:gd name="T15" fmla="*/ 5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59">
                      <a:moveTo>
                        <a:pt x="5" y="59"/>
                      </a:moveTo>
                      <a:cubicBezTo>
                        <a:pt x="4" y="59"/>
                        <a:pt x="2" y="59"/>
                        <a:pt x="2" y="57"/>
                      </a:cubicBezTo>
                      <a:cubicBezTo>
                        <a:pt x="0" y="56"/>
                        <a:pt x="1" y="53"/>
                        <a:pt x="3" y="52"/>
                      </a:cubicBezTo>
                      <a:cubicBezTo>
                        <a:pt x="91" y="1"/>
                        <a:pt x="91" y="1"/>
                        <a:pt x="91" y="1"/>
                      </a:cubicBezTo>
                      <a:cubicBezTo>
                        <a:pt x="93" y="0"/>
                        <a:pt x="96" y="0"/>
                        <a:pt x="97" y="2"/>
                      </a:cubicBezTo>
                      <a:cubicBezTo>
                        <a:pt x="98" y="4"/>
                        <a:pt x="97" y="7"/>
                        <a:pt x="95" y="8"/>
                      </a:cubicBezTo>
                      <a:cubicBezTo>
                        <a:pt x="7" y="59"/>
                        <a:pt x="7" y="59"/>
                        <a:pt x="7" y="59"/>
                      </a:cubicBezTo>
                      <a:cubicBezTo>
                        <a:pt x="6" y="59"/>
                        <a:pt x="6" y="59"/>
                        <a:pt x="5" y="5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81">
                  <a:extLst>
                    <a:ext uri="{FF2B5EF4-FFF2-40B4-BE49-F238E27FC236}">
                      <a16:creationId xmlns:a16="http://schemas.microsoft.com/office/drawing/2014/main" id="{0E2F16B9-A533-4282-9819-48A35A6D0CE5}"/>
                    </a:ext>
                  </a:extLst>
                </p:cNvPr>
                <p:cNvSpPr>
                  <a:spLocks/>
                </p:cNvSpPr>
                <p:nvPr/>
              </p:nvSpPr>
              <p:spPr bwMode="auto">
                <a:xfrm>
                  <a:off x="2335213" y="4610100"/>
                  <a:ext cx="128588" cy="211138"/>
                </a:xfrm>
                <a:custGeom>
                  <a:avLst/>
                  <a:gdLst>
                    <a:gd name="T0" fmla="*/ 4 w 60"/>
                    <a:gd name="T1" fmla="*/ 97 h 97"/>
                    <a:gd name="T2" fmla="*/ 2 w 60"/>
                    <a:gd name="T3" fmla="*/ 97 h 97"/>
                    <a:gd name="T4" fmla="*/ 1 w 60"/>
                    <a:gd name="T5" fmla="*/ 91 h 97"/>
                    <a:gd name="T6" fmla="*/ 52 w 60"/>
                    <a:gd name="T7" fmla="*/ 3 h 97"/>
                    <a:gd name="T8" fmla="*/ 57 w 60"/>
                    <a:gd name="T9" fmla="*/ 2 h 97"/>
                    <a:gd name="T10" fmla="*/ 59 w 60"/>
                    <a:gd name="T11" fmla="*/ 7 h 97"/>
                    <a:gd name="T12" fmla="*/ 8 w 60"/>
                    <a:gd name="T13" fmla="*/ 95 h 97"/>
                    <a:gd name="T14" fmla="*/ 4 w 60"/>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7">
                      <a:moveTo>
                        <a:pt x="4" y="97"/>
                      </a:moveTo>
                      <a:cubicBezTo>
                        <a:pt x="4" y="97"/>
                        <a:pt x="3" y="97"/>
                        <a:pt x="2" y="97"/>
                      </a:cubicBezTo>
                      <a:cubicBezTo>
                        <a:pt x="0" y="96"/>
                        <a:pt x="0" y="93"/>
                        <a:pt x="1" y="91"/>
                      </a:cubicBezTo>
                      <a:cubicBezTo>
                        <a:pt x="52" y="3"/>
                        <a:pt x="52" y="3"/>
                        <a:pt x="52" y="3"/>
                      </a:cubicBezTo>
                      <a:cubicBezTo>
                        <a:pt x="53" y="1"/>
                        <a:pt x="56" y="0"/>
                        <a:pt x="57" y="2"/>
                      </a:cubicBezTo>
                      <a:cubicBezTo>
                        <a:pt x="59" y="3"/>
                        <a:pt x="60" y="5"/>
                        <a:pt x="59" y="7"/>
                      </a:cubicBezTo>
                      <a:cubicBezTo>
                        <a:pt x="8" y="95"/>
                        <a:pt x="8" y="95"/>
                        <a:pt x="8" y="95"/>
                      </a:cubicBezTo>
                      <a:cubicBezTo>
                        <a:pt x="7" y="97"/>
                        <a:pt x="6" y="97"/>
                        <a:pt x="4" y="97"/>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82">
                  <a:extLst>
                    <a:ext uri="{FF2B5EF4-FFF2-40B4-BE49-F238E27FC236}">
                      <a16:creationId xmlns:a16="http://schemas.microsoft.com/office/drawing/2014/main" id="{87995567-DF9D-45A7-90A8-859EE481A77D}"/>
                    </a:ext>
                  </a:extLst>
                </p:cNvPr>
                <p:cNvSpPr>
                  <a:spLocks/>
                </p:cNvSpPr>
                <p:nvPr/>
              </p:nvSpPr>
              <p:spPr bwMode="auto">
                <a:xfrm>
                  <a:off x="2559051" y="4217988"/>
                  <a:ext cx="128588" cy="211138"/>
                </a:xfrm>
                <a:custGeom>
                  <a:avLst/>
                  <a:gdLst>
                    <a:gd name="T0" fmla="*/ 5 w 60"/>
                    <a:gd name="T1" fmla="*/ 97 h 97"/>
                    <a:gd name="T2" fmla="*/ 3 w 60"/>
                    <a:gd name="T3" fmla="*/ 96 h 97"/>
                    <a:gd name="T4" fmla="*/ 1 w 60"/>
                    <a:gd name="T5" fmla="*/ 91 h 97"/>
                    <a:gd name="T6" fmla="*/ 52 w 60"/>
                    <a:gd name="T7" fmla="*/ 3 h 97"/>
                    <a:gd name="T8" fmla="*/ 58 w 60"/>
                    <a:gd name="T9" fmla="*/ 1 h 97"/>
                    <a:gd name="T10" fmla="*/ 59 w 60"/>
                    <a:gd name="T11" fmla="*/ 7 h 97"/>
                    <a:gd name="T12" fmla="*/ 8 w 60"/>
                    <a:gd name="T13" fmla="*/ 95 h 97"/>
                    <a:gd name="T14" fmla="*/ 5 w 60"/>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7">
                      <a:moveTo>
                        <a:pt x="5" y="97"/>
                      </a:moveTo>
                      <a:cubicBezTo>
                        <a:pt x="4" y="97"/>
                        <a:pt x="3" y="97"/>
                        <a:pt x="3" y="96"/>
                      </a:cubicBezTo>
                      <a:cubicBezTo>
                        <a:pt x="1" y="95"/>
                        <a:pt x="0" y="93"/>
                        <a:pt x="1" y="91"/>
                      </a:cubicBezTo>
                      <a:cubicBezTo>
                        <a:pt x="52" y="3"/>
                        <a:pt x="52" y="3"/>
                        <a:pt x="52" y="3"/>
                      </a:cubicBezTo>
                      <a:cubicBezTo>
                        <a:pt x="53" y="1"/>
                        <a:pt x="56" y="0"/>
                        <a:pt x="58" y="1"/>
                      </a:cubicBezTo>
                      <a:cubicBezTo>
                        <a:pt x="60" y="2"/>
                        <a:pt x="60" y="5"/>
                        <a:pt x="59" y="7"/>
                      </a:cubicBezTo>
                      <a:cubicBezTo>
                        <a:pt x="8" y="95"/>
                        <a:pt x="8" y="95"/>
                        <a:pt x="8" y="95"/>
                      </a:cubicBezTo>
                      <a:cubicBezTo>
                        <a:pt x="7" y="96"/>
                        <a:pt x="6" y="97"/>
                        <a:pt x="5" y="97"/>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3" name="Freeform: Shape 132">
                <a:extLst>
                  <a:ext uri="{FF2B5EF4-FFF2-40B4-BE49-F238E27FC236}">
                    <a16:creationId xmlns:a16="http://schemas.microsoft.com/office/drawing/2014/main" id="{28025D8B-7B81-42BA-AFF8-4336A018C928}"/>
                  </a:ext>
                </a:extLst>
              </p:cNvPr>
              <p:cNvSpPr>
                <a:spLocks/>
              </p:cNvSpPr>
              <p:nvPr/>
            </p:nvSpPr>
            <p:spPr bwMode="auto">
              <a:xfrm>
                <a:off x="9380819" y="2226054"/>
                <a:ext cx="972810" cy="986972"/>
              </a:xfrm>
              <a:custGeom>
                <a:avLst/>
                <a:gdLst>
                  <a:gd name="connsiteX0" fmla="*/ 578304 w 652973"/>
                  <a:gd name="connsiteY0" fmla="*/ 527099 h 662481"/>
                  <a:gd name="connsiteX1" fmla="*/ 584704 w 652973"/>
                  <a:gd name="connsiteY1" fmla="*/ 527099 h 662481"/>
                  <a:gd name="connsiteX2" fmla="*/ 584704 w 652973"/>
                  <a:gd name="connsiteY2" fmla="*/ 533647 h 662481"/>
                  <a:gd name="connsiteX3" fmla="*/ 527107 w 652973"/>
                  <a:gd name="connsiteY3" fmla="*/ 592583 h 662481"/>
                  <a:gd name="connsiteX4" fmla="*/ 520707 w 652973"/>
                  <a:gd name="connsiteY4" fmla="*/ 592583 h 662481"/>
                  <a:gd name="connsiteX5" fmla="*/ 520707 w 652973"/>
                  <a:gd name="connsiteY5" fmla="*/ 586035 h 662481"/>
                  <a:gd name="connsiteX6" fmla="*/ 578304 w 652973"/>
                  <a:gd name="connsiteY6" fmla="*/ 527099 h 662481"/>
                  <a:gd name="connsiteX7" fmla="*/ 627431 w 652973"/>
                  <a:gd name="connsiteY7" fmla="*/ 433440 h 662481"/>
                  <a:gd name="connsiteX8" fmla="*/ 633895 w 652973"/>
                  <a:gd name="connsiteY8" fmla="*/ 433440 h 662481"/>
                  <a:gd name="connsiteX9" fmla="*/ 633895 w 652973"/>
                  <a:gd name="connsiteY9" fmla="*/ 440001 h 662481"/>
                  <a:gd name="connsiteX10" fmla="*/ 433529 w 652973"/>
                  <a:gd name="connsiteY10" fmla="*/ 643379 h 662481"/>
                  <a:gd name="connsiteX11" fmla="*/ 427066 w 652973"/>
                  <a:gd name="connsiteY11" fmla="*/ 643379 h 662481"/>
                  <a:gd name="connsiteX12" fmla="*/ 427066 w 652973"/>
                  <a:gd name="connsiteY12" fmla="*/ 636819 h 662481"/>
                  <a:gd name="connsiteX13" fmla="*/ 627431 w 652973"/>
                  <a:gd name="connsiteY13" fmla="*/ 433440 h 662481"/>
                  <a:gd name="connsiteX14" fmla="*/ 640169 w 652973"/>
                  <a:gd name="connsiteY14" fmla="*/ 374697 h 662481"/>
                  <a:gd name="connsiteX15" fmla="*/ 646604 w 652973"/>
                  <a:gd name="connsiteY15" fmla="*/ 374697 h 662481"/>
                  <a:gd name="connsiteX16" fmla="*/ 646604 w 652973"/>
                  <a:gd name="connsiteY16" fmla="*/ 383423 h 662481"/>
                  <a:gd name="connsiteX17" fmla="*/ 378486 w 652973"/>
                  <a:gd name="connsiteY17" fmla="*/ 656085 h 662481"/>
                  <a:gd name="connsiteX18" fmla="*/ 369906 w 652973"/>
                  <a:gd name="connsiteY18" fmla="*/ 656085 h 662481"/>
                  <a:gd name="connsiteX19" fmla="*/ 369906 w 652973"/>
                  <a:gd name="connsiteY19" fmla="*/ 649541 h 662481"/>
                  <a:gd name="connsiteX20" fmla="*/ 640169 w 652973"/>
                  <a:gd name="connsiteY20" fmla="*/ 374697 h 662481"/>
                  <a:gd name="connsiteX21" fmla="*/ 644894 w 652973"/>
                  <a:gd name="connsiteY21" fmla="*/ 328664 h 662481"/>
                  <a:gd name="connsiteX22" fmla="*/ 651358 w 652973"/>
                  <a:gd name="connsiteY22" fmla="*/ 328664 h 662481"/>
                  <a:gd name="connsiteX23" fmla="*/ 651358 w 652973"/>
                  <a:gd name="connsiteY23" fmla="*/ 335220 h 662481"/>
                  <a:gd name="connsiteX24" fmla="*/ 330342 w 652973"/>
                  <a:gd name="connsiteY24" fmla="*/ 660843 h 662481"/>
                  <a:gd name="connsiteX25" fmla="*/ 323879 w 652973"/>
                  <a:gd name="connsiteY25" fmla="*/ 660843 h 662481"/>
                  <a:gd name="connsiteX26" fmla="*/ 323879 w 652973"/>
                  <a:gd name="connsiteY26" fmla="*/ 654287 h 662481"/>
                  <a:gd name="connsiteX27" fmla="*/ 644894 w 652973"/>
                  <a:gd name="connsiteY27" fmla="*/ 328664 h 662481"/>
                  <a:gd name="connsiteX28" fmla="*/ 643322 w 652973"/>
                  <a:gd name="connsiteY28" fmla="*/ 287381 h 662481"/>
                  <a:gd name="connsiteX29" fmla="*/ 649774 w 652973"/>
                  <a:gd name="connsiteY29" fmla="*/ 287381 h 662481"/>
                  <a:gd name="connsiteX30" fmla="*/ 649774 w 652973"/>
                  <a:gd name="connsiteY30" fmla="*/ 293916 h 662481"/>
                  <a:gd name="connsiteX31" fmla="*/ 290638 w 652973"/>
                  <a:gd name="connsiteY31" fmla="*/ 657675 h 662481"/>
                  <a:gd name="connsiteX32" fmla="*/ 284187 w 652973"/>
                  <a:gd name="connsiteY32" fmla="*/ 657675 h 662481"/>
                  <a:gd name="connsiteX33" fmla="*/ 284187 w 652973"/>
                  <a:gd name="connsiteY33" fmla="*/ 651140 h 662481"/>
                  <a:gd name="connsiteX34" fmla="*/ 643322 w 652973"/>
                  <a:gd name="connsiteY34" fmla="*/ 287381 h 662481"/>
                  <a:gd name="connsiteX35" fmla="*/ 636971 w 652973"/>
                  <a:gd name="connsiteY35" fmla="*/ 250868 h 662481"/>
                  <a:gd name="connsiteX36" fmla="*/ 643423 w 652973"/>
                  <a:gd name="connsiteY36" fmla="*/ 250868 h 662481"/>
                  <a:gd name="connsiteX37" fmla="*/ 643423 w 652973"/>
                  <a:gd name="connsiteY37" fmla="*/ 257397 h 662481"/>
                  <a:gd name="connsiteX38" fmla="*/ 254127 w 652973"/>
                  <a:gd name="connsiteY38" fmla="*/ 651328 h 662481"/>
                  <a:gd name="connsiteX39" fmla="*/ 247675 w 652973"/>
                  <a:gd name="connsiteY39" fmla="*/ 651328 h 662481"/>
                  <a:gd name="connsiteX40" fmla="*/ 247675 w 652973"/>
                  <a:gd name="connsiteY40" fmla="*/ 644798 h 662481"/>
                  <a:gd name="connsiteX41" fmla="*/ 636971 w 652973"/>
                  <a:gd name="connsiteY41" fmla="*/ 250868 h 662481"/>
                  <a:gd name="connsiteX42" fmla="*/ 625843 w 652973"/>
                  <a:gd name="connsiteY42" fmla="*/ 217532 h 662481"/>
                  <a:gd name="connsiteX43" fmla="*/ 632307 w 652973"/>
                  <a:gd name="connsiteY43" fmla="*/ 217532 h 662481"/>
                  <a:gd name="connsiteX44" fmla="*/ 632307 w 652973"/>
                  <a:gd name="connsiteY44" fmla="*/ 224068 h 662481"/>
                  <a:gd name="connsiteX45" fmla="*/ 220804 w 652973"/>
                  <a:gd name="connsiteY45" fmla="*/ 640212 h 662481"/>
                  <a:gd name="connsiteX46" fmla="*/ 214341 w 652973"/>
                  <a:gd name="connsiteY46" fmla="*/ 640212 h 662481"/>
                  <a:gd name="connsiteX47" fmla="*/ 214341 w 652973"/>
                  <a:gd name="connsiteY47" fmla="*/ 633676 h 662481"/>
                  <a:gd name="connsiteX48" fmla="*/ 625843 w 652973"/>
                  <a:gd name="connsiteY48" fmla="*/ 217532 h 662481"/>
                  <a:gd name="connsiteX49" fmla="*/ 613140 w 652973"/>
                  <a:gd name="connsiteY49" fmla="*/ 187370 h 662481"/>
                  <a:gd name="connsiteX50" fmla="*/ 619607 w 652973"/>
                  <a:gd name="connsiteY50" fmla="*/ 187370 h 662481"/>
                  <a:gd name="connsiteX51" fmla="*/ 619607 w 652973"/>
                  <a:gd name="connsiteY51" fmla="*/ 193907 h 662481"/>
                  <a:gd name="connsiteX52" fmla="*/ 190647 w 652973"/>
                  <a:gd name="connsiteY52" fmla="*/ 627512 h 662481"/>
                  <a:gd name="connsiteX53" fmla="*/ 184180 w 652973"/>
                  <a:gd name="connsiteY53" fmla="*/ 627512 h 662481"/>
                  <a:gd name="connsiteX54" fmla="*/ 184180 w 652973"/>
                  <a:gd name="connsiteY54" fmla="*/ 620975 h 662481"/>
                  <a:gd name="connsiteX55" fmla="*/ 613140 w 652973"/>
                  <a:gd name="connsiteY55" fmla="*/ 187370 h 662481"/>
                  <a:gd name="connsiteX56" fmla="*/ 597299 w 652973"/>
                  <a:gd name="connsiteY56" fmla="*/ 158793 h 662481"/>
                  <a:gd name="connsiteX57" fmla="*/ 603739 w 652973"/>
                  <a:gd name="connsiteY57" fmla="*/ 158793 h 662481"/>
                  <a:gd name="connsiteX58" fmla="*/ 603739 w 652973"/>
                  <a:gd name="connsiteY58" fmla="*/ 165325 h 662481"/>
                  <a:gd name="connsiteX59" fmla="*/ 163624 w 652973"/>
                  <a:gd name="connsiteY59" fmla="*/ 611639 h 662481"/>
                  <a:gd name="connsiteX60" fmla="*/ 157183 w 652973"/>
                  <a:gd name="connsiteY60" fmla="*/ 611639 h 662481"/>
                  <a:gd name="connsiteX61" fmla="*/ 157183 w 652973"/>
                  <a:gd name="connsiteY61" fmla="*/ 605108 h 662481"/>
                  <a:gd name="connsiteX62" fmla="*/ 597299 w 652973"/>
                  <a:gd name="connsiteY62" fmla="*/ 158793 h 662481"/>
                  <a:gd name="connsiteX63" fmla="*/ 581377 w 652973"/>
                  <a:gd name="connsiteY63" fmla="*/ 133390 h 662481"/>
                  <a:gd name="connsiteX64" fmla="*/ 587854 w 652973"/>
                  <a:gd name="connsiteY64" fmla="*/ 133390 h 662481"/>
                  <a:gd name="connsiteX65" fmla="*/ 587854 w 652973"/>
                  <a:gd name="connsiteY65" fmla="*/ 139910 h 662481"/>
                  <a:gd name="connsiteX66" fmla="*/ 136684 w 652973"/>
                  <a:gd name="connsiteY66" fmla="*/ 594181 h 662481"/>
                  <a:gd name="connsiteX67" fmla="*/ 130208 w 652973"/>
                  <a:gd name="connsiteY67" fmla="*/ 594181 h 662481"/>
                  <a:gd name="connsiteX68" fmla="*/ 130208 w 652973"/>
                  <a:gd name="connsiteY68" fmla="*/ 587660 h 662481"/>
                  <a:gd name="connsiteX69" fmla="*/ 581377 w 652973"/>
                  <a:gd name="connsiteY69" fmla="*/ 133390 h 662481"/>
                  <a:gd name="connsiteX70" fmla="*/ 560761 w 652973"/>
                  <a:gd name="connsiteY70" fmla="*/ 109579 h 662481"/>
                  <a:gd name="connsiteX71" fmla="*/ 567221 w 652973"/>
                  <a:gd name="connsiteY71" fmla="*/ 109579 h 662481"/>
                  <a:gd name="connsiteX72" fmla="*/ 567221 w 652973"/>
                  <a:gd name="connsiteY72" fmla="*/ 116105 h 662481"/>
                  <a:gd name="connsiteX73" fmla="*/ 112850 w 652973"/>
                  <a:gd name="connsiteY73" fmla="*/ 575128 h 662481"/>
                  <a:gd name="connsiteX74" fmla="*/ 106390 w 652973"/>
                  <a:gd name="connsiteY74" fmla="*/ 575128 h 662481"/>
                  <a:gd name="connsiteX75" fmla="*/ 106390 w 652973"/>
                  <a:gd name="connsiteY75" fmla="*/ 568601 h 662481"/>
                  <a:gd name="connsiteX76" fmla="*/ 560761 w 652973"/>
                  <a:gd name="connsiteY76" fmla="*/ 109579 h 662481"/>
                  <a:gd name="connsiteX77" fmla="*/ 540124 w 652973"/>
                  <a:gd name="connsiteY77" fmla="*/ 87354 h 662481"/>
                  <a:gd name="connsiteX78" fmla="*/ 546584 w 652973"/>
                  <a:gd name="connsiteY78" fmla="*/ 87354 h 662481"/>
                  <a:gd name="connsiteX79" fmla="*/ 546584 w 652973"/>
                  <a:gd name="connsiteY79" fmla="*/ 93880 h 662481"/>
                  <a:gd name="connsiteX80" fmla="*/ 92213 w 652973"/>
                  <a:gd name="connsiteY80" fmla="*/ 552903 h 662481"/>
                  <a:gd name="connsiteX81" fmla="*/ 85753 w 652973"/>
                  <a:gd name="connsiteY81" fmla="*/ 552903 h 662481"/>
                  <a:gd name="connsiteX82" fmla="*/ 85753 w 652973"/>
                  <a:gd name="connsiteY82" fmla="*/ 546376 h 662481"/>
                  <a:gd name="connsiteX83" fmla="*/ 540124 w 652973"/>
                  <a:gd name="connsiteY83" fmla="*/ 87354 h 662481"/>
                  <a:gd name="connsiteX84" fmla="*/ 125866 w 652973"/>
                  <a:gd name="connsiteY84" fmla="*/ 69899 h 662481"/>
                  <a:gd name="connsiteX85" fmla="*/ 132266 w 652973"/>
                  <a:gd name="connsiteY85" fmla="*/ 69899 h 662481"/>
                  <a:gd name="connsiteX86" fmla="*/ 132266 w 652973"/>
                  <a:gd name="connsiteY86" fmla="*/ 76447 h 662481"/>
                  <a:gd name="connsiteX87" fmla="*/ 74669 w 652973"/>
                  <a:gd name="connsiteY87" fmla="*/ 135383 h 662481"/>
                  <a:gd name="connsiteX88" fmla="*/ 68269 w 652973"/>
                  <a:gd name="connsiteY88" fmla="*/ 135383 h 662481"/>
                  <a:gd name="connsiteX89" fmla="*/ 68269 w 652973"/>
                  <a:gd name="connsiteY89" fmla="*/ 128835 h 662481"/>
                  <a:gd name="connsiteX90" fmla="*/ 125866 w 652973"/>
                  <a:gd name="connsiteY90" fmla="*/ 69899 h 662481"/>
                  <a:gd name="connsiteX91" fmla="*/ 516319 w 652973"/>
                  <a:gd name="connsiteY91" fmla="*/ 68302 h 662481"/>
                  <a:gd name="connsiteX92" fmla="*/ 522773 w 652973"/>
                  <a:gd name="connsiteY92" fmla="*/ 68302 h 662481"/>
                  <a:gd name="connsiteX93" fmla="*/ 522773 w 652973"/>
                  <a:gd name="connsiteY93" fmla="*/ 74822 h 662481"/>
                  <a:gd name="connsiteX94" fmla="*/ 73154 w 652973"/>
                  <a:gd name="connsiteY94" fmla="*/ 529093 h 662481"/>
                  <a:gd name="connsiteX95" fmla="*/ 66701 w 652973"/>
                  <a:gd name="connsiteY95" fmla="*/ 529093 h 662481"/>
                  <a:gd name="connsiteX96" fmla="*/ 66701 w 652973"/>
                  <a:gd name="connsiteY96" fmla="*/ 522572 h 662481"/>
                  <a:gd name="connsiteX97" fmla="*/ 516319 w 652973"/>
                  <a:gd name="connsiteY97" fmla="*/ 68302 h 662481"/>
                  <a:gd name="connsiteX98" fmla="*/ 490906 w 652973"/>
                  <a:gd name="connsiteY98" fmla="*/ 50843 h 662481"/>
                  <a:gd name="connsiteX99" fmla="*/ 497370 w 652973"/>
                  <a:gd name="connsiteY99" fmla="*/ 50843 h 662481"/>
                  <a:gd name="connsiteX100" fmla="*/ 497370 w 652973"/>
                  <a:gd name="connsiteY100" fmla="*/ 57375 h 662481"/>
                  <a:gd name="connsiteX101" fmla="*/ 55704 w 652973"/>
                  <a:gd name="connsiteY101" fmla="*/ 503689 h 662481"/>
                  <a:gd name="connsiteX102" fmla="*/ 49241 w 652973"/>
                  <a:gd name="connsiteY102" fmla="*/ 503689 h 662481"/>
                  <a:gd name="connsiteX103" fmla="*/ 49241 w 652973"/>
                  <a:gd name="connsiteY103" fmla="*/ 497158 h 662481"/>
                  <a:gd name="connsiteX104" fmla="*/ 490906 w 652973"/>
                  <a:gd name="connsiteY104" fmla="*/ 50843 h 662481"/>
                  <a:gd name="connsiteX105" fmla="*/ 462327 w 652973"/>
                  <a:gd name="connsiteY105" fmla="*/ 34970 h 662481"/>
                  <a:gd name="connsiteX106" fmla="*/ 468794 w 652973"/>
                  <a:gd name="connsiteY106" fmla="*/ 34970 h 662481"/>
                  <a:gd name="connsiteX107" fmla="*/ 468794 w 652973"/>
                  <a:gd name="connsiteY107" fmla="*/ 41507 h 662481"/>
                  <a:gd name="connsiteX108" fmla="*/ 39834 w 652973"/>
                  <a:gd name="connsiteY108" fmla="*/ 475112 h 662481"/>
                  <a:gd name="connsiteX109" fmla="*/ 33367 w 652973"/>
                  <a:gd name="connsiteY109" fmla="*/ 475112 h 662481"/>
                  <a:gd name="connsiteX110" fmla="*/ 33367 w 652973"/>
                  <a:gd name="connsiteY110" fmla="*/ 468575 h 662481"/>
                  <a:gd name="connsiteX111" fmla="*/ 462327 w 652973"/>
                  <a:gd name="connsiteY111" fmla="*/ 34970 h 662481"/>
                  <a:gd name="connsiteX112" fmla="*/ 432168 w 652973"/>
                  <a:gd name="connsiteY112" fmla="*/ 22270 h 662481"/>
                  <a:gd name="connsiteX113" fmla="*/ 438632 w 652973"/>
                  <a:gd name="connsiteY113" fmla="*/ 22270 h 662481"/>
                  <a:gd name="connsiteX114" fmla="*/ 438632 w 652973"/>
                  <a:gd name="connsiteY114" fmla="*/ 28806 h 662481"/>
                  <a:gd name="connsiteX115" fmla="*/ 27129 w 652973"/>
                  <a:gd name="connsiteY115" fmla="*/ 444950 h 662481"/>
                  <a:gd name="connsiteX116" fmla="*/ 20665 w 652973"/>
                  <a:gd name="connsiteY116" fmla="*/ 444950 h 662481"/>
                  <a:gd name="connsiteX117" fmla="*/ 20665 w 652973"/>
                  <a:gd name="connsiteY117" fmla="*/ 438414 h 662481"/>
                  <a:gd name="connsiteX118" fmla="*/ 432168 w 652973"/>
                  <a:gd name="connsiteY118" fmla="*/ 22270 h 662481"/>
                  <a:gd name="connsiteX119" fmla="*/ 219444 w 652973"/>
                  <a:gd name="connsiteY119" fmla="*/ 19103 h 662481"/>
                  <a:gd name="connsiteX120" fmla="*/ 225908 w 652973"/>
                  <a:gd name="connsiteY120" fmla="*/ 19103 h 662481"/>
                  <a:gd name="connsiteX121" fmla="*/ 225908 w 652973"/>
                  <a:gd name="connsiteY121" fmla="*/ 25663 h 662481"/>
                  <a:gd name="connsiteX122" fmla="*/ 25542 w 652973"/>
                  <a:gd name="connsiteY122" fmla="*/ 229042 h 662481"/>
                  <a:gd name="connsiteX123" fmla="*/ 19078 w 652973"/>
                  <a:gd name="connsiteY123" fmla="*/ 229042 h 662481"/>
                  <a:gd name="connsiteX124" fmla="*/ 19078 w 652973"/>
                  <a:gd name="connsiteY124" fmla="*/ 222482 h 662481"/>
                  <a:gd name="connsiteX125" fmla="*/ 219444 w 652973"/>
                  <a:gd name="connsiteY125" fmla="*/ 19103 h 662481"/>
                  <a:gd name="connsiteX126" fmla="*/ 400400 w 652973"/>
                  <a:gd name="connsiteY126" fmla="*/ 11154 h 662481"/>
                  <a:gd name="connsiteX127" fmla="*/ 406878 w 652973"/>
                  <a:gd name="connsiteY127" fmla="*/ 11154 h 662481"/>
                  <a:gd name="connsiteX128" fmla="*/ 406878 w 652973"/>
                  <a:gd name="connsiteY128" fmla="*/ 17684 h 662481"/>
                  <a:gd name="connsiteX129" fmla="*/ 16036 w 652973"/>
                  <a:gd name="connsiteY129" fmla="*/ 411615 h 662481"/>
                  <a:gd name="connsiteX130" fmla="*/ 9558 w 652973"/>
                  <a:gd name="connsiteY130" fmla="*/ 411615 h 662481"/>
                  <a:gd name="connsiteX131" fmla="*/ 9558 w 652973"/>
                  <a:gd name="connsiteY131" fmla="*/ 405085 h 662481"/>
                  <a:gd name="connsiteX132" fmla="*/ 400400 w 652973"/>
                  <a:gd name="connsiteY132" fmla="*/ 11154 h 662481"/>
                  <a:gd name="connsiteX133" fmla="*/ 274488 w 652973"/>
                  <a:gd name="connsiteY133" fmla="*/ 6397 h 662481"/>
                  <a:gd name="connsiteX134" fmla="*/ 283067 w 652973"/>
                  <a:gd name="connsiteY134" fmla="*/ 6397 h 662481"/>
                  <a:gd name="connsiteX135" fmla="*/ 283067 w 652973"/>
                  <a:gd name="connsiteY135" fmla="*/ 12941 h 662481"/>
                  <a:gd name="connsiteX136" fmla="*/ 12804 w 652973"/>
                  <a:gd name="connsiteY136" fmla="*/ 287785 h 662481"/>
                  <a:gd name="connsiteX137" fmla="*/ 6369 w 652973"/>
                  <a:gd name="connsiteY137" fmla="*/ 287785 h 662481"/>
                  <a:gd name="connsiteX138" fmla="*/ 6369 w 652973"/>
                  <a:gd name="connsiteY138" fmla="*/ 279060 h 662481"/>
                  <a:gd name="connsiteX139" fmla="*/ 274488 w 652973"/>
                  <a:gd name="connsiteY139" fmla="*/ 6397 h 662481"/>
                  <a:gd name="connsiteX140" fmla="*/ 363885 w 652973"/>
                  <a:gd name="connsiteY140" fmla="*/ 4806 h 662481"/>
                  <a:gd name="connsiteX141" fmla="*/ 370364 w 652973"/>
                  <a:gd name="connsiteY141" fmla="*/ 4806 h 662481"/>
                  <a:gd name="connsiteX142" fmla="*/ 370364 w 652973"/>
                  <a:gd name="connsiteY142" fmla="*/ 11341 h 662481"/>
                  <a:gd name="connsiteX143" fmla="*/ 9688 w 652973"/>
                  <a:gd name="connsiteY143" fmla="*/ 375100 h 662481"/>
                  <a:gd name="connsiteX144" fmla="*/ 3208 w 652973"/>
                  <a:gd name="connsiteY144" fmla="*/ 375100 h 662481"/>
                  <a:gd name="connsiteX145" fmla="*/ 3208 w 652973"/>
                  <a:gd name="connsiteY145" fmla="*/ 368565 h 662481"/>
                  <a:gd name="connsiteX146" fmla="*/ 363885 w 652973"/>
                  <a:gd name="connsiteY146" fmla="*/ 4806 h 662481"/>
                  <a:gd name="connsiteX147" fmla="*/ 322631 w 652973"/>
                  <a:gd name="connsiteY147" fmla="*/ 1638 h 662481"/>
                  <a:gd name="connsiteX148" fmla="*/ 329095 w 652973"/>
                  <a:gd name="connsiteY148" fmla="*/ 1638 h 662481"/>
                  <a:gd name="connsiteX149" fmla="*/ 329095 w 652973"/>
                  <a:gd name="connsiteY149" fmla="*/ 8194 h 662481"/>
                  <a:gd name="connsiteX150" fmla="*/ 8079 w 652973"/>
                  <a:gd name="connsiteY150" fmla="*/ 333818 h 662481"/>
                  <a:gd name="connsiteX151" fmla="*/ 1615 w 652973"/>
                  <a:gd name="connsiteY151" fmla="*/ 333818 h 662481"/>
                  <a:gd name="connsiteX152" fmla="*/ 1615 w 652973"/>
                  <a:gd name="connsiteY152" fmla="*/ 327262 h 662481"/>
                  <a:gd name="connsiteX153" fmla="*/ 322631 w 652973"/>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3" h="662481">
                    <a:moveTo>
                      <a:pt x="578304" y="527099"/>
                    </a:moveTo>
                    <a:cubicBezTo>
                      <a:pt x="578304" y="524916"/>
                      <a:pt x="582571" y="524916"/>
                      <a:pt x="584704" y="527099"/>
                    </a:cubicBezTo>
                    <a:cubicBezTo>
                      <a:pt x="586837" y="529282"/>
                      <a:pt x="586837" y="531465"/>
                      <a:pt x="584704" y="533647"/>
                    </a:cubicBezTo>
                    <a:cubicBezTo>
                      <a:pt x="584704" y="533647"/>
                      <a:pt x="584704" y="533647"/>
                      <a:pt x="527107" y="592583"/>
                    </a:cubicBezTo>
                    <a:cubicBezTo>
                      <a:pt x="524974" y="594766"/>
                      <a:pt x="522841" y="594766"/>
                      <a:pt x="520707" y="592583"/>
                    </a:cubicBezTo>
                    <a:cubicBezTo>
                      <a:pt x="518574" y="590401"/>
                      <a:pt x="518574" y="586035"/>
                      <a:pt x="520707" y="586035"/>
                    </a:cubicBezTo>
                    <a:cubicBezTo>
                      <a:pt x="520707" y="586035"/>
                      <a:pt x="520707" y="586035"/>
                      <a:pt x="578304"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4" y="328664"/>
                    </a:moveTo>
                    <a:cubicBezTo>
                      <a:pt x="647049" y="326478"/>
                      <a:pt x="649203" y="326478"/>
                      <a:pt x="651358" y="328664"/>
                    </a:cubicBezTo>
                    <a:cubicBezTo>
                      <a:pt x="653512" y="330849"/>
                      <a:pt x="653512" y="333034"/>
                      <a:pt x="651358" y="335220"/>
                    </a:cubicBezTo>
                    <a:cubicBezTo>
                      <a:pt x="651358" y="335220"/>
                      <a:pt x="651358" y="335220"/>
                      <a:pt x="330342" y="660843"/>
                    </a:cubicBezTo>
                    <a:cubicBezTo>
                      <a:pt x="328188" y="663028"/>
                      <a:pt x="326033" y="663028"/>
                      <a:pt x="323879" y="660843"/>
                    </a:cubicBezTo>
                    <a:cubicBezTo>
                      <a:pt x="321724" y="658657"/>
                      <a:pt x="321724" y="656472"/>
                      <a:pt x="323879" y="654287"/>
                    </a:cubicBezTo>
                    <a:cubicBezTo>
                      <a:pt x="323879" y="654287"/>
                      <a:pt x="323879" y="654287"/>
                      <a:pt x="644894" y="328664"/>
                    </a:cubicBezTo>
                    <a:close/>
                    <a:moveTo>
                      <a:pt x="643322" y="287381"/>
                    </a:moveTo>
                    <a:cubicBezTo>
                      <a:pt x="645473" y="285203"/>
                      <a:pt x="647623" y="285203"/>
                      <a:pt x="649774" y="287381"/>
                    </a:cubicBezTo>
                    <a:cubicBezTo>
                      <a:pt x="651924" y="289560"/>
                      <a:pt x="651924" y="291738"/>
                      <a:pt x="649774" y="293916"/>
                    </a:cubicBezTo>
                    <a:cubicBezTo>
                      <a:pt x="649774" y="293916"/>
                      <a:pt x="649774" y="293916"/>
                      <a:pt x="290638" y="657675"/>
                    </a:cubicBezTo>
                    <a:cubicBezTo>
                      <a:pt x="288488" y="659853"/>
                      <a:pt x="286337" y="659853"/>
                      <a:pt x="284187" y="657675"/>
                    </a:cubicBezTo>
                    <a:cubicBezTo>
                      <a:pt x="282036" y="655497"/>
                      <a:pt x="282036" y="653319"/>
                      <a:pt x="284187" y="651140"/>
                    </a:cubicBezTo>
                    <a:cubicBezTo>
                      <a:pt x="284187" y="651140"/>
                      <a:pt x="284187" y="651140"/>
                      <a:pt x="643322" y="287381"/>
                    </a:cubicBezTo>
                    <a:close/>
                    <a:moveTo>
                      <a:pt x="636971" y="250868"/>
                    </a:moveTo>
                    <a:cubicBezTo>
                      <a:pt x="639122" y="248691"/>
                      <a:pt x="641273" y="248691"/>
                      <a:pt x="643423" y="250868"/>
                    </a:cubicBezTo>
                    <a:cubicBezTo>
                      <a:pt x="645574" y="253044"/>
                      <a:pt x="645574" y="255220"/>
                      <a:pt x="643423" y="257397"/>
                    </a:cubicBezTo>
                    <a:cubicBezTo>
                      <a:pt x="643423" y="257397"/>
                      <a:pt x="643423" y="257397"/>
                      <a:pt x="254127" y="651328"/>
                    </a:cubicBezTo>
                    <a:cubicBezTo>
                      <a:pt x="251977" y="653504"/>
                      <a:pt x="249826" y="653504"/>
                      <a:pt x="247675" y="651328"/>
                    </a:cubicBezTo>
                    <a:cubicBezTo>
                      <a:pt x="245524" y="649151"/>
                      <a:pt x="245524" y="646975"/>
                      <a:pt x="247675" y="644798"/>
                    </a:cubicBezTo>
                    <a:cubicBezTo>
                      <a:pt x="247675" y="644798"/>
                      <a:pt x="247675" y="644798"/>
                      <a:pt x="636971"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40" y="187370"/>
                    </a:moveTo>
                    <a:cubicBezTo>
                      <a:pt x="615295" y="185191"/>
                      <a:pt x="617451" y="185191"/>
                      <a:pt x="619607" y="187370"/>
                    </a:cubicBezTo>
                    <a:cubicBezTo>
                      <a:pt x="621762" y="187370"/>
                      <a:pt x="621762" y="191728"/>
                      <a:pt x="619607" y="193907"/>
                    </a:cubicBezTo>
                    <a:cubicBezTo>
                      <a:pt x="619607" y="193907"/>
                      <a:pt x="619607" y="193907"/>
                      <a:pt x="190647" y="627512"/>
                    </a:cubicBezTo>
                    <a:cubicBezTo>
                      <a:pt x="188491" y="629691"/>
                      <a:pt x="184180" y="629691"/>
                      <a:pt x="184180" y="627512"/>
                    </a:cubicBezTo>
                    <a:cubicBezTo>
                      <a:pt x="182024" y="625333"/>
                      <a:pt x="182024" y="623154"/>
                      <a:pt x="184180" y="620975"/>
                    </a:cubicBezTo>
                    <a:cubicBezTo>
                      <a:pt x="184180" y="620975"/>
                      <a:pt x="184180" y="620975"/>
                      <a:pt x="613140" y="187370"/>
                    </a:cubicBezTo>
                    <a:close/>
                    <a:moveTo>
                      <a:pt x="597299" y="158793"/>
                    </a:moveTo>
                    <a:cubicBezTo>
                      <a:pt x="599446" y="156616"/>
                      <a:pt x="601592" y="156616"/>
                      <a:pt x="603739" y="158793"/>
                    </a:cubicBezTo>
                    <a:cubicBezTo>
                      <a:pt x="605886" y="160970"/>
                      <a:pt x="605886" y="163148"/>
                      <a:pt x="603739" y="165325"/>
                    </a:cubicBezTo>
                    <a:cubicBezTo>
                      <a:pt x="603739" y="165325"/>
                      <a:pt x="603739" y="165325"/>
                      <a:pt x="163624" y="611639"/>
                    </a:cubicBezTo>
                    <a:cubicBezTo>
                      <a:pt x="161477" y="613816"/>
                      <a:pt x="159330" y="613816"/>
                      <a:pt x="157183" y="611639"/>
                    </a:cubicBezTo>
                    <a:cubicBezTo>
                      <a:pt x="155036" y="609462"/>
                      <a:pt x="155036" y="607285"/>
                      <a:pt x="157183" y="605108"/>
                    </a:cubicBezTo>
                    <a:cubicBezTo>
                      <a:pt x="157183" y="605108"/>
                      <a:pt x="157183" y="605108"/>
                      <a:pt x="597299" y="158793"/>
                    </a:cubicBezTo>
                    <a:close/>
                    <a:moveTo>
                      <a:pt x="581377" y="133390"/>
                    </a:moveTo>
                    <a:cubicBezTo>
                      <a:pt x="583536" y="131216"/>
                      <a:pt x="585695" y="131216"/>
                      <a:pt x="587854" y="133390"/>
                    </a:cubicBezTo>
                    <a:cubicBezTo>
                      <a:pt x="590012" y="135563"/>
                      <a:pt x="590012" y="137737"/>
                      <a:pt x="587854" y="139910"/>
                    </a:cubicBezTo>
                    <a:cubicBezTo>
                      <a:pt x="587854" y="139910"/>
                      <a:pt x="587854" y="139910"/>
                      <a:pt x="136684" y="594181"/>
                    </a:cubicBezTo>
                    <a:cubicBezTo>
                      <a:pt x="134525" y="596354"/>
                      <a:pt x="132367" y="596354"/>
                      <a:pt x="130208" y="594181"/>
                    </a:cubicBezTo>
                    <a:cubicBezTo>
                      <a:pt x="128049" y="592007"/>
                      <a:pt x="128049" y="589834"/>
                      <a:pt x="130208" y="587660"/>
                    </a:cubicBezTo>
                    <a:cubicBezTo>
                      <a:pt x="130208" y="587660"/>
                      <a:pt x="130208" y="587660"/>
                      <a:pt x="581377"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4" y="87354"/>
                    </a:moveTo>
                    <a:cubicBezTo>
                      <a:pt x="542277" y="85178"/>
                      <a:pt x="544430" y="85178"/>
                      <a:pt x="546584" y="87354"/>
                    </a:cubicBezTo>
                    <a:cubicBezTo>
                      <a:pt x="548737" y="89529"/>
                      <a:pt x="548737" y="91705"/>
                      <a:pt x="546584" y="93880"/>
                    </a:cubicBezTo>
                    <a:cubicBezTo>
                      <a:pt x="546584" y="93880"/>
                      <a:pt x="546584" y="93880"/>
                      <a:pt x="92213" y="552903"/>
                    </a:cubicBezTo>
                    <a:cubicBezTo>
                      <a:pt x="90059" y="555078"/>
                      <a:pt x="87906" y="555078"/>
                      <a:pt x="85753" y="552903"/>
                    </a:cubicBezTo>
                    <a:cubicBezTo>
                      <a:pt x="83599" y="550727"/>
                      <a:pt x="83599" y="548552"/>
                      <a:pt x="85753" y="546376"/>
                    </a:cubicBezTo>
                    <a:cubicBezTo>
                      <a:pt x="85753" y="546376"/>
                      <a:pt x="85753" y="546376"/>
                      <a:pt x="540124"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319" y="68302"/>
                    </a:moveTo>
                    <a:cubicBezTo>
                      <a:pt x="518470" y="66128"/>
                      <a:pt x="520622" y="66128"/>
                      <a:pt x="522773" y="68302"/>
                    </a:cubicBezTo>
                    <a:cubicBezTo>
                      <a:pt x="524924" y="70475"/>
                      <a:pt x="524924" y="72649"/>
                      <a:pt x="522773" y="74822"/>
                    </a:cubicBezTo>
                    <a:cubicBezTo>
                      <a:pt x="522773" y="74822"/>
                      <a:pt x="522773" y="74822"/>
                      <a:pt x="73154" y="529093"/>
                    </a:cubicBezTo>
                    <a:cubicBezTo>
                      <a:pt x="71003" y="531266"/>
                      <a:pt x="68852" y="531266"/>
                      <a:pt x="66701" y="529093"/>
                    </a:cubicBezTo>
                    <a:cubicBezTo>
                      <a:pt x="64549" y="526919"/>
                      <a:pt x="64549" y="524746"/>
                      <a:pt x="66701" y="522572"/>
                    </a:cubicBezTo>
                    <a:cubicBezTo>
                      <a:pt x="66701" y="522572"/>
                      <a:pt x="66701" y="522572"/>
                      <a:pt x="516319" y="68302"/>
                    </a:cubicBezTo>
                    <a:close/>
                    <a:moveTo>
                      <a:pt x="490906" y="50843"/>
                    </a:moveTo>
                    <a:cubicBezTo>
                      <a:pt x="493061" y="48666"/>
                      <a:pt x="495215" y="48666"/>
                      <a:pt x="497370" y="50843"/>
                    </a:cubicBezTo>
                    <a:cubicBezTo>
                      <a:pt x="499524" y="53020"/>
                      <a:pt x="499524" y="55198"/>
                      <a:pt x="497370" y="57375"/>
                    </a:cubicBezTo>
                    <a:cubicBezTo>
                      <a:pt x="497370" y="57375"/>
                      <a:pt x="497370" y="57375"/>
                      <a:pt x="55704" y="503689"/>
                    </a:cubicBezTo>
                    <a:cubicBezTo>
                      <a:pt x="53550" y="505866"/>
                      <a:pt x="51395" y="505866"/>
                      <a:pt x="49241" y="503689"/>
                    </a:cubicBezTo>
                    <a:cubicBezTo>
                      <a:pt x="47086" y="501512"/>
                      <a:pt x="47086" y="499335"/>
                      <a:pt x="49241" y="497158"/>
                    </a:cubicBezTo>
                    <a:cubicBezTo>
                      <a:pt x="49241" y="497158"/>
                      <a:pt x="49241" y="497158"/>
                      <a:pt x="490906"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4"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4" y="19103"/>
                    </a:moveTo>
                    <a:cubicBezTo>
                      <a:pt x="221599" y="16916"/>
                      <a:pt x="223753" y="16916"/>
                      <a:pt x="225908" y="19103"/>
                    </a:cubicBezTo>
                    <a:cubicBezTo>
                      <a:pt x="228062" y="21290"/>
                      <a:pt x="228062" y="23476"/>
                      <a:pt x="225908" y="25663"/>
                    </a:cubicBezTo>
                    <a:cubicBezTo>
                      <a:pt x="225908" y="25663"/>
                      <a:pt x="225908" y="25663"/>
                      <a:pt x="25542" y="229042"/>
                    </a:cubicBezTo>
                    <a:cubicBezTo>
                      <a:pt x="23387" y="231229"/>
                      <a:pt x="21233" y="231229"/>
                      <a:pt x="19078" y="229042"/>
                    </a:cubicBezTo>
                    <a:cubicBezTo>
                      <a:pt x="16924" y="226855"/>
                      <a:pt x="16924" y="224669"/>
                      <a:pt x="19078" y="222482"/>
                    </a:cubicBezTo>
                    <a:cubicBezTo>
                      <a:pt x="19078" y="222482"/>
                      <a:pt x="19078" y="222482"/>
                      <a:pt x="219444" y="19103"/>
                    </a:cubicBezTo>
                    <a:close/>
                    <a:moveTo>
                      <a:pt x="400400" y="11154"/>
                    </a:moveTo>
                    <a:cubicBezTo>
                      <a:pt x="402559" y="8978"/>
                      <a:pt x="404719" y="8978"/>
                      <a:pt x="406878" y="11154"/>
                    </a:cubicBezTo>
                    <a:cubicBezTo>
                      <a:pt x="409037" y="13331"/>
                      <a:pt x="409037" y="15507"/>
                      <a:pt x="406878" y="17684"/>
                    </a:cubicBezTo>
                    <a:cubicBezTo>
                      <a:pt x="406878" y="17684"/>
                      <a:pt x="406878" y="17684"/>
                      <a:pt x="16036" y="411615"/>
                    </a:cubicBezTo>
                    <a:cubicBezTo>
                      <a:pt x="13877" y="413791"/>
                      <a:pt x="11717" y="413791"/>
                      <a:pt x="9558" y="411615"/>
                    </a:cubicBezTo>
                    <a:cubicBezTo>
                      <a:pt x="7399" y="409438"/>
                      <a:pt x="7399" y="407262"/>
                      <a:pt x="9558" y="405085"/>
                    </a:cubicBezTo>
                    <a:cubicBezTo>
                      <a:pt x="9558" y="405085"/>
                      <a:pt x="9558" y="405085"/>
                      <a:pt x="400400" y="11154"/>
                    </a:cubicBezTo>
                    <a:close/>
                    <a:moveTo>
                      <a:pt x="274488" y="6397"/>
                    </a:moveTo>
                    <a:cubicBezTo>
                      <a:pt x="276632" y="4216"/>
                      <a:pt x="280922" y="4216"/>
                      <a:pt x="283067" y="6397"/>
                    </a:cubicBezTo>
                    <a:cubicBezTo>
                      <a:pt x="285212" y="6397"/>
                      <a:pt x="285212" y="10760"/>
                      <a:pt x="283067" y="12941"/>
                    </a:cubicBezTo>
                    <a:cubicBezTo>
                      <a:pt x="283067" y="12941"/>
                      <a:pt x="283067" y="12941"/>
                      <a:pt x="12804" y="287785"/>
                    </a:cubicBezTo>
                    <a:cubicBezTo>
                      <a:pt x="10659" y="289966"/>
                      <a:pt x="6369" y="289966"/>
                      <a:pt x="6369" y="287785"/>
                    </a:cubicBezTo>
                    <a:cubicBezTo>
                      <a:pt x="4224" y="285604"/>
                      <a:pt x="4224" y="281241"/>
                      <a:pt x="6369" y="279060"/>
                    </a:cubicBezTo>
                    <a:cubicBezTo>
                      <a:pt x="6369" y="279060"/>
                      <a:pt x="6369" y="279060"/>
                      <a:pt x="274488" y="6397"/>
                    </a:cubicBezTo>
                    <a:close/>
                    <a:moveTo>
                      <a:pt x="363885" y="4806"/>
                    </a:moveTo>
                    <a:cubicBezTo>
                      <a:pt x="366045" y="2628"/>
                      <a:pt x="368205" y="2628"/>
                      <a:pt x="370364" y="4806"/>
                    </a:cubicBezTo>
                    <a:cubicBezTo>
                      <a:pt x="372524" y="6984"/>
                      <a:pt x="372524" y="9162"/>
                      <a:pt x="370364" y="11341"/>
                    </a:cubicBezTo>
                    <a:cubicBezTo>
                      <a:pt x="370364" y="11341"/>
                      <a:pt x="370364" y="11341"/>
                      <a:pt x="9688" y="375100"/>
                    </a:cubicBezTo>
                    <a:cubicBezTo>
                      <a:pt x="7528" y="377278"/>
                      <a:pt x="5368" y="377278"/>
                      <a:pt x="3208" y="375100"/>
                    </a:cubicBezTo>
                    <a:cubicBezTo>
                      <a:pt x="1049" y="372922"/>
                      <a:pt x="1049" y="370744"/>
                      <a:pt x="3208" y="368565"/>
                    </a:cubicBezTo>
                    <a:cubicBezTo>
                      <a:pt x="3208" y="368565"/>
                      <a:pt x="3208" y="368565"/>
                      <a:pt x="363885"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134" name="Group 133">
                <a:extLst>
                  <a:ext uri="{FF2B5EF4-FFF2-40B4-BE49-F238E27FC236}">
                    <a16:creationId xmlns:a16="http://schemas.microsoft.com/office/drawing/2014/main" id="{163F0A91-F689-412B-98EC-7B3FE318842A}"/>
                  </a:ext>
                </a:extLst>
              </p:cNvPr>
              <p:cNvGrpSpPr/>
              <p:nvPr/>
            </p:nvGrpSpPr>
            <p:grpSpPr>
              <a:xfrm rot="16200000">
                <a:off x="9471503" y="2366800"/>
                <a:ext cx="824260" cy="294112"/>
                <a:chOff x="6334760" y="5808663"/>
                <a:chExt cx="1554480" cy="554668"/>
              </a:xfrm>
            </p:grpSpPr>
            <p:sp>
              <p:nvSpPr>
                <p:cNvPr id="135" name="Freeform 189">
                  <a:extLst>
                    <a:ext uri="{FF2B5EF4-FFF2-40B4-BE49-F238E27FC236}">
                      <a16:creationId xmlns:a16="http://schemas.microsoft.com/office/drawing/2014/main" id="{D1E87762-B0FE-4C64-9230-B0F8F7F7AA9B}"/>
                    </a:ext>
                  </a:extLst>
                </p:cNvPr>
                <p:cNvSpPr>
                  <a:spLocks/>
                </p:cNvSpPr>
                <p:nvPr/>
              </p:nvSpPr>
              <p:spPr bwMode="auto">
                <a:xfrm>
                  <a:off x="6334760" y="5808663"/>
                  <a:ext cx="343474" cy="554668"/>
                </a:xfrm>
                <a:custGeom>
                  <a:avLst/>
                  <a:gdLst>
                    <a:gd name="T0" fmla="*/ 0 w 97"/>
                    <a:gd name="T1" fmla="*/ 0 h 157"/>
                    <a:gd name="T2" fmla="*/ 0 w 97"/>
                    <a:gd name="T3" fmla="*/ 157 h 157"/>
                    <a:gd name="T4" fmla="*/ 97 w 97"/>
                    <a:gd name="T5" fmla="*/ 99 h 157"/>
                    <a:gd name="T6" fmla="*/ 97 w 97"/>
                    <a:gd name="T7" fmla="*/ 58 h 157"/>
                    <a:gd name="T8" fmla="*/ 0 w 97"/>
                    <a:gd name="T9" fmla="*/ 0 h 157"/>
                  </a:gdLst>
                  <a:ahLst/>
                  <a:cxnLst>
                    <a:cxn ang="0">
                      <a:pos x="T0" y="T1"/>
                    </a:cxn>
                    <a:cxn ang="0">
                      <a:pos x="T2" y="T3"/>
                    </a:cxn>
                    <a:cxn ang="0">
                      <a:pos x="T4" y="T5"/>
                    </a:cxn>
                    <a:cxn ang="0">
                      <a:pos x="T6" y="T7"/>
                    </a:cxn>
                    <a:cxn ang="0">
                      <a:pos x="T8" y="T9"/>
                    </a:cxn>
                  </a:cxnLst>
                  <a:rect l="0" t="0" r="r" b="b"/>
                  <a:pathLst>
                    <a:path w="97" h="157">
                      <a:moveTo>
                        <a:pt x="0" y="0"/>
                      </a:moveTo>
                      <a:lnTo>
                        <a:pt x="0" y="157"/>
                      </a:lnTo>
                      <a:lnTo>
                        <a:pt x="97" y="99"/>
                      </a:lnTo>
                      <a:lnTo>
                        <a:pt x="97" y="5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191">
                  <a:extLst>
                    <a:ext uri="{FF2B5EF4-FFF2-40B4-BE49-F238E27FC236}">
                      <a16:creationId xmlns:a16="http://schemas.microsoft.com/office/drawing/2014/main" id="{71637918-E746-4159-9DC2-1953C11A9400}"/>
                    </a:ext>
                  </a:extLst>
                </p:cNvPr>
                <p:cNvSpPr>
                  <a:spLocks/>
                </p:cNvSpPr>
                <p:nvPr/>
              </p:nvSpPr>
              <p:spPr bwMode="auto">
                <a:xfrm>
                  <a:off x="6678232" y="5808663"/>
                  <a:ext cx="347014" cy="554668"/>
                </a:xfrm>
                <a:custGeom>
                  <a:avLst/>
                  <a:gdLst>
                    <a:gd name="T0" fmla="*/ 0 w 98"/>
                    <a:gd name="T1" fmla="*/ 0 h 157"/>
                    <a:gd name="T2" fmla="*/ 0 w 98"/>
                    <a:gd name="T3" fmla="*/ 58 h 157"/>
                    <a:gd name="T4" fmla="*/ 37 w 98"/>
                    <a:gd name="T5" fmla="*/ 78 h 157"/>
                    <a:gd name="T6" fmla="*/ 0 w 98"/>
                    <a:gd name="T7" fmla="*/ 99 h 157"/>
                    <a:gd name="T8" fmla="*/ 0 w 98"/>
                    <a:gd name="T9" fmla="*/ 157 h 157"/>
                    <a:gd name="T10" fmla="*/ 98 w 98"/>
                    <a:gd name="T11" fmla="*/ 99 h 157"/>
                    <a:gd name="T12" fmla="*/ 98 w 98"/>
                    <a:gd name="T13" fmla="*/ 58 h 157"/>
                    <a:gd name="T14" fmla="*/ 0 w 98"/>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57">
                      <a:moveTo>
                        <a:pt x="0" y="0"/>
                      </a:moveTo>
                      <a:lnTo>
                        <a:pt x="0" y="58"/>
                      </a:lnTo>
                      <a:lnTo>
                        <a:pt x="37" y="78"/>
                      </a:lnTo>
                      <a:lnTo>
                        <a:pt x="0" y="99"/>
                      </a:lnTo>
                      <a:lnTo>
                        <a:pt x="0" y="157"/>
                      </a:lnTo>
                      <a:lnTo>
                        <a:pt x="98" y="99"/>
                      </a:lnTo>
                      <a:lnTo>
                        <a:pt x="98" y="5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192">
                  <a:extLst>
                    <a:ext uri="{FF2B5EF4-FFF2-40B4-BE49-F238E27FC236}">
                      <a16:creationId xmlns:a16="http://schemas.microsoft.com/office/drawing/2014/main" id="{1D82ED5E-7299-47EF-9D66-FD9D82513D6F}"/>
                    </a:ext>
                  </a:extLst>
                </p:cNvPr>
                <p:cNvSpPr>
                  <a:spLocks/>
                </p:cNvSpPr>
                <p:nvPr/>
              </p:nvSpPr>
              <p:spPr bwMode="auto">
                <a:xfrm>
                  <a:off x="6678232" y="6013572"/>
                  <a:ext cx="131017" cy="144850"/>
                </a:xfrm>
                <a:custGeom>
                  <a:avLst/>
                  <a:gdLst>
                    <a:gd name="T0" fmla="*/ 0 w 37"/>
                    <a:gd name="T1" fmla="*/ 0 h 41"/>
                    <a:gd name="T2" fmla="*/ 0 w 37"/>
                    <a:gd name="T3" fmla="*/ 41 h 41"/>
                    <a:gd name="T4" fmla="*/ 37 w 37"/>
                    <a:gd name="T5" fmla="*/ 20 h 41"/>
                    <a:gd name="T6" fmla="*/ 0 w 37"/>
                    <a:gd name="T7" fmla="*/ 0 h 41"/>
                  </a:gdLst>
                  <a:ahLst/>
                  <a:cxnLst>
                    <a:cxn ang="0">
                      <a:pos x="T0" y="T1"/>
                    </a:cxn>
                    <a:cxn ang="0">
                      <a:pos x="T2" y="T3"/>
                    </a:cxn>
                    <a:cxn ang="0">
                      <a:pos x="T4" y="T5"/>
                    </a:cxn>
                    <a:cxn ang="0">
                      <a:pos x="T6" y="T7"/>
                    </a:cxn>
                  </a:cxnLst>
                  <a:rect l="0" t="0" r="r" b="b"/>
                  <a:pathLst>
                    <a:path w="37" h="41">
                      <a:moveTo>
                        <a:pt x="0" y="0"/>
                      </a:moveTo>
                      <a:lnTo>
                        <a:pt x="0" y="41"/>
                      </a:lnTo>
                      <a:lnTo>
                        <a:pt x="37" y="20"/>
                      </a:lnTo>
                      <a:lnTo>
                        <a:pt x="0" y="0"/>
                      </a:lnTo>
                      <a:close/>
                    </a:path>
                  </a:pathLst>
                </a:custGeom>
                <a:solidFill>
                  <a:srgbClr val="2C8F16"/>
                </a:solidFill>
                <a:ln w="9525">
                  <a:solidFill>
                    <a:srgbClr val="2C8F16"/>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193">
                  <a:extLst>
                    <a:ext uri="{FF2B5EF4-FFF2-40B4-BE49-F238E27FC236}">
                      <a16:creationId xmlns:a16="http://schemas.microsoft.com/office/drawing/2014/main" id="{F7A71B2B-F454-422E-AAA9-C0F104D02165}"/>
                    </a:ext>
                  </a:extLst>
                </p:cNvPr>
                <p:cNvSpPr>
                  <a:spLocks/>
                </p:cNvSpPr>
                <p:nvPr/>
              </p:nvSpPr>
              <p:spPr bwMode="auto">
                <a:xfrm>
                  <a:off x="6678232" y="6013572"/>
                  <a:ext cx="131017" cy="144850"/>
                </a:xfrm>
                <a:custGeom>
                  <a:avLst/>
                  <a:gdLst>
                    <a:gd name="T0" fmla="*/ 0 w 37"/>
                    <a:gd name="T1" fmla="*/ 0 h 41"/>
                    <a:gd name="T2" fmla="*/ 0 w 37"/>
                    <a:gd name="T3" fmla="*/ 41 h 41"/>
                    <a:gd name="T4" fmla="*/ 37 w 37"/>
                    <a:gd name="T5" fmla="*/ 20 h 41"/>
                    <a:gd name="T6" fmla="*/ 0 w 37"/>
                    <a:gd name="T7" fmla="*/ 0 h 41"/>
                  </a:gdLst>
                  <a:ahLst/>
                  <a:cxnLst>
                    <a:cxn ang="0">
                      <a:pos x="T0" y="T1"/>
                    </a:cxn>
                    <a:cxn ang="0">
                      <a:pos x="T2" y="T3"/>
                    </a:cxn>
                    <a:cxn ang="0">
                      <a:pos x="T4" y="T5"/>
                    </a:cxn>
                    <a:cxn ang="0">
                      <a:pos x="T6" y="T7"/>
                    </a:cxn>
                  </a:cxnLst>
                  <a:rect l="0" t="0" r="r" b="b"/>
                  <a:pathLst>
                    <a:path w="37" h="41">
                      <a:moveTo>
                        <a:pt x="0" y="0"/>
                      </a:moveTo>
                      <a:lnTo>
                        <a:pt x="0" y="41"/>
                      </a:lnTo>
                      <a:lnTo>
                        <a:pt x="37" y="20"/>
                      </a:lnTo>
                      <a:lnTo>
                        <a:pt x="0" y="0"/>
                      </a:lnTo>
                    </a:path>
                  </a:pathLst>
                </a:custGeom>
                <a:noFill/>
                <a:ln w="9525">
                  <a:solidFill>
                    <a:srgbClr val="2C8F16"/>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195">
                  <a:extLst>
                    <a:ext uri="{FF2B5EF4-FFF2-40B4-BE49-F238E27FC236}">
                      <a16:creationId xmlns:a16="http://schemas.microsoft.com/office/drawing/2014/main" id="{8DB8FB6F-A367-4BC7-A551-A0D27A7A0C66}"/>
                    </a:ext>
                  </a:extLst>
                </p:cNvPr>
                <p:cNvSpPr>
                  <a:spLocks/>
                </p:cNvSpPr>
                <p:nvPr/>
              </p:nvSpPr>
              <p:spPr bwMode="auto">
                <a:xfrm>
                  <a:off x="7025246" y="5808663"/>
                  <a:ext cx="389506" cy="554668"/>
                </a:xfrm>
                <a:custGeom>
                  <a:avLst/>
                  <a:gdLst>
                    <a:gd name="T0" fmla="*/ 0 w 110"/>
                    <a:gd name="T1" fmla="*/ 0 h 157"/>
                    <a:gd name="T2" fmla="*/ 0 w 110"/>
                    <a:gd name="T3" fmla="*/ 58 h 157"/>
                    <a:gd name="T4" fmla="*/ 36 w 110"/>
                    <a:gd name="T5" fmla="*/ 78 h 157"/>
                    <a:gd name="T6" fmla="*/ 0 w 110"/>
                    <a:gd name="T7" fmla="*/ 99 h 157"/>
                    <a:gd name="T8" fmla="*/ 0 w 110"/>
                    <a:gd name="T9" fmla="*/ 157 h 157"/>
                    <a:gd name="T10" fmla="*/ 110 w 110"/>
                    <a:gd name="T11" fmla="*/ 92 h 157"/>
                    <a:gd name="T12" fmla="*/ 110 w 110"/>
                    <a:gd name="T13" fmla="*/ 65 h 157"/>
                    <a:gd name="T14" fmla="*/ 0 w 110"/>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57">
                      <a:moveTo>
                        <a:pt x="0" y="0"/>
                      </a:moveTo>
                      <a:lnTo>
                        <a:pt x="0" y="58"/>
                      </a:lnTo>
                      <a:lnTo>
                        <a:pt x="36" y="78"/>
                      </a:lnTo>
                      <a:lnTo>
                        <a:pt x="0" y="99"/>
                      </a:lnTo>
                      <a:lnTo>
                        <a:pt x="0" y="157"/>
                      </a:lnTo>
                      <a:lnTo>
                        <a:pt x="110" y="92"/>
                      </a:lnTo>
                      <a:lnTo>
                        <a:pt x="110" y="6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196">
                  <a:extLst>
                    <a:ext uri="{FF2B5EF4-FFF2-40B4-BE49-F238E27FC236}">
                      <a16:creationId xmlns:a16="http://schemas.microsoft.com/office/drawing/2014/main" id="{FB2A68E2-9AD3-40F0-A66E-1ED2A9487E69}"/>
                    </a:ext>
                  </a:extLst>
                </p:cNvPr>
                <p:cNvSpPr>
                  <a:spLocks/>
                </p:cNvSpPr>
                <p:nvPr/>
              </p:nvSpPr>
              <p:spPr bwMode="auto">
                <a:xfrm>
                  <a:off x="7025246" y="6013572"/>
                  <a:ext cx="127475" cy="144850"/>
                </a:xfrm>
                <a:custGeom>
                  <a:avLst/>
                  <a:gdLst>
                    <a:gd name="T0" fmla="*/ 0 w 36"/>
                    <a:gd name="T1" fmla="*/ 0 h 41"/>
                    <a:gd name="T2" fmla="*/ 0 w 36"/>
                    <a:gd name="T3" fmla="*/ 41 h 41"/>
                    <a:gd name="T4" fmla="*/ 36 w 36"/>
                    <a:gd name="T5" fmla="*/ 20 h 41"/>
                    <a:gd name="T6" fmla="*/ 0 w 36"/>
                    <a:gd name="T7" fmla="*/ 0 h 41"/>
                  </a:gdLst>
                  <a:ahLst/>
                  <a:cxnLst>
                    <a:cxn ang="0">
                      <a:pos x="T0" y="T1"/>
                    </a:cxn>
                    <a:cxn ang="0">
                      <a:pos x="T2" y="T3"/>
                    </a:cxn>
                    <a:cxn ang="0">
                      <a:pos x="T4" y="T5"/>
                    </a:cxn>
                    <a:cxn ang="0">
                      <a:pos x="T6" y="T7"/>
                    </a:cxn>
                  </a:cxnLst>
                  <a:rect l="0" t="0" r="r" b="b"/>
                  <a:pathLst>
                    <a:path w="36" h="41">
                      <a:moveTo>
                        <a:pt x="0" y="0"/>
                      </a:moveTo>
                      <a:lnTo>
                        <a:pt x="0" y="41"/>
                      </a:lnTo>
                      <a:lnTo>
                        <a:pt x="36" y="20"/>
                      </a:lnTo>
                      <a:lnTo>
                        <a:pt x="0" y="0"/>
                      </a:lnTo>
                      <a:close/>
                    </a:path>
                  </a:pathLst>
                </a:custGeom>
                <a:solidFill>
                  <a:srgbClr val="2C8F16"/>
                </a:solidFill>
                <a:ln w="9525">
                  <a:solidFill>
                    <a:srgbClr val="2C8F16"/>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97">
                  <a:extLst>
                    <a:ext uri="{FF2B5EF4-FFF2-40B4-BE49-F238E27FC236}">
                      <a16:creationId xmlns:a16="http://schemas.microsoft.com/office/drawing/2014/main" id="{A2A461A3-B76A-4F30-8D5B-3168A78C544F}"/>
                    </a:ext>
                  </a:extLst>
                </p:cNvPr>
                <p:cNvSpPr>
                  <a:spLocks/>
                </p:cNvSpPr>
                <p:nvPr/>
              </p:nvSpPr>
              <p:spPr bwMode="auto">
                <a:xfrm>
                  <a:off x="7025246" y="6013572"/>
                  <a:ext cx="127475" cy="144850"/>
                </a:xfrm>
                <a:custGeom>
                  <a:avLst/>
                  <a:gdLst>
                    <a:gd name="T0" fmla="*/ 0 w 36"/>
                    <a:gd name="T1" fmla="*/ 0 h 41"/>
                    <a:gd name="T2" fmla="*/ 0 w 36"/>
                    <a:gd name="T3" fmla="*/ 41 h 41"/>
                    <a:gd name="T4" fmla="*/ 36 w 36"/>
                    <a:gd name="T5" fmla="*/ 20 h 41"/>
                    <a:gd name="T6" fmla="*/ 0 w 36"/>
                    <a:gd name="T7" fmla="*/ 0 h 41"/>
                  </a:gdLst>
                  <a:ahLst/>
                  <a:cxnLst>
                    <a:cxn ang="0">
                      <a:pos x="T0" y="T1"/>
                    </a:cxn>
                    <a:cxn ang="0">
                      <a:pos x="T2" y="T3"/>
                    </a:cxn>
                    <a:cxn ang="0">
                      <a:pos x="T4" y="T5"/>
                    </a:cxn>
                    <a:cxn ang="0">
                      <a:pos x="T6" y="T7"/>
                    </a:cxn>
                  </a:cxnLst>
                  <a:rect l="0" t="0" r="r" b="b"/>
                  <a:pathLst>
                    <a:path w="36" h="41">
                      <a:moveTo>
                        <a:pt x="0" y="0"/>
                      </a:moveTo>
                      <a:lnTo>
                        <a:pt x="0" y="41"/>
                      </a:lnTo>
                      <a:lnTo>
                        <a:pt x="36" y="20"/>
                      </a:lnTo>
                      <a:lnTo>
                        <a:pt x="0" y="0"/>
                      </a:lnTo>
                    </a:path>
                  </a:pathLst>
                </a:custGeom>
                <a:noFill/>
                <a:ln w="9525">
                  <a:solidFill>
                    <a:srgbClr val="2C8F16"/>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199">
                  <a:extLst>
                    <a:ext uri="{FF2B5EF4-FFF2-40B4-BE49-F238E27FC236}">
                      <a16:creationId xmlns:a16="http://schemas.microsoft.com/office/drawing/2014/main" id="{CE789AE6-ADEE-4754-9B2B-E77C06E206E1}"/>
                    </a:ext>
                  </a:extLst>
                </p:cNvPr>
                <p:cNvSpPr>
                  <a:spLocks/>
                </p:cNvSpPr>
                <p:nvPr/>
              </p:nvSpPr>
              <p:spPr bwMode="auto">
                <a:xfrm>
                  <a:off x="7414751" y="5808663"/>
                  <a:ext cx="474489" cy="554668"/>
                </a:xfrm>
                <a:custGeom>
                  <a:avLst/>
                  <a:gdLst>
                    <a:gd name="T0" fmla="*/ 0 w 134"/>
                    <a:gd name="T1" fmla="*/ 0 h 157"/>
                    <a:gd name="T2" fmla="*/ 0 w 134"/>
                    <a:gd name="T3" fmla="*/ 65 h 157"/>
                    <a:gd name="T4" fmla="*/ 23 w 134"/>
                    <a:gd name="T5" fmla="*/ 78 h 157"/>
                    <a:gd name="T6" fmla="*/ 0 w 134"/>
                    <a:gd name="T7" fmla="*/ 92 h 157"/>
                    <a:gd name="T8" fmla="*/ 0 w 134"/>
                    <a:gd name="T9" fmla="*/ 157 h 157"/>
                    <a:gd name="T10" fmla="*/ 134 w 134"/>
                    <a:gd name="T11" fmla="*/ 78 h 157"/>
                    <a:gd name="T12" fmla="*/ 0 w 134"/>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134" h="157">
                      <a:moveTo>
                        <a:pt x="0" y="0"/>
                      </a:moveTo>
                      <a:lnTo>
                        <a:pt x="0" y="65"/>
                      </a:lnTo>
                      <a:lnTo>
                        <a:pt x="23" y="78"/>
                      </a:lnTo>
                      <a:lnTo>
                        <a:pt x="0" y="92"/>
                      </a:lnTo>
                      <a:lnTo>
                        <a:pt x="0" y="157"/>
                      </a:lnTo>
                      <a:lnTo>
                        <a:pt x="134" y="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200">
                  <a:extLst>
                    <a:ext uri="{FF2B5EF4-FFF2-40B4-BE49-F238E27FC236}">
                      <a16:creationId xmlns:a16="http://schemas.microsoft.com/office/drawing/2014/main" id="{344BE369-D39C-411E-8450-9A4E6B032697}"/>
                    </a:ext>
                  </a:extLst>
                </p:cNvPr>
                <p:cNvSpPr>
                  <a:spLocks/>
                </p:cNvSpPr>
                <p:nvPr/>
              </p:nvSpPr>
              <p:spPr bwMode="auto">
                <a:xfrm>
                  <a:off x="7414751" y="6038303"/>
                  <a:ext cx="81443" cy="95390"/>
                </a:xfrm>
                <a:custGeom>
                  <a:avLst/>
                  <a:gdLst>
                    <a:gd name="T0" fmla="*/ 0 w 23"/>
                    <a:gd name="T1" fmla="*/ 0 h 27"/>
                    <a:gd name="T2" fmla="*/ 0 w 23"/>
                    <a:gd name="T3" fmla="*/ 27 h 27"/>
                    <a:gd name="T4" fmla="*/ 23 w 23"/>
                    <a:gd name="T5" fmla="*/ 13 h 27"/>
                    <a:gd name="T6" fmla="*/ 0 w 23"/>
                    <a:gd name="T7" fmla="*/ 0 h 27"/>
                  </a:gdLst>
                  <a:ahLst/>
                  <a:cxnLst>
                    <a:cxn ang="0">
                      <a:pos x="T0" y="T1"/>
                    </a:cxn>
                    <a:cxn ang="0">
                      <a:pos x="T2" y="T3"/>
                    </a:cxn>
                    <a:cxn ang="0">
                      <a:pos x="T4" y="T5"/>
                    </a:cxn>
                    <a:cxn ang="0">
                      <a:pos x="T6" y="T7"/>
                    </a:cxn>
                  </a:cxnLst>
                  <a:rect l="0" t="0" r="r" b="b"/>
                  <a:pathLst>
                    <a:path w="23" h="27">
                      <a:moveTo>
                        <a:pt x="0" y="0"/>
                      </a:moveTo>
                      <a:lnTo>
                        <a:pt x="0" y="27"/>
                      </a:lnTo>
                      <a:lnTo>
                        <a:pt x="23" y="13"/>
                      </a:lnTo>
                      <a:lnTo>
                        <a:pt x="0" y="0"/>
                      </a:lnTo>
                      <a:close/>
                    </a:path>
                  </a:pathLst>
                </a:custGeom>
                <a:solidFill>
                  <a:srgbClr val="2C8F16"/>
                </a:solidFill>
                <a:ln w="9525">
                  <a:solidFill>
                    <a:srgbClr val="2C8F16"/>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201">
                  <a:extLst>
                    <a:ext uri="{FF2B5EF4-FFF2-40B4-BE49-F238E27FC236}">
                      <a16:creationId xmlns:a16="http://schemas.microsoft.com/office/drawing/2014/main" id="{12CE1E2D-4E92-4A48-949A-699712A5407B}"/>
                    </a:ext>
                  </a:extLst>
                </p:cNvPr>
                <p:cNvSpPr>
                  <a:spLocks/>
                </p:cNvSpPr>
                <p:nvPr/>
              </p:nvSpPr>
              <p:spPr bwMode="auto">
                <a:xfrm>
                  <a:off x="7414751" y="6038303"/>
                  <a:ext cx="81443" cy="95390"/>
                </a:xfrm>
                <a:custGeom>
                  <a:avLst/>
                  <a:gdLst>
                    <a:gd name="T0" fmla="*/ 0 w 23"/>
                    <a:gd name="T1" fmla="*/ 0 h 27"/>
                    <a:gd name="T2" fmla="*/ 0 w 23"/>
                    <a:gd name="T3" fmla="*/ 27 h 27"/>
                    <a:gd name="T4" fmla="*/ 23 w 23"/>
                    <a:gd name="T5" fmla="*/ 13 h 27"/>
                    <a:gd name="T6" fmla="*/ 0 w 23"/>
                    <a:gd name="T7" fmla="*/ 0 h 27"/>
                  </a:gdLst>
                  <a:ahLst/>
                  <a:cxnLst>
                    <a:cxn ang="0">
                      <a:pos x="T0" y="T1"/>
                    </a:cxn>
                    <a:cxn ang="0">
                      <a:pos x="T2" y="T3"/>
                    </a:cxn>
                    <a:cxn ang="0">
                      <a:pos x="T4" y="T5"/>
                    </a:cxn>
                    <a:cxn ang="0">
                      <a:pos x="T6" y="T7"/>
                    </a:cxn>
                  </a:cxnLst>
                  <a:rect l="0" t="0" r="r" b="b"/>
                  <a:pathLst>
                    <a:path w="23" h="27">
                      <a:moveTo>
                        <a:pt x="0" y="0"/>
                      </a:moveTo>
                      <a:lnTo>
                        <a:pt x="0" y="27"/>
                      </a:lnTo>
                      <a:lnTo>
                        <a:pt x="23" y="13"/>
                      </a:lnTo>
                      <a:lnTo>
                        <a:pt x="0" y="0"/>
                      </a:lnTo>
                    </a:path>
                  </a:pathLst>
                </a:custGeom>
                <a:noFill/>
                <a:ln w="9525">
                  <a:solidFill>
                    <a:srgbClr val="2C8F16"/>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188">
                  <a:extLst>
                    <a:ext uri="{FF2B5EF4-FFF2-40B4-BE49-F238E27FC236}">
                      <a16:creationId xmlns:a16="http://schemas.microsoft.com/office/drawing/2014/main" id="{1559F81E-DA18-41B9-BE1F-6B6FA6443967}"/>
                    </a:ext>
                  </a:extLst>
                </p:cNvPr>
                <p:cNvSpPr>
                  <a:spLocks/>
                </p:cNvSpPr>
                <p:nvPr/>
              </p:nvSpPr>
              <p:spPr bwMode="auto">
                <a:xfrm>
                  <a:off x="6334760" y="5808663"/>
                  <a:ext cx="343474" cy="554668"/>
                </a:xfrm>
                <a:custGeom>
                  <a:avLst/>
                  <a:gdLst>
                    <a:gd name="T0" fmla="*/ 0 w 97"/>
                    <a:gd name="T1" fmla="*/ 0 h 157"/>
                    <a:gd name="T2" fmla="*/ 0 w 97"/>
                    <a:gd name="T3" fmla="*/ 157 h 157"/>
                    <a:gd name="T4" fmla="*/ 97 w 97"/>
                    <a:gd name="T5" fmla="*/ 99 h 157"/>
                    <a:gd name="T6" fmla="*/ 97 w 97"/>
                    <a:gd name="T7" fmla="*/ 58 h 157"/>
                    <a:gd name="T8" fmla="*/ 0 w 97"/>
                    <a:gd name="T9" fmla="*/ 0 h 157"/>
                  </a:gdLst>
                  <a:ahLst/>
                  <a:cxnLst>
                    <a:cxn ang="0">
                      <a:pos x="T0" y="T1"/>
                    </a:cxn>
                    <a:cxn ang="0">
                      <a:pos x="T2" y="T3"/>
                    </a:cxn>
                    <a:cxn ang="0">
                      <a:pos x="T4" y="T5"/>
                    </a:cxn>
                    <a:cxn ang="0">
                      <a:pos x="T6" y="T7"/>
                    </a:cxn>
                    <a:cxn ang="0">
                      <a:pos x="T8" y="T9"/>
                    </a:cxn>
                  </a:cxnLst>
                  <a:rect l="0" t="0" r="r" b="b"/>
                  <a:pathLst>
                    <a:path w="97" h="157">
                      <a:moveTo>
                        <a:pt x="0" y="0"/>
                      </a:moveTo>
                      <a:lnTo>
                        <a:pt x="0" y="157"/>
                      </a:lnTo>
                      <a:lnTo>
                        <a:pt x="97" y="99"/>
                      </a:lnTo>
                      <a:lnTo>
                        <a:pt x="97" y="58"/>
                      </a:lnTo>
                      <a:lnTo>
                        <a:pt x="0" y="0"/>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190">
                  <a:extLst>
                    <a:ext uri="{FF2B5EF4-FFF2-40B4-BE49-F238E27FC236}">
                      <a16:creationId xmlns:a16="http://schemas.microsoft.com/office/drawing/2014/main" id="{08AC8B4F-79A4-4BF5-B62C-7138863E0D1D}"/>
                    </a:ext>
                  </a:extLst>
                </p:cNvPr>
                <p:cNvSpPr>
                  <a:spLocks/>
                </p:cNvSpPr>
                <p:nvPr/>
              </p:nvSpPr>
              <p:spPr bwMode="auto">
                <a:xfrm>
                  <a:off x="6678232" y="5808663"/>
                  <a:ext cx="347014" cy="554668"/>
                </a:xfrm>
                <a:custGeom>
                  <a:avLst/>
                  <a:gdLst>
                    <a:gd name="T0" fmla="*/ 0 w 98"/>
                    <a:gd name="T1" fmla="*/ 0 h 157"/>
                    <a:gd name="T2" fmla="*/ 0 w 98"/>
                    <a:gd name="T3" fmla="*/ 58 h 157"/>
                    <a:gd name="T4" fmla="*/ 37 w 98"/>
                    <a:gd name="T5" fmla="*/ 78 h 157"/>
                    <a:gd name="T6" fmla="*/ 0 w 98"/>
                    <a:gd name="T7" fmla="*/ 99 h 157"/>
                    <a:gd name="T8" fmla="*/ 0 w 98"/>
                    <a:gd name="T9" fmla="*/ 157 h 157"/>
                    <a:gd name="T10" fmla="*/ 98 w 98"/>
                    <a:gd name="T11" fmla="*/ 99 h 157"/>
                    <a:gd name="T12" fmla="*/ 98 w 98"/>
                    <a:gd name="T13" fmla="*/ 58 h 157"/>
                    <a:gd name="T14" fmla="*/ 0 w 98"/>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57">
                      <a:moveTo>
                        <a:pt x="0" y="0"/>
                      </a:moveTo>
                      <a:lnTo>
                        <a:pt x="0" y="58"/>
                      </a:lnTo>
                      <a:lnTo>
                        <a:pt x="37" y="78"/>
                      </a:lnTo>
                      <a:lnTo>
                        <a:pt x="0" y="99"/>
                      </a:lnTo>
                      <a:lnTo>
                        <a:pt x="0" y="157"/>
                      </a:lnTo>
                      <a:lnTo>
                        <a:pt x="98" y="99"/>
                      </a:lnTo>
                      <a:lnTo>
                        <a:pt x="98" y="58"/>
                      </a:lnTo>
                      <a:lnTo>
                        <a:pt x="0" y="0"/>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194">
                  <a:extLst>
                    <a:ext uri="{FF2B5EF4-FFF2-40B4-BE49-F238E27FC236}">
                      <a16:creationId xmlns:a16="http://schemas.microsoft.com/office/drawing/2014/main" id="{FEBDC839-DD91-4E5B-A8C3-DD59506A73A9}"/>
                    </a:ext>
                  </a:extLst>
                </p:cNvPr>
                <p:cNvSpPr>
                  <a:spLocks/>
                </p:cNvSpPr>
                <p:nvPr/>
              </p:nvSpPr>
              <p:spPr bwMode="auto">
                <a:xfrm>
                  <a:off x="7025246" y="5808663"/>
                  <a:ext cx="389506" cy="554668"/>
                </a:xfrm>
                <a:custGeom>
                  <a:avLst/>
                  <a:gdLst>
                    <a:gd name="T0" fmla="*/ 0 w 110"/>
                    <a:gd name="T1" fmla="*/ 0 h 157"/>
                    <a:gd name="T2" fmla="*/ 0 w 110"/>
                    <a:gd name="T3" fmla="*/ 58 h 157"/>
                    <a:gd name="T4" fmla="*/ 36 w 110"/>
                    <a:gd name="T5" fmla="*/ 78 h 157"/>
                    <a:gd name="T6" fmla="*/ 0 w 110"/>
                    <a:gd name="T7" fmla="*/ 99 h 157"/>
                    <a:gd name="T8" fmla="*/ 0 w 110"/>
                    <a:gd name="T9" fmla="*/ 157 h 157"/>
                    <a:gd name="T10" fmla="*/ 110 w 110"/>
                    <a:gd name="T11" fmla="*/ 92 h 157"/>
                    <a:gd name="T12" fmla="*/ 110 w 110"/>
                    <a:gd name="T13" fmla="*/ 65 h 157"/>
                    <a:gd name="T14" fmla="*/ 0 w 110"/>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57">
                      <a:moveTo>
                        <a:pt x="0" y="0"/>
                      </a:moveTo>
                      <a:lnTo>
                        <a:pt x="0" y="58"/>
                      </a:lnTo>
                      <a:lnTo>
                        <a:pt x="36" y="78"/>
                      </a:lnTo>
                      <a:lnTo>
                        <a:pt x="0" y="99"/>
                      </a:lnTo>
                      <a:lnTo>
                        <a:pt x="0" y="157"/>
                      </a:lnTo>
                      <a:lnTo>
                        <a:pt x="110" y="92"/>
                      </a:lnTo>
                      <a:lnTo>
                        <a:pt x="110" y="65"/>
                      </a:lnTo>
                      <a:lnTo>
                        <a:pt x="0" y="0"/>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198">
                  <a:extLst>
                    <a:ext uri="{FF2B5EF4-FFF2-40B4-BE49-F238E27FC236}">
                      <a16:creationId xmlns:a16="http://schemas.microsoft.com/office/drawing/2014/main" id="{71DA3B7B-5B91-4EBF-BA2D-F7FC2CD32C5B}"/>
                    </a:ext>
                  </a:extLst>
                </p:cNvPr>
                <p:cNvSpPr>
                  <a:spLocks/>
                </p:cNvSpPr>
                <p:nvPr/>
              </p:nvSpPr>
              <p:spPr bwMode="auto">
                <a:xfrm>
                  <a:off x="7414751" y="5808663"/>
                  <a:ext cx="474489" cy="554668"/>
                </a:xfrm>
                <a:custGeom>
                  <a:avLst/>
                  <a:gdLst>
                    <a:gd name="T0" fmla="*/ 0 w 134"/>
                    <a:gd name="T1" fmla="*/ 0 h 157"/>
                    <a:gd name="T2" fmla="*/ 0 w 134"/>
                    <a:gd name="T3" fmla="*/ 65 h 157"/>
                    <a:gd name="T4" fmla="*/ 23 w 134"/>
                    <a:gd name="T5" fmla="*/ 78 h 157"/>
                    <a:gd name="T6" fmla="*/ 0 w 134"/>
                    <a:gd name="T7" fmla="*/ 92 h 157"/>
                    <a:gd name="T8" fmla="*/ 0 w 134"/>
                    <a:gd name="T9" fmla="*/ 157 h 157"/>
                    <a:gd name="T10" fmla="*/ 134 w 134"/>
                    <a:gd name="T11" fmla="*/ 78 h 157"/>
                    <a:gd name="T12" fmla="*/ 0 w 134"/>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134" h="157">
                      <a:moveTo>
                        <a:pt x="0" y="0"/>
                      </a:moveTo>
                      <a:lnTo>
                        <a:pt x="0" y="65"/>
                      </a:lnTo>
                      <a:lnTo>
                        <a:pt x="23" y="78"/>
                      </a:lnTo>
                      <a:lnTo>
                        <a:pt x="0" y="92"/>
                      </a:lnTo>
                      <a:lnTo>
                        <a:pt x="0" y="157"/>
                      </a:lnTo>
                      <a:lnTo>
                        <a:pt x="134" y="78"/>
                      </a:lnTo>
                      <a:lnTo>
                        <a:pt x="0" y="0"/>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9" name="Freeform: Shape 148">
                <a:extLst>
                  <a:ext uri="{FF2B5EF4-FFF2-40B4-BE49-F238E27FC236}">
                    <a16:creationId xmlns:a16="http://schemas.microsoft.com/office/drawing/2014/main" id="{7CF464B6-196D-4513-9B57-3CAEEE6A1CA0}"/>
                  </a:ext>
                </a:extLst>
              </p:cNvPr>
              <p:cNvSpPr>
                <a:spLocks noChangeAspect="1"/>
              </p:cNvSpPr>
              <p:nvPr/>
            </p:nvSpPr>
            <p:spPr>
              <a:xfrm rot="10800000">
                <a:off x="9789477" y="1684153"/>
                <a:ext cx="1413242" cy="274320"/>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gradFill flip="none" rotWithShape="1">
                <a:gsLst>
                  <a:gs pos="0">
                    <a:srgbClr val="00BCEB">
                      <a:alpha val="0"/>
                    </a:srgbClr>
                  </a:gs>
                  <a:gs pos="100000">
                    <a:srgbClr val="00BCEB"/>
                  </a:gs>
                </a:gsLst>
                <a:lin ang="0" scaled="1"/>
                <a:tileRect/>
              </a:gra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D274D"/>
                  </a:solidFill>
                  <a:effectLst/>
                  <a:uLnTx/>
                  <a:uFillTx/>
                  <a:ea typeface="+mn-ea"/>
                  <a:cs typeface="+mn-cs"/>
                </a:endParaRPr>
              </a:p>
            </p:txBody>
          </p:sp>
        </p:grpSp>
      </p:grpSp>
      <p:sp>
        <p:nvSpPr>
          <p:cNvPr id="2" name="Footer Placeholder 1">
            <a:extLst>
              <a:ext uri="{FF2B5EF4-FFF2-40B4-BE49-F238E27FC236}">
                <a16:creationId xmlns:a16="http://schemas.microsoft.com/office/drawing/2014/main" id="{F3B8F784-E54D-4596-AE95-BEE4367DA1A5}"/>
              </a:ext>
            </a:extLst>
          </p:cNvPr>
          <p:cNvSpPr>
            <a:spLocks noGrp="1"/>
          </p:cNvSpPr>
          <p:nvPr>
            <p:ph type="ftr" sz="quarter" idx="10"/>
          </p:nvPr>
        </p:nvSpPr>
        <p:spPr/>
        <p:txBody>
          <a:bodyPr/>
          <a:lstStyle/>
          <a:p>
            <a:r>
              <a:rPr lang="en-US" dirty="0"/>
              <a:t>© 2020 Cisco and/or its affiliates. All rights reserved. Cisco Confidential</a:t>
            </a:r>
          </a:p>
        </p:txBody>
      </p:sp>
      <p:sp>
        <p:nvSpPr>
          <p:cNvPr id="97" name="Title 1">
            <a:extLst>
              <a:ext uri="{FF2B5EF4-FFF2-40B4-BE49-F238E27FC236}">
                <a16:creationId xmlns:a16="http://schemas.microsoft.com/office/drawing/2014/main" id="{6568BD5C-8628-4B56-A74B-9ED13FBE5B7A}"/>
              </a:ext>
            </a:extLst>
          </p:cNvPr>
          <p:cNvSpPr>
            <a:spLocks noGrp="1"/>
          </p:cNvSpPr>
          <p:nvPr>
            <p:ph type="title"/>
          </p:nvPr>
        </p:nvSpPr>
        <p:spPr>
          <a:xfrm>
            <a:off x="533400" y="481807"/>
            <a:ext cx="11127317" cy="403828"/>
          </a:xfrm>
        </p:spPr>
        <p:txBody>
          <a:bodyPr/>
          <a:lstStyle/>
          <a:p>
            <a:r>
              <a:rPr lang="en-US" sz="3200" dirty="0"/>
              <a:t>With benefits for both employers and employees…</a:t>
            </a:r>
          </a:p>
        </p:txBody>
      </p:sp>
    </p:spTree>
    <p:extLst>
      <p:ext uri="{BB962C8B-B14F-4D97-AF65-F5344CB8AC3E}">
        <p14:creationId xmlns:p14="http://schemas.microsoft.com/office/powerpoint/2010/main" val="33489386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5" name="Freeform: Shape 1354">
            <a:extLst>
              <a:ext uri="{FF2B5EF4-FFF2-40B4-BE49-F238E27FC236}">
                <a16:creationId xmlns:a16="http://schemas.microsoft.com/office/drawing/2014/main" id="{6659CF94-A7EA-44F9-8F13-065127D8D56E}"/>
              </a:ext>
            </a:extLst>
          </p:cNvPr>
          <p:cNvSpPr/>
          <p:nvPr/>
        </p:nvSpPr>
        <p:spPr>
          <a:xfrm rot="4500000">
            <a:off x="873906" y="3756767"/>
            <a:ext cx="1118426" cy="1102990"/>
          </a:xfrm>
          <a:custGeom>
            <a:avLst/>
            <a:gdLst>
              <a:gd name="connsiteX0" fmla="*/ 102671 w 593847"/>
              <a:gd name="connsiteY0" fmla="*/ 577940 h 585652"/>
              <a:gd name="connsiteX1" fmla="*/ 109901 w 593847"/>
              <a:gd name="connsiteY1" fmla="*/ 581314 h 585652"/>
              <a:gd name="connsiteX2" fmla="*/ 93994 w 593847"/>
              <a:gd name="connsiteY2" fmla="*/ 583242 h 585652"/>
              <a:gd name="connsiteX3" fmla="*/ 102671 w 593847"/>
              <a:gd name="connsiteY3" fmla="*/ 577940 h 585652"/>
              <a:gd name="connsiteX4" fmla="*/ 70375 w 593847"/>
              <a:gd name="connsiteY4" fmla="*/ 577940 h 585652"/>
              <a:gd name="connsiteX5" fmla="*/ 79534 w 593847"/>
              <a:gd name="connsiteY5" fmla="*/ 584206 h 585652"/>
              <a:gd name="connsiteX6" fmla="*/ 60735 w 593847"/>
              <a:gd name="connsiteY6" fmla="*/ 585170 h 585652"/>
              <a:gd name="connsiteX7" fmla="*/ 70375 w 593847"/>
              <a:gd name="connsiteY7" fmla="*/ 577940 h 585652"/>
              <a:gd name="connsiteX8" fmla="*/ 37598 w 593847"/>
              <a:gd name="connsiteY8" fmla="*/ 577940 h 585652"/>
              <a:gd name="connsiteX9" fmla="*/ 47239 w 593847"/>
              <a:gd name="connsiteY9" fmla="*/ 585652 h 585652"/>
              <a:gd name="connsiteX10" fmla="*/ 40972 w 593847"/>
              <a:gd name="connsiteY10" fmla="*/ 585652 h 585652"/>
              <a:gd name="connsiteX11" fmla="*/ 28440 w 593847"/>
              <a:gd name="connsiteY11" fmla="*/ 583724 h 585652"/>
              <a:gd name="connsiteX12" fmla="*/ 37598 w 593847"/>
              <a:gd name="connsiteY12" fmla="*/ 577940 h 585652"/>
              <a:gd name="connsiteX13" fmla="*/ 199556 w 593847"/>
              <a:gd name="connsiteY13" fmla="*/ 546610 h 585652"/>
              <a:gd name="connsiteX14" fmla="*/ 209679 w 593847"/>
              <a:gd name="connsiteY14" fmla="*/ 555768 h 585652"/>
              <a:gd name="connsiteX15" fmla="*/ 208715 w 593847"/>
              <a:gd name="connsiteY15" fmla="*/ 560106 h 585652"/>
              <a:gd name="connsiteX16" fmla="*/ 194736 w 593847"/>
              <a:gd name="connsiteY16" fmla="*/ 564444 h 585652"/>
              <a:gd name="connsiteX17" fmla="*/ 189916 w 593847"/>
              <a:gd name="connsiteY17" fmla="*/ 556250 h 585652"/>
              <a:gd name="connsiteX18" fmla="*/ 199556 w 593847"/>
              <a:gd name="connsiteY18" fmla="*/ 546610 h 585652"/>
              <a:gd name="connsiteX19" fmla="*/ 232333 w 593847"/>
              <a:gd name="connsiteY19" fmla="*/ 546127 h 585652"/>
              <a:gd name="connsiteX20" fmla="*/ 239564 w 593847"/>
              <a:gd name="connsiteY20" fmla="*/ 549019 h 585652"/>
              <a:gd name="connsiteX21" fmla="*/ 222693 w 593847"/>
              <a:gd name="connsiteY21" fmla="*/ 555285 h 585652"/>
              <a:gd name="connsiteX22" fmla="*/ 232333 w 593847"/>
              <a:gd name="connsiteY22" fmla="*/ 546127 h 585652"/>
              <a:gd name="connsiteX23" fmla="*/ 167261 w 593847"/>
              <a:gd name="connsiteY23" fmla="*/ 546127 h 585652"/>
              <a:gd name="connsiteX24" fmla="*/ 176902 w 593847"/>
              <a:gd name="connsiteY24" fmla="*/ 555767 h 585652"/>
              <a:gd name="connsiteX25" fmla="*/ 167261 w 593847"/>
              <a:gd name="connsiteY25" fmla="*/ 565408 h 585652"/>
              <a:gd name="connsiteX26" fmla="*/ 157621 w 593847"/>
              <a:gd name="connsiteY26" fmla="*/ 555767 h 585652"/>
              <a:gd name="connsiteX27" fmla="*/ 167261 w 593847"/>
              <a:gd name="connsiteY27" fmla="*/ 546127 h 585652"/>
              <a:gd name="connsiteX28" fmla="*/ 134965 w 593847"/>
              <a:gd name="connsiteY28" fmla="*/ 546127 h 585652"/>
              <a:gd name="connsiteX29" fmla="*/ 144606 w 593847"/>
              <a:gd name="connsiteY29" fmla="*/ 555767 h 585652"/>
              <a:gd name="connsiteX30" fmla="*/ 134965 w 593847"/>
              <a:gd name="connsiteY30" fmla="*/ 565408 h 585652"/>
              <a:gd name="connsiteX31" fmla="*/ 125325 w 593847"/>
              <a:gd name="connsiteY31" fmla="*/ 555767 h 585652"/>
              <a:gd name="connsiteX32" fmla="*/ 134965 w 593847"/>
              <a:gd name="connsiteY32" fmla="*/ 546127 h 585652"/>
              <a:gd name="connsiteX33" fmla="*/ 102670 w 593847"/>
              <a:gd name="connsiteY33" fmla="*/ 546127 h 585652"/>
              <a:gd name="connsiteX34" fmla="*/ 112311 w 593847"/>
              <a:gd name="connsiteY34" fmla="*/ 555767 h 585652"/>
              <a:gd name="connsiteX35" fmla="*/ 102670 w 593847"/>
              <a:gd name="connsiteY35" fmla="*/ 565408 h 585652"/>
              <a:gd name="connsiteX36" fmla="*/ 93030 w 593847"/>
              <a:gd name="connsiteY36" fmla="*/ 555767 h 585652"/>
              <a:gd name="connsiteX37" fmla="*/ 102670 w 593847"/>
              <a:gd name="connsiteY37" fmla="*/ 546127 h 585652"/>
              <a:gd name="connsiteX38" fmla="*/ 70375 w 593847"/>
              <a:gd name="connsiteY38" fmla="*/ 546127 h 585652"/>
              <a:gd name="connsiteX39" fmla="*/ 80016 w 593847"/>
              <a:gd name="connsiteY39" fmla="*/ 555767 h 585652"/>
              <a:gd name="connsiteX40" fmla="*/ 70375 w 593847"/>
              <a:gd name="connsiteY40" fmla="*/ 565408 h 585652"/>
              <a:gd name="connsiteX41" fmla="*/ 60735 w 593847"/>
              <a:gd name="connsiteY41" fmla="*/ 555767 h 585652"/>
              <a:gd name="connsiteX42" fmla="*/ 70375 w 593847"/>
              <a:gd name="connsiteY42" fmla="*/ 546127 h 585652"/>
              <a:gd name="connsiteX43" fmla="*/ 38080 w 593847"/>
              <a:gd name="connsiteY43" fmla="*/ 546127 h 585652"/>
              <a:gd name="connsiteX44" fmla="*/ 47721 w 593847"/>
              <a:gd name="connsiteY44" fmla="*/ 555767 h 585652"/>
              <a:gd name="connsiteX45" fmla="*/ 38080 w 593847"/>
              <a:gd name="connsiteY45" fmla="*/ 565408 h 585652"/>
              <a:gd name="connsiteX46" fmla="*/ 28440 w 593847"/>
              <a:gd name="connsiteY46" fmla="*/ 555767 h 585652"/>
              <a:gd name="connsiteX47" fmla="*/ 38080 w 593847"/>
              <a:gd name="connsiteY47" fmla="*/ 546127 h 585652"/>
              <a:gd name="connsiteX48" fmla="*/ 5303 w 593847"/>
              <a:gd name="connsiteY48" fmla="*/ 545645 h 585652"/>
              <a:gd name="connsiteX49" fmla="*/ 14944 w 593847"/>
              <a:gd name="connsiteY49" fmla="*/ 555767 h 585652"/>
              <a:gd name="connsiteX50" fmla="*/ 6267 w 593847"/>
              <a:gd name="connsiteY50" fmla="*/ 565408 h 585652"/>
              <a:gd name="connsiteX51" fmla="*/ 483 w 593847"/>
              <a:gd name="connsiteY51" fmla="*/ 547091 h 585652"/>
              <a:gd name="connsiteX52" fmla="*/ 5303 w 593847"/>
              <a:gd name="connsiteY52" fmla="*/ 545645 h 585652"/>
              <a:gd name="connsiteX53" fmla="*/ 296924 w 593847"/>
              <a:gd name="connsiteY53" fmla="*/ 514314 h 585652"/>
              <a:gd name="connsiteX54" fmla="*/ 305601 w 593847"/>
              <a:gd name="connsiteY54" fmla="*/ 518652 h 585652"/>
              <a:gd name="connsiteX55" fmla="*/ 288248 w 593847"/>
              <a:gd name="connsiteY55" fmla="*/ 527810 h 585652"/>
              <a:gd name="connsiteX56" fmla="*/ 287284 w 593847"/>
              <a:gd name="connsiteY56" fmla="*/ 523954 h 585652"/>
              <a:gd name="connsiteX57" fmla="*/ 296924 w 593847"/>
              <a:gd name="connsiteY57" fmla="*/ 514314 h 585652"/>
              <a:gd name="connsiteX58" fmla="*/ 264628 w 593847"/>
              <a:gd name="connsiteY58" fmla="*/ 513832 h 585652"/>
              <a:gd name="connsiteX59" fmla="*/ 274269 w 593847"/>
              <a:gd name="connsiteY59" fmla="*/ 523472 h 585652"/>
              <a:gd name="connsiteX60" fmla="*/ 264628 w 593847"/>
              <a:gd name="connsiteY60" fmla="*/ 533113 h 585652"/>
              <a:gd name="connsiteX61" fmla="*/ 254988 w 593847"/>
              <a:gd name="connsiteY61" fmla="*/ 523472 h 585652"/>
              <a:gd name="connsiteX62" fmla="*/ 264628 w 593847"/>
              <a:gd name="connsiteY62" fmla="*/ 513832 h 585652"/>
              <a:gd name="connsiteX63" fmla="*/ 232333 w 593847"/>
              <a:gd name="connsiteY63" fmla="*/ 513832 h 585652"/>
              <a:gd name="connsiteX64" fmla="*/ 241974 w 593847"/>
              <a:gd name="connsiteY64" fmla="*/ 523472 h 585652"/>
              <a:gd name="connsiteX65" fmla="*/ 232333 w 593847"/>
              <a:gd name="connsiteY65" fmla="*/ 533113 h 585652"/>
              <a:gd name="connsiteX66" fmla="*/ 222693 w 593847"/>
              <a:gd name="connsiteY66" fmla="*/ 523472 h 585652"/>
              <a:gd name="connsiteX67" fmla="*/ 232333 w 593847"/>
              <a:gd name="connsiteY67" fmla="*/ 513832 h 585652"/>
              <a:gd name="connsiteX68" fmla="*/ 200038 w 593847"/>
              <a:gd name="connsiteY68" fmla="*/ 513832 h 585652"/>
              <a:gd name="connsiteX69" fmla="*/ 209679 w 593847"/>
              <a:gd name="connsiteY69" fmla="*/ 523472 h 585652"/>
              <a:gd name="connsiteX70" fmla="*/ 200038 w 593847"/>
              <a:gd name="connsiteY70" fmla="*/ 533113 h 585652"/>
              <a:gd name="connsiteX71" fmla="*/ 190398 w 593847"/>
              <a:gd name="connsiteY71" fmla="*/ 523472 h 585652"/>
              <a:gd name="connsiteX72" fmla="*/ 200038 w 593847"/>
              <a:gd name="connsiteY72" fmla="*/ 513832 h 585652"/>
              <a:gd name="connsiteX73" fmla="*/ 167261 w 593847"/>
              <a:gd name="connsiteY73" fmla="*/ 513832 h 585652"/>
              <a:gd name="connsiteX74" fmla="*/ 176902 w 593847"/>
              <a:gd name="connsiteY74" fmla="*/ 523472 h 585652"/>
              <a:gd name="connsiteX75" fmla="*/ 167261 w 593847"/>
              <a:gd name="connsiteY75" fmla="*/ 533113 h 585652"/>
              <a:gd name="connsiteX76" fmla="*/ 157621 w 593847"/>
              <a:gd name="connsiteY76" fmla="*/ 523472 h 585652"/>
              <a:gd name="connsiteX77" fmla="*/ 167261 w 593847"/>
              <a:gd name="connsiteY77" fmla="*/ 513832 h 585652"/>
              <a:gd name="connsiteX78" fmla="*/ 134965 w 593847"/>
              <a:gd name="connsiteY78" fmla="*/ 513832 h 585652"/>
              <a:gd name="connsiteX79" fmla="*/ 144606 w 593847"/>
              <a:gd name="connsiteY79" fmla="*/ 523472 h 585652"/>
              <a:gd name="connsiteX80" fmla="*/ 134965 w 593847"/>
              <a:gd name="connsiteY80" fmla="*/ 533113 h 585652"/>
              <a:gd name="connsiteX81" fmla="*/ 125325 w 593847"/>
              <a:gd name="connsiteY81" fmla="*/ 523472 h 585652"/>
              <a:gd name="connsiteX82" fmla="*/ 134965 w 593847"/>
              <a:gd name="connsiteY82" fmla="*/ 513832 h 585652"/>
              <a:gd name="connsiteX83" fmla="*/ 102670 w 593847"/>
              <a:gd name="connsiteY83" fmla="*/ 513832 h 585652"/>
              <a:gd name="connsiteX84" fmla="*/ 112311 w 593847"/>
              <a:gd name="connsiteY84" fmla="*/ 523472 h 585652"/>
              <a:gd name="connsiteX85" fmla="*/ 102670 w 593847"/>
              <a:gd name="connsiteY85" fmla="*/ 533113 h 585652"/>
              <a:gd name="connsiteX86" fmla="*/ 93030 w 593847"/>
              <a:gd name="connsiteY86" fmla="*/ 523472 h 585652"/>
              <a:gd name="connsiteX87" fmla="*/ 102670 w 593847"/>
              <a:gd name="connsiteY87" fmla="*/ 513832 h 585652"/>
              <a:gd name="connsiteX88" fmla="*/ 70375 w 593847"/>
              <a:gd name="connsiteY88" fmla="*/ 513832 h 585652"/>
              <a:gd name="connsiteX89" fmla="*/ 80016 w 593847"/>
              <a:gd name="connsiteY89" fmla="*/ 523472 h 585652"/>
              <a:gd name="connsiteX90" fmla="*/ 70375 w 593847"/>
              <a:gd name="connsiteY90" fmla="*/ 533113 h 585652"/>
              <a:gd name="connsiteX91" fmla="*/ 60735 w 593847"/>
              <a:gd name="connsiteY91" fmla="*/ 523472 h 585652"/>
              <a:gd name="connsiteX92" fmla="*/ 70375 w 593847"/>
              <a:gd name="connsiteY92" fmla="*/ 513832 h 585652"/>
              <a:gd name="connsiteX93" fmla="*/ 38080 w 593847"/>
              <a:gd name="connsiteY93" fmla="*/ 513832 h 585652"/>
              <a:gd name="connsiteX94" fmla="*/ 47721 w 593847"/>
              <a:gd name="connsiteY94" fmla="*/ 523472 h 585652"/>
              <a:gd name="connsiteX95" fmla="*/ 38080 w 593847"/>
              <a:gd name="connsiteY95" fmla="*/ 533113 h 585652"/>
              <a:gd name="connsiteX96" fmla="*/ 28440 w 593847"/>
              <a:gd name="connsiteY96" fmla="*/ 523472 h 585652"/>
              <a:gd name="connsiteX97" fmla="*/ 38080 w 593847"/>
              <a:gd name="connsiteY97" fmla="*/ 513832 h 585652"/>
              <a:gd name="connsiteX98" fmla="*/ 5303 w 593847"/>
              <a:gd name="connsiteY98" fmla="*/ 512868 h 585652"/>
              <a:gd name="connsiteX99" fmla="*/ 14944 w 593847"/>
              <a:gd name="connsiteY99" fmla="*/ 523472 h 585652"/>
              <a:gd name="connsiteX100" fmla="*/ 5303 w 593847"/>
              <a:gd name="connsiteY100" fmla="*/ 533113 h 585652"/>
              <a:gd name="connsiteX101" fmla="*/ 483 w 593847"/>
              <a:gd name="connsiteY101" fmla="*/ 531667 h 585652"/>
              <a:gd name="connsiteX102" fmla="*/ 483 w 593847"/>
              <a:gd name="connsiteY102" fmla="*/ 514314 h 585652"/>
              <a:gd name="connsiteX103" fmla="*/ 5303 w 593847"/>
              <a:gd name="connsiteY103" fmla="*/ 512868 h 585652"/>
              <a:gd name="connsiteX104" fmla="*/ 329219 w 593847"/>
              <a:gd name="connsiteY104" fmla="*/ 482019 h 585652"/>
              <a:gd name="connsiteX105" fmla="*/ 338860 w 593847"/>
              <a:gd name="connsiteY105" fmla="*/ 491659 h 585652"/>
              <a:gd name="connsiteX106" fmla="*/ 329219 w 593847"/>
              <a:gd name="connsiteY106" fmla="*/ 501300 h 585652"/>
              <a:gd name="connsiteX107" fmla="*/ 319579 w 593847"/>
              <a:gd name="connsiteY107" fmla="*/ 491659 h 585652"/>
              <a:gd name="connsiteX108" fmla="*/ 329219 w 593847"/>
              <a:gd name="connsiteY108" fmla="*/ 482019 h 585652"/>
              <a:gd name="connsiteX109" fmla="*/ 296924 w 593847"/>
              <a:gd name="connsiteY109" fmla="*/ 482019 h 585652"/>
              <a:gd name="connsiteX110" fmla="*/ 306565 w 593847"/>
              <a:gd name="connsiteY110" fmla="*/ 491659 h 585652"/>
              <a:gd name="connsiteX111" fmla="*/ 296924 w 593847"/>
              <a:gd name="connsiteY111" fmla="*/ 501300 h 585652"/>
              <a:gd name="connsiteX112" fmla="*/ 287284 w 593847"/>
              <a:gd name="connsiteY112" fmla="*/ 491659 h 585652"/>
              <a:gd name="connsiteX113" fmla="*/ 296924 w 593847"/>
              <a:gd name="connsiteY113" fmla="*/ 482019 h 585652"/>
              <a:gd name="connsiteX114" fmla="*/ 264628 w 593847"/>
              <a:gd name="connsiteY114" fmla="*/ 482019 h 585652"/>
              <a:gd name="connsiteX115" fmla="*/ 274269 w 593847"/>
              <a:gd name="connsiteY115" fmla="*/ 491659 h 585652"/>
              <a:gd name="connsiteX116" fmla="*/ 264628 w 593847"/>
              <a:gd name="connsiteY116" fmla="*/ 501300 h 585652"/>
              <a:gd name="connsiteX117" fmla="*/ 254988 w 593847"/>
              <a:gd name="connsiteY117" fmla="*/ 491659 h 585652"/>
              <a:gd name="connsiteX118" fmla="*/ 264628 w 593847"/>
              <a:gd name="connsiteY118" fmla="*/ 482019 h 585652"/>
              <a:gd name="connsiteX119" fmla="*/ 232333 w 593847"/>
              <a:gd name="connsiteY119" fmla="*/ 482019 h 585652"/>
              <a:gd name="connsiteX120" fmla="*/ 241974 w 593847"/>
              <a:gd name="connsiteY120" fmla="*/ 491659 h 585652"/>
              <a:gd name="connsiteX121" fmla="*/ 232333 w 593847"/>
              <a:gd name="connsiteY121" fmla="*/ 501300 h 585652"/>
              <a:gd name="connsiteX122" fmla="*/ 222693 w 593847"/>
              <a:gd name="connsiteY122" fmla="*/ 491659 h 585652"/>
              <a:gd name="connsiteX123" fmla="*/ 232333 w 593847"/>
              <a:gd name="connsiteY123" fmla="*/ 482019 h 585652"/>
              <a:gd name="connsiteX124" fmla="*/ 200038 w 593847"/>
              <a:gd name="connsiteY124" fmla="*/ 482019 h 585652"/>
              <a:gd name="connsiteX125" fmla="*/ 209679 w 593847"/>
              <a:gd name="connsiteY125" fmla="*/ 491659 h 585652"/>
              <a:gd name="connsiteX126" fmla="*/ 200038 w 593847"/>
              <a:gd name="connsiteY126" fmla="*/ 501300 h 585652"/>
              <a:gd name="connsiteX127" fmla="*/ 190398 w 593847"/>
              <a:gd name="connsiteY127" fmla="*/ 491659 h 585652"/>
              <a:gd name="connsiteX128" fmla="*/ 200038 w 593847"/>
              <a:gd name="connsiteY128" fmla="*/ 482019 h 585652"/>
              <a:gd name="connsiteX129" fmla="*/ 167261 w 593847"/>
              <a:gd name="connsiteY129" fmla="*/ 482019 h 585652"/>
              <a:gd name="connsiteX130" fmla="*/ 176902 w 593847"/>
              <a:gd name="connsiteY130" fmla="*/ 491659 h 585652"/>
              <a:gd name="connsiteX131" fmla="*/ 167261 w 593847"/>
              <a:gd name="connsiteY131" fmla="*/ 501300 h 585652"/>
              <a:gd name="connsiteX132" fmla="*/ 157621 w 593847"/>
              <a:gd name="connsiteY132" fmla="*/ 491659 h 585652"/>
              <a:gd name="connsiteX133" fmla="*/ 167261 w 593847"/>
              <a:gd name="connsiteY133" fmla="*/ 482019 h 585652"/>
              <a:gd name="connsiteX134" fmla="*/ 134965 w 593847"/>
              <a:gd name="connsiteY134" fmla="*/ 482019 h 585652"/>
              <a:gd name="connsiteX135" fmla="*/ 144606 w 593847"/>
              <a:gd name="connsiteY135" fmla="*/ 491659 h 585652"/>
              <a:gd name="connsiteX136" fmla="*/ 134965 w 593847"/>
              <a:gd name="connsiteY136" fmla="*/ 501300 h 585652"/>
              <a:gd name="connsiteX137" fmla="*/ 125325 w 593847"/>
              <a:gd name="connsiteY137" fmla="*/ 491659 h 585652"/>
              <a:gd name="connsiteX138" fmla="*/ 134965 w 593847"/>
              <a:gd name="connsiteY138" fmla="*/ 482019 h 585652"/>
              <a:gd name="connsiteX139" fmla="*/ 102670 w 593847"/>
              <a:gd name="connsiteY139" fmla="*/ 482019 h 585652"/>
              <a:gd name="connsiteX140" fmla="*/ 112311 w 593847"/>
              <a:gd name="connsiteY140" fmla="*/ 491659 h 585652"/>
              <a:gd name="connsiteX141" fmla="*/ 102670 w 593847"/>
              <a:gd name="connsiteY141" fmla="*/ 501300 h 585652"/>
              <a:gd name="connsiteX142" fmla="*/ 93030 w 593847"/>
              <a:gd name="connsiteY142" fmla="*/ 491659 h 585652"/>
              <a:gd name="connsiteX143" fmla="*/ 102670 w 593847"/>
              <a:gd name="connsiteY143" fmla="*/ 482019 h 585652"/>
              <a:gd name="connsiteX144" fmla="*/ 70375 w 593847"/>
              <a:gd name="connsiteY144" fmla="*/ 482019 h 585652"/>
              <a:gd name="connsiteX145" fmla="*/ 80016 w 593847"/>
              <a:gd name="connsiteY145" fmla="*/ 491659 h 585652"/>
              <a:gd name="connsiteX146" fmla="*/ 70375 w 593847"/>
              <a:gd name="connsiteY146" fmla="*/ 501300 h 585652"/>
              <a:gd name="connsiteX147" fmla="*/ 60735 w 593847"/>
              <a:gd name="connsiteY147" fmla="*/ 491659 h 585652"/>
              <a:gd name="connsiteX148" fmla="*/ 70375 w 593847"/>
              <a:gd name="connsiteY148" fmla="*/ 482019 h 585652"/>
              <a:gd name="connsiteX149" fmla="*/ 38080 w 593847"/>
              <a:gd name="connsiteY149" fmla="*/ 482019 h 585652"/>
              <a:gd name="connsiteX150" fmla="*/ 47721 w 593847"/>
              <a:gd name="connsiteY150" fmla="*/ 491659 h 585652"/>
              <a:gd name="connsiteX151" fmla="*/ 38080 w 593847"/>
              <a:gd name="connsiteY151" fmla="*/ 501300 h 585652"/>
              <a:gd name="connsiteX152" fmla="*/ 28440 w 593847"/>
              <a:gd name="connsiteY152" fmla="*/ 491659 h 585652"/>
              <a:gd name="connsiteX153" fmla="*/ 38080 w 593847"/>
              <a:gd name="connsiteY153" fmla="*/ 482019 h 585652"/>
              <a:gd name="connsiteX154" fmla="*/ 361996 w 593847"/>
              <a:gd name="connsiteY154" fmla="*/ 481537 h 585652"/>
              <a:gd name="connsiteX155" fmla="*/ 363924 w 593847"/>
              <a:gd name="connsiteY155" fmla="*/ 481537 h 585652"/>
              <a:gd name="connsiteX156" fmla="*/ 352356 w 593847"/>
              <a:gd name="connsiteY156" fmla="*/ 489731 h 585652"/>
              <a:gd name="connsiteX157" fmla="*/ 361996 w 593847"/>
              <a:gd name="connsiteY157" fmla="*/ 481537 h 585652"/>
              <a:gd name="connsiteX158" fmla="*/ 5303 w 593847"/>
              <a:gd name="connsiteY158" fmla="*/ 481055 h 585652"/>
              <a:gd name="connsiteX159" fmla="*/ 14944 w 593847"/>
              <a:gd name="connsiteY159" fmla="*/ 491659 h 585652"/>
              <a:gd name="connsiteX160" fmla="*/ 5303 w 593847"/>
              <a:gd name="connsiteY160" fmla="*/ 501300 h 585652"/>
              <a:gd name="connsiteX161" fmla="*/ 483 w 593847"/>
              <a:gd name="connsiteY161" fmla="*/ 499854 h 585652"/>
              <a:gd name="connsiteX162" fmla="*/ 483 w 593847"/>
              <a:gd name="connsiteY162" fmla="*/ 482501 h 585652"/>
              <a:gd name="connsiteX163" fmla="*/ 5303 w 593847"/>
              <a:gd name="connsiteY163" fmla="*/ 481055 h 585652"/>
              <a:gd name="connsiteX164" fmla="*/ 393809 w 593847"/>
              <a:gd name="connsiteY164" fmla="*/ 450206 h 585652"/>
              <a:gd name="connsiteX165" fmla="*/ 401040 w 593847"/>
              <a:gd name="connsiteY165" fmla="*/ 452616 h 585652"/>
              <a:gd name="connsiteX166" fmla="*/ 386097 w 593847"/>
              <a:gd name="connsiteY166" fmla="*/ 465148 h 585652"/>
              <a:gd name="connsiteX167" fmla="*/ 384169 w 593847"/>
              <a:gd name="connsiteY167" fmla="*/ 459846 h 585652"/>
              <a:gd name="connsiteX168" fmla="*/ 393809 w 593847"/>
              <a:gd name="connsiteY168" fmla="*/ 450206 h 585652"/>
              <a:gd name="connsiteX169" fmla="*/ 4820 w 593847"/>
              <a:gd name="connsiteY169" fmla="*/ 450205 h 585652"/>
              <a:gd name="connsiteX170" fmla="*/ 14461 w 593847"/>
              <a:gd name="connsiteY170" fmla="*/ 459845 h 585652"/>
              <a:gd name="connsiteX171" fmla="*/ 4820 w 593847"/>
              <a:gd name="connsiteY171" fmla="*/ 469486 h 585652"/>
              <a:gd name="connsiteX172" fmla="*/ 0 w 593847"/>
              <a:gd name="connsiteY172" fmla="*/ 468040 h 585652"/>
              <a:gd name="connsiteX173" fmla="*/ 0 w 593847"/>
              <a:gd name="connsiteY173" fmla="*/ 451651 h 585652"/>
              <a:gd name="connsiteX174" fmla="*/ 4820 w 593847"/>
              <a:gd name="connsiteY174" fmla="*/ 450205 h 585652"/>
              <a:gd name="connsiteX175" fmla="*/ 361996 w 593847"/>
              <a:gd name="connsiteY175" fmla="*/ 449723 h 585652"/>
              <a:gd name="connsiteX176" fmla="*/ 371637 w 593847"/>
              <a:gd name="connsiteY176" fmla="*/ 459363 h 585652"/>
              <a:gd name="connsiteX177" fmla="*/ 361996 w 593847"/>
              <a:gd name="connsiteY177" fmla="*/ 469004 h 585652"/>
              <a:gd name="connsiteX178" fmla="*/ 352356 w 593847"/>
              <a:gd name="connsiteY178" fmla="*/ 459363 h 585652"/>
              <a:gd name="connsiteX179" fmla="*/ 361996 w 593847"/>
              <a:gd name="connsiteY179" fmla="*/ 449723 h 585652"/>
              <a:gd name="connsiteX180" fmla="*/ 329219 w 593847"/>
              <a:gd name="connsiteY180" fmla="*/ 449723 h 585652"/>
              <a:gd name="connsiteX181" fmla="*/ 338860 w 593847"/>
              <a:gd name="connsiteY181" fmla="*/ 459363 h 585652"/>
              <a:gd name="connsiteX182" fmla="*/ 329219 w 593847"/>
              <a:gd name="connsiteY182" fmla="*/ 469004 h 585652"/>
              <a:gd name="connsiteX183" fmla="*/ 319579 w 593847"/>
              <a:gd name="connsiteY183" fmla="*/ 459363 h 585652"/>
              <a:gd name="connsiteX184" fmla="*/ 329219 w 593847"/>
              <a:gd name="connsiteY184" fmla="*/ 449723 h 585652"/>
              <a:gd name="connsiteX185" fmla="*/ 296924 w 593847"/>
              <a:gd name="connsiteY185" fmla="*/ 449723 h 585652"/>
              <a:gd name="connsiteX186" fmla="*/ 306565 w 593847"/>
              <a:gd name="connsiteY186" fmla="*/ 459363 h 585652"/>
              <a:gd name="connsiteX187" fmla="*/ 296924 w 593847"/>
              <a:gd name="connsiteY187" fmla="*/ 469004 h 585652"/>
              <a:gd name="connsiteX188" fmla="*/ 287284 w 593847"/>
              <a:gd name="connsiteY188" fmla="*/ 459363 h 585652"/>
              <a:gd name="connsiteX189" fmla="*/ 296924 w 593847"/>
              <a:gd name="connsiteY189" fmla="*/ 449723 h 585652"/>
              <a:gd name="connsiteX190" fmla="*/ 264628 w 593847"/>
              <a:gd name="connsiteY190" fmla="*/ 449723 h 585652"/>
              <a:gd name="connsiteX191" fmla="*/ 274269 w 593847"/>
              <a:gd name="connsiteY191" fmla="*/ 459363 h 585652"/>
              <a:gd name="connsiteX192" fmla="*/ 264628 w 593847"/>
              <a:gd name="connsiteY192" fmla="*/ 469004 h 585652"/>
              <a:gd name="connsiteX193" fmla="*/ 254988 w 593847"/>
              <a:gd name="connsiteY193" fmla="*/ 459363 h 585652"/>
              <a:gd name="connsiteX194" fmla="*/ 264628 w 593847"/>
              <a:gd name="connsiteY194" fmla="*/ 449723 h 585652"/>
              <a:gd name="connsiteX195" fmla="*/ 232333 w 593847"/>
              <a:gd name="connsiteY195" fmla="*/ 449723 h 585652"/>
              <a:gd name="connsiteX196" fmla="*/ 241974 w 593847"/>
              <a:gd name="connsiteY196" fmla="*/ 459363 h 585652"/>
              <a:gd name="connsiteX197" fmla="*/ 232333 w 593847"/>
              <a:gd name="connsiteY197" fmla="*/ 469004 h 585652"/>
              <a:gd name="connsiteX198" fmla="*/ 222693 w 593847"/>
              <a:gd name="connsiteY198" fmla="*/ 459363 h 585652"/>
              <a:gd name="connsiteX199" fmla="*/ 232333 w 593847"/>
              <a:gd name="connsiteY199" fmla="*/ 449723 h 585652"/>
              <a:gd name="connsiteX200" fmla="*/ 200038 w 593847"/>
              <a:gd name="connsiteY200" fmla="*/ 449723 h 585652"/>
              <a:gd name="connsiteX201" fmla="*/ 209679 w 593847"/>
              <a:gd name="connsiteY201" fmla="*/ 459363 h 585652"/>
              <a:gd name="connsiteX202" fmla="*/ 200038 w 593847"/>
              <a:gd name="connsiteY202" fmla="*/ 469004 h 585652"/>
              <a:gd name="connsiteX203" fmla="*/ 190398 w 593847"/>
              <a:gd name="connsiteY203" fmla="*/ 459363 h 585652"/>
              <a:gd name="connsiteX204" fmla="*/ 200038 w 593847"/>
              <a:gd name="connsiteY204" fmla="*/ 449723 h 585652"/>
              <a:gd name="connsiteX205" fmla="*/ 167261 w 593847"/>
              <a:gd name="connsiteY205" fmla="*/ 449723 h 585652"/>
              <a:gd name="connsiteX206" fmla="*/ 176902 w 593847"/>
              <a:gd name="connsiteY206" fmla="*/ 459363 h 585652"/>
              <a:gd name="connsiteX207" fmla="*/ 167261 w 593847"/>
              <a:gd name="connsiteY207" fmla="*/ 469004 h 585652"/>
              <a:gd name="connsiteX208" fmla="*/ 157621 w 593847"/>
              <a:gd name="connsiteY208" fmla="*/ 459363 h 585652"/>
              <a:gd name="connsiteX209" fmla="*/ 167261 w 593847"/>
              <a:gd name="connsiteY209" fmla="*/ 449723 h 585652"/>
              <a:gd name="connsiteX210" fmla="*/ 134965 w 593847"/>
              <a:gd name="connsiteY210" fmla="*/ 449723 h 585652"/>
              <a:gd name="connsiteX211" fmla="*/ 144606 w 593847"/>
              <a:gd name="connsiteY211" fmla="*/ 459363 h 585652"/>
              <a:gd name="connsiteX212" fmla="*/ 134965 w 593847"/>
              <a:gd name="connsiteY212" fmla="*/ 469004 h 585652"/>
              <a:gd name="connsiteX213" fmla="*/ 125325 w 593847"/>
              <a:gd name="connsiteY213" fmla="*/ 459363 h 585652"/>
              <a:gd name="connsiteX214" fmla="*/ 134965 w 593847"/>
              <a:gd name="connsiteY214" fmla="*/ 449723 h 585652"/>
              <a:gd name="connsiteX215" fmla="*/ 102670 w 593847"/>
              <a:gd name="connsiteY215" fmla="*/ 449723 h 585652"/>
              <a:gd name="connsiteX216" fmla="*/ 112311 w 593847"/>
              <a:gd name="connsiteY216" fmla="*/ 459363 h 585652"/>
              <a:gd name="connsiteX217" fmla="*/ 102670 w 593847"/>
              <a:gd name="connsiteY217" fmla="*/ 469004 h 585652"/>
              <a:gd name="connsiteX218" fmla="*/ 93030 w 593847"/>
              <a:gd name="connsiteY218" fmla="*/ 459363 h 585652"/>
              <a:gd name="connsiteX219" fmla="*/ 102670 w 593847"/>
              <a:gd name="connsiteY219" fmla="*/ 449723 h 585652"/>
              <a:gd name="connsiteX220" fmla="*/ 70375 w 593847"/>
              <a:gd name="connsiteY220" fmla="*/ 449723 h 585652"/>
              <a:gd name="connsiteX221" fmla="*/ 80016 w 593847"/>
              <a:gd name="connsiteY221" fmla="*/ 459363 h 585652"/>
              <a:gd name="connsiteX222" fmla="*/ 70375 w 593847"/>
              <a:gd name="connsiteY222" fmla="*/ 469004 h 585652"/>
              <a:gd name="connsiteX223" fmla="*/ 60735 w 593847"/>
              <a:gd name="connsiteY223" fmla="*/ 459363 h 585652"/>
              <a:gd name="connsiteX224" fmla="*/ 70375 w 593847"/>
              <a:gd name="connsiteY224" fmla="*/ 449723 h 585652"/>
              <a:gd name="connsiteX225" fmla="*/ 38080 w 593847"/>
              <a:gd name="connsiteY225" fmla="*/ 449723 h 585652"/>
              <a:gd name="connsiteX226" fmla="*/ 47721 w 593847"/>
              <a:gd name="connsiteY226" fmla="*/ 459363 h 585652"/>
              <a:gd name="connsiteX227" fmla="*/ 38080 w 593847"/>
              <a:gd name="connsiteY227" fmla="*/ 469004 h 585652"/>
              <a:gd name="connsiteX228" fmla="*/ 28440 w 593847"/>
              <a:gd name="connsiteY228" fmla="*/ 459363 h 585652"/>
              <a:gd name="connsiteX229" fmla="*/ 38080 w 593847"/>
              <a:gd name="connsiteY229" fmla="*/ 449723 h 585652"/>
              <a:gd name="connsiteX230" fmla="*/ 426105 w 593847"/>
              <a:gd name="connsiteY230" fmla="*/ 417428 h 585652"/>
              <a:gd name="connsiteX231" fmla="*/ 434300 w 593847"/>
              <a:gd name="connsiteY231" fmla="*/ 421284 h 585652"/>
              <a:gd name="connsiteX232" fmla="*/ 431890 w 593847"/>
              <a:gd name="connsiteY232" fmla="*/ 423694 h 585652"/>
              <a:gd name="connsiteX233" fmla="*/ 420321 w 593847"/>
              <a:gd name="connsiteY233" fmla="*/ 434781 h 585652"/>
              <a:gd name="connsiteX234" fmla="*/ 416465 w 593847"/>
              <a:gd name="connsiteY234" fmla="*/ 427068 h 585652"/>
              <a:gd name="connsiteX235" fmla="*/ 426105 w 593847"/>
              <a:gd name="connsiteY235" fmla="*/ 417428 h 585652"/>
              <a:gd name="connsiteX236" fmla="*/ 394292 w 593847"/>
              <a:gd name="connsiteY236" fmla="*/ 417428 h 585652"/>
              <a:gd name="connsiteX237" fmla="*/ 403933 w 593847"/>
              <a:gd name="connsiteY237" fmla="*/ 427068 h 585652"/>
              <a:gd name="connsiteX238" fmla="*/ 394292 w 593847"/>
              <a:gd name="connsiteY238" fmla="*/ 436709 h 585652"/>
              <a:gd name="connsiteX239" fmla="*/ 384652 w 593847"/>
              <a:gd name="connsiteY239" fmla="*/ 427068 h 585652"/>
              <a:gd name="connsiteX240" fmla="*/ 394292 w 593847"/>
              <a:gd name="connsiteY240" fmla="*/ 417428 h 585652"/>
              <a:gd name="connsiteX241" fmla="*/ 361996 w 593847"/>
              <a:gd name="connsiteY241" fmla="*/ 417428 h 585652"/>
              <a:gd name="connsiteX242" fmla="*/ 371637 w 593847"/>
              <a:gd name="connsiteY242" fmla="*/ 427068 h 585652"/>
              <a:gd name="connsiteX243" fmla="*/ 361996 w 593847"/>
              <a:gd name="connsiteY243" fmla="*/ 436709 h 585652"/>
              <a:gd name="connsiteX244" fmla="*/ 352356 w 593847"/>
              <a:gd name="connsiteY244" fmla="*/ 427068 h 585652"/>
              <a:gd name="connsiteX245" fmla="*/ 361996 w 593847"/>
              <a:gd name="connsiteY245" fmla="*/ 417428 h 585652"/>
              <a:gd name="connsiteX246" fmla="*/ 329219 w 593847"/>
              <a:gd name="connsiteY246" fmla="*/ 417428 h 585652"/>
              <a:gd name="connsiteX247" fmla="*/ 338860 w 593847"/>
              <a:gd name="connsiteY247" fmla="*/ 427068 h 585652"/>
              <a:gd name="connsiteX248" fmla="*/ 329219 w 593847"/>
              <a:gd name="connsiteY248" fmla="*/ 436709 h 585652"/>
              <a:gd name="connsiteX249" fmla="*/ 319579 w 593847"/>
              <a:gd name="connsiteY249" fmla="*/ 427068 h 585652"/>
              <a:gd name="connsiteX250" fmla="*/ 329219 w 593847"/>
              <a:gd name="connsiteY250" fmla="*/ 417428 h 585652"/>
              <a:gd name="connsiteX251" fmla="*/ 296924 w 593847"/>
              <a:gd name="connsiteY251" fmla="*/ 417428 h 585652"/>
              <a:gd name="connsiteX252" fmla="*/ 306565 w 593847"/>
              <a:gd name="connsiteY252" fmla="*/ 427068 h 585652"/>
              <a:gd name="connsiteX253" fmla="*/ 296924 w 593847"/>
              <a:gd name="connsiteY253" fmla="*/ 436709 h 585652"/>
              <a:gd name="connsiteX254" fmla="*/ 287284 w 593847"/>
              <a:gd name="connsiteY254" fmla="*/ 427068 h 585652"/>
              <a:gd name="connsiteX255" fmla="*/ 296924 w 593847"/>
              <a:gd name="connsiteY255" fmla="*/ 417428 h 585652"/>
              <a:gd name="connsiteX256" fmla="*/ 264628 w 593847"/>
              <a:gd name="connsiteY256" fmla="*/ 417428 h 585652"/>
              <a:gd name="connsiteX257" fmla="*/ 274269 w 593847"/>
              <a:gd name="connsiteY257" fmla="*/ 427068 h 585652"/>
              <a:gd name="connsiteX258" fmla="*/ 264628 w 593847"/>
              <a:gd name="connsiteY258" fmla="*/ 436709 h 585652"/>
              <a:gd name="connsiteX259" fmla="*/ 254988 w 593847"/>
              <a:gd name="connsiteY259" fmla="*/ 427068 h 585652"/>
              <a:gd name="connsiteX260" fmla="*/ 264628 w 593847"/>
              <a:gd name="connsiteY260" fmla="*/ 417428 h 585652"/>
              <a:gd name="connsiteX261" fmla="*/ 232333 w 593847"/>
              <a:gd name="connsiteY261" fmla="*/ 417428 h 585652"/>
              <a:gd name="connsiteX262" fmla="*/ 241974 w 593847"/>
              <a:gd name="connsiteY262" fmla="*/ 427068 h 585652"/>
              <a:gd name="connsiteX263" fmla="*/ 232333 w 593847"/>
              <a:gd name="connsiteY263" fmla="*/ 436709 h 585652"/>
              <a:gd name="connsiteX264" fmla="*/ 222693 w 593847"/>
              <a:gd name="connsiteY264" fmla="*/ 427068 h 585652"/>
              <a:gd name="connsiteX265" fmla="*/ 232333 w 593847"/>
              <a:gd name="connsiteY265" fmla="*/ 417428 h 585652"/>
              <a:gd name="connsiteX266" fmla="*/ 200038 w 593847"/>
              <a:gd name="connsiteY266" fmla="*/ 417428 h 585652"/>
              <a:gd name="connsiteX267" fmla="*/ 209679 w 593847"/>
              <a:gd name="connsiteY267" fmla="*/ 427068 h 585652"/>
              <a:gd name="connsiteX268" fmla="*/ 200038 w 593847"/>
              <a:gd name="connsiteY268" fmla="*/ 436709 h 585652"/>
              <a:gd name="connsiteX269" fmla="*/ 190398 w 593847"/>
              <a:gd name="connsiteY269" fmla="*/ 427068 h 585652"/>
              <a:gd name="connsiteX270" fmla="*/ 200038 w 593847"/>
              <a:gd name="connsiteY270" fmla="*/ 417428 h 585652"/>
              <a:gd name="connsiteX271" fmla="*/ 167261 w 593847"/>
              <a:gd name="connsiteY271" fmla="*/ 417428 h 585652"/>
              <a:gd name="connsiteX272" fmla="*/ 176902 w 593847"/>
              <a:gd name="connsiteY272" fmla="*/ 427068 h 585652"/>
              <a:gd name="connsiteX273" fmla="*/ 167261 w 593847"/>
              <a:gd name="connsiteY273" fmla="*/ 436709 h 585652"/>
              <a:gd name="connsiteX274" fmla="*/ 157621 w 593847"/>
              <a:gd name="connsiteY274" fmla="*/ 427068 h 585652"/>
              <a:gd name="connsiteX275" fmla="*/ 167261 w 593847"/>
              <a:gd name="connsiteY275" fmla="*/ 417428 h 585652"/>
              <a:gd name="connsiteX276" fmla="*/ 134965 w 593847"/>
              <a:gd name="connsiteY276" fmla="*/ 417428 h 585652"/>
              <a:gd name="connsiteX277" fmla="*/ 144606 w 593847"/>
              <a:gd name="connsiteY277" fmla="*/ 427068 h 585652"/>
              <a:gd name="connsiteX278" fmla="*/ 134965 w 593847"/>
              <a:gd name="connsiteY278" fmla="*/ 436709 h 585652"/>
              <a:gd name="connsiteX279" fmla="*/ 125325 w 593847"/>
              <a:gd name="connsiteY279" fmla="*/ 427068 h 585652"/>
              <a:gd name="connsiteX280" fmla="*/ 134965 w 593847"/>
              <a:gd name="connsiteY280" fmla="*/ 417428 h 585652"/>
              <a:gd name="connsiteX281" fmla="*/ 102670 w 593847"/>
              <a:gd name="connsiteY281" fmla="*/ 417428 h 585652"/>
              <a:gd name="connsiteX282" fmla="*/ 112311 w 593847"/>
              <a:gd name="connsiteY282" fmla="*/ 427068 h 585652"/>
              <a:gd name="connsiteX283" fmla="*/ 102670 w 593847"/>
              <a:gd name="connsiteY283" fmla="*/ 436709 h 585652"/>
              <a:gd name="connsiteX284" fmla="*/ 93030 w 593847"/>
              <a:gd name="connsiteY284" fmla="*/ 427068 h 585652"/>
              <a:gd name="connsiteX285" fmla="*/ 102670 w 593847"/>
              <a:gd name="connsiteY285" fmla="*/ 417428 h 585652"/>
              <a:gd name="connsiteX286" fmla="*/ 70375 w 593847"/>
              <a:gd name="connsiteY286" fmla="*/ 417428 h 585652"/>
              <a:gd name="connsiteX287" fmla="*/ 80016 w 593847"/>
              <a:gd name="connsiteY287" fmla="*/ 427068 h 585652"/>
              <a:gd name="connsiteX288" fmla="*/ 70375 w 593847"/>
              <a:gd name="connsiteY288" fmla="*/ 436709 h 585652"/>
              <a:gd name="connsiteX289" fmla="*/ 60735 w 593847"/>
              <a:gd name="connsiteY289" fmla="*/ 427068 h 585652"/>
              <a:gd name="connsiteX290" fmla="*/ 70375 w 593847"/>
              <a:gd name="connsiteY290" fmla="*/ 417428 h 585652"/>
              <a:gd name="connsiteX291" fmla="*/ 38080 w 593847"/>
              <a:gd name="connsiteY291" fmla="*/ 417428 h 585652"/>
              <a:gd name="connsiteX292" fmla="*/ 47721 w 593847"/>
              <a:gd name="connsiteY292" fmla="*/ 427068 h 585652"/>
              <a:gd name="connsiteX293" fmla="*/ 38080 w 593847"/>
              <a:gd name="connsiteY293" fmla="*/ 436709 h 585652"/>
              <a:gd name="connsiteX294" fmla="*/ 28440 w 593847"/>
              <a:gd name="connsiteY294" fmla="*/ 427068 h 585652"/>
              <a:gd name="connsiteX295" fmla="*/ 38080 w 593847"/>
              <a:gd name="connsiteY295" fmla="*/ 417428 h 585652"/>
              <a:gd name="connsiteX296" fmla="*/ 5303 w 593847"/>
              <a:gd name="connsiteY296" fmla="*/ 416464 h 585652"/>
              <a:gd name="connsiteX297" fmla="*/ 14944 w 593847"/>
              <a:gd name="connsiteY297" fmla="*/ 427068 h 585652"/>
              <a:gd name="connsiteX298" fmla="*/ 5303 w 593847"/>
              <a:gd name="connsiteY298" fmla="*/ 436709 h 585652"/>
              <a:gd name="connsiteX299" fmla="*/ 483 w 593847"/>
              <a:gd name="connsiteY299" fmla="*/ 435263 h 585652"/>
              <a:gd name="connsiteX300" fmla="*/ 483 w 593847"/>
              <a:gd name="connsiteY300" fmla="*/ 417910 h 585652"/>
              <a:gd name="connsiteX301" fmla="*/ 5303 w 593847"/>
              <a:gd name="connsiteY301" fmla="*/ 416464 h 585652"/>
              <a:gd name="connsiteX302" fmla="*/ 426587 w 593847"/>
              <a:gd name="connsiteY302" fmla="*/ 385615 h 585652"/>
              <a:gd name="connsiteX303" fmla="*/ 436228 w 593847"/>
              <a:gd name="connsiteY303" fmla="*/ 395255 h 585652"/>
              <a:gd name="connsiteX304" fmla="*/ 426587 w 593847"/>
              <a:gd name="connsiteY304" fmla="*/ 404896 h 585652"/>
              <a:gd name="connsiteX305" fmla="*/ 416947 w 593847"/>
              <a:gd name="connsiteY305" fmla="*/ 395255 h 585652"/>
              <a:gd name="connsiteX306" fmla="*/ 426587 w 593847"/>
              <a:gd name="connsiteY306" fmla="*/ 385615 h 585652"/>
              <a:gd name="connsiteX307" fmla="*/ 394292 w 593847"/>
              <a:gd name="connsiteY307" fmla="*/ 385615 h 585652"/>
              <a:gd name="connsiteX308" fmla="*/ 403933 w 593847"/>
              <a:gd name="connsiteY308" fmla="*/ 395255 h 585652"/>
              <a:gd name="connsiteX309" fmla="*/ 394292 w 593847"/>
              <a:gd name="connsiteY309" fmla="*/ 404896 h 585652"/>
              <a:gd name="connsiteX310" fmla="*/ 384652 w 593847"/>
              <a:gd name="connsiteY310" fmla="*/ 395255 h 585652"/>
              <a:gd name="connsiteX311" fmla="*/ 394292 w 593847"/>
              <a:gd name="connsiteY311" fmla="*/ 385615 h 585652"/>
              <a:gd name="connsiteX312" fmla="*/ 361996 w 593847"/>
              <a:gd name="connsiteY312" fmla="*/ 385615 h 585652"/>
              <a:gd name="connsiteX313" fmla="*/ 371637 w 593847"/>
              <a:gd name="connsiteY313" fmla="*/ 395255 h 585652"/>
              <a:gd name="connsiteX314" fmla="*/ 361996 w 593847"/>
              <a:gd name="connsiteY314" fmla="*/ 404896 h 585652"/>
              <a:gd name="connsiteX315" fmla="*/ 352356 w 593847"/>
              <a:gd name="connsiteY315" fmla="*/ 395255 h 585652"/>
              <a:gd name="connsiteX316" fmla="*/ 361996 w 593847"/>
              <a:gd name="connsiteY316" fmla="*/ 385615 h 585652"/>
              <a:gd name="connsiteX317" fmla="*/ 329219 w 593847"/>
              <a:gd name="connsiteY317" fmla="*/ 385615 h 585652"/>
              <a:gd name="connsiteX318" fmla="*/ 338860 w 593847"/>
              <a:gd name="connsiteY318" fmla="*/ 395255 h 585652"/>
              <a:gd name="connsiteX319" fmla="*/ 329219 w 593847"/>
              <a:gd name="connsiteY319" fmla="*/ 404896 h 585652"/>
              <a:gd name="connsiteX320" fmla="*/ 319579 w 593847"/>
              <a:gd name="connsiteY320" fmla="*/ 395255 h 585652"/>
              <a:gd name="connsiteX321" fmla="*/ 329219 w 593847"/>
              <a:gd name="connsiteY321" fmla="*/ 385615 h 585652"/>
              <a:gd name="connsiteX322" fmla="*/ 296924 w 593847"/>
              <a:gd name="connsiteY322" fmla="*/ 385615 h 585652"/>
              <a:gd name="connsiteX323" fmla="*/ 306565 w 593847"/>
              <a:gd name="connsiteY323" fmla="*/ 395255 h 585652"/>
              <a:gd name="connsiteX324" fmla="*/ 296924 w 593847"/>
              <a:gd name="connsiteY324" fmla="*/ 404896 h 585652"/>
              <a:gd name="connsiteX325" fmla="*/ 287284 w 593847"/>
              <a:gd name="connsiteY325" fmla="*/ 395255 h 585652"/>
              <a:gd name="connsiteX326" fmla="*/ 296924 w 593847"/>
              <a:gd name="connsiteY326" fmla="*/ 385615 h 585652"/>
              <a:gd name="connsiteX327" fmla="*/ 264628 w 593847"/>
              <a:gd name="connsiteY327" fmla="*/ 385615 h 585652"/>
              <a:gd name="connsiteX328" fmla="*/ 274269 w 593847"/>
              <a:gd name="connsiteY328" fmla="*/ 395255 h 585652"/>
              <a:gd name="connsiteX329" fmla="*/ 264628 w 593847"/>
              <a:gd name="connsiteY329" fmla="*/ 404896 h 585652"/>
              <a:gd name="connsiteX330" fmla="*/ 254988 w 593847"/>
              <a:gd name="connsiteY330" fmla="*/ 395255 h 585652"/>
              <a:gd name="connsiteX331" fmla="*/ 264628 w 593847"/>
              <a:gd name="connsiteY331" fmla="*/ 385615 h 585652"/>
              <a:gd name="connsiteX332" fmla="*/ 232333 w 593847"/>
              <a:gd name="connsiteY332" fmla="*/ 385615 h 585652"/>
              <a:gd name="connsiteX333" fmla="*/ 241974 w 593847"/>
              <a:gd name="connsiteY333" fmla="*/ 395255 h 585652"/>
              <a:gd name="connsiteX334" fmla="*/ 232333 w 593847"/>
              <a:gd name="connsiteY334" fmla="*/ 404896 h 585652"/>
              <a:gd name="connsiteX335" fmla="*/ 222693 w 593847"/>
              <a:gd name="connsiteY335" fmla="*/ 395255 h 585652"/>
              <a:gd name="connsiteX336" fmla="*/ 232333 w 593847"/>
              <a:gd name="connsiteY336" fmla="*/ 385615 h 585652"/>
              <a:gd name="connsiteX337" fmla="*/ 200038 w 593847"/>
              <a:gd name="connsiteY337" fmla="*/ 385615 h 585652"/>
              <a:gd name="connsiteX338" fmla="*/ 209679 w 593847"/>
              <a:gd name="connsiteY338" fmla="*/ 395255 h 585652"/>
              <a:gd name="connsiteX339" fmla="*/ 200038 w 593847"/>
              <a:gd name="connsiteY339" fmla="*/ 404896 h 585652"/>
              <a:gd name="connsiteX340" fmla="*/ 190398 w 593847"/>
              <a:gd name="connsiteY340" fmla="*/ 395255 h 585652"/>
              <a:gd name="connsiteX341" fmla="*/ 200038 w 593847"/>
              <a:gd name="connsiteY341" fmla="*/ 385615 h 585652"/>
              <a:gd name="connsiteX342" fmla="*/ 167261 w 593847"/>
              <a:gd name="connsiteY342" fmla="*/ 385615 h 585652"/>
              <a:gd name="connsiteX343" fmla="*/ 176902 w 593847"/>
              <a:gd name="connsiteY343" fmla="*/ 395255 h 585652"/>
              <a:gd name="connsiteX344" fmla="*/ 167261 w 593847"/>
              <a:gd name="connsiteY344" fmla="*/ 404896 h 585652"/>
              <a:gd name="connsiteX345" fmla="*/ 157621 w 593847"/>
              <a:gd name="connsiteY345" fmla="*/ 395255 h 585652"/>
              <a:gd name="connsiteX346" fmla="*/ 167261 w 593847"/>
              <a:gd name="connsiteY346" fmla="*/ 385615 h 585652"/>
              <a:gd name="connsiteX347" fmla="*/ 134965 w 593847"/>
              <a:gd name="connsiteY347" fmla="*/ 385615 h 585652"/>
              <a:gd name="connsiteX348" fmla="*/ 144606 w 593847"/>
              <a:gd name="connsiteY348" fmla="*/ 395255 h 585652"/>
              <a:gd name="connsiteX349" fmla="*/ 134965 w 593847"/>
              <a:gd name="connsiteY349" fmla="*/ 404896 h 585652"/>
              <a:gd name="connsiteX350" fmla="*/ 125325 w 593847"/>
              <a:gd name="connsiteY350" fmla="*/ 395255 h 585652"/>
              <a:gd name="connsiteX351" fmla="*/ 134965 w 593847"/>
              <a:gd name="connsiteY351" fmla="*/ 385615 h 585652"/>
              <a:gd name="connsiteX352" fmla="*/ 102670 w 593847"/>
              <a:gd name="connsiteY352" fmla="*/ 385615 h 585652"/>
              <a:gd name="connsiteX353" fmla="*/ 112311 w 593847"/>
              <a:gd name="connsiteY353" fmla="*/ 395255 h 585652"/>
              <a:gd name="connsiteX354" fmla="*/ 102670 w 593847"/>
              <a:gd name="connsiteY354" fmla="*/ 404896 h 585652"/>
              <a:gd name="connsiteX355" fmla="*/ 93030 w 593847"/>
              <a:gd name="connsiteY355" fmla="*/ 395255 h 585652"/>
              <a:gd name="connsiteX356" fmla="*/ 102670 w 593847"/>
              <a:gd name="connsiteY356" fmla="*/ 385615 h 585652"/>
              <a:gd name="connsiteX357" fmla="*/ 70375 w 593847"/>
              <a:gd name="connsiteY357" fmla="*/ 385615 h 585652"/>
              <a:gd name="connsiteX358" fmla="*/ 80016 w 593847"/>
              <a:gd name="connsiteY358" fmla="*/ 395255 h 585652"/>
              <a:gd name="connsiteX359" fmla="*/ 70375 w 593847"/>
              <a:gd name="connsiteY359" fmla="*/ 404896 h 585652"/>
              <a:gd name="connsiteX360" fmla="*/ 60735 w 593847"/>
              <a:gd name="connsiteY360" fmla="*/ 395255 h 585652"/>
              <a:gd name="connsiteX361" fmla="*/ 70375 w 593847"/>
              <a:gd name="connsiteY361" fmla="*/ 385615 h 585652"/>
              <a:gd name="connsiteX362" fmla="*/ 38080 w 593847"/>
              <a:gd name="connsiteY362" fmla="*/ 385615 h 585652"/>
              <a:gd name="connsiteX363" fmla="*/ 47721 w 593847"/>
              <a:gd name="connsiteY363" fmla="*/ 395255 h 585652"/>
              <a:gd name="connsiteX364" fmla="*/ 38080 w 593847"/>
              <a:gd name="connsiteY364" fmla="*/ 404896 h 585652"/>
              <a:gd name="connsiteX365" fmla="*/ 28440 w 593847"/>
              <a:gd name="connsiteY365" fmla="*/ 395255 h 585652"/>
              <a:gd name="connsiteX366" fmla="*/ 38080 w 593847"/>
              <a:gd name="connsiteY366" fmla="*/ 385615 h 585652"/>
              <a:gd name="connsiteX367" fmla="*/ 458400 w 593847"/>
              <a:gd name="connsiteY367" fmla="*/ 385614 h 585652"/>
              <a:gd name="connsiteX368" fmla="*/ 465148 w 593847"/>
              <a:gd name="connsiteY368" fmla="*/ 387543 h 585652"/>
              <a:gd name="connsiteX369" fmla="*/ 452134 w 593847"/>
              <a:gd name="connsiteY369" fmla="*/ 402485 h 585652"/>
              <a:gd name="connsiteX370" fmla="*/ 448760 w 593847"/>
              <a:gd name="connsiteY370" fmla="*/ 395255 h 585652"/>
              <a:gd name="connsiteX371" fmla="*/ 458400 w 593847"/>
              <a:gd name="connsiteY371" fmla="*/ 385614 h 585652"/>
              <a:gd name="connsiteX372" fmla="*/ 5303 w 593847"/>
              <a:gd name="connsiteY372" fmla="*/ 384651 h 585652"/>
              <a:gd name="connsiteX373" fmla="*/ 14944 w 593847"/>
              <a:gd name="connsiteY373" fmla="*/ 395255 h 585652"/>
              <a:gd name="connsiteX374" fmla="*/ 5303 w 593847"/>
              <a:gd name="connsiteY374" fmla="*/ 404896 h 585652"/>
              <a:gd name="connsiteX375" fmla="*/ 483 w 593847"/>
              <a:gd name="connsiteY375" fmla="*/ 403450 h 585652"/>
              <a:gd name="connsiteX376" fmla="*/ 483 w 593847"/>
              <a:gd name="connsiteY376" fmla="*/ 386097 h 585652"/>
              <a:gd name="connsiteX377" fmla="*/ 5303 w 593847"/>
              <a:gd name="connsiteY377" fmla="*/ 384651 h 585652"/>
              <a:gd name="connsiteX378" fmla="*/ 491659 w 593847"/>
              <a:gd name="connsiteY378" fmla="*/ 353320 h 585652"/>
              <a:gd name="connsiteX379" fmla="*/ 482019 w 593847"/>
              <a:gd name="connsiteY379" fmla="*/ 366334 h 585652"/>
              <a:gd name="connsiteX380" fmla="*/ 481537 w 593847"/>
              <a:gd name="connsiteY380" fmla="*/ 362960 h 585652"/>
              <a:gd name="connsiteX381" fmla="*/ 491659 w 593847"/>
              <a:gd name="connsiteY381" fmla="*/ 353320 h 585652"/>
              <a:gd name="connsiteX382" fmla="*/ 458882 w 593847"/>
              <a:gd name="connsiteY382" fmla="*/ 353320 h 585652"/>
              <a:gd name="connsiteX383" fmla="*/ 468523 w 593847"/>
              <a:gd name="connsiteY383" fmla="*/ 362960 h 585652"/>
              <a:gd name="connsiteX384" fmla="*/ 458882 w 593847"/>
              <a:gd name="connsiteY384" fmla="*/ 372601 h 585652"/>
              <a:gd name="connsiteX385" fmla="*/ 449242 w 593847"/>
              <a:gd name="connsiteY385" fmla="*/ 362960 h 585652"/>
              <a:gd name="connsiteX386" fmla="*/ 458882 w 593847"/>
              <a:gd name="connsiteY386" fmla="*/ 353320 h 585652"/>
              <a:gd name="connsiteX387" fmla="*/ 426587 w 593847"/>
              <a:gd name="connsiteY387" fmla="*/ 353320 h 585652"/>
              <a:gd name="connsiteX388" fmla="*/ 436228 w 593847"/>
              <a:gd name="connsiteY388" fmla="*/ 362960 h 585652"/>
              <a:gd name="connsiteX389" fmla="*/ 426587 w 593847"/>
              <a:gd name="connsiteY389" fmla="*/ 372601 h 585652"/>
              <a:gd name="connsiteX390" fmla="*/ 416947 w 593847"/>
              <a:gd name="connsiteY390" fmla="*/ 362960 h 585652"/>
              <a:gd name="connsiteX391" fmla="*/ 426587 w 593847"/>
              <a:gd name="connsiteY391" fmla="*/ 353320 h 585652"/>
              <a:gd name="connsiteX392" fmla="*/ 394292 w 593847"/>
              <a:gd name="connsiteY392" fmla="*/ 353320 h 585652"/>
              <a:gd name="connsiteX393" fmla="*/ 403933 w 593847"/>
              <a:gd name="connsiteY393" fmla="*/ 362960 h 585652"/>
              <a:gd name="connsiteX394" fmla="*/ 394292 w 593847"/>
              <a:gd name="connsiteY394" fmla="*/ 372601 h 585652"/>
              <a:gd name="connsiteX395" fmla="*/ 384652 w 593847"/>
              <a:gd name="connsiteY395" fmla="*/ 362960 h 585652"/>
              <a:gd name="connsiteX396" fmla="*/ 394292 w 593847"/>
              <a:gd name="connsiteY396" fmla="*/ 353320 h 585652"/>
              <a:gd name="connsiteX397" fmla="*/ 361996 w 593847"/>
              <a:gd name="connsiteY397" fmla="*/ 353320 h 585652"/>
              <a:gd name="connsiteX398" fmla="*/ 371637 w 593847"/>
              <a:gd name="connsiteY398" fmla="*/ 362960 h 585652"/>
              <a:gd name="connsiteX399" fmla="*/ 361996 w 593847"/>
              <a:gd name="connsiteY399" fmla="*/ 372601 h 585652"/>
              <a:gd name="connsiteX400" fmla="*/ 352356 w 593847"/>
              <a:gd name="connsiteY400" fmla="*/ 362960 h 585652"/>
              <a:gd name="connsiteX401" fmla="*/ 361996 w 593847"/>
              <a:gd name="connsiteY401" fmla="*/ 353320 h 585652"/>
              <a:gd name="connsiteX402" fmla="*/ 329219 w 593847"/>
              <a:gd name="connsiteY402" fmla="*/ 353320 h 585652"/>
              <a:gd name="connsiteX403" fmla="*/ 338860 w 593847"/>
              <a:gd name="connsiteY403" fmla="*/ 362960 h 585652"/>
              <a:gd name="connsiteX404" fmla="*/ 329219 w 593847"/>
              <a:gd name="connsiteY404" fmla="*/ 372601 h 585652"/>
              <a:gd name="connsiteX405" fmla="*/ 319579 w 593847"/>
              <a:gd name="connsiteY405" fmla="*/ 362960 h 585652"/>
              <a:gd name="connsiteX406" fmla="*/ 329219 w 593847"/>
              <a:gd name="connsiteY406" fmla="*/ 353320 h 585652"/>
              <a:gd name="connsiteX407" fmla="*/ 296924 w 593847"/>
              <a:gd name="connsiteY407" fmla="*/ 353320 h 585652"/>
              <a:gd name="connsiteX408" fmla="*/ 306565 w 593847"/>
              <a:gd name="connsiteY408" fmla="*/ 362960 h 585652"/>
              <a:gd name="connsiteX409" fmla="*/ 296924 w 593847"/>
              <a:gd name="connsiteY409" fmla="*/ 372601 h 585652"/>
              <a:gd name="connsiteX410" fmla="*/ 287284 w 593847"/>
              <a:gd name="connsiteY410" fmla="*/ 362960 h 585652"/>
              <a:gd name="connsiteX411" fmla="*/ 296924 w 593847"/>
              <a:gd name="connsiteY411" fmla="*/ 353320 h 585652"/>
              <a:gd name="connsiteX412" fmla="*/ 264628 w 593847"/>
              <a:gd name="connsiteY412" fmla="*/ 353320 h 585652"/>
              <a:gd name="connsiteX413" fmla="*/ 274269 w 593847"/>
              <a:gd name="connsiteY413" fmla="*/ 362960 h 585652"/>
              <a:gd name="connsiteX414" fmla="*/ 264628 w 593847"/>
              <a:gd name="connsiteY414" fmla="*/ 372601 h 585652"/>
              <a:gd name="connsiteX415" fmla="*/ 254988 w 593847"/>
              <a:gd name="connsiteY415" fmla="*/ 362960 h 585652"/>
              <a:gd name="connsiteX416" fmla="*/ 264628 w 593847"/>
              <a:gd name="connsiteY416" fmla="*/ 353320 h 585652"/>
              <a:gd name="connsiteX417" fmla="*/ 232333 w 593847"/>
              <a:gd name="connsiteY417" fmla="*/ 353320 h 585652"/>
              <a:gd name="connsiteX418" fmla="*/ 241974 w 593847"/>
              <a:gd name="connsiteY418" fmla="*/ 362960 h 585652"/>
              <a:gd name="connsiteX419" fmla="*/ 232333 w 593847"/>
              <a:gd name="connsiteY419" fmla="*/ 372601 h 585652"/>
              <a:gd name="connsiteX420" fmla="*/ 222693 w 593847"/>
              <a:gd name="connsiteY420" fmla="*/ 362960 h 585652"/>
              <a:gd name="connsiteX421" fmla="*/ 232333 w 593847"/>
              <a:gd name="connsiteY421" fmla="*/ 353320 h 585652"/>
              <a:gd name="connsiteX422" fmla="*/ 200038 w 593847"/>
              <a:gd name="connsiteY422" fmla="*/ 353320 h 585652"/>
              <a:gd name="connsiteX423" fmla="*/ 209679 w 593847"/>
              <a:gd name="connsiteY423" fmla="*/ 362960 h 585652"/>
              <a:gd name="connsiteX424" fmla="*/ 200038 w 593847"/>
              <a:gd name="connsiteY424" fmla="*/ 372601 h 585652"/>
              <a:gd name="connsiteX425" fmla="*/ 190398 w 593847"/>
              <a:gd name="connsiteY425" fmla="*/ 362960 h 585652"/>
              <a:gd name="connsiteX426" fmla="*/ 200038 w 593847"/>
              <a:gd name="connsiteY426" fmla="*/ 353320 h 585652"/>
              <a:gd name="connsiteX427" fmla="*/ 167261 w 593847"/>
              <a:gd name="connsiteY427" fmla="*/ 353320 h 585652"/>
              <a:gd name="connsiteX428" fmla="*/ 176902 w 593847"/>
              <a:gd name="connsiteY428" fmla="*/ 362960 h 585652"/>
              <a:gd name="connsiteX429" fmla="*/ 167261 w 593847"/>
              <a:gd name="connsiteY429" fmla="*/ 372601 h 585652"/>
              <a:gd name="connsiteX430" fmla="*/ 157621 w 593847"/>
              <a:gd name="connsiteY430" fmla="*/ 362960 h 585652"/>
              <a:gd name="connsiteX431" fmla="*/ 167261 w 593847"/>
              <a:gd name="connsiteY431" fmla="*/ 353320 h 585652"/>
              <a:gd name="connsiteX432" fmla="*/ 134965 w 593847"/>
              <a:gd name="connsiteY432" fmla="*/ 353320 h 585652"/>
              <a:gd name="connsiteX433" fmla="*/ 144606 w 593847"/>
              <a:gd name="connsiteY433" fmla="*/ 362960 h 585652"/>
              <a:gd name="connsiteX434" fmla="*/ 134965 w 593847"/>
              <a:gd name="connsiteY434" fmla="*/ 372601 h 585652"/>
              <a:gd name="connsiteX435" fmla="*/ 125325 w 593847"/>
              <a:gd name="connsiteY435" fmla="*/ 362960 h 585652"/>
              <a:gd name="connsiteX436" fmla="*/ 134965 w 593847"/>
              <a:gd name="connsiteY436" fmla="*/ 353320 h 585652"/>
              <a:gd name="connsiteX437" fmla="*/ 102670 w 593847"/>
              <a:gd name="connsiteY437" fmla="*/ 353320 h 585652"/>
              <a:gd name="connsiteX438" fmla="*/ 112311 w 593847"/>
              <a:gd name="connsiteY438" fmla="*/ 362960 h 585652"/>
              <a:gd name="connsiteX439" fmla="*/ 102670 w 593847"/>
              <a:gd name="connsiteY439" fmla="*/ 372601 h 585652"/>
              <a:gd name="connsiteX440" fmla="*/ 93030 w 593847"/>
              <a:gd name="connsiteY440" fmla="*/ 362960 h 585652"/>
              <a:gd name="connsiteX441" fmla="*/ 102670 w 593847"/>
              <a:gd name="connsiteY441" fmla="*/ 353320 h 585652"/>
              <a:gd name="connsiteX442" fmla="*/ 70375 w 593847"/>
              <a:gd name="connsiteY442" fmla="*/ 353320 h 585652"/>
              <a:gd name="connsiteX443" fmla="*/ 80016 w 593847"/>
              <a:gd name="connsiteY443" fmla="*/ 362960 h 585652"/>
              <a:gd name="connsiteX444" fmla="*/ 70375 w 593847"/>
              <a:gd name="connsiteY444" fmla="*/ 372601 h 585652"/>
              <a:gd name="connsiteX445" fmla="*/ 60735 w 593847"/>
              <a:gd name="connsiteY445" fmla="*/ 362960 h 585652"/>
              <a:gd name="connsiteX446" fmla="*/ 70375 w 593847"/>
              <a:gd name="connsiteY446" fmla="*/ 353320 h 585652"/>
              <a:gd name="connsiteX447" fmla="*/ 38080 w 593847"/>
              <a:gd name="connsiteY447" fmla="*/ 353320 h 585652"/>
              <a:gd name="connsiteX448" fmla="*/ 47721 w 593847"/>
              <a:gd name="connsiteY448" fmla="*/ 362960 h 585652"/>
              <a:gd name="connsiteX449" fmla="*/ 38080 w 593847"/>
              <a:gd name="connsiteY449" fmla="*/ 372601 h 585652"/>
              <a:gd name="connsiteX450" fmla="*/ 28440 w 593847"/>
              <a:gd name="connsiteY450" fmla="*/ 362960 h 585652"/>
              <a:gd name="connsiteX451" fmla="*/ 38080 w 593847"/>
              <a:gd name="connsiteY451" fmla="*/ 353320 h 585652"/>
              <a:gd name="connsiteX452" fmla="*/ 5303 w 593847"/>
              <a:gd name="connsiteY452" fmla="*/ 352355 h 585652"/>
              <a:gd name="connsiteX453" fmla="*/ 14944 w 593847"/>
              <a:gd name="connsiteY453" fmla="*/ 362959 h 585652"/>
              <a:gd name="connsiteX454" fmla="*/ 5303 w 593847"/>
              <a:gd name="connsiteY454" fmla="*/ 372600 h 585652"/>
              <a:gd name="connsiteX455" fmla="*/ 483 w 593847"/>
              <a:gd name="connsiteY455" fmla="*/ 371154 h 585652"/>
              <a:gd name="connsiteX456" fmla="*/ 483 w 593847"/>
              <a:gd name="connsiteY456" fmla="*/ 353801 h 585652"/>
              <a:gd name="connsiteX457" fmla="*/ 5303 w 593847"/>
              <a:gd name="connsiteY457" fmla="*/ 352355 h 585652"/>
              <a:gd name="connsiteX458" fmla="*/ 4820 w 593847"/>
              <a:gd name="connsiteY458" fmla="*/ 321506 h 585652"/>
              <a:gd name="connsiteX459" fmla="*/ 14461 w 593847"/>
              <a:gd name="connsiteY459" fmla="*/ 331146 h 585652"/>
              <a:gd name="connsiteX460" fmla="*/ 4820 w 593847"/>
              <a:gd name="connsiteY460" fmla="*/ 340787 h 585652"/>
              <a:gd name="connsiteX461" fmla="*/ 0 w 593847"/>
              <a:gd name="connsiteY461" fmla="*/ 339341 h 585652"/>
              <a:gd name="connsiteX462" fmla="*/ 0 w 593847"/>
              <a:gd name="connsiteY462" fmla="*/ 322952 h 585652"/>
              <a:gd name="connsiteX463" fmla="*/ 4820 w 593847"/>
              <a:gd name="connsiteY463" fmla="*/ 321506 h 585652"/>
              <a:gd name="connsiteX464" fmla="*/ 491177 w 593847"/>
              <a:gd name="connsiteY464" fmla="*/ 321024 h 585652"/>
              <a:gd name="connsiteX465" fmla="*/ 500818 w 593847"/>
              <a:gd name="connsiteY465" fmla="*/ 330664 h 585652"/>
              <a:gd name="connsiteX466" fmla="*/ 491177 w 593847"/>
              <a:gd name="connsiteY466" fmla="*/ 340305 h 585652"/>
              <a:gd name="connsiteX467" fmla="*/ 481537 w 593847"/>
              <a:gd name="connsiteY467" fmla="*/ 330664 h 585652"/>
              <a:gd name="connsiteX468" fmla="*/ 491177 w 593847"/>
              <a:gd name="connsiteY468" fmla="*/ 321024 h 585652"/>
              <a:gd name="connsiteX469" fmla="*/ 458882 w 593847"/>
              <a:gd name="connsiteY469" fmla="*/ 321024 h 585652"/>
              <a:gd name="connsiteX470" fmla="*/ 468523 w 593847"/>
              <a:gd name="connsiteY470" fmla="*/ 330664 h 585652"/>
              <a:gd name="connsiteX471" fmla="*/ 458882 w 593847"/>
              <a:gd name="connsiteY471" fmla="*/ 340305 h 585652"/>
              <a:gd name="connsiteX472" fmla="*/ 449242 w 593847"/>
              <a:gd name="connsiteY472" fmla="*/ 330664 h 585652"/>
              <a:gd name="connsiteX473" fmla="*/ 458882 w 593847"/>
              <a:gd name="connsiteY473" fmla="*/ 321024 h 585652"/>
              <a:gd name="connsiteX474" fmla="*/ 426587 w 593847"/>
              <a:gd name="connsiteY474" fmla="*/ 321024 h 585652"/>
              <a:gd name="connsiteX475" fmla="*/ 436228 w 593847"/>
              <a:gd name="connsiteY475" fmla="*/ 330664 h 585652"/>
              <a:gd name="connsiteX476" fmla="*/ 426587 w 593847"/>
              <a:gd name="connsiteY476" fmla="*/ 340305 h 585652"/>
              <a:gd name="connsiteX477" fmla="*/ 416947 w 593847"/>
              <a:gd name="connsiteY477" fmla="*/ 330664 h 585652"/>
              <a:gd name="connsiteX478" fmla="*/ 426587 w 593847"/>
              <a:gd name="connsiteY478" fmla="*/ 321024 h 585652"/>
              <a:gd name="connsiteX479" fmla="*/ 394292 w 593847"/>
              <a:gd name="connsiteY479" fmla="*/ 321024 h 585652"/>
              <a:gd name="connsiteX480" fmla="*/ 403933 w 593847"/>
              <a:gd name="connsiteY480" fmla="*/ 330664 h 585652"/>
              <a:gd name="connsiteX481" fmla="*/ 394292 w 593847"/>
              <a:gd name="connsiteY481" fmla="*/ 340305 h 585652"/>
              <a:gd name="connsiteX482" fmla="*/ 384652 w 593847"/>
              <a:gd name="connsiteY482" fmla="*/ 330664 h 585652"/>
              <a:gd name="connsiteX483" fmla="*/ 394292 w 593847"/>
              <a:gd name="connsiteY483" fmla="*/ 321024 h 585652"/>
              <a:gd name="connsiteX484" fmla="*/ 361996 w 593847"/>
              <a:gd name="connsiteY484" fmla="*/ 321024 h 585652"/>
              <a:gd name="connsiteX485" fmla="*/ 371637 w 593847"/>
              <a:gd name="connsiteY485" fmla="*/ 330664 h 585652"/>
              <a:gd name="connsiteX486" fmla="*/ 361996 w 593847"/>
              <a:gd name="connsiteY486" fmla="*/ 340305 h 585652"/>
              <a:gd name="connsiteX487" fmla="*/ 352356 w 593847"/>
              <a:gd name="connsiteY487" fmla="*/ 330664 h 585652"/>
              <a:gd name="connsiteX488" fmla="*/ 361996 w 593847"/>
              <a:gd name="connsiteY488" fmla="*/ 321024 h 585652"/>
              <a:gd name="connsiteX489" fmla="*/ 329219 w 593847"/>
              <a:gd name="connsiteY489" fmla="*/ 321024 h 585652"/>
              <a:gd name="connsiteX490" fmla="*/ 338860 w 593847"/>
              <a:gd name="connsiteY490" fmla="*/ 330664 h 585652"/>
              <a:gd name="connsiteX491" fmla="*/ 329219 w 593847"/>
              <a:gd name="connsiteY491" fmla="*/ 340305 h 585652"/>
              <a:gd name="connsiteX492" fmla="*/ 319579 w 593847"/>
              <a:gd name="connsiteY492" fmla="*/ 330664 h 585652"/>
              <a:gd name="connsiteX493" fmla="*/ 329219 w 593847"/>
              <a:gd name="connsiteY493" fmla="*/ 321024 h 585652"/>
              <a:gd name="connsiteX494" fmla="*/ 296924 w 593847"/>
              <a:gd name="connsiteY494" fmla="*/ 321024 h 585652"/>
              <a:gd name="connsiteX495" fmla="*/ 306565 w 593847"/>
              <a:gd name="connsiteY495" fmla="*/ 330664 h 585652"/>
              <a:gd name="connsiteX496" fmla="*/ 296924 w 593847"/>
              <a:gd name="connsiteY496" fmla="*/ 340305 h 585652"/>
              <a:gd name="connsiteX497" fmla="*/ 287284 w 593847"/>
              <a:gd name="connsiteY497" fmla="*/ 330664 h 585652"/>
              <a:gd name="connsiteX498" fmla="*/ 296924 w 593847"/>
              <a:gd name="connsiteY498" fmla="*/ 321024 h 585652"/>
              <a:gd name="connsiteX499" fmla="*/ 264628 w 593847"/>
              <a:gd name="connsiteY499" fmla="*/ 321024 h 585652"/>
              <a:gd name="connsiteX500" fmla="*/ 274269 w 593847"/>
              <a:gd name="connsiteY500" fmla="*/ 330664 h 585652"/>
              <a:gd name="connsiteX501" fmla="*/ 264628 w 593847"/>
              <a:gd name="connsiteY501" fmla="*/ 340305 h 585652"/>
              <a:gd name="connsiteX502" fmla="*/ 254988 w 593847"/>
              <a:gd name="connsiteY502" fmla="*/ 330664 h 585652"/>
              <a:gd name="connsiteX503" fmla="*/ 264628 w 593847"/>
              <a:gd name="connsiteY503" fmla="*/ 321024 h 585652"/>
              <a:gd name="connsiteX504" fmla="*/ 232333 w 593847"/>
              <a:gd name="connsiteY504" fmla="*/ 321024 h 585652"/>
              <a:gd name="connsiteX505" fmla="*/ 241974 w 593847"/>
              <a:gd name="connsiteY505" fmla="*/ 330664 h 585652"/>
              <a:gd name="connsiteX506" fmla="*/ 232333 w 593847"/>
              <a:gd name="connsiteY506" fmla="*/ 340305 h 585652"/>
              <a:gd name="connsiteX507" fmla="*/ 222693 w 593847"/>
              <a:gd name="connsiteY507" fmla="*/ 330664 h 585652"/>
              <a:gd name="connsiteX508" fmla="*/ 232333 w 593847"/>
              <a:gd name="connsiteY508" fmla="*/ 321024 h 585652"/>
              <a:gd name="connsiteX509" fmla="*/ 200038 w 593847"/>
              <a:gd name="connsiteY509" fmla="*/ 321024 h 585652"/>
              <a:gd name="connsiteX510" fmla="*/ 209679 w 593847"/>
              <a:gd name="connsiteY510" fmla="*/ 330664 h 585652"/>
              <a:gd name="connsiteX511" fmla="*/ 200038 w 593847"/>
              <a:gd name="connsiteY511" fmla="*/ 340305 h 585652"/>
              <a:gd name="connsiteX512" fmla="*/ 190398 w 593847"/>
              <a:gd name="connsiteY512" fmla="*/ 330664 h 585652"/>
              <a:gd name="connsiteX513" fmla="*/ 200038 w 593847"/>
              <a:gd name="connsiteY513" fmla="*/ 321024 h 585652"/>
              <a:gd name="connsiteX514" fmla="*/ 167261 w 593847"/>
              <a:gd name="connsiteY514" fmla="*/ 321024 h 585652"/>
              <a:gd name="connsiteX515" fmla="*/ 176902 w 593847"/>
              <a:gd name="connsiteY515" fmla="*/ 330664 h 585652"/>
              <a:gd name="connsiteX516" fmla="*/ 167261 w 593847"/>
              <a:gd name="connsiteY516" fmla="*/ 340305 h 585652"/>
              <a:gd name="connsiteX517" fmla="*/ 157621 w 593847"/>
              <a:gd name="connsiteY517" fmla="*/ 330664 h 585652"/>
              <a:gd name="connsiteX518" fmla="*/ 167261 w 593847"/>
              <a:gd name="connsiteY518" fmla="*/ 321024 h 585652"/>
              <a:gd name="connsiteX519" fmla="*/ 134965 w 593847"/>
              <a:gd name="connsiteY519" fmla="*/ 321024 h 585652"/>
              <a:gd name="connsiteX520" fmla="*/ 144606 w 593847"/>
              <a:gd name="connsiteY520" fmla="*/ 330664 h 585652"/>
              <a:gd name="connsiteX521" fmla="*/ 134965 w 593847"/>
              <a:gd name="connsiteY521" fmla="*/ 340305 h 585652"/>
              <a:gd name="connsiteX522" fmla="*/ 125325 w 593847"/>
              <a:gd name="connsiteY522" fmla="*/ 330664 h 585652"/>
              <a:gd name="connsiteX523" fmla="*/ 134965 w 593847"/>
              <a:gd name="connsiteY523" fmla="*/ 321024 h 585652"/>
              <a:gd name="connsiteX524" fmla="*/ 102670 w 593847"/>
              <a:gd name="connsiteY524" fmla="*/ 321024 h 585652"/>
              <a:gd name="connsiteX525" fmla="*/ 112311 w 593847"/>
              <a:gd name="connsiteY525" fmla="*/ 330664 h 585652"/>
              <a:gd name="connsiteX526" fmla="*/ 102670 w 593847"/>
              <a:gd name="connsiteY526" fmla="*/ 340305 h 585652"/>
              <a:gd name="connsiteX527" fmla="*/ 93030 w 593847"/>
              <a:gd name="connsiteY527" fmla="*/ 330664 h 585652"/>
              <a:gd name="connsiteX528" fmla="*/ 102670 w 593847"/>
              <a:gd name="connsiteY528" fmla="*/ 321024 h 585652"/>
              <a:gd name="connsiteX529" fmla="*/ 70375 w 593847"/>
              <a:gd name="connsiteY529" fmla="*/ 321024 h 585652"/>
              <a:gd name="connsiteX530" fmla="*/ 80016 w 593847"/>
              <a:gd name="connsiteY530" fmla="*/ 330664 h 585652"/>
              <a:gd name="connsiteX531" fmla="*/ 70375 w 593847"/>
              <a:gd name="connsiteY531" fmla="*/ 340305 h 585652"/>
              <a:gd name="connsiteX532" fmla="*/ 60735 w 593847"/>
              <a:gd name="connsiteY532" fmla="*/ 330664 h 585652"/>
              <a:gd name="connsiteX533" fmla="*/ 70375 w 593847"/>
              <a:gd name="connsiteY533" fmla="*/ 321024 h 585652"/>
              <a:gd name="connsiteX534" fmla="*/ 38080 w 593847"/>
              <a:gd name="connsiteY534" fmla="*/ 321024 h 585652"/>
              <a:gd name="connsiteX535" fmla="*/ 47721 w 593847"/>
              <a:gd name="connsiteY535" fmla="*/ 330664 h 585652"/>
              <a:gd name="connsiteX536" fmla="*/ 38080 w 593847"/>
              <a:gd name="connsiteY536" fmla="*/ 340305 h 585652"/>
              <a:gd name="connsiteX537" fmla="*/ 28440 w 593847"/>
              <a:gd name="connsiteY537" fmla="*/ 330664 h 585652"/>
              <a:gd name="connsiteX538" fmla="*/ 38080 w 593847"/>
              <a:gd name="connsiteY538" fmla="*/ 321024 h 585652"/>
              <a:gd name="connsiteX539" fmla="*/ 523955 w 593847"/>
              <a:gd name="connsiteY539" fmla="*/ 289211 h 585652"/>
              <a:gd name="connsiteX540" fmla="*/ 530222 w 593847"/>
              <a:gd name="connsiteY540" fmla="*/ 291140 h 585652"/>
              <a:gd name="connsiteX541" fmla="*/ 521063 w 593847"/>
              <a:gd name="connsiteY541" fmla="*/ 308010 h 585652"/>
              <a:gd name="connsiteX542" fmla="*/ 514315 w 593847"/>
              <a:gd name="connsiteY542" fmla="*/ 298852 h 585652"/>
              <a:gd name="connsiteX543" fmla="*/ 523955 w 593847"/>
              <a:gd name="connsiteY543" fmla="*/ 289211 h 585652"/>
              <a:gd name="connsiteX544" fmla="*/ 491177 w 593847"/>
              <a:gd name="connsiteY544" fmla="*/ 289211 h 585652"/>
              <a:gd name="connsiteX545" fmla="*/ 500818 w 593847"/>
              <a:gd name="connsiteY545" fmla="*/ 298851 h 585652"/>
              <a:gd name="connsiteX546" fmla="*/ 491177 w 593847"/>
              <a:gd name="connsiteY546" fmla="*/ 308492 h 585652"/>
              <a:gd name="connsiteX547" fmla="*/ 481537 w 593847"/>
              <a:gd name="connsiteY547" fmla="*/ 298851 h 585652"/>
              <a:gd name="connsiteX548" fmla="*/ 491177 w 593847"/>
              <a:gd name="connsiteY548" fmla="*/ 289211 h 585652"/>
              <a:gd name="connsiteX549" fmla="*/ 458882 w 593847"/>
              <a:gd name="connsiteY549" fmla="*/ 289211 h 585652"/>
              <a:gd name="connsiteX550" fmla="*/ 468523 w 593847"/>
              <a:gd name="connsiteY550" fmla="*/ 298851 h 585652"/>
              <a:gd name="connsiteX551" fmla="*/ 458882 w 593847"/>
              <a:gd name="connsiteY551" fmla="*/ 308492 h 585652"/>
              <a:gd name="connsiteX552" fmla="*/ 449242 w 593847"/>
              <a:gd name="connsiteY552" fmla="*/ 298851 h 585652"/>
              <a:gd name="connsiteX553" fmla="*/ 458882 w 593847"/>
              <a:gd name="connsiteY553" fmla="*/ 289211 h 585652"/>
              <a:gd name="connsiteX554" fmla="*/ 426587 w 593847"/>
              <a:gd name="connsiteY554" fmla="*/ 289211 h 585652"/>
              <a:gd name="connsiteX555" fmla="*/ 436228 w 593847"/>
              <a:gd name="connsiteY555" fmla="*/ 298851 h 585652"/>
              <a:gd name="connsiteX556" fmla="*/ 426587 w 593847"/>
              <a:gd name="connsiteY556" fmla="*/ 308492 h 585652"/>
              <a:gd name="connsiteX557" fmla="*/ 416947 w 593847"/>
              <a:gd name="connsiteY557" fmla="*/ 298851 h 585652"/>
              <a:gd name="connsiteX558" fmla="*/ 426587 w 593847"/>
              <a:gd name="connsiteY558" fmla="*/ 289211 h 585652"/>
              <a:gd name="connsiteX559" fmla="*/ 394292 w 593847"/>
              <a:gd name="connsiteY559" fmla="*/ 289211 h 585652"/>
              <a:gd name="connsiteX560" fmla="*/ 403933 w 593847"/>
              <a:gd name="connsiteY560" fmla="*/ 298851 h 585652"/>
              <a:gd name="connsiteX561" fmla="*/ 394292 w 593847"/>
              <a:gd name="connsiteY561" fmla="*/ 308492 h 585652"/>
              <a:gd name="connsiteX562" fmla="*/ 384652 w 593847"/>
              <a:gd name="connsiteY562" fmla="*/ 298851 h 585652"/>
              <a:gd name="connsiteX563" fmla="*/ 394292 w 593847"/>
              <a:gd name="connsiteY563" fmla="*/ 289211 h 585652"/>
              <a:gd name="connsiteX564" fmla="*/ 361996 w 593847"/>
              <a:gd name="connsiteY564" fmla="*/ 289211 h 585652"/>
              <a:gd name="connsiteX565" fmla="*/ 371637 w 593847"/>
              <a:gd name="connsiteY565" fmla="*/ 298851 h 585652"/>
              <a:gd name="connsiteX566" fmla="*/ 361996 w 593847"/>
              <a:gd name="connsiteY566" fmla="*/ 308492 h 585652"/>
              <a:gd name="connsiteX567" fmla="*/ 352356 w 593847"/>
              <a:gd name="connsiteY567" fmla="*/ 298851 h 585652"/>
              <a:gd name="connsiteX568" fmla="*/ 361996 w 593847"/>
              <a:gd name="connsiteY568" fmla="*/ 289211 h 585652"/>
              <a:gd name="connsiteX569" fmla="*/ 329219 w 593847"/>
              <a:gd name="connsiteY569" fmla="*/ 289211 h 585652"/>
              <a:gd name="connsiteX570" fmla="*/ 338860 w 593847"/>
              <a:gd name="connsiteY570" fmla="*/ 298851 h 585652"/>
              <a:gd name="connsiteX571" fmla="*/ 329219 w 593847"/>
              <a:gd name="connsiteY571" fmla="*/ 308492 h 585652"/>
              <a:gd name="connsiteX572" fmla="*/ 319579 w 593847"/>
              <a:gd name="connsiteY572" fmla="*/ 298851 h 585652"/>
              <a:gd name="connsiteX573" fmla="*/ 329219 w 593847"/>
              <a:gd name="connsiteY573" fmla="*/ 289211 h 585652"/>
              <a:gd name="connsiteX574" fmla="*/ 296924 w 593847"/>
              <a:gd name="connsiteY574" fmla="*/ 289211 h 585652"/>
              <a:gd name="connsiteX575" fmla="*/ 306565 w 593847"/>
              <a:gd name="connsiteY575" fmla="*/ 298851 h 585652"/>
              <a:gd name="connsiteX576" fmla="*/ 296924 w 593847"/>
              <a:gd name="connsiteY576" fmla="*/ 308492 h 585652"/>
              <a:gd name="connsiteX577" fmla="*/ 287284 w 593847"/>
              <a:gd name="connsiteY577" fmla="*/ 298851 h 585652"/>
              <a:gd name="connsiteX578" fmla="*/ 296924 w 593847"/>
              <a:gd name="connsiteY578" fmla="*/ 289211 h 585652"/>
              <a:gd name="connsiteX579" fmla="*/ 264628 w 593847"/>
              <a:gd name="connsiteY579" fmla="*/ 289211 h 585652"/>
              <a:gd name="connsiteX580" fmla="*/ 274269 w 593847"/>
              <a:gd name="connsiteY580" fmla="*/ 298851 h 585652"/>
              <a:gd name="connsiteX581" fmla="*/ 264628 w 593847"/>
              <a:gd name="connsiteY581" fmla="*/ 308492 h 585652"/>
              <a:gd name="connsiteX582" fmla="*/ 254988 w 593847"/>
              <a:gd name="connsiteY582" fmla="*/ 298851 h 585652"/>
              <a:gd name="connsiteX583" fmla="*/ 264628 w 593847"/>
              <a:gd name="connsiteY583" fmla="*/ 289211 h 585652"/>
              <a:gd name="connsiteX584" fmla="*/ 232333 w 593847"/>
              <a:gd name="connsiteY584" fmla="*/ 289211 h 585652"/>
              <a:gd name="connsiteX585" fmla="*/ 241974 w 593847"/>
              <a:gd name="connsiteY585" fmla="*/ 298851 h 585652"/>
              <a:gd name="connsiteX586" fmla="*/ 232333 w 593847"/>
              <a:gd name="connsiteY586" fmla="*/ 308492 h 585652"/>
              <a:gd name="connsiteX587" fmla="*/ 222693 w 593847"/>
              <a:gd name="connsiteY587" fmla="*/ 298851 h 585652"/>
              <a:gd name="connsiteX588" fmla="*/ 232333 w 593847"/>
              <a:gd name="connsiteY588" fmla="*/ 289211 h 585652"/>
              <a:gd name="connsiteX589" fmla="*/ 200038 w 593847"/>
              <a:gd name="connsiteY589" fmla="*/ 289211 h 585652"/>
              <a:gd name="connsiteX590" fmla="*/ 209679 w 593847"/>
              <a:gd name="connsiteY590" fmla="*/ 298851 h 585652"/>
              <a:gd name="connsiteX591" fmla="*/ 200038 w 593847"/>
              <a:gd name="connsiteY591" fmla="*/ 308492 h 585652"/>
              <a:gd name="connsiteX592" fmla="*/ 190398 w 593847"/>
              <a:gd name="connsiteY592" fmla="*/ 298851 h 585652"/>
              <a:gd name="connsiteX593" fmla="*/ 200038 w 593847"/>
              <a:gd name="connsiteY593" fmla="*/ 289211 h 585652"/>
              <a:gd name="connsiteX594" fmla="*/ 167261 w 593847"/>
              <a:gd name="connsiteY594" fmla="*/ 289211 h 585652"/>
              <a:gd name="connsiteX595" fmla="*/ 176902 w 593847"/>
              <a:gd name="connsiteY595" fmla="*/ 298851 h 585652"/>
              <a:gd name="connsiteX596" fmla="*/ 167261 w 593847"/>
              <a:gd name="connsiteY596" fmla="*/ 308492 h 585652"/>
              <a:gd name="connsiteX597" fmla="*/ 157621 w 593847"/>
              <a:gd name="connsiteY597" fmla="*/ 298851 h 585652"/>
              <a:gd name="connsiteX598" fmla="*/ 167261 w 593847"/>
              <a:gd name="connsiteY598" fmla="*/ 289211 h 585652"/>
              <a:gd name="connsiteX599" fmla="*/ 134965 w 593847"/>
              <a:gd name="connsiteY599" fmla="*/ 289211 h 585652"/>
              <a:gd name="connsiteX600" fmla="*/ 144606 w 593847"/>
              <a:gd name="connsiteY600" fmla="*/ 298851 h 585652"/>
              <a:gd name="connsiteX601" fmla="*/ 134965 w 593847"/>
              <a:gd name="connsiteY601" fmla="*/ 308492 h 585652"/>
              <a:gd name="connsiteX602" fmla="*/ 125325 w 593847"/>
              <a:gd name="connsiteY602" fmla="*/ 298851 h 585652"/>
              <a:gd name="connsiteX603" fmla="*/ 134965 w 593847"/>
              <a:gd name="connsiteY603" fmla="*/ 289211 h 585652"/>
              <a:gd name="connsiteX604" fmla="*/ 102670 w 593847"/>
              <a:gd name="connsiteY604" fmla="*/ 289211 h 585652"/>
              <a:gd name="connsiteX605" fmla="*/ 112311 w 593847"/>
              <a:gd name="connsiteY605" fmla="*/ 298851 h 585652"/>
              <a:gd name="connsiteX606" fmla="*/ 102670 w 593847"/>
              <a:gd name="connsiteY606" fmla="*/ 308492 h 585652"/>
              <a:gd name="connsiteX607" fmla="*/ 93030 w 593847"/>
              <a:gd name="connsiteY607" fmla="*/ 298851 h 585652"/>
              <a:gd name="connsiteX608" fmla="*/ 102670 w 593847"/>
              <a:gd name="connsiteY608" fmla="*/ 289211 h 585652"/>
              <a:gd name="connsiteX609" fmla="*/ 70375 w 593847"/>
              <a:gd name="connsiteY609" fmla="*/ 289211 h 585652"/>
              <a:gd name="connsiteX610" fmla="*/ 80016 w 593847"/>
              <a:gd name="connsiteY610" fmla="*/ 298851 h 585652"/>
              <a:gd name="connsiteX611" fmla="*/ 70375 w 593847"/>
              <a:gd name="connsiteY611" fmla="*/ 308492 h 585652"/>
              <a:gd name="connsiteX612" fmla="*/ 60735 w 593847"/>
              <a:gd name="connsiteY612" fmla="*/ 298851 h 585652"/>
              <a:gd name="connsiteX613" fmla="*/ 70375 w 593847"/>
              <a:gd name="connsiteY613" fmla="*/ 289211 h 585652"/>
              <a:gd name="connsiteX614" fmla="*/ 38080 w 593847"/>
              <a:gd name="connsiteY614" fmla="*/ 289211 h 585652"/>
              <a:gd name="connsiteX615" fmla="*/ 47721 w 593847"/>
              <a:gd name="connsiteY615" fmla="*/ 298851 h 585652"/>
              <a:gd name="connsiteX616" fmla="*/ 38080 w 593847"/>
              <a:gd name="connsiteY616" fmla="*/ 308492 h 585652"/>
              <a:gd name="connsiteX617" fmla="*/ 28440 w 593847"/>
              <a:gd name="connsiteY617" fmla="*/ 298851 h 585652"/>
              <a:gd name="connsiteX618" fmla="*/ 38080 w 593847"/>
              <a:gd name="connsiteY618" fmla="*/ 289211 h 585652"/>
              <a:gd name="connsiteX619" fmla="*/ 5303 w 593847"/>
              <a:gd name="connsiteY619" fmla="*/ 288247 h 585652"/>
              <a:gd name="connsiteX620" fmla="*/ 14944 w 593847"/>
              <a:gd name="connsiteY620" fmla="*/ 298851 h 585652"/>
              <a:gd name="connsiteX621" fmla="*/ 5303 w 593847"/>
              <a:gd name="connsiteY621" fmla="*/ 308492 h 585652"/>
              <a:gd name="connsiteX622" fmla="*/ 483 w 593847"/>
              <a:gd name="connsiteY622" fmla="*/ 307046 h 585652"/>
              <a:gd name="connsiteX623" fmla="*/ 483 w 593847"/>
              <a:gd name="connsiteY623" fmla="*/ 289693 h 585652"/>
              <a:gd name="connsiteX624" fmla="*/ 5303 w 593847"/>
              <a:gd name="connsiteY624" fmla="*/ 288247 h 585652"/>
              <a:gd name="connsiteX625" fmla="*/ 523955 w 593847"/>
              <a:gd name="connsiteY625" fmla="*/ 256916 h 585652"/>
              <a:gd name="connsiteX626" fmla="*/ 533596 w 593847"/>
              <a:gd name="connsiteY626" fmla="*/ 266556 h 585652"/>
              <a:gd name="connsiteX627" fmla="*/ 523955 w 593847"/>
              <a:gd name="connsiteY627" fmla="*/ 276197 h 585652"/>
              <a:gd name="connsiteX628" fmla="*/ 514315 w 593847"/>
              <a:gd name="connsiteY628" fmla="*/ 266556 h 585652"/>
              <a:gd name="connsiteX629" fmla="*/ 523955 w 593847"/>
              <a:gd name="connsiteY629" fmla="*/ 256916 h 585652"/>
              <a:gd name="connsiteX630" fmla="*/ 491177 w 593847"/>
              <a:gd name="connsiteY630" fmla="*/ 256916 h 585652"/>
              <a:gd name="connsiteX631" fmla="*/ 500818 w 593847"/>
              <a:gd name="connsiteY631" fmla="*/ 266556 h 585652"/>
              <a:gd name="connsiteX632" fmla="*/ 491177 w 593847"/>
              <a:gd name="connsiteY632" fmla="*/ 276197 h 585652"/>
              <a:gd name="connsiteX633" fmla="*/ 481537 w 593847"/>
              <a:gd name="connsiteY633" fmla="*/ 266556 h 585652"/>
              <a:gd name="connsiteX634" fmla="*/ 491177 w 593847"/>
              <a:gd name="connsiteY634" fmla="*/ 256916 h 585652"/>
              <a:gd name="connsiteX635" fmla="*/ 458882 w 593847"/>
              <a:gd name="connsiteY635" fmla="*/ 256916 h 585652"/>
              <a:gd name="connsiteX636" fmla="*/ 468523 w 593847"/>
              <a:gd name="connsiteY636" fmla="*/ 266556 h 585652"/>
              <a:gd name="connsiteX637" fmla="*/ 458882 w 593847"/>
              <a:gd name="connsiteY637" fmla="*/ 276197 h 585652"/>
              <a:gd name="connsiteX638" fmla="*/ 449242 w 593847"/>
              <a:gd name="connsiteY638" fmla="*/ 266556 h 585652"/>
              <a:gd name="connsiteX639" fmla="*/ 458882 w 593847"/>
              <a:gd name="connsiteY639" fmla="*/ 256916 h 585652"/>
              <a:gd name="connsiteX640" fmla="*/ 426587 w 593847"/>
              <a:gd name="connsiteY640" fmla="*/ 256916 h 585652"/>
              <a:gd name="connsiteX641" fmla="*/ 436228 w 593847"/>
              <a:gd name="connsiteY641" fmla="*/ 266556 h 585652"/>
              <a:gd name="connsiteX642" fmla="*/ 426587 w 593847"/>
              <a:gd name="connsiteY642" fmla="*/ 276197 h 585652"/>
              <a:gd name="connsiteX643" fmla="*/ 416947 w 593847"/>
              <a:gd name="connsiteY643" fmla="*/ 266556 h 585652"/>
              <a:gd name="connsiteX644" fmla="*/ 426587 w 593847"/>
              <a:gd name="connsiteY644" fmla="*/ 256916 h 585652"/>
              <a:gd name="connsiteX645" fmla="*/ 394292 w 593847"/>
              <a:gd name="connsiteY645" fmla="*/ 256916 h 585652"/>
              <a:gd name="connsiteX646" fmla="*/ 403933 w 593847"/>
              <a:gd name="connsiteY646" fmla="*/ 266556 h 585652"/>
              <a:gd name="connsiteX647" fmla="*/ 394292 w 593847"/>
              <a:gd name="connsiteY647" fmla="*/ 276197 h 585652"/>
              <a:gd name="connsiteX648" fmla="*/ 384652 w 593847"/>
              <a:gd name="connsiteY648" fmla="*/ 266556 h 585652"/>
              <a:gd name="connsiteX649" fmla="*/ 394292 w 593847"/>
              <a:gd name="connsiteY649" fmla="*/ 256916 h 585652"/>
              <a:gd name="connsiteX650" fmla="*/ 361996 w 593847"/>
              <a:gd name="connsiteY650" fmla="*/ 256916 h 585652"/>
              <a:gd name="connsiteX651" fmla="*/ 371637 w 593847"/>
              <a:gd name="connsiteY651" fmla="*/ 266556 h 585652"/>
              <a:gd name="connsiteX652" fmla="*/ 361996 w 593847"/>
              <a:gd name="connsiteY652" fmla="*/ 276197 h 585652"/>
              <a:gd name="connsiteX653" fmla="*/ 352356 w 593847"/>
              <a:gd name="connsiteY653" fmla="*/ 266556 h 585652"/>
              <a:gd name="connsiteX654" fmla="*/ 361996 w 593847"/>
              <a:gd name="connsiteY654" fmla="*/ 256916 h 585652"/>
              <a:gd name="connsiteX655" fmla="*/ 329219 w 593847"/>
              <a:gd name="connsiteY655" fmla="*/ 256916 h 585652"/>
              <a:gd name="connsiteX656" fmla="*/ 338860 w 593847"/>
              <a:gd name="connsiteY656" fmla="*/ 266556 h 585652"/>
              <a:gd name="connsiteX657" fmla="*/ 329219 w 593847"/>
              <a:gd name="connsiteY657" fmla="*/ 276197 h 585652"/>
              <a:gd name="connsiteX658" fmla="*/ 319579 w 593847"/>
              <a:gd name="connsiteY658" fmla="*/ 266556 h 585652"/>
              <a:gd name="connsiteX659" fmla="*/ 329219 w 593847"/>
              <a:gd name="connsiteY659" fmla="*/ 256916 h 585652"/>
              <a:gd name="connsiteX660" fmla="*/ 296924 w 593847"/>
              <a:gd name="connsiteY660" fmla="*/ 256916 h 585652"/>
              <a:gd name="connsiteX661" fmla="*/ 306565 w 593847"/>
              <a:gd name="connsiteY661" fmla="*/ 266556 h 585652"/>
              <a:gd name="connsiteX662" fmla="*/ 296924 w 593847"/>
              <a:gd name="connsiteY662" fmla="*/ 276197 h 585652"/>
              <a:gd name="connsiteX663" fmla="*/ 287284 w 593847"/>
              <a:gd name="connsiteY663" fmla="*/ 266556 h 585652"/>
              <a:gd name="connsiteX664" fmla="*/ 296924 w 593847"/>
              <a:gd name="connsiteY664" fmla="*/ 256916 h 585652"/>
              <a:gd name="connsiteX665" fmla="*/ 264628 w 593847"/>
              <a:gd name="connsiteY665" fmla="*/ 256916 h 585652"/>
              <a:gd name="connsiteX666" fmla="*/ 274269 w 593847"/>
              <a:gd name="connsiteY666" fmla="*/ 266556 h 585652"/>
              <a:gd name="connsiteX667" fmla="*/ 264628 w 593847"/>
              <a:gd name="connsiteY667" fmla="*/ 276197 h 585652"/>
              <a:gd name="connsiteX668" fmla="*/ 254988 w 593847"/>
              <a:gd name="connsiteY668" fmla="*/ 266556 h 585652"/>
              <a:gd name="connsiteX669" fmla="*/ 264628 w 593847"/>
              <a:gd name="connsiteY669" fmla="*/ 256916 h 585652"/>
              <a:gd name="connsiteX670" fmla="*/ 232333 w 593847"/>
              <a:gd name="connsiteY670" fmla="*/ 256916 h 585652"/>
              <a:gd name="connsiteX671" fmla="*/ 241974 w 593847"/>
              <a:gd name="connsiteY671" fmla="*/ 266556 h 585652"/>
              <a:gd name="connsiteX672" fmla="*/ 232333 w 593847"/>
              <a:gd name="connsiteY672" fmla="*/ 276197 h 585652"/>
              <a:gd name="connsiteX673" fmla="*/ 222693 w 593847"/>
              <a:gd name="connsiteY673" fmla="*/ 266556 h 585652"/>
              <a:gd name="connsiteX674" fmla="*/ 232333 w 593847"/>
              <a:gd name="connsiteY674" fmla="*/ 256916 h 585652"/>
              <a:gd name="connsiteX675" fmla="*/ 200038 w 593847"/>
              <a:gd name="connsiteY675" fmla="*/ 256916 h 585652"/>
              <a:gd name="connsiteX676" fmla="*/ 209679 w 593847"/>
              <a:gd name="connsiteY676" fmla="*/ 266556 h 585652"/>
              <a:gd name="connsiteX677" fmla="*/ 200038 w 593847"/>
              <a:gd name="connsiteY677" fmla="*/ 276197 h 585652"/>
              <a:gd name="connsiteX678" fmla="*/ 190398 w 593847"/>
              <a:gd name="connsiteY678" fmla="*/ 266556 h 585652"/>
              <a:gd name="connsiteX679" fmla="*/ 200038 w 593847"/>
              <a:gd name="connsiteY679" fmla="*/ 256916 h 585652"/>
              <a:gd name="connsiteX680" fmla="*/ 167261 w 593847"/>
              <a:gd name="connsiteY680" fmla="*/ 256916 h 585652"/>
              <a:gd name="connsiteX681" fmla="*/ 176902 w 593847"/>
              <a:gd name="connsiteY681" fmla="*/ 266556 h 585652"/>
              <a:gd name="connsiteX682" fmla="*/ 167261 w 593847"/>
              <a:gd name="connsiteY682" fmla="*/ 276197 h 585652"/>
              <a:gd name="connsiteX683" fmla="*/ 157621 w 593847"/>
              <a:gd name="connsiteY683" fmla="*/ 266556 h 585652"/>
              <a:gd name="connsiteX684" fmla="*/ 167261 w 593847"/>
              <a:gd name="connsiteY684" fmla="*/ 256916 h 585652"/>
              <a:gd name="connsiteX685" fmla="*/ 134965 w 593847"/>
              <a:gd name="connsiteY685" fmla="*/ 256916 h 585652"/>
              <a:gd name="connsiteX686" fmla="*/ 144606 w 593847"/>
              <a:gd name="connsiteY686" fmla="*/ 266556 h 585652"/>
              <a:gd name="connsiteX687" fmla="*/ 134965 w 593847"/>
              <a:gd name="connsiteY687" fmla="*/ 276197 h 585652"/>
              <a:gd name="connsiteX688" fmla="*/ 125325 w 593847"/>
              <a:gd name="connsiteY688" fmla="*/ 266556 h 585652"/>
              <a:gd name="connsiteX689" fmla="*/ 134965 w 593847"/>
              <a:gd name="connsiteY689" fmla="*/ 256916 h 585652"/>
              <a:gd name="connsiteX690" fmla="*/ 102670 w 593847"/>
              <a:gd name="connsiteY690" fmla="*/ 256916 h 585652"/>
              <a:gd name="connsiteX691" fmla="*/ 112311 w 593847"/>
              <a:gd name="connsiteY691" fmla="*/ 266556 h 585652"/>
              <a:gd name="connsiteX692" fmla="*/ 102670 w 593847"/>
              <a:gd name="connsiteY692" fmla="*/ 276197 h 585652"/>
              <a:gd name="connsiteX693" fmla="*/ 93030 w 593847"/>
              <a:gd name="connsiteY693" fmla="*/ 266556 h 585652"/>
              <a:gd name="connsiteX694" fmla="*/ 102670 w 593847"/>
              <a:gd name="connsiteY694" fmla="*/ 256916 h 585652"/>
              <a:gd name="connsiteX695" fmla="*/ 70375 w 593847"/>
              <a:gd name="connsiteY695" fmla="*/ 256916 h 585652"/>
              <a:gd name="connsiteX696" fmla="*/ 80016 w 593847"/>
              <a:gd name="connsiteY696" fmla="*/ 266556 h 585652"/>
              <a:gd name="connsiteX697" fmla="*/ 70375 w 593847"/>
              <a:gd name="connsiteY697" fmla="*/ 276197 h 585652"/>
              <a:gd name="connsiteX698" fmla="*/ 60735 w 593847"/>
              <a:gd name="connsiteY698" fmla="*/ 266556 h 585652"/>
              <a:gd name="connsiteX699" fmla="*/ 70375 w 593847"/>
              <a:gd name="connsiteY699" fmla="*/ 256916 h 585652"/>
              <a:gd name="connsiteX700" fmla="*/ 38080 w 593847"/>
              <a:gd name="connsiteY700" fmla="*/ 256916 h 585652"/>
              <a:gd name="connsiteX701" fmla="*/ 47721 w 593847"/>
              <a:gd name="connsiteY701" fmla="*/ 266556 h 585652"/>
              <a:gd name="connsiteX702" fmla="*/ 38080 w 593847"/>
              <a:gd name="connsiteY702" fmla="*/ 276197 h 585652"/>
              <a:gd name="connsiteX703" fmla="*/ 28440 w 593847"/>
              <a:gd name="connsiteY703" fmla="*/ 266556 h 585652"/>
              <a:gd name="connsiteX704" fmla="*/ 38080 w 593847"/>
              <a:gd name="connsiteY704" fmla="*/ 256916 h 585652"/>
              <a:gd name="connsiteX705" fmla="*/ 5303 w 593847"/>
              <a:gd name="connsiteY705" fmla="*/ 255952 h 585652"/>
              <a:gd name="connsiteX706" fmla="*/ 14944 w 593847"/>
              <a:gd name="connsiteY706" fmla="*/ 266556 h 585652"/>
              <a:gd name="connsiteX707" fmla="*/ 5303 w 593847"/>
              <a:gd name="connsiteY707" fmla="*/ 276197 h 585652"/>
              <a:gd name="connsiteX708" fmla="*/ 483 w 593847"/>
              <a:gd name="connsiteY708" fmla="*/ 274751 h 585652"/>
              <a:gd name="connsiteX709" fmla="*/ 483 w 593847"/>
              <a:gd name="connsiteY709" fmla="*/ 257398 h 585652"/>
              <a:gd name="connsiteX710" fmla="*/ 5303 w 593847"/>
              <a:gd name="connsiteY710" fmla="*/ 255952 h 585652"/>
              <a:gd name="connsiteX711" fmla="*/ 555768 w 593847"/>
              <a:gd name="connsiteY711" fmla="*/ 224620 h 585652"/>
              <a:gd name="connsiteX712" fmla="*/ 559624 w 593847"/>
              <a:gd name="connsiteY712" fmla="*/ 225102 h 585652"/>
              <a:gd name="connsiteX713" fmla="*/ 552394 w 593847"/>
              <a:gd name="connsiteY713" fmla="*/ 243419 h 585652"/>
              <a:gd name="connsiteX714" fmla="*/ 546128 w 593847"/>
              <a:gd name="connsiteY714" fmla="*/ 234260 h 585652"/>
              <a:gd name="connsiteX715" fmla="*/ 555768 w 593847"/>
              <a:gd name="connsiteY715" fmla="*/ 224620 h 585652"/>
              <a:gd name="connsiteX716" fmla="*/ 523955 w 593847"/>
              <a:gd name="connsiteY716" fmla="*/ 224620 h 585652"/>
              <a:gd name="connsiteX717" fmla="*/ 533596 w 593847"/>
              <a:gd name="connsiteY717" fmla="*/ 234260 h 585652"/>
              <a:gd name="connsiteX718" fmla="*/ 523955 w 593847"/>
              <a:gd name="connsiteY718" fmla="*/ 243901 h 585652"/>
              <a:gd name="connsiteX719" fmla="*/ 514315 w 593847"/>
              <a:gd name="connsiteY719" fmla="*/ 234260 h 585652"/>
              <a:gd name="connsiteX720" fmla="*/ 523955 w 593847"/>
              <a:gd name="connsiteY720" fmla="*/ 224620 h 585652"/>
              <a:gd name="connsiteX721" fmla="*/ 491177 w 593847"/>
              <a:gd name="connsiteY721" fmla="*/ 224620 h 585652"/>
              <a:gd name="connsiteX722" fmla="*/ 500818 w 593847"/>
              <a:gd name="connsiteY722" fmla="*/ 234260 h 585652"/>
              <a:gd name="connsiteX723" fmla="*/ 491177 w 593847"/>
              <a:gd name="connsiteY723" fmla="*/ 243901 h 585652"/>
              <a:gd name="connsiteX724" fmla="*/ 481537 w 593847"/>
              <a:gd name="connsiteY724" fmla="*/ 234260 h 585652"/>
              <a:gd name="connsiteX725" fmla="*/ 491177 w 593847"/>
              <a:gd name="connsiteY725" fmla="*/ 224620 h 585652"/>
              <a:gd name="connsiteX726" fmla="*/ 458882 w 593847"/>
              <a:gd name="connsiteY726" fmla="*/ 224620 h 585652"/>
              <a:gd name="connsiteX727" fmla="*/ 468523 w 593847"/>
              <a:gd name="connsiteY727" fmla="*/ 234260 h 585652"/>
              <a:gd name="connsiteX728" fmla="*/ 458882 w 593847"/>
              <a:gd name="connsiteY728" fmla="*/ 243901 h 585652"/>
              <a:gd name="connsiteX729" fmla="*/ 449242 w 593847"/>
              <a:gd name="connsiteY729" fmla="*/ 234260 h 585652"/>
              <a:gd name="connsiteX730" fmla="*/ 458882 w 593847"/>
              <a:gd name="connsiteY730" fmla="*/ 224620 h 585652"/>
              <a:gd name="connsiteX731" fmla="*/ 426587 w 593847"/>
              <a:gd name="connsiteY731" fmla="*/ 224620 h 585652"/>
              <a:gd name="connsiteX732" fmla="*/ 436228 w 593847"/>
              <a:gd name="connsiteY732" fmla="*/ 234260 h 585652"/>
              <a:gd name="connsiteX733" fmla="*/ 426587 w 593847"/>
              <a:gd name="connsiteY733" fmla="*/ 243901 h 585652"/>
              <a:gd name="connsiteX734" fmla="*/ 416947 w 593847"/>
              <a:gd name="connsiteY734" fmla="*/ 234260 h 585652"/>
              <a:gd name="connsiteX735" fmla="*/ 426587 w 593847"/>
              <a:gd name="connsiteY735" fmla="*/ 224620 h 585652"/>
              <a:gd name="connsiteX736" fmla="*/ 394292 w 593847"/>
              <a:gd name="connsiteY736" fmla="*/ 224620 h 585652"/>
              <a:gd name="connsiteX737" fmla="*/ 403933 w 593847"/>
              <a:gd name="connsiteY737" fmla="*/ 234260 h 585652"/>
              <a:gd name="connsiteX738" fmla="*/ 394292 w 593847"/>
              <a:gd name="connsiteY738" fmla="*/ 243901 h 585652"/>
              <a:gd name="connsiteX739" fmla="*/ 384652 w 593847"/>
              <a:gd name="connsiteY739" fmla="*/ 234260 h 585652"/>
              <a:gd name="connsiteX740" fmla="*/ 394292 w 593847"/>
              <a:gd name="connsiteY740" fmla="*/ 224620 h 585652"/>
              <a:gd name="connsiteX741" fmla="*/ 361996 w 593847"/>
              <a:gd name="connsiteY741" fmla="*/ 224620 h 585652"/>
              <a:gd name="connsiteX742" fmla="*/ 371637 w 593847"/>
              <a:gd name="connsiteY742" fmla="*/ 234260 h 585652"/>
              <a:gd name="connsiteX743" fmla="*/ 361996 w 593847"/>
              <a:gd name="connsiteY743" fmla="*/ 243901 h 585652"/>
              <a:gd name="connsiteX744" fmla="*/ 352356 w 593847"/>
              <a:gd name="connsiteY744" fmla="*/ 234260 h 585652"/>
              <a:gd name="connsiteX745" fmla="*/ 361996 w 593847"/>
              <a:gd name="connsiteY745" fmla="*/ 224620 h 585652"/>
              <a:gd name="connsiteX746" fmla="*/ 329219 w 593847"/>
              <a:gd name="connsiteY746" fmla="*/ 224620 h 585652"/>
              <a:gd name="connsiteX747" fmla="*/ 338860 w 593847"/>
              <a:gd name="connsiteY747" fmla="*/ 234260 h 585652"/>
              <a:gd name="connsiteX748" fmla="*/ 329219 w 593847"/>
              <a:gd name="connsiteY748" fmla="*/ 243901 h 585652"/>
              <a:gd name="connsiteX749" fmla="*/ 319579 w 593847"/>
              <a:gd name="connsiteY749" fmla="*/ 234260 h 585652"/>
              <a:gd name="connsiteX750" fmla="*/ 329219 w 593847"/>
              <a:gd name="connsiteY750" fmla="*/ 224620 h 585652"/>
              <a:gd name="connsiteX751" fmla="*/ 296924 w 593847"/>
              <a:gd name="connsiteY751" fmla="*/ 224620 h 585652"/>
              <a:gd name="connsiteX752" fmla="*/ 306565 w 593847"/>
              <a:gd name="connsiteY752" fmla="*/ 234260 h 585652"/>
              <a:gd name="connsiteX753" fmla="*/ 296924 w 593847"/>
              <a:gd name="connsiteY753" fmla="*/ 243901 h 585652"/>
              <a:gd name="connsiteX754" fmla="*/ 287284 w 593847"/>
              <a:gd name="connsiteY754" fmla="*/ 234260 h 585652"/>
              <a:gd name="connsiteX755" fmla="*/ 296924 w 593847"/>
              <a:gd name="connsiteY755" fmla="*/ 224620 h 585652"/>
              <a:gd name="connsiteX756" fmla="*/ 264628 w 593847"/>
              <a:gd name="connsiteY756" fmla="*/ 224620 h 585652"/>
              <a:gd name="connsiteX757" fmla="*/ 274269 w 593847"/>
              <a:gd name="connsiteY757" fmla="*/ 234260 h 585652"/>
              <a:gd name="connsiteX758" fmla="*/ 264628 w 593847"/>
              <a:gd name="connsiteY758" fmla="*/ 243901 h 585652"/>
              <a:gd name="connsiteX759" fmla="*/ 254988 w 593847"/>
              <a:gd name="connsiteY759" fmla="*/ 234260 h 585652"/>
              <a:gd name="connsiteX760" fmla="*/ 264628 w 593847"/>
              <a:gd name="connsiteY760" fmla="*/ 224620 h 585652"/>
              <a:gd name="connsiteX761" fmla="*/ 232333 w 593847"/>
              <a:gd name="connsiteY761" fmla="*/ 224620 h 585652"/>
              <a:gd name="connsiteX762" fmla="*/ 241974 w 593847"/>
              <a:gd name="connsiteY762" fmla="*/ 234260 h 585652"/>
              <a:gd name="connsiteX763" fmla="*/ 232333 w 593847"/>
              <a:gd name="connsiteY763" fmla="*/ 243901 h 585652"/>
              <a:gd name="connsiteX764" fmla="*/ 222693 w 593847"/>
              <a:gd name="connsiteY764" fmla="*/ 234260 h 585652"/>
              <a:gd name="connsiteX765" fmla="*/ 232333 w 593847"/>
              <a:gd name="connsiteY765" fmla="*/ 224620 h 585652"/>
              <a:gd name="connsiteX766" fmla="*/ 200038 w 593847"/>
              <a:gd name="connsiteY766" fmla="*/ 224620 h 585652"/>
              <a:gd name="connsiteX767" fmla="*/ 209679 w 593847"/>
              <a:gd name="connsiteY767" fmla="*/ 234260 h 585652"/>
              <a:gd name="connsiteX768" fmla="*/ 200038 w 593847"/>
              <a:gd name="connsiteY768" fmla="*/ 243901 h 585652"/>
              <a:gd name="connsiteX769" fmla="*/ 190398 w 593847"/>
              <a:gd name="connsiteY769" fmla="*/ 234260 h 585652"/>
              <a:gd name="connsiteX770" fmla="*/ 200038 w 593847"/>
              <a:gd name="connsiteY770" fmla="*/ 224620 h 585652"/>
              <a:gd name="connsiteX771" fmla="*/ 167261 w 593847"/>
              <a:gd name="connsiteY771" fmla="*/ 224620 h 585652"/>
              <a:gd name="connsiteX772" fmla="*/ 176902 w 593847"/>
              <a:gd name="connsiteY772" fmla="*/ 234260 h 585652"/>
              <a:gd name="connsiteX773" fmla="*/ 167261 w 593847"/>
              <a:gd name="connsiteY773" fmla="*/ 243901 h 585652"/>
              <a:gd name="connsiteX774" fmla="*/ 157621 w 593847"/>
              <a:gd name="connsiteY774" fmla="*/ 234260 h 585652"/>
              <a:gd name="connsiteX775" fmla="*/ 167261 w 593847"/>
              <a:gd name="connsiteY775" fmla="*/ 224620 h 585652"/>
              <a:gd name="connsiteX776" fmla="*/ 134965 w 593847"/>
              <a:gd name="connsiteY776" fmla="*/ 224620 h 585652"/>
              <a:gd name="connsiteX777" fmla="*/ 144606 w 593847"/>
              <a:gd name="connsiteY777" fmla="*/ 234260 h 585652"/>
              <a:gd name="connsiteX778" fmla="*/ 134965 w 593847"/>
              <a:gd name="connsiteY778" fmla="*/ 243901 h 585652"/>
              <a:gd name="connsiteX779" fmla="*/ 125325 w 593847"/>
              <a:gd name="connsiteY779" fmla="*/ 234260 h 585652"/>
              <a:gd name="connsiteX780" fmla="*/ 134965 w 593847"/>
              <a:gd name="connsiteY780" fmla="*/ 224620 h 585652"/>
              <a:gd name="connsiteX781" fmla="*/ 102670 w 593847"/>
              <a:gd name="connsiteY781" fmla="*/ 224620 h 585652"/>
              <a:gd name="connsiteX782" fmla="*/ 112311 w 593847"/>
              <a:gd name="connsiteY782" fmla="*/ 234260 h 585652"/>
              <a:gd name="connsiteX783" fmla="*/ 102670 w 593847"/>
              <a:gd name="connsiteY783" fmla="*/ 243901 h 585652"/>
              <a:gd name="connsiteX784" fmla="*/ 93030 w 593847"/>
              <a:gd name="connsiteY784" fmla="*/ 234260 h 585652"/>
              <a:gd name="connsiteX785" fmla="*/ 102670 w 593847"/>
              <a:gd name="connsiteY785" fmla="*/ 224620 h 585652"/>
              <a:gd name="connsiteX786" fmla="*/ 70375 w 593847"/>
              <a:gd name="connsiteY786" fmla="*/ 224620 h 585652"/>
              <a:gd name="connsiteX787" fmla="*/ 80016 w 593847"/>
              <a:gd name="connsiteY787" fmla="*/ 234260 h 585652"/>
              <a:gd name="connsiteX788" fmla="*/ 70375 w 593847"/>
              <a:gd name="connsiteY788" fmla="*/ 243901 h 585652"/>
              <a:gd name="connsiteX789" fmla="*/ 60735 w 593847"/>
              <a:gd name="connsiteY789" fmla="*/ 234260 h 585652"/>
              <a:gd name="connsiteX790" fmla="*/ 70375 w 593847"/>
              <a:gd name="connsiteY790" fmla="*/ 224620 h 585652"/>
              <a:gd name="connsiteX791" fmla="*/ 38080 w 593847"/>
              <a:gd name="connsiteY791" fmla="*/ 224620 h 585652"/>
              <a:gd name="connsiteX792" fmla="*/ 47721 w 593847"/>
              <a:gd name="connsiteY792" fmla="*/ 234260 h 585652"/>
              <a:gd name="connsiteX793" fmla="*/ 38080 w 593847"/>
              <a:gd name="connsiteY793" fmla="*/ 243901 h 585652"/>
              <a:gd name="connsiteX794" fmla="*/ 28440 w 593847"/>
              <a:gd name="connsiteY794" fmla="*/ 234260 h 585652"/>
              <a:gd name="connsiteX795" fmla="*/ 38080 w 593847"/>
              <a:gd name="connsiteY795" fmla="*/ 224620 h 585652"/>
              <a:gd name="connsiteX796" fmla="*/ 5303 w 593847"/>
              <a:gd name="connsiteY796" fmla="*/ 223657 h 585652"/>
              <a:gd name="connsiteX797" fmla="*/ 14944 w 593847"/>
              <a:gd name="connsiteY797" fmla="*/ 234261 h 585652"/>
              <a:gd name="connsiteX798" fmla="*/ 5303 w 593847"/>
              <a:gd name="connsiteY798" fmla="*/ 243902 h 585652"/>
              <a:gd name="connsiteX799" fmla="*/ 483 w 593847"/>
              <a:gd name="connsiteY799" fmla="*/ 242456 h 585652"/>
              <a:gd name="connsiteX800" fmla="*/ 483 w 593847"/>
              <a:gd name="connsiteY800" fmla="*/ 225103 h 585652"/>
              <a:gd name="connsiteX801" fmla="*/ 5303 w 593847"/>
              <a:gd name="connsiteY801" fmla="*/ 223657 h 585652"/>
              <a:gd name="connsiteX802" fmla="*/ 556250 w 593847"/>
              <a:gd name="connsiteY802" fmla="*/ 192807 h 585652"/>
              <a:gd name="connsiteX803" fmla="*/ 565891 w 593847"/>
              <a:gd name="connsiteY803" fmla="*/ 202447 h 585652"/>
              <a:gd name="connsiteX804" fmla="*/ 556250 w 593847"/>
              <a:gd name="connsiteY804" fmla="*/ 212088 h 585652"/>
              <a:gd name="connsiteX805" fmla="*/ 546610 w 593847"/>
              <a:gd name="connsiteY805" fmla="*/ 202447 h 585652"/>
              <a:gd name="connsiteX806" fmla="*/ 556250 w 593847"/>
              <a:gd name="connsiteY806" fmla="*/ 192807 h 585652"/>
              <a:gd name="connsiteX807" fmla="*/ 523955 w 593847"/>
              <a:gd name="connsiteY807" fmla="*/ 192807 h 585652"/>
              <a:gd name="connsiteX808" fmla="*/ 533596 w 593847"/>
              <a:gd name="connsiteY808" fmla="*/ 202447 h 585652"/>
              <a:gd name="connsiteX809" fmla="*/ 523955 w 593847"/>
              <a:gd name="connsiteY809" fmla="*/ 212088 h 585652"/>
              <a:gd name="connsiteX810" fmla="*/ 514315 w 593847"/>
              <a:gd name="connsiteY810" fmla="*/ 202447 h 585652"/>
              <a:gd name="connsiteX811" fmla="*/ 523955 w 593847"/>
              <a:gd name="connsiteY811" fmla="*/ 192807 h 585652"/>
              <a:gd name="connsiteX812" fmla="*/ 491177 w 593847"/>
              <a:gd name="connsiteY812" fmla="*/ 192807 h 585652"/>
              <a:gd name="connsiteX813" fmla="*/ 500818 w 593847"/>
              <a:gd name="connsiteY813" fmla="*/ 202447 h 585652"/>
              <a:gd name="connsiteX814" fmla="*/ 491177 w 593847"/>
              <a:gd name="connsiteY814" fmla="*/ 212088 h 585652"/>
              <a:gd name="connsiteX815" fmla="*/ 481537 w 593847"/>
              <a:gd name="connsiteY815" fmla="*/ 202447 h 585652"/>
              <a:gd name="connsiteX816" fmla="*/ 491177 w 593847"/>
              <a:gd name="connsiteY816" fmla="*/ 192807 h 585652"/>
              <a:gd name="connsiteX817" fmla="*/ 458882 w 593847"/>
              <a:gd name="connsiteY817" fmla="*/ 192807 h 585652"/>
              <a:gd name="connsiteX818" fmla="*/ 468523 w 593847"/>
              <a:gd name="connsiteY818" fmla="*/ 202447 h 585652"/>
              <a:gd name="connsiteX819" fmla="*/ 458882 w 593847"/>
              <a:gd name="connsiteY819" fmla="*/ 212088 h 585652"/>
              <a:gd name="connsiteX820" fmla="*/ 449242 w 593847"/>
              <a:gd name="connsiteY820" fmla="*/ 202447 h 585652"/>
              <a:gd name="connsiteX821" fmla="*/ 458882 w 593847"/>
              <a:gd name="connsiteY821" fmla="*/ 192807 h 585652"/>
              <a:gd name="connsiteX822" fmla="*/ 426587 w 593847"/>
              <a:gd name="connsiteY822" fmla="*/ 192807 h 585652"/>
              <a:gd name="connsiteX823" fmla="*/ 436228 w 593847"/>
              <a:gd name="connsiteY823" fmla="*/ 202447 h 585652"/>
              <a:gd name="connsiteX824" fmla="*/ 426587 w 593847"/>
              <a:gd name="connsiteY824" fmla="*/ 212088 h 585652"/>
              <a:gd name="connsiteX825" fmla="*/ 416947 w 593847"/>
              <a:gd name="connsiteY825" fmla="*/ 202447 h 585652"/>
              <a:gd name="connsiteX826" fmla="*/ 426587 w 593847"/>
              <a:gd name="connsiteY826" fmla="*/ 192807 h 585652"/>
              <a:gd name="connsiteX827" fmla="*/ 394292 w 593847"/>
              <a:gd name="connsiteY827" fmla="*/ 192807 h 585652"/>
              <a:gd name="connsiteX828" fmla="*/ 403933 w 593847"/>
              <a:gd name="connsiteY828" fmla="*/ 202447 h 585652"/>
              <a:gd name="connsiteX829" fmla="*/ 394292 w 593847"/>
              <a:gd name="connsiteY829" fmla="*/ 212088 h 585652"/>
              <a:gd name="connsiteX830" fmla="*/ 384652 w 593847"/>
              <a:gd name="connsiteY830" fmla="*/ 202447 h 585652"/>
              <a:gd name="connsiteX831" fmla="*/ 394292 w 593847"/>
              <a:gd name="connsiteY831" fmla="*/ 192807 h 585652"/>
              <a:gd name="connsiteX832" fmla="*/ 361996 w 593847"/>
              <a:gd name="connsiteY832" fmla="*/ 192807 h 585652"/>
              <a:gd name="connsiteX833" fmla="*/ 371637 w 593847"/>
              <a:gd name="connsiteY833" fmla="*/ 202447 h 585652"/>
              <a:gd name="connsiteX834" fmla="*/ 361996 w 593847"/>
              <a:gd name="connsiteY834" fmla="*/ 212088 h 585652"/>
              <a:gd name="connsiteX835" fmla="*/ 352356 w 593847"/>
              <a:gd name="connsiteY835" fmla="*/ 202447 h 585652"/>
              <a:gd name="connsiteX836" fmla="*/ 361996 w 593847"/>
              <a:gd name="connsiteY836" fmla="*/ 192807 h 585652"/>
              <a:gd name="connsiteX837" fmla="*/ 329219 w 593847"/>
              <a:gd name="connsiteY837" fmla="*/ 192807 h 585652"/>
              <a:gd name="connsiteX838" fmla="*/ 338860 w 593847"/>
              <a:gd name="connsiteY838" fmla="*/ 202447 h 585652"/>
              <a:gd name="connsiteX839" fmla="*/ 329219 w 593847"/>
              <a:gd name="connsiteY839" fmla="*/ 212088 h 585652"/>
              <a:gd name="connsiteX840" fmla="*/ 319579 w 593847"/>
              <a:gd name="connsiteY840" fmla="*/ 202447 h 585652"/>
              <a:gd name="connsiteX841" fmla="*/ 329219 w 593847"/>
              <a:gd name="connsiteY841" fmla="*/ 192807 h 585652"/>
              <a:gd name="connsiteX842" fmla="*/ 296924 w 593847"/>
              <a:gd name="connsiteY842" fmla="*/ 192807 h 585652"/>
              <a:gd name="connsiteX843" fmla="*/ 306565 w 593847"/>
              <a:gd name="connsiteY843" fmla="*/ 202447 h 585652"/>
              <a:gd name="connsiteX844" fmla="*/ 296924 w 593847"/>
              <a:gd name="connsiteY844" fmla="*/ 212088 h 585652"/>
              <a:gd name="connsiteX845" fmla="*/ 287284 w 593847"/>
              <a:gd name="connsiteY845" fmla="*/ 202447 h 585652"/>
              <a:gd name="connsiteX846" fmla="*/ 296924 w 593847"/>
              <a:gd name="connsiteY846" fmla="*/ 192807 h 585652"/>
              <a:gd name="connsiteX847" fmla="*/ 264628 w 593847"/>
              <a:gd name="connsiteY847" fmla="*/ 192807 h 585652"/>
              <a:gd name="connsiteX848" fmla="*/ 274269 w 593847"/>
              <a:gd name="connsiteY848" fmla="*/ 202447 h 585652"/>
              <a:gd name="connsiteX849" fmla="*/ 264628 w 593847"/>
              <a:gd name="connsiteY849" fmla="*/ 212088 h 585652"/>
              <a:gd name="connsiteX850" fmla="*/ 254988 w 593847"/>
              <a:gd name="connsiteY850" fmla="*/ 202447 h 585652"/>
              <a:gd name="connsiteX851" fmla="*/ 264628 w 593847"/>
              <a:gd name="connsiteY851" fmla="*/ 192807 h 585652"/>
              <a:gd name="connsiteX852" fmla="*/ 232333 w 593847"/>
              <a:gd name="connsiteY852" fmla="*/ 192807 h 585652"/>
              <a:gd name="connsiteX853" fmla="*/ 241974 w 593847"/>
              <a:gd name="connsiteY853" fmla="*/ 202447 h 585652"/>
              <a:gd name="connsiteX854" fmla="*/ 232333 w 593847"/>
              <a:gd name="connsiteY854" fmla="*/ 212088 h 585652"/>
              <a:gd name="connsiteX855" fmla="*/ 222693 w 593847"/>
              <a:gd name="connsiteY855" fmla="*/ 202447 h 585652"/>
              <a:gd name="connsiteX856" fmla="*/ 232333 w 593847"/>
              <a:gd name="connsiteY856" fmla="*/ 192807 h 585652"/>
              <a:gd name="connsiteX857" fmla="*/ 200038 w 593847"/>
              <a:gd name="connsiteY857" fmla="*/ 192807 h 585652"/>
              <a:gd name="connsiteX858" fmla="*/ 209679 w 593847"/>
              <a:gd name="connsiteY858" fmla="*/ 202447 h 585652"/>
              <a:gd name="connsiteX859" fmla="*/ 200038 w 593847"/>
              <a:gd name="connsiteY859" fmla="*/ 212088 h 585652"/>
              <a:gd name="connsiteX860" fmla="*/ 190398 w 593847"/>
              <a:gd name="connsiteY860" fmla="*/ 202447 h 585652"/>
              <a:gd name="connsiteX861" fmla="*/ 200038 w 593847"/>
              <a:gd name="connsiteY861" fmla="*/ 192807 h 585652"/>
              <a:gd name="connsiteX862" fmla="*/ 167261 w 593847"/>
              <a:gd name="connsiteY862" fmla="*/ 192807 h 585652"/>
              <a:gd name="connsiteX863" fmla="*/ 176902 w 593847"/>
              <a:gd name="connsiteY863" fmla="*/ 202447 h 585652"/>
              <a:gd name="connsiteX864" fmla="*/ 167261 w 593847"/>
              <a:gd name="connsiteY864" fmla="*/ 212088 h 585652"/>
              <a:gd name="connsiteX865" fmla="*/ 157621 w 593847"/>
              <a:gd name="connsiteY865" fmla="*/ 202447 h 585652"/>
              <a:gd name="connsiteX866" fmla="*/ 167261 w 593847"/>
              <a:gd name="connsiteY866" fmla="*/ 192807 h 585652"/>
              <a:gd name="connsiteX867" fmla="*/ 134965 w 593847"/>
              <a:gd name="connsiteY867" fmla="*/ 192807 h 585652"/>
              <a:gd name="connsiteX868" fmla="*/ 144606 w 593847"/>
              <a:gd name="connsiteY868" fmla="*/ 202447 h 585652"/>
              <a:gd name="connsiteX869" fmla="*/ 134965 w 593847"/>
              <a:gd name="connsiteY869" fmla="*/ 212088 h 585652"/>
              <a:gd name="connsiteX870" fmla="*/ 125325 w 593847"/>
              <a:gd name="connsiteY870" fmla="*/ 202447 h 585652"/>
              <a:gd name="connsiteX871" fmla="*/ 134965 w 593847"/>
              <a:gd name="connsiteY871" fmla="*/ 192807 h 585652"/>
              <a:gd name="connsiteX872" fmla="*/ 102670 w 593847"/>
              <a:gd name="connsiteY872" fmla="*/ 192807 h 585652"/>
              <a:gd name="connsiteX873" fmla="*/ 112311 w 593847"/>
              <a:gd name="connsiteY873" fmla="*/ 202447 h 585652"/>
              <a:gd name="connsiteX874" fmla="*/ 102670 w 593847"/>
              <a:gd name="connsiteY874" fmla="*/ 212088 h 585652"/>
              <a:gd name="connsiteX875" fmla="*/ 93030 w 593847"/>
              <a:gd name="connsiteY875" fmla="*/ 202447 h 585652"/>
              <a:gd name="connsiteX876" fmla="*/ 102670 w 593847"/>
              <a:gd name="connsiteY876" fmla="*/ 192807 h 585652"/>
              <a:gd name="connsiteX877" fmla="*/ 70375 w 593847"/>
              <a:gd name="connsiteY877" fmla="*/ 192807 h 585652"/>
              <a:gd name="connsiteX878" fmla="*/ 80016 w 593847"/>
              <a:gd name="connsiteY878" fmla="*/ 202447 h 585652"/>
              <a:gd name="connsiteX879" fmla="*/ 70375 w 593847"/>
              <a:gd name="connsiteY879" fmla="*/ 212088 h 585652"/>
              <a:gd name="connsiteX880" fmla="*/ 60735 w 593847"/>
              <a:gd name="connsiteY880" fmla="*/ 202447 h 585652"/>
              <a:gd name="connsiteX881" fmla="*/ 70375 w 593847"/>
              <a:gd name="connsiteY881" fmla="*/ 192807 h 585652"/>
              <a:gd name="connsiteX882" fmla="*/ 38080 w 593847"/>
              <a:gd name="connsiteY882" fmla="*/ 192807 h 585652"/>
              <a:gd name="connsiteX883" fmla="*/ 47721 w 593847"/>
              <a:gd name="connsiteY883" fmla="*/ 202447 h 585652"/>
              <a:gd name="connsiteX884" fmla="*/ 38080 w 593847"/>
              <a:gd name="connsiteY884" fmla="*/ 212088 h 585652"/>
              <a:gd name="connsiteX885" fmla="*/ 28440 w 593847"/>
              <a:gd name="connsiteY885" fmla="*/ 202447 h 585652"/>
              <a:gd name="connsiteX886" fmla="*/ 38080 w 593847"/>
              <a:gd name="connsiteY886" fmla="*/ 192807 h 585652"/>
              <a:gd name="connsiteX887" fmla="*/ 5303 w 593847"/>
              <a:gd name="connsiteY887" fmla="*/ 191843 h 585652"/>
              <a:gd name="connsiteX888" fmla="*/ 14944 w 593847"/>
              <a:gd name="connsiteY888" fmla="*/ 202447 h 585652"/>
              <a:gd name="connsiteX889" fmla="*/ 5303 w 593847"/>
              <a:gd name="connsiteY889" fmla="*/ 212088 h 585652"/>
              <a:gd name="connsiteX890" fmla="*/ 483 w 593847"/>
              <a:gd name="connsiteY890" fmla="*/ 210642 h 585652"/>
              <a:gd name="connsiteX891" fmla="*/ 483 w 593847"/>
              <a:gd name="connsiteY891" fmla="*/ 193289 h 585652"/>
              <a:gd name="connsiteX892" fmla="*/ 5303 w 593847"/>
              <a:gd name="connsiteY892" fmla="*/ 191843 h 585652"/>
              <a:gd name="connsiteX893" fmla="*/ 556250 w 593847"/>
              <a:gd name="connsiteY893" fmla="*/ 160512 h 585652"/>
              <a:gd name="connsiteX894" fmla="*/ 565891 w 593847"/>
              <a:gd name="connsiteY894" fmla="*/ 170152 h 585652"/>
              <a:gd name="connsiteX895" fmla="*/ 556250 w 593847"/>
              <a:gd name="connsiteY895" fmla="*/ 179793 h 585652"/>
              <a:gd name="connsiteX896" fmla="*/ 546610 w 593847"/>
              <a:gd name="connsiteY896" fmla="*/ 170152 h 585652"/>
              <a:gd name="connsiteX897" fmla="*/ 556250 w 593847"/>
              <a:gd name="connsiteY897" fmla="*/ 160512 h 585652"/>
              <a:gd name="connsiteX898" fmla="*/ 523955 w 593847"/>
              <a:gd name="connsiteY898" fmla="*/ 160512 h 585652"/>
              <a:gd name="connsiteX899" fmla="*/ 533596 w 593847"/>
              <a:gd name="connsiteY899" fmla="*/ 170152 h 585652"/>
              <a:gd name="connsiteX900" fmla="*/ 523955 w 593847"/>
              <a:gd name="connsiteY900" fmla="*/ 179793 h 585652"/>
              <a:gd name="connsiteX901" fmla="*/ 514315 w 593847"/>
              <a:gd name="connsiteY901" fmla="*/ 170152 h 585652"/>
              <a:gd name="connsiteX902" fmla="*/ 523955 w 593847"/>
              <a:gd name="connsiteY902" fmla="*/ 160512 h 585652"/>
              <a:gd name="connsiteX903" fmla="*/ 491177 w 593847"/>
              <a:gd name="connsiteY903" fmla="*/ 160512 h 585652"/>
              <a:gd name="connsiteX904" fmla="*/ 500818 w 593847"/>
              <a:gd name="connsiteY904" fmla="*/ 170152 h 585652"/>
              <a:gd name="connsiteX905" fmla="*/ 491177 w 593847"/>
              <a:gd name="connsiteY905" fmla="*/ 179793 h 585652"/>
              <a:gd name="connsiteX906" fmla="*/ 481537 w 593847"/>
              <a:gd name="connsiteY906" fmla="*/ 170152 h 585652"/>
              <a:gd name="connsiteX907" fmla="*/ 491177 w 593847"/>
              <a:gd name="connsiteY907" fmla="*/ 160512 h 585652"/>
              <a:gd name="connsiteX908" fmla="*/ 458882 w 593847"/>
              <a:gd name="connsiteY908" fmla="*/ 160512 h 585652"/>
              <a:gd name="connsiteX909" fmla="*/ 468523 w 593847"/>
              <a:gd name="connsiteY909" fmla="*/ 170152 h 585652"/>
              <a:gd name="connsiteX910" fmla="*/ 458882 w 593847"/>
              <a:gd name="connsiteY910" fmla="*/ 179793 h 585652"/>
              <a:gd name="connsiteX911" fmla="*/ 449242 w 593847"/>
              <a:gd name="connsiteY911" fmla="*/ 170152 h 585652"/>
              <a:gd name="connsiteX912" fmla="*/ 458882 w 593847"/>
              <a:gd name="connsiteY912" fmla="*/ 160512 h 585652"/>
              <a:gd name="connsiteX913" fmla="*/ 426587 w 593847"/>
              <a:gd name="connsiteY913" fmla="*/ 160512 h 585652"/>
              <a:gd name="connsiteX914" fmla="*/ 436228 w 593847"/>
              <a:gd name="connsiteY914" fmla="*/ 170152 h 585652"/>
              <a:gd name="connsiteX915" fmla="*/ 426587 w 593847"/>
              <a:gd name="connsiteY915" fmla="*/ 179793 h 585652"/>
              <a:gd name="connsiteX916" fmla="*/ 416947 w 593847"/>
              <a:gd name="connsiteY916" fmla="*/ 170152 h 585652"/>
              <a:gd name="connsiteX917" fmla="*/ 426587 w 593847"/>
              <a:gd name="connsiteY917" fmla="*/ 160512 h 585652"/>
              <a:gd name="connsiteX918" fmla="*/ 394292 w 593847"/>
              <a:gd name="connsiteY918" fmla="*/ 160512 h 585652"/>
              <a:gd name="connsiteX919" fmla="*/ 403933 w 593847"/>
              <a:gd name="connsiteY919" fmla="*/ 170152 h 585652"/>
              <a:gd name="connsiteX920" fmla="*/ 394292 w 593847"/>
              <a:gd name="connsiteY920" fmla="*/ 179793 h 585652"/>
              <a:gd name="connsiteX921" fmla="*/ 384652 w 593847"/>
              <a:gd name="connsiteY921" fmla="*/ 170152 h 585652"/>
              <a:gd name="connsiteX922" fmla="*/ 394292 w 593847"/>
              <a:gd name="connsiteY922" fmla="*/ 160512 h 585652"/>
              <a:gd name="connsiteX923" fmla="*/ 361996 w 593847"/>
              <a:gd name="connsiteY923" fmla="*/ 160512 h 585652"/>
              <a:gd name="connsiteX924" fmla="*/ 371637 w 593847"/>
              <a:gd name="connsiteY924" fmla="*/ 170152 h 585652"/>
              <a:gd name="connsiteX925" fmla="*/ 361996 w 593847"/>
              <a:gd name="connsiteY925" fmla="*/ 179793 h 585652"/>
              <a:gd name="connsiteX926" fmla="*/ 352356 w 593847"/>
              <a:gd name="connsiteY926" fmla="*/ 170152 h 585652"/>
              <a:gd name="connsiteX927" fmla="*/ 361996 w 593847"/>
              <a:gd name="connsiteY927" fmla="*/ 160512 h 585652"/>
              <a:gd name="connsiteX928" fmla="*/ 329219 w 593847"/>
              <a:gd name="connsiteY928" fmla="*/ 160512 h 585652"/>
              <a:gd name="connsiteX929" fmla="*/ 338860 w 593847"/>
              <a:gd name="connsiteY929" fmla="*/ 170152 h 585652"/>
              <a:gd name="connsiteX930" fmla="*/ 329219 w 593847"/>
              <a:gd name="connsiteY930" fmla="*/ 179793 h 585652"/>
              <a:gd name="connsiteX931" fmla="*/ 319579 w 593847"/>
              <a:gd name="connsiteY931" fmla="*/ 170152 h 585652"/>
              <a:gd name="connsiteX932" fmla="*/ 329219 w 593847"/>
              <a:gd name="connsiteY932" fmla="*/ 160512 h 585652"/>
              <a:gd name="connsiteX933" fmla="*/ 296924 w 593847"/>
              <a:gd name="connsiteY933" fmla="*/ 160512 h 585652"/>
              <a:gd name="connsiteX934" fmla="*/ 306565 w 593847"/>
              <a:gd name="connsiteY934" fmla="*/ 170152 h 585652"/>
              <a:gd name="connsiteX935" fmla="*/ 296924 w 593847"/>
              <a:gd name="connsiteY935" fmla="*/ 179793 h 585652"/>
              <a:gd name="connsiteX936" fmla="*/ 287284 w 593847"/>
              <a:gd name="connsiteY936" fmla="*/ 170152 h 585652"/>
              <a:gd name="connsiteX937" fmla="*/ 296924 w 593847"/>
              <a:gd name="connsiteY937" fmla="*/ 160512 h 585652"/>
              <a:gd name="connsiteX938" fmla="*/ 264628 w 593847"/>
              <a:gd name="connsiteY938" fmla="*/ 160512 h 585652"/>
              <a:gd name="connsiteX939" fmla="*/ 274269 w 593847"/>
              <a:gd name="connsiteY939" fmla="*/ 170152 h 585652"/>
              <a:gd name="connsiteX940" fmla="*/ 264628 w 593847"/>
              <a:gd name="connsiteY940" fmla="*/ 179793 h 585652"/>
              <a:gd name="connsiteX941" fmla="*/ 254988 w 593847"/>
              <a:gd name="connsiteY941" fmla="*/ 170152 h 585652"/>
              <a:gd name="connsiteX942" fmla="*/ 264628 w 593847"/>
              <a:gd name="connsiteY942" fmla="*/ 160512 h 585652"/>
              <a:gd name="connsiteX943" fmla="*/ 232333 w 593847"/>
              <a:gd name="connsiteY943" fmla="*/ 160512 h 585652"/>
              <a:gd name="connsiteX944" fmla="*/ 241974 w 593847"/>
              <a:gd name="connsiteY944" fmla="*/ 170152 h 585652"/>
              <a:gd name="connsiteX945" fmla="*/ 232333 w 593847"/>
              <a:gd name="connsiteY945" fmla="*/ 179793 h 585652"/>
              <a:gd name="connsiteX946" fmla="*/ 222693 w 593847"/>
              <a:gd name="connsiteY946" fmla="*/ 170152 h 585652"/>
              <a:gd name="connsiteX947" fmla="*/ 232333 w 593847"/>
              <a:gd name="connsiteY947" fmla="*/ 160512 h 585652"/>
              <a:gd name="connsiteX948" fmla="*/ 200038 w 593847"/>
              <a:gd name="connsiteY948" fmla="*/ 160512 h 585652"/>
              <a:gd name="connsiteX949" fmla="*/ 209679 w 593847"/>
              <a:gd name="connsiteY949" fmla="*/ 170152 h 585652"/>
              <a:gd name="connsiteX950" fmla="*/ 200038 w 593847"/>
              <a:gd name="connsiteY950" fmla="*/ 179793 h 585652"/>
              <a:gd name="connsiteX951" fmla="*/ 190398 w 593847"/>
              <a:gd name="connsiteY951" fmla="*/ 170152 h 585652"/>
              <a:gd name="connsiteX952" fmla="*/ 200038 w 593847"/>
              <a:gd name="connsiteY952" fmla="*/ 160512 h 585652"/>
              <a:gd name="connsiteX953" fmla="*/ 167261 w 593847"/>
              <a:gd name="connsiteY953" fmla="*/ 160512 h 585652"/>
              <a:gd name="connsiteX954" fmla="*/ 176902 w 593847"/>
              <a:gd name="connsiteY954" fmla="*/ 170152 h 585652"/>
              <a:gd name="connsiteX955" fmla="*/ 167261 w 593847"/>
              <a:gd name="connsiteY955" fmla="*/ 179793 h 585652"/>
              <a:gd name="connsiteX956" fmla="*/ 157621 w 593847"/>
              <a:gd name="connsiteY956" fmla="*/ 170152 h 585652"/>
              <a:gd name="connsiteX957" fmla="*/ 167261 w 593847"/>
              <a:gd name="connsiteY957" fmla="*/ 160512 h 585652"/>
              <a:gd name="connsiteX958" fmla="*/ 134965 w 593847"/>
              <a:gd name="connsiteY958" fmla="*/ 160512 h 585652"/>
              <a:gd name="connsiteX959" fmla="*/ 144606 w 593847"/>
              <a:gd name="connsiteY959" fmla="*/ 170152 h 585652"/>
              <a:gd name="connsiteX960" fmla="*/ 134965 w 593847"/>
              <a:gd name="connsiteY960" fmla="*/ 179793 h 585652"/>
              <a:gd name="connsiteX961" fmla="*/ 125325 w 593847"/>
              <a:gd name="connsiteY961" fmla="*/ 170152 h 585652"/>
              <a:gd name="connsiteX962" fmla="*/ 134965 w 593847"/>
              <a:gd name="connsiteY962" fmla="*/ 160512 h 585652"/>
              <a:gd name="connsiteX963" fmla="*/ 102670 w 593847"/>
              <a:gd name="connsiteY963" fmla="*/ 160512 h 585652"/>
              <a:gd name="connsiteX964" fmla="*/ 112311 w 593847"/>
              <a:gd name="connsiteY964" fmla="*/ 170152 h 585652"/>
              <a:gd name="connsiteX965" fmla="*/ 102670 w 593847"/>
              <a:gd name="connsiteY965" fmla="*/ 179793 h 585652"/>
              <a:gd name="connsiteX966" fmla="*/ 93030 w 593847"/>
              <a:gd name="connsiteY966" fmla="*/ 170152 h 585652"/>
              <a:gd name="connsiteX967" fmla="*/ 102670 w 593847"/>
              <a:gd name="connsiteY967" fmla="*/ 160512 h 585652"/>
              <a:gd name="connsiteX968" fmla="*/ 70375 w 593847"/>
              <a:gd name="connsiteY968" fmla="*/ 160512 h 585652"/>
              <a:gd name="connsiteX969" fmla="*/ 80016 w 593847"/>
              <a:gd name="connsiteY969" fmla="*/ 170152 h 585652"/>
              <a:gd name="connsiteX970" fmla="*/ 70375 w 593847"/>
              <a:gd name="connsiteY970" fmla="*/ 179793 h 585652"/>
              <a:gd name="connsiteX971" fmla="*/ 60735 w 593847"/>
              <a:gd name="connsiteY971" fmla="*/ 170152 h 585652"/>
              <a:gd name="connsiteX972" fmla="*/ 70375 w 593847"/>
              <a:gd name="connsiteY972" fmla="*/ 160512 h 585652"/>
              <a:gd name="connsiteX973" fmla="*/ 38080 w 593847"/>
              <a:gd name="connsiteY973" fmla="*/ 160512 h 585652"/>
              <a:gd name="connsiteX974" fmla="*/ 47721 w 593847"/>
              <a:gd name="connsiteY974" fmla="*/ 170152 h 585652"/>
              <a:gd name="connsiteX975" fmla="*/ 38080 w 593847"/>
              <a:gd name="connsiteY975" fmla="*/ 179793 h 585652"/>
              <a:gd name="connsiteX976" fmla="*/ 28440 w 593847"/>
              <a:gd name="connsiteY976" fmla="*/ 170152 h 585652"/>
              <a:gd name="connsiteX977" fmla="*/ 38080 w 593847"/>
              <a:gd name="connsiteY977" fmla="*/ 160512 h 585652"/>
              <a:gd name="connsiteX978" fmla="*/ 5303 w 593847"/>
              <a:gd name="connsiteY978" fmla="*/ 159548 h 585652"/>
              <a:gd name="connsiteX979" fmla="*/ 14944 w 593847"/>
              <a:gd name="connsiteY979" fmla="*/ 170152 h 585652"/>
              <a:gd name="connsiteX980" fmla="*/ 5303 w 593847"/>
              <a:gd name="connsiteY980" fmla="*/ 179793 h 585652"/>
              <a:gd name="connsiteX981" fmla="*/ 483 w 593847"/>
              <a:gd name="connsiteY981" fmla="*/ 178347 h 585652"/>
              <a:gd name="connsiteX982" fmla="*/ 483 w 593847"/>
              <a:gd name="connsiteY982" fmla="*/ 160994 h 585652"/>
              <a:gd name="connsiteX983" fmla="*/ 5303 w 593847"/>
              <a:gd name="connsiteY983" fmla="*/ 159548 h 585652"/>
              <a:gd name="connsiteX984" fmla="*/ 585653 w 593847"/>
              <a:gd name="connsiteY984" fmla="*/ 128699 h 585652"/>
              <a:gd name="connsiteX985" fmla="*/ 582279 w 593847"/>
              <a:gd name="connsiteY985" fmla="*/ 145570 h 585652"/>
              <a:gd name="connsiteX986" fmla="*/ 578423 w 593847"/>
              <a:gd name="connsiteY986" fmla="*/ 137857 h 585652"/>
              <a:gd name="connsiteX987" fmla="*/ 585653 w 593847"/>
              <a:gd name="connsiteY987" fmla="*/ 128699 h 585652"/>
              <a:gd name="connsiteX988" fmla="*/ 556250 w 593847"/>
              <a:gd name="connsiteY988" fmla="*/ 128217 h 585652"/>
              <a:gd name="connsiteX989" fmla="*/ 565891 w 593847"/>
              <a:gd name="connsiteY989" fmla="*/ 137857 h 585652"/>
              <a:gd name="connsiteX990" fmla="*/ 556250 w 593847"/>
              <a:gd name="connsiteY990" fmla="*/ 147498 h 585652"/>
              <a:gd name="connsiteX991" fmla="*/ 546610 w 593847"/>
              <a:gd name="connsiteY991" fmla="*/ 137857 h 585652"/>
              <a:gd name="connsiteX992" fmla="*/ 556250 w 593847"/>
              <a:gd name="connsiteY992" fmla="*/ 128217 h 585652"/>
              <a:gd name="connsiteX993" fmla="*/ 523955 w 593847"/>
              <a:gd name="connsiteY993" fmla="*/ 128217 h 585652"/>
              <a:gd name="connsiteX994" fmla="*/ 533596 w 593847"/>
              <a:gd name="connsiteY994" fmla="*/ 137857 h 585652"/>
              <a:gd name="connsiteX995" fmla="*/ 523955 w 593847"/>
              <a:gd name="connsiteY995" fmla="*/ 147498 h 585652"/>
              <a:gd name="connsiteX996" fmla="*/ 514315 w 593847"/>
              <a:gd name="connsiteY996" fmla="*/ 137857 h 585652"/>
              <a:gd name="connsiteX997" fmla="*/ 523955 w 593847"/>
              <a:gd name="connsiteY997" fmla="*/ 128217 h 585652"/>
              <a:gd name="connsiteX998" fmla="*/ 491177 w 593847"/>
              <a:gd name="connsiteY998" fmla="*/ 128217 h 585652"/>
              <a:gd name="connsiteX999" fmla="*/ 500818 w 593847"/>
              <a:gd name="connsiteY999" fmla="*/ 137857 h 585652"/>
              <a:gd name="connsiteX1000" fmla="*/ 491177 w 593847"/>
              <a:gd name="connsiteY1000" fmla="*/ 147498 h 585652"/>
              <a:gd name="connsiteX1001" fmla="*/ 481537 w 593847"/>
              <a:gd name="connsiteY1001" fmla="*/ 137857 h 585652"/>
              <a:gd name="connsiteX1002" fmla="*/ 491177 w 593847"/>
              <a:gd name="connsiteY1002" fmla="*/ 128217 h 585652"/>
              <a:gd name="connsiteX1003" fmla="*/ 458882 w 593847"/>
              <a:gd name="connsiteY1003" fmla="*/ 128217 h 585652"/>
              <a:gd name="connsiteX1004" fmla="*/ 468523 w 593847"/>
              <a:gd name="connsiteY1004" fmla="*/ 137857 h 585652"/>
              <a:gd name="connsiteX1005" fmla="*/ 458882 w 593847"/>
              <a:gd name="connsiteY1005" fmla="*/ 147498 h 585652"/>
              <a:gd name="connsiteX1006" fmla="*/ 449242 w 593847"/>
              <a:gd name="connsiteY1006" fmla="*/ 137857 h 585652"/>
              <a:gd name="connsiteX1007" fmla="*/ 458882 w 593847"/>
              <a:gd name="connsiteY1007" fmla="*/ 128217 h 585652"/>
              <a:gd name="connsiteX1008" fmla="*/ 426587 w 593847"/>
              <a:gd name="connsiteY1008" fmla="*/ 128217 h 585652"/>
              <a:gd name="connsiteX1009" fmla="*/ 436228 w 593847"/>
              <a:gd name="connsiteY1009" fmla="*/ 137857 h 585652"/>
              <a:gd name="connsiteX1010" fmla="*/ 426587 w 593847"/>
              <a:gd name="connsiteY1010" fmla="*/ 147498 h 585652"/>
              <a:gd name="connsiteX1011" fmla="*/ 416947 w 593847"/>
              <a:gd name="connsiteY1011" fmla="*/ 137857 h 585652"/>
              <a:gd name="connsiteX1012" fmla="*/ 426587 w 593847"/>
              <a:gd name="connsiteY1012" fmla="*/ 128217 h 585652"/>
              <a:gd name="connsiteX1013" fmla="*/ 394292 w 593847"/>
              <a:gd name="connsiteY1013" fmla="*/ 128217 h 585652"/>
              <a:gd name="connsiteX1014" fmla="*/ 403933 w 593847"/>
              <a:gd name="connsiteY1014" fmla="*/ 137857 h 585652"/>
              <a:gd name="connsiteX1015" fmla="*/ 394292 w 593847"/>
              <a:gd name="connsiteY1015" fmla="*/ 147498 h 585652"/>
              <a:gd name="connsiteX1016" fmla="*/ 384652 w 593847"/>
              <a:gd name="connsiteY1016" fmla="*/ 137857 h 585652"/>
              <a:gd name="connsiteX1017" fmla="*/ 394292 w 593847"/>
              <a:gd name="connsiteY1017" fmla="*/ 128217 h 585652"/>
              <a:gd name="connsiteX1018" fmla="*/ 361996 w 593847"/>
              <a:gd name="connsiteY1018" fmla="*/ 128217 h 585652"/>
              <a:gd name="connsiteX1019" fmla="*/ 371637 w 593847"/>
              <a:gd name="connsiteY1019" fmla="*/ 137857 h 585652"/>
              <a:gd name="connsiteX1020" fmla="*/ 361996 w 593847"/>
              <a:gd name="connsiteY1020" fmla="*/ 147498 h 585652"/>
              <a:gd name="connsiteX1021" fmla="*/ 352356 w 593847"/>
              <a:gd name="connsiteY1021" fmla="*/ 137857 h 585652"/>
              <a:gd name="connsiteX1022" fmla="*/ 361996 w 593847"/>
              <a:gd name="connsiteY1022" fmla="*/ 128217 h 585652"/>
              <a:gd name="connsiteX1023" fmla="*/ 329219 w 593847"/>
              <a:gd name="connsiteY1023" fmla="*/ 128217 h 585652"/>
              <a:gd name="connsiteX1024" fmla="*/ 338860 w 593847"/>
              <a:gd name="connsiteY1024" fmla="*/ 137857 h 585652"/>
              <a:gd name="connsiteX1025" fmla="*/ 329219 w 593847"/>
              <a:gd name="connsiteY1025" fmla="*/ 147498 h 585652"/>
              <a:gd name="connsiteX1026" fmla="*/ 319579 w 593847"/>
              <a:gd name="connsiteY1026" fmla="*/ 137857 h 585652"/>
              <a:gd name="connsiteX1027" fmla="*/ 329219 w 593847"/>
              <a:gd name="connsiteY1027" fmla="*/ 128217 h 585652"/>
              <a:gd name="connsiteX1028" fmla="*/ 296924 w 593847"/>
              <a:gd name="connsiteY1028" fmla="*/ 128217 h 585652"/>
              <a:gd name="connsiteX1029" fmla="*/ 306565 w 593847"/>
              <a:gd name="connsiteY1029" fmla="*/ 137857 h 585652"/>
              <a:gd name="connsiteX1030" fmla="*/ 296924 w 593847"/>
              <a:gd name="connsiteY1030" fmla="*/ 147498 h 585652"/>
              <a:gd name="connsiteX1031" fmla="*/ 287284 w 593847"/>
              <a:gd name="connsiteY1031" fmla="*/ 137857 h 585652"/>
              <a:gd name="connsiteX1032" fmla="*/ 296924 w 593847"/>
              <a:gd name="connsiteY1032" fmla="*/ 128217 h 585652"/>
              <a:gd name="connsiteX1033" fmla="*/ 264628 w 593847"/>
              <a:gd name="connsiteY1033" fmla="*/ 128217 h 585652"/>
              <a:gd name="connsiteX1034" fmla="*/ 274269 w 593847"/>
              <a:gd name="connsiteY1034" fmla="*/ 137857 h 585652"/>
              <a:gd name="connsiteX1035" fmla="*/ 264628 w 593847"/>
              <a:gd name="connsiteY1035" fmla="*/ 147498 h 585652"/>
              <a:gd name="connsiteX1036" fmla="*/ 254988 w 593847"/>
              <a:gd name="connsiteY1036" fmla="*/ 137857 h 585652"/>
              <a:gd name="connsiteX1037" fmla="*/ 264628 w 593847"/>
              <a:gd name="connsiteY1037" fmla="*/ 128217 h 585652"/>
              <a:gd name="connsiteX1038" fmla="*/ 232333 w 593847"/>
              <a:gd name="connsiteY1038" fmla="*/ 128217 h 585652"/>
              <a:gd name="connsiteX1039" fmla="*/ 241974 w 593847"/>
              <a:gd name="connsiteY1039" fmla="*/ 137857 h 585652"/>
              <a:gd name="connsiteX1040" fmla="*/ 232333 w 593847"/>
              <a:gd name="connsiteY1040" fmla="*/ 147498 h 585652"/>
              <a:gd name="connsiteX1041" fmla="*/ 222693 w 593847"/>
              <a:gd name="connsiteY1041" fmla="*/ 137857 h 585652"/>
              <a:gd name="connsiteX1042" fmla="*/ 232333 w 593847"/>
              <a:gd name="connsiteY1042" fmla="*/ 128217 h 585652"/>
              <a:gd name="connsiteX1043" fmla="*/ 200038 w 593847"/>
              <a:gd name="connsiteY1043" fmla="*/ 128217 h 585652"/>
              <a:gd name="connsiteX1044" fmla="*/ 209679 w 593847"/>
              <a:gd name="connsiteY1044" fmla="*/ 137857 h 585652"/>
              <a:gd name="connsiteX1045" fmla="*/ 200038 w 593847"/>
              <a:gd name="connsiteY1045" fmla="*/ 147498 h 585652"/>
              <a:gd name="connsiteX1046" fmla="*/ 190398 w 593847"/>
              <a:gd name="connsiteY1046" fmla="*/ 137857 h 585652"/>
              <a:gd name="connsiteX1047" fmla="*/ 200038 w 593847"/>
              <a:gd name="connsiteY1047" fmla="*/ 128217 h 585652"/>
              <a:gd name="connsiteX1048" fmla="*/ 167261 w 593847"/>
              <a:gd name="connsiteY1048" fmla="*/ 128217 h 585652"/>
              <a:gd name="connsiteX1049" fmla="*/ 176902 w 593847"/>
              <a:gd name="connsiteY1049" fmla="*/ 137857 h 585652"/>
              <a:gd name="connsiteX1050" fmla="*/ 167261 w 593847"/>
              <a:gd name="connsiteY1050" fmla="*/ 147498 h 585652"/>
              <a:gd name="connsiteX1051" fmla="*/ 157621 w 593847"/>
              <a:gd name="connsiteY1051" fmla="*/ 137857 h 585652"/>
              <a:gd name="connsiteX1052" fmla="*/ 167261 w 593847"/>
              <a:gd name="connsiteY1052" fmla="*/ 128217 h 585652"/>
              <a:gd name="connsiteX1053" fmla="*/ 134965 w 593847"/>
              <a:gd name="connsiteY1053" fmla="*/ 128217 h 585652"/>
              <a:gd name="connsiteX1054" fmla="*/ 144606 w 593847"/>
              <a:gd name="connsiteY1054" fmla="*/ 137857 h 585652"/>
              <a:gd name="connsiteX1055" fmla="*/ 134965 w 593847"/>
              <a:gd name="connsiteY1055" fmla="*/ 147498 h 585652"/>
              <a:gd name="connsiteX1056" fmla="*/ 125325 w 593847"/>
              <a:gd name="connsiteY1056" fmla="*/ 137857 h 585652"/>
              <a:gd name="connsiteX1057" fmla="*/ 134965 w 593847"/>
              <a:gd name="connsiteY1057" fmla="*/ 128217 h 585652"/>
              <a:gd name="connsiteX1058" fmla="*/ 102670 w 593847"/>
              <a:gd name="connsiteY1058" fmla="*/ 128217 h 585652"/>
              <a:gd name="connsiteX1059" fmla="*/ 112311 w 593847"/>
              <a:gd name="connsiteY1059" fmla="*/ 137857 h 585652"/>
              <a:gd name="connsiteX1060" fmla="*/ 102670 w 593847"/>
              <a:gd name="connsiteY1060" fmla="*/ 147498 h 585652"/>
              <a:gd name="connsiteX1061" fmla="*/ 93030 w 593847"/>
              <a:gd name="connsiteY1061" fmla="*/ 137857 h 585652"/>
              <a:gd name="connsiteX1062" fmla="*/ 102670 w 593847"/>
              <a:gd name="connsiteY1062" fmla="*/ 128217 h 585652"/>
              <a:gd name="connsiteX1063" fmla="*/ 70375 w 593847"/>
              <a:gd name="connsiteY1063" fmla="*/ 128217 h 585652"/>
              <a:gd name="connsiteX1064" fmla="*/ 80016 w 593847"/>
              <a:gd name="connsiteY1064" fmla="*/ 137857 h 585652"/>
              <a:gd name="connsiteX1065" fmla="*/ 70375 w 593847"/>
              <a:gd name="connsiteY1065" fmla="*/ 147498 h 585652"/>
              <a:gd name="connsiteX1066" fmla="*/ 60735 w 593847"/>
              <a:gd name="connsiteY1066" fmla="*/ 137857 h 585652"/>
              <a:gd name="connsiteX1067" fmla="*/ 70375 w 593847"/>
              <a:gd name="connsiteY1067" fmla="*/ 128217 h 585652"/>
              <a:gd name="connsiteX1068" fmla="*/ 38080 w 593847"/>
              <a:gd name="connsiteY1068" fmla="*/ 128217 h 585652"/>
              <a:gd name="connsiteX1069" fmla="*/ 47721 w 593847"/>
              <a:gd name="connsiteY1069" fmla="*/ 137857 h 585652"/>
              <a:gd name="connsiteX1070" fmla="*/ 38080 w 593847"/>
              <a:gd name="connsiteY1070" fmla="*/ 147498 h 585652"/>
              <a:gd name="connsiteX1071" fmla="*/ 28440 w 593847"/>
              <a:gd name="connsiteY1071" fmla="*/ 137857 h 585652"/>
              <a:gd name="connsiteX1072" fmla="*/ 38080 w 593847"/>
              <a:gd name="connsiteY1072" fmla="*/ 128217 h 585652"/>
              <a:gd name="connsiteX1073" fmla="*/ 5303 w 593847"/>
              <a:gd name="connsiteY1073" fmla="*/ 127253 h 585652"/>
              <a:gd name="connsiteX1074" fmla="*/ 14944 w 593847"/>
              <a:gd name="connsiteY1074" fmla="*/ 137857 h 585652"/>
              <a:gd name="connsiteX1075" fmla="*/ 5303 w 593847"/>
              <a:gd name="connsiteY1075" fmla="*/ 147498 h 585652"/>
              <a:gd name="connsiteX1076" fmla="*/ 483 w 593847"/>
              <a:gd name="connsiteY1076" fmla="*/ 146052 h 585652"/>
              <a:gd name="connsiteX1077" fmla="*/ 483 w 593847"/>
              <a:gd name="connsiteY1077" fmla="*/ 128699 h 585652"/>
              <a:gd name="connsiteX1078" fmla="*/ 5303 w 593847"/>
              <a:gd name="connsiteY1078" fmla="*/ 127253 h 585652"/>
              <a:gd name="connsiteX1079" fmla="*/ 588545 w 593847"/>
              <a:gd name="connsiteY1079" fmla="*/ 96404 h 585652"/>
              <a:gd name="connsiteX1080" fmla="*/ 590473 w 593847"/>
              <a:gd name="connsiteY1080" fmla="*/ 96404 h 585652"/>
              <a:gd name="connsiteX1081" fmla="*/ 588063 w 593847"/>
              <a:gd name="connsiteY1081" fmla="*/ 115684 h 585652"/>
              <a:gd name="connsiteX1082" fmla="*/ 578905 w 593847"/>
              <a:gd name="connsiteY1082" fmla="*/ 106044 h 585652"/>
              <a:gd name="connsiteX1083" fmla="*/ 588545 w 593847"/>
              <a:gd name="connsiteY1083" fmla="*/ 96404 h 585652"/>
              <a:gd name="connsiteX1084" fmla="*/ 556250 w 593847"/>
              <a:gd name="connsiteY1084" fmla="*/ 96403 h 585652"/>
              <a:gd name="connsiteX1085" fmla="*/ 565891 w 593847"/>
              <a:gd name="connsiteY1085" fmla="*/ 106043 h 585652"/>
              <a:gd name="connsiteX1086" fmla="*/ 556250 w 593847"/>
              <a:gd name="connsiteY1086" fmla="*/ 115684 h 585652"/>
              <a:gd name="connsiteX1087" fmla="*/ 546610 w 593847"/>
              <a:gd name="connsiteY1087" fmla="*/ 106043 h 585652"/>
              <a:gd name="connsiteX1088" fmla="*/ 556250 w 593847"/>
              <a:gd name="connsiteY1088" fmla="*/ 96403 h 585652"/>
              <a:gd name="connsiteX1089" fmla="*/ 523955 w 593847"/>
              <a:gd name="connsiteY1089" fmla="*/ 96403 h 585652"/>
              <a:gd name="connsiteX1090" fmla="*/ 533596 w 593847"/>
              <a:gd name="connsiteY1090" fmla="*/ 106043 h 585652"/>
              <a:gd name="connsiteX1091" fmla="*/ 523955 w 593847"/>
              <a:gd name="connsiteY1091" fmla="*/ 115684 h 585652"/>
              <a:gd name="connsiteX1092" fmla="*/ 514315 w 593847"/>
              <a:gd name="connsiteY1092" fmla="*/ 106043 h 585652"/>
              <a:gd name="connsiteX1093" fmla="*/ 523955 w 593847"/>
              <a:gd name="connsiteY1093" fmla="*/ 96403 h 585652"/>
              <a:gd name="connsiteX1094" fmla="*/ 491177 w 593847"/>
              <a:gd name="connsiteY1094" fmla="*/ 96403 h 585652"/>
              <a:gd name="connsiteX1095" fmla="*/ 500818 w 593847"/>
              <a:gd name="connsiteY1095" fmla="*/ 106043 h 585652"/>
              <a:gd name="connsiteX1096" fmla="*/ 491177 w 593847"/>
              <a:gd name="connsiteY1096" fmla="*/ 115684 h 585652"/>
              <a:gd name="connsiteX1097" fmla="*/ 481537 w 593847"/>
              <a:gd name="connsiteY1097" fmla="*/ 106043 h 585652"/>
              <a:gd name="connsiteX1098" fmla="*/ 491177 w 593847"/>
              <a:gd name="connsiteY1098" fmla="*/ 96403 h 585652"/>
              <a:gd name="connsiteX1099" fmla="*/ 458882 w 593847"/>
              <a:gd name="connsiteY1099" fmla="*/ 96403 h 585652"/>
              <a:gd name="connsiteX1100" fmla="*/ 468523 w 593847"/>
              <a:gd name="connsiteY1100" fmla="*/ 106043 h 585652"/>
              <a:gd name="connsiteX1101" fmla="*/ 458882 w 593847"/>
              <a:gd name="connsiteY1101" fmla="*/ 115684 h 585652"/>
              <a:gd name="connsiteX1102" fmla="*/ 449242 w 593847"/>
              <a:gd name="connsiteY1102" fmla="*/ 106043 h 585652"/>
              <a:gd name="connsiteX1103" fmla="*/ 458882 w 593847"/>
              <a:gd name="connsiteY1103" fmla="*/ 96403 h 585652"/>
              <a:gd name="connsiteX1104" fmla="*/ 426587 w 593847"/>
              <a:gd name="connsiteY1104" fmla="*/ 96403 h 585652"/>
              <a:gd name="connsiteX1105" fmla="*/ 436228 w 593847"/>
              <a:gd name="connsiteY1105" fmla="*/ 106043 h 585652"/>
              <a:gd name="connsiteX1106" fmla="*/ 426587 w 593847"/>
              <a:gd name="connsiteY1106" fmla="*/ 115684 h 585652"/>
              <a:gd name="connsiteX1107" fmla="*/ 416947 w 593847"/>
              <a:gd name="connsiteY1107" fmla="*/ 106043 h 585652"/>
              <a:gd name="connsiteX1108" fmla="*/ 426587 w 593847"/>
              <a:gd name="connsiteY1108" fmla="*/ 96403 h 585652"/>
              <a:gd name="connsiteX1109" fmla="*/ 394292 w 593847"/>
              <a:gd name="connsiteY1109" fmla="*/ 96403 h 585652"/>
              <a:gd name="connsiteX1110" fmla="*/ 403933 w 593847"/>
              <a:gd name="connsiteY1110" fmla="*/ 106043 h 585652"/>
              <a:gd name="connsiteX1111" fmla="*/ 394292 w 593847"/>
              <a:gd name="connsiteY1111" fmla="*/ 115684 h 585652"/>
              <a:gd name="connsiteX1112" fmla="*/ 384652 w 593847"/>
              <a:gd name="connsiteY1112" fmla="*/ 106043 h 585652"/>
              <a:gd name="connsiteX1113" fmla="*/ 394292 w 593847"/>
              <a:gd name="connsiteY1113" fmla="*/ 96403 h 585652"/>
              <a:gd name="connsiteX1114" fmla="*/ 361996 w 593847"/>
              <a:gd name="connsiteY1114" fmla="*/ 96403 h 585652"/>
              <a:gd name="connsiteX1115" fmla="*/ 371637 w 593847"/>
              <a:gd name="connsiteY1115" fmla="*/ 106043 h 585652"/>
              <a:gd name="connsiteX1116" fmla="*/ 361996 w 593847"/>
              <a:gd name="connsiteY1116" fmla="*/ 115684 h 585652"/>
              <a:gd name="connsiteX1117" fmla="*/ 352356 w 593847"/>
              <a:gd name="connsiteY1117" fmla="*/ 106043 h 585652"/>
              <a:gd name="connsiteX1118" fmla="*/ 361996 w 593847"/>
              <a:gd name="connsiteY1118" fmla="*/ 96403 h 585652"/>
              <a:gd name="connsiteX1119" fmla="*/ 329219 w 593847"/>
              <a:gd name="connsiteY1119" fmla="*/ 96403 h 585652"/>
              <a:gd name="connsiteX1120" fmla="*/ 338860 w 593847"/>
              <a:gd name="connsiteY1120" fmla="*/ 106043 h 585652"/>
              <a:gd name="connsiteX1121" fmla="*/ 329219 w 593847"/>
              <a:gd name="connsiteY1121" fmla="*/ 115684 h 585652"/>
              <a:gd name="connsiteX1122" fmla="*/ 319579 w 593847"/>
              <a:gd name="connsiteY1122" fmla="*/ 106043 h 585652"/>
              <a:gd name="connsiteX1123" fmla="*/ 329219 w 593847"/>
              <a:gd name="connsiteY1123" fmla="*/ 96403 h 585652"/>
              <a:gd name="connsiteX1124" fmla="*/ 296924 w 593847"/>
              <a:gd name="connsiteY1124" fmla="*/ 96403 h 585652"/>
              <a:gd name="connsiteX1125" fmla="*/ 306565 w 593847"/>
              <a:gd name="connsiteY1125" fmla="*/ 106043 h 585652"/>
              <a:gd name="connsiteX1126" fmla="*/ 296924 w 593847"/>
              <a:gd name="connsiteY1126" fmla="*/ 115684 h 585652"/>
              <a:gd name="connsiteX1127" fmla="*/ 287284 w 593847"/>
              <a:gd name="connsiteY1127" fmla="*/ 106043 h 585652"/>
              <a:gd name="connsiteX1128" fmla="*/ 296924 w 593847"/>
              <a:gd name="connsiteY1128" fmla="*/ 96403 h 585652"/>
              <a:gd name="connsiteX1129" fmla="*/ 264628 w 593847"/>
              <a:gd name="connsiteY1129" fmla="*/ 96403 h 585652"/>
              <a:gd name="connsiteX1130" fmla="*/ 274269 w 593847"/>
              <a:gd name="connsiteY1130" fmla="*/ 106043 h 585652"/>
              <a:gd name="connsiteX1131" fmla="*/ 264628 w 593847"/>
              <a:gd name="connsiteY1131" fmla="*/ 115684 h 585652"/>
              <a:gd name="connsiteX1132" fmla="*/ 254988 w 593847"/>
              <a:gd name="connsiteY1132" fmla="*/ 106043 h 585652"/>
              <a:gd name="connsiteX1133" fmla="*/ 264628 w 593847"/>
              <a:gd name="connsiteY1133" fmla="*/ 96403 h 585652"/>
              <a:gd name="connsiteX1134" fmla="*/ 232333 w 593847"/>
              <a:gd name="connsiteY1134" fmla="*/ 96403 h 585652"/>
              <a:gd name="connsiteX1135" fmla="*/ 241974 w 593847"/>
              <a:gd name="connsiteY1135" fmla="*/ 106043 h 585652"/>
              <a:gd name="connsiteX1136" fmla="*/ 232333 w 593847"/>
              <a:gd name="connsiteY1136" fmla="*/ 115684 h 585652"/>
              <a:gd name="connsiteX1137" fmla="*/ 222693 w 593847"/>
              <a:gd name="connsiteY1137" fmla="*/ 106043 h 585652"/>
              <a:gd name="connsiteX1138" fmla="*/ 232333 w 593847"/>
              <a:gd name="connsiteY1138" fmla="*/ 96403 h 585652"/>
              <a:gd name="connsiteX1139" fmla="*/ 200038 w 593847"/>
              <a:gd name="connsiteY1139" fmla="*/ 96403 h 585652"/>
              <a:gd name="connsiteX1140" fmla="*/ 209679 w 593847"/>
              <a:gd name="connsiteY1140" fmla="*/ 106043 h 585652"/>
              <a:gd name="connsiteX1141" fmla="*/ 200038 w 593847"/>
              <a:gd name="connsiteY1141" fmla="*/ 115684 h 585652"/>
              <a:gd name="connsiteX1142" fmla="*/ 190398 w 593847"/>
              <a:gd name="connsiteY1142" fmla="*/ 106043 h 585652"/>
              <a:gd name="connsiteX1143" fmla="*/ 200038 w 593847"/>
              <a:gd name="connsiteY1143" fmla="*/ 96403 h 585652"/>
              <a:gd name="connsiteX1144" fmla="*/ 167261 w 593847"/>
              <a:gd name="connsiteY1144" fmla="*/ 96403 h 585652"/>
              <a:gd name="connsiteX1145" fmla="*/ 176902 w 593847"/>
              <a:gd name="connsiteY1145" fmla="*/ 106043 h 585652"/>
              <a:gd name="connsiteX1146" fmla="*/ 167261 w 593847"/>
              <a:gd name="connsiteY1146" fmla="*/ 115684 h 585652"/>
              <a:gd name="connsiteX1147" fmla="*/ 157621 w 593847"/>
              <a:gd name="connsiteY1147" fmla="*/ 106043 h 585652"/>
              <a:gd name="connsiteX1148" fmla="*/ 167261 w 593847"/>
              <a:gd name="connsiteY1148" fmla="*/ 96403 h 585652"/>
              <a:gd name="connsiteX1149" fmla="*/ 134965 w 593847"/>
              <a:gd name="connsiteY1149" fmla="*/ 96403 h 585652"/>
              <a:gd name="connsiteX1150" fmla="*/ 144606 w 593847"/>
              <a:gd name="connsiteY1150" fmla="*/ 106043 h 585652"/>
              <a:gd name="connsiteX1151" fmla="*/ 134965 w 593847"/>
              <a:gd name="connsiteY1151" fmla="*/ 115684 h 585652"/>
              <a:gd name="connsiteX1152" fmla="*/ 125325 w 593847"/>
              <a:gd name="connsiteY1152" fmla="*/ 106043 h 585652"/>
              <a:gd name="connsiteX1153" fmla="*/ 134965 w 593847"/>
              <a:gd name="connsiteY1153" fmla="*/ 96403 h 585652"/>
              <a:gd name="connsiteX1154" fmla="*/ 102670 w 593847"/>
              <a:gd name="connsiteY1154" fmla="*/ 96403 h 585652"/>
              <a:gd name="connsiteX1155" fmla="*/ 112311 w 593847"/>
              <a:gd name="connsiteY1155" fmla="*/ 106043 h 585652"/>
              <a:gd name="connsiteX1156" fmla="*/ 102670 w 593847"/>
              <a:gd name="connsiteY1156" fmla="*/ 115684 h 585652"/>
              <a:gd name="connsiteX1157" fmla="*/ 93030 w 593847"/>
              <a:gd name="connsiteY1157" fmla="*/ 106043 h 585652"/>
              <a:gd name="connsiteX1158" fmla="*/ 102670 w 593847"/>
              <a:gd name="connsiteY1158" fmla="*/ 96403 h 585652"/>
              <a:gd name="connsiteX1159" fmla="*/ 70375 w 593847"/>
              <a:gd name="connsiteY1159" fmla="*/ 96403 h 585652"/>
              <a:gd name="connsiteX1160" fmla="*/ 80016 w 593847"/>
              <a:gd name="connsiteY1160" fmla="*/ 106043 h 585652"/>
              <a:gd name="connsiteX1161" fmla="*/ 70375 w 593847"/>
              <a:gd name="connsiteY1161" fmla="*/ 115684 h 585652"/>
              <a:gd name="connsiteX1162" fmla="*/ 60735 w 593847"/>
              <a:gd name="connsiteY1162" fmla="*/ 106043 h 585652"/>
              <a:gd name="connsiteX1163" fmla="*/ 70375 w 593847"/>
              <a:gd name="connsiteY1163" fmla="*/ 96403 h 585652"/>
              <a:gd name="connsiteX1164" fmla="*/ 38080 w 593847"/>
              <a:gd name="connsiteY1164" fmla="*/ 96403 h 585652"/>
              <a:gd name="connsiteX1165" fmla="*/ 47721 w 593847"/>
              <a:gd name="connsiteY1165" fmla="*/ 106043 h 585652"/>
              <a:gd name="connsiteX1166" fmla="*/ 38080 w 593847"/>
              <a:gd name="connsiteY1166" fmla="*/ 115684 h 585652"/>
              <a:gd name="connsiteX1167" fmla="*/ 28440 w 593847"/>
              <a:gd name="connsiteY1167" fmla="*/ 106043 h 585652"/>
              <a:gd name="connsiteX1168" fmla="*/ 38080 w 593847"/>
              <a:gd name="connsiteY1168" fmla="*/ 96403 h 585652"/>
              <a:gd name="connsiteX1169" fmla="*/ 5303 w 593847"/>
              <a:gd name="connsiteY1169" fmla="*/ 95439 h 585652"/>
              <a:gd name="connsiteX1170" fmla="*/ 14944 w 593847"/>
              <a:gd name="connsiteY1170" fmla="*/ 106043 h 585652"/>
              <a:gd name="connsiteX1171" fmla="*/ 5303 w 593847"/>
              <a:gd name="connsiteY1171" fmla="*/ 115684 h 585652"/>
              <a:gd name="connsiteX1172" fmla="*/ 483 w 593847"/>
              <a:gd name="connsiteY1172" fmla="*/ 114238 h 585652"/>
              <a:gd name="connsiteX1173" fmla="*/ 483 w 593847"/>
              <a:gd name="connsiteY1173" fmla="*/ 96885 h 585652"/>
              <a:gd name="connsiteX1174" fmla="*/ 5303 w 593847"/>
              <a:gd name="connsiteY1174" fmla="*/ 95439 h 585652"/>
              <a:gd name="connsiteX1175" fmla="*/ 588545 w 593847"/>
              <a:gd name="connsiteY1175" fmla="*/ 64591 h 585652"/>
              <a:gd name="connsiteX1176" fmla="*/ 592883 w 593847"/>
              <a:gd name="connsiteY1176" fmla="*/ 65073 h 585652"/>
              <a:gd name="connsiteX1177" fmla="*/ 591437 w 593847"/>
              <a:gd name="connsiteY1177" fmla="*/ 83389 h 585652"/>
              <a:gd name="connsiteX1178" fmla="*/ 588545 w 593847"/>
              <a:gd name="connsiteY1178" fmla="*/ 83871 h 585652"/>
              <a:gd name="connsiteX1179" fmla="*/ 578905 w 593847"/>
              <a:gd name="connsiteY1179" fmla="*/ 74231 h 585652"/>
              <a:gd name="connsiteX1180" fmla="*/ 588545 w 593847"/>
              <a:gd name="connsiteY1180" fmla="*/ 64591 h 585652"/>
              <a:gd name="connsiteX1181" fmla="*/ 556250 w 593847"/>
              <a:gd name="connsiteY1181" fmla="*/ 64108 h 585652"/>
              <a:gd name="connsiteX1182" fmla="*/ 565891 w 593847"/>
              <a:gd name="connsiteY1182" fmla="*/ 73748 h 585652"/>
              <a:gd name="connsiteX1183" fmla="*/ 556250 w 593847"/>
              <a:gd name="connsiteY1183" fmla="*/ 83389 h 585652"/>
              <a:gd name="connsiteX1184" fmla="*/ 546610 w 593847"/>
              <a:gd name="connsiteY1184" fmla="*/ 73748 h 585652"/>
              <a:gd name="connsiteX1185" fmla="*/ 556250 w 593847"/>
              <a:gd name="connsiteY1185" fmla="*/ 64108 h 585652"/>
              <a:gd name="connsiteX1186" fmla="*/ 523955 w 593847"/>
              <a:gd name="connsiteY1186" fmla="*/ 64108 h 585652"/>
              <a:gd name="connsiteX1187" fmla="*/ 533596 w 593847"/>
              <a:gd name="connsiteY1187" fmla="*/ 73748 h 585652"/>
              <a:gd name="connsiteX1188" fmla="*/ 523955 w 593847"/>
              <a:gd name="connsiteY1188" fmla="*/ 83389 h 585652"/>
              <a:gd name="connsiteX1189" fmla="*/ 514315 w 593847"/>
              <a:gd name="connsiteY1189" fmla="*/ 73748 h 585652"/>
              <a:gd name="connsiteX1190" fmla="*/ 523955 w 593847"/>
              <a:gd name="connsiteY1190" fmla="*/ 64108 h 585652"/>
              <a:gd name="connsiteX1191" fmla="*/ 491177 w 593847"/>
              <a:gd name="connsiteY1191" fmla="*/ 64108 h 585652"/>
              <a:gd name="connsiteX1192" fmla="*/ 500818 w 593847"/>
              <a:gd name="connsiteY1192" fmla="*/ 73748 h 585652"/>
              <a:gd name="connsiteX1193" fmla="*/ 491177 w 593847"/>
              <a:gd name="connsiteY1193" fmla="*/ 83389 h 585652"/>
              <a:gd name="connsiteX1194" fmla="*/ 481537 w 593847"/>
              <a:gd name="connsiteY1194" fmla="*/ 73748 h 585652"/>
              <a:gd name="connsiteX1195" fmla="*/ 491177 w 593847"/>
              <a:gd name="connsiteY1195" fmla="*/ 64108 h 585652"/>
              <a:gd name="connsiteX1196" fmla="*/ 458882 w 593847"/>
              <a:gd name="connsiteY1196" fmla="*/ 64108 h 585652"/>
              <a:gd name="connsiteX1197" fmla="*/ 468523 w 593847"/>
              <a:gd name="connsiteY1197" fmla="*/ 73748 h 585652"/>
              <a:gd name="connsiteX1198" fmla="*/ 458882 w 593847"/>
              <a:gd name="connsiteY1198" fmla="*/ 83389 h 585652"/>
              <a:gd name="connsiteX1199" fmla="*/ 449242 w 593847"/>
              <a:gd name="connsiteY1199" fmla="*/ 73748 h 585652"/>
              <a:gd name="connsiteX1200" fmla="*/ 458882 w 593847"/>
              <a:gd name="connsiteY1200" fmla="*/ 64108 h 585652"/>
              <a:gd name="connsiteX1201" fmla="*/ 426587 w 593847"/>
              <a:gd name="connsiteY1201" fmla="*/ 64108 h 585652"/>
              <a:gd name="connsiteX1202" fmla="*/ 436228 w 593847"/>
              <a:gd name="connsiteY1202" fmla="*/ 73748 h 585652"/>
              <a:gd name="connsiteX1203" fmla="*/ 426587 w 593847"/>
              <a:gd name="connsiteY1203" fmla="*/ 83389 h 585652"/>
              <a:gd name="connsiteX1204" fmla="*/ 416947 w 593847"/>
              <a:gd name="connsiteY1204" fmla="*/ 73748 h 585652"/>
              <a:gd name="connsiteX1205" fmla="*/ 426587 w 593847"/>
              <a:gd name="connsiteY1205" fmla="*/ 64108 h 585652"/>
              <a:gd name="connsiteX1206" fmla="*/ 394292 w 593847"/>
              <a:gd name="connsiteY1206" fmla="*/ 64108 h 585652"/>
              <a:gd name="connsiteX1207" fmla="*/ 403933 w 593847"/>
              <a:gd name="connsiteY1207" fmla="*/ 73748 h 585652"/>
              <a:gd name="connsiteX1208" fmla="*/ 394292 w 593847"/>
              <a:gd name="connsiteY1208" fmla="*/ 83389 h 585652"/>
              <a:gd name="connsiteX1209" fmla="*/ 384652 w 593847"/>
              <a:gd name="connsiteY1209" fmla="*/ 73748 h 585652"/>
              <a:gd name="connsiteX1210" fmla="*/ 394292 w 593847"/>
              <a:gd name="connsiteY1210" fmla="*/ 64108 h 585652"/>
              <a:gd name="connsiteX1211" fmla="*/ 361996 w 593847"/>
              <a:gd name="connsiteY1211" fmla="*/ 64108 h 585652"/>
              <a:gd name="connsiteX1212" fmla="*/ 371637 w 593847"/>
              <a:gd name="connsiteY1212" fmla="*/ 73748 h 585652"/>
              <a:gd name="connsiteX1213" fmla="*/ 361996 w 593847"/>
              <a:gd name="connsiteY1213" fmla="*/ 83389 h 585652"/>
              <a:gd name="connsiteX1214" fmla="*/ 352356 w 593847"/>
              <a:gd name="connsiteY1214" fmla="*/ 73748 h 585652"/>
              <a:gd name="connsiteX1215" fmla="*/ 361996 w 593847"/>
              <a:gd name="connsiteY1215" fmla="*/ 64108 h 585652"/>
              <a:gd name="connsiteX1216" fmla="*/ 329219 w 593847"/>
              <a:gd name="connsiteY1216" fmla="*/ 64108 h 585652"/>
              <a:gd name="connsiteX1217" fmla="*/ 338860 w 593847"/>
              <a:gd name="connsiteY1217" fmla="*/ 73748 h 585652"/>
              <a:gd name="connsiteX1218" fmla="*/ 329219 w 593847"/>
              <a:gd name="connsiteY1218" fmla="*/ 83389 h 585652"/>
              <a:gd name="connsiteX1219" fmla="*/ 319579 w 593847"/>
              <a:gd name="connsiteY1219" fmla="*/ 73748 h 585652"/>
              <a:gd name="connsiteX1220" fmla="*/ 329219 w 593847"/>
              <a:gd name="connsiteY1220" fmla="*/ 64108 h 585652"/>
              <a:gd name="connsiteX1221" fmla="*/ 296924 w 593847"/>
              <a:gd name="connsiteY1221" fmla="*/ 64108 h 585652"/>
              <a:gd name="connsiteX1222" fmla="*/ 306565 w 593847"/>
              <a:gd name="connsiteY1222" fmla="*/ 73748 h 585652"/>
              <a:gd name="connsiteX1223" fmla="*/ 296924 w 593847"/>
              <a:gd name="connsiteY1223" fmla="*/ 83389 h 585652"/>
              <a:gd name="connsiteX1224" fmla="*/ 287284 w 593847"/>
              <a:gd name="connsiteY1224" fmla="*/ 73748 h 585652"/>
              <a:gd name="connsiteX1225" fmla="*/ 296924 w 593847"/>
              <a:gd name="connsiteY1225" fmla="*/ 64108 h 585652"/>
              <a:gd name="connsiteX1226" fmla="*/ 264628 w 593847"/>
              <a:gd name="connsiteY1226" fmla="*/ 64108 h 585652"/>
              <a:gd name="connsiteX1227" fmla="*/ 274269 w 593847"/>
              <a:gd name="connsiteY1227" fmla="*/ 73748 h 585652"/>
              <a:gd name="connsiteX1228" fmla="*/ 264628 w 593847"/>
              <a:gd name="connsiteY1228" fmla="*/ 83389 h 585652"/>
              <a:gd name="connsiteX1229" fmla="*/ 254988 w 593847"/>
              <a:gd name="connsiteY1229" fmla="*/ 73748 h 585652"/>
              <a:gd name="connsiteX1230" fmla="*/ 264628 w 593847"/>
              <a:gd name="connsiteY1230" fmla="*/ 64108 h 585652"/>
              <a:gd name="connsiteX1231" fmla="*/ 232333 w 593847"/>
              <a:gd name="connsiteY1231" fmla="*/ 64108 h 585652"/>
              <a:gd name="connsiteX1232" fmla="*/ 241974 w 593847"/>
              <a:gd name="connsiteY1232" fmla="*/ 73748 h 585652"/>
              <a:gd name="connsiteX1233" fmla="*/ 232333 w 593847"/>
              <a:gd name="connsiteY1233" fmla="*/ 83389 h 585652"/>
              <a:gd name="connsiteX1234" fmla="*/ 222693 w 593847"/>
              <a:gd name="connsiteY1234" fmla="*/ 73748 h 585652"/>
              <a:gd name="connsiteX1235" fmla="*/ 232333 w 593847"/>
              <a:gd name="connsiteY1235" fmla="*/ 64108 h 585652"/>
              <a:gd name="connsiteX1236" fmla="*/ 200038 w 593847"/>
              <a:gd name="connsiteY1236" fmla="*/ 64108 h 585652"/>
              <a:gd name="connsiteX1237" fmla="*/ 209679 w 593847"/>
              <a:gd name="connsiteY1237" fmla="*/ 73748 h 585652"/>
              <a:gd name="connsiteX1238" fmla="*/ 200038 w 593847"/>
              <a:gd name="connsiteY1238" fmla="*/ 83389 h 585652"/>
              <a:gd name="connsiteX1239" fmla="*/ 190398 w 593847"/>
              <a:gd name="connsiteY1239" fmla="*/ 73748 h 585652"/>
              <a:gd name="connsiteX1240" fmla="*/ 200038 w 593847"/>
              <a:gd name="connsiteY1240" fmla="*/ 64108 h 585652"/>
              <a:gd name="connsiteX1241" fmla="*/ 167261 w 593847"/>
              <a:gd name="connsiteY1241" fmla="*/ 64108 h 585652"/>
              <a:gd name="connsiteX1242" fmla="*/ 176902 w 593847"/>
              <a:gd name="connsiteY1242" fmla="*/ 73748 h 585652"/>
              <a:gd name="connsiteX1243" fmla="*/ 167261 w 593847"/>
              <a:gd name="connsiteY1243" fmla="*/ 83389 h 585652"/>
              <a:gd name="connsiteX1244" fmla="*/ 157621 w 593847"/>
              <a:gd name="connsiteY1244" fmla="*/ 73748 h 585652"/>
              <a:gd name="connsiteX1245" fmla="*/ 167261 w 593847"/>
              <a:gd name="connsiteY1245" fmla="*/ 64108 h 585652"/>
              <a:gd name="connsiteX1246" fmla="*/ 134965 w 593847"/>
              <a:gd name="connsiteY1246" fmla="*/ 64108 h 585652"/>
              <a:gd name="connsiteX1247" fmla="*/ 144606 w 593847"/>
              <a:gd name="connsiteY1247" fmla="*/ 73748 h 585652"/>
              <a:gd name="connsiteX1248" fmla="*/ 134965 w 593847"/>
              <a:gd name="connsiteY1248" fmla="*/ 83389 h 585652"/>
              <a:gd name="connsiteX1249" fmla="*/ 125325 w 593847"/>
              <a:gd name="connsiteY1249" fmla="*/ 73748 h 585652"/>
              <a:gd name="connsiteX1250" fmla="*/ 134965 w 593847"/>
              <a:gd name="connsiteY1250" fmla="*/ 64108 h 585652"/>
              <a:gd name="connsiteX1251" fmla="*/ 102670 w 593847"/>
              <a:gd name="connsiteY1251" fmla="*/ 64108 h 585652"/>
              <a:gd name="connsiteX1252" fmla="*/ 112311 w 593847"/>
              <a:gd name="connsiteY1252" fmla="*/ 73748 h 585652"/>
              <a:gd name="connsiteX1253" fmla="*/ 102670 w 593847"/>
              <a:gd name="connsiteY1253" fmla="*/ 83389 h 585652"/>
              <a:gd name="connsiteX1254" fmla="*/ 93030 w 593847"/>
              <a:gd name="connsiteY1254" fmla="*/ 73748 h 585652"/>
              <a:gd name="connsiteX1255" fmla="*/ 102670 w 593847"/>
              <a:gd name="connsiteY1255" fmla="*/ 64108 h 585652"/>
              <a:gd name="connsiteX1256" fmla="*/ 70375 w 593847"/>
              <a:gd name="connsiteY1256" fmla="*/ 64108 h 585652"/>
              <a:gd name="connsiteX1257" fmla="*/ 80016 w 593847"/>
              <a:gd name="connsiteY1257" fmla="*/ 73748 h 585652"/>
              <a:gd name="connsiteX1258" fmla="*/ 70375 w 593847"/>
              <a:gd name="connsiteY1258" fmla="*/ 83389 h 585652"/>
              <a:gd name="connsiteX1259" fmla="*/ 60735 w 593847"/>
              <a:gd name="connsiteY1259" fmla="*/ 73748 h 585652"/>
              <a:gd name="connsiteX1260" fmla="*/ 70375 w 593847"/>
              <a:gd name="connsiteY1260" fmla="*/ 64108 h 585652"/>
              <a:gd name="connsiteX1261" fmla="*/ 38080 w 593847"/>
              <a:gd name="connsiteY1261" fmla="*/ 64108 h 585652"/>
              <a:gd name="connsiteX1262" fmla="*/ 47721 w 593847"/>
              <a:gd name="connsiteY1262" fmla="*/ 73748 h 585652"/>
              <a:gd name="connsiteX1263" fmla="*/ 38080 w 593847"/>
              <a:gd name="connsiteY1263" fmla="*/ 83389 h 585652"/>
              <a:gd name="connsiteX1264" fmla="*/ 28440 w 593847"/>
              <a:gd name="connsiteY1264" fmla="*/ 73748 h 585652"/>
              <a:gd name="connsiteX1265" fmla="*/ 38080 w 593847"/>
              <a:gd name="connsiteY1265" fmla="*/ 64108 h 585652"/>
              <a:gd name="connsiteX1266" fmla="*/ 5303 w 593847"/>
              <a:gd name="connsiteY1266" fmla="*/ 63144 h 585652"/>
              <a:gd name="connsiteX1267" fmla="*/ 14944 w 593847"/>
              <a:gd name="connsiteY1267" fmla="*/ 73748 h 585652"/>
              <a:gd name="connsiteX1268" fmla="*/ 5303 w 593847"/>
              <a:gd name="connsiteY1268" fmla="*/ 83389 h 585652"/>
              <a:gd name="connsiteX1269" fmla="*/ 483 w 593847"/>
              <a:gd name="connsiteY1269" fmla="*/ 81943 h 585652"/>
              <a:gd name="connsiteX1270" fmla="*/ 483 w 593847"/>
              <a:gd name="connsiteY1270" fmla="*/ 64590 h 585652"/>
              <a:gd name="connsiteX1271" fmla="*/ 5303 w 593847"/>
              <a:gd name="connsiteY1271" fmla="*/ 63144 h 585652"/>
              <a:gd name="connsiteX1272" fmla="*/ 588545 w 593847"/>
              <a:gd name="connsiteY1272" fmla="*/ 32295 h 585652"/>
              <a:gd name="connsiteX1273" fmla="*/ 593847 w 593847"/>
              <a:gd name="connsiteY1273" fmla="*/ 33259 h 585652"/>
              <a:gd name="connsiteX1274" fmla="*/ 593366 w 593847"/>
              <a:gd name="connsiteY1274" fmla="*/ 50130 h 585652"/>
              <a:gd name="connsiteX1275" fmla="*/ 588545 w 593847"/>
              <a:gd name="connsiteY1275" fmla="*/ 51576 h 585652"/>
              <a:gd name="connsiteX1276" fmla="*/ 578905 w 593847"/>
              <a:gd name="connsiteY1276" fmla="*/ 41935 h 585652"/>
              <a:gd name="connsiteX1277" fmla="*/ 588545 w 593847"/>
              <a:gd name="connsiteY1277" fmla="*/ 32295 h 585652"/>
              <a:gd name="connsiteX1278" fmla="*/ 556250 w 593847"/>
              <a:gd name="connsiteY1278" fmla="*/ 31813 h 585652"/>
              <a:gd name="connsiteX1279" fmla="*/ 565891 w 593847"/>
              <a:gd name="connsiteY1279" fmla="*/ 41453 h 585652"/>
              <a:gd name="connsiteX1280" fmla="*/ 556250 w 593847"/>
              <a:gd name="connsiteY1280" fmla="*/ 51094 h 585652"/>
              <a:gd name="connsiteX1281" fmla="*/ 546610 w 593847"/>
              <a:gd name="connsiteY1281" fmla="*/ 41453 h 585652"/>
              <a:gd name="connsiteX1282" fmla="*/ 556250 w 593847"/>
              <a:gd name="connsiteY1282" fmla="*/ 31813 h 585652"/>
              <a:gd name="connsiteX1283" fmla="*/ 523955 w 593847"/>
              <a:gd name="connsiteY1283" fmla="*/ 31813 h 585652"/>
              <a:gd name="connsiteX1284" fmla="*/ 533596 w 593847"/>
              <a:gd name="connsiteY1284" fmla="*/ 41453 h 585652"/>
              <a:gd name="connsiteX1285" fmla="*/ 523955 w 593847"/>
              <a:gd name="connsiteY1285" fmla="*/ 51094 h 585652"/>
              <a:gd name="connsiteX1286" fmla="*/ 514315 w 593847"/>
              <a:gd name="connsiteY1286" fmla="*/ 41453 h 585652"/>
              <a:gd name="connsiteX1287" fmla="*/ 523955 w 593847"/>
              <a:gd name="connsiteY1287" fmla="*/ 31813 h 585652"/>
              <a:gd name="connsiteX1288" fmla="*/ 491177 w 593847"/>
              <a:gd name="connsiteY1288" fmla="*/ 31813 h 585652"/>
              <a:gd name="connsiteX1289" fmla="*/ 500818 w 593847"/>
              <a:gd name="connsiteY1289" fmla="*/ 41453 h 585652"/>
              <a:gd name="connsiteX1290" fmla="*/ 491177 w 593847"/>
              <a:gd name="connsiteY1290" fmla="*/ 51094 h 585652"/>
              <a:gd name="connsiteX1291" fmla="*/ 481537 w 593847"/>
              <a:gd name="connsiteY1291" fmla="*/ 41453 h 585652"/>
              <a:gd name="connsiteX1292" fmla="*/ 491177 w 593847"/>
              <a:gd name="connsiteY1292" fmla="*/ 31813 h 585652"/>
              <a:gd name="connsiteX1293" fmla="*/ 458882 w 593847"/>
              <a:gd name="connsiteY1293" fmla="*/ 31813 h 585652"/>
              <a:gd name="connsiteX1294" fmla="*/ 468523 w 593847"/>
              <a:gd name="connsiteY1294" fmla="*/ 41453 h 585652"/>
              <a:gd name="connsiteX1295" fmla="*/ 458882 w 593847"/>
              <a:gd name="connsiteY1295" fmla="*/ 51094 h 585652"/>
              <a:gd name="connsiteX1296" fmla="*/ 449242 w 593847"/>
              <a:gd name="connsiteY1296" fmla="*/ 41453 h 585652"/>
              <a:gd name="connsiteX1297" fmla="*/ 458882 w 593847"/>
              <a:gd name="connsiteY1297" fmla="*/ 31813 h 585652"/>
              <a:gd name="connsiteX1298" fmla="*/ 426587 w 593847"/>
              <a:gd name="connsiteY1298" fmla="*/ 31813 h 585652"/>
              <a:gd name="connsiteX1299" fmla="*/ 436228 w 593847"/>
              <a:gd name="connsiteY1299" fmla="*/ 41453 h 585652"/>
              <a:gd name="connsiteX1300" fmla="*/ 426587 w 593847"/>
              <a:gd name="connsiteY1300" fmla="*/ 51094 h 585652"/>
              <a:gd name="connsiteX1301" fmla="*/ 416947 w 593847"/>
              <a:gd name="connsiteY1301" fmla="*/ 41453 h 585652"/>
              <a:gd name="connsiteX1302" fmla="*/ 426587 w 593847"/>
              <a:gd name="connsiteY1302" fmla="*/ 31813 h 585652"/>
              <a:gd name="connsiteX1303" fmla="*/ 394292 w 593847"/>
              <a:gd name="connsiteY1303" fmla="*/ 31813 h 585652"/>
              <a:gd name="connsiteX1304" fmla="*/ 403933 w 593847"/>
              <a:gd name="connsiteY1304" fmla="*/ 41453 h 585652"/>
              <a:gd name="connsiteX1305" fmla="*/ 394292 w 593847"/>
              <a:gd name="connsiteY1305" fmla="*/ 51094 h 585652"/>
              <a:gd name="connsiteX1306" fmla="*/ 384652 w 593847"/>
              <a:gd name="connsiteY1306" fmla="*/ 41453 h 585652"/>
              <a:gd name="connsiteX1307" fmla="*/ 394292 w 593847"/>
              <a:gd name="connsiteY1307" fmla="*/ 31813 h 585652"/>
              <a:gd name="connsiteX1308" fmla="*/ 361996 w 593847"/>
              <a:gd name="connsiteY1308" fmla="*/ 31813 h 585652"/>
              <a:gd name="connsiteX1309" fmla="*/ 371637 w 593847"/>
              <a:gd name="connsiteY1309" fmla="*/ 41453 h 585652"/>
              <a:gd name="connsiteX1310" fmla="*/ 361996 w 593847"/>
              <a:gd name="connsiteY1310" fmla="*/ 51094 h 585652"/>
              <a:gd name="connsiteX1311" fmla="*/ 352356 w 593847"/>
              <a:gd name="connsiteY1311" fmla="*/ 41453 h 585652"/>
              <a:gd name="connsiteX1312" fmla="*/ 361996 w 593847"/>
              <a:gd name="connsiteY1312" fmla="*/ 31813 h 585652"/>
              <a:gd name="connsiteX1313" fmla="*/ 329219 w 593847"/>
              <a:gd name="connsiteY1313" fmla="*/ 31813 h 585652"/>
              <a:gd name="connsiteX1314" fmla="*/ 338860 w 593847"/>
              <a:gd name="connsiteY1314" fmla="*/ 41453 h 585652"/>
              <a:gd name="connsiteX1315" fmla="*/ 329219 w 593847"/>
              <a:gd name="connsiteY1315" fmla="*/ 51094 h 585652"/>
              <a:gd name="connsiteX1316" fmla="*/ 319579 w 593847"/>
              <a:gd name="connsiteY1316" fmla="*/ 41453 h 585652"/>
              <a:gd name="connsiteX1317" fmla="*/ 329219 w 593847"/>
              <a:gd name="connsiteY1317" fmla="*/ 31813 h 585652"/>
              <a:gd name="connsiteX1318" fmla="*/ 296924 w 593847"/>
              <a:gd name="connsiteY1318" fmla="*/ 31813 h 585652"/>
              <a:gd name="connsiteX1319" fmla="*/ 306565 w 593847"/>
              <a:gd name="connsiteY1319" fmla="*/ 41453 h 585652"/>
              <a:gd name="connsiteX1320" fmla="*/ 296924 w 593847"/>
              <a:gd name="connsiteY1320" fmla="*/ 51094 h 585652"/>
              <a:gd name="connsiteX1321" fmla="*/ 287284 w 593847"/>
              <a:gd name="connsiteY1321" fmla="*/ 41453 h 585652"/>
              <a:gd name="connsiteX1322" fmla="*/ 296924 w 593847"/>
              <a:gd name="connsiteY1322" fmla="*/ 31813 h 585652"/>
              <a:gd name="connsiteX1323" fmla="*/ 264628 w 593847"/>
              <a:gd name="connsiteY1323" fmla="*/ 31813 h 585652"/>
              <a:gd name="connsiteX1324" fmla="*/ 274269 w 593847"/>
              <a:gd name="connsiteY1324" fmla="*/ 41453 h 585652"/>
              <a:gd name="connsiteX1325" fmla="*/ 264628 w 593847"/>
              <a:gd name="connsiteY1325" fmla="*/ 51094 h 585652"/>
              <a:gd name="connsiteX1326" fmla="*/ 254988 w 593847"/>
              <a:gd name="connsiteY1326" fmla="*/ 41453 h 585652"/>
              <a:gd name="connsiteX1327" fmla="*/ 264628 w 593847"/>
              <a:gd name="connsiteY1327" fmla="*/ 31813 h 585652"/>
              <a:gd name="connsiteX1328" fmla="*/ 232333 w 593847"/>
              <a:gd name="connsiteY1328" fmla="*/ 31813 h 585652"/>
              <a:gd name="connsiteX1329" fmla="*/ 241974 w 593847"/>
              <a:gd name="connsiteY1329" fmla="*/ 41453 h 585652"/>
              <a:gd name="connsiteX1330" fmla="*/ 232333 w 593847"/>
              <a:gd name="connsiteY1330" fmla="*/ 51094 h 585652"/>
              <a:gd name="connsiteX1331" fmla="*/ 222693 w 593847"/>
              <a:gd name="connsiteY1331" fmla="*/ 41453 h 585652"/>
              <a:gd name="connsiteX1332" fmla="*/ 232333 w 593847"/>
              <a:gd name="connsiteY1332" fmla="*/ 31813 h 585652"/>
              <a:gd name="connsiteX1333" fmla="*/ 200038 w 593847"/>
              <a:gd name="connsiteY1333" fmla="*/ 31813 h 585652"/>
              <a:gd name="connsiteX1334" fmla="*/ 209679 w 593847"/>
              <a:gd name="connsiteY1334" fmla="*/ 41453 h 585652"/>
              <a:gd name="connsiteX1335" fmla="*/ 200038 w 593847"/>
              <a:gd name="connsiteY1335" fmla="*/ 51094 h 585652"/>
              <a:gd name="connsiteX1336" fmla="*/ 190398 w 593847"/>
              <a:gd name="connsiteY1336" fmla="*/ 41453 h 585652"/>
              <a:gd name="connsiteX1337" fmla="*/ 200038 w 593847"/>
              <a:gd name="connsiteY1337" fmla="*/ 31813 h 585652"/>
              <a:gd name="connsiteX1338" fmla="*/ 167261 w 593847"/>
              <a:gd name="connsiteY1338" fmla="*/ 31813 h 585652"/>
              <a:gd name="connsiteX1339" fmla="*/ 176902 w 593847"/>
              <a:gd name="connsiteY1339" fmla="*/ 41453 h 585652"/>
              <a:gd name="connsiteX1340" fmla="*/ 167261 w 593847"/>
              <a:gd name="connsiteY1340" fmla="*/ 51094 h 585652"/>
              <a:gd name="connsiteX1341" fmla="*/ 157621 w 593847"/>
              <a:gd name="connsiteY1341" fmla="*/ 41453 h 585652"/>
              <a:gd name="connsiteX1342" fmla="*/ 167261 w 593847"/>
              <a:gd name="connsiteY1342" fmla="*/ 31813 h 585652"/>
              <a:gd name="connsiteX1343" fmla="*/ 134965 w 593847"/>
              <a:gd name="connsiteY1343" fmla="*/ 31813 h 585652"/>
              <a:gd name="connsiteX1344" fmla="*/ 144606 w 593847"/>
              <a:gd name="connsiteY1344" fmla="*/ 41453 h 585652"/>
              <a:gd name="connsiteX1345" fmla="*/ 134965 w 593847"/>
              <a:gd name="connsiteY1345" fmla="*/ 51094 h 585652"/>
              <a:gd name="connsiteX1346" fmla="*/ 125325 w 593847"/>
              <a:gd name="connsiteY1346" fmla="*/ 41453 h 585652"/>
              <a:gd name="connsiteX1347" fmla="*/ 134965 w 593847"/>
              <a:gd name="connsiteY1347" fmla="*/ 31813 h 585652"/>
              <a:gd name="connsiteX1348" fmla="*/ 102670 w 593847"/>
              <a:gd name="connsiteY1348" fmla="*/ 31813 h 585652"/>
              <a:gd name="connsiteX1349" fmla="*/ 112311 w 593847"/>
              <a:gd name="connsiteY1349" fmla="*/ 41453 h 585652"/>
              <a:gd name="connsiteX1350" fmla="*/ 102670 w 593847"/>
              <a:gd name="connsiteY1350" fmla="*/ 51094 h 585652"/>
              <a:gd name="connsiteX1351" fmla="*/ 93030 w 593847"/>
              <a:gd name="connsiteY1351" fmla="*/ 41453 h 585652"/>
              <a:gd name="connsiteX1352" fmla="*/ 102670 w 593847"/>
              <a:gd name="connsiteY1352" fmla="*/ 31813 h 585652"/>
              <a:gd name="connsiteX1353" fmla="*/ 70375 w 593847"/>
              <a:gd name="connsiteY1353" fmla="*/ 31813 h 585652"/>
              <a:gd name="connsiteX1354" fmla="*/ 80016 w 593847"/>
              <a:gd name="connsiteY1354" fmla="*/ 41453 h 585652"/>
              <a:gd name="connsiteX1355" fmla="*/ 70375 w 593847"/>
              <a:gd name="connsiteY1355" fmla="*/ 51094 h 585652"/>
              <a:gd name="connsiteX1356" fmla="*/ 60735 w 593847"/>
              <a:gd name="connsiteY1356" fmla="*/ 41453 h 585652"/>
              <a:gd name="connsiteX1357" fmla="*/ 70375 w 593847"/>
              <a:gd name="connsiteY1357" fmla="*/ 31813 h 585652"/>
              <a:gd name="connsiteX1358" fmla="*/ 38080 w 593847"/>
              <a:gd name="connsiteY1358" fmla="*/ 31813 h 585652"/>
              <a:gd name="connsiteX1359" fmla="*/ 47721 w 593847"/>
              <a:gd name="connsiteY1359" fmla="*/ 41453 h 585652"/>
              <a:gd name="connsiteX1360" fmla="*/ 38080 w 593847"/>
              <a:gd name="connsiteY1360" fmla="*/ 51094 h 585652"/>
              <a:gd name="connsiteX1361" fmla="*/ 28440 w 593847"/>
              <a:gd name="connsiteY1361" fmla="*/ 41453 h 585652"/>
              <a:gd name="connsiteX1362" fmla="*/ 38080 w 593847"/>
              <a:gd name="connsiteY1362" fmla="*/ 31813 h 585652"/>
              <a:gd name="connsiteX1363" fmla="*/ 5303 w 593847"/>
              <a:gd name="connsiteY1363" fmla="*/ 30849 h 585652"/>
              <a:gd name="connsiteX1364" fmla="*/ 14944 w 593847"/>
              <a:gd name="connsiteY1364" fmla="*/ 41453 h 585652"/>
              <a:gd name="connsiteX1365" fmla="*/ 5303 w 593847"/>
              <a:gd name="connsiteY1365" fmla="*/ 51094 h 585652"/>
              <a:gd name="connsiteX1366" fmla="*/ 483 w 593847"/>
              <a:gd name="connsiteY1366" fmla="*/ 49648 h 585652"/>
              <a:gd name="connsiteX1367" fmla="*/ 483 w 593847"/>
              <a:gd name="connsiteY1367" fmla="*/ 32295 h 585652"/>
              <a:gd name="connsiteX1368" fmla="*/ 5303 w 593847"/>
              <a:gd name="connsiteY1368" fmla="*/ 30849 h 585652"/>
              <a:gd name="connsiteX1369" fmla="*/ 581315 w 593847"/>
              <a:gd name="connsiteY1369" fmla="*/ 3374 h 585652"/>
              <a:gd name="connsiteX1370" fmla="*/ 591437 w 593847"/>
              <a:gd name="connsiteY1370" fmla="*/ 18799 h 585652"/>
              <a:gd name="connsiteX1371" fmla="*/ 588545 w 593847"/>
              <a:gd name="connsiteY1371" fmla="*/ 19281 h 585652"/>
              <a:gd name="connsiteX1372" fmla="*/ 578905 w 593847"/>
              <a:gd name="connsiteY1372" fmla="*/ 9640 h 585652"/>
              <a:gd name="connsiteX1373" fmla="*/ 581315 w 593847"/>
              <a:gd name="connsiteY1373" fmla="*/ 3374 h 585652"/>
              <a:gd name="connsiteX1374" fmla="*/ 9159 w 593847"/>
              <a:gd name="connsiteY1374" fmla="*/ 482 h 585652"/>
              <a:gd name="connsiteX1375" fmla="*/ 14944 w 593847"/>
              <a:gd name="connsiteY1375" fmla="*/ 9640 h 585652"/>
              <a:gd name="connsiteX1376" fmla="*/ 5303 w 593847"/>
              <a:gd name="connsiteY1376" fmla="*/ 19281 h 585652"/>
              <a:gd name="connsiteX1377" fmla="*/ 483 w 593847"/>
              <a:gd name="connsiteY1377" fmla="*/ 18317 h 585652"/>
              <a:gd name="connsiteX1378" fmla="*/ 9159 w 593847"/>
              <a:gd name="connsiteY1378" fmla="*/ 482 h 585652"/>
              <a:gd name="connsiteX1379" fmla="*/ 556250 w 593847"/>
              <a:gd name="connsiteY1379" fmla="*/ 0 h 585652"/>
              <a:gd name="connsiteX1380" fmla="*/ 565891 w 593847"/>
              <a:gd name="connsiteY1380" fmla="*/ 9640 h 585652"/>
              <a:gd name="connsiteX1381" fmla="*/ 556250 w 593847"/>
              <a:gd name="connsiteY1381" fmla="*/ 19281 h 585652"/>
              <a:gd name="connsiteX1382" fmla="*/ 546610 w 593847"/>
              <a:gd name="connsiteY1382" fmla="*/ 9640 h 585652"/>
              <a:gd name="connsiteX1383" fmla="*/ 556250 w 593847"/>
              <a:gd name="connsiteY1383" fmla="*/ 0 h 585652"/>
              <a:gd name="connsiteX1384" fmla="*/ 523955 w 593847"/>
              <a:gd name="connsiteY1384" fmla="*/ 0 h 585652"/>
              <a:gd name="connsiteX1385" fmla="*/ 533596 w 593847"/>
              <a:gd name="connsiteY1385" fmla="*/ 9640 h 585652"/>
              <a:gd name="connsiteX1386" fmla="*/ 523955 w 593847"/>
              <a:gd name="connsiteY1386" fmla="*/ 19281 h 585652"/>
              <a:gd name="connsiteX1387" fmla="*/ 514315 w 593847"/>
              <a:gd name="connsiteY1387" fmla="*/ 9640 h 585652"/>
              <a:gd name="connsiteX1388" fmla="*/ 523955 w 593847"/>
              <a:gd name="connsiteY1388" fmla="*/ 0 h 585652"/>
              <a:gd name="connsiteX1389" fmla="*/ 491177 w 593847"/>
              <a:gd name="connsiteY1389" fmla="*/ 0 h 585652"/>
              <a:gd name="connsiteX1390" fmla="*/ 500818 w 593847"/>
              <a:gd name="connsiteY1390" fmla="*/ 9640 h 585652"/>
              <a:gd name="connsiteX1391" fmla="*/ 491177 w 593847"/>
              <a:gd name="connsiteY1391" fmla="*/ 19281 h 585652"/>
              <a:gd name="connsiteX1392" fmla="*/ 481537 w 593847"/>
              <a:gd name="connsiteY1392" fmla="*/ 9640 h 585652"/>
              <a:gd name="connsiteX1393" fmla="*/ 491177 w 593847"/>
              <a:gd name="connsiteY1393" fmla="*/ 0 h 585652"/>
              <a:gd name="connsiteX1394" fmla="*/ 458882 w 593847"/>
              <a:gd name="connsiteY1394" fmla="*/ 0 h 585652"/>
              <a:gd name="connsiteX1395" fmla="*/ 468523 w 593847"/>
              <a:gd name="connsiteY1395" fmla="*/ 9640 h 585652"/>
              <a:gd name="connsiteX1396" fmla="*/ 458882 w 593847"/>
              <a:gd name="connsiteY1396" fmla="*/ 19281 h 585652"/>
              <a:gd name="connsiteX1397" fmla="*/ 449242 w 593847"/>
              <a:gd name="connsiteY1397" fmla="*/ 9640 h 585652"/>
              <a:gd name="connsiteX1398" fmla="*/ 458882 w 593847"/>
              <a:gd name="connsiteY1398" fmla="*/ 0 h 585652"/>
              <a:gd name="connsiteX1399" fmla="*/ 426587 w 593847"/>
              <a:gd name="connsiteY1399" fmla="*/ 0 h 585652"/>
              <a:gd name="connsiteX1400" fmla="*/ 436228 w 593847"/>
              <a:gd name="connsiteY1400" fmla="*/ 9640 h 585652"/>
              <a:gd name="connsiteX1401" fmla="*/ 426587 w 593847"/>
              <a:gd name="connsiteY1401" fmla="*/ 19281 h 585652"/>
              <a:gd name="connsiteX1402" fmla="*/ 416947 w 593847"/>
              <a:gd name="connsiteY1402" fmla="*/ 9640 h 585652"/>
              <a:gd name="connsiteX1403" fmla="*/ 426587 w 593847"/>
              <a:gd name="connsiteY1403" fmla="*/ 0 h 585652"/>
              <a:gd name="connsiteX1404" fmla="*/ 394292 w 593847"/>
              <a:gd name="connsiteY1404" fmla="*/ 0 h 585652"/>
              <a:gd name="connsiteX1405" fmla="*/ 403933 w 593847"/>
              <a:gd name="connsiteY1405" fmla="*/ 9640 h 585652"/>
              <a:gd name="connsiteX1406" fmla="*/ 394292 w 593847"/>
              <a:gd name="connsiteY1406" fmla="*/ 19281 h 585652"/>
              <a:gd name="connsiteX1407" fmla="*/ 384652 w 593847"/>
              <a:gd name="connsiteY1407" fmla="*/ 9640 h 585652"/>
              <a:gd name="connsiteX1408" fmla="*/ 394292 w 593847"/>
              <a:gd name="connsiteY1408" fmla="*/ 0 h 585652"/>
              <a:gd name="connsiteX1409" fmla="*/ 361996 w 593847"/>
              <a:gd name="connsiteY1409" fmla="*/ 0 h 585652"/>
              <a:gd name="connsiteX1410" fmla="*/ 371637 w 593847"/>
              <a:gd name="connsiteY1410" fmla="*/ 9640 h 585652"/>
              <a:gd name="connsiteX1411" fmla="*/ 361996 w 593847"/>
              <a:gd name="connsiteY1411" fmla="*/ 19281 h 585652"/>
              <a:gd name="connsiteX1412" fmla="*/ 352356 w 593847"/>
              <a:gd name="connsiteY1412" fmla="*/ 9640 h 585652"/>
              <a:gd name="connsiteX1413" fmla="*/ 361996 w 593847"/>
              <a:gd name="connsiteY1413" fmla="*/ 0 h 585652"/>
              <a:gd name="connsiteX1414" fmla="*/ 329219 w 593847"/>
              <a:gd name="connsiteY1414" fmla="*/ 0 h 585652"/>
              <a:gd name="connsiteX1415" fmla="*/ 338860 w 593847"/>
              <a:gd name="connsiteY1415" fmla="*/ 9640 h 585652"/>
              <a:gd name="connsiteX1416" fmla="*/ 329219 w 593847"/>
              <a:gd name="connsiteY1416" fmla="*/ 19281 h 585652"/>
              <a:gd name="connsiteX1417" fmla="*/ 319579 w 593847"/>
              <a:gd name="connsiteY1417" fmla="*/ 9640 h 585652"/>
              <a:gd name="connsiteX1418" fmla="*/ 329219 w 593847"/>
              <a:gd name="connsiteY1418" fmla="*/ 0 h 585652"/>
              <a:gd name="connsiteX1419" fmla="*/ 296924 w 593847"/>
              <a:gd name="connsiteY1419" fmla="*/ 0 h 585652"/>
              <a:gd name="connsiteX1420" fmla="*/ 306565 w 593847"/>
              <a:gd name="connsiteY1420" fmla="*/ 9640 h 585652"/>
              <a:gd name="connsiteX1421" fmla="*/ 296924 w 593847"/>
              <a:gd name="connsiteY1421" fmla="*/ 19281 h 585652"/>
              <a:gd name="connsiteX1422" fmla="*/ 287284 w 593847"/>
              <a:gd name="connsiteY1422" fmla="*/ 9640 h 585652"/>
              <a:gd name="connsiteX1423" fmla="*/ 296924 w 593847"/>
              <a:gd name="connsiteY1423" fmla="*/ 0 h 585652"/>
              <a:gd name="connsiteX1424" fmla="*/ 264628 w 593847"/>
              <a:gd name="connsiteY1424" fmla="*/ 0 h 585652"/>
              <a:gd name="connsiteX1425" fmla="*/ 274269 w 593847"/>
              <a:gd name="connsiteY1425" fmla="*/ 9640 h 585652"/>
              <a:gd name="connsiteX1426" fmla="*/ 264628 w 593847"/>
              <a:gd name="connsiteY1426" fmla="*/ 19281 h 585652"/>
              <a:gd name="connsiteX1427" fmla="*/ 254988 w 593847"/>
              <a:gd name="connsiteY1427" fmla="*/ 9640 h 585652"/>
              <a:gd name="connsiteX1428" fmla="*/ 264628 w 593847"/>
              <a:gd name="connsiteY1428" fmla="*/ 0 h 585652"/>
              <a:gd name="connsiteX1429" fmla="*/ 232333 w 593847"/>
              <a:gd name="connsiteY1429" fmla="*/ 0 h 585652"/>
              <a:gd name="connsiteX1430" fmla="*/ 241974 w 593847"/>
              <a:gd name="connsiteY1430" fmla="*/ 9640 h 585652"/>
              <a:gd name="connsiteX1431" fmla="*/ 232333 w 593847"/>
              <a:gd name="connsiteY1431" fmla="*/ 19281 h 585652"/>
              <a:gd name="connsiteX1432" fmla="*/ 222693 w 593847"/>
              <a:gd name="connsiteY1432" fmla="*/ 9640 h 585652"/>
              <a:gd name="connsiteX1433" fmla="*/ 232333 w 593847"/>
              <a:gd name="connsiteY1433" fmla="*/ 0 h 585652"/>
              <a:gd name="connsiteX1434" fmla="*/ 200038 w 593847"/>
              <a:gd name="connsiteY1434" fmla="*/ 0 h 585652"/>
              <a:gd name="connsiteX1435" fmla="*/ 209679 w 593847"/>
              <a:gd name="connsiteY1435" fmla="*/ 9640 h 585652"/>
              <a:gd name="connsiteX1436" fmla="*/ 200038 w 593847"/>
              <a:gd name="connsiteY1436" fmla="*/ 19281 h 585652"/>
              <a:gd name="connsiteX1437" fmla="*/ 190398 w 593847"/>
              <a:gd name="connsiteY1437" fmla="*/ 9640 h 585652"/>
              <a:gd name="connsiteX1438" fmla="*/ 200038 w 593847"/>
              <a:gd name="connsiteY1438" fmla="*/ 0 h 585652"/>
              <a:gd name="connsiteX1439" fmla="*/ 167261 w 593847"/>
              <a:gd name="connsiteY1439" fmla="*/ 0 h 585652"/>
              <a:gd name="connsiteX1440" fmla="*/ 176902 w 593847"/>
              <a:gd name="connsiteY1440" fmla="*/ 9640 h 585652"/>
              <a:gd name="connsiteX1441" fmla="*/ 167261 w 593847"/>
              <a:gd name="connsiteY1441" fmla="*/ 19281 h 585652"/>
              <a:gd name="connsiteX1442" fmla="*/ 157621 w 593847"/>
              <a:gd name="connsiteY1442" fmla="*/ 9640 h 585652"/>
              <a:gd name="connsiteX1443" fmla="*/ 167261 w 593847"/>
              <a:gd name="connsiteY1443" fmla="*/ 0 h 585652"/>
              <a:gd name="connsiteX1444" fmla="*/ 134965 w 593847"/>
              <a:gd name="connsiteY1444" fmla="*/ 0 h 585652"/>
              <a:gd name="connsiteX1445" fmla="*/ 144606 w 593847"/>
              <a:gd name="connsiteY1445" fmla="*/ 9640 h 585652"/>
              <a:gd name="connsiteX1446" fmla="*/ 134965 w 593847"/>
              <a:gd name="connsiteY1446" fmla="*/ 19281 h 585652"/>
              <a:gd name="connsiteX1447" fmla="*/ 125325 w 593847"/>
              <a:gd name="connsiteY1447" fmla="*/ 9640 h 585652"/>
              <a:gd name="connsiteX1448" fmla="*/ 134965 w 593847"/>
              <a:gd name="connsiteY1448" fmla="*/ 0 h 585652"/>
              <a:gd name="connsiteX1449" fmla="*/ 102670 w 593847"/>
              <a:gd name="connsiteY1449" fmla="*/ 0 h 585652"/>
              <a:gd name="connsiteX1450" fmla="*/ 112311 w 593847"/>
              <a:gd name="connsiteY1450" fmla="*/ 9640 h 585652"/>
              <a:gd name="connsiteX1451" fmla="*/ 102670 w 593847"/>
              <a:gd name="connsiteY1451" fmla="*/ 19281 h 585652"/>
              <a:gd name="connsiteX1452" fmla="*/ 93030 w 593847"/>
              <a:gd name="connsiteY1452" fmla="*/ 9640 h 585652"/>
              <a:gd name="connsiteX1453" fmla="*/ 102670 w 593847"/>
              <a:gd name="connsiteY1453" fmla="*/ 0 h 585652"/>
              <a:gd name="connsiteX1454" fmla="*/ 70375 w 593847"/>
              <a:gd name="connsiteY1454" fmla="*/ 0 h 585652"/>
              <a:gd name="connsiteX1455" fmla="*/ 80016 w 593847"/>
              <a:gd name="connsiteY1455" fmla="*/ 9640 h 585652"/>
              <a:gd name="connsiteX1456" fmla="*/ 70375 w 593847"/>
              <a:gd name="connsiteY1456" fmla="*/ 19281 h 585652"/>
              <a:gd name="connsiteX1457" fmla="*/ 60735 w 593847"/>
              <a:gd name="connsiteY1457" fmla="*/ 9640 h 585652"/>
              <a:gd name="connsiteX1458" fmla="*/ 70375 w 593847"/>
              <a:gd name="connsiteY1458" fmla="*/ 0 h 585652"/>
              <a:gd name="connsiteX1459" fmla="*/ 38080 w 593847"/>
              <a:gd name="connsiteY1459" fmla="*/ 0 h 585652"/>
              <a:gd name="connsiteX1460" fmla="*/ 47721 w 593847"/>
              <a:gd name="connsiteY1460" fmla="*/ 9640 h 585652"/>
              <a:gd name="connsiteX1461" fmla="*/ 38080 w 593847"/>
              <a:gd name="connsiteY1461" fmla="*/ 19281 h 585652"/>
              <a:gd name="connsiteX1462" fmla="*/ 28440 w 593847"/>
              <a:gd name="connsiteY1462" fmla="*/ 9640 h 585652"/>
              <a:gd name="connsiteX1463" fmla="*/ 38080 w 593847"/>
              <a:gd name="connsiteY1463" fmla="*/ 0 h 585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Lst>
            <a:rect l="l" t="t" r="r" b="b"/>
            <a:pathLst>
              <a:path w="593847" h="585652">
                <a:moveTo>
                  <a:pt x="102671" y="577940"/>
                </a:moveTo>
                <a:cubicBezTo>
                  <a:pt x="105563" y="577940"/>
                  <a:pt x="108455" y="579386"/>
                  <a:pt x="109901" y="581314"/>
                </a:cubicBezTo>
                <a:cubicBezTo>
                  <a:pt x="104598" y="581796"/>
                  <a:pt x="99296" y="582760"/>
                  <a:pt x="93994" y="583242"/>
                </a:cubicBezTo>
                <a:cubicBezTo>
                  <a:pt x="95440" y="580350"/>
                  <a:pt x="98814" y="577940"/>
                  <a:pt x="102671" y="577940"/>
                </a:cubicBezTo>
                <a:close/>
                <a:moveTo>
                  <a:pt x="70375" y="577940"/>
                </a:moveTo>
                <a:cubicBezTo>
                  <a:pt x="74231" y="577940"/>
                  <a:pt x="78088" y="580832"/>
                  <a:pt x="79534" y="584206"/>
                </a:cubicBezTo>
                <a:cubicBezTo>
                  <a:pt x="73267" y="584688"/>
                  <a:pt x="67001" y="585170"/>
                  <a:pt x="60735" y="585170"/>
                </a:cubicBezTo>
                <a:cubicBezTo>
                  <a:pt x="61699" y="580832"/>
                  <a:pt x="65555" y="577940"/>
                  <a:pt x="70375" y="577940"/>
                </a:cubicBezTo>
                <a:close/>
                <a:moveTo>
                  <a:pt x="37598" y="577940"/>
                </a:moveTo>
                <a:cubicBezTo>
                  <a:pt x="42419" y="577940"/>
                  <a:pt x="46275" y="581314"/>
                  <a:pt x="47239" y="585652"/>
                </a:cubicBezTo>
                <a:cubicBezTo>
                  <a:pt x="45311" y="585652"/>
                  <a:pt x="43382" y="585652"/>
                  <a:pt x="40972" y="585652"/>
                </a:cubicBezTo>
                <a:cubicBezTo>
                  <a:pt x="36634" y="585652"/>
                  <a:pt x="32296" y="585170"/>
                  <a:pt x="28440" y="583724"/>
                </a:cubicBezTo>
                <a:cubicBezTo>
                  <a:pt x="29886" y="580350"/>
                  <a:pt x="33260" y="577940"/>
                  <a:pt x="37598" y="577940"/>
                </a:cubicBezTo>
                <a:close/>
                <a:moveTo>
                  <a:pt x="199556" y="546610"/>
                </a:moveTo>
                <a:cubicBezTo>
                  <a:pt x="205341" y="546128"/>
                  <a:pt x="209679" y="550466"/>
                  <a:pt x="209679" y="555768"/>
                </a:cubicBezTo>
                <a:cubicBezTo>
                  <a:pt x="209679" y="557214"/>
                  <a:pt x="209197" y="558660"/>
                  <a:pt x="208715" y="560106"/>
                </a:cubicBezTo>
                <a:cubicBezTo>
                  <a:pt x="203895" y="561552"/>
                  <a:pt x="199556" y="562998"/>
                  <a:pt x="194736" y="564444"/>
                </a:cubicBezTo>
                <a:cubicBezTo>
                  <a:pt x="191844" y="562516"/>
                  <a:pt x="189916" y="559624"/>
                  <a:pt x="189916" y="556250"/>
                </a:cubicBezTo>
                <a:cubicBezTo>
                  <a:pt x="189916" y="550948"/>
                  <a:pt x="194254" y="546610"/>
                  <a:pt x="199556" y="546610"/>
                </a:cubicBezTo>
                <a:close/>
                <a:moveTo>
                  <a:pt x="232333" y="546127"/>
                </a:moveTo>
                <a:cubicBezTo>
                  <a:pt x="235226" y="546127"/>
                  <a:pt x="237636" y="547091"/>
                  <a:pt x="239564" y="549019"/>
                </a:cubicBezTo>
                <a:cubicBezTo>
                  <a:pt x="233779" y="551429"/>
                  <a:pt x="227995" y="553357"/>
                  <a:pt x="222693" y="555285"/>
                </a:cubicBezTo>
                <a:cubicBezTo>
                  <a:pt x="223175" y="549983"/>
                  <a:pt x="227031" y="546127"/>
                  <a:pt x="232333" y="546127"/>
                </a:cubicBezTo>
                <a:close/>
                <a:moveTo>
                  <a:pt x="167261" y="546127"/>
                </a:moveTo>
                <a:cubicBezTo>
                  <a:pt x="172585" y="546127"/>
                  <a:pt x="176902" y="550443"/>
                  <a:pt x="176902" y="555767"/>
                </a:cubicBezTo>
                <a:cubicBezTo>
                  <a:pt x="176902" y="561092"/>
                  <a:pt x="172585" y="565408"/>
                  <a:pt x="167261" y="565408"/>
                </a:cubicBezTo>
                <a:cubicBezTo>
                  <a:pt x="161937" y="565408"/>
                  <a:pt x="157621" y="561092"/>
                  <a:pt x="157621" y="555767"/>
                </a:cubicBezTo>
                <a:cubicBezTo>
                  <a:pt x="157621" y="550443"/>
                  <a:pt x="161937" y="546127"/>
                  <a:pt x="167261" y="546127"/>
                </a:cubicBezTo>
                <a:close/>
                <a:moveTo>
                  <a:pt x="134965" y="546127"/>
                </a:moveTo>
                <a:cubicBezTo>
                  <a:pt x="140289" y="546127"/>
                  <a:pt x="144606" y="550443"/>
                  <a:pt x="144606" y="555767"/>
                </a:cubicBezTo>
                <a:cubicBezTo>
                  <a:pt x="144606" y="561092"/>
                  <a:pt x="140289" y="565408"/>
                  <a:pt x="134965" y="565408"/>
                </a:cubicBezTo>
                <a:cubicBezTo>
                  <a:pt x="129641" y="565408"/>
                  <a:pt x="125325" y="561092"/>
                  <a:pt x="125325" y="555767"/>
                </a:cubicBezTo>
                <a:cubicBezTo>
                  <a:pt x="125325" y="550443"/>
                  <a:pt x="129641" y="546127"/>
                  <a:pt x="134965" y="546127"/>
                </a:cubicBezTo>
                <a:close/>
                <a:moveTo>
                  <a:pt x="102670" y="546127"/>
                </a:moveTo>
                <a:cubicBezTo>
                  <a:pt x="107995" y="546127"/>
                  <a:pt x="112311" y="550443"/>
                  <a:pt x="112311" y="555767"/>
                </a:cubicBezTo>
                <a:cubicBezTo>
                  <a:pt x="112311" y="561092"/>
                  <a:pt x="107995" y="565408"/>
                  <a:pt x="102670" y="565408"/>
                </a:cubicBezTo>
                <a:cubicBezTo>
                  <a:pt x="97346" y="565408"/>
                  <a:pt x="93030" y="561092"/>
                  <a:pt x="93030" y="555767"/>
                </a:cubicBezTo>
                <a:cubicBezTo>
                  <a:pt x="93030" y="550443"/>
                  <a:pt x="97346" y="546127"/>
                  <a:pt x="102670" y="546127"/>
                </a:cubicBezTo>
                <a:close/>
                <a:moveTo>
                  <a:pt x="70375" y="546127"/>
                </a:moveTo>
                <a:cubicBezTo>
                  <a:pt x="75700" y="546127"/>
                  <a:pt x="80016" y="550443"/>
                  <a:pt x="80016" y="555767"/>
                </a:cubicBezTo>
                <a:cubicBezTo>
                  <a:pt x="80016" y="561092"/>
                  <a:pt x="75700" y="565408"/>
                  <a:pt x="70375" y="565408"/>
                </a:cubicBezTo>
                <a:cubicBezTo>
                  <a:pt x="65051" y="565408"/>
                  <a:pt x="60735" y="561092"/>
                  <a:pt x="60735" y="555767"/>
                </a:cubicBezTo>
                <a:cubicBezTo>
                  <a:pt x="60735" y="550443"/>
                  <a:pt x="65051" y="546127"/>
                  <a:pt x="70375" y="546127"/>
                </a:cubicBezTo>
                <a:close/>
                <a:moveTo>
                  <a:pt x="38080" y="546127"/>
                </a:moveTo>
                <a:cubicBezTo>
                  <a:pt x="43405" y="546127"/>
                  <a:pt x="47721" y="550443"/>
                  <a:pt x="47721" y="555767"/>
                </a:cubicBezTo>
                <a:cubicBezTo>
                  <a:pt x="47721" y="561092"/>
                  <a:pt x="43405" y="565408"/>
                  <a:pt x="38080" y="565408"/>
                </a:cubicBezTo>
                <a:cubicBezTo>
                  <a:pt x="32756" y="565408"/>
                  <a:pt x="28440" y="561092"/>
                  <a:pt x="28440" y="555767"/>
                </a:cubicBezTo>
                <a:cubicBezTo>
                  <a:pt x="28440" y="550443"/>
                  <a:pt x="32756" y="546127"/>
                  <a:pt x="38080" y="546127"/>
                </a:cubicBezTo>
                <a:close/>
                <a:moveTo>
                  <a:pt x="5303" y="545645"/>
                </a:moveTo>
                <a:cubicBezTo>
                  <a:pt x="10123" y="546127"/>
                  <a:pt x="14944" y="550465"/>
                  <a:pt x="14944" y="555767"/>
                </a:cubicBezTo>
                <a:cubicBezTo>
                  <a:pt x="14944" y="561070"/>
                  <a:pt x="11087" y="564926"/>
                  <a:pt x="6267" y="565408"/>
                </a:cubicBezTo>
                <a:cubicBezTo>
                  <a:pt x="2893" y="560106"/>
                  <a:pt x="965" y="553839"/>
                  <a:pt x="483" y="547091"/>
                </a:cubicBezTo>
                <a:cubicBezTo>
                  <a:pt x="1929" y="546127"/>
                  <a:pt x="3375" y="545645"/>
                  <a:pt x="5303" y="545645"/>
                </a:cubicBezTo>
                <a:close/>
                <a:moveTo>
                  <a:pt x="296924" y="514314"/>
                </a:moveTo>
                <a:cubicBezTo>
                  <a:pt x="300780" y="513832"/>
                  <a:pt x="303672" y="515760"/>
                  <a:pt x="305601" y="518652"/>
                </a:cubicBezTo>
                <a:cubicBezTo>
                  <a:pt x="299816" y="521544"/>
                  <a:pt x="294032" y="524918"/>
                  <a:pt x="288248" y="527810"/>
                </a:cubicBezTo>
                <a:cubicBezTo>
                  <a:pt x="287766" y="526364"/>
                  <a:pt x="287284" y="525400"/>
                  <a:pt x="287284" y="523954"/>
                </a:cubicBezTo>
                <a:cubicBezTo>
                  <a:pt x="287284" y="518652"/>
                  <a:pt x="291622" y="514314"/>
                  <a:pt x="296924" y="514314"/>
                </a:cubicBezTo>
                <a:close/>
                <a:moveTo>
                  <a:pt x="264628" y="513832"/>
                </a:moveTo>
                <a:cubicBezTo>
                  <a:pt x="269953" y="513832"/>
                  <a:pt x="274269" y="518148"/>
                  <a:pt x="274269" y="523472"/>
                </a:cubicBezTo>
                <a:cubicBezTo>
                  <a:pt x="274269" y="528797"/>
                  <a:pt x="269953" y="533113"/>
                  <a:pt x="264628" y="533113"/>
                </a:cubicBezTo>
                <a:cubicBezTo>
                  <a:pt x="259304" y="533113"/>
                  <a:pt x="254988" y="528797"/>
                  <a:pt x="254988" y="523472"/>
                </a:cubicBezTo>
                <a:cubicBezTo>
                  <a:pt x="254988" y="518148"/>
                  <a:pt x="259304" y="513832"/>
                  <a:pt x="264628" y="513832"/>
                </a:cubicBezTo>
                <a:close/>
                <a:moveTo>
                  <a:pt x="232333" y="513832"/>
                </a:moveTo>
                <a:cubicBezTo>
                  <a:pt x="237657" y="513832"/>
                  <a:pt x="241974" y="518148"/>
                  <a:pt x="241974" y="523472"/>
                </a:cubicBezTo>
                <a:cubicBezTo>
                  <a:pt x="241974" y="528797"/>
                  <a:pt x="237657" y="533113"/>
                  <a:pt x="232333" y="533113"/>
                </a:cubicBezTo>
                <a:cubicBezTo>
                  <a:pt x="227009" y="533113"/>
                  <a:pt x="222693" y="528797"/>
                  <a:pt x="222693" y="523472"/>
                </a:cubicBezTo>
                <a:cubicBezTo>
                  <a:pt x="222693" y="518148"/>
                  <a:pt x="227009" y="513832"/>
                  <a:pt x="232333" y="513832"/>
                </a:cubicBezTo>
                <a:close/>
                <a:moveTo>
                  <a:pt x="200038" y="513832"/>
                </a:moveTo>
                <a:cubicBezTo>
                  <a:pt x="205362" y="513832"/>
                  <a:pt x="209679" y="518148"/>
                  <a:pt x="209679" y="523472"/>
                </a:cubicBezTo>
                <a:cubicBezTo>
                  <a:pt x="209679" y="528797"/>
                  <a:pt x="205362" y="533113"/>
                  <a:pt x="200038" y="533113"/>
                </a:cubicBezTo>
                <a:cubicBezTo>
                  <a:pt x="194714" y="533113"/>
                  <a:pt x="190398" y="528797"/>
                  <a:pt x="190398" y="523472"/>
                </a:cubicBezTo>
                <a:cubicBezTo>
                  <a:pt x="190398" y="518148"/>
                  <a:pt x="194714" y="513832"/>
                  <a:pt x="200038" y="513832"/>
                </a:cubicBezTo>
                <a:close/>
                <a:moveTo>
                  <a:pt x="167261" y="513832"/>
                </a:moveTo>
                <a:cubicBezTo>
                  <a:pt x="172585" y="513832"/>
                  <a:pt x="176902" y="518148"/>
                  <a:pt x="176902" y="523472"/>
                </a:cubicBezTo>
                <a:cubicBezTo>
                  <a:pt x="176902" y="528797"/>
                  <a:pt x="172585" y="533113"/>
                  <a:pt x="167261" y="533113"/>
                </a:cubicBezTo>
                <a:cubicBezTo>
                  <a:pt x="161937" y="533113"/>
                  <a:pt x="157621" y="528797"/>
                  <a:pt x="157621" y="523472"/>
                </a:cubicBezTo>
                <a:cubicBezTo>
                  <a:pt x="157621" y="518148"/>
                  <a:pt x="161937" y="513832"/>
                  <a:pt x="167261" y="513832"/>
                </a:cubicBezTo>
                <a:close/>
                <a:moveTo>
                  <a:pt x="134965" y="513832"/>
                </a:moveTo>
                <a:cubicBezTo>
                  <a:pt x="140289" y="513832"/>
                  <a:pt x="144606" y="518148"/>
                  <a:pt x="144606" y="523472"/>
                </a:cubicBezTo>
                <a:cubicBezTo>
                  <a:pt x="144606" y="528797"/>
                  <a:pt x="140289" y="533113"/>
                  <a:pt x="134965" y="533113"/>
                </a:cubicBezTo>
                <a:cubicBezTo>
                  <a:pt x="129641" y="533113"/>
                  <a:pt x="125325" y="528797"/>
                  <a:pt x="125325" y="523472"/>
                </a:cubicBezTo>
                <a:cubicBezTo>
                  <a:pt x="125325" y="518148"/>
                  <a:pt x="129641" y="513832"/>
                  <a:pt x="134965" y="513832"/>
                </a:cubicBezTo>
                <a:close/>
                <a:moveTo>
                  <a:pt x="102670" y="513832"/>
                </a:moveTo>
                <a:cubicBezTo>
                  <a:pt x="107995" y="513832"/>
                  <a:pt x="112311" y="518148"/>
                  <a:pt x="112311" y="523472"/>
                </a:cubicBezTo>
                <a:cubicBezTo>
                  <a:pt x="112311" y="528797"/>
                  <a:pt x="107995" y="533113"/>
                  <a:pt x="102670" y="533113"/>
                </a:cubicBezTo>
                <a:cubicBezTo>
                  <a:pt x="97346" y="533113"/>
                  <a:pt x="93030" y="528797"/>
                  <a:pt x="93030" y="523472"/>
                </a:cubicBezTo>
                <a:cubicBezTo>
                  <a:pt x="93030" y="518148"/>
                  <a:pt x="97346" y="513832"/>
                  <a:pt x="102670" y="513832"/>
                </a:cubicBezTo>
                <a:close/>
                <a:moveTo>
                  <a:pt x="70375" y="513832"/>
                </a:moveTo>
                <a:cubicBezTo>
                  <a:pt x="75700" y="513832"/>
                  <a:pt x="80016" y="518148"/>
                  <a:pt x="80016" y="523472"/>
                </a:cubicBezTo>
                <a:cubicBezTo>
                  <a:pt x="80016" y="528797"/>
                  <a:pt x="75700" y="533113"/>
                  <a:pt x="70375" y="533113"/>
                </a:cubicBezTo>
                <a:cubicBezTo>
                  <a:pt x="65051" y="533113"/>
                  <a:pt x="60735" y="528797"/>
                  <a:pt x="60735" y="523472"/>
                </a:cubicBezTo>
                <a:cubicBezTo>
                  <a:pt x="60735" y="518148"/>
                  <a:pt x="65051" y="513832"/>
                  <a:pt x="70375" y="513832"/>
                </a:cubicBezTo>
                <a:close/>
                <a:moveTo>
                  <a:pt x="38080" y="513832"/>
                </a:moveTo>
                <a:cubicBezTo>
                  <a:pt x="43405" y="513832"/>
                  <a:pt x="47721" y="518148"/>
                  <a:pt x="47721" y="523472"/>
                </a:cubicBezTo>
                <a:cubicBezTo>
                  <a:pt x="47721" y="528797"/>
                  <a:pt x="43405" y="533113"/>
                  <a:pt x="38080" y="533113"/>
                </a:cubicBezTo>
                <a:cubicBezTo>
                  <a:pt x="32756" y="533113"/>
                  <a:pt x="28440" y="528797"/>
                  <a:pt x="28440" y="523472"/>
                </a:cubicBezTo>
                <a:cubicBezTo>
                  <a:pt x="28440" y="518148"/>
                  <a:pt x="32756" y="513832"/>
                  <a:pt x="38080" y="513832"/>
                </a:cubicBezTo>
                <a:close/>
                <a:moveTo>
                  <a:pt x="5303" y="512868"/>
                </a:moveTo>
                <a:cubicBezTo>
                  <a:pt x="10123" y="513832"/>
                  <a:pt x="14944" y="518170"/>
                  <a:pt x="14944" y="523472"/>
                </a:cubicBezTo>
                <a:cubicBezTo>
                  <a:pt x="14944" y="528775"/>
                  <a:pt x="10605" y="533113"/>
                  <a:pt x="5303" y="533113"/>
                </a:cubicBezTo>
                <a:cubicBezTo>
                  <a:pt x="3375" y="533113"/>
                  <a:pt x="1929" y="532631"/>
                  <a:pt x="483" y="531667"/>
                </a:cubicBezTo>
                <a:lnTo>
                  <a:pt x="483" y="514314"/>
                </a:lnTo>
                <a:cubicBezTo>
                  <a:pt x="1929" y="513350"/>
                  <a:pt x="3375" y="512868"/>
                  <a:pt x="5303" y="512868"/>
                </a:cubicBezTo>
                <a:close/>
                <a:moveTo>
                  <a:pt x="329219" y="482019"/>
                </a:moveTo>
                <a:cubicBezTo>
                  <a:pt x="334544" y="482019"/>
                  <a:pt x="338860" y="486335"/>
                  <a:pt x="338860" y="491659"/>
                </a:cubicBezTo>
                <a:cubicBezTo>
                  <a:pt x="338860" y="496984"/>
                  <a:pt x="334544" y="501300"/>
                  <a:pt x="329219" y="501300"/>
                </a:cubicBezTo>
                <a:cubicBezTo>
                  <a:pt x="323895" y="501300"/>
                  <a:pt x="319579" y="496984"/>
                  <a:pt x="319579" y="491659"/>
                </a:cubicBezTo>
                <a:cubicBezTo>
                  <a:pt x="319579" y="486335"/>
                  <a:pt x="323895" y="482019"/>
                  <a:pt x="329219" y="482019"/>
                </a:cubicBezTo>
                <a:close/>
                <a:moveTo>
                  <a:pt x="296924" y="482019"/>
                </a:moveTo>
                <a:cubicBezTo>
                  <a:pt x="302249" y="482019"/>
                  <a:pt x="306565" y="486335"/>
                  <a:pt x="306565" y="491659"/>
                </a:cubicBezTo>
                <a:cubicBezTo>
                  <a:pt x="306565" y="496984"/>
                  <a:pt x="302249" y="501300"/>
                  <a:pt x="296924" y="501300"/>
                </a:cubicBezTo>
                <a:cubicBezTo>
                  <a:pt x="291600" y="501300"/>
                  <a:pt x="287284" y="496984"/>
                  <a:pt x="287284" y="491659"/>
                </a:cubicBezTo>
                <a:cubicBezTo>
                  <a:pt x="287284" y="486335"/>
                  <a:pt x="291600" y="482019"/>
                  <a:pt x="296924" y="482019"/>
                </a:cubicBezTo>
                <a:close/>
                <a:moveTo>
                  <a:pt x="264628" y="482019"/>
                </a:moveTo>
                <a:cubicBezTo>
                  <a:pt x="269953" y="482019"/>
                  <a:pt x="274269" y="486335"/>
                  <a:pt x="274269" y="491659"/>
                </a:cubicBezTo>
                <a:cubicBezTo>
                  <a:pt x="274269" y="496984"/>
                  <a:pt x="269953" y="501300"/>
                  <a:pt x="264628" y="501300"/>
                </a:cubicBezTo>
                <a:cubicBezTo>
                  <a:pt x="259304" y="501300"/>
                  <a:pt x="254988" y="496984"/>
                  <a:pt x="254988" y="491659"/>
                </a:cubicBezTo>
                <a:cubicBezTo>
                  <a:pt x="254988" y="486335"/>
                  <a:pt x="259304" y="482019"/>
                  <a:pt x="264628" y="482019"/>
                </a:cubicBezTo>
                <a:close/>
                <a:moveTo>
                  <a:pt x="232333" y="482019"/>
                </a:moveTo>
                <a:cubicBezTo>
                  <a:pt x="237657" y="482019"/>
                  <a:pt x="241974" y="486335"/>
                  <a:pt x="241974" y="491659"/>
                </a:cubicBezTo>
                <a:cubicBezTo>
                  <a:pt x="241974" y="496984"/>
                  <a:pt x="237657" y="501300"/>
                  <a:pt x="232333" y="501300"/>
                </a:cubicBezTo>
                <a:cubicBezTo>
                  <a:pt x="227009" y="501300"/>
                  <a:pt x="222693" y="496984"/>
                  <a:pt x="222693" y="491659"/>
                </a:cubicBezTo>
                <a:cubicBezTo>
                  <a:pt x="222693" y="486335"/>
                  <a:pt x="227009" y="482019"/>
                  <a:pt x="232333" y="482019"/>
                </a:cubicBezTo>
                <a:close/>
                <a:moveTo>
                  <a:pt x="200038" y="482019"/>
                </a:moveTo>
                <a:cubicBezTo>
                  <a:pt x="205362" y="482019"/>
                  <a:pt x="209679" y="486335"/>
                  <a:pt x="209679" y="491659"/>
                </a:cubicBezTo>
                <a:cubicBezTo>
                  <a:pt x="209679" y="496984"/>
                  <a:pt x="205362" y="501300"/>
                  <a:pt x="200038" y="501300"/>
                </a:cubicBezTo>
                <a:cubicBezTo>
                  <a:pt x="194714" y="501300"/>
                  <a:pt x="190398" y="496984"/>
                  <a:pt x="190398" y="491659"/>
                </a:cubicBezTo>
                <a:cubicBezTo>
                  <a:pt x="190398" y="486335"/>
                  <a:pt x="194714" y="482019"/>
                  <a:pt x="200038" y="482019"/>
                </a:cubicBezTo>
                <a:close/>
                <a:moveTo>
                  <a:pt x="167261" y="482019"/>
                </a:moveTo>
                <a:cubicBezTo>
                  <a:pt x="172585" y="482019"/>
                  <a:pt x="176902" y="486335"/>
                  <a:pt x="176902" y="491659"/>
                </a:cubicBezTo>
                <a:cubicBezTo>
                  <a:pt x="176902" y="496984"/>
                  <a:pt x="172585" y="501300"/>
                  <a:pt x="167261" y="501300"/>
                </a:cubicBezTo>
                <a:cubicBezTo>
                  <a:pt x="161937" y="501300"/>
                  <a:pt x="157621" y="496984"/>
                  <a:pt x="157621" y="491659"/>
                </a:cubicBezTo>
                <a:cubicBezTo>
                  <a:pt x="157621" y="486335"/>
                  <a:pt x="161937" y="482019"/>
                  <a:pt x="167261" y="482019"/>
                </a:cubicBezTo>
                <a:close/>
                <a:moveTo>
                  <a:pt x="134965" y="482019"/>
                </a:moveTo>
                <a:cubicBezTo>
                  <a:pt x="140289" y="482019"/>
                  <a:pt x="144606" y="486335"/>
                  <a:pt x="144606" y="491659"/>
                </a:cubicBezTo>
                <a:cubicBezTo>
                  <a:pt x="144606" y="496984"/>
                  <a:pt x="140289" y="501300"/>
                  <a:pt x="134965" y="501300"/>
                </a:cubicBezTo>
                <a:cubicBezTo>
                  <a:pt x="129641" y="501300"/>
                  <a:pt x="125325" y="496984"/>
                  <a:pt x="125325" y="491659"/>
                </a:cubicBezTo>
                <a:cubicBezTo>
                  <a:pt x="125325" y="486335"/>
                  <a:pt x="129641" y="482019"/>
                  <a:pt x="134965" y="482019"/>
                </a:cubicBezTo>
                <a:close/>
                <a:moveTo>
                  <a:pt x="102670" y="482019"/>
                </a:moveTo>
                <a:cubicBezTo>
                  <a:pt x="107995" y="482019"/>
                  <a:pt x="112311" y="486335"/>
                  <a:pt x="112311" y="491659"/>
                </a:cubicBezTo>
                <a:cubicBezTo>
                  <a:pt x="112311" y="496984"/>
                  <a:pt x="107995" y="501300"/>
                  <a:pt x="102670" y="501300"/>
                </a:cubicBezTo>
                <a:cubicBezTo>
                  <a:pt x="97346" y="501300"/>
                  <a:pt x="93030" y="496984"/>
                  <a:pt x="93030" y="491659"/>
                </a:cubicBezTo>
                <a:cubicBezTo>
                  <a:pt x="93030" y="486335"/>
                  <a:pt x="97346" y="482019"/>
                  <a:pt x="102670" y="482019"/>
                </a:cubicBezTo>
                <a:close/>
                <a:moveTo>
                  <a:pt x="70375" y="482019"/>
                </a:moveTo>
                <a:cubicBezTo>
                  <a:pt x="75700" y="482019"/>
                  <a:pt x="80016" y="486335"/>
                  <a:pt x="80016" y="491659"/>
                </a:cubicBezTo>
                <a:cubicBezTo>
                  <a:pt x="80016" y="496984"/>
                  <a:pt x="75700" y="501300"/>
                  <a:pt x="70375" y="501300"/>
                </a:cubicBezTo>
                <a:cubicBezTo>
                  <a:pt x="65051" y="501300"/>
                  <a:pt x="60735" y="496984"/>
                  <a:pt x="60735" y="491659"/>
                </a:cubicBezTo>
                <a:cubicBezTo>
                  <a:pt x="60735" y="486335"/>
                  <a:pt x="65051" y="482019"/>
                  <a:pt x="70375" y="482019"/>
                </a:cubicBezTo>
                <a:close/>
                <a:moveTo>
                  <a:pt x="38080" y="482019"/>
                </a:moveTo>
                <a:cubicBezTo>
                  <a:pt x="43405" y="482019"/>
                  <a:pt x="47721" y="486335"/>
                  <a:pt x="47721" y="491659"/>
                </a:cubicBezTo>
                <a:cubicBezTo>
                  <a:pt x="47721" y="496984"/>
                  <a:pt x="43405" y="501300"/>
                  <a:pt x="38080" y="501300"/>
                </a:cubicBezTo>
                <a:cubicBezTo>
                  <a:pt x="32756" y="501300"/>
                  <a:pt x="28440" y="496984"/>
                  <a:pt x="28440" y="491659"/>
                </a:cubicBezTo>
                <a:cubicBezTo>
                  <a:pt x="28440" y="486335"/>
                  <a:pt x="32756" y="482019"/>
                  <a:pt x="38080" y="482019"/>
                </a:cubicBezTo>
                <a:close/>
                <a:moveTo>
                  <a:pt x="361996" y="481537"/>
                </a:moveTo>
                <a:cubicBezTo>
                  <a:pt x="362478" y="481537"/>
                  <a:pt x="363442" y="481537"/>
                  <a:pt x="363924" y="481537"/>
                </a:cubicBezTo>
                <a:cubicBezTo>
                  <a:pt x="360068" y="484429"/>
                  <a:pt x="356212" y="487321"/>
                  <a:pt x="352356" y="489731"/>
                </a:cubicBezTo>
                <a:cubicBezTo>
                  <a:pt x="352838" y="485393"/>
                  <a:pt x="356694" y="481537"/>
                  <a:pt x="361996" y="481537"/>
                </a:cubicBezTo>
                <a:close/>
                <a:moveTo>
                  <a:pt x="5303" y="481055"/>
                </a:moveTo>
                <a:cubicBezTo>
                  <a:pt x="10123" y="481537"/>
                  <a:pt x="14944" y="485875"/>
                  <a:pt x="14944" y="491659"/>
                </a:cubicBezTo>
                <a:cubicBezTo>
                  <a:pt x="14944" y="496962"/>
                  <a:pt x="10605" y="501300"/>
                  <a:pt x="5303" y="501300"/>
                </a:cubicBezTo>
                <a:cubicBezTo>
                  <a:pt x="3375" y="501300"/>
                  <a:pt x="1929" y="500818"/>
                  <a:pt x="483" y="499854"/>
                </a:cubicBezTo>
                <a:lnTo>
                  <a:pt x="483" y="482501"/>
                </a:lnTo>
                <a:cubicBezTo>
                  <a:pt x="1929" y="481537"/>
                  <a:pt x="3375" y="481055"/>
                  <a:pt x="5303" y="481055"/>
                </a:cubicBezTo>
                <a:close/>
                <a:moveTo>
                  <a:pt x="393809" y="450206"/>
                </a:moveTo>
                <a:cubicBezTo>
                  <a:pt x="396702" y="449724"/>
                  <a:pt x="399594" y="450688"/>
                  <a:pt x="401040" y="452616"/>
                </a:cubicBezTo>
                <a:cubicBezTo>
                  <a:pt x="396219" y="456954"/>
                  <a:pt x="390917" y="460810"/>
                  <a:pt x="386097" y="465148"/>
                </a:cubicBezTo>
                <a:cubicBezTo>
                  <a:pt x="385133" y="463702"/>
                  <a:pt x="384169" y="461774"/>
                  <a:pt x="384169" y="459846"/>
                </a:cubicBezTo>
                <a:cubicBezTo>
                  <a:pt x="384169" y="454544"/>
                  <a:pt x="388507" y="450206"/>
                  <a:pt x="393809" y="450206"/>
                </a:cubicBezTo>
                <a:close/>
                <a:moveTo>
                  <a:pt x="4820" y="450205"/>
                </a:moveTo>
                <a:cubicBezTo>
                  <a:pt x="10123" y="450205"/>
                  <a:pt x="14461" y="454543"/>
                  <a:pt x="14461" y="459845"/>
                </a:cubicBezTo>
                <a:cubicBezTo>
                  <a:pt x="14461" y="465147"/>
                  <a:pt x="10123" y="469486"/>
                  <a:pt x="4820" y="469486"/>
                </a:cubicBezTo>
                <a:cubicBezTo>
                  <a:pt x="2892" y="469486"/>
                  <a:pt x="1446" y="469004"/>
                  <a:pt x="0" y="468040"/>
                </a:cubicBezTo>
                <a:lnTo>
                  <a:pt x="0" y="451651"/>
                </a:lnTo>
                <a:cubicBezTo>
                  <a:pt x="1446" y="450687"/>
                  <a:pt x="2892" y="450205"/>
                  <a:pt x="4820" y="450205"/>
                </a:cubicBezTo>
                <a:close/>
                <a:moveTo>
                  <a:pt x="361996" y="449723"/>
                </a:moveTo>
                <a:cubicBezTo>
                  <a:pt x="367321" y="449723"/>
                  <a:pt x="371637" y="454039"/>
                  <a:pt x="371637" y="459363"/>
                </a:cubicBezTo>
                <a:cubicBezTo>
                  <a:pt x="371637" y="464688"/>
                  <a:pt x="367321" y="469004"/>
                  <a:pt x="361996" y="469004"/>
                </a:cubicBezTo>
                <a:cubicBezTo>
                  <a:pt x="356672" y="469004"/>
                  <a:pt x="352356" y="464688"/>
                  <a:pt x="352356" y="459363"/>
                </a:cubicBezTo>
                <a:cubicBezTo>
                  <a:pt x="352356" y="454039"/>
                  <a:pt x="356672" y="449723"/>
                  <a:pt x="361996" y="449723"/>
                </a:cubicBezTo>
                <a:close/>
                <a:moveTo>
                  <a:pt x="329219" y="449723"/>
                </a:moveTo>
                <a:cubicBezTo>
                  <a:pt x="334544" y="449723"/>
                  <a:pt x="338860" y="454039"/>
                  <a:pt x="338860" y="459363"/>
                </a:cubicBezTo>
                <a:cubicBezTo>
                  <a:pt x="338860" y="464688"/>
                  <a:pt x="334544" y="469004"/>
                  <a:pt x="329219" y="469004"/>
                </a:cubicBezTo>
                <a:cubicBezTo>
                  <a:pt x="323895" y="469004"/>
                  <a:pt x="319579" y="464688"/>
                  <a:pt x="319579" y="459363"/>
                </a:cubicBezTo>
                <a:cubicBezTo>
                  <a:pt x="319579" y="454039"/>
                  <a:pt x="323895" y="449723"/>
                  <a:pt x="329219" y="449723"/>
                </a:cubicBezTo>
                <a:close/>
                <a:moveTo>
                  <a:pt x="296924" y="449723"/>
                </a:moveTo>
                <a:cubicBezTo>
                  <a:pt x="302249" y="449723"/>
                  <a:pt x="306565" y="454039"/>
                  <a:pt x="306565" y="459363"/>
                </a:cubicBezTo>
                <a:cubicBezTo>
                  <a:pt x="306565" y="464688"/>
                  <a:pt x="302249" y="469004"/>
                  <a:pt x="296924" y="469004"/>
                </a:cubicBezTo>
                <a:cubicBezTo>
                  <a:pt x="291600" y="469004"/>
                  <a:pt x="287284" y="464688"/>
                  <a:pt x="287284" y="459363"/>
                </a:cubicBezTo>
                <a:cubicBezTo>
                  <a:pt x="287284" y="454039"/>
                  <a:pt x="291600" y="449723"/>
                  <a:pt x="296924" y="449723"/>
                </a:cubicBezTo>
                <a:close/>
                <a:moveTo>
                  <a:pt x="264628" y="449723"/>
                </a:moveTo>
                <a:cubicBezTo>
                  <a:pt x="269953" y="449723"/>
                  <a:pt x="274269" y="454039"/>
                  <a:pt x="274269" y="459363"/>
                </a:cubicBezTo>
                <a:cubicBezTo>
                  <a:pt x="274269" y="464688"/>
                  <a:pt x="269953" y="469004"/>
                  <a:pt x="264628" y="469004"/>
                </a:cubicBezTo>
                <a:cubicBezTo>
                  <a:pt x="259304" y="469004"/>
                  <a:pt x="254988" y="464688"/>
                  <a:pt x="254988" y="459363"/>
                </a:cubicBezTo>
                <a:cubicBezTo>
                  <a:pt x="254988" y="454039"/>
                  <a:pt x="259304" y="449723"/>
                  <a:pt x="264628" y="449723"/>
                </a:cubicBezTo>
                <a:close/>
                <a:moveTo>
                  <a:pt x="232333" y="449723"/>
                </a:moveTo>
                <a:cubicBezTo>
                  <a:pt x="237657" y="449723"/>
                  <a:pt x="241974" y="454039"/>
                  <a:pt x="241974" y="459363"/>
                </a:cubicBezTo>
                <a:cubicBezTo>
                  <a:pt x="241974" y="464688"/>
                  <a:pt x="237657" y="469004"/>
                  <a:pt x="232333" y="469004"/>
                </a:cubicBezTo>
                <a:cubicBezTo>
                  <a:pt x="227009" y="469004"/>
                  <a:pt x="222693" y="464688"/>
                  <a:pt x="222693" y="459363"/>
                </a:cubicBezTo>
                <a:cubicBezTo>
                  <a:pt x="222693" y="454039"/>
                  <a:pt x="227009" y="449723"/>
                  <a:pt x="232333" y="449723"/>
                </a:cubicBezTo>
                <a:close/>
                <a:moveTo>
                  <a:pt x="200038" y="449723"/>
                </a:moveTo>
                <a:cubicBezTo>
                  <a:pt x="205362" y="449723"/>
                  <a:pt x="209679" y="454039"/>
                  <a:pt x="209679" y="459363"/>
                </a:cubicBezTo>
                <a:cubicBezTo>
                  <a:pt x="209679" y="464688"/>
                  <a:pt x="205362" y="469004"/>
                  <a:pt x="200038" y="469004"/>
                </a:cubicBezTo>
                <a:cubicBezTo>
                  <a:pt x="194714" y="469004"/>
                  <a:pt x="190398" y="464688"/>
                  <a:pt x="190398" y="459363"/>
                </a:cubicBezTo>
                <a:cubicBezTo>
                  <a:pt x="190398" y="454039"/>
                  <a:pt x="194714" y="449723"/>
                  <a:pt x="200038" y="449723"/>
                </a:cubicBezTo>
                <a:close/>
                <a:moveTo>
                  <a:pt x="167261" y="449723"/>
                </a:moveTo>
                <a:cubicBezTo>
                  <a:pt x="172585" y="449723"/>
                  <a:pt x="176902" y="454039"/>
                  <a:pt x="176902" y="459363"/>
                </a:cubicBezTo>
                <a:cubicBezTo>
                  <a:pt x="176902" y="464688"/>
                  <a:pt x="172585" y="469004"/>
                  <a:pt x="167261" y="469004"/>
                </a:cubicBezTo>
                <a:cubicBezTo>
                  <a:pt x="161937" y="469004"/>
                  <a:pt x="157621" y="464688"/>
                  <a:pt x="157621" y="459363"/>
                </a:cubicBezTo>
                <a:cubicBezTo>
                  <a:pt x="157621" y="454039"/>
                  <a:pt x="161937" y="449723"/>
                  <a:pt x="167261" y="449723"/>
                </a:cubicBezTo>
                <a:close/>
                <a:moveTo>
                  <a:pt x="134965" y="449723"/>
                </a:moveTo>
                <a:cubicBezTo>
                  <a:pt x="140289" y="449723"/>
                  <a:pt x="144606" y="454039"/>
                  <a:pt x="144606" y="459363"/>
                </a:cubicBezTo>
                <a:cubicBezTo>
                  <a:pt x="144606" y="464688"/>
                  <a:pt x="140289" y="469004"/>
                  <a:pt x="134965" y="469004"/>
                </a:cubicBezTo>
                <a:cubicBezTo>
                  <a:pt x="129641" y="469004"/>
                  <a:pt x="125325" y="464688"/>
                  <a:pt x="125325" y="459363"/>
                </a:cubicBezTo>
                <a:cubicBezTo>
                  <a:pt x="125325" y="454039"/>
                  <a:pt x="129641" y="449723"/>
                  <a:pt x="134965" y="449723"/>
                </a:cubicBezTo>
                <a:close/>
                <a:moveTo>
                  <a:pt x="102670" y="449723"/>
                </a:moveTo>
                <a:cubicBezTo>
                  <a:pt x="107995" y="449723"/>
                  <a:pt x="112311" y="454039"/>
                  <a:pt x="112311" y="459363"/>
                </a:cubicBezTo>
                <a:cubicBezTo>
                  <a:pt x="112311" y="464688"/>
                  <a:pt x="107995" y="469004"/>
                  <a:pt x="102670" y="469004"/>
                </a:cubicBezTo>
                <a:cubicBezTo>
                  <a:pt x="97346" y="469004"/>
                  <a:pt x="93030" y="464688"/>
                  <a:pt x="93030" y="459363"/>
                </a:cubicBezTo>
                <a:cubicBezTo>
                  <a:pt x="93030" y="454039"/>
                  <a:pt x="97346" y="449723"/>
                  <a:pt x="102670" y="449723"/>
                </a:cubicBezTo>
                <a:close/>
                <a:moveTo>
                  <a:pt x="70375" y="449723"/>
                </a:moveTo>
                <a:cubicBezTo>
                  <a:pt x="75700" y="449723"/>
                  <a:pt x="80016" y="454039"/>
                  <a:pt x="80016" y="459363"/>
                </a:cubicBezTo>
                <a:cubicBezTo>
                  <a:pt x="80016" y="464688"/>
                  <a:pt x="75700" y="469004"/>
                  <a:pt x="70375" y="469004"/>
                </a:cubicBezTo>
                <a:cubicBezTo>
                  <a:pt x="65051" y="469004"/>
                  <a:pt x="60735" y="464688"/>
                  <a:pt x="60735" y="459363"/>
                </a:cubicBezTo>
                <a:cubicBezTo>
                  <a:pt x="60735" y="454039"/>
                  <a:pt x="65051" y="449723"/>
                  <a:pt x="70375" y="449723"/>
                </a:cubicBezTo>
                <a:close/>
                <a:moveTo>
                  <a:pt x="38080" y="449723"/>
                </a:moveTo>
                <a:cubicBezTo>
                  <a:pt x="43405" y="449723"/>
                  <a:pt x="47721" y="454039"/>
                  <a:pt x="47721" y="459363"/>
                </a:cubicBezTo>
                <a:cubicBezTo>
                  <a:pt x="47721" y="464688"/>
                  <a:pt x="43405" y="469004"/>
                  <a:pt x="38080" y="469004"/>
                </a:cubicBezTo>
                <a:cubicBezTo>
                  <a:pt x="32756" y="469004"/>
                  <a:pt x="28440" y="464688"/>
                  <a:pt x="28440" y="459363"/>
                </a:cubicBezTo>
                <a:cubicBezTo>
                  <a:pt x="28440" y="454039"/>
                  <a:pt x="32756" y="449723"/>
                  <a:pt x="38080" y="449723"/>
                </a:cubicBezTo>
                <a:close/>
                <a:moveTo>
                  <a:pt x="426105" y="417428"/>
                </a:moveTo>
                <a:cubicBezTo>
                  <a:pt x="429961" y="417428"/>
                  <a:pt x="432854" y="418874"/>
                  <a:pt x="434300" y="421284"/>
                </a:cubicBezTo>
                <a:cubicBezTo>
                  <a:pt x="433336" y="422248"/>
                  <a:pt x="432854" y="423212"/>
                  <a:pt x="431890" y="423694"/>
                </a:cubicBezTo>
                <a:cubicBezTo>
                  <a:pt x="428034" y="427550"/>
                  <a:pt x="424177" y="430925"/>
                  <a:pt x="420321" y="434781"/>
                </a:cubicBezTo>
                <a:cubicBezTo>
                  <a:pt x="417911" y="432853"/>
                  <a:pt x="416465" y="430443"/>
                  <a:pt x="416465" y="427068"/>
                </a:cubicBezTo>
                <a:cubicBezTo>
                  <a:pt x="416465" y="421766"/>
                  <a:pt x="420803" y="417428"/>
                  <a:pt x="426105" y="417428"/>
                </a:cubicBezTo>
                <a:close/>
                <a:moveTo>
                  <a:pt x="394292" y="417428"/>
                </a:moveTo>
                <a:cubicBezTo>
                  <a:pt x="399617" y="417428"/>
                  <a:pt x="403933" y="421744"/>
                  <a:pt x="403933" y="427068"/>
                </a:cubicBezTo>
                <a:cubicBezTo>
                  <a:pt x="403933" y="432393"/>
                  <a:pt x="399617" y="436709"/>
                  <a:pt x="394292" y="436709"/>
                </a:cubicBezTo>
                <a:cubicBezTo>
                  <a:pt x="388968" y="436709"/>
                  <a:pt x="384652" y="432393"/>
                  <a:pt x="384652" y="427068"/>
                </a:cubicBezTo>
                <a:cubicBezTo>
                  <a:pt x="384652" y="421744"/>
                  <a:pt x="388968" y="417428"/>
                  <a:pt x="394292" y="417428"/>
                </a:cubicBezTo>
                <a:close/>
                <a:moveTo>
                  <a:pt x="361996" y="417428"/>
                </a:moveTo>
                <a:cubicBezTo>
                  <a:pt x="367321" y="417428"/>
                  <a:pt x="371637" y="421744"/>
                  <a:pt x="371637" y="427068"/>
                </a:cubicBezTo>
                <a:cubicBezTo>
                  <a:pt x="371637" y="432393"/>
                  <a:pt x="367321" y="436709"/>
                  <a:pt x="361996" y="436709"/>
                </a:cubicBezTo>
                <a:cubicBezTo>
                  <a:pt x="356672" y="436709"/>
                  <a:pt x="352356" y="432393"/>
                  <a:pt x="352356" y="427068"/>
                </a:cubicBezTo>
                <a:cubicBezTo>
                  <a:pt x="352356" y="421744"/>
                  <a:pt x="356672" y="417428"/>
                  <a:pt x="361996" y="417428"/>
                </a:cubicBezTo>
                <a:close/>
                <a:moveTo>
                  <a:pt x="329219" y="417428"/>
                </a:moveTo>
                <a:cubicBezTo>
                  <a:pt x="334544" y="417428"/>
                  <a:pt x="338860" y="421744"/>
                  <a:pt x="338860" y="427068"/>
                </a:cubicBezTo>
                <a:cubicBezTo>
                  <a:pt x="338860" y="432393"/>
                  <a:pt x="334544" y="436709"/>
                  <a:pt x="329219" y="436709"/>
                </a:cubicBezTo>
                <a:cubicBezTo>
                  <a:pt x="323895" y="436709"/>
                  <a:pt x="319579" y="432393"/>
                  <a:pt x="319579" y="427068"/>
                </a:cubicBezTo>
                <a:cubicBezTo>
                  <a:pt x="319579" y="421744"/>
                  <a:pt x="323895" y="417428"/>
                  <a:pt x="329219" y="417428"/>
                </a:cubicBezTo>
                <a:close/>
                <a:moveTo>
                  <a:pt x="296924" y="417428"/>
                </a:moveTo>
                <a:cubicBezTo>
                  <a:pt x="302249" y="417428"/>
                  <a:pt x="306565" y="421744"/>
                  <a:pt x="306565" y="427068"/>
                </a:cubicBezTo>
                <a:cubicBezTo>
                  <a:pt x="306565" y="432393"/>
                  <a:pt x="302249" y="436709"/>
                  <a:pt x="296924" y="436709"/>
                </a:cubicBezTo>
                <a:cubicBezTo>
                  <a:pt x="291600" y="436709"/>
                  <a:pt x="287284" y="432393"/>
                  <a:pt x="287284" y="427068"/>
                </a:cubicBezTo>
                <a:cubicBezTo>
                  <a:pt x="287284" y="421744"/>
                  <a:pt x="291600" y="417428"/>
                  <a:pt x="296924" y="417428"/>
                </a:cubicBezTo>
                <a:close/>
                <a:moveTo>
                  <a:pt x="264628" y="417428"/>
                </a:moveTo>
                <a:cubicBezTo>
                  <a:pt x="269953" y="417428"/>
                  <a:pt x="274269" y="421744"/>
                  <a:pt x="274269" y="427068"/>
                </a:cubicBezTo>
                <a:cubicBezTo>
                  <a:pt x="274269" y="432393"/>
                  <a:pt x="269953" y="436709"/>
                  <a:pt x="264628" y="436709"/>
                </a:cubicBezTo>
                <a:cubicBezTo>
                  <a:pt x="259304" y="436709"/>
                  <a:pt x="254988" y="432393"/>
                  <a:pt x="254988" y="427068"/>
                </a:cubicBezTo>
                <a:cubicBezTo>
                  <a:pt x="254988" y="421744"/>
                  <a:pt x="259304" y="417428"/>
                  <a:pt x="264628" y="417428"/>
                </a:cubicBezTo>
                <a:close/>
                <a:moveTo>
                  <a:pt x="232333" y="417428"/>
                </a:moveTo>
                <a:cubicBezTo>
                  <a:pt x="237657" y="417428"/>
                  <a:pt x="241974" y="421744"/>
                  <a:pt x="241974" y="427068"/>
                </a:cubicBezTo>
                <a:cubicBezTo>
                  <a:pt x="241974" y="432393"/>
                  <a:pt x="237657" y="436709"/>
                  <a:pt x="232333" y="436709"/>
                </a:cubicBezTo>
                <a:cubicBezTo>
                  <a:pt x="227009" y="436709"/>
                  <a:pt x="222693" y="432393"/>
                  <a:pt x="222693" y="427068"/>
                </a:cubicBezTo>
                <a:cubicBezTo>
                  <a:pt x="222693" y="421744"/>
                  <a:pt x="227009" y="417428"/>
                  <a:pt x="232333" y="417428"/>
                </a:cubicBezTo>
                <a:close/>
                <a:moveTo>
                  <a:pt x="200038" y="417428"/>
                </a:moveTo>
                <a:cubicBezTo>
                  <a:pt x="205362" y="417428"/>
                  <a:pt x="209679" y="421744"/>
                  <a:pt x="209679" y="427068"/>
                </a:cubicBezTo>
                <a:cubicBezTo>
                  <a:pt x="209679" y="432393"/>
                  <a:pt x="205362" y="436709"/>
                  <a:pt x="200038" y="436709"/>
                </a:cubicBezTo>
                <a:cubicBezTo>
                  <a:pt x="194714" y="436709"/>
                  <a:pt x="190398" y="432393"/>
                  <a:pt x="190398" y="427068"/>
                </a:cubicBezTo>
                <a:cubicBezTo>
                  <a:pt x="190398" y="421744"/>
                  <a:pt x="194714" y="417428"/>
                  <a:pt x="200038" y="417428"/>
                </a:cubicBezTo>
                <a:close/>
                <a:moveTo>
                  <a:pt x="167261" y="417428"/>
                </a:moveTo>
                <a:cubicBezTo>
                  <a:pt x="172585" y="417428"/>
                  <a:pt x="176902" y="421744"/>
                  <a:pt x="176902" y="427068"/>
                </a:cubicBezTo>
                <a:cubicBezTo>
                  <a:pt x="176902" y="432393"/>
                  <a:pt x="172585" y="436709"/>
                  <a:pt x="167261" y="436709"/>
                </a:cubicBezTo>
                <a:cubicBezTo>
                  <a:pt x="161937" y="436709"/>
                  <a:pt x="157621" y="432393"/>
                  <a:pt x="157621" y="427068"/>
                </a:cubicBezTo>
                <a:cubicBezTo>
                  <a:pt x="157621" y="421744"/>
                  <a:pt x="161937" y="417428"/>
                  <a:pt x="167261" y="417428"/>
                </a:cubicBezTo>
                <a:close/>
                <a:moveTo>
                  <a:pt x="134965" y="417428"/>
                </a:moveTo>
                <a:cubicBezTo>
                  <a:pt x="140289" y="417428"/>
                  <a:pt x="144606" y="421744"/>
                  <a:pt x="144606" y="427068"/>
                </a:cubicBezTo>
                <a:cubicBezTo>
                  <a:pt x="144606" y="432393"/>
                  <a:pt x="140289" y="436709"/>
                  <a:pt x="134965" y="436709"/>
                </a:cubicBezTo>
                <a:cubicBezTo>
                  <a:pt x="129641" y="436709"/>
                  <a:pt x="125325" y="432393"/>
                  <a:pt x="125325" y="427068"/>
                </a:cubicBezTo>
                <a:cubicBezTo>
                  <a:pt x="125325" y="421744"/>
                  <a:pt x="129641" y="417428"/>
                  <a:pt x="134965" y="417428"/>
                </a:cubicBezTo>
                <a:close/>
                <a:moveTo>
                  <a:pt x="102670" y="417428"/>
                </a:moveTo>
                <a:cubicBezTo>
                  <a:pt x="107995" y="417428"/>
                  <a:pt x="112311" y="421744"/>
                  <a:pt x="112311" y="427068"/>
                </a:cubicBezTo>
                <a:cubicBezTo>
                  <a:pt x="112311" y="432393"/>
                  <a:pt x="107995" y="436709"/>
                  <a:pt x="102670" y="436709"/>
                </a:cubicBezTo>
                <a:cubicBezTo>
                  <a:pt x="97346" y="436709"/>
                  <a:pt x="93030" y="432393"/>
                  <a:pt x="93030" y="427068"/>
                </a:cubicBezTo>
                <a:cubicBezTo>
                  <a:pt x="93030" y="421744"/>
                  <a:pt x="97346" y="417428"/>
                  <a:pt x="102670" y="417428"/>
                </a:cubicBezTo>
                <a:close/>
                <a:moveTo>
                  <a:pt x="70375" y="417428"/>
                </a:moveTo>
                <a:cubicBezTo>
                  <a:pt x="75700" y="417428"/>
                  <a:pt x="80016" y="421744"/>
                  <a:pt x="80016" y="427068"/>
                </a:cubicBezTo>
                <a:cubicBezTo>
                  <a:pt x="80016" y="432393"/>
                  <a:pt x="75700" y="436709"/>
                  <a:pt x="70375" y="436709"/>
                </a:cubicBezTo>
                <a:cubicBezTo>
                  <a:pt x="65051" y="436709"/>
                  <a:pt x="60735" y="432393"/>
                  <a:pt x="60735" y="427068"/>
                </a:cubicBezTo>
                <a:cubicBezTo>
                  <a:pt x="60735" y="421744"/>
                  <a:pt x="65051" y="417428"/>
                  <a:pt x="70375" y="417428"/>
                </a:cubicBezTo>
                <a:close/>
                <a:moveTo>
                  <a:pt x="38080" y="417428"/>
                </a:moveTo>
                <a:cubicBezTo>
                  <a:pt x="43405" y="417428"/>
                  <a:pt x="47721" y="421744"/>
                  <a:pt x="47721" y="427068"/>
                </a:cubicBezTo>
                <a:cubicBezTo>
                  <a:pt x="47721" y="432393"/>
                  <a:pt x="43405" y="436709"/>
                  <a:pt x="38080" y="436709"/>
                </a:cubicBezTo>
                <a:cubicBezTo>
                  <a:pt x="32756" y="436709"/>
                  <a:pt x="28440" y="432393"/>
                  <a:pt x="28440" y="427068"/>
                </a:cubicBezTo>
                <a:cubicBezTo>
                  <a:pt x="28440" y="421744"/>
                  <a:pt x="32756" y="417428"/>
                  <a:pt x="38080" y="417428"/>
                </a:cubicBezTo>
                <a:close/>
                <a:moveTo>
                  <a:pt x="5303" y="416464"/>
                </a:moveTo>
                <a:cubicBezTo>
                  <a:pt x="10123" y="417428"/>
                  <a:pt x="14944" y="421766"/>
                  <a:pt x="14944" y="427068"/>
                </a:cubicBezTo>
                <a:cubicBezTo>
                  <a:pt x="14944" y="432371"/>
                  <a:pt x="10605" y="436709"/>
                  <a:pt x="5303" y="436709"/>
                </a:cubicBezTo>
                <a:cubicBezTo>
                  <a:pt x="3375" y="436709"/>
                  <a:pt x="1929" y="436227"/>
                  <a:pt x="483" y="435263"/>
                </a:cubicBezTo>
                <a:lnTo>
                  <a:pt x="483" y="417910"/>
                </a:lnTo>
                <a:cubicBezTo>
                  <a:pt x="1929" y="416946"/>
                  <a:pt x="3375" y="416464"/>
                  <a:pt x="5303" y="416464"/>
                </a:cubicBezTo>
                <a:close/>
                <a:moveTo>
                  <a:pt x="426587" y="385615"/>
                </a:moveTo>
                <a:cubicBezTo>
                  <a:pt x="431911" y="385615"/>
                  <a:pt x="436228" y="389931"/>
                  <a:pt x="436228" y="395255"/>
                </a:cubicBezTo>
                <a:cubicBezTo>
                  <a:pt x="436228" y="400580"/>
                  <a:pt x="431911" y="404896"/>
                  <a:pt x="426587" y="404896"/>
                </a:cubicBezTo>
                <a:cubicBezTo>
                  <a:pt x="421263" y="404896"/>
                  <a:pt x="416947" y="400580"/>
                  <a:pt x="416947" y="395255"/>
                </a:cubicBezTo>
                <a:cubicBezTo>
                  <a:pt x="416947" y="389931"/>
                  <a:pt x="421263" y="385615"/>
                  <a:pt x="426587" y="385615"/>
                </a:cubicBezTo>
                <a:close/>
                <a:moveTo>
                  <a:pt x="394292" y="385615"/>
                </a:moveTo>
                <a:cubicBezTo>
                  <a:pt x="399617" y="385615"/>
                  <a:pt x="403933" y="389931"/>
                  <a:pt x="403933" y="395255"/>
                </a:cubicBezTo>
                <a:cubicBezTo>
                  <a:pt x="403933" y="400580"/>
                  <a:pt x="399617" y="404896"/>
                  <a:pt x="394292" y="404896"/>
                </a:cubicBezTo>
                <a:cubicBezTo>
                  <a:pt x="388968" y="404896"/>
                  <a:pt x="384652" y="400580"/>
                  <a:pt x="384652" y="395255"/>
                </a:cubicBezTo>
                <a:cubicBezTo>
                  <a:pt x="384652" y="389931"/>
                  <a:pt x="388968" y="385615"/>
                  <a:pt x="394292" y="385615"/>
                </a:cubicBezTo>
                <a:close/>
                <a:moveTo>
                  <a:pt x="361996" y="385615"/>
                </a:moveTo>
                <a:cubicBezTo>
                  <a:pt x="367321" y="385615"/>
                  <a:pt x="371637" y="389931"/>
                  <a:pt x="371637" y="395255"/>
                </a:cubicBezTo>
                <a:cubicBezTo>
                  <a:pt x="371637" y="400580"/>
                  <a:pt x="367321" y="404896"/>
                  <a:pt x="361996" y="404896"/>
                </a:cubicBezTo>
                <a:cubicBezTo>
                  <a:pt x="356672" y="404896"/>
                  <a:pt x="352356" y="400580"/>
                  <a:pt x="352356" y="395255"/>
                </a:cubicBezTo>
                <a:cubicBezTo>
                  <a:pt x="352356" y="389931"/>
                  <a:pt x="356672" y="385615"/>
                  <a:pt x="361996" y="385615"/>
                </a:cubicBezTo>
                <a:close/>
                <a:moveTo>
                  <a:pt x="329219" y="385615"/>
                </a:moveTo>
                <a:cubicBezTo>
                  <a:pt x="334544" y="385615"/>
                  <a:pt x="338860" y="389931"/>
                  <a:pt x="338860" y="395255"/>
                </a:cubicBezTo>
                <a:cubicBezTo>
                  <a:pt x="338860" y="400580"/>
                  <a:pt x="334544" y="404896"/>
                  <a:pt x="329219" y="404896"/>
                </a:cubicBezTo>
                <a:cubicBezTo>
                  <a:pt x="323895" y="404896"/>
                  <a:pt x="319579" y="400580"/>
                  <a:pt x="319579" y="395255"/>
                </a:cubicBezTo>
                <a:cubicBezTo>
                  <a:pt x="319579" y="389931"/>
                  <a:pt x="323895" y="385615"/>
                  <a:pt x="329219" y="385615"/>
                </a:cubicBezTo>
                <a:close/>
                <a:moveTo>
                  <a:pt x="296924" y="385615"/>
                </a:moveTo>
                <a:cubicBezTo>
                  <a:pt x="302249" y="385615"/>
                  <a:pt x="306565" y="389931"/>
                  <a:pt x="306565" y="395255"/>
                </a:cubicBezTo>
                <a:cubicBezTo>
                  <a:pt x="306565" y="400580"/>
                  <a:pt x="302249" y="404896"/>
                  <a:pt x="296924" y="404896"/>
                </a:cubicBezTo>
                <a:cubicBezTo>
                  <a:pt x="291600" y="404896"/>
                  <a:pt x="287284" y="400580"/>
                  <a:pt x="287284" y="395255"/>
                </a:cubicBezTo>
                <a:cubicBezTo>
                  <a:pt x="287284" y="389931"/>
                  <a:pt x="291600" y="385615"/>
                  <a:pt x="296924" y="385615"/>
                </a:cubicBezTo>
                <a:close/>
                <a:moveTo>
                  <a:pt x="264628" y="385615"/>
                </a:moveTo>
                <a:cubicBezTo>
                  <a:pt x="269953" y="385615"/>
                  <a:pt x="274269" y="389931"/>
                  <a:pt x="274269" y="395255"/>
                </a:cubicBezTo>
                <a:cubicBezTo>
                  <a:pt x="274269" y="400580"/>
                  <a:pt x="269953" y="404896"/>
                  <a:pt x="264628" y="404896"/>
                </a:cubicBezTo>
                <a:cubicBezTo>
                  <a:pt x="259304" y="404896"/>
                  <a:pt x="254988" y="400580"/>
                  <a:pt x="254988" y="395255"/>
                </a:cubicBezTo>
                <a:cubicBezTo>
                  <a:pt x="254988" y="389931"/>
                  <a:pt x="259304" y="385615"/>
                  <a:pt x="264628" y="385615"/>
                </a:cubicBezTo>
                <a:close/>
                <a:moveTo>
                  <a:pt x="232333" y="385615"/>
                </a:moveTo>
                <a:cubicBezTo>
                  <a:pt x="237657" y="385615"/>
                  <a:pt x="241974" y="389931"/>
                  <a:pt x="241974" y="395255"/>
                </a:cubicBezTo>
                <a:cubicBezTo>
                  <a:pt x="241974" y="400580"/>
                  <a:pt x="237657" y="404896"/>
                  <a:pt x="232333" y="404896"/>
                </a:cubicBezTo>
                <a:cubicBezTo>
                  <a:pt x="227009" y="404896"/>
                  <a:pt x="222693" y="400580"/>
                  <a:pt x="222693" y="395255"/>
                </a:cubicBezTo>
                <a:cubicBezTo>
                  <a:pt x="222693" y="389931"/>
                  <a:pt x="227009" y="385615"/>
                  <a:pt x="232333" y="385615"/>
                </a:cubicBezTo>
                <a:close/>
                <a:moveTo>
                  <a:pt x="200038" y="385615"/>
                </a:moveTo>
                <a:cubicBezTo>
                  <a:pt x="205362" y="385615"/>
                  <a:pt x="209679" y="389931"/>
                  <a:pt x="209679" y="395255"/>
                </a:cubicBezTo>
                <a:cubicBezTo>
                  <a:pt x="209679" y="400580"/>
                  <a:pt x="205362" y="404896"/>
                  <a:pt x="200038" y="404896"/>
                </a:cubicBezTo>
                <a:cubicBezTo>
                  <a:pt x="194714" y="404896"/>
                  <a:pt x="190398" y="400580"/>
                  <a:pt x="190398" y="395255"/>
                </a:cubicBezTo>
                <a:cubicBezTo>
                  <a:pt x="190398" y="389931"/>
                  <a:pt x="194714" y="385615"/>
                  <a:pt x="200038" y="385615"/>
                </a:cubicBezTo>
                <a:close/>
                <a:moveTo>
                  <a:pt x="167261" y="385615"/>
                </a:moveTo>
                <a:cubicBezTo>
                  <a:pt x="172585" y="385615"/>
                  <a:pt x="176902" y="389931"/>
                  <a:pt x="176902" y="395255"/>
                </a:cubicBezTo>
                <a:cubicBezTo>
                  <a:pt x="176902" y="400580"/>
                  <a:pt x="172585" y="404896"/>
                  <a:pt x="167261" y="404896"/>
                </a:cubicBezTo>
                <a:cubicBezTo>
                  <a:pt x="161937" y="404896"/>
                  <a:pt x="157621" y="400580"/>
                  <a:pt x="157621" y="395255"/>
                </a:cubicBezTo>
                <a:cubicBezTo>
                  <a:pt x="157621" y="389931"/>
                  <a:pt x="161937" y="385615"/>
                  <a:pt x="167261" y="385615"/>
                </a:cubicBezTo>
                <a:close/>
                <a:moveTo>
                  <a:pt x="134965" y="385615"/>
                </a:moveTo>
                <a:cubicBezTo>
                  <a:pt x="140289" y="385615"/>
                  <a:pt x="144606" y="389931"/>
                  <a:pt x="144606" y="395255"/>
                </a:cubicBezTo>
                <a:cubicBezTo>
                  <a:pt x="144606" y="400580"/>
                  <a:pt x="140289" y="404896"/>
                  <a:pt x="134965" y="404896"/>
                </a:cubicBezTo>
                <a:cubicBezTo>
                  <a:pt x="129641" y="404896"/>
                  <a:pt x="125325" y="400580"/>
                  <a:pt x="125325" y="395255"/>
                </a:cubicBezTo>
                <a:cubicBezTo>
                  <a:pt x="125325" y="389931"/>
                  <a:pt x="129641" y="385615"/>
                  <a:pt x="134965" y="385615"/>
                </a:cubicBezTo>
                <a:close/>
                <a:moveTo>
                  <a:pt x="102670" y="385615"/>
                </a:moveTo>
                <a:cubicBezTo>
                  <a:pt x="107995" y="385615"/>
                  <a:pt x="112311" y="389931"/>
                  <a:pt x="112311" y="395255"/>
                </a:cubicBezTo>
                <a:cubicBezTo>
                  <a:pt x="112311" y="400580"/>
                  <a:pt x="107995" y="404896"/>
                  <a:pt x="102670" y="404896"/>
                </a:cubicBezTo>
                <a:cubicBezTo>
                  <a:pt x="97346" y="404896"/>
                  <a:pt x="93030" y="400580"/>
                  <a:pt x="93030" y="395255"/>
                </a:cubicBezTo>
                <a:cubicBezTo>
                  <a:pt x="93030" y="389931"/>
                  <a:pt x="97346" y="385615"/>
                  <a:pt x="102670" y="385615"/>
                </a:cubicBezTo>
                <a:close/>
                <a:moveTo>
                  <a:pt x="70375" y="385615"/>
                </a:moveTo>
                <a:cubicBezTo>
                  <a:pt x="75700" y="385615"/>
                  <a:pt x="80016" y="389931"/>
                  <a:pt x="80016" y="395255"/>
                </a:cubicBezTo>
                <a:cubicBezTo>
                  <a:pt x="80016" y="400580"/>
                  <a:pt x="75700" y="404896"/>
                  <a:pt x="70375" y="404896"/>
                </a:cubicBezTo>
                <a:cubicBezTo>
                  <a:pt x="65051" y="404896"/>
                  <a:pt x="60735" y="400580"/>
                  <a:pt x="60735" y="395255"/>
                </a:cubicBezTo>
                <a:cubicBezTo>
                  <a:pt x="60735" y="389931"/>
                  <a:pt x="65051" y="385615"/>
                  <a:pt x="70375" y="385615"/>
                </a:cubicBezTo>
                <a:close/>
                <a:moveTo>
                  <a:pt x="38080" y="385615"/>
                </a:moveTo>
                <a:cubicBezTo>
                  <a:pt x="43405" y="385615"/>
                  <a:pt x="47721" y="389931"/>
                  <a:pt x="47721" y="395255"/>
                </a:cubicBezTo>
                <a:cubicBezTo>
                  <a:pt x="47721" y="400580"/>
                  <a:pt x="43405" y="404896"/>
                  <a:pt x="38080" y="404896"/>
                </a:cubicBezTo>
                <a:cubicBezTo>
                  <a:pt x="32756" y="404896"/>
                  <a:pt x="28440" y="400580"/>
                  <a:pt x="28440" y="395255"/>
                </a:cubicBezTo>
                <a:cubicBezTo>
                  <a:pt x="28440" y="389931"/>
                  <a:pt x="32756" y="385615"/>
                  <a:pt x="38080" y="385615"/>
                </a:cubicBezTo>
                <a:close/>
                <a:moveTo>
                  <a:pt x="458400" y="385614"/>
                </a:moveTo>
                <a:cubicBezTo>
                  <a:pt x="461292" y="385132"/>
                  <a:pt x="463702" y="386096"/>
                  <a:pt x="465148" y="387543"/>
                </a:cubicBezTo>
                <a:cubicBezTo>
                  <a:pt x="460810" y="392363"/>
                  <a:pt x="456472" y="397665"/>
                  <a:pt x="452134" y="402485"/>
                </a:cubicBezTo>
                <a:cubicBezTo>
                  <a:pt x="450206" y="400557"/>
                  <a:pt x="448760" y="398147"/>
                  <a:pt x="448760" y="395255"/>
                </a:cubicBezTo>
                <a:cubicBezTo>
                  <a:pt x="448760" y="389953"/>
                  <a:pt x="453098" y="385614"/>
                  <a:pt x="458400" y="385614"/>
                </a:cubicBezTo>
                <a:close/>
                <a:moveTo>
                  <a:pt x="5303" y="384651"/>
                </a:moveTo>
                <a:cubicBezTo>
                  <a:pt x="10123" y="385133"/>
                  <a:pt x="14944" y="389471"/>
                  <a:pt x="14944" y="395255"/>
                </a:cubicBezTo>
                <a:cubicBezTo>
                  <a:pt x="14944" y="400558"/>
                  <a:pt x="10605" y="404896"/>
                  <a:pt x="5303" y="404896"/>
                </a:cubicBezTo>
                <a:cubicBezTo>
                  <a:pt x="3375" y="404896"/>
                  <a:pt x="1929" y="404414"/>
                  <a:pt x="483" y="403450"/>
                </a:cubicBezTo>
                <a:lnTo>
                  <a:pt x="483" y="386097"/>
                </a:lnTo>
                <a:cubicBezTo>
                  <a:pt x="1929" y="385133"/>
                  <a:pt x="3375" y="384651"/>
                  <a:pt x="5303" y="384651"/>
                </a:cubicBezTo>
                <a:close/>
                <a:moveTo>
                  <a:pt x="491659" y="353320"/>
                </a:moveTo>
                <a:cubicBezTo>
                  <a:pt x="488767" y="357658"/>
                  <a:pt x="485393" y="361996"/>
                  <a:pt x="482019" y="366334"/>
                </a:cubicBezTo>
                <a:cubicBezTo>
                  <a:pt x="481537" y="365370"/>
                  <a:pt x="481537" y="364406"/>
                  <a:pt x="481537" y="362960"/>
                </a:cubicBezTo>
                <a:cubicBezTo>
                  <a:pt x="481537" y="357658"/>
                  <a:pt x="485875" y="353320"/>
                  <a:pt x="491659" y="353320"/>
                </a:cubicBezTo>
                <a:close/>
                <a:moveTo>
                  <a:pt x="458882" y="353320"/>
                </a:moveTo>
                <a:cubicBezTo>
                  <a:pt x="464206" y="353320"/>
                  <a:pt x="468523" y="357636"/>
                  <a:pt x="468523" y="362960"/>
                </a:cubicBezTo>
                <a:cubicBezTo>
                  <a:pt x="468523" y="368285"/>
                  <a:pt x="464206" y="372601"/>
                  <a:pt x="458882" y="372601"/>
                </a:cubicBezTo>
                <a:cubicBezTo>
                  <a:pt x="453558" y="372601"/>
                  <a:pt x="449242" y="368285"/>
                  <a:pt x="449242" y="362960"/>
                </a:cubicBezTo>
                <a:cubicBezTo>
                  <a:pt x="449242" y="357636"/>
                  <a:pt x="453558" y="353320"/>
                  <a:pt x="458882" y="353320"/>
                </a:cubicBezTo>
                <a:close/>
                <a:moveTo>
                  <a:pt x="426587" y="353320"/>
                </a:moveTo>
                <a:cubicBezTo>
                  <a:pt x="431911" y="353320"/>
                  <a:pt x="436228" y="357636"/>
                  <a:pt x="436228" y="362960"/>
                </a:cubicBezTo>
                <a:cubicBezTo>
                  <a:pt x="436228" y="368285"/>
                  <a:pt x="431911" y="372601"/>
                  <a:pt x="426587" y="372601"/>
                </a:cubicBezTo>
                <a:cubicBezTo>
                  <a:pt x="421263" y="372601"/>
                  <a:pt x="416947" y="368285"/>
                  <a:pt x="416947" y="362960"/>
                </a:cubicBezTo>
                <a:cubicBezTo>
                  <a:pt x="416947" y="357636"/>
                  <a:pt x="421263" y="353320"/>
                  <a:pt x="426587" y="353320"/>
                </a:cubicBezTo>
                <a:close/>
                <a:moveTo>
                  <a:pt x="394292" y="353320"/>
                </a:moveTo>
                <a:cubicBezTo>
                  <a:pt x="399617" y="353320"/>
                  <a:pt x="403933" y="357636"/>
                  <a:pt x="403933" y="362960"/>
                </a:cubicBezTo>
                <a:cubicBezTo>
                  <a:pt x="403933" y="368285"/>
                  <a:pt x="399617" y="372601"/>
                  <a:pt x="394292" y="372601"/>
                </a:cubicBezTo>
                <a:cubicBezTo>
                  <a:pt x="388968" y="372601"/>
                  <a:pt x="384652" y="368285"/>
                  <a:pt x="384652" y="362960"/>
                </a:cubicBezTo>
                <a:cubicBezTo>
                  <a:pt x="384652" y="357636"/>
                  <a:pt x="388968" y="353320"/>
                  <a:pt x="394292" y="353320"/>
                </a:cubicBezTo>
                <a:close/>
                <a:moveTo>
                  <a:pt x="361996" y="353320"/>
                </a:moveTo>
                <a:cubicBezTo>
                  <a:pt x="367321" y="353320"/>
                  <a:pt x="371637" y="357636"/>
                  <a:pt x="371637" y="362960"/>
                </a:cubicBezTo>
                <a:cubicBezTo>
                  <a:pt x="371637" y="368285"/>
                  <a:pt x="367321" y="372601"/>
                  <a:pt x="361996" y="372601"/>
                </a:cubicBezTo>
                <a:cubicBezTo>
                  <a:pt x="356672" y="372601"/>
                  <a:pt x="352356" y="368285"/>
                  <a:pt x="352356" y="362960"/>
                </a:cubicBezTo>
                <a:cubicBezTo>
                  <a:pt x="352356" y="357636"/>
                  <a:pt x="356672" y="353320"/>
                  <a:pt x="361996" y="353320"/>
                </a:cubicBezTo>
                <a:close/>
                <a:moveTo>
                  <a:pt x="329219" y="353320"/>
                </a:moveTo>
                <a:cubicBezTo>
                  <a:pt x="334544" y="353320"/>
                  <a:pt x="338860" y="357636"/>
                  <a:pt x="338860" y="362960"/>
                </a:cubicBezTo>
                <a:cubicBezTo>
                  <a:pt x="338860" y="368285"/>
                  <a:pt x="334544" y="372601"/>
                  <a:pt x="329219" y="372601"/>
                </a:cubicBezTo>
                <a:cubicBezTo>
                  <a:pt x="323895" y="372601"/>
                  <a:pt x="319579" y="368285"/>
                  <a:pt x="319579" y="362960"/>
                </a:cubicBezTo>
                <a:cubicBezTo>
                  <a:pt x="319579" y="357636"/>
                  <a:pt x="323895" y="353320"/>
                  <a:pt x="329219" y="353320"/>
                </a:cubicBezTo>
                <a:close/>
                <a:moveTo>
                  <a:pt x="296924" y="353320"/>
                </a:moveTo>
                <a:cubicBezTo>
                  <a:pt x="302249" y="353320"/>
                  <a:pt x="306565" y="357636"/>
                  <a:pt x="306565" y="362960"/>
                </a:cubicBezTo>
                <a:cubicBezTo>
                  <a:pt x="306565" y="368285"/>
                  <a:pt x="302249" y="372601"/>
                  <a:pt x="296924" y="372601"/>
                </a:cubicBezTo>
                <a:cubicBezTo>
                  <a:pt x="291600" y="372601"/>
                  <a:pt x="287284" y="368285"/>
                  <a:pt x="287284" y="362960"/>
                </a:cubicBezTo>
                <a:cubicBezTo>
                  <a:pt x="287284" y="357636"/>
                  <a:pt x="291600" y="353320"/>
                  <a:pt x="296924" y="353320"/>
                </a:cubicBezTo>
                <a:close/>
                <a:moveTo>
                  <a:pt x="264628" y="353320"/>
                </a:moveTo>
                <a:cubicBezTo>
                  <a:pt x="269953" y="353320"/>
                  <a:pt x="274269" y="357636"/>
                  <a:pt x="274269" y="362960"/>
                </a:cubicBezTo>
                <a:cubicBezTo>
                  <a:pt x="274269" y="368285"/>
                  <a:pt x="269953" y="372601"/>
                  <a:pt x="264628" y="372601"/>
                </a:cubicBezTo>
                <a:cubicBezTo>
                  <a:pt x="259304" y="372601"/>
                  <a:pt x="254988" y="368285"/>
                  <a:pt x="254988" y="362960"/>
                </a:cubicBezTo>
                <a:cubicBezTo>
                  <a:pt x="254988" y="357636"/>
                  <a:pt x="259304" y="353320"/>
                  <a:pt x="264628" y="353320"/>
                </a:cubicBezTo>
                <a:close/>
                <a:moveTo>
                  <a:pt x="232333" y="353320"/>
                </a:moveTo>
                <a:cubicBezTo>
                  <a:pt x="237657" y="353320"/>
                  <a:pt x="241974" y="357636"/>
                  <a:pt x="241974" y="362960"/>
                </a:cubicBezTo>
                <a:cubicBezTo>
                  <a:pt x="241974" y="368285"/>
                  <a:pt x="237657" y="372601"/>
                  <a:pt x="232333" y="372601"/>
                </a:cubicBezTo>
                <a:cubicBezTo>
                  <a:pt x="227009" y="372601"/>
                  <a:pt x="222693" y="368285"/>
                  <a:pt x="222693" y="362960"/>
                </a:cubicBezTo>
                <a:cubicBezTo>
                  <a:pt x="222693" y="357636"/>
                  <a:pt x="227009" y="353320"/>
                  <a:pt x="232333" y="353320"/>
                </a:cubicBezTo>
                <a:close/>
                <a:moveTo>
                  <a:pt x="200038" y="353320"/>
                </a:moveTo>
                <a:cubicBezTo>
                  <a:pt x="205362" y="353320"/>
                  <a:pt x="209679" y="357636"/>
                  <a:pt x="209679" y="362960"/>
                </a:cubicBezTo>
                <a:cubicBezTo>
                  <a:pt x="209679" y="368285"/>
                  <a:pt x="205362" y="372601"/>
                  <a:pt x="200038" y="372601"/>
                </a:cubicBezTo>
                <a:cubicBezTo>
                  <a:pt x="194714" y="372601"/>
                  <a:pt x="190398" y="368285"/>
                  <a:pt x="190398" y="362960"/>
                </a:cubicBezTo>
                <a:cubicBezTo>
                  <a:pt x="190398" y="357636"/>
                  <a:pt x="194714" y="353320"/>
                  <a:pt x="200038" y="353320"/>
                </a:cubicBezTo>
                <a:close/>
                <a:moveTo>
                  <a:pt x="167261" y="353320"/>
                </a:moveTo>
                <a:cubicBezTo>
                  <a:pt x="172585" y="353320"/>
                  <a:pt x="176902" y="357636"/>
                  <a:pt x="176902" y="362960"/>
                </a:cubicBezTo>
                <a:cubicBezTo>
                  <a:pt x="176902" y="368285"/>
                  <a:pt x="172585" y="372601"/>
                  <a:pt x="167261" y="372601"/>
                </a:cubicBezTo>
                <a:cubicBezTo>
                  <a:pt x="161937" y="372601"/>
                  <a:pt x="157621" y="368285"/>
                  <a:pt x="157621" y="362960"/>
                </a:cubicBezTo>
                <a:cubicBezTo>
                  <a:pt x="157621" y="357636"/>
                  <a:pt x="161937" y="353320"/>
                  <a:pt x="167261" y="353320"/>
                </a:cubicBezTo>
                <a:close/>
                <a:moveTo>
                  <a:pt x="134965" y="353320"/>
                </a:moveTo>
                <a:cubicBezTo>
                  <a:pt x="140289" y="353320"/>
                  <a:pt x="144606" y="357636"/>
                  <a:pt x="144606" y="362960"/>
                </a:cubicBezTo>
                <a:cubicBezTo>
                  <a:pt x="144606" y="368285"/>
                  <a:pt x="140289" y="372601"/>
                  <a:pt x="134965" y="372601"/>
                </a:cubicBezTo>
                <a:cubicBezTo>
                  <a:pt x="129641" y="372601"/>
                  <a:pt x="125325" y="368285"/>
                  <a:pt x="125325" y="362960"/>
                </a:cubicBezTo>
                <a:cubicBezTo>
                  <a:pt x="125325" y="357636"/>
                  <a:pt x="129641" y="353320"/>
                  <a:pt x="134965" y="353320"/>
                </a:cubicBezTo>
                <a:close/>
                <a:moveTo>
                  <a:pt x="102670" y="353320"/>
                </a:moveTo>
                <a:cubicBezTo>
                  <a:pt x="107995" y="353320"/>
                  <a:pt x="112311" y="357636"/>
                  <a:pt x="112311" y="362960"/>
                </a:cubicBezTo>
                <a:cubicBezTo>
                  <a:pt x="112311" y="368285"/>
                  <a:pt x="107995" y="372601"/>
                  <a:pt x="102670" y="372601"/>
                </a:cubicBezTo>
                <a:cubicBezTo>
                  <a:pt x="97346" y="372601"/>
                  <a:pt x="93030" y="368285"/>
                  <a:pt x="93030" y="362960"/>
                </a:cubicBezTo>
                <a:cubicBezTo>
                  <a:pt x="93030" y="357636"/>
                  <a:pt x="97346" y="353320"/>
                  <a:pt x="102670" y="353320"/>
                </a:cubicBezTo>
                <a:close/>
                <a:moveTo>
                  <a:pt x="70375" y="353320"/>
                </a:moveTo>
                <a:cubicBezTo>
                  <a:pt x="75700" y="353320"/>
                  <a:pt x="80016" y="357636"/>
                  <a:pt x="80016" y="362960"/>
                </a:cubicBezTo>
                <a:cubicBezTo>
                  <a:pt x="80016" y="368285"/>
                  <a:pt x="75700" y="372601"/>
                  <a:pt x="70375" y="372601"/>
                </a:cubicBezTo>
                <a:cubicBezTo>
                  <a:pt x="65051" y="372601"/>
                  <a:pt x="60735" y="368285"/>
                  <a:pt x="60735" y="362960"/>
                </a:cubicBezTo>
                <a:cubicBezTo>
                  <a:pt x="60735" y="357636"/>
                  <a:pt x="65051" y="353320"/>
                  <a:pt x="70375" y="353320"/>
                </a:cubicBezTo>
                <a:close/>
                <a:moveTo>
                  <a:pt x="38080" y="353320"/>
                </a:moveTo>
                <a:cubicBezTo>
                  <a:pt x="43405" y="353320"/>
                  <a:pt x="47721" y="357636"/>
                  <a:pt x="47721" y="362960"/>
                </a:cubicBezTo>
                <a:cubicBezTo>
                  <a:pt x="47721" y="368285"/>
                  <a:pt x="43405" y="372601"/>
                  <a:pt x="38080" y="372601"/>
                </a:cubicBezTo>
                <a:cubicBezTo>
                  <a:pt x="32756" y="372601"/>
                  <a:pt x="28440" y="368285"/>
                  <a:pt x="28440" y="362960"/>
                </a:cubicBezTo>
                <a:cubicBezTo>
                  <a:pt x="28440" y="357636"/>
                  <a:pt x="32756" y="353320"/>
                  <a:pt x="38080" y="353320"/>
                </a:cubicBezTo>
                <a:close/>
                <a:moveTo>
                  <a:pt x="5303" y="352355"/>
                </a:moveTo>
                <a:cubicBezTo>
                  <a:pt x="10123" y="353319"/>
                  <a:pt x="14944" y="357657"/>
                  <a:pt x="14944" y="362959"/>
                </a:cubicBezTo>
                <a:cubicBezTo>
                  <a:pt x="14944" y="368262"/>
                  <a:pt x="10605" y="372600"/>
                  <a:pt x="5303" y="372600"/>
                </a:cubicBezTo>
                <a:cubicBezTo>
                  <a:pt x="3375" y="372600"/>
                  <a:pt x="1929" y="372118"/>
                  <a:pt x="483" y="371154"/>
                </a:cubicBezTo>
                <a:lnTo>
                  <a:pt x="483" y="353801"/>
                </a:lnTo>
                <a:cubicBezTo>
                  <a:pt x="1929" y="352837"/>
                  <a:pt x="3375" y="352355"/>
                  <a:pt x="5303" y="352355"/>
                </a:cubicBezTo>
                <a:close/>
                <a:moveTo>
                  <a:pt x="4820" y="321506"/>
                </a:moveTo>
                <a:cubicBezTo>
                  <a:pt x="10123" y="321506"/>
                  <a:pt x="14461" y="325844"/>
                  <a:pt x="14461" y="331146"/>
                </a:cubicBezTo>
                <a:cubicBezTo>
                  <a:pt x="14461" y="336449"/>
                  <a:pt x="10123" y="340787"/>
                  <a:pt x="4820" y="340787"/>
                </a:cubicBezTo>
                <a:cubicBezTo>
                  <a:pt x="2892" y="340787"/>
                  <a:pt x="1446" y="340305"/>
                  <a:pt x="0" y="339341"/>
                </a:cubicBezTo>
                <a:lnTo>
                  <a:pt x="0" y="322952"/>
                </a:lnTo>
                <a:cubicBezTo>
                  <a:pt x="1446" y="321988"/>
                  <a:pt x="2892" y="321506"/>
                  <a:pt x="4820" y="321506"/>
                </a:cubicBezTo>
                <a:close/>
                <a:moveTo>
                  <a:pt x="491177" y="321024"/>
                </a:moveTo>
                <a:cubicBezTo>
                  <a:pt x="496502" y="321024"/>
                  <a:pt x="500818" y="325340"/>
                  <a:pt x="500818" y="330664"/>
                </a:cubicBezTo>
                <a:cubicBezTo>
                  <a:pt x="500818" y="335989"/>
                  <a:pt x="496502" y="340305"/>
                  <a:pt x="491177" y="340305"/>
                </a:cubicBezTo>
                <a:cubicBezTo>
                  <a:pt x="485853" y="340305"/>
                  <a:pt x="481537" y="335989"/>
                  <a:pt x="481537" y="330664"/>
                </a:cubicBezTo>
                <a:cubicBezTo>
                  <a:pt x="481537" y="325340"/>
                  <a:pt x="485853" y="321024"/>
                  <a:pt x="491177" y="321024"/>
                </a:cubicBezTo>
                <a:close/>
                <a:moveTo>
                  <a:pt x="458882" y="321024"/>
                </a:moveTo>
                <a:cubicBezTo>
                  <a:pt x="464206" y="321024"/>
                  <a:pt x="468523" y="325340"/>
                  <a:pt x="468523" y="330664"/>
                </a:cubicBezTo>
                <a:cubicBezTo>
                  <a:pt x="468523" y="335989"/>
                  <a:pt x="464206" y="340305"/>
                  <a:pt x="458882" y="340305"/>
                </a:cubicBezTo>
                <a:cubicBezTo>
                  <a:pt x="453558" y="340305"/>
                  <a:pt x="449242" y="335989"/>
                  <a:pt x="449242" y="330664"/>
                </a:cubicBezTo>
                <a:cubicBezTo>
                  <a:pt x="449242" y="325340"/>
                  <a:pt x="453558" y="321024"/>
                  <a:pt x="458882" y="321024"/>
                </a:cubicBezTo>
                <a:close/>
                <a:moveTo>
                  <a:pt x="426587" y="321024"/>
                </a:moveTo>
                <a:cubicBezTo>
                  <a:pt x="431911" y="321024"/>
                  <a:pt x="436228" y="325340"/>
                  <a:pt x="436228" y="330664"/>
                </a:cubicBezTo>
                <a:cubicBezTo>
                  <a:pt x="436228" y="335989"/>
                  <a:pt x="431911" y="340305"/>
                  <a:pt x="426587" y="340305"/>
                </a:cubicBezTo>
                <a:cubicBezTo>
                  <a:pt x="421263" y="340305"/>
                  <a:pt x="416947" y="335989"/>
                  <a:pt x="416947" y="330664"/>
                </a:cubicBezTo>
                <a:cubicBezTo>
                  <a:pt x="416947" y="325340"/>
                  <a:pt x="421263" y="321024"/>
                  <a:pt x="426587" y="321024"/>
                </a:cubicBezTo>
                <a:close/>
                <a:moveTo>
                  <a:pt x="394292" y="321024"/>
                </a:moveTo>
                <a:cubicBezTo>
                  <a:pt x="399617" y="321024"/>
                  <a:pt x="403933" y="325340"/>
                  <a:pt x="403933" y="330664"/>
                </a:cubicBezTo>
                <a:cubicBezTo>
                  <a:pt x="403933" y="335989"/>
                  <a:pt x="399617" y="340305"/>
                  <a:pt x="394292" y="340305"/>
                </a:cubicBezTo>
                <a:cubicBezTo>
                  <a:pt x="388968" y="340305"/>
                  <a:pt x="384652" y="335989"/>
                  <a:pt x="384652" y="330664"/>
                </a:cubicBezTo>
                <a:cubicBezTo>
                  <a:pt x="384652" y="325340"/>
                  <a:pt x="388968" y="321024"/>
                  <a:pt x="394292" y="321024"/>
                </a:cubicBezTo>
                <a:close/>
                <a:moveTo>
                  <a:pt x="361996" y="321024"/>
                </a:moveTo>
                <a:cubicBezTo>
                  <a:pt x="367321" y="321024"/>
                  <a:pt x="371637" y="325340"/>
                  <a:pt x="371637" y="330664"/>
                </a:cubicBezTo>
                <a:cubicBezTo>
                  <a:pt x="371637" y="335989"/>
                  <a:pt x="367321" y="340305"/>
                  <a:pt x="361996" y="340305"/>
                </a:cubicBezTo>
                <a:cubicBezTo>
                  <a:pt x="356672" y="340305"/>
                  <a:pt x="352356" y="335989"/>
                  <a:pt x="352356" y="330664"/>
                </a:cubicBezTo>
                <a:cubicBezTo>
                  <a:pt x="352356" y="325340"/>
                  <a:pt x="356672" y="321024"/>
                  <a:pt x="361996" y="321024"/>
                </a:cubicBezTo>
                <a:close/>
                <a:moveTo>
                  <a:pt x="329219" y="321024"/>
                </a:moveTo>
                <a:cubicBezTo>
                  <a:pt x="334544" y="321024"/>
                  <a:pt x="338860" y="325340"/>
                  <a:pt x="338860" y="330664"/>
                </a:cubicBezTo>
                <a:cubicBezTo>
                  <a:pt x="338860" y="335989"/>
                  <a:pt x="334544" y="340305"/>
                  <a:pt x="329219" y="340305"/>
                </a:cubicBezTo>
                <a:cubicBezTo>
                  <a:pt x="323895" y="340305"/>
                  <a:pt x="319579" y="335989"/>
                  <a:pt x="319579" y="330664"/>
                </a:cubicBezTo>
                <a:cubicBezTo>
                  <a:pt x="319579" y="325340"/>
                  <a:pt x="323895" y="321024"/>
                  <a:pt x="329219" y="321024"/>
                </a:cubicBezTo>
                <a:close/>
                <a:moveTo>
                  <a:pt x="296924" y="321024"/>
                </a:moveTo>
                <a:cubicBezTo>
                  <a:pt x="302249" y="321024"/>
                  <a:pt x="306565" y="325340"/>
                  <a:pt x="306565" y="330664"/>
                </a:cubicBezTo>
                <a:cubicBezTo>
                  <a:pt x="306565" y="335989"/>
                  <a:pt x="302249" y="340305"/>
                  <a:pt x="296924" y="340305"/>
                </a:cubicBezTo>
                <a:cubicBezTo>
                  <a:pt x="291600" y="340305"/>
                  <a:pt x="287284" y="335989"/>
                  <a:pt x="287284" y="330664"/>
                </a:cubicBezTo>
                <a:cubicBezTo>
                  <a:pt x="287284" y="325340"/>
                  <a:pt x="291600" y="321024"/>
                  <a:pt x="296924" y="321024"/>
                </a:cubicBezTo>
                <a:close/>
                <a:moveTo>
                  <a:pt x="264628" y="321024"/>
                </a:moveTo>
                <a:cubicBezTo>
                  <a:pt x="269953" y="321024"/>
                  <a:pt x="274269" y="325340"/>
                  <a:pt x="274269" y="330664"/>
                </a:cubicBezTo>
                <a:cubicBezTo>
                  <a:pt x="274269" y="335989"/>
                  <a:pt x="269953" y="340305"/>
                  <a:pt x="264628" y="340305"/>
                </a:cubicBezTo>
                <a:cubicBezTo>
                  <a:pt x="259304" y="340305"/>
                  <a:pt x="254988" y="335989"/>
                  <a:pt x="254988" y="330664"/>
                </a:cubicBezTo>
                <a:cubicBezTo>
                  <a:pt x="254988" y="325340"/>
                  <a:pt x="259304" y="321024"/>
                  <a:pt x="264628" y="321024"/>
                </a:cubicBezTo>
                <a:close/>
                <a:moveTo>
                  <a:pt x="232333" y="321024"/>
                </a:moveTo>
                <a:cubicBezTo>
                  <a:pt x="237657" y="321024"/>
                  <a:pt x="241974" y="325340"/>
                  <a:pt x="241974" y="330664"/>
                </a:cubicBezTo>
                <a:cubicBezTo>
                  <a:pt x="241974" y="335989"/>
                  <a:pt x="237657" y="340305"/>
                  <a:pt x="232333" y="340305"/>
                </a:cubicBezTo>
                <a:cubicBezTo>
                  <a:pt x="227009" y="340305"/>
                  <a:pt x="222693" y="335989"/>
                  <a:pt x="222693" y="330664"/>
                </a:cubicBezTo>
                <a:cubicBezTo>
                  <a:pt x="222693" y="325340"/>
                  <a:pt x="227009" y="321024"/>
                  <a:pt x="232333" y="321024"/>
                </a:cubicBezTo>
                <a:close/>
                <a:moveTo>
                  <a:pt x="200038" y="321024"/>
                </a:moveTo>
                <a:cubicBezTo>
                  <a:pt x="205362" y="321024"/>
                  <a:pt x="209679" y="325340"/>
                  <a:pt x="209679" y="330664"/>
                </a:cubicBezTo>
                <a:cubicBezTo>
                  <a:pt x="209679" y="335989"/>
                  <a:pt x="205362" y="340305"/>
                  <a:pt x="200038" y="340305"/>
                </a:cubicBezTo>
                <a:cubicBezTo>
                  <a:pt x="194714" y="340305"/>
                  <a:pt x="190398" y="335989"/>
                  <a:pt x="190398" y="330664"/>
                </a:cubicBezTo>
                <a:cubicBezTo>
                  <a:pt x="190398" y="325340"/>
                  <a:pt x="194714" y="321024"/>
                  <a:pt x="200038" y="321024"/>
                </a:cubicBezTo>
                <a:close/>
                <a:moveTo>
                  <a:pt x="167261" y="321024"/>
                </a:moveTo>
                <a:cubicBezTo>
                  <a:pt x="172585" y="321024"/>
                  <a:pt x="176902" y="325340"/>
                  <a:pt x="176902" y="330664"/>
                </a:cubicBezTo>
                <a:cubicBezTo>
                  <a:pt x="176902" y="335989"/>
                  <a:pt x="172585" y="340305"/>
                  <a:pt x="167261" y="340305"/>
                </a:cubicBezTo>
                <a:cubicBezTo>
                  <a:pt x="161937" y="340305"/>
                  <a:pt x="157621" y="335989"/>
                  <a:pt x="157621" y="330664"/>
                </a:cubicBezTo>
                <a:cubicBezTo>
                  <a:pt x="157621" y="325340"/>
                  <a:pt x="161937" y="321024"/>
                  <a:pt x="167261" y="321024"/>
                </a:cubicBezTo>
                <a:close/>
                <a:moveTo>
                  <a:pt x="134965" y="321024"/>
                </a:moveTo>
                <a:cubicBezTo>
                  <a:pt x="140289" y="321024"/>
                  <a:pt x="144606" y="325340"/>
                  <a:pt x="144606" y="330664"/>
                </a:cubicBezTo>
                <a:cubicBezTo>
                  <a:pt x="144606" y="335989"/>
                  <a:pt x="140289" y="340305"/>
                  <a:pt x="134965" y="340305"/>
                </a:cubicBezTo>
                <a:cubicBezTo>
                  <a:pt x="129641" y="340305"/>
                  <a:pt x="125325" y="335989"/>
                  <a:pt x="125325" y="330664"/>
                </a:cubicBezTo>
                <a:cubicBezTo>
                  <a:pt x="125325" y="325340"/>
                  <a:pt x="129641" y="321024"/>
                  <a:pt x="134965" y="321024"/>
                </a:cubicBezTo>
                <a:close/>
                <a:moveTo>
                  <a:pt x="102670" y="321024"/>
                </a:moveTo>
                <a:cubicBezTo>
                  <a:pt x="107995" y="321024"/>
                  <a:pt x="112311" y="325340"/>
                  <a:pt x="112311" y="330664"/>
                </a:cubicBezTo>
                <a:cubicBezTo>
                  <a:pt x="112311" y="335989"/>
                  <a:pt x="107995" y="340305"/>
                  <a:pt x="102670" y="340305"/>
                </a:cubicBezTo>
                <a:cubicBezTo>
                  <a:pt x="97346" y="340305"/>
                  <a:pt x="93030" y="335989"/>
                  <a:pt x="93030" y="330664"/>
                </a:cubicBezTo>
                <a:cubicBezTo>
                  <a:pt x="93030" y="325340"/>
                  <a:pt x="97346" y="321024"/>
                  <a:pt x="102670" y="321024"/>
                </a:cubicBezTo>
                <a:close/>
                <a:moveTo>
                  <a:pt x="70375" y="321024"/>
                </a:moveTo>
                <a:cubicBezTo>
                  <a:pt x="75700" y="321024"/>
                  <a:pt x="80016" y="325340"/>
                  <a:pt x="80016" y="330664"/>
                </a:cubicBezTo>
                <a:cubicBezTo>
                  <a:pt x="80016" y="335989"/>
                  <a:pt x="75700" y="340305"/>
                  <a:pt x="70375" y="340305"/>
                </a:cubicBezTo>
                <a:cubicBezTo>
                  <a:pt x="65051" y="340305"/>
                  <a:pt x="60735" y="335989"/>
                  <a:pt x="60735" y="330664"/>
                </a:cubicBezTo>
                <a:cubicBezTo>
                  <a:pt x="60735" y="325340"/>
                  <a:pt x="65051" y="321024"/>
                  <a:pt x="70375" y="321024"/>
                </a:cubicBezTo>
                <a:close/>
                <a:moveTo>
                  <a:pt x="38080" y="321024"/>
                </a:moveTo>
                <a:cubicBezTo>
                  <a:pt x="43405" y="321024"/>
                  <a:pt x="47721" y="325340"/>
                  <a:pt x="47721" y="330664"/>
                </a:cubicBezTo>
                <a:cubicBezTo>
                  <a:pt x="47721" y="335989"/>
                  <a:pt x="43405" y="340305"/>
                  <a:pt x="38080" y="340305"/>
                </a:cubicBezTo>
                <a:cubicBezTo>
                  <a:pt x="32756" y="340305"/>
                  <a:pt x="28440" y="335989"/>
                  <a:pt x="28440" y="330664"/>
                </a:cubicBezTo>
                <a:cubicBezTo>
                  <a:pt x="28440" y="325340"/>
                  <a:pt x="32756" y="321024"/>
                  <a:pt x="38080" y="321024"/>
                </a:cubicBezTo>
                <a:close/>
                <a:moveTo>
                  <a:pt x="523955" y="289211"/>
                </a:moveTo>
                <a:cubicBezTo>
                  <a:pt x="526365" y="288729"/>
                  <a:pt x="528294" y="289693"/>
                  <a:pt x="530222" y="291140"/>
                </a:cubicBezTo>
                <a:cubicBezTo>
                  <a:pt x="527330" y="296924"/>
                  <a:pt x="523955" y="302708"/>
                  <a:pt x="521063" y="308010"/>
                </a:cubicBezTo>
                <a:cubicBezTo>
                  <a:pt x="517207" y="306564"/>
                  <a:pt x="514315" y="303190"/>
                  <a:pt x="514315" y="298852"/>
                </a:cubicBezTo>
                <a:cubicBezTo>
                  <a:pt x="514315" y="293550"/>
                  <a:pt x="518653" y="289211"/>
                  <a:pt x="523955" y="289211"/>
                </a:cubicBezTo>
                <a:close/>
                <a:moveTo>
                  <a:pt x="491177" y="289211"/>
                </a:moveTo>
                <a:cubicBezTo>
                  <a:pt x="496502" y="289211"/>
                  <a:pt x="500818" y="293527"/>
                  <a:pt x="500818" y="298851"/>
                </a:cubicBezTo>
                <a:cubicBezTo>
                  <a:pt x="500818" y="304176"/>
                  <a:pt x="496502" y="308492"/>
                  <a:pt x="491177" y="308492"/>
                </a:cubicBezTo>
                <a:cubicBezTo>
                  <a:pt x="485853" y="308492"/>
                  <a:pt x="481537" y="304176"/>
                  <a:pt x="481537" y="298851"/>
                </a:cubicBezTo>
                <a:cubicBezTo>
                  <a:pt x="481537" y="293527"/>
                  <a:pt x="485853" y="289211"/>
                  <a:pt x="491177" y="289211"/>
                </a:cubicBezTo>
                <a:close/>
                <a:moveTo>
                  <a:pt x="458882" y="289211"/>
                </a:moveTo>
                <a:cubicBezTo>
                  <a:pt x="464206" y="289211"/>
                  <a:pt x="468523" y="293527"/>
                  <a:pt x="468523" y="298851"/>
                </a:cubicBezTo>
                <a:cubicBezTo>
                  <a:pt x="468523" y="304176"/>
                  <a:pt x="464206" y="308492"/>
                  <a:pt x="458882" y="308492"/>
                </a:cubicBezTo>
                <a:cubicBezTo>
                  <a:pt x="453558" y="308492"/>
                  <a:pt x="449242" y="304176"/>
                  <a:pt x="449242" y="298851"/>
                </a:cubicBezTo>
                <a:cubicBezTo>
                  <a:pt x="449242" y="293527"/>
                  <a:pt x="453558" y="289211"/>
                  <a:pt x="458882" y="289211"/>
                </a:cubicBezTo>
                <a:close/>
                <a:moveTo>
                  <a:pt x="426587" y="289211"/>
                </a:moveTo>
                <a:cubicBezTo>
                  <a:pt x="431911" y="289211"/>
                  <a:pt x="436228" y="293527"/>
                  <a:pt x="436228" y="298851"/>
                </a:cubicBezTo>
                <a:cubicBezTo>
                  <a:pt x="436228" y="304176"/>
                  <a:pt x="431911" y="308492"/>
                  <a:pt x="426587" y="308492"/>
                </a:cubicBezTo>
                <a:cubicBezTo>
                  <a:pt x="421263" y="308492"/>
                  <a:pt x="416947" y="304176"/>
                  <a:pt x="416947" y="298851"/>
                </a:cubicBezTo>
                <a:cubicBezTo>
                  <a:pt x="416947" y="293527"/>
                  <a:pt x="421263" y="289211"/>
                  <a:pt x="426587" y="289211"/>
                </a:cubicBezTo>
                <a:close/>
                <a:moveTo>
                  <a:pt x="394292" y="289211"/>
                </a:moveTo>
                <a:cubicBezTo>
                  <a:pt x="399617" y="289211"/>
                  <a:pt x="403933" y="293527"/>
                  <a:pt x="403933" y="298851"/>
                </a:cubicBezTo>
                <a:cubicBezTo>
                  <a:pt x="403933" y="304176"/>
                  <a:pt x="399617" y="308492"/>
                  <a:pt x="394292" y="308492"/>
                </a:cubicBezTo>
                <a:cubicBezTo>
                  <a:pt x="388968" y="308492"/>
                  <a:pt x="384652" y="304176"/>
                  <a:pt x="384652" y="298851"/>
                </a:cubicBezTo>
                <a:cubicBezTo>
                  <a:pt x="384652" y="293527"/>
                  <a:pt x="388968" y="289211"/>
                  <a:pt x="394292" y="289211"/>
                </a:cubicBezTo>
                <a:close/>
                <a:moveTo>
                  <a:pt x="361996" y="289211"/>
                </a:moveTo>
                <a:cubicBezTo>
                  <a:pt x="367321" y="289211"/>
                  <a:pt x="371637" y="293527"/>
                  <a:pt x="371637" y="298851"/>
                </a:cubicBezTo>
                <a:cubicBezTo>
                  <a:pt x="371637" y="304176"/>
                  <a:pt x="367321" y="308492"/>
                  <a:pt x="361996" y="308492"/>
                </a:cubicBezTo>
                <a:cubicBezTo>
                  <a:pt x="356672" y="308492"/>
                  <a:pt x="352356" y="304176"/>
                  <a:pt x="352356" y="298851"/>
                </a:cubicBezTo>
                <a:cubicBezTo>
                  <a:pt x="352356" y="293527"/>
                  <a:pt x="356672" y="289211"/>
                  <a:pt x="361996" y="289211"/>
                </a:cubicBezTo>
                <a:close/>
                <a:moveTo>
                  <a:pt x="329219" y="289211"/>
                </a:moveTo>
                <a:cubicBezTo>
                  <a:pt x="334544" y="289211"/>
                  <a:pt x="338860" y="293527"/>
                  <a:pt x="338860" y="298851"/>
                </a:cubicBezTo>
                <a:cubicBezTo>
                  <a:pt x="338860" y="304176"/>
                  <a:pt x="334544" y="308492"/>
                  <a:pt x="329219" y="308492"/>
                </a:cubicBezTo>
                <a:cubicBezTo>
                  <a:pt x="323895" y="308492"/>
                  <a:pt x="319579" y="304176"/>
                  <a:pt x="319579" y="298851"/>
                </a:cubicBezTo>
                <a:cubicBezTo>
                  <a:pt x="319579" y="293527"/>
                  <a:pt x="323895" y="289211"/>
                  <a:pt x="329219" y="289211"/>
                </a:cubicBezTo>
                <a:close/>
                <a:moveTo>
                  <a:pt x="296924" y="289211"/>
                </a:moveTo>
                <a:cubicBezTo>
                  <a:pt x="302249" y="289211"/>
                  <a:pt x="306565" y="293527"/>
                  <a:pt x="306565" y="298851"/>
                </a:cubicBezTo>
                <a:cubicBezTo>
                  <a:pt x="306565" y="304176"/>
                  <a:pt x="302249" y="308492"/>
                  <a:pt x="296924" y="308492"/>
                </a:cubicBezTo>
                <a:cubicBezTo>
                  <a:pt x="291600" y="308492"/>
                  <a:pt x="287284" y="304176"/>
                  <a:pt x="287284" y="298851"/>
                </a:cubicBezTo>
                <a:cubicBezTo>
                  <a:pt x="287284" y="293527"/>
                  <a:pt x="291600" y="289211"/>
                  <a:pt x="296924" y="289211"/>
                </a:cubicBezTo>
                <a:close/>
                <a:moveTo>
                  <a:pt x="264628" y="289211"/>
                </a:moveTo>
                <a:cubicBezTo>
                  <a:pt x="269953" y="289211"/>
                  <a:pt x="274269" y="293527"/>
                  <a:pt x="274269" y="298851"/>
                </a:cubicBezTo>
                <a:cubicBezTo>
                  <a:pt x="274269" y="304176"/>
                  <a:pt x="269953" y="308492"/>
                  <a:pt x="264628" y="308492"/>
                </a:cubicBezTo>
                <a:cubicBezTo>
                  <a:pt x="259304" y="308492"/>
                  <a:pt x="254988" y="304176"/>
                  <a:pt x="254988" y="298851"/>
                </a:cubicBezTo>
                <a:cubicBezTo>
                  <a:pt x="254988" y="293527"/>
                  <a:pt x="259304" y="289211"/>
                  <a:pt x="264628" y="289211"/>
                </a:cubicBezTo>
                <a:close/>
                <a:moveTo>
                  <a:pt x="232333" y="289211"/>
                </a:moveTo>
                <a:cubicBezTo>
                  <a:pt x="237657" y="289211"/>
                  <a:pt x="241974" y="293527"/>
                  <a:pt x="241974" y="298851"/>
                </a:cubicBezTo>
                <a:cubicBezTo>
                  <a:pt x="241974" y="304176"/>
                  <a:pt x="237657" y="308492"/>
                  <a:pt x="232333" y="308492"/>
                </a:cubicBezTo>
                <a:cubicBezTo>
                  <a:pt x="227009" y="308492"/>
                  <a:pt x="222693" y="304176"/>
                  <a:pt x="222693" y="298851"/>
                </a:cubicBezTo>
                <a:cubicBezTo>
                  <a:pt x="222693" y="293527"/>
                  <a:pt x="227009" y="289211"/>
                  <a:pt x="232333" y="289211"/>
                </a:cubicBezTo>
                <a:close/>
                <a:moveTo>
                  <a:pt x="200038" y="289211"/>
                </a:moveTo>
                <a:cubicBezTo>
                  <a:pt x="205362" y="289211"/>
                  <a:pt x="209679" y="293527"/>
                  <a:pt x="209679" y="298851"/>
                </a:cubicBezTo>
                <a:cubicBezTo>
                  <a:pt x="209679" y="304176"/>
                  <a:pt x="205362" y="308492"/>
                  <a:pt x="200038" y="308492"/>
                </a:cubicBezTo>
                <a:cubicBezTo>
                  <a:pt x="194714" y="308492"/>
                  <a:pt x="190398" y="304176"/>
                  <a:pt x="190398" y="298851"/>
                </a:cubicBezTo>
                <a:cubicBezTo>
                  <a:pt x="190398" y="293527"/>
                  <a:pt x="194714" y="289211"/>
                  <a:pt x="200038" y="289211"/>
                </a:cubicBezTo>
                <a:close/>
                <a:moveTo>
                  <a:pt x="167261" y="289211"/>
                </a:moveTo>
                <a:cubicBezTo>
                  <a:pt x="172585" y="289211"/>
                  <a:pt x="176902" y="293527"/>
                  <a:pt x="176902" y="298851"/>
                </a:cubicBezTo>
                <a:cubicBezTo>
                  <a:pt x="176902" y="304176"/>
                  <a:pt x="172585" y="308492"/>
                  <a:pt x="167261" y="308492"/>
                </a:cubicBezTo>
                <a:cubicBezTo>
                  <a:pt x="161937" y="308492"/>
                  <a:pt x="157621" y="304176"/>
                  <a:pt x="157621" y="298851"/>
                </a:cubicBezTo>
                <a:cubicBezTo>
                  <a:pt x="157621" y="293527"/>
                  <a:pt x="161937" y="289211"/>
                  <a:pt x="167261" y="289211"/>
                </a:cubicBezTo>
                <a:close/>
                <a:moveTo>
                  <a:pt x="134965" y="289211"/>
                </a:moveTo>
                <a:cubicBezTo>
                  <a:pt x="140289" y="289211"/>
                  <a:pt x="144606" y="293527"/>
                  <a:pt x="144606" y="298851"/>
                </a:cubicBezTo>
                <a:cubicBezTo>
                  <a:pt x="144606" y="304176"/>
                  <a:pt x="140289" y="308492"/>
                  <a:pt x="134965" y="308492"/>
                </a:cubicBezTo>
                <a:cubicBezTo>
                  <a:pt x="129641" y="308492"/>
                  <a:pt x="125325" y="304176"/>
                  <a:pt x="125325" y="298851"/>
                </a:cubicBezTo>
                <a:cubicBezTo>
                  <a:pt x="125325" y="293527"/>
                  <a:pt x="129641" y="289211"/>
                  <a:pt x="134965" y="289211"/>
                </a:cubicBezTo>
                <a:close/>
                <a:moveTo>
                  <a:pt x="102670" y="289211"/>
                </a:moveTo>
                <a:cubicBezTo>
                  <a:pt x="107995" y="289211"/>
                  <a:pt x="112311" y="293527"/>
                  <a:pt x="112311" y="298851"/>
                </a:cubicBezTo>
                <a:cubicBezTo>
                  <a:pt x="112311" y="304176"/>
                  <a:pt x="107995" y="308492"/>
                  <a:pt x="102670" y="308492"/>
                </a:cubicBezTo>
                <a:cubicBezTo>
                  <a:pt x="97346" y="308492"/>
                  <a:pt x="93030" y="304176"/>
                  <a:pt x="93030" y="298851"/>
                </a:cubicBezTo>
                <a:cubicBezTo>
                  <a:pt x="93030" y="293527"/>
                  <a:pt x="97346" y="289211"/>
                  <a:pt x="102670" y="289211"/>
                </a:cubicBezTo>
                <a:close/>
                <a:moveTo>
                  <a:pt x="70375" y="289211"/>
                </a:moveTo>
                <a:cubicBezTo>
                  <a:pt x="75700" y="289211"/>
                  <a:pt x="80016" y="293527"/>
                  <a:pt x="80016" y="298851"/>
                </a:cubicBezTo>
                <a:cubicBezTo>
                  <a:pt x="80016" y="304176"/>
                  <a:pt x="75700" y="308492"/>
                  <a:pt x="70375" y="308492"/>
                </a:cubicBezTo>
                <a:cubicBezTo>
                  <a:pt x="65051" y="308492"/>
                  <a:pt x="60735" y="304176"/>
                  <a:pt x="60735" y="298851"/>
                </a:cubicBezTo>
                <a:cubicBezTo>
                  <a:pt x="60735" y="293527"/>
                  <a:pt x="65051" y="289211"/>
                  <a:pt x="70375" y="289211"/>
                </a:cubicBezTo>
                <a:close/>
                <a:moveTo>
                  <a:pt x="38080" y="289211"/>
                </a:moveTo>
                <a:cubicBezTo>
                  <a:pt x="43405" y="289211"/>
                  <a:pt x="47721" y="293527"/>
                  <a:pt x="47721" y="298851"/>
                </a:cubicBezTo>
                <a:cubicBezTo>
                  <a:pt x="47721" y="304176"/>
                  <a:pt x="43405" y="308492"/>
                  <a:pt x="38080" y="308492"/>
                </a:cubicBezTo>
                <a:cubicBezTo>
                  <a:pt x="32756" y="308492"/>
                  <a:pt x="28440" y="304176"/>
                  <a:pt x="28440" y="298851"/>
                </a:cubicBezTo>
                <a:cubicBezTo>
                  <a:pt x="28440" y="293527"/>
                  <a:pt x="32756" y="289211"/>
                  <a:pt x="38080" y="289211"/>
                </a:cubicBezTo>
                <a:close/>
                <a:moveTo>
                  <a:pt x="5303" y="288247"/>
                </a:moveTo>
                <a:cubicBezTo>
                  <a:pt x="10123" y="288729"/>
                  <a:pt x="14944" y="293067"/>
                  <a:pt x="14944" y="298851"/>
                </a:cubicBezTo>
                <a:cubicBezTo>
                  <a:pt x="14944" y="304154"/>
                  <a:pt x="10605" y="308492"/>
                  <a:pt x="5303" y="308492"/>
                </a:cubicBezTo>
                <a:cubicBezTo>
                  <a:pt x="3375" y="308492"/>
                  <a:pt x="1929" y="308010"/>
                  <a:pt x="483" y="307046"/>
                </a:cubicBezTo>
                <a:lnTo>
                  <a:pt x="483" y="289693"/>
                </a:lnTo>
                <a:cubicBezTo>
                  <a:pt x="1929" y="288729"/>
                  <a:pt x="3375" y="288247"/>
                  <a:pt x="5303" y="288247"/>
                </a:cubicBezTo>
                <a:close/>
                <a:moveTo>
                  <a:pt x="523955" y="256916"/>
                </a:moveTo>
                <a:cubicBezTo>
                  <a:pt x="529279" y="256916"/>
                  <a:pt x="533596" y="261232"/>
                  <a:pt x="533596" y="266556"/>
                </a:cubicBezTo>
                <a:cubicBezTo>
                  <a:pt x="533596" y="271881"/>
                  <a:pt x="529279" y="276197"/>
                  <a:pt x="523955" y="276197"/>
                </a:cubicBezTo>
                <a:cubicBezTo>
                  <a:pt x="518631" y="276197"/>
                  <a:pt x="514315" y="271881"/>
                  <a:pt x="514315" y="266556"/>
                </a:cubicBezTo>
                <a:cubicBezTo>
                  <a:pt x="514315" y="261232"/>
                  <a:pt x="518631" y="256916"/>
                  <a:pt x="523955" y="256916"/>
                </a:cubicBezTo>
                <a:close/>
                <a:moveTo>
                  <a:pt x="491177" y="256916"/>
                </a:moveTo>
                <a:cubicBezTo>
                  <a:pt x="496502" y="256916"/>
                  <a:pt x="500818" y="261232"/>
                  <a:pt x="500818" y="266556"/>
                </a:cubicBezTo>
                <a:cubicBezTo>
                  <a:pt x="500818" y="271881"/>
                  <a:pt x="496502" y="276197"/>
                  <a:pt x="491177" y="276197"/>
                </a:cubicBezTo>
                <a:cubicBezTo>
                  <a:pt x="485853" y="276197"/>
                  <a:pt x="481537" y="271881"/>
                  <a:pt x="481537" y="266556"/>
                </a:cubicBezTo>
                <a:cubicBezTo>
                  <a:pt x="481537" y="261232"/>
                  <a:pt x="485853" y="256916"/>
                  <a:pt x="491177" y="256916"/>
                </a:cubicBezTo>
                <a:close/>
                <a:moveTo>
                  <a:pt x="458882" y="256916"/>
                </a:moveTo>
                <a:cubicBezTo>
                  <a:pt x="464206" y="256916"/>
                  <a:pt x="468523" y="261232"/>
                  <a:pt x="468523" y="266556"/>
                </a:cubicBezTo>
                <a:cubicBezTo>
                  <a:pt x="468523" y="271881"/>
                  <a:pt x="464206" y="276197"/>
                  <a:pt x="458882" y="276197"/>
                </a:cubicBezTo>
                <a:cubicBezTo>
                  <a:pt x="453558" y="276197"/>
                  <a:pt x="449242" y="271881"/>
                  <a:pt x="449242" y="266556"/>
                </a:cubicBezTo>
                <a:cubicBezTo>
                  <a:pt x="449242" y="261232"/>
                  <a:pt x="453558" y="256916"/>
                  <a:pt x="458882" y="256916"/>
                </a:cubicBezTo>
                <a:close/>
                <a:moveTo>
                  <a:pt x="426587" y="256916"/>
                </a:moveTo>
                <a:cubicBezTo>
                  <a:pt x="431911" y="256916"/>
                  <a:pt x="436228" y="261232"/>
                  <a:pt x="436228" y="266556"/>
                </a:cubicBezTo>
                <a:cubicBezTo>
                  <a:pt x="436228" y="271881"/>
                  <a:pt x="431911" y="276197"/>
                  <a:pt x="426587" y="276197"/>
                </a:cubicBezTo>
                <a:cubicBezTo>
                  <a:pt x="421263" y="276197"/>
                  <a:pt x="416947" y="271881"/>
                  <a:pt x="416947" y="266556"/>
                </a:cubicBezTo>
                <a:cubicBezTo>
                  <a:pt x="416947" y="261232"/>
                  <a:pt x="421263" y="256916"/>
                  <a:pt x="426587" y="256916"/>
                </a:cubicBezTo>
                <a:close/>
                <a:moveTo>
                  <a:pt x="394292" y="256916"/>
                </a:moveTo>
                <a:cubicBezTo>
                  <a:pt x="399617" y="256916"/>
                  <a:pt x="403933" y="261232"/>
                  <a:pt x="403933" y="266556"/>
                </a:cubicBezTo>
                <a:cubicBezTo>
                  <a:pt x="403933" y="271881"/>
                  <a:pt x="399617" y="276197"/>
                  <a:pt x="394292" y="276197"/>
                </a:cubicBezTo>
                <a:cubicBezTo>
                  <a:pt x="388968" y="276197"/>
                  <a:pt x="384652" y="271881"/>
                  <a:pt x="384652" y="266556"/>
                </a:cubicBezTo>
                <a:cubicBezTo>
                  <a:pt x="384652" y="261232"/>
                  <a:pt x="388968" y="256916"/>
                  <a:pt x="394292" y="256916"/>
                </a:cubicBezTo>
                <a:close/>
                <a:moveTo>
                  <a:pt x="361996" y="256916"/>
                </a:moveTo>
                <a:cubicBezTo>
                  <a:pt x="367321" y="256916"/>
                  <a:pt x="371637" y="261232"/>
                  <a:pt x="371637" y="266556"/>
                </a:cubicBezTo>
                <a:cubicBezTo>
                  <a:pt x="371637" y="271881"/>
                  <a:pt x="367321" y="276197"/>
                  <a:pt x="361996" y="276197"/>
                </a:cubicBezTo>
                <a:cubicBezTo>
                  <a:pt x="356672" y="276197"/>
                  <a:pt x="352356" y="271881"/>
                  <a:pt x="352356" y="266556"/>
                </a:cubicBezTo>
                <a:cubicBezTo>
                  <a:pt x="352356" y="261232"/>
                  <a:pt x="356672" y="256916"/>
                  <a:pt x="361996" y="256916"/>
                </a:cubicBezTo>
                <a:close/>
                <a:moveTo>
                  <a:pt x="329219" y="256916"/>
                </a:moveTo>
                <a:cubicBezTo>
                  <a:pt x="334544" y="256916"/>
                  <a:pt x="338860" y="261232"/>
                  <a:pt x="338860" y="266556"/>
                </a:cubicBezTo>
                <a:cubicBezTo>
                  <a:pt x="338860" y="271881"/>
                  <a:pt x="334544" y="276197"/>
                  <a:pt x="329219" y="276197"/>
                </a:cubicBezTo>
                <a:cubicBezTo>
                  <a:pt x="323895" y="276197"/>
                  <a:pt x="319579" y="271881"/>
                  <a:pt x="319579" y="266556"/>
                </a:cubicBezTo>
                <a:cubicBezTo>
                  <a:pt x="319579" y="261232"/>
                  <a:pt x="323895" y="256916"/>
                  <a:pt x="329219" y="256916"/>
                </a:cubicBezTo>
                <a:close/>
                <a:moveTo>
                  <a:pt x="296924" y="256916"/>
                </a:moveTo>
                <a:cubicBezTo>
                  <a:pt x="302249" y="256916"/>
                  <a:pt x="306565" y="261232"/>
                  <a:pt x="306565" y="266556"/>
                </a:cubicBezTo>
                <a:cubicBezTo>
                  <a:pt x="306565" y="271881"/>
                  <a:pt x="302249" y="276197"/>
                  <a:pt x="296924" y="276197"/>
                </a:cubicBezTo>
                <a:cubicBezTo>
                  <a:pt x="291600" y="276197"/>
                  <a:pt x="287284" y="271881"/>
                  <a:pt x="287284" y="266556"/>
                </a:cubicBezTo>
                <a:cubicBezTo>
                  <a:pt x="287284" y="261232"/>
                  <a:pt x="291600" y="256916"/>
                  <a:pt x="296924" y="256916"/>
                </a:cubicBezTo>
                <a:close/>
                <a:moveTo>
                  <a:pt x="264628" y="256916"/>
                </a:moveTo>
                <a:cubicBezTo>
                  <a:pt x="269953" y="256916"/>
                  <a:pt x="274269" y="261232"/>
                  <a:pt x="274269" y="266556"/>
                </a:cubicBezTo>
                <a:cubicBezTo>
                  <a:pt x="274269" y="271881"/>
                  <a:pt x="269953" y="276197"/>
                  <a:pt x="264628" y="276197"/>
                </a:cubicBezTo>
                <a:cubicBezTo>
                  <a:pt x="259304" y="276197"/>
                  <a:pt x="254988" y="271881"/>
                  <a:pt x="254988" y="266556"/>
                </a:cubicBezTo>
                <a:cubicBezTo>
                  <a:pt x="254988" y="261232"/>
                  <a:pt x="259304" y="256916"/>
                  <a:pt x="264628" y="256916"/>
                </a:cubicBezTo>
                <a:close/>
                <a:moveTo>
                  <a:pt x="232333" y="256916"/>
                </a:moveTo>
                <a:cubicBezTo>
                  <a:pt x="237657" y="256916"/>
                  <a:pt x="241974" y="261232"/>
                  <a:pt x="241974" y="266556"/>
                </a:cubicBezTo>
                <a:cubicBezTo>
                  <a:pt x="241974" y="271881"/>
                  <a:pt x="237657" y="276197"/>
                  <a:pt x="232333" y="276197"/>
                </a:cubicBezTo>
                <a:cubicBezTo>
                  <a:pt x="227009" y="276197"/>
                  <a:pt x="222693" y="271881"/>
                  <a:pt x="222693" y="266556"/>
                </a:cubicBezTo>
                <a:cubicBezTo>
                  <a:pt x="222693" y="261232"/>
                  <a:pt x="227009" y="256916"/>
                  <a:pt x="232333" y="256916"/>
                </a:cubicBezTo>
                <a:close/>
                <a:moveTo>
                  <a:pt x="200038" y="256916"/>
                </a:moveTo>
                <a:cubicBezTo>
                  <a:pt x="205362" y="256916"/>
                  <a:pt x="209679" y="261232"/>
                  <a:pt x="209679" y="266556"/>
                </a:cubicBezTo>
                <a:cubicBezTo>
                  <a:pt x="209679" y="271881"/>
                  <a:pt x="205362" y="276197"/>
                  <a:pt x="200038" y="276197"/>
                </a:cubicBezTo>
                <a:cubicBezTo>
                  <a:pt x="194714" y="276197"/>
                  <a:pt x="190398" y="271881"/>
                  <a:pt x="190398" y="266556"/>
                </a:cubicBezTo>
                <a:cubicBezTo>
                  <a:pt x="190398" y="261232"/>
                  <a:pt x="194714" y="256916"/>
                  <a:pt x="200038" y="256916"/>
                </a:cubicBezTo>
                <a:close/>
                <a:moveTo>
                  <a:pt x="167261" y="256916"/>
                </a:moveTo>
                <a:cubicBezTo>
                  <a:pt x="172585" y="256916"/>
                  <a:pt x="176902" y="261232"/>
                  <a:pt x="176902" y="266556"/>
                </a:cubicBezTo>
                <a:cubicBezTo>
                  <a:pt x="176902" y="271881"/>
                  <a:pt x="172585" y="276197"/>
                  <a:pt x="167261" y="276197"/>
                </a:cubicBezTo>
                <a:cubicBezTo>
                  <a:pt x="161937" y="276197"/>
                  <a:pt x="157621" y="271881"/>
                  <a:pt x="157621" y="266556"/>
                </a:cubicBezTo>
                <a:cubicBezTo>
                  <a:pt x="157621" y="261232"/>
                  <a:pt x="161937" y="256916"/>
                  <a:pt x="167261" y="256916"/>
                </a:cubicBezTo>
                <a:close/>
                <a:moveTo>
                  <a:pt x="134965" y="256916"/>
                </a:moveTo>
                <a:cubicBezTo>
                  <a:pt x="140289" y="256916"/>
                  <a:pt x="144606" y="261232"/>
                  <a:pt x="144606" y="266556"/>
                </a:cubicBezTo>
                <a:cubicBezTo>
                  <a:pt x="144606" y="271881"/>
                  <a:pt x="140289" y="276197"/>
                  <a:pt x="134965" y="276197"/>
                </a:cubicBezTo>
                <a:cubicBezTo>
                  <a:pt x="129641" y="276197"/>
                  <a:pt x="125325" y="271881"/>
                  <a:pt x="125325" y="266556"/>
                </a:cubicBezTo>
                <a:cubicBezTo>
                  <a:pt x="125325" y="261232"/>
                  <a:pt x="129641" y="256916"/>
                  <a:pt x="134965" y="256916"/>
                </a:cubicBezTo>
                <a:close/>
                <a:moveTo>
                  <a:pt x="102670" y="256916"/>
                </a:moveTo>
                <a:cubicBezTo>
                  <a:pt x="107995" y="256916"/>
                  <a:pt x="112311" y="261232"/>
                  <a:pt x="112311" y="266556"/>
                </a:cubicBezTo>
                <a:cubicBezTo>
                  <a:pt x="112311" y="271881"/>
                  <a:pt x="107995" y="276197"/>
                  <a:pt x="102670" y="276197"/>
                </a:cubicBezTo>
                <a:cubicBezTo>
                  <a:pt x="97346" y="276197"/>
                  <a:pt x="93030" y="271881"/>
                  <a:pt x="93030" y="266556"/>
                </a:cubicBezTo>
                <a:cubicBezTo>
                  <a:pt x="93030" y="261232"/>
                  <a:pt x="97346" y="256916"/>
                  <a:pt x="102670" y="256916"/>
                </a:cubicBezTo>
                <a:close/>
                <a:moveTo>
                  <a:pt x="70375" y="256916"/>
                </a:moveTo>
                <a:cubicBezTo>
                  <a:pt x="75700" y="256916"/>
                  <a:pt x="80016" y="261232"/>
                  <a:pt x="80016" y="266556"/>
                </a:cubicBezTo>
                <a:cubicBezTo>
                  <a:pt x="80016" y="271881"/>
                  <a:pt x="75700" y="276197"/>
                  <a:pt x="70375" y="276197"/>
                </a:cubicBezTo>
                <a:cubicBezTo>
                  <a:pt x="65051" y="276197"/>
                  <a:pt x="60735" y="271881"/>
                  <a:pt x="60735" y="266556"/>
                </a:cubicBezTo>
                <a:cubicBezTo>
                  <a:pt x="60735" y="261232"/>
                  <a:pt x="65051" y="256916"/>
                  <a:pt x="70375" y="256916"/>
                </a:cubicBezTo>
                <a:close/>
                <a:moveTo>
                  <a:pt x="38080" y="256916"/>
                </a:moveTo>
                <a:cubicBezTo>
                  <a:pt x="43405" y="256916"/>
                  <a:pt x="47721" y="261232"/>
                  <a:pt x="47721" y="266556"/>
                </a:cubicBezTo>
                <a:cubicBezTo>
                  <a:pt x="47721" y="271881"/>
                  <a:pt x="43405" y="276197"/>
                  <a:pt x="38080" y="276197"/>
                </a:cubicBezTo>
                <a:cubicBezTo>
                  <a:pt x="32756" y="276197"/>
                  <a:pt x="28440" y="271881"/>
                  <a:pt x="28440" y="266556"/>
                </a:cubicBezTo>
                <a:cubicBezTo>
                  <a:pt x="28440" y="261232"/>
                  <a:pt x="32756" y="256916"/>
                  <a:pt x="38080" y="256916"/>
                </a:cubicBezTo>
                <a:close/>
                <a:moveTo>
                  <a:pt x="5303" y="255952"/>
                </a:moveTo>
                <a:cubicBezTo>
                  <a:pt x="10123" y="256916"/>
                  <a:pt x="14944" y="261254"/>
                  <a:pt x="14944" y="266556"/>
                </a:cubicBezTo>
                <a:cubicBezTo>
                  <a:pt x="14944" y="271859"/>
                  <a:pt x="10605" y="276197"/>
                  <a:pt x="5303" y="276197"/>
                </a:cubicBezTo>
                <a:cubicBezTo>
                  <a:pt x="3375" y="276197"/>
                  <a:pt x="1929" y="275715"/>
                  <a:pt x="483" y="274751"/>
                </a:cubicBezTo>
                <a:lnTo>
                  <a:pt x="483" y="257398"/>
                </a:lnTo>
                <a:cubicBezTo>
                  <a:pt x="1929" y="256434"/>
                  <a:pt x="3375" y="255952"/>
                  <a:pt x="5303" y="255952"/>
                </a:cubicBezTo>
                <a:close/>
                <a:moveTo>
                  <a:pt x="555768" y="224620"/>
                </a:moveTo>
                <a:cubicBezTo>
                  <a:pt x="557214" y="224620"/>
                  <a:pt x="558660" y="224620"/>
                  <a:pt x="559624" y="225102"/>
                </a:cubicBezTo>
                <a:cubicBezTo>
                  <a:pt x="557214" y="231368"/>
                  <a:pt x="554804" y="237153"/>
                  <a:pt x="552394" y="243419"/>
                </a:cubicBezTo>
                <a:cubicBezTo>
                  <a:pt x="549020" y="241973"/>
                  <a:pt x="546128" y="238599"/>
                  <a:pt x="546128" y="234260"/>
                </a:cubicBezTo>
                <a:cubicBezTo>
                  <a:pt x="546128" y="228958"/>
                  <a:pt x="550466" y="224620"/>
                  <a:pt x="555768" y="224620"/>
                </a:cubicBezTo>
                <a:close/>
                <a:moveTo>
                  <a:pt x="523955" y="224620"/>
                </a:moveTo>
                <a:cubicBezTo>
                  <a:pt x="529279" y="224620"/>
                  <a:pt x="533596" y="228936"/>
                  <a:pt x="533596" y="234260"/>
                </a:cubicBezTo>
                <a:cubicBezTo>
                  <a:pt x="533596" y="239585"/>
                  <a:pt x="529279" y="243901"/>
                  <a:pt x="523955" y="243901"/>
                </a:cubicBezTo>
                <a:cubicBezTo>
                  <a:pt x="518631" y="243901"/>
                  <a:pt x="514315" y="239585"/>
                  <a:pt x="514315" y="234260"/>
                </a:cubicBezTo>
                <a:cubicBezTo>
                  <a:pt x="514315" y="228936"/>
                  <a:pt x="518631" y="224620"/>
                  <a:pt x="523955" y="224620"/>
                </a:cubicBezTo>
                <a:close/>
                <a:moveTo>
                  <a:pt x="491177" y="224620"/>
                </a:moveTo>
                <a:cubicBezTo>
                  <a:pt x="496502" y="224620"/>
                  <a:pt x="500818" y="228936"/>
                  <a:pt x="500818" y="234260"/>
                </a:cubicBezTo>
                <a:cubicBezTo>
                  <a:pt x="500818" y="239585"/>
                  <a:pt x="496502" y="243901"/>
                  <a:pt x="491177" y="243901"/>
                </a:cubicBezTo>
                <a:cubicBezTo>
                  <a:pt x="485853" y="243901"/>
                  <a:pt x="481537" y="239585"/>
                  <a:pt x="481537" y="234260"/>
                </a:cubicBezTo>
                <a:cubicBezTo>
                  <a:pt x="481537" y="228936"/>
                  <a:pt x="485853" y="224620"/>
                  <a:pt x="491177" y="224620"/>
                </a:cubicBezTo>
                <a:close/>
                <a:moveTo>
                  <a:pt x="458882" y="224620"/>
                </a:moveTo>
                <a:cubicBezTo>
                  <a:pt x="464206" y="224620"/>
                  <a:pt x="468523" y="228936"/>
                  <a:pt x="468523" y="234260"/>
                </a:cubicBezTo>
                <a:cubicBezTo>
                  <a:pt x="468523" y="239585"/>
                  <a:pt x="464206" y="243901"/>
                  <a:pt x="458882" y="243901"/>
                </a:cubicBezTo>
                <a:cubicBezTo>
                  <a:pt x="453558" y="243901"/>
                  <a:pt x="449242" y="239585"/>
                  <a:pt x="449242" y="234260"/>
                </a:cubicBezTo>
                <a:cubicBezTo>
                  <a:pt x="449242" y="228936"/>
                  <a:pt x="453558" y="224620"/>
                  <a:pt x="458882" y="224620"/>
                </a:cubicBezTo>
                <a:close/>
                <a:moveTo>
                  <a:pt x="426587" y="224620"/>
                </a:moveTo>
                <a:cubicBezTo>
                  <a:pt x="431911" y="224620"/>
                  <a:pt x="436228" y="228936"/>
                  <a:pt x="436228" y="234260"/>
                </a:cubicBezTo>
                <a:cubicBezTo>
                  <a:pt x="436228" y="239585"/>
                  <a:pt x="431911" y="243901"/>
                  <a:pt x="426587" y="243901"/>
                </a:cubicBezTo>
                <a:cubicBezTo>
                  <a:pt x="421263" y="243901"/>
                  <a:pt x="416947" y="239585"/>
                  <a:pt x="416947" y="234260"/>
                </a:cubicBezTo>
                <a:cubicBezTo>
                  <a:pt x="416947" y="228936"/>
                  <a:pt x="421263" y="224620"/>
                  <a:pt x="426587" y="224620"/>
                </a:cubicBezTo>
                <a:close/>
                <a:moveTo>
                  <a:pt x="394292" y="224620"/>
                </a:moveTo>
                <a:cubicBezTo>
                  <a:pt x="399617" y="224620"/>
                  <a:pt x="403933" y="228936"/>
                  <a:pt x="403933" y="234260"/>
                </a:cubicBezTo>
                <a:cubicBezTo>
                  <a:pt x="403933" y="239585"/>
                  <a:pt x="399617" y="243901"/>
                  <a:pt x="394292" y="243901"/>
                </a:cubicBezTo>
                <a:cubicBezTo>
                  <a:pt x="388968" y="243901"/>
                  <a:pt x="384652" y="239585"/>
                  <a:pt x="384652" y="234260"/>
                </a:cubicBezTo>
                <a:cubicBezTo>
                  <a:pt x="384652" y="228936"/>
                  <a:pt x="388968" y="224620"/>
                  <a:pt x="394292" y="224620"/>
                </a:cubicBezTo>
                <a:close/>
                <a:moveTo>
                  <a:pt x="361996" y="224620"/>
                </a:moveTo>
                <a:cubicBezTo>
                  <a:pt x="367321" y="224620"/>
                  <a:pt x="371637" y="228936"/>
                  <a:pt x="371637" y="234260"/>
                </a:cubicBezTo>
                <a:cubicBezTo>
                  <a:pt x="371637" y="239585"/>
                  <a:pt x="367321" y="243901"/>
                  <a:pt x="361996" y="243901"/>
                </a:cubicBezTo>
                <a:cubicBezTo>
                  <a:pt x="356672" y="243901"/>
                  <a:pt x="352356" y="239585"/>
                  <a:pt x="352356" y="234260"/>
                </a:cubicBezTo>
                <a:cubicBezTo>
                  <a:pt x="352356" y="228936"/>
                  <a:pt x="356672" y="224620"/>
                  <a:pt x="361996" y="224620"/>
                </a:cubicBezTo>
                <a:close/>
                <a:moveTo>
                  <a:pt x="329219" y="224620"/>
                </a:moveTo>
                <a:cubicBezTo>
                  <a:pt x="334544" y="224620"/>
                  <a:pt x="338860" y="228936"/>
                  <a:pt x="338860" y="234260"/>
                </a:cubicBezTo>
                <a:cubicBezTo>
                  <a:pt x="338860" y="239585"/>
                  <a:pt x="334544" y="243901"/>
                  <a:pt x="329219" y="243901"/>
                </a:cubicBezTo>
                <a:cubicBezTo>
                  <a:pt x="323895" y="243901"/>
                  <a:pt x="319579" y="239585"/>
                  <a:pt x="319579" y="234260"/>
                </a:cubicBezTo>
                <a:cubicBezTo>
                  <a:pt x="319579" y="228936"/>
                  <a:pt x="323895" y="224620"/>
                  <a:pt x="329219" y="224620"/>
                </a:cubicBezTo>
                <a:close/>
                <a:moveTo>
                  <a:pt x="296924" y="224620"/>
                </a:moveTo>
                <a:cubicBezTo>
                  <a:pt x="302249" y="224620"/>
                  <a:pt x="306565" y="228936"/>
                  <a:pt x="306565" y="234260"/>
                </a:cubicBezTo>
                <a:cubicBezTo>
                  <a:pt x="306565" y="239585"/>
                  <a:pt x="302249" y="243901"/>
                  <a:pt x="296924" y="243901"/>
                </a:cubicBezTo>
                <a:cubicBezTo>
                  <a:pt x="291600" y="243901"/>
                  <a:pt x="287284" y="239585"/>
                  <a:pt x="287284" y="234260"/>
                </a:cubicBezTo>
                <a:cubicBezTo>
                  <a:pt x="287284" y="228936"/>
                  <a:pt x="291600" y="224620"/>
                  <a:pt x="296924" y="224620"/>
                </a:cubicBezTo>
                <a:close/>
                <a:moveTo>
                  <a:pt x="264628" y="224620"/>
                </a:moveTo>
                <a:cubicBezTo>
                  <a:pt x="269953" y="224620"/>
                  <a:pt x="274269" y="228936"/>
                  <a:pt x="274269" y="234260"/>
                </a:cubicBezTo>
                <a:cubicBezTo>
                  <a:pt x="274269" y="239585"/>
                  <a:pt x="269953" y="243901"/>
                  <a:pt x="264628" y="243901"/>
                </a:cubicBezTo>
                <a:cubicBezTo>
                  <a:pt x="259304" y="243901"/>
                  <a:pt x="254988" y="239585"/>
                  <a:pt x="254988" y="234260"/>
                </a:cubicBezTo>
                <a:cubicBezTo>
                  <a:pt x="254988" y="228936"/>
                  <a:pt x="259304" y="224620"/>
                  <a:pt x="264628" y="224620"/>
                </a:cubicBezTo>
                <a:close/>
                <a:moveTo>
                  <a:pt x="232333" y="224620"/>
                </a:moveTo>
                <a:cubicBezTo>
                  <a:pt x="237657" y="224620"/>
                  <a:pt x="241974" y="228936"/>
                  <a:pt x="241974" y="234260"/>
                </a:cubicBezTo>
                <a:cubicBezTo>
                  <a:pt x="241974" y="239585"/>
                  <a:pt x="237657" y="243901"/>
                  <a:pt x="232333" y="243901"/>
                </a:cubicBezTo>
                <a:cubicBezTo>
                  <a:pt x="227009" y="243901"/>
                  <a:pt x="222693" y="239585"/>
                  <a:pt x="222693" y="234260"/>
                </a:cubicBezTo>
                <a:cubicBezTo>
                  <a:pt x="222693" y="228936"/>
                  <a:pt x="227009" y="224620"/>
                  <a:pt x="232333" y="224620"/>
                </a:cubicBezTo>
                <a:close/>
                <a:moveTo>
                  <a:pt x="200038" y="224620"/>
                </a:moveTo>
                <a:cubicBezTo>
                  <a:pt x="205362" y="224620"/>
                  <a:pt x="209679" y="228936"/>
                  <a:pt x="209679" y="234260"/>
                </a:cubicBezTo>
                <a:cubicBezTo>
                  <a:pt x="209679" y="239585"/>
                  <a:pt x="205362" y="243901"/>
                  <a:pt x="200038" y="243901"/>
                </a:cubicBezTo>
                <a:cubicBezTo>
                  <a:pt x="194714" y="243901"/>
                  <a:pt x="190398" y="239585"/>
                  <a:pt x="190398" y="234260"/>
                </a:cubicBezTo>
                <a:cubicBezTo>
                  <a:pt x="190398" y="228936"/>
                  <a:pt x="194714" y="224620"/>
                  <a:pt x="200038" y="224620"/>
                </a:cubicBezTo>
                <a:close/>
                <a:moveTo>
                  <a:pt x="167261" y="224620"/>
                </a:moveTo>
                <a:cubicBezTo>
                  <a:pt x="172585" y="224620"/>
                  <a:pt x="176902" y="228936"/>
                  <a:pt x="176902" y="234260"/>
                </a:cubicBezTo>
                <a:cubicBezTo>
                  <a:pt x="176902" y="239585"/>
                  <a:pt x="172585" y="243901"/>
                  <a:pt x="167261" y="243901"/>
                </a:cubicBezTo>
                <a:cubicBezTo>
                  <a:pt x="161937" y="243901"/>
                  <a:pt x="157621" y="239585"/>
                  <a:pt x="157621" y="234260"/>
                </a:cubicBezTo>
                <a:cubicBezTo>
                  <a:pt x="157621" y="228936"/>
                  <a:pt x="161937" y="224620"/>
                  <a:pt x="167261" y="224620"/>
                </a:cubicBezTo>
                <a:close/>
                <a:moveTo>
                  <a:pt x="134965" y="224620"/>
                </a:moveTo>
                <a:cubicBezTo>
                  <a:pt x="140289" y="224620"/>
                  <a:pt x="144606" y="228936"/>
                  <a:pt x="144606" y="234260"/>
                </a:cubicBezTo>
                <a:cubicBezTo>
                  <a:pt x="144606" y="239585"/>
                  <a:pt x="140289" y="243901"/>
                  <a:pt x="134965" y="243901"/>
                </a:cubicBezTo>
                <a:cubicBezTo>
                  <a:pt x="129641" y="243901"/>
                  <a:pt x="125325" y="239585"/>
                  <a:pt x="125325" y="234260"/>
                </a:cubicBezTo>
                <a:cubicBezTo>
                  <a:pt x="125325" y="228936"/>
                  <a:pt x="129641" y="224620"/>
                  <a:pt x="134965" y="224620"/>
                </a:cubicBezTo>
                <a:close/>
                <a:moveTo>
                  <a:pt x="102670" y="224620"/>
                </a:moveTo>
                <a:cubicBezTo>
                  <a:pt x="107995" y="224620"/>
                  <a:pt x="112311" y="228936"/>
                  <a:pt x="112311" y="234260"/>
                </a:cubicBezTo>
                <a:cubicBezTo>
                  <a:pt x="112311" y="239585"/>
                  <a:pt x="107995" y="243901"/>
                  <a:pt x="102670" y="243901"/>
                </a:cubicBezTo>
                <a:cubicBezTo>
                  <a:pt x="97346" y="243901"/>
                  <a:pt x="93030" y="239585"/>
                  <a:pt x="93030" y="234260"/>
                </a:cubicBezTo>
                <a:cubicBezTo>
                  <a:pt x="93030" y="228936"/>
                  <a:pt x="97346" y="224620"/>
                  <a:pt x="102670" y="224620"/>
                </a:cubicBezTo>
                <a:close/>
                <a:moveTo>
                  <a:pt x="70375" y="224620"/>
                </a:moveTo>
                <a:cubicBezTo>
                  <a:pt x="75700" y="224620"/>
                  <a:pt x="80016" y="228936"/>
                  <a:pt x="80016" y="234260"/>
                </a:cubicBezTo>
                <a:cubicBezTo>
                  <a:pt x="80016" y="239585"/>
                  <a:pt x="75700" y="243901"/>
                  <a:pt x="70375" y="243901"/>
                </a:cubicBezTo>
                <a:cubicBezTo>
                  <a:pt x="65051" y="243901"/>
                  <a:pt x="60735" y="239585"/>
                  <a:pt x="60735" y="234260"/>
                </a:cubicBezTo>
                <a:cubicBezTo>
                  <a:pt x="60735" y="228936"/>
                  <a:pt x="65051" y="224620"/>
                  <a:pt x="70375" y="224620"/>
                </a:cubicBezTo>
                <a:close/>
                <a:moveTo>
                  <a:pt x="38080" y="224620"/>
                </a:moveTo>
                <a:cubicBezTo>
                  <a:pt x="43405" y="224620"/>
                  <a:pt x="47721" y="228936"/>
                  <a:pt x="47721" y="234260"/>
                </a:cubicBezTo>
                <a:cubicBezTo>
                  <a:pt x="47721" y="239585"/>
                  <a:pt x="43405" y="243901"/>
                  <a:pt x="38080" y="243901"/>
                </a:cubicBezTo>
                <a:cubicBezTo>
                  <a:pt x="32756" y="243901"/>
                  <a:pt x="28440" y="239585"/>
                  <a:pt x="28440" y="234260"/>
                </a:cubicBezTo>
                <a:cubicBezTo>
                  <a:pt x="28440" y="228936"/>
                  <a:pt x="32756" y="224620"/>
                  <a:pt x="38080" y="224620"/>
                </a:cubicBezTo>
                <a:close/>
                <a:moveTo>
                  <a:pt x="5303" y="223657"/>
                </a:moveTo>
                <a:cubicBezTo>
                  <a:pt x="10123" y="224621"/>
                  <a:pt x="14944" y="228959"/>
                  <a:pt x="14944" y="234261"/>
                </a:cubicBezTo>
                <a:cubicBezTo>
                  <a:pt x="14944" y="239564"/>
                  <a:pt x="10605" y="243902"/>
                  <a:pt x="5303" y="243902"/>
                </a:cubicBezTo>
                <a:cubicBezTo>
                  <a:pt x="3375" y="243902"/>
                  <a:pt x="1929" y="243420"/>
                  <a:pt x="483" y="242456"/>
                </a:cubicBezTo>
                <a:lnTo>
                  <a:pt x="483" y="225103"/>
                </a:lnTo>
                <a:cubicBezTo>
                  <a:pt x="1929" y="224139"/>
                  <a:pt x="3375" y="223657"/>
                  <a:pt x="5303" y="223657"/>
                </a:cubicBezTo>
                <a:close/>
                <a:moveTo>
                  <a:pt x="556250" y="192807"/>
                </a:moveTo>
                <a:cubicBezTo>
                  <a:pt x="561575" y="192807"/>
                  <a:pt x="565891" y="197123"/>
                  <a:pt x="565891" y="202447"/>
                </a:cubicBezTo>
                <a:cubicBezTo>
                  <a:pt x="565891" y="207772"/>
                  <a:pt x="561575" y="212088"/>
                  <a:pt x="556250" y="212088"/>
                </a:cubicBezTo>
                <a:cubicBezTo>
                  <a:pt x="550926" y="212088"/>
                  <a:pt x="546610" y="207772"/>
                  <a:pt x="546610" y="202447"/>
                </a:cubicBezTo>
                <a:cubicBezTo>
                  <a:pt x="546610" y="197123"/>
                  <a:pt x="550926" y="192807"/>
                  <a:pt x="556250" y="192807"/>
                </a:cubicBezTo>
                <a:close/>
                <a:moveTo>
                  <a:pt x="523955" y="192807"/>
                </a:moveTo>
                <a:cubicBezTo>
                  <a:pt x="529279" y="192807"/>
                  <a:pt x="533596" y="197123"/>
                  <a:pt x="533596" y="202447"/>
                </a:cubicBezTo>
                <a:cubicBezTo>
                  <a:pt x="533596" y="207772"/>
                  <a:pt x="529279" y="212088"/>
                  <a:pt x="523955" y="212088"/>
                </a:cubicBezTo>
                <a:cubicBezTo>
                  <a:pt x="518631" y="212088"/>
                  <a:pt x="514315" y="207772"/>
                  <a:pt x="514315" y="202447"/>
                </a:cubicBezTo>
                <a:cubicBezTo>
                  <a:pt x="514315" y="197123"/>
                  <a:pt x="518631" y="192807"/>
                  <a:pt x="523955" y="192807"/>
                </a:cubicBezTo>
                <a:close/>
                <a:moveTo>
                  <a:pt x="491177" y="192807"/>
                </a:moveTo>
                <a:cubicBezTo>
                  <a:pt x="496502" y="192807"/>
                  <a:pt x="500818" y="197123"/>
                  <a:pt x="500818" y="202447"/>
                </a:cubicBezTo>
                <a:cubicBezTo>
                  <a:pt x="500818" y="207772"/>
                  <a:pt x="496502" y="212088"/>
                  <a:pt x="491177" y="212088"/>
                </a:cubicBezTo>
                <a:cubicBezTo>
                  <a:pt x="485853" y="212088"/>
                  <a:pt x="481537" y="207772"/>
                  <a:pt x="481537" y="202447"/>
                </a:cubicBezTo>
                <a:cubicBezTo>
                  <a:pt x="481537" y="197123"/>
                  <a:pt x="485853" y="192807"/>
                  <a:pt x="491177" y="192807"/>
                </a:cubicBezTo>
                <a:close/>
                <a:moveTo>
                  <a:pt x="458882" y="192807"/>
                </a:moveTo>
                <a:cubicBezTo>
                  <a:pt x="464206" y="192807"/>
                  <a:pt x="468523" y="197123"/>
                  <a:pt x="468523" y="202447"/>
                </a:cubicBezTo>
                <a:cubicBezTo>
                  <a:pt x="468523" y="207772"/>
                  <a:pt x="464206" y="212088"/>
                  <a:pt x="458882" y="212088"/>
                </a:cubicBezTo>
                <a:cubicBezTo>
                  <a:pt x="453558" y="212088"/>
                  <a:pt x="449242" y="207772"/>
                  <a:pt x="449242" y="202447"/>
                </a:cubicBezTo>
                <a:cubicBezTo>
                  <a:pt x="449242" y="197123"/>
                  <a:pt x="453558" y="192807"/>
                  <a:pt x="458882" y="192807"/>
                </a:cubicBezTo>
                <a:close/>
                <a:moveTo>
                  <a:pt x="426587" y="192807"/>
                </a:moveTo>
                <a:cubicBezTo>
                  <a:pt x="431911" y="192807"/>
                  <a:pt x="436228" y="197123"/>
                  <a:pt x="436228" y="202447"/>
                </a:cubicBezTo>
                <a:cubicBezTo>
                  <a:pt x="436228" y="207772"/>
                  <a:pt x="431911" y="212088"/>
                  <a:pt x="426587" y="212088"/>
                </a:cubicBezTo>
                <a:cubicBezTo>
                  <a:pt x="421263" y="212088"/>
                  <a:pt x="416947" y="207772"/>
                  <a:pt x="416947" y="202447"/>
                </a:cubicBezTo>
                <a:cubicBezTo>
                  <a:pt x="416947" y="197123"/>
                  <a:pt x="421263" y="192807"/>
                  <a:pt x="426587" y="192807"/>
                </a:cubicBezTo>
                <a:close/>
                <a:moveTo>
                  <a:pt x="394292" y="192807"/>
                </a:moveTo>
                <a:cubicBezTo>
                  <a:pt x="399617" y="192807"/>
                  <a:pt x="403933" y="197123"/>
                  <a:pt x="403933" y="202447"/>
                </a:cubicBezTo>
                <a:cubicBezTo>
                  <a:pt x="403933" y="207772"/>
                  <a:pt x="399617" y="212088"/>
                  <a:pt x="394292" y="212088"/>
                </a:cubicBezTo>
                <a:cubicBezTo>
                  <a:pt x="388968" y="212088"/>
                  <a:pt x="384652" y="207772"/>
                  <a:pt x="384652" y="202447"/>
                </a:cubicBezTo>
                <a:cubicBezTo>
                  <a:pt x="384652" y="197123"/>
                  <a:pt x="388968" y="192807"/>
                  <a:pt x="394292" y="192807"/>
                </a:cubicBezTo>
                <a:close/>
                <a:moveTo>
                  <a:pt x="361996" y="192807"/>
                </a:moveTo>
                <a:cubicBezTo>
                  <a:pt x="367321" y="192807"/>
                  <a:pt x="371637" y="197123"/>
                  <a:pt x="371637" y="202447"/>
                </a:cubicBezTo>
                <a:cubicBezTo>
                  <a:pt x="371637" y="207772"/>
                  <a:pt x="367321" y="212088"/>
                  <a:pt x="361996" y="212088"/>
                </a:cubicBezTo>
                <a:cubicBezTo>
                  <a:pt x="356672" y="212088"/>
                  <a:pt x="352356" y="207772"/>
                  <a:pt x="352356" y="202447"/>
                </a:cubicBezTo>
                <a:cubicBezTo>
                  <a:pt x="352356" y="197123"/>
                  <a:pt x="356672" y="192807"/>
                  <a:pt x="361996" y="192807"/>
                </a:cubicBezTo>
                <a:close/>
                <a:moveTo>
                  <a:pt x="329219" y="192807"/>
                </a:moveTo>
                <a:cubicBezTo>
                  <a:pt x="334544" y="192807"/>
                  <a:pt x="338860" y="197123"/>
                  <a:pt x="338860" y="202447"/>
                </a:cubicBezTo>
                <a:cubicBezTo>
                  <a:pt x="338860" y="207772"/>
                  <a:pt x="334544" y="212088"/>
                  <a:pt x="329219" y="212088"/>
                </a:cubicBezTo>
                <a:cubicBezTo>
                  <a:pt x="323895" y="212088"/>
                  <a:pt x="319579" y="207772"/>
                  <a:pt x="319579" y="202447"/>
                </a:cubicBezTo>
                <a:cubicBezTo>
                  <a:pt x="319579" y="197123"/>
                  <a:pt x="323895" y="192807"/>
                  <a:pt x="329219" y="192807"/>
                </a:cubicBezTo>
                <a:close/>
                <a:moveTo>
                  <a:pt x="296924" y="192807"/>
                </a:moveTo>
                <a:cubicBezTo>
                  <a:pt x="302249" y="192807"/>
                  <a:pt x="306565" y="197123"/>
                  <a:pt x="306565" y="202447"/>
                </a:cubicBezTo>
                <a:cubicBezTo>
                  <a:pt x="306565" y="207772"/>
                  <a:pt x="302249" y="212088"/>
                  <a:pt x="296924" y="212088"/>
                </a:cubicBezTo>
                <a:cubicBezTo>
                  <a:pt x="291600" y="212088"/>
                  <a:pt x="287284" y="207772"/>
                  <a:pt x="287284" y="202447"/>
                </a:cubicBezTo>
                <a:cubicBezTo>
                  <a:pt x="287284" y="197123"/>
                  <a:pt x="291600" y="192807"/>
                  <a:pt x="296924" y="192807"/>
                </a:cubicBezTo>
                <a:close/>
                <a:moveTo>
                  <a:pt x="264628" y="192807"/>
                </a:moveTo>
                <a:cubicBezTo>
                  <a:pt x="269953" y="192807"/>
                  <a:pt x="274269" y="197123"/>
                  <a:pt x="274269" y="202447"/>
                </a:cubicBezTo>
                <a:cubicBezTo>
                  <a:pt x="274269" y="207772"/>
                  <a:pt x="269953" y="212088"/>
                  <a:pt x="264628" y="212088"/>
                </a:cubicBezTo>
                <a:cubicBezTo>
                  <a:pt x="259304" y="212088"/>
                  <a:pt x="254988" y="207772"/>
                  <a:pt x="254988" y="202447"/>
                </a:cubicBezTo>
                <a:cubicBezTo>
                  <a:pt x="254988" y="197123"/>
                  <a:pt x="259304" y="192807"/>
                  <a:pt x="264628" y="192807"/>
                </a:cubicBezTo>
                <a:close/>
                <a:moveTo>
                  <a:pt x="232333" y="192807"/>
                </a:moveTo>
                <a:cubicBezTo>
                  <a:pt x="237657" y="192807"/>
                  <a:pt x="241974" y="197123"/>
                  <a:pt x="241974" y="202447"/>
                </a:cubicBezTo>
                <a:cubicBezTo>
                  <a:pt x="241974" y="207772"/>
                  <a:pt x="237657" y="212088"/>
                  <a:pt x="232333" y="212088"/>
                </a:cubicBezTo>
                <a:cubicBezTo>
                  <a:pt x="227009" y="212088"/>
                  <a:pt x="222693" y="207772"/>
                  <a:pt x="222693" y="202447"/>
                </a:cubicBezTo>
                <a:cubicBezTo>
                  <a:pt x="222693" y="197123"/>
                  <a:pt x="227009" y="192807"/>
                  <a:pt x="232333" y="192807"/>
                </a:cubicBezTo>
                <a:close/>
                <a:moveTo>
                  <a:pt x="200038" y="192807"/>
                </a:moveTo>
                <a:cubicBezTo>
                  <a:pt x="205362" y="192807"/>
                  <a:pt x="209679" y="197123"/>
                  <a:pt x="209679" y="202447"/>
                </a:cubicBezTo>
                <a:cubicBezTo>
                  <a:pt x="209679" y="207772"/>
                  <a:pt x="205362" y="212088"/>
                  <a:pt x="200038" y="212088"/>
                </a:cubicBezTo>
                <a:cubicBezTo>
                  <a:pt x="194714" y="212088"/>
                  <a:pt x="190398" y="207772"/>
                  <a:pt x="190398" y="202447"/>
                </a:cubicBezTo>
                <a:cubicBezTo>
                  <a:pt x="190398" y="197123"/>
                  <a:pt x="194714" y="192807"/>
                  <a:pt x="200038" y="192807"/>
                </a:cubicBezTo>
                <a:close/>
                <a:moveTo>
                  <a:pt x="167261" y="192807"/>
                </a:moveTo>
                <a:cubicBezTo>
                  <a:pt x="172585" y="192807"/>
                  <a:pt x="176902" y="197123"/>
                  <a:pt x="176902" y="202447"/>
                </a:cubicBezTo>
                <a:cubicBezTo>
                  <a:pt x="176902" y="207772"/>
                  <a:pt x="172585" y="212088"/>
                  <a:pt x="167261" y="212088"/>
                </a:cubicBezTo>
                <a:cubicBezTo>
                  <a:pt x="161937" y="212088"/>
                  <a:pt x="157621" y="207772"/>
                  <a:pt x="157621" y="202447"/>
                </a:cubicBezTo>
                <a:cubicBezTo>
                  <a:pt x="157621" y="197123"/>
                  <a:pt x="161937" y="192807"/>
                  <a:pt x="167261" y="192807"/>
                </a:cubicBezTo>
                <a:close/>
                <a:moveTo>
                  <a:pt x="134965" y="192807"/>
                </a:moveTo>
                <a:cubicBezTo>
                  <a:pt x="140289" y="192807"/>
                  <a:pt x="144606" y="197123"/>
                  <a:pt x="144606" y="202447"/>
                </a:cubicBezTo>
                <a:cubicBezTo>
                  <a:pt x="144606" y="207772"/>
                  <a:pt x="140289" y="212088"/>
                  <a:pt x="134965" y="212088"/>
                </a:cubicBezTo>
                <a:cubicBezTo>
                  <a:pt x="129641" y="212088"/>
                  <a:pt x="125325" y="207772"/>
                  <a:pt x="125325" y="202447"/>
                </a:cubicBezTo>
                <a:cubicBezTo>
                  <a:pt x="125325" y="197123"/>
                  <a:pt x="129641" y="192807"/>
                  <a:pt x="134965" y="192807"/>
                </a:cubicBezTo>
                <a:close/>
                <a:moveTo>
                  <a:pt x="102670" y="192807"/>
                </a:moveTo>
                <a:cubicBezTo>
                  <a:pt x="107995" y="192807"/>
                  <a:pt x="112311" y="197123"/>
                  <a:pt x="112311" y="202447"/>
                </a:cubicBezTo>
                <a:cubicBezTo>
                  <a:pt x="112311" y="207772"/>
                  <a:pt x="107995" y="212088"/>
                  <a:pt x="102670" y="212088"/>
                </a:cubicBezTo>
                <a:cubicBezTo>
                  <a:pt x="97346" y="212088"/>
                  <a:pt x="93030" y="207772"/>
                  <a:pt x="93030" y="202447"/>
                </a:cubicBezTo>
                <a:cubicBezTo>
                  <a:pt x="93030" y="197123"/>
                  <a:pt x="97346" y="192807"/>
                  <a:pt x="102670" y="192807"/>
                </a:cubicBezTo>
                <a:close/>
                <a:moveTo>
                  <a:pt x="70375" y="192807"/>
                </a:moveTo>
                <a:cubicBezTo>
                  <a:pt x="75700" y="192807"/>
                  <a:pt x="80016" y="197123"/>
                  <a:pt x="80016" y="202447"/>
                </a:cubicBezTo>
                <a:cubicBezTo>
                  <a:pt x="80016" y="207772"/>
                  <a:pt x="75700" y="212088"/>
                  <a:pt x="70375" y="212088"/>
                </a:cubicBezTo>
                <a:cubicBezTo>
                  <a:pt x="65051" y="212088"/>
                  <a:pt x="60735" y="207772"/>
                  <a:pt x="60735" y="202447"/>
                </a:cubicBezTo>
                <a:cubicBezTo>
                  <a:pt x="60735" y="197123"/>
                  <a:pt x="65051" y="192807"/>
                  <a:pt x="70375" y="192807"/>
                </a:cubicBezTo>
                <a:close/>
                <a:moveTo>
                  <a:pt x="38080" y="192807"/>
                </a:moveTo>
                <a:cubicBezTo>
                  <a:pt x="43405" y="192807"/>
                  <a:pt x="47721" y="197123"/>
                  <a:pt x="47721" y="202447"/>
                </a:cubicBezTo>
                <a:cubicBezTo>
                  <a:pt x="47721" y="207772"/>
                  <a:pt x="43405" y="212088"/>
                  <a:pt x="38080" y="212088"/>
                </a:cubicBezTo>
                <a:cubicBezTo>
                  <a:pt x="32756" y="212088"/>
                  <a:pt x="28440" y="207772"/>
                  <a:pt x="28440" y="202447"/>
                </a:cubicBezTo>
                <a:cubicBezTo>
                  <a:pt x="28440" y="197123"/>
                  <a:pt x="32756" y="192807"/>
                  <a:pt x="38080" y="192807"/>
                </a:cubicBezTo>
                <a:close/>
                <a:moveTo>
                  <a:pt x="5303" y="191843"/>
                </a:moveTo>
                <a:cubicBezTo>
                  <a:pt x="10123" y="192325"/>
                  <a:pt x="14944" y="196663"/>
                  <a:pt x="14944" y="202447"/>
                </a:cubicBezTo>
                <a:cubicBezTo>
                  <a:pt x="14944" y="207750"/>
                  <a:pt x="10605" y="212088"/>
                  <a:pt x="5303" y="212088"/>
                </a:cubicBezTo>
                <a:cubicBezTo>
                  <a:pt x="3375" y="212088"/>
                  <a:pt x="1929" y="211606"/>
                  <a:pt x="483" y="210642"/>
                </a:cubicBezTo>
                <a:lnTo>
                  <a:pt x="483" y="193289"/>
                </a:lnTo>
                <a:cubicBezTo>
                  <a:pt x="1929" y="192325"/>
                  <a:pt x="3375" y="191843"/>
                  <a:pt x="5303" y="191843"/>
                </a:cubicBezTo>
                <a:close/>
                <a:moveTo>
                  <a:pt x="556250" y="160512"/>
                </a:moveTo>
                <a:cubicBezTo>
                  <a:pt x="561575" y="160512"/>
                  <a:pt x="565891" y="164828"/>
                  <a:pt x="565891" y="170152"/>
                </a:cubicBezTo>
                <a:cubicBezTo>
                  <a:pt x="565891" y="175477"/>
                  <a:pt x="561575" y="179793"/>
                  <a:pt x="556250" y="179793"/>
                </a:cubicBezTo>
                <a:cubicBezTo>
                  <a:pt x="550926" y="179793"/>
                  <a:pt x="546610" y="175477"/>
                  <a:pt x="546610" y="170152"/>
                </a:cubicBezTo>
                <a:cubicBezTo>
                  <a:pt x="546610" y="164828"/>
                  <a:pt x="550926" y="160512"/>
                  <a:pt x="556250" y="160512"/>
                </a:cubicBezTo>
                <a:close/>
                <a:moveTo>
                  <a:pt x="523955" y="160512"/>
                </a:moveTo>
                <a:cubicBezTo>
                  <a:pt x="529279" y="160512"/>
                  <a:pt x="533596" y="164828"/>
                  <a:pt x="533596" y="170152"/>
                </a:cubicBezTo>
                <a:cubicBezTo>
                  <a:pt x="533596" y="175477"/>
                  <a:pt x="529279" y="179793"/>
                  <a:pt x="523955" y="179793"/>
                </a:cubicBezTo>
                <a:cubicBezTo>
                  <a:pt x="518631" y="179793"/>
                  <a:pt x="514315" y="175477"/>
                  <a:pt x="514315" y="170152"/>
                </a:cubicBezTo>
                <a:cubicBezTo>
                  <a:pt x="514315" y="164828"/>
                  <a:pt x="518631" y="160512"/>
                  <a:pt x="523955" y="160512"/>
                </a:cubicBezTo>
                <a:close/>
                <a:moveTo>
                  <a:pt x="491177" y="160512"/>
                </a:moveTo>
                <a:cubicBezTo>
                  <a:pt x="496502" y="160512"/>
                  <a:pt x="500818" y="164828"/>
                  <a:pt x="500818" y="170152"/>
                </a:cubicBezTo>
                <a:cubicBezTo>
                  <a:pt x="500818" y="175477"/>
                  <a:pt x="496502" y="179793"/>
                  <a:pt x="491177" y="179793"/>
                </a:cubicBezTo>
                <a:cubicBezTo>
                  <a:pt x="485853" y="179793"/>
                  <a:pt x="481537" y="175477"/>
                  <a:pt x="481537" y="170152"/>
                </a:cubicBezTo>
                <a:cubicBezTo>
                  <a:pt x="481537" y="164828"/>
                  <a:pt x="485853" y="160512"/>
                  <a:pt x="491177" y="160512"/>
                </a:cubicBezTo>
                <a:close/>
                <a:moveTo>
                  <a:pt x="458882" y="160512"/>
                </a:moveTo>
                <a:cubicBezTo>
                  <a:pt x="464206" y="160512"/>
                  <a:pt x="468523" y="164828"/>
                  <a:pt x="468523" y="170152"/>
                </a:cubicBezTo>
                <a:cubicBezTo>
                  <a:pt x="468523" y="175477"/>
                  <a:pt x="464206" y="179793"/>
                  <a:pt x="458882" y="179793"/>
                </a:cubicBezTo>
                <a:cubicBezTo>
                  <a:pt x="453558" y="179793"/>
                  <a:pt x="449242" y="175477"/>
                  <a:pt x="449242" y="170152"/>
                </a:cubicBezTo>
                <a:cubicBezTo>
                  <a:pt x="449242" y="164828"/>
                  <a:pt x="453558" y="160512"/>
                  <a:pt x="458882" y="160512"/>
                </a:cubicBezTo>
                <a:close/>
                <a:moveTo>
                  <a:pt x="426587" y="160512"/>
                </a:moveTo>
                <a:cubicBezTo>
                  <a:pt x="431911" y="160512"/>
                  <a:pt x="436228" y="164828"/>
                  <a:pt x="436228" y="170152"/>
                </a:cubicBezTo>
                <a:cubicBezTo>
                  <a:pt x="436228" y="175477"/>
                  <a:pt x="431911" y="179793"/>
                  <a:pt x="426587" y="179793"/>
                </a:cubicBezTo>
                <a:cubicBezTo>
                  <a:pt x="421263" y="179793"/>
                  <a:pt x="416947" y="175477"/>
                  <a:pt x="416947" y="170152"/>
                </a:cubicBezTo>
                <a:cubicBezTo>
                  <a:pt x="416947" y="164828"/>
                  <a:pt x="421263" y="160512"/>
                  <a:pt x="426587" y="160512"/>
                </a:cubicBezTo>
                <a:close/>
                <a:moveTo>
                  <a:pt x="394292" y="160512"/>
                </a:moveTo>
                <a:cubicBezTo>
                  <a:pt x="399617" y="160512"/>
                  <a:pt x="403933" y="164828"/>
                  <a:pt x="403933" y="170152"/>
                </a:cubicBezTo>
                <a:cubicBezTo>
                  <a:pt x="403933" y="175477"/>
                  <a:pt x="399617" y="179793"/>
                  <a:pt x="394292" y="179793"/>
                </a:cubicBezTo>
                <a:cubicBezTo>
                  <a:pt x="388968" y="179793"/>
                  <a:pt x="384652" y="175477"/>
                  <a:pt x="384652" y="170152"/>
                </a:cubicBezTo>
                <a:cubicBezTo>
                  <a:pt x="384652" y="164828"/>
                  <a:pt x="388968" y="160512"/>
                  <a:pt x="394292" y="160512"/>
                </a:cubicBezTo>
                <a:close/>
                <a:moveTo>
                  <a:pt x="361996" y="160512"/>
                </a:moveTo>
                <a:cubicBezTo>
                  <a:pt x="367321" y="160512"/>
                  <a:pt x="371637" y="164828"/>
                  <a:pt x="371637" y="170152"/>
                </a:cubicBezTo>
                <a:cubicBezTo>
                  <a:pt x="371637" y="175477"/>
                  <a:pt x="367321" y="179793"/>
                  <a:pt x="361996" y="179793"/>
                </a:cubicBezTo>
                <a:cubicBezTo>
                  <a:pt x="356672" y="179793"/>
                  <a:pt x="352356" y="175477"/>
                  <a:pt x="352356" y="170152"/>
                </a:cubicBezTo>
                <a:cubicBezTo>
                  <a:pt x="352356" y="164828"/>
                  <a:pt x="356672" y="160512"/>
                  <a:pt x="361996" y="160512"/>
                </a:cubicBezTo>
                <a:close/>
                <a:moveTo>
                  <a:pt x="329219" y="160512"/>
                </a:moveTo>
                <a:cubicBezTo>
                  <a:pt x="334544" y="160512"/>
                  <a:pt x="338860" y="164828"/>
                  <a:pt x="338860" y="170152"/>
                </a:cubicBezTo>
                <a:cubicBezTo>
                  <a:pt x="338860" y="175477"/>
                  <a:pt x="334544" y="179793"/>
                  <a:pt x="329219" y="179793"/>
                </a:cubicBezTo>
                <a:cubicBezTo>
                  <a:pt x="323895" y="179793"/>
                  <a:pt x="319579" y="175477"/>
                  <a:pt x="319579" y="170152"/>
                </a:cubicBezTo>
                <a:cubicBezTo>
                  <a:pt x="319579" y="164828"/>
                  <a:pt x="323895" y="160512"/>
                  <a:pt x="329219" y="160512"/>
                </a:cubicBezTo>
                <a:close/>
                <a:moveTo>
                  <a:pt x="296924" y="160512"/>
                </a:moveTo>
                <a:cubicBezTo>
                  <a:pt x="302249" y="160512"/>
                  <a:pt x="306565" y="164828"/>
                  <a:pt x="306565" y="170152"/>
                </a:cubicBezTo>
                <a:cubicBezTo>
                  <a:pt x="306565" y="175477"/>
                  <a:pt x="302249" y="179793"/>
                  <a:pt x="296924" y="179793"/>
                </a:cubicBezTo>
                <a:cubicBezTo>
                  <a:pt x="291600" y="179793"/>
                  <a:pt x="287284" y="175477"/>
                  <a:pt x="287284" y="170152"/>
                </a:cubicBezTo>
                <a:cubicBezTo>
                  <a:pt x="287284" y="164828"/>
                  <a:pt x="291600" y="160512"/>
                  <a:pt x="296924" y="160512"/>
                </a:cubicBezTo>
                <a:close/>
                <a:moveTo>
                  <a:pt x="264628" y="160512"/>
                </a:moveTo>
                <a:cubicBezTo>
                  <a:pt x="269953" y="160512"/>
                  <a:pt x="274269" y="164828"/>
                  <a:pt x="274269" y="170152"/>
                </a:cubicBezTo>
                <a:cubicBezTo>
                  <a:pt x="274269" y="175477"/>
                  <a:pt x="269953" y="179793"/>
                  <a:pt x="264628" y="179793"/>
                </a:cubicBezTo>
                <a:cubicBezTo>
                  <a:pt x="259304" y="179793"/>
                  <a:pt x="254988" y="175477"/>
                  <a:pt x="254988" y="170152"/>
                </a:cubicBezTo>
                <a:cubicBezTo>
                  <a:pt x="254988" y="164828"/>
                  <a:pt x="259304" y="160512"/>
                  <a:pt x="264628" y="160512"/>
                </a:cubicBezTo>
                <a:close/>
                <a:moveTo>
                  <a:pt x="232333" y="160512"/>
                </a:moveTo>
                <a:cubicBezTo>
                  <a:pt x="237657" y="160512"/>
                  <a:pt x="241974" y="164828"/>
                  <a:pt x="241974" y="170152"/>
                </a:cubicBezTo>
                <a:cubicBezTo>
                  <a:pt x="241974" y="175477"/>
                  <a:pt x="237657" y="179793"/>
                  <a:pt x="232333" y="179793"/>
                </a:cubicBezTo>
                <a:cubicBezTo>
                  <a:pt x="227009" y="179793"/>
                  <a:pt x="222693" y="175477"/>
                  <a:pt x="222693" y="170152"/>
                </a:cubicBezTo>
                <a:cubicBezTo>
                  <a:pt x="222693" y="164828"/>
                  <a:pt x="227009" y="160512"/>
                  <a:pt x="232333" y="160512"/>
                </a:cubicBezTo>
                <a:close/>
                <a:moveTo>
                  <a:pt x="200038" y="160512"/>
                </a:moveTo>
                <a:cubicBezTo>
                  <a:pt x="205362" y="160512"/>
                  <a:pt x="209679" y="164828"/>
                  <a:pt x="209679" y="170152"/>
                </a:cubicBezTo>
                <a:cubicBezTo>
                  <a:pt x="209679" y="175477"/>
                  <a:pt x="205362" y="179793"/>
                  <a:pt x="200038" y="179793"/>
                </a:cubicBezTo>
                <a:cubicBezTo>
                  <a:pt x="194714" y="179793"/>
                  <a:pt x="190398" y="175477"/>
                  <a:pt x="190398" y="170152"/>
                </a:cubicBezTo>
                <a:cubicBezTo>
                  <a:pt x="190398" y="164828"/>
                  <a:pt x="194714" y="160512"/>
                  <a:pt x="200038" y="160512"/>
                </a:cubicBezTo>
                <a:close/>
                <a:moveTo>
                  <a:pt x="167261" y="160512"/>
                </a:moveTo>
                <a:cubicBezTo>
                  <a:pt x="172585" y="160512"/>
                  <a:pt x="176902" y="164828"/>
                  <a:pt x="176902" y="170152"/>
                </a:cubicBezTo>
                <a:cubicBezTo>
                  <a:pt x="176902" y="175477"/>
                  <a:pt x="172585" y="179793"/>
                  <a:pt x="167261" y="179793"/>
                </a:cubicBezTo>
                <a:cubicBezTo>
                  <a:pt x="161937" y="179793"/>
                  <a:pt x="157621" y="175477"/>
                  <a:pt x="157621" y="170152"/>
                </a:cubicBezTo>
                <a:cubicBezTo>
                  <a:pt x="157621" y="164828"/>
                  <a:pt x="161937" y="160512"/>
                  <a:pt x="167261" y="160512"/>
                </a:cubicBezTo>
                <a:close/>
                <a:moveTo>
                  <a:pt x="134965" y="160512"/>
                </a:moveTo>
                <a:cubicBezTo>
                  <a:pt x="140289" y="160512"/>
                  <a:pt x="144606" y="164828"/>
                  <a:pt x="144606" y="170152"/>
                </a:cubicBezTo>
                <a:cubicBezTo>
                  <a:pt x="144606" y="175477"/>
                  <a:pt x="140289" y="179793"/>
                  <a:pt x="134965" y="179793"/>
                </a:cubicBezTo>
                <a:cubicBezTo>
                  <a:pt x="129641" y="179793"/>
                  <a:pt x="125325" y="175477"/>
                  <a:pt x="125325" y="170152"/>
                </a:cubicBezTo>
                <a:cubicBezTo>
                  <a:pt x="125325" y="164828"/>
                  <a:pt x="129641" y="160512"/>
                  <a:pt x="134965" y="160512"/>
                </a:cubicBezTo>
                <a:close/>
                <a:moveTo>
                  <a:pt x="102670" y="160512"/>
                </a:moveTo>
                <a:cubicBezTo>
                  <a:pt x="107995" y="160512"/>
                  <a:pt x="112311" y="164828"/>
                  <a:pt x="112311" y="170152"/>
                </a:cubicBezTo>
                <a:cubicBezTo>
                  <a:pt x="112311" y="175477"/>
                  <a:pt x="107995" y="179793"/>
                  <a:pt x="102670" y="179793"/>
                </a:cubicBezTo>
                <a:cubicBezTo>
                  <a:pt x="97346" y="179793"/>
                  <a:pt x="93030" y="175477"/>
                  <a:pt x="93030" y="170152"/>
                </a:cubicBezTo>
                <a:cubicBezTo>
                  <a:pt x="93030" y="164828"/>
                  <a:pt x="97346" y="160512"/>
                  <a:pt x="102670" y="160512"/>
                </a:cubicBezTo>
                <a:close/>
                <a:moveTo>
                  <a:pt x="70375" y="160512"/>
                </a:moveTo>
                <a:cubicBezTo>
                  <a:pt x="75700" y="160512"/>
                  <a:pt x="80016" y="164828"/>
                  <a:pt x="80016" y="170152"/>
                </a:cubicBezTo>
                <a:cubicBezTo>
                  <a:pt x="80016" y="175477"/>
                  <a:pt x="75700" y="179793"/>
                  <a:pt x="70375" y="179793"/>
                </a:cubicBezTo>
                <a:cubicBezTo>
                  <a:pt x="65051" y="179793"/>
                  <a:pt x="60735" y="175477"/>
                  <a:pt x="60735" y="170152"/>
                </a:cubicBezTo>
                <a:cubicBezTo>
                  <a:pt x="60735" y="164828"/>
                  <a:pt x="65051" y="160512"/>
                  <a:pt x="70375" y="160512"/>
                </a:cubicBezTo>
                <a:close/>
                <a:moveTo>
                  <a:pt x="38080" y="160512"/>
                </a:moveTo>
                <a:cubicBezTo>
                  <a:pt x="43405" y="160512"/>
                  <a:pt x="47721" y="164828"/>
                  <a:pt x="47721" y="170152"/>
                </a:cubicBezTo>
                <a:cubicBezTo>
                  <a:pt x="47721" y="175477"/>
                  <a:pt x="43405" y="179793"/>
                  <a:pt x="38080" y="179793"/>
                </a:cubicBezTo>
                <a:cubicBezTo>
                  <a:pt x="32756" y="179793"/>
                  <a:pt x="28440" y="175477"/>
                  <a:pt x="28440" y="170152"/>
                </a:cubicBezTo>
                <a:cubicBezTo>
                  <a:pt x="28440" y="164828"/>
                  <a:pt x="32756" y="160512"/>
                  <a:pt x="38080" y="160512"/>
                </a:cubicBezTo>
                <a:close/>
                <a:moveTo>
                  <a:pt x="5303" y="159548"/>
                </a:moveTo>
                <a:cubicBezTo>
                  <a:pt x="10123" y="160512"/>
                  <a:pt x="14944" y="164850"/>
                  <a:pt x="14944" y="170152"/>
                </a:cubicBezTo>
                <a:cubicBezTo>
                  <a:pt x="14944" y="175455"/>
                  <a:pt x="10605" y="179793"/>
                  <a:pt x="5303" y="179793"/>
                </a:cubicBezTo>
                <a:cubicBezTo>
                  <a:pt x="3375" y="179793"/>
                  <a:pt x="1929" y="179311"/>
                  <a:pt x="483" y="178347"/>
                </a:cubicBezTo>
                <a:lnTo>
                  <a:pt x="483" y="160994"/>
                </a:lnTo>
                <a:cubicBezTo>
                  <a:pt x="1929" y="160030"/>
                  <a:pt x="3375" y="159548"/>
                  <a:pt x="5303" y="159548"/>
                </a:cubicBezTo>
                <a:close/>
                <a:moveTo>
                  <a:pt x="585653" y="128699"/>
                </a:moveTo>
                <a:cubicBezTo>
                  <a:pt x="584689" y="134483"/>
                  <a:pt x="583725" y="140267"/>
                  <a:pt x="582279" y="145570"/>
                </a:cubicBezTo>
                <a:cubicBezTo>
                  <a:pt x="579869" y="143642"/>
                  <a:pt x="578423" y="141232"/>
                  <a:pt x="578423" y="137857"/>
                </a:cubicBezTo>
                <a:cubicBezTo>
                  <a:pt x="578905" y="133519"/>
                  <a:pt x="581797" y="129663"/>
                  <a:pt x="585653" y="128699"/>
                </a:cubicBezTo>
                <a:close/>
                <a:moveTo>
                  <a:pt x="556250" y="128217"/>
                </a:moveTo>
                <a:cubicBezTo>
                  <a:pt x="561575" y="128217"/>
                  <a:pt x="565891" y="132533"/>
                  <a:pt x="565891" y="137857"/>
                </a:cubicBezTo>
                <a:cubicBezTo>
                  <a:pt x="565891" y="143182"/>
                  <a:pt x="561575" y="147498"/>
                  <a:pt x="556250" y="147498"/>
                </a:cubicBezTo>
                <a:cubicBezTo>
                  <a:pt x="550926" y="147498"/>
                  <a:pt x="546610" y="143182"/>
                  <a:pt x="546610" y="137857"/>
                </a:cubicBezTo>
                <a:cubicBezTo>
                  <a:pt x="546610" y="132533"/>
                  <a:pt x="550926" y="128217"/>
                  <a:pt x="556250" y="128217"/>
                </a:cubicBezTo>
                <a:close/>
                <a:moveTo>
                  <a:pt x="523955" y="128217"/>
                </a:moveTo>
                <a:cubicBezTo>
                  <a:pt x="529279" y="128217"/>
                  <a:pt x="533596" y="132533"/>
                  <a:pt x="533596" y="137857"/>
                </a:cubicBezTo>
                <a:cubicBezTo>
                  <a:pt x="533596" y="143182"/>
                  <a:pt x="529279" y="147498"/>
                  <a:pt x="523955" y="147498"/>
                </a:cubicBezTo>
                <a:cubicBezTo>
                  <a:pt x="518631" y="147498"/>
                  <a:pt x="514315" y="143182"/>
                  <a:pt x="514315" y="137857"/>
                </a:cubicBezTo>
                <a:cubicBezTo>
                  <a:pt x="514315" y="132533"/>
                  <a:pt x="518631" y="128217"/>
                  <a:pt x="523955" y="128217"/>
                </a:cubicBezTo>
                <a:close/>
                <a:moveTo>
                  <a:pt x="491177" y="128217"/>
                </a:moveTo>
                <a:cubicBezTo>
                  <a:pt x="496502" y="128217"/>
                  <a:pt x="500818" y="132533"/>
                  <a:pt x="500818" y="137857"/>
                </a:cubicBezTo>
                <a:cubicBezTo>
                  <a:pt x="500818" y="143182"/>
                  <a:pt x="496502" y="147498"/>
                  <a:pt x="491177" y="147498"/>
                </a:cubicBezTo>
                <a:cubicBezTo>
                  <a:pt x="485853" y="147498"/>
                  <a:pt x="481537" y="143182"/>
                  <a:pt x="481537" y="137857"/>
                </a:cubicBezTo>
                <a:cubicBezTo>
                  <a:pt x="481537" y="132533"/>
                  <a:pt x="485853" y="128217"/>
                  <a:pt x="491177" y="128217"/>
                </a:cubicBezTo>
                <a:close/>
                <a:moveTo>
                  <a:pt x="458882" y="128217"/>
                </a:moveTo>
                <a:cubicBezTo>
                  <a:pt x="464206" y="128217"/>
                  <a:pt x="468523" y="132533"/>
                  <a:pt x="468523" y="137857"/>
                </a:cubicBezTo>
                <a:cubicBezTo>
                  <a:pt x="468523" y="143182"/>
                  <a:pt x="464206" y="147498"/>
                  <a:pt x="458882" y="147498"/>
                </a:cubicBezTo>
                <a:cubicBezTo>
                  <a:pt x="453558" y="147498"/>
                  <a:pt x="449242" y="143182"/>
                  <a:pt x="449242" y="137857"/>
                </a:cubicBezTo>
                <a:cubicBezTo>
                  <a:pt x="449242" y="132533"/>
                  <a:pt x="453558" y="128217"/>
                  <a:pt x="458882" y="128217"/>
                </a:cubicBezTo>
                <a:close/>
                <a:moveTo>
                  <a:pt x="426587" y="128217"/>
                </a:moveTo>
                <a:cubicBezTo>
                  <a:pt x="431911" y="128217"/>
                  <a:pt x="436228" y="132533"/>
                  <a:pt x="436228" y="137857"/>
                </a:cubicBezTo>
                <a:cubicBezTo>
                  <a:pt x="436228" y="143182"/>
                  <a:pt x="431911" y="147498"/>
                  <a:pt x="426587" y="147498"/>
                </a:cubicBezTo>
                <a:cubicBezTo>
                  <a:pt x="421263" y="147498"/>
                  <a:pt x="416947" y="143182"/>
                  <a:pt x="416947" y="137857"/>
                </a:cubicBezTo>
                <a:cubicBezTo>
                  <a:pt x="416947" y="132533"/>
                  <a:pt x="421263" y="128217"/>
                  <a:pt x="426587" y="128217"/>
                </a:cubicBezTo>
                <a:close/>
                <a:moveTo>
                  <a:pt x="394292" y="128217"/>
                </a:moveTo>
                <a:cubicBezTo>
                  <a:pt x="399617" y="128217"/>
                  <a:pt x="403933" y="132533"/>
                  <a:pt x="403933" y="137857"/>
                </a:cubicBezTo>
                <a:cubicBezTo>
                  <a:pt x="403933" y="143182"/>
                  <a:pt x="399617" y="147498"/>
                  <a:pt x="394292" y="147498"/>
                </a:cubicBezTo>
                <a:cubicBezTo>
                  <a:pt x="388968" y="147498"/>
                  <a:pt x="384652" y="143182"/>
                  <a:pt x="384652" y="137857"/>
                </a:cubicBezTo>
                <a:cubicBezTo>
                  <a:pt x="384652" y="132533"/>
                  <a:pt x="388968" y="128217"/>
                  <a:pt x="394292" y="128217"/>
                </a:cubicBezTo>
                <a:close/>
                <a:moveTo>
                  <a:pt x="361996" y="128217"/>
                </a:moveTo>
                <a:cubicBezTo>
                  <a:pt x="367321" y="128217"/>
                  <a:pt x="371637" y="132533"/>
                  <a:pt x="371637" y="137857"/>
                </a:cubicBezTo>
                <a:cubicBezTo>
                  <a:pt x="371637" y="143182"/>
                  <a:pt x="367321" y="147498"/>
                  <a:pt x="361996" y="147498"/>
                </a:cubicBezTo>
                <a:cubicBezTo>
                  <a:pt x="356672" y="147498"/>
                  <a:pt x="352356" y="143182"/>
                  <a:pt x="352356" y="137857"/>
                </a:cubicBezTo>
                <a:cubicBezTo>
                  <a:pt x="352356" y="132533"/>
                  <a:pt x="356672" y="128217"/>
                  <a:pt x="361996" y="128217"/>
                </a:cubicBezTo>
                <a:close/>
                <a:moveTo>
                  <a:pt x="329219" y="128217"/>
                </a:moveTo>
                <a:cubicBezTo>
                  <a:pt x="334544" y="128217"/>
                  <a:pt x="338860" y="132533"/>
                  <a:pt x="338860" y="137857"/>
                </a:cubicBezTo>
                <a:cubicBezTo>
                  <a:pt x="338860" y="143182"/>
                  <a:pt x="334544" y="147498"/>
                  <a:pt x="329219" y="147498"/>
                </a:cubicBezTo>
                <a:cubicBezTo>
                  <a:pt x="323895" y="147498"/>
                  <a:pt x="319579" y="143182"/>
                  <a:pt x="319579" y="137857"/>
                </a:cubicBezTo>
                <a:cubicBezTo>
                  <a:pt x="319579" y="132533"/>
                  <a:pt x="323895" y="128217"/>
                  <a:pt x="329219" y="128217"/>
                </a:cubicBezTo>
                <a:close/>
                <a:moveTo>
                  <a:pt x="296924" y="128217"/>
                </a:moveTo>
                <a:cubicBezTo>
                  <a:pt x="302249" y="128217"/>
                  <a:pt x="306565" y="132533"/>
                  <a:pt x="306565" y="137857"/>
                </a:cubicBezTo>
                <a:cubicBezTo>
                  <a:pt x="306565" y="143182"/>
                  <a:pt x="302249" y="147498"/>
                  <a:pt x="296924" y="147498"/>
                </a:cubicBezTo>
                <a:cubicBezTo>
                  <a:pt x="291600" y="147498"/>
                  <a:pt x="287284" y="143182"/>
                  <a:pt x="287284" y="137857"/>
                </a:cubicBezTo>
                <a:cubicBezTo>
                  <a:pt x="287284" y="132533"/>
                  <a:pt x="291600" y="128217"/>
                  <a:pt x="296924" y="128217"/>
                </a:cubicBezTo>
                <a:close/>
                <a:moveTo>
                  <a:pt x="264628" y="128217"/>
                </a:moveTo>
                <a:cubicBezTo>
                  <a:pt x="269953" y="128217"/>
                  <a:pt x="274269" y="132533"/>
                  <a:pt x="274269" y="137857"/>
                </a:cubicBezTo>
                <a:cubicBezTo>
                  <a:pt x="274269" y="143182"/>
                  <a:pt x="269953" y="147498"/>
                  <a:pt x="264628" y="147498"/>
                </a:cubicBezTo>
                <a:cubicBezTo>
                  <a:pt x="259304" y="147498"/>
                  <a:pt x="254988" y="143182"/>
                  <a:pt x="254988" y="137857"/>
                </a:cubicBezTo>
                <a:cubicBezTo>
                  <a:pt x="254988" y="132533"/>
                  <a:pt x="259304" y="128217"/>
                  <a:pt x="264628" y="128217"/>
                </a:cubicBezTo>
                <a:close/>
                <a:moveTo>
                  <a:pt x="232333" y="128217"/>
                </a:moveTo>
                <a:cubicBezTo>
                  <a:pt x="237657" y="128217"/>
                  <a:pt x="241974" y="132533"/>
                  <a:pt x="241974" y="137857"/>
                </a:cubicBezTo>
                <a:cubicBezTo>
                  <a:pt x="241974" y="143182"/>
                  <a:pt x="237657" y="147498"/>
                  <a:pt x="232333" y="147498"/>
                </a:cubicBezTo>
                <a:cubicBezTo>
                  <a:pt x="227009" y="147498"/>
                  <a:pt x="222693" y="143182"/>
                  <a:pt x="222693" y="137857"/>
                </a:cubicBezTo>
                <a:cubicBezTo>
                  <a:pt x="222693" y="132533"/>
                  <a:pt x="227009" y="128217"/>
                  <a:pt x="232333" y="128217"/>
                </a:cubicBezTo>
                <a:close/>
                <a:moveTo>
                  <a:pt x="200038" y="128217"/>
                </a:moveTo>
                <a:cubicBezTo>
                  <a:pt x="205362" y="128217"/>
                  <a:pt x="209679" y="132533"/>
                  <a:pt x="209679" y="137857"/>
                </a:cubicBezTo>
                <a:cubicBezTo>
                  <a:pt x="209679" y="143182"/>
                  <a:pt x="205362" y="147498"/>
                  <a:pt x="200038" y="147498"/>
                </a:cubicBezTo>
                <a:cubicBezTo>
                  <a:pt x="194714" y="147498"/>
                  <a:pt x="190398" y="143182"/>
                  <a:pt x="190398" y="137857"/>
                </a:cubicBezTo>
                <a:cubicBezTo>
                  <a:pt x="190398" y="132533"/>
                  <a:pt x="194714" y="128217"/>
                  <a:pt x="200038" y="128217"/>
                </a:cubicBezTo>
                <a:close/>
                <a:moveTo>
                  <a:pt x="167261" y="128217"/>
                </a:moveTo>
                <a:cubicBezTo>
                  <a:pt x="172585" y="128217"/>
                  <a:pt x="176902" y="132533"/>
                  <a:pt x="176902" y="137857"/>
                </a:cubicBezTo>
                <a:cubicBezTo>
                  <a:pt x="176902" y="143182"/>
                  <a:pt x="172585" y="147498"/>
                  <a:pt x="167261" y="147498"/>
                </a:cubicBezTo>
                <a:cubicBezTo>
                  <a:pt x="161937" y="147498"/>
                  <a:pt x="157621" y="143182"/>
                  <a:pt x="157621" y="137857"/>
                </a:cubicBezTo>
                <a:cubicBezTo>
                  <a:pt x="157621" y="132533"/>
                  <a:pt x="161937" y="128217"/>
                  <a:pt x="167261" y="128217"/>
                </a:cubicBezTo>
                <a:close/>
                <a:moveTo>
                  <a:pt x="134965" y="128217"/>
                </a:moveTo>
                <a:cubicBezTo>
                  <a:pt x="140289" y="128217"/>
                  <a:pt x="144606" y="132533"/>
                  <a:pt x="144606" y="137857"/>
                </a:cubicBezTo>
                <a:cubicBezTo>
                  <a:pt x="144606" y="143182"/>
                  <a:pt x="140289" y="147498"/>
                  <a:pt x="134965" y="147498"/>
                </a:cubicBezTo>
                <a:cubicBezTo>
                  <a:pt x="129641" y="147498"/>
                  <a:pt x="125325" y="143182"/>
                  <a:pt x="125325" y="137857"/>
                </a:cubicBezTo>
                <a:cubicBezTo>
                  <a:pt x="125325" y="132533"/>
                  <a:pt x="129641" y="128217"/>
                  <a:pt x="134965" y="128217"/>
                </a:cubicBezTo>
                <a:close/>
                <a:moveTo>
                  <a:pt x="102670" y="128217"/>
                </a:moveTo>
                <a:cubicBezTo>
                  <a:pt x="107995" y="128217"/>
                  <a:pt x="112311" y="132533"/>
                  <a:pt x="112311" y="137857"/>
                </a:cubicBezTo>
                <a:cubicBezTo>
                  <a:pt x="112311" y="143182"/>
                  <a:pt x="107995" y="147498"/>
                  <a:pt x="102670" y="147498"/>
                </a:cubicBezTo>
                <a:cubicBezTo>
                  <a:pt x="97346" y="147498"/>
                  <a:pt x="93030" y="143182"/>
                  <a:pt x="93030" y="137857"/>
                </a:cubicBezTo>
                <a:cubicBezTo>
                  <a:pt x="93030" y="132533"/>
                  <a:pt x="97346" y="128217"/>
                  <a:pt x="102670" y="128217"/>
                </a:cubicBezTo>
                <a:close/>
                <a:moveTo>
                  <a:pt x="70375" y="128217"/>
                </a:moveTo>
                <a:cubicBezTo>
                  <a:pt x="75700" y="128217"/>
                  <a:pt x="80016" y="132533"/>
                  <a:pt x="80016" y="137857"/>
                </a:cubicBezTo>
                <a:cubicBezTo>
                  <a:pt x="80016" y="143182"/>
                  <a:pt x="75700" y="147498"/>
                  <a:pt x="70375" y="147498"/>
                </a:cubicBezTo>
                <a:cubicBezTo>
                  <a:pt x="65051" y="147498"/>
                  <a:pt x="60735" y="143182"/>
                  <a:pt x="60735" y="137857"/>
                </a:cubicBezTo>
                <a:cubicBezTo>
                  <a:pt x="60735" y="132533"/>
                  <a:pt x="65051" y="128217"/>
                  <a:pt x="70375" y="128217"/>
                </a:cubicBezTo>
                <a:close/>
                <a:moveTo>
                  <a:pt x="38080" y="128217"/>
                </a:moveTo>
                <a:cubicBezTo>
                  <a:pt x="43405" y="128217"/>
                  <a:pt x="47721" y="132533"/>
                  <a:pt x="47721" y="137857"/>
                </a:cubicBezTo>
                <a:cubicBezTo>
                  <a:pt x="47721" y="143182"/>
                  <a:pt x="43405" y="147498"/>
                  <a:pt x="38080" y="147498"/>
                </a:cubicBezTo>
                <a:cubicBezTo>
                  <a:pt x="32756" y="147498"/>
                  <a:pt x="28440" y="143182"/>
                  <a:pt x="28440" y="137857"/>
                </a:cubicBezTo>
                <a:cubicBezTo>
                  <a:pt x="28440" y="132533"/>
                  <a:pt x="32756" y="128217"/>
                  <a:pt x="38080" y="128217"/>
                </a:cubicBezTo>
                <a:close/>
                <a:moveTo>
                  <a:pt x="5303" y="127253"/>
                </a:moveTo>
                <a:cubicBezTo>
                  <a:pt x="10123" y="128217"/>
                  <a:pt x="14944" y="132555"/>
                  <a:pt x="14944" y="137857"/>
                </a:cubicBezTo>
                <a:cubicBezTo>
                  <a:pt x="14944" y="143160"/>
                  <a:pt x="10605" y="147498"/>
                  <a:pt x="5303" y="147498"/>
                </a:cubicBezTo>
                <a:cubicBezTo>
                  <a:pt x="3375" y="147498"/>
                  <a:pt x="1929" y="147016"/>
                  <a:pt x="483" y="146052"/>
                </a:cubicBezTo>
                <a:lnTo>
                  <a:pt x="483" y="128699"/>
                </a:lnTo>
                <a:cubicBezTo>
                  <a:pt x="1929" y="127735"/>
                  <a:pt x="3375" y="127253"/>
                  <a:pt x="5303" y="127253"/>
                </a:cubicBezTo>
                <a:close/>
                <a:moveTo>
                  <a:pt x="588545" y="96404"/>
                </a:moveTo>
                <a:cubicBezTo>
                  <a:pt x="589027" y="95921"/>
                  <a:pt x="589509" y="95921"/>
                  <a:pt x="590473" y="96404"/>
                </a:cubicBezTo>
                <a:cubicBezTo>
                  <a:pt x="589991" y="103152"/>
                  <a:pt x="589027" y="109418"/>
                  <a:pt x="588063" y="115684"/>
                </a:cubicBezTo>
                <a:cubicBezTo>
                  <a:pt x="582761" y="115202"/>
                  <a:pt x="578905" y="110864"/>
                  <a:pt x="578905" y="106044"/>
                </a:cubicBezTo>
                <a:cubicBezTo>
                  <a:pt x="578905" y="100742"/>
                  <a:pt x="583243" y="96404"/>
                  <a:pt x="588545" y="96404"/>
                </a:cubicBezTo>
                <a:close/>
                <a:moveTo>
                  <a:pt x="556250" y="96403"/>
                </a:moveTo>
                <a:cubicBezTo>
                  <a:pt x="561575" y="96403"/>
                  <a:pt x="565891" y="100719"/>
                  <a:pt x="565891" y="106043"/>
                </a:cubicBezTo>
                <a:cubicBezTo>
                  <a:pt x="565891" y="111368"/>
                  <a:pt x="561575" y="115684"/>
                  <a:pt x="556250" y="115684"/>
                </a:cubicBezTo>
                <a:cubicBezTo>
                  <a:pt x="550926" y="115684"/>
                  <a:pt x="546610" y="111368"/>
                  <a:pt x="546610" y="106043"/>
                </a:cubicBezTo>
                <a:cubicBezTo>
                  <a:pt x="546610" y="100719"/>
                  <a:pt x="550926" y="96403"/>
                  <a:pt x="556250" y="96403"/>
                </a:cubicBezTo>
                <a:close/>
                <a:moveTo>
                  <a:pt x="523955" y="96403"/>
                </a:moveTo>
                <a:cubicBezTo>
                  <a:pt x="529279" y="96403"/>
                  <a:pt x="533596" y="100719"/>
                  <a:pt x="533596" y="106043"/>
                </a:cubicBezTo>
                <a:cubicBezTo>
                  <a:pt x="533596" y="111368"/>
                  <a:pt x="529279" y="115684"/>
                  <a:pt x="523955" y="115684"/>
                </a:cubicBezTo>
                <a:cubicBezTo>
                  <a:pt x="518631" y="115684"/>
                  <a:pt x="514315" y="111368"/>
                  <a:pt x="514315" y="106043"/>
                </a:cubicBezTo>
                <a:cubicBezTo>
                  <a:pt x="514315" y="100719"/>
                  <a:pt x="518631" y="96403"/>
                  <a:pt x="523955" y="96403"/>
                </a:cubicBezTo>
                <a:close/>
                <a:moveTo>
                  <a:pt x="491177" y="96403"/>
                </a:moveTo>
                <a:cubicBezTo>
                  <a:pt x="496502" y="96403"/>
                  <a:pt x="500818" y="100719"/>
                  <a:pt x="500818" y="106043"/>
                </a:cubicBezTo>
                <a:cubicBezTo>
                  <a:pt x="500818" y="111368"/>
                  <a:pt x="496502" y="115684"/>
                  <a:pt x="491177" y="115684"/>
                </a:cubicBezTo>
                <a:cubicBezTo>
                  <a:pt x="485853" y="115684"/>
                  <a:pt x="481537" y="111368"/>
                  <a:pt x="481537" y="106043"/>
                </a:cubicBezTo>
                <a:cubicBezTo>
                  <a:pt x="481537" y="100719"/>
                  <a:pt x="485853" y="96403"/>
                  <a:pt x="491177" y="96403"/>
                </a:cubicBezTo>
                <a:close/>
                <a:moveTo>
                  <a:pt x="458882" y="96403"/>
                </a:moveTo>
                <a:cubicBezTo>
                  <a:pt x="464206" y="96403"/>
                  <a:pt x="468523" y="100719"/>
                  <a:pt x="468523" y="106043"/>
                </a:cubicBezTo>
                <a:cubicBezTo>
                  <a:pt x="468523" y="111368"/>
                  <a:pt x="464206" y="115684"/>
                  <a:pt x="458882" y="115684"/>
                </a:cubicBezTo>
                <a:cubicBezTo>
                  <a:pt x="453558" y="115684"/>
                  <a:pt x="449242" y="111368"/>
                  <a:pt x="449242" y="106043"/>
                </a:cubicBezTo>
                <a:cubicBezTo>
                  <a:pt x="449242" y="100719"/>
                  <a:pt x="453558" y="96403"/>
                  <a:pt x="458882" y="96403"/>
                </a:cubicBezTo>
                <a:close/>
                <a:moveTo>
                  <a:pt x="426587" y="96403"/>
                </a:moveTo>
                <a:cubicBezTo>
                  <a:pt x="431911" y="96403"/>
                  <a:pt x="436228" y="100719"/>
                  <a:pt x="436228" y="106043"/>
                </a:cubicBezTo>
                <a:cubicBezTo>
                  <a:pt x="436228" y="111368"/>
                  <a:pt x="431911" y="115684"/>
                  <a:pt x="426587" y="115684"/>
                </a:cubicBezTo>
                <a:cubicBezTo>
                  <a:pt x="421263" y="115684"/>
                  <a:pt x="416947" y="111368"/>
                  <a:pt x="416947" y="106043"/>
                </a:cubicBezTo>
                <a:cubicBezTo>
                  <a:pt x="416947" y="100719"/>
                  <a:pt x="421263" y="96403"/>
                  <a:pt x="426587" y="96403"/>
                </a:cubicBezTo>
                <a:close/>
                <a:moveTo>
                  <a:pt x="394292" y="96403"/>
                </a:moveTo>
                <a:cubicBezTo>
                  <a:pt x="399617" y="96403"/>
                  <a:pt x="403933" y="100719"/>
                  <a:pt x="403933" y="106043"/>
                </a:cubicBezTo>
                <a:cubicBezTo>
                  <a:pt x="403933" y="111368"/>
                  <a:pt x="399617" y="115684"/>
                  <a:pt x="394292" y="115684"/>
                </a:cubicBezTo>
                <a:cubicBezTo>
                  <a:pt x="388968" y="115684"/>
                  <a:pt x="384652" y="111368"/>
                  <a:pt x="384652" y="106043"/>
                </a:cubicBezTo>
                <a:cubicBezTo>
                  <a:pt x="384652" y="100719"/>
                  <a:pt x="388968" y="96403"/>
                  <a:pt x="394292" y="96403"/>
                </a:cubicBezTo>
                <a:close/>
                <a:moveTo>
                  <a:pt x="361996" y="96403"/>
                </a:moveTo>
                <a:cubicBezTo>
                  <a:pt x="367321" y="96403"/>
                  <a:pt x="371637" y="100719"/>
                  <a:pt x="371637" y="106043"/>
                </a:cubicBezTo>
                <a:cubicBezTo>
                  <a:pt x="371637" y="111368"/>
                  <a:pt x="367321" y="115684"/>
                  <a:pt x="361996" y="115684"/>
                </a:cubicBezTo>
                <a:cubicBezTo>
                  <a:pt x="356672" y="115684"/>
                  <a:pt x="352356" y="111368"/>
                  <a:pt x="352356" y="106043"/>
                </a:cubicBezTo>
                <a:cubicBezTo>
                  <a:pt x="352356" y="100719"/>
                  <a:pt x="356672" y="96403"/>
                  <a:pt x="361996" y="96403"/>
                </a:cubicBezTo>
                <a:close/>
                <a:moveTo>
                  <a:pt x="329219" y="96403"/>
                </a:moveTo>
                <a:cubicBezTo>
                  <a:pt x="334544" y="96403"/>
                  <a:pt x="338860" y="100719"/>
                  <a:pt x="338860" y="106043"/>
                </a:cubicBezTo>
                <a:cubicBezTo>
                  <a:pt x="338860" y="111368"/>
                  <a:pt x="334544" y="115684"/>
                  <a:pt x="329219" y="115684"/>
                </a:cubicBezTo>
                <a:cubicBezTo>
                  <a:pt x="323895" y="115684"/>
                  <a:pt x="319579" y="111368"/>
                  <a:pt x="319579" y="106043"/>
                </a:cubicBezTo>
                <a:cubicBezTo>
                  <a:pt x="319579" y="100719"/>
                  <a:pt x="323895" y="96403"/>
                  <a:pt x="329219" y="96403"/>
                </a:cubicBezTo>
                <a:close/>
                <a:moveTo>
                  <a:pt x="296924" y="96403"/>
                </a:moveTo>
                <a:cubicBezTo>
                  <a:pt x="302249" y="96403"/>
                  <a:pt x="306565" y="100719"/>
                  <a:pt x="306565" y="106043"/>
                </a:cubicBezTo>
                <a:cubicBezTo>
                  <a:pt x="306565" y="111368"/>
                  <a:pt x="302249" y="115684"/>
                  <a:pt x="296924" y="115684"/>
                </a:cubicBezTo>
                <a:cubicBezTo>
                  <a:pt x="291600" y="115684"/>
                  <a:pt x="287284" y="111368"/>
                  <a:pt x="287284" y="106043"/>
                </a:cubicBezTo>
                <a:cubicBezTo>
                  <a:pt x="287284" y="100719"/>
                  <a:pt x="291600" y="96403"/>
                  <a:pt x="296924" y="96403"/>
                </a:cubicBezTo>
                <a:close/>
                <a:moveTo>
                  <a:pt x="264628" y="96403"/>
                </a:moveTo>
                <a:cubicBezTo>
                  <a:pt x="269953" y="96403"/>
                  <a:pt x="274269" y="100719"/>
                  <a:pt x="274269" y="106043"/>
                </a:cubicBezTo>
                <a:cubicBezTo>
                  <a:pt x="274269" y="111368"/>
                  <a:pt x="269953" y="115684"/>
                  <a:pt x="264628" y="115684"/>
                </a:cubicBezTo>
                <a:cubicBezTo>
                  <a:pt x="259304" y="115684"/>
                  <a:pt x="254988" y="111368"/>
                  <a:pt x="254988" y="106043"/>
                </a:cubicBezTo>
                <a:cubicBezTo>
                  <a:pt x="254988" y="100719"/>
                  <a:pt x="259304" y="96403"/>
                  <a:pt x="264628" y="96403"/>
                </a:cubicBezTo>
                <a:close/>
                <a:moveTo>
                  <a:pt x="232333" y="96403"/>
                </a:moveTo>
                <a:cubicBezTo>
                  <a:pt x="237657" y="96403"/>
                  <a:pt x="241974" y="100719"/>
                  <a:pt x="241974" y="106043"/>
                </a:cubicBezTo>
                <a:cubicBezTo>
                  <a:pt x="241974" y="111368"/>
                  <a:pt x="237657" y="115684"/>
                  <a:pt x="232333" y="115684"/>
                </a:cubicBezTo>
                <a:cubicBezTo>
                  <a:pt x="227009" y="115684"/>
                  <a:pt x="222693" y="111368"/>
                  <a:pt x="222693" y="106043"/>
                </a:cubicBezTo>
                <a:cubicBezTo>
                  <a:pt x="222693" y="100719"/>
                  <a:pt x="227009" y="96403"/>
                  <a:pt x="232333" y="96403"/>
                </a:cubicBezTo>
                <a:close/>
                <a:moveTo>
                  <a:pt x="200038" y="96403"/>
                </a:moveTo>
                <a:cubicBezTo>
                  <a:pt x="205362" y="96403"/>
                  <a:pt x="209679" y="100719"/>
                  <a:pt x="209679" y="106043"/>
                </a:cubicBezTo>
                <a:cubicBezTo>
                  <a:pt x="209679" y="111368"/>
                  <a:pt x="205362" y="115684"/>
                  <a:pt x="200038" y="115684"/>
                </a:cubicBezTo>
                <a:cubicBezTo>
                  <a:pt x="194714" y="115684"/>
                  <a:pt x="190398" y="111368"/>
                  <a:pt x="190398" y="106043"/>
                </a:cubicBezTo>
                <a:cubicBezTo>
                  <a:pt x="190398" y="100719"/>
                  <a:pt x="194714" y="96403"/>
                  <a:pt x="200038" y="96403"/>
                </a:cubicBezTo>
                <a:close/>
                <a:moveTo>
                  <a:pt x="167261" y="96403"/>
                </a:moveTo>
                <a:cubicBezTo>
                  <a:pt x="172585" y="96403"/>
                  <a:pt x="176902" y="100719"/>
                  <a:pt x="176902" y="106043"/>
                </a:cubicBezTo>
                <a:cubicBezTo>
                  <a:pt x="176902" y="111368"/>
                  <a:pt x="172585" y="115684"/>
                  <a:pt x="167261" y="115684"/>
                </a:cubicBezTo>
                <a:cubicBezTo>
                  <a:pt x="161937" y="115684"/>
                  <a:pt x="157621" y="111368"/>
                  <a:pt x="157621" y="106043"/>
                </a:cubicBezTo>
                <a:cubicBezTo>
                  <a:pt x="157621" y="100719"/>
                  <a:pt x="161937" y="96403"/>
                  <a:pt x="167261" y="96403"/>
                </a:cubicBezTo>
                <a:close/>
                <a:moveTo>
                  <a:pt x="134965" y="96403"/>
                </a:moveTo>
                <a:cubicBezTo>
                  <a:pt x="140289" y="96403"/>
                  <a:pt x="144606" y="100719"/>
                  <a:pt x="144606" y="106043"/>
                </a:cubicBezTo>
                <a:cubicBezTo>
                  <a:pt x="144606" y="111368"/>
                  <a:pt x="140289" y="115684"/>
                  <a:pt x="134965" y="115684"/>
                </a:cubicBezTo>
                <a:cubicBezTo>
                  <a:pt x="129641" y="115684"/>
                  <a:pt x="125325" y="111368"/>
                  <a:pt x="125325" y="106043"/>
                </a:cubicBezTo>
                <a:cubicBezTo>
                  <a:pt x="125325" y="100719"/>
                  <a:pt x="129641" y="96403"/>
                  <a:pt x="134965" y="96403"/>
                </a:cubicBezTo>
                <a:close/>
                <a:moveTo>
                  <a:pt x="102670" y="96403"/>
                </a:moveTo>
                <a:cubicBezTo>
                  <a:pt x="107995" y="96403"/>
                  <a:pt x="112311" y="100719"/>
                  <a:pt x="112311" y="106043"/>
                </a:cubicBezTo>
                <a:cubicBezTo>
                  <a:pt x="112311" y="111368"/>
                  <a:pt x="107995" y="115684"/>
                  <a:pt x="102670" y="115684"/>
                </a:cubicBezTo>
                <a:cubicBezTo>
                  <a:pt x="97346" y="115684"/>
                  <a:pt x="93030" y="111368"/>
                  <a:pt x="93030" y="106043"/>
                </a:cubicBezTo>
                <a:cubicBezTo>
                  <a:pt x="93030" y="100719"/>
                  <a:pt x="97346" y="96403"/>
                  <a:pt x="102670" y="96403"/>
                </a:cubicBezTo>
                <a:close/>
                <a:moveTo>
                  <a:pt x="70375" y="96403"/>
                </a:moveTo>
                <a:cubicBezTo>
                  <a:pt x="75700" y="96403"/>
                  <a:pt x="80016" y="100719"/>
                  <a:pt x="80016" y="106043"/>
                </a:cubicBezTo>
                <a:cubicBezTo>
                  <a:pt x="80016" y="111368"/>
                  <a:pt x="75700" y="115684"/>
                  <a:pt x="70375" y="115684"/>
                </a:cubicBezTo>
                <a:cubicBezTo>
                  <a:pt x="65051" y="115684"/>
                  <a:pt x="60735" y="111368"/>
                  <a:pt x="60735" y="106043"/>
                </a:cubicBezTo>
                <a:cubicBezTo>
                  <a:pt x="60735" y="100719"/>
                  <a:pt x="65051" y="96403"/>
                  <a:pt x="70375" y="96403"/>
                </a:cubicBezTo>
                <a:close/>
                <a:moveTo>
                  <a:pt x="38080" y="96403"/>
                </a:moveTo>
                <a:cubicBezTo>
                  <a:pt x="43405" y="96403"/>
                  <a:pt x="47721" y="100719"/>
                  <a:pt x="47721" y="106043"/>
                </a:cubicBezTo>
                <a:cubicBezTo>
                  <a:pt x="47721" y="111368"/>
                  <a:pt x="43405" y="115684"/>
                  <a:pt x="38080" y="115684"/>
                </a:cubicBezTo>
                <a:cubicBezTo>
                  <a:pt x="32756" y="115684"/>
                  <a:pt x="28440" y="111368"/>
                  <a:pt x="28440" y="106043"/>
                </a:cubicBezTo>
                <a:cubicBezTo>
                  <a:pt x="28440" y="100719"/>
                  <a:pt x="32756" y="96403"/>
                  <a:pt x="38080" y="96403"/>
                </a:cubicBezTo>
                <a:close/>
                <a:moveTo>
                  <a:pt x="5303" y="95439"/>
                </a:moveTo>
                <a:cubicBezTo>
                  <a:pt x="10123" y="95921"/>
                  <a:pt x="14944" y="100259"/>
                  <a:pt x="14944" y="106043"/>
                </a:cubicBezTo>
                <a:cubicBezTo>
                  <a:pt x="14944" y="111346"/>
                  <a:pt x="10605" y="115684"/>
                  <a:pt x="5303" y="115684"/>
                </a:cubicBezTo>
                <a:cubicBezTo>
                  <a:pt x="3375" y="115684"/>
                  <a:pt x="1929" y="115202"/>
                  <a:pt x="483" y="114238"/>
                </a:cubicBezTo>
                <a:lnTo>
                  <a:pt x="483" y="96885"/>
                </a:lnTo>
                <a:cubicBezTo>
                  <a:pt x="1929" y="95921"/>
                  <a:pt x="3375" y="95439"/>
                  <a:pt x="5303" y="95439"/>
                </a:cubicBezTo>
                <a:close/>
                <a:moveTo>
                  <a:pt x="588545" y="64591"/>
                </a:moveTo>
                <a:cubicBezTo>
                  <a:pt x="589991" y="64109"/>
                  <a:pt x="591437" y="64109"/>
                  <a:pt x="592883" y="65073"/>
                </a:cubicBezTo>
                <a:cubicBezTo>
                  <a:pt x="592401" y="71339"/>
                  <a:pt x="591920" y="77123"/>
                  <a:pt x="591437" y="83389"/>
                </a:cubicBezTo>
                <a:cubicBezTo>
                  <a:pt x="590473" y="83871"/>
                  <a:pt x="589509" y="83871"/>
                  <a:pt x="588545" y="83871"/>
                </a:cubicBezTo>
                <a:cubicBezTo>
                  <a:pt x="583243" y="83871"/>
                  <a:pt x="578905" y="79533"/>
                  <a:pt x="578905" y="74231"/>
                </a:cubicBezTo>
                <a:cubicBezTo>
                  <a:pt x="578905" y="68929"/>
                  <a:pt x="583243" y="64591"/>
                  <a:pt x="588545" y="64591"/>
                </a:cubicBezTo>
                <a:close/>
                <a:moveTo>
                  <a:pt x="556250" y="64108"/>
                </a:moveTo>
                <a:cubicBezTo>
                  <a:pt x="561575" y="64108"/>
                  <a:pt x="565891" y="68424"/>
                  <a:pt x="565891" y="73748"/>
                </a:cubicBezTo>
                <a:cubicBezTo>
                  <a:pt x="565891" y="79073"/>
                  <a:pt x="561575" y="83389"/>
                  <a:pt x="556250" y="83389"/>
                </a:cubicBezTo>
                <a:cubicBezTo>
                  <a:pt x="550926" y="83389"/>
                  <a:pt x="546610" y="79073"/>
                  <a:pt x="546610" y="73748"/>
                </a:cubicBezTo>
                <a:cubicBezTo>
                  <a:pt x="546610" y="68424"/>
                  <a:pt x="550926" y="64108"/>
                  <a:pt x="556250" y="64108"/>
                </a:cubicBezTo>
                <a:close/>
                <a:moveTo>
                  <a:pt x="523955" y="64108"/>
                </a:moveTo>
                <a:cubicBezTo>
                  <a:pt x="529279" y="64108"/>
                  <a:pt x="533596" y="68424"/>
                  <a:pt x="533596" y="73748"/>
                </a:cubicBezTo>
                <a:cubicBezTo>
                  <a:pt x="533596" y="79073"/>
                  <a:pt x="529279" y="83389"/>
                  <a:pt x="523955" y="83389"/>
                </a:cubicBezTo>
                <a:cubicBezTo>
                  <a:pt x="518631" y="83389"/>
                  <a:pt x="514315" y="79073"/>
                  <a:pt x="514315" y="73748"/>
                </a:cubicBezTo>
                <a:cubicBezTo>
                  <a:pt x="514315" y="68424"/>
                  <a:pt x="518631" y="64108"/>
                  <a:pt x="523955" y="64108"/>
                </a:cubicBezTo>
                <a:close/>
                <a:moveTo>
                  <a:pt x="491177" y="64108"/>
                </a:moveTo>
                <a:cubicBezTo>
                  <a:pt x="496502" y="64108"/>
                  <a:pt x="500818" y="68424"/>
                  <a:pt x="500818" y="73748"/>
                </a:cubicBezTo>
                <a:cubicBezTo>
                  <a:pt x="500818" y="79073"/>
                  <a:pt x="496502" y="83389"/>
                  <a:pt x="491177" y="83389"/>
                </a:cubicBezTo>
                <a:cubicBezTo>
                  <a:pt x="485853" y="83389"/>
                  <a:pt x="481537" y="79073"/>
                  <a:pt x="481537" y="73748"/>
                </a:cubicBezTo>
                <a:cubicBezTo>
                  <a:pt x="481537" y="68424"/>
                  <a:pt x="485853" y="64108"/>
                  <a:pt x="491177" y="64108"/>
                </a:cubicBezTo>
                <a:close/>
                <a:moveTo>
                  <a:pt x="458882" y="64108"/>
                </a:moveTo>
                <a:cubicBezTo>
                  <a:pt x="464206" y="64108"/>
                  <a:pt x="468523" y="68424"/>
                  <a:pt x="468523" y="73748"/>
                </a:cubicBezTo>
                <a:cubicBezTo>
                  <a:pt x="468523" y="79073"/>
                  <a:pt x="464206" y="83389"/>
                  <a:pt x="458882" y="83389"/>
                </a:cubicBezTo>
                <a:cubicBezTo>
                  <a:pt x="453558" y="83389"/>
                  <a:pt x="449242" y="79073"/>
                  <a:pt x="449242" y="73748"/>
                </a:cubicBezTo>
                <a:cubicBezTo>
                  <a:pt x="449242" y="68424"/>
                  <a:pt x="453558" y="64108"/>
                  <a:pt x="458882" y="64108"/>
                </a:cubicBezTo>
                <a:close/>
                <a:moveTo>
                  <a:pt x="426587" y="64108"/>
                </a:moveTo>
                <a:cubicBezTo>
                  <a:pt x="431911" y="64108"/>
                  <a:pt x="436228" y="68424"/>
                  <a:pt x="436228" y="73748"/>
                </a:cubicBezTo>
                <a:cubicBezTo>
                  <a:pt x="436228" y="79073"/>
                  <a:pt x="431911" y="83389"/>
                  <a:pt x="426587" y="83389"/>
                </a:cubicBezTo>
                <a:cubicBezTo>
                  <a:pt x="421263" y="83389"/>
                  <a:pt x="416947" y="79073"/>
                  <a:pt x="416947" y="73748"/>
                </a:cubicBezTo>
                <a:cubicBezTo>
                  <a:pt x="416947" y="68424"/>
                  <a:pt x="421263" y="64108"/>
                  <a:pt x="426587" y="64108"/>
                </a:cubicBezTo>
                <a:close/>
                <a:moveTo>
                  <a:pt x="394292" y="64108"/>
                </a:moveTo>
                <a:cubicBezTo>
                  <a:pt x="399617" y="64108"/>
                  <a:pt x="403933" y="68424"/>
                  <a:pt x="403933" y="73748"/>
                </a:cubicBezTo>
                <a:cubicBezTo>
                  <a:pt x="403933" y="79073"/>
                  <a:pt x="399617" y="83389"/>
                  <a:pt x="394292" y="83389"/>
                </a:cubicBezTo>
                <a:cubicBezTo>
                  <a:pt x="388968" y="83389"/>
                  <a:pt x="384652" y="79073"/>
                  <a:pt x="384652" y="73748"/>
                </a:cubicBezTo>
                <a:cubicBezTo>
                  <a:pt x="384652" y="68424"/>
                  <a:pt x="388968" y="64108"/>
                  <a:pt x="394292" y="64108"/>
                </a:cubicBezTo>
                <a:close/>
                <a:moveTo>
                  <a:pt x="361996" y="64108"/>
                </a:moveTo>
                <a:cubicBezTo>
                  <a:pt x="367321" y="64108"/>
                  <a:pt x="371637" y="68424"/>
                  <a:pt x="371637" y="73748"/>
                </a:cubicBezTo>
                <a:cubicBezTo>
                  <a:pt x="371637" y="79073"/>
                  <a:pt x="367321" y="83389"/>
                  <a:pt x="361996" y="83389"/>
                </a:cubicBezTo>
                <a:cubicBezTo>
                  <a:pt x="356672" y="83389"/>
                  <a:pt x="352356" y="79073"/>
                  <a:pt x="352356" y="73748"/>
                </a:cubicBezTo>
                <a:cubicBezTo>
                  <a:pt x="352356" y="68424"/>
                  <a:pt x="356672" y="64108"/>
                  <a:pt x="361996" y="64108"/>
                </a:cubicBezTo>
                <a:close/>
                <a:moveTo>
                  <a:pt x="329219" y="64108"/>
                </a:moveTo>
                <a:cubicBezTo>
                  <a:pt x="334544" y="64108"/>
                  <a:pt x="338860" y="68424"/>
                  <a:pt x="338860" y="73748"/>
                </a:cubicBezTo>
                <a:cubicBezTo>
                  <a:pt x="338860" y="79073"/>
                  <a:pt x="334544" y="83389"/>
                  <a:pt x="329219" y="83389"/>
                </a:cubicBezTo>
                <a:cubicBezTo>
                  <a:pt x="323895" y="83389"/>
                  <a:pt x="319579" y="79073"/>
                  <a:pt x="319579" y="73748"/>
                </a:cubicBezTo>
                <a:cubicBezTo>
                  <a:pt x="319579" y="68424"/>
                  <a:pt x="323895" y="64108"/>
                  <a:pt x="329219" y="64108"/>
                </a:cubicBezTo>
                <a:close/>
                <a:moveTo>
                  <a:pt x="296924" y="64108"/>
                </a:moveTo>
                <a:cubicBezTo>
                  <a:pt x="302249" y="64108"/>
                  <a:pt x="306565" y="68424"/>
                  <a:pt x="306565" y="73748"/>
                </a:cubicBezTo>
                <a:cubicBezTo>
                  <a:pt x="306565" y="79073"/>
                  <a:pt x="302249" y="83389"/>
                  <a:pt x="296924" y="83389"/>
                </a:cubicBezTo>
                <a:cubicBezTo>
                  <a:pt x="291600" y="83389"/>
                  <a:pt x="287284" y="79073"/>
                  <a:pt x="287284" y="73748"/>
                </a:cubicBezTo>
                <a:cubicBezTo>
                  <a:pt x="287284" y="68424"/>
                  <a:pt x="291600" y="64108"/>
                  <a:pt x="296924" y="64108"/>
                </a:cubicBezTo>
                <a:close/>
                <a:moveTo>
                  <a:pt x="264628" y="64108"/>
                </a:moveTo>
                <a:cubicBezTo>
                  <a:pt x="269953" y="64108"/>
                  <a:pt x="274269" y="68424"/>
                  <a:pt x="274269" y="73748"/>
                </a:cubicBezTo>
                <a:cubicBezTo>
                  <a:pt x="274269" y="79073"/>
                  <a:pt x="269953" y="83389"/>
                  <a:pt x="264628" y="83389"/>
                </a:cubicBezTo>
                <a:cubicBezTo>
                  <a:pt x="259304" y="83389"/>
                  <a:pt x="254988" y="79073"/>
                  <a:pt x="254988" y="73748"/>
                </a:cubicBezTo>
                <a:cubicBezTo>
                  <a:pt x="254988" y="68424"/>
                  <a:pt x="259304" y="64108"/>
                  <a:pt x="264628" y="64108"/>
                </a:cubicBezTo>
                <a:close/>
                <a:moveTo>
                  <a:pt x="232333" y="64108"/>
                </a:moveTo>
                <a:cubicBezTo>
                  <a:pt x="237657" y="64108"/>
                  <a:pt x="241974" y="68424"/>
                  <a:pt x="241974" y="73748"/>
                </a:cubicBezTo>
                <a:cubicBezTo>
                  <a:pt x="241974" y="79073"/>
                  <a:pt x="237657" y="83389"/>
                  <a:pt x="232333" y="83389"/>
                </a:cubicBezTo>
                <a:cubicBezTo>
                  <a:pt x="227009" y="83389"/>
                  <a:pt x="222693" y="79073"/>
                  <a:pt x="222693" y="73748"/>
                </a:cubicBezTo>
                <a:cubicBezTo>
                  <a:pt x="222693" y="68424"/>
                  <a:pt x="227009" y="64108"/>
                  <a:pt x="232333" y="64108"/>
                </a:cubicBezTo>
                <a:close/>
                <a:moveTo>
                  <a:pt x="200038" y="64108"/>
                </a:moveTo>
                <a:cubicBezTo>
                  <a:pt x="205362" y="64108"/>
                  <a:pt x="209679" y="68424"/>
                  <a:pt x="209679" y="73748"/>
                </a:cubicBezTo>
                <a:cubicBezTo>
                  <a:pt x="209679" y="79073"/>
                  <a:pt x="205362" y="83389"/>
                  <a:pt x="200038" y="83389"/>
                </a:cubicBezTo>
                <a:cubicBezTo>
                  <a:pt x="194714" y="83389"/>
                  <a:pt x="190398" y="79073"/>
                  <a:pt x="190398" y="73748"/>
                </a:cubicBezTo>
                <a:cubicBezTo>
                  <a:pt x="190398" y="68424"/>
                  <a:pt x="194714" y="64108"/>
                  <a:pt x="200038" y="64108"/>
                </a:cubicBezTo>
                <a:close/>
                <a:moveTo>
                  <a:pt x="167261" y="64108"/>
                </a:moveTo>
                <a:cubicBezTo>
                  <a:pt x="172585" y="64108"/>
                  <a:pt x="176902" y="68424"/>
                  <a:pt x="176902" y="73748"/>
                </a:cubicBezTo>
                <a:cubicBezTo>
                  <a:pt x="176902" y="79073"/>
                  <a:pt x="172585" y="83389"/>
                  <a:pt x="167261" y="83389"/>
                </a:cubicBezTo>
                <a:cubicBezTo>
                  <a:pt x="161937" y="83389"/>
                  <a:pt x="157621" y="79073"/>
                  <a:pt x="157621" y="73748"/>
                </a:cubicBezTo>
                <a:cubicBezTo>
                  <a:pt x="157621" y="68424"/>
                  <a:pt x="161937" y="64108"/>
                  <a:pt x="167261" y="64108"/>
                </a:cubicBezTo>
                <a:close/>
                <a:moveTo>
                  <a:pt x="134965" y="64108"/>
                </a:moveTo>
                <a:cubicBezTo>
                  <a:pt x="140289" y="64108"/>
                  <a:pt x="144606" y="68424"/>
                  <a:pt x="144606" y="73748"/>
                </a:cubicBezTo>
                <a:cubicBezTo>
                  <a:pt x="144606" y="79073"/>
                  <a:pt x="140289" y="83389"/>
                  <a:pt x="134965" y="83389"/>
                </a:cubicBezTo>
                <a:cubicBezTo>
                  <a:pt x="129641" y="83389"/>
                  <a:pt x="125325" y="79073"/>
                  <a:pt x="125325" y="73748"/>
                </a:cubicBezTo>
                <a:cubicBezTo>
                  <a:pt x="125325" y="68424"/>
                  <a:pt x="129641" y="64108"/>
                  <a:pt x="134965" y="64108"/>
                </a:cubicBezTo>
                <a:close/>
                <a:moveTo>
                  <a:pt x="102670" y="64108"/>
                </a:moveTo>
                <a:cubicBezTo>
                  <a:pt x="107995" y="64108"/>
                  <a:pt x="112311" y="68424"/>
                  <a:pt x="112311" y="73748"/>
                </a:cubicBezTo>
                <a:cubicBezTo>
                  <a:pt x="112311" y="79073"/>
                  <a:pt x="107995" y="83389"/>
                  <a:pt x="102670" y="83389"/>
                </a:cubicBezTo>
                <a:cubicBezTo>
                  <a:pt x="97346" y="83389"/>
                  <a:pt x="93030" y="79073"/>
                  <a:pt x="93030" y="73748"/>
                </a:cubicBezTo>
                <a:cubicBezTo>
                  <a:pt x="93030" y="68424"/>
                  <a:pt x="97346" y="64108"/>
                  <a:pt x="102670" y="64108"/>
                </a:cubicBezTo>
                <a:close/>
                <a:moveTo>
                  <a:pt x="70375" y="64108"/>
                </a:moveTo>
                <a:cubicBezTo>
                  <a:pt x="75700" y="64108"/>
                  <a:pt x="80016" y="68424"/>
                  <a:pt x="80016" y="73748"/>
                </a:cubicBezTo>
                <a:cubicBezTo>
                  <a:pt x="80016" y="79073"/>
                  <a:pt x="75700" y="83389"/>
                  <a:pt x="70375" y="83389"/>
                </a:cubicBezTo>
                <a:cubicBezTo>
                  <a:pt x="65051" y="83389"/>
                  <a:pt x="60735" y="79073"/>
                  <a:pt x="60735" y="73748"/>
                </a:cubicBezTo>
                <a:cubicBezTo>
                  <a:pt x="60735" y="68424"/>
                  <a:pt x="65051" y="64108"/>
                  <a:pt x="70375" y="64108"/>
                </a:cubicBezTo>
                <a:close/>
                <a:moveTo>
                  <a:pt x="38080" y="64108"/>
                </a:moveTo>
                <a:cubicBezTo>
                  <a:pt x="43405" y="64108"/>
                  <a:pt x="47721" y="68424"/>
                  <a:pt x="47721" y="73748"/>
                </a:cubicBezTo>
                <a:cubicBezTo>
                  <a:pt x="47721" y="79073"/>
                  <a:pt x="43405" y="83389"/>
                  <a:pt x="38080" y="83389"/>
                </a:cubicBezTo>
                <a:cubicBezTo>
                  <a:pt x="32756" y="83389"/>
                  <a:pt x="28440" y="79073"/>
                  <a:pt x="28440" y="73748"/>
                </a:cubicBezTo>
                <a:cubicBezTo>
                  <a:pt x="28440" y="68424"/>
                  <a:pt x="32756" y="64108"/>
                  <a:pt x="38080" y="64108"/>
                </a:cubicBezTo>
                <a:close/>
                <a:moveTo>
                  <a:pt x="5303" y="63144"/>
                </a:moveTo>
                <a:cubicBezTo>
                  <a:pt x="10123" y="64108"/>
                  <a:pt x="14944" y="68446"/>
                  <a:pt x="14944" y="73748"/>
                </a:cubicBezTo>
                <a:cubicBezTo>
                  <a:pt x="14944" y="79051"/>
                  <a:pt x="10605" y="83389"/>
                  <a:pt x="5303" y="83389"/>
                </a:cubicBezTo>
                <a:cubicBezTo>
                  <a:pt x="3375" y="83389"/>
                  <a:pt x="1929" y="82907"/>
                  <a:pt x="483" y="81943"/>
                </a:cubicBezTo>
                <a:lnTo>
                  <a:pt x="483" y="64590"/>
                </a:lnTo>
                <a:cubicBezTo>
                  <a:pt x="1929" y="63626"/>
                  <a:pt x="3375" y="63144"/>
                  <a:pt x="5303" y="63144"/>
                </a:cubicBezTo>
                <a:close/>
                <a:moveTo>
                  <a:pt x="588545" y="32295"/>
                </a:moveTo>
                <a:cubicBezTo>
                  <a:pt x="590473" y="31813"/>
                  <a:pt x="592401" y="32295"/>
                  <a:pt x="593847" y="33259"/>
                </a:cubicBezTo>
                <a:cubicBezTo>
                  <a:pt x="593847" y="39043"/>
                  <a:pt x="593847" y="44346"/>
                  <a:pt x="593366" y="50130"/>
                </a:cubicBezTo>
                <a:cubicBezTo>
                  <a:pt x="591920" y="51094"/>
                  <a:pt x="589991" y="51576"/>
                  <a:pt x="588545" y="51576"/>
                </a:cubicBezTo>
                <a:cubicBezTo>
                  <a:pt x="583243" y="51576"/>
                  <a:pt x="578905" y="47238"/>
                  <a:pt x="578905" y="41935"/>
                </a:cubicBezTo>
                <a:cubicBezTo>
                  <a:pt x="578905" y="36633"/>
                  <a:pt x="583243" y="32295"/>
                  <a:pt x="588545" y="32295"/>
                </a:cubicBezTo>
                <a:close/>
                <a:moveTo>
                  <a:pt x="556250" y="31813"/>
                </a:moveTo>
                <a:cubicBezTo>
                  <a:pt x="561575" y="31813"/>
                  <a:pt x="565891" y="36129"/>
                  <a:pt x="565891" y="41453"/>
                </a:cubicBezTo>
                <a:cubicBezTo>
                  <a:pt x="565891" y="46778"/>
                  <a:pt x="561575" y="51094"/>
                  <a:pt x="556250" y="51094"/>
                </a:cubicBezTo>
                <a:cubicBezTo>
                  <a:pt x="550926" y="51094"/>
                  <a:pt x="546610" y="46778"/>
                  <a:pt x="546610" y="41453"/>
                </a:cubicBezTo>
                <a:cubicBezTo>
                  <a:pt x="546610" y="36129"/>
                  <a:pt x="550926" y="31813"/>
                  <a:pt x="556250" y="31813"/>
                </a:cubicBezTo>
                <a:close/>
                <a:moveTo>
                  <a:pt x="523955" y="31813"/>
                </a:moveTo>
                <a:cubicBezTo>
                  <a:pt x="529279" y="31813"/>
                  <a:pt x="533596" y="36129"/>
                  <a:pt x="533596" y="41453"/>
                </a:cubicBezTo>
                <a:cubicBezTo>
                  <a:pt x="533596" y="46778"/>
                  <a:pt x="529279" y="51094"/>
                  <a:pt x="523955" y="51094"/>
                </a:cubicBezTo>
                <a:cubicBezTo>
                  <a:pt x="518631" y="51094"/>
                  <a:pt x="514315" y="46778"/>
                  <a:pt x="514315" y="41453"/>
                </a:cubicBezTo>
                <a:cubicBezTo>
                  <a:pt x="514315" y="36129"/>
                  <a:pt x="518631" y="31813"/>
                  <a:pt x="523955" y="31813"/>
                </a:cubicBezTo>
                <a:close/>
                <a:moveTo>
                  <a:pt x="491177" y="31813"/>
                </a:moveTo>
                <a:cubicBezTo>
                  <a:pt x="496502" y="31813"/>
                  <a:pt x="500818" y="36129"/>
                  <a:pt x="500818" y="41453"/>
                </a:cubicBezTo>
                <a:cubicBezTo>
                  <a:pt x="500818" y="46778"/>
                  <a:pt x="496502" y="51094"/>
                  <a:pt x="491177" y="51094"/>
                </a:cubicBezTo>
                <a:cubicBezTo>
                  <a:pt x="485853" y="51094"/>
                  <a:pt x="481537" y="46778"/>
                  <a:pt x="481537" y="41453"/>
                </a:cubicBezTo>
                <a:cubicBezTo>
                  <a:pt x="481537" y="36129"/>
                  <a:pt x="485853" y="31813"/>
                  <a:pt x="491177" y="31813"/>
                </a:cubicBezTo>
                <a:close/>
                <a:moveTo>
                  <a:pt x="458882" y="31813"/>
                </a:moveTo>
                <a:cubicBezTo>
                  <a:pt x="464206" y="31813"/>
                  <a:pt x="468523" y="36129"/>
                  <a:pt x="468523" y="41453"/>
                </a:cubicBezTo>
                <a:cubicBezTo>
                  <a:pt x="468523" y="46778"/>
                  <a:pt x="464206" y="51094"/>
                  <a:pt x="458882" y="51094"/>
                </a:cubicBezTo>
                <a:cubicBezTo>
                  <a:pt x="453558" y="51094"/>
                  <a:pt x="449242" y="46778"/>
                  <a:pt x="449242" y="41453"/>
                </a:cubicBezTo>
                <a:cubicBezTo>
                  <a:pt x="449242" y="36129"/>
                  <a:pt x="453558" y="31813"/>
                  <a:pt x="458882" y="31813"/>
                </a:cubicBezTo>
                <a:close/>
                <a:moveTo>
                  <a:pt x="426587" y="31813"/>
                </a:moveTo>
                <a:cubicBezTo>
                  <a:pt x="431911" y="31813"/>
                  <a:pt x="436228" y="36129"/>
                  <a:pt x="436228" y="41453"/>
                </a:cubicBezTo>
                <a:cubicBezTo>
                  <a:pt x="436228" y="46778"/>
                  <a:pt x="431911" y="51094"/>
                  <a:pt x="426587" y="51094"/>
                </a:cubicBezTo>
                <a:cubicBezTo>
                  <a:pt x="421263" y="51094"/>
                  <a:pt x="416947" y="46778"/>
                  <a:pt x="416947" y="41453"/>
                </a:cubicBezTo>
                <a:cubicBezTo>
                  <a:pt x="416947" y="36129"/>
                  <a:pt x="421263" y="31813"/>
                  <a:pt x="426587" y="31813"/>
                </a:cubicBezTo>
                <a:close/>
                <a:moveTo>
                  <a:pt x="394292" y="31813"/>
                </a:moveTo>
                <a:cubicBezTo>
                  <a:pt x="399617" y="31813"/>
                  <a:pt x="403933" y="36129"/>
                  <a:pt x="403933" y="41453"/>
                </a:cubicBezTo>
                <a:cubicBezTo>
                  <a:pt x="403933" y="46778"/>
                  <a:pt x="399617" y="51094"/>
                  <a:pt x="394292" y="51094"/>
                </a:cubicBezTo>
                <a:cubicBezTo>
                  <a:pt x="388968" y="51094"/>
                  <a:pt x="384652" y="46778"/>
                  <a:pt x="384652" y="41453"/>
                </a:cubicBezTo>
                <a:cubicBezTo>
                  <a:pt x="384652" y="36129"/>
                  <a:pt x="388968" y="31813"/>
                  <a:pt x="394292" y="31813"/>
                </a:cubicBezTo>
                <a:close/>
                <a:moveTo>
                  <a:pt x="361996" y="31813"/>
                </a:moveTo>
                <a:cubicBezTo>
                  <a:pt x="367321" y="31813"/>
                  <a:pt x="371637" y="36129"/>
                  <a:pt x="371637" y="41453"/>
                </a:cubicBezTo>
                <a:cubicBezTo>
                  <a:pt x="371637" y="46778"/>
                  <a:pt x="367321" y="51094"/>
                  <a:pt x="361996" y="51094"/>
                </a:cubicBezTo>
                <a:cubicBezTo>
                  <a:pt x="356672" y="51094"/>
                  <a:pt x="352356" y="46778"/>
                  <a:pt x="352356" y="41453"/>
                </a:cubicBezTo>
                <a:cubicBezTo>
                  <a:pt x="352356" y="36129"/>
                  <a:pt x="356672" y="31813"/>
                  <a:pt x="361996" y="31813"/>
                </a:cubicBezTo>
                <a:close/>
                <a:moveTo>
                  <a:pt x="329219" y="31813"/>
                </a:moveTo>
                <a:cubicBezTo>
                  <a:pt x="334544" y="31813"/>
                  <a:pt x="338860" y="36129"/>
                  <a:pt x="338860" y="41453"/>
                </a:cubicBezTo>
                <a:cubicBezTo>
                  <a:pt x="338860" y="46778"/>
                  <a:pt x="334544" y="51094"/>
                  <a:pt x="329219" y="51094"/>
                </a:cubicBezTo>
                <a:cubicBezTo>
                  <a:pt x="323895" y="51094"/>
                  <a:pt x="319579" y="46778"/>
                  <a:pt x="319579" y="41453"/>
                </a:cubicBezTo>
                <a:cubicBezTo>
                  <a:pt x="319579" y="36129"/>
                  <a:pt x="323895" y="31813"/>
                  <a:pt x="329219" y="31813"/>
                </a:cubicBezTo>
                <a:close/>
                <a:moveTo>
                  <a:pt x="296924" y="31813"/>
                </a:moveTo>
                <a:cubicBezTo>
                  <a:pt x="302249" y="31813"/>
                  <a:pt x="306565" y="36129"/>
                  <a:pt x="306565" y="41453"/>
                </a:cubicBezTo>
                <a:cubicBezTo>
                  <a:pt x="306565" y="46778"/>
                  <a:pt x="302249" y="51094"/>
                  <a:pt x="296924" y="51094"/>
                </a:cubicBezTo>
                <a:cubicBezTo>
                  <a:pt x="291600" y="51094"/>
                  <a:pt x="287284" y="46778"/>
                  <a:pt x="287284" y="41453"/>
                </a:cubicBezTo>
                <a:cubicBezTo>
                  <a:pt x="287284" y="36129"/>
                  <a:pt x="291600" y="31813"/>
                  <a:pt x="296924" y="31813"/>
                </a:cubicBezTo>
                <a:close/>
                <a:moveTo>
                  <a:pt x="264628" y="31813"/>
                </a:moveTo>
                <a:cubicBezTo>
                  <a:pt x="269953" y="31813"/>
                  <a:pt x="274269" y="36129"/>
                  <a:pt x="274269" y="41453"/>
                </a:cubicBezTo>
                <a:cubicBezTo>
                  <a:pt x="274269" y="46778"/>
                  <a:pt x="269953" y="51094"/>
                  <a:pt x="264628" y="51094"/>
                </a:cubicBezTo>
                <a:cubicBezTo>
                  <a:pt x="259304" y="51094"/>
                  <a:pt x="254988" y="46778"/>
                  <a:pt x="254988" y="41453"/>
                </a:cubicBezTo>
                <a:cubicBezTo>
                  <a:pt x="254988" y="36129"/>
                  <a:pt x="259304" y="31813"/>
                  <a:pt x="264628" y="31813"/>
                </a:cubicBezTo>
                <a:close/>
                <a:moveTo>
                  <a:pt x="232333" y="31813"/>
                </a:moveTo>
                <a:cubicBezTo>
                  <a:pt x="237657" y="31813"/>
                  <a:pt x="241974" y="36129"/>
                  <a:pt x="241974" y="41453"/>
                </a:cubicBezTo>
                <a:cubicBezTo>
                  <a:pt x="241974" y="46778"/>
                  <a:pt x="237657" y="51094"/>
                  <a:pt x="232333" y="51094"/>
                </a:cubicBezTo>
                <a:cubicBezTo>
                  <a:pt x="227009" y="51094"/>
                  <a:pt x="222693" y="46778"/>
                  <a:pt x="222693" y="41453"/>
                </a:cubicBezTo>
                <a:cubicBezTo>
                  <a:pt x="222693" y="36129"/>
                  <a:pt x="227009" y="31813"/>
                  <a:pt x="232333" y="31813"/>
                </a:cubicBezTo>
                <a:close/>
                <a:moveTo>
                  <a:pt x="200038" y="31813"/>
                </a:moveTo>
                <a:cubicBezTo>
                  <a:pt x="205362" y="31813"/>
                  <a:pt x="209679" y="36129"/>
                  <a:pt x="209679" y="41453"/>
                </a:cubicBezTo>
                <a:cubicBezTo>
                  <a:pt x="209679" y="46778"/>
                  <a:pt x="205362" y="51094"/>
                  <a:pt x="200038" y="51094"/>
                </a:cubicBezTo>
                <a:cubicBezTo>
                  <a:pt x="194714" y="51094"/>
                  <a:pt x="190398" y="46778"/>
                  <a:pt x="190398" y="41453"/>
                </a:cubicBezTo>
                <a:cubicBezTo>
                  <a:pt x="190398" y="36129"/>
                  <a:pt x="194714" y="31813"/>
                  <a:pt x="200038" y="31813"/>
                </a:cubicBezTo>
                <a:close/>
                <a:moveTo>
                  <a:pt x="167261" y="31813"/>
                </a:moveTo>
                <a:cubicBezTo>
                  <a:pt x="172585" y="31813"/>
                  <a:pt x="176902" y="36129"/>
                  <a:pt x="176902" y="41453"/>
                </a:cubicBezTo>
                <a:cubicBezTo>
                  <a:pt x="176902" y="46778"/>
                  <a:pt x="172585" y="51094"/>
                  <a:pt x="167261" y="51094"/>
                </a:cubicBezTo>
                <a:cubicBezTo>
                  <a:pt x="161937" y="51094"/>
                  <a:pt x="157621" y="46778"/>
                  <a:pt x="157621" y="41453"/>
                </a:cubicBezTo>
                <a:cubicBezTo>
                  <a:pt x="157621" y="36129"/>
                  <a:pt x="161937" y="31813"/>
                  <a:pt x="167261" y="31813"/>
                </a:cubicBezTo>
                <a:close/>
                <a:moveTo>
                  <a:pt x="134965" y="31813"/>
                </a:moveTo>
                <a:cubicBezTo>
                  <a:pt x="140289" y="31813"/>
                  <a:pt x="144606" y="36129"/>
                  <a:pt x="144606" y="41453"/>
                </a:cubicBezTo>
                <a:cubicBezTo>
                  <a:pt x="144606" y="46778"/>
                  <a:pt x="140289" y="51094"/>
                  <a:pt x="134965" y="51094"/>
                </a:cubicBezTo>
                <a:cubicBezTo>
                  <a:pt x="129641" y="51094"/>
                  <a:pt x="125325" y="46778"/>
                  <a:pt x="125325" y="41453"/>
                </a:cubicBezTo>
                <a:cubicBezTo>
                  <a:pt x="125325" y="36129"/>
                  <a:pt x="129641" y="31813"/>
                  <a:pt x="134965" y="31813"/>
                </a:cubicBezTo>
                <a:close/>
                <a:moveTo>
                  <a:pt x="102670" y="31813"/>
                </a:moveTo>
                <a:cubicBezTo>
                  <a:pt x="107995" y="31813"/>
                  <a:pt x="112311" y="36129"/>
                  <a:pt x="112311" y="41453"/>
                </a:cubicBezTo>
                <a:cubicBezTo>
                  <a:pt x="112311" y="46778"/>
                  <a:pt x="107995" y="51094"/>
                  <a:pt x="102670" y="51094"/>
                </a:cubicBezTo>
                <a:cubicBezTo>
                  <a:pt x="97346" y="51094"/>
                  <a:pt x="93030" y="46778"/>
                  <a:pt x="93030" y="41453"/>
                </a:cubicBezTo>
                <a:cubicBezTo>
                  <a:pt x="93030" y="36129"/>
                  <a:pt x="97346" y="31813"/>
                  <a:pt x="102670" y="31813"/>
                </a:cubicBezTo>
                <a:close/>
                <a:moveTo>
                  <a:pt x="70375" y="31813"/>
                </a:moveTo>
                <a:cubicBezTo>
                  <a:pt x="75700" y="31813"/>
                  <a:pt x="80016" y="36129"/>
                  <a:pt x="80016" y="41453"/>
                </a:cubicBezTo>
                <a:cubicBezTo>
                  <a:pt x="80016" y="46778"/>
                  <a:pt x="75700" y="51094"/>
                  <a:pt x="70375" y="51094"/>
                </a:cubicBezTo>
                <a:cubicBezTo>
                  <a:pt x="65051" y="51094"/>
                  <a:pt x="60735" y="46778"/>
                  <a:pt x="60735" y="41453"/>
                </a:cubicBezTo>
                <a:cubicBezTo>
                  <a:pt x="60735" y="36129"/>
                  <a:pt x="65051" y="31813"/>
                  <a:pt x="70375" y="31813"/>
                </a:cubicBezTo>
                <a:close/>
                <a:moveTo>
                  <a:pt x="38080" y="31813"/>
                </a:moveTo>
                <a:cubicBezTo>
                  <a:pt x="43405" y="31813"/>
                  <a:pt x="47721" y="36129"/>
                  <a:pt x="47721" y="41453"/>
                </a:cubicBezTo>
                <a:cubicBezTo>
                  <a:pt x="47721" y="46778"/>
                  <a:pt x="43405" y="51094"/>
                  <a:pt x="38080" y="51094"/>
                </a:cubicBezTo>
                <a:cubicBezTo>
                  <a:pt x="32756" y="51094"/>
                  <a:pt x="28440" y="46778"/>
                  <a:pt x="28440" y="41453"/>
                </a:cubicBezTo>
                <a:cubicBezTo>
                  <a:pt x="28440" y="36129"/>
                  <a:pt x="32756" y="31813"/>
                  <a:pt x="38080" y="31813"/>
                </a:cubicBezTo>
                <a:close/>
                <a:moveTo>
                  <a:pt x="5303" y="30849"/>
                </a:moveTo>
                <a:cubicBezTo>
                  <a:pt x="10123" y="31813"/>
                  <a:pt x="14944" y="36151"/>
                  <a:pt x="14944" y="41453"/>
                </a:cubicBezTo>
                <a:cubicBezTo>
                  <a:pt x="14944" y="46756"/>
                  <a:pt x="10605" y="51094"/>
                  <a:pt x="5303" y="51094"/>
                </a:cubicBezTo>
                <a:cubicBezTo>
                  <a:pt x="3375" y="51094"/>
                  <a:pt x="1929" y="50612"/>
                  <a:pt x="483" y="49648"/>
                </a:cubicBezTo>
                <a:lnTo>
                  <a:pt x="483" y="32295"/>
                </a:lnTo>
                <a:cubicBezTo>
                  <a:pt x="1929" y="31331"/>
                  <a:pt x="3375" y="30849"/>
                  <a:pt x="5303" y="30849"/>
                </a:cubicBezTo>
                <a:close/>
                <a:moveTo>
                  <a:pt x="581315" y="3374"/>
                </a:moveTo>
                <a:cubicBezTo>
                  <a:pt x="585653" y="7712"/>
                  <a:pt x="589027" y="13014"/>
                  <a:pt x="591437" y="18799"/>
                </a:cubicBezTo>
                <a:cubicBezTo>
                  <a:pt x="590473" y="19281"/>
                  <a:pt x="589509" y="19281"/>
                  <a:pt x="588545" y="19281"/>
                </a:cubicBezTo>
                <a:cubicBezTo>
                  <a:pt x="583243" y="19281"/>
                  <a:pt x="578905" y="14942"/>
                  <a:pt x="578905" y="9640"/>
                </a:cubicBezTo>
                <a:cubicBezTo>
                  <a:pt x="578905" y="7230"/>
                  <a:pt x="579869" y="5302"/>
                  <a:pt x="581315" y="3374"/>
                </a:cubicBezTo>
                <a:close/>
                <a:moveTo>
                  <a:pt x="9159" y="482"/>
                </a:moveTo>
                <a:cubicBezTo>
                  <a:pt x="12533" y="1928"/>
                  <a:pt x="14944" y="5302"/>
                  <a:pt x="14944" y="9640"/>
                </a:cubicBezTo>
                <a:cubicBezTo>
                  <a:pt x="14944" y="14943"/>
                  <a:pt x="10605" y="19281"/>
                  <a:pt x="5303" y="19281"/>
                </a:cubicBezTo>
                <a:cubicBezTo>
                  <a:pt x="3857" y="19281"/>
                  <a:pt x="1929" y="18799"/>
                  <a:pt x="483" y="18317"/>
                </a:cubicBezTo>
                <a:cubicBezTo>
                  <a:pt x="1447" y="11568"/>
                  <a:pt x="4339" y="5302"/>
                  <a:pt x="9159" y="482"/>
                </a:cubicBezTo>
                <a:close/>
                <a:moveTo>
                  <a:pt x="556250" y="0"/>
                </a:moveTo>
                <a:cubicBezTo>
                  <a:pt x="561575" y="0"/>
                  <a:pt x="565891" y="4316"/>
                  <a:pt x="565891" y="9640"/>
                </a:cubicBezTo>
                <a:cubicBezTo>
                  <a:pt x="565891" y="14965"/>
                  <a:pt x="561575" y="19281"/>
                  <a:pt x="556250" y="19281"/>
                </a:cubicBezTo>
                <a:cubicBezTo>
                  <a:pt x="550926" y="19281"/>
                  <a:pt x="546610" y="14965"/>
                  <a:pt x="546610" y="9640"/>
                </a:cubicBezTo>
                <a:cubicBezTo>
                  <a:pt x="546610" y="4316"/>
                  <a:pt x="550926" y="0"/>
                  <a:pt x="556250" y="0"/>
                </a:cubicBezTo>
                <a:close/>
                <a:moveTo>
                  <a:pt x="523955" y="0"/>
                </a:moveTo>
                <a:cubicBezTo>
                  <a:pt x="529279" y="0"/>
                  <a:pt x="533596" y="4316"/>
                  <a:pt x="533596" y="9640"/>
                </a:cubicBezTo>
                <a:cubicBezTo>
                  <a:pt x="533596" y="14965"/>
                  <a:pt x="529279" y="19281"/>
                  <a:pt x="523955" y="19281"/>
                </a:cubicBezTo>
                <a:cubicBezTo>
                  <a:pt x="518631" y="19281"/>
                  <a:pt x="514315" y="14965"/>
                  <a:pt x="514315" y="9640"/>
                </a:cubicBezTo>
                <a:cubicBezTo>
                  <a:pt x="514315" y="4316"/>
                  <a:pt x="518631" y="0"/>
                  <a:pt x="523955" y="0"/>
                </a:cubicBezTo>
                <a:close/>
                <a:moveTo>
                  <a:pt x="491177" y="0"/>
                </a:moveTo>
                <a:cubicBezTo>
                  <a:pt x="496502" y="0"/>
                  <a:pt x="500818" y="4316"/>
                  <a:pt x="500818" y="9640"/>
                </a:cubicBezTo>
                <a:cubicBezTo>
                  <a:pt x="500818" y="14965"/>
                  <a:pt x="496502" y="19281"/>
                  <a:pt x="491177" y="19281"/>
                </a:cubicBezTo>
                <a:cubicBezTo>
                  <a:pt x="485853" y="19281"/>
                  <a:pt x="481537" y="14965"/>
                  <a:pt x="481537" y="9640"/>
                </a:cubicBezTo>
                <a:cubicBezTo>
                  <a:pt x="481537" y="4316"/>
                  <a:pt x="485853" y="0"/>
                  <a:pt x="491177" y="0"/>
                </a:cubicBezTo>
                <a:close/>
                <a:moveTo>
                  <a:pt x="458882" y="0"/>
                </a:moveTo>
                <a:cubicBezTo>
                  <a:pt x="464206" y="0"/>
                  <a:pt x="468523" y="4316"/>
                  <a:pt x="468523" y="9640"/>
                </a:cubicBezTo>
                <a:cubicBezTo>
                  <a:pt x="468523" y="14965"/>
                  <a:pt x="464206" y="19281"/>
                  <a:pt x="458882" y="19281"/>
                </a:cubicBezTo>
                <a:cubicBezTo>
                  <a:pt x="453558" y="19281"/>
                  <a:pt x="449242" y="14965"/>
                  <a:pt x="449242" y="9640"/>
                </a:cubicBezTo>
                <a:cubicBezTo>
                  <a:pt x="449242" y="4316"/>
                  <a:pt x="453558" y="0"/>
                  <a:pt x="458882" y="0"/>
                </a:cubicBezTo>
                <a:close/>
                <a:moveTo>
                  <a:pt x="426587" y="0"/>
                </a:moveTo>
                <a:cubicBezTo>
                  <a:pt x="431911" y="0"/>
                  <a:pt x="436228" y="4316"/>
                  <a:pt x="436228" y="9640"/>
                </a:cubicBezTo>
                <a:cubicBezTo>
                  <a:pt x="436228" y="14965"/>
                  <a:pt x="431911" y="19281"/>
                  <a:pt x="426587" y="19281"/>
                </a:cubicBezTo>
                <a:cubicBezTo>
                  <a:pt x="421263" y="19281"/>
                  <a:pt x="416947" y="14965"/>
                  <a:pt x="416947" y="9640"/>
                </a:cubicBezTo>
                <a:cubicBezTo>
                  <a:pt x="416947" y="4316"/>
                  <a:pt x="421263" y="0"/>
                  <a:pt x="426587" y="0"/>
                </a:cubicBezTo>
                <a:close/>
                <a:moveTo>
                  <a:pt x="394292" y="0"/>
                </a:moveTo>
                <a:cubicBezTo>
                  <a:pt x="399617" y="0"/>
                  <a:pt x="403933" y="4316"/>
                  <a:pt x="403933" y="9640"/>
                </a:cubicBezTo>
                <a:cubicBezTo>
                  <a:pt x="403933" y="14965"/>
                  <a:pt x="399617" y="19281"/>
                  <a:pt x="394292" y="19281"/>
                </a:cubicBezTo>
                <a:cubicBezTo>
                  <a:pt x="388968" y="19281"/>
                  <a:pt x="384652" y="14965"/>
                  <a:pt x="384652" y="9640"/>
                </a:cubicBezTo>
                <a:cubicBezTo>
                  <a:pt x="384652" y="4316"/>
                  <a:pt x="388968" y="0"/>
                  <a:pt x="394292" y="0"/>
                </a:cubicBezTo>
                <a:close/>
                <a:moveTo>
                  <a:pt x="361996" y="0"/>
                </a:moveTo>
                <a:cubicBezTo>
                  <a:pt x="367321" y="0"/>
                  <a:pt x="371637" y="4316"/>
                  <a:pt x="371637" y="9640"/>
                </a:cubicBezTo>
                <a:cubicBezTo>
                  <a:pt x="371637" y="14965"/>
                  <a:pt x="367321" y="19281"/>
                  <a:pt x="361996" y="19281"/>
                </a:cubicBezTo>
                <a:cubicBezTo>
                  <a:pt x="356672" y="19281"/>
                  <a:pt x="352356" y="14965"/>
                  <a:pt x="352356" y="9640"/>
                </a:cubicBezTo>
                <a:cubicBezTo>
                  <a:pt x="352356" y="4316"/>
                  <a:pt x="356672" y="0"/>
                  <a:pt x="361996" y="0"/>
                </a:cubicBezTo>
                <a:close/>
                <a:moveTo>
                  <a:pt x="329219" y="0"/>
                </a:moveTo>
                <a:cubicBezTo>
                  <a:pt x="334544" y="0"/>
                  <a:pt x="338860" y="4316"/>
                  <a:pt x="338860" y="9640"/>
                </a:cubicBezTo>
                <a:cubicBezTo>
                  <a:pt x="338860" y="14965"/>
                  <a:pt x="334544" y="19281"/>
                  <a:pt x="329219" y="19281"/>
                </a:cubicBezTo>
                <a:cubicBezTo>
                  <a:pt x="323895" y="19281"/>
                  <a:pt x="319579" y="14965"/>
                  <a:pt x="319579" y="9640"/>
                </a:cubicBezTo>
                <a:cubicBezTo>
                  <a:pt x="319579" y="4316"/>
                  <a:pt x="323895" y="0"/>
                  <a:pt x="329219" y="0"/>
                </a:cubicBezTo>
                <a:close/>
                <a:moveTo>
                  <a:pt x="296924" y="0"/>
                </a:moveTo>
                <a:cubicBezTo>
                  <a:pt x="302249" y="0"/>
                  <a:pt x="306565" y="4316"/>
                  <a:pt x="306565" y="9640"/>
                </a:cubicBezTo>
                <a:cubicBezTo>
                  <a:pt x="306565" y="14965"/>
                  <a:pt x="302249" y="19281"/>
                  <a:pt x="296924" y="19281"/>
                </a:cubicBezTo>
                <a:cubicBezTo>
                  <a:pt x="291600" y="19281"/>
                  <a:pt x="287284" y="14965"/>
                  <a:pt x="287284" y="9640"/>
                </a:cubicBezTo>
                <a:cubicBezTo>
                  <a:pt x="287284" y="4316"/>
                  <a:pt x="291600" y="0"/>
                  <a:pt x="296924" y="0"/>
                </a:cubicBezTo>
                <a:close/>
                <a:moveTo>
                  <a:pt x="264628" y="0"/>
                </a:moveTo>
                <a:cubicBezTo>
                  <a:pt x="269953" y="0"/>
                  <a:pt x="274269" y="4316"/>
                  <a:pt x="274269" y="9640"/>
                </a:cubicBezTo>
                <a:cubicBezTo>
                  <a:pt x="274269" y="14965"/>
                  <a:pt x="269953" y="19281"/>
                  <a:pt x="264628" y="19281"/>
                </a:cubicBezTo>
                <a:cubicBezTo>
                  <a:pt x="259304" y="19281"/>
                  <a:pt x="254988" y="14965"/>
                  <a:pt x="254988" y="9640"/>
                </a:cubicBezTo>
                <a:cubicBezTo>
                  <a:pt x="254988" y="4316"/>
                  <a:pt x="259304" y="0"/>
                  <a:pt x="264628" y="0"/>
                </a:cubicBezTo>
                <a:close/>
                <a:moveTo>
                  <a:pt x="232333" y="0"/>
                </a:moveTo>
                <a:cubicBezTo>
                  <a:pt x="237657" y="0"/>
                  <a:pt x="241974" y="4316"/>
                  <a:pt x="241974" y="9640"/>
                </a:cubicBezTo>
                <a:cubicBezTo>
                  <a:pt x="241974" y="14965"/>
                  <a:pt x="237657" y="19281"/>
                  <a:pt x="232333" y="19281"/>
                </a:cubicBezTo>
                <a:cubicBezTo>
                  <a:pt x="227009" y="19281"/>
                  <a:pt x="222693" y="14965"/>
                  <a:pt x="222693" y="9640"/>
                </a:cubicBezTo>
                <a:cubicBezTo>
                  <a:pt x="222693" y="4316"/>
                  <a:pt x="227009" y="0"/>
                  <a:pt x="232333" y="0"/>
                </a:cubicBezTo>
                <a:close/>
                <a:moveTo>
                  <a:pt x="200038" y="0"/>
                </a:moveTo>
                <a:cubicBezTo>
                  <a:pt x="205362" y="0"/>
                  <a:pt x="209679" y="4316"/>
                  <a:pt x="209679" y="9640"/>
                </a:cubicBezTo>
                <a:cubicBezTo>
                  <a:pt x="209679" y="14965"/>
                  <a:pt x="205362" y="19281"/>
                  <a:pt x="200038" y="19281"/>
                </a:cubicBezTo>
                <a:cubicBezTo>
                  <a:pt x="194714" y="19281"/>
                  <a:pt x="190398" y="14965"/>
                  <a:pt x="190398" y="9640"/>
                </a:cubicBezTo>
                <a:cubicBezTo>
                  <a:pt x="190398" y="4316"/>
                  <a:pt x="194714" y="0"/>
                  <a:pt x="200038" y="0"/>
                </a:cubicBezTo>
                <a:close/>
                <a:moveTo>
                  <a:pt x="167261" y="0"/>
                </a:moveTo>
                <a:cubicBezTo>
                  <a:pt x="172585" y="0"/>
                  <a:pt x="176902" y="4316"/>
                  <a:pt x="176902" y="9640"/>
                </a:cubicBezTo>
                <a:cubicBezTo>
                  <a:pt x="176902" y="14965"/>
                  <a:pt x="172585" y="19281"/>
                  <a:pt x="167261" y="19281"/>
                </a:cubicBezTo>
                <a:cubicBezTo>
                  <a:pt x="161937" y="19281"/>
                  <a:pt x="157621" y="14965"/>
                  <a:pt x="157621" y="9640"/>
                </a:cubicBezTo>
                <a:cubicBezTo>
                  <a:pt x="157621" y="4316"/>
                  <a:pt x="161937" y="0"/>
                  <a:pt x="167261" y="0"/>
                </a:cubicBezTo>
                <a:close/>
                <a:moveTo>
                  <a:pt x="134965" y="0"/>
                </a:moveTo>
                <a:cubicBezTo>
                  <a:pt x="140289" y="0"/>
                  <a:pt x="144606" y="4316"/>
                  <a:pt x="144606" y="9640"/>
                </a:cubicBezTo>
                <a:cubicBezTo>
                  <a:pt x="144606" y="14965"/>
                  <a:pt x="140289" y="19281"/>
                  <a:pt x="134965" y="19281"/>
                </a:cubicBezTo>
                <a:cubicBezTo>
                  <a:pt x="129641" y="19281"/>
                  <a:pt x="125325" y="14965"/>
                  <a:pt x="125325" y="9640"/>
                </a:cubicBezTo>
                <a:cubicBezTo>
                  <a:pt x="125325" y="4316"/>
                  <a:pt x="129641" y="0"/>
                  <a:pt x="134965" y="0"/>
                </a:cubicBezTo>
                <a:close/>
                <a:moveTo>
                  <a:pt x="102670" y="0"/>
                </a:moveTo>
                <a:cubicBezTo>
                  <a:pt x="107995" y="0"/>
                  <a:pt x="112311" y="4316"/>
                  <a:pt x="112311" y="9640"/>
                </a:cubicBezTo>
                <a:cubicBezTo>
                  <a:pt x="112311" y="14965"/>
                  <a:pt x="107995" y="19281"/>
                  <a:pt x="102670" y="19281"/>
                </a:cubicBezTo>
                <a:cubicBezTo>
                  <a:pt x="97346" y="19281"/>
                  <a:pt x="93030" y="14965"/>
                  <a:pt x="93030" y="9640"/>
                </a:cubicBezTo>
                <a:cubicBezTo>
                  <a:pt x="93030" y="4316"/>
                  <a:pt x="97346" y="0"/>
                  <a:pt x="102670" y="0"/>
                </a:cubicBezTo>
                <a:close/>
                <a:moveTo>
                  <a:pt x="70375" y="0"/>
                </a:moveTo>
                <a:cubicBezTo>
                  <a:pt x="75700" y="0"/>
                  <a:pt x="80016" y="4316"/>
                  <a:pt x="80016" y="9640"/>
                </a:cubicBezTo>
                <a:cubicBezTo>
                  <a:pt x="80016" y="14965"/>
                  <a:pt x="75700" y="19281"/>
                  <a:pt x="70375" y="19281"/>
                </a:cubicBezTo>
                <a:cubicBezTo>
                  <a:pt x="65051" y="19281"/>
                  <a:pt x="60735" y="14965"/>
                  <a:pt x="60735" y="9640"/>
                </a:cubicBezTo>
                <a:cubicBezTo>
                  <a:pt x="60735" y="4316"/>
                  <a:pt x="65051" y="0"/>
                  <a:pt x="70375" y="0"/>
                </a:cubicBezTo>
                <a:close/>
                <a:moveTo>
                  <a:pt x="38080" y="0"/>
                </a:moveTo>
                <a:cubicBezTo>
                  <a:pt x="43405" y="0"/>
                  <a:pt x="47721" y="4316"/>
                  <a:pt x="47721" y="9640"/>
                </a:cubicBezTo>
                <a:cubicBezTo>
                  <a:pt x="47721" y="14965"/>
                  <a:pt x="43405" y="19281"/>
                  <a:pt x="38080" y="19281"/>
                </a:cubicBezTo>
                <a:cubicBezTo>
                  <a:pt x="32756" y="19281"/>
                  <a:pt x="28440" y="14965"/>
                  <a:pt x="28440" y="9640"/>
                </a:cubicBezTo>
                <a:cubicBezTo>
                  <a:pt x="28440" y="4316"/>
                  <a:pt x="32756" y="0"/>
                  <a:pt x="38080" y="0"/>
                </a:cubicBezTo>
                <a:close/>
              </a:path>
            </a:pathLst>
          </a:custGeom>
          <a:solidFill>
            <a:srgbClr val="00BCEA"/>
          </a:solidFill>
          <a:ln w="4820" cap="flat">
            <a:noFill/>
            <a:prstDash val="solid"/>
            <a:miter/>
          </a:ln>
        </p:spPr>
        <p:txBody>
          <a:bodyPr rtlCol="0" anchor="ctr"/>
          <a:lstStyle/>
          <a:p>
            <a:endParaRPr lang="en-US" dirty="0"/>
          </a:p>
        </p:txBody>
      </p:sp>
      <p:grpSp>
        <p:nvGrpSpPr>
          <p:cNvPr id="236" name="Group 235">
            <a:extLst>
              <a:ext uri="{FF2B5EF4-FFF2-40B4-BE49-F238E27FC236}">
                <a16:creationId xmlns:a16="http://schemas.microsoft.com/office/drawing/2014/main" id="{98A3F127-3F40-4689-8D59-33AA7A6C0761}"/>
              </a:ext>
            </a:extLst>
          </p:cNvPr>
          <p:cNvGrpSpPr/>
          <p:nvPr/>
        </p:nvGrpSpPr>
        <p:grpSpPr>
          <a:xfrm rot="4321642">
            <a:off x="1573169" y="2616566"/>
            <a:ext cx="1023270" cy="976694"/>
            <a:chOff x="438434" y="314912"/>
            <a:chExt cx="1318735" cy="1258728"/>
          </a:xfrm>
          <a:solidFill>
            <a:schemeClr val="tx1">
              <a:lumMod val="25000"/>
              <a:lumOff val="75000"/>
            </a:schemeClr>
          </a:solidFill>
        </p:grpSpPr>
        <p:sp>
          <p:nvSpPr>
            <p:cNvPr id="237" name="Freeform: Shape 236">
              <a:extLst>
                <a:ext uri="{FF2B5EF4-FFF2-40B4-BE49-F238E27FC236}">
                  <a16:creationId xmlns:a16="http://schemas.microsoft.com/office/drawing/2014/main" id="{216650CA-DA77-4655-82EE-1F87291399BD}"/>
                </a:ext>
              </a:extLst>
            </p:cNvPr>
            <p:cNvSpPr/>
            <p:nvPr/>
          </p:nvSpPr>
          <p:spPr>
            <a:xfrm flipH="1">
              <a:off x="1697162" y="314912"/>
              <a:ext cx="60007" cy="60007"/>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38" name="Freeform: Shape 237">
              <a:extLst>
                <a:ext uri="{FF2B5EF4-FFF2-40B4-BE49-F238E27FC236}">
                  <a16:creationId xmlns:a16="http://schemas.microsoft.com/office/drawing/2014/main" id="{E5FCD0DE-6B4C-4A3A-AC06-37EB91022970}"/>
                </a:ext>
              </a:extLst>
            </p:cNvPr>
            <p:cNvSpPr/>
            <p:nvPr/>
          </p:nvSpPr>
          <p:spPr>
            <a:xfrm flipH="1">
              <a:off x="1590007" y="317007"/>
              <a:ext cx="60007" cy="60007"/>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39" name="Freeform: Shape 238">
              <a:extLst>
                <a:ext uri="{FF2B5EF4-FFF2-40B4-BE49-F238E27FC236}">
                  <a16:creationId xmlns:a16="http://schemas.microsoft.com/office/drawing/2014/main" id="{F0BDA0DD-0A6C-4938-8CFC-3643E9FBFC9C}"/>
                </a:ext>
              </a:extLst>
            </p:cNvPr>
            <p:cNvSpPr/>
            <p:nvPr/>
          </p:nvSpPr>
          <p:spPr>
            <a:xfrm flipH="1">
              <a:off x="1483422" y="328342"/>
              <a:ext cx="60007" cy="60007"/>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240" name="Freeform: Shape 239">
              <a:extLst>
                <a:ext uri="{FF2B5EF4-FFF2-40B4-BE49-F238E27FC236}">
                  <a16:creationId xmlns:a16="http://schemas.microsoft.com/office/drawing/2014/main" id="{FB7DEC56-A33E-46B6-906A-8A4C68916DF1}"/>
                </a:ext>
              </a:extLst>
            </p:cNvPr>
            <p:cNvSpPr/>
            <p:nvPr/>
          </p:nvSpPr>
          <p:spPr>
            <a:xfrm flipH="1">
              <a:off x="1378170" y="349011"/>
              <a:ext cx="60007" cy="60007"/>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endParaRPr lang="en-US" dirty="0"/>
            </a:p>
          </p:txBody>
        </p:sp>
        <p:sp>
          <p:nvSpPr>
            <p:cNvPr id="241" name="Freeform: Shape 240">
              <a:extLst>
                <a:ext uri="{FF2B5EF4-FFF2-40B4-BE49-F238E27FC236}">
                  <a16:creationId xmlns:a16="http://schemas.microsoft.com/office/drawing/2014/main" id="{3A4360BB-F8A4-4768-BB5D-EA693C6B5F14}"/>
                </a:ext>
              </a:extLst>
            </p:cNvPr>
            <p:cNvSpPr/>
            <p:nvPr/>
          </p:nvSpPr>
          <p:spPr>
            <a:xfrm flipH="1">
              <a:off x="1275110" y="378729"/>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42" name="Freeform: Shape 241">
              <a:extLst>
                <a:ext uri="{FF2B5EF4-FFF2-40B4-BE49-F238E27FC236}">
                  <a16:creationId xmlns:a16="http://schemas.microsoft.com/office/drawing/2014/main" id="{07FA85C5-867C-4A78-8317-A7F7C2C96245}"/>
                </a:ext>
              </a:extLst>
            </p:cNvPr>
            <p:cNvSpPr/>
            <p:nvPr/>
          </p:nvSpPr>
          <p:spPr>
            <a:xfrm flipH="1">
              <a:off x="1175097" y="417401"/>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43" name="Freeform: Shape 242">
              <a:extLst>
                <a:ext uri="{FF2B5EF4-FFF2-40B4-BE49-F238E27FC236}">
                  <a16:creationId xmlns:a16="http://schemas.microsoft.com/office/drawing/2014/main" id="{50A5BC5B-1340-4AFB-86CF-AFDABF980B89}"/>
                </a:ext>
              </a:extLst>
            </p:cNvPr>
            <p:cNvSpPr/>
            <p:nvPr/>
          </p:nvSpPr>
          <p:spPr>
            <a:xfrm flipH="1">
              <a:off x="1078800" y="464549"/>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44" name="Freeform: Shape 243">
              <a:extLst>
                <a:ext uri="{FF2B5EF4-FFF2-40B4-BE49-F238E27FC236}">
                  <a16:creationId xmlns:a16="http://schemas.microsoft.com/office/drawing/2014/main" id="{C26719A1-EDDF-4B22-AE99-3E664E2C1D5B}"/>
                </a:ext>
              </a:extLst>
            </p:cNvPr>
            <p:cNvSpPr/>
            <p:nvPr/>
          </p:nvSpPr>
          <p:spPr>
            <a:xfrm flipH="1">
              <a:off x="986979" y="519890"/>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45" name="Freeform: Shape 244">
              <a:extLst>
                <a:ext uri="{FF2B5EF4-FFF2-40B4-BE49-F238E27FC236}">
                  <a16:creationId xmlns:a16="http://schemas.microsoft.com/office/drawing/2014/main" id="{AF5C978F-0332-4129-BD72-A500340752F6}"/>
                </a:ext>
              </a:extLst>
            </p:cNvPr>
            <p:cNvSpPr/>
            <p:nvPr/>
          </p:nvSpPr>
          <p:spPr>
            <a:xfrm flipH="1">
              <a:off x="900396" y="583136"/>
              <a:ext cx="60007" cy="60007"/>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endParaRPr lang="en-US" dirty="0"/>
            </a:p>
          </p:txBody>
        </p:sp>
        <p:sp>
          <p:nvSpPr>
            <p:cNvPr id="246" name="Freeform: Shape 245">
              <a:extLst>
                <a:ext uri="{FF2B5EF4-FFF2-40B4-BE49-F238E27FC236}">
                  <a16:creationId xmlns:a16="http://schemas.microsoft.com/office/drawing/2014/main" id="{D27B6481-395F-4481-93DB-BEC117ADFF7E}"/>
                </a:ext>
              </a:extLst>
            </p:cNvPr>
            <p:cNvSpPr/>
            <p:nvPr/>
          </p:nvSpPr>
          <p:spPr>
            <a:xfrm flipH="1">
              <a:off x="819529" y="653621"/>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47" name="Freeform: Shape 246">
              <a:extLst>
                <a:ext uri="{FF2B5EF4-FFF2-40B4-BE49-F238E27FC236}">
                  <a16:creationId xmlns:a16="http://schemas.microsoft.com/office/drawing/2014/main" id="{D3E8FBD9-CECB-4467-81BD-68D5945E44F0}"/>
                </a:ext>
              </a:extLst>
            </p:cNvPr>
            <p:cNvSpPr/>
            <p:nvPr/>
          </p:nvSpPr>
          <p:spPr>
            <a:xfrm flipH="1">
              <a:off x="745234" y="730868"/>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248" name="Freeform: Shape 247">
              <a:extLst>
                <a:ext uri="{FF2B5EF4-FFF2-40B4-BE49-F238E27FC236}">
                  <a16:creationId xmlns:a16="http://schemas.microsoft.com/office/drawing/2014/main" id="{25309C6F-E2D9-4CC9-8F7B-A5979E560066}"/>
                </a:ext>
              </a:extLst>
            </p:cNvPr>
            <p:cNvSpPr/>
            <p:nvPr/>
          </p:nvSpPr>
          <p:spPr>
            <a:xfrm flipH="1">
              <a:off x="677892" y="814307"/>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249" name="Freeform: Shape 248">
              <a:extLst>
                <a:ext uri="{FF2B5EF4-FFF2-40B4-BE49-F238E27FC236}">
                  <a16:creationId xmlns:a16="http://schemas.microsoft.com/office/drawing/2014/main" id="{D1D91574-8383-4751-B08F-81579F4FD6F2}"/>
                </a:ext>
              </a:extLst>
            </p:cNvPr>
            <p:cNvSpPr/>
            <p:nvPr/>
          </p:nvSpPr>
          <p:spPr>
            <a:xfrm flipH="1">
              <a:off x="618075" y="903271"/>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50" name="Freeform: Shape 249">
              <a:extLst>
                <a:ext uri="{FF2B5EF4-FFF2-40B4-BE49-F238E27FC236}">
                  <a16:creationId xmlns:a16="http://schemas.microsoft.com/office/drawing/2014/main" id="{2F3B621B-C24B-4804-A3EF-52730D3A750C}"/>
                </a:ext>
              </a:extLst>
            </p:cNvPr>
            <p:cNvSpPr/>
            <p:nvPr/>
          </p:nvSpPr>
          <p:spPr>
            <a:xfrm flipH="1">
              <a:off x="566259" y="997187"/>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51" name="Freeform: Shape 250">
              <a:extLst>
                <a:ext uri="{FF2B5EF4-FFF2-40B4-BE49-F238E27FC236}">
                  <a16:creationId xmlns:a16="http://schemas.microsoft.com/office/drawing/2014/main" id="{DD106FA5-33E3-4313-9790-F1F253589A2A}"/>
                </a:ext>
              </a:extLst>
            </p:cNvPr>
            <p:cNvSpPr/>
            <p:nvPr/>
          </p:nvSpPr>
          <p:spPr>
            <a:xfrm flipH="1">
              <a:off x="522825" y="1095200"/>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52" name="Freeform: Shape 251">
              <a:extLst>
                <a:ext uri="{FF2B5EF4-FFF2-40B4-BE49-F238E27FC236}">
                  <a16:creationId xmlns:a16="http://schemas.microsoft.com/office/drawing/2014/main" id="{1C6B5988-4721-4F3A-BFF8-70D035C296D8}"/>
                </a:ext>
              </a:extLst>
            </p:cNvPr>
            <p:cNvSpPr/>
            <p:nvPr/>
          </p:nvSpPr>
          <p:spPr>
            <a:xfrm flipH="1">
              <a:off x="488059" y="1196641"/>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53" name="Freeform: Shape 252">
              <a:extLst>
                <a:ext uri="{FF2B5EF4-FFF2-40B4-BE49-F238E27FC236}">
                  <a16:creationId xmlns:a16="http://schemas.microsoft.com/office/drawing/2014/main" id="{942B04F4-92B0-453A-8C07-873D2FCEC440}"/>
                </a:ext>
              </a:extLst>
            </p:cNvPr>
            <p:cNvSpPr/>
            <p:nvPr/>
          </p:nvSpPr>
          <p:spPr>
            <a:xfrm flipH="1">
              <a:off x="462342" y="1300749"/>
              <a:ext cx="60007" cy="60007"/>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endParaRPr lang="en-US" dirty="0"/>
            </a:p>
          </p:txBody>
        </p:sp>
        <p:sp>
          <p:nvSpPr>
            <p:cNvPr id="254" name="Freeform: Shape 253">
              <a:extLst>
                <a:ext uri="{FF2B5EF4-FFF2-40B4-BE49-F238E27FC236}">
                  <a16:creationId xmlns:a16="http://schemas.microsoft.com/office/drawing/2014/main" id="{C4D97346-9227-49C9-B377-C902A19F9C6B}"/>
                </a:ext>
              </a:extLst>
            </p:cNvPr>
            <p:cNvSpPr/>
            <p:nvPr/>
          </p:nvSpPr>
          <p:spPr>
            <a:xfrm flipH="1">
              <a:off x="445768" y="1406667"/>
              <a:ext cx="60007" cy="60007"/>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55" name="Freeform: Shape 254">
              <a:extLst>
                <a:ext uri="{FF2B5EF4-FFF2-40B4-BE49-F238E27FC236}">
                  <a16:creationId xmlns:a16="http://schemas.microsoft.com/office/drawing/2014/main" id="{F6B323D1-E858-4E18-B01A-69F8130A57E8}"/>
                </a:ext>
              </a:extLst>
            </p:cNvPr>
            <p:cNvSpPr/>
            <p:nvPr/>
          </p:nvSpPr>
          <p:spPr>
            <a:xfrm flipH="1">
              <a:off x="438434" y="1513633"/>
              <a:ext cx="60007" cy="60007"/>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endParaRPr lang="en-US" dirty="0"/>
            </a:p>
          </p:txBody>
        </p:sp>
        <p:sp>
          <p:nvSpPr>
            <p:cNvPr id="256" name="Freeform: Shape 255">
              <a:extLst>
                <a:ext uri="{FF2B5EF4-FFF2-40B4-BE49-F238E27FC236}">
                  <a16:creationId xmlns:a16="http://schemas.microsoft.com/office/drawing/2014/main" id="{CC32855F-4DD9-4BDB-B6A7-DD40C6BE9B42}"/>
                </a:ext>
              </a:extLst>
            </p:cNvPr>
            <p:cNvSpPr/>
            <p:nvPr/>
          </p:nvSpPr>
          <p:spPr>
            <a:xfrm flipH="1">
              <a:off x="438434" y="1513633"/>
              <a:ext cx="60007" cy="60007"/>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endParaRPr lang="en-US" dirty="0"/>
            </a:p>
          </p:txBody>
        </p:sp>
        <p:sp>
          <p:nvSpPr>
            <p:cNvPr id="257" name="Freeform: Shape 256">
              <a:extLst>
                <a:ext uri="{FF2B5EF4-FFF2-40B4-BE49-F238E27FC236}">
                  <a16:creationId xmlns:a16="http://schemas.microsoft.com/office/drawing/2014/main" id="{79A5D251-18CC-4295-A08A-7C835F7BF031}"/>
                </a:ext>
              </a:extLst>
            </p:cNvPr>
            <p:cNvSpPr/>
            <p:nvPr/>
          </p:nvSpPr>
          <p:spPr>
            <a:xfrm flipH="1">
              <a:off x="1663999" y="476138"/>
              <a:ext cx="53320" cy="53320"/>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58" name="Freeform: Shape 257">
              <a:extLst>
                <a:ext uri="{FF2B5EF4-FFF2-40B4-BE49-F238E27FC236}">
                  <a16:creationId xmlns:a16="http://schemas.microsoft.com/office/drawing/2014/main" id="{B8E31ADF-A488-4A00-9BE0-308CB9AA6855}"/>
                </a:ext>
              </a:extLst>
            </p:cNvPr>
            <p:cNvSpPr/>
            <p:nvPr/>
          </p:nvSpPr>
          <p:spPr>
            <a:xfrm flipH="1">
              <a:off x="1569292" y="486210"/>
              <a:ext cx="53320" cy="53320"/>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259" name="Freeform: Shape 258">
              <a:extLst>
                <a:ext uri="{FF2B5EF4-FFF2-40B4-BE49-F238E27FC236}">
                  <a16:creationId xmlns:a16="http://schemas.microsoft.com/office/drawing/2014/main" id="{16832755-E630-4A56-8A1E-555C46A59BD4}"/>
                </a:ext>
              </a:extLst>
            </p:cNvPr>
            <p:cNvSpPr/>
            <p:nvPr/>
          </p:nvSpPr>
          <p:spPr>
            <a:xfrm flipH="1">
              <a:off x="1475769" y="504576"/>
              <a:ext cx="53320" cy="53320"/>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endParaRPr lang="en-US" dirty="0"/>
            </a:p>
          </p:txBody>
        </p:sp>
        <p:sp>
          <p:nvSpPr>
            <p:cNvPr id="260" name="Freeform: Shape 259">
              <a:extLst>
                <a:ext uri="{FF2B5EF4-FFF2-40B4-BE49-F238E27FC236}">
                  <a16:creationId xmlns:a16="http://schemas.microsoft.com/office/drawing/2014/main" id="{DF0970FD-0439-4461-BD45-2A9CAB69D9B1}"/>
                </a:ext>
              </a:extLst>
            </p:cNvPr>
            <p:cNvSpPr/>
            <p:nvPr/>
          </p:nvSpPr>
          <p:spPr>
            <a:xfrm flipH="1">
              <a:off x="1384193" y="530982"/>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61" name="Freeform: Shape 260">
              <a:extLst>
                <a:ext uri="{FF2B5EF4-FFF2-40B4-BE49-F238E27FC236}">
                  <a16:creationId xmlns:a16="http://schemas.microsoft.com/office/drawing/2014/main" id="{E1F2AD66-4C2D-42CD-A026-D24E41AEE85A}"/>
                </a:ext>
              </a:extLst>
            </p:cNvPr>
            <p:cNvSpPr/>
            <p:nvPr/>
          </p:nvSpPr>
          <p:spPr>
            <a:xfrm flipH="1">
              <a:off x="1295325" y="565344"/>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62" name="Freeform: Shape 261">
              <a:extLst>
                <a:ext uri="{FF2B5EF4-FFF2-40B4-BE49-F238E27FC236}">
                  <a16:creationId xmlns:a16="http://schemas.microsoft.com/office/drawing/2014/main" id="{480D5EC1-F28F-4129-8C7B-F75588BF8832}"/>
                </a:ext>
              </a:extLst>
            </p:cNvPr>
            <p:cNvSpPr/>
            <p:nvPr/>
          </p:nvSpPr>
          <p:spPr>
            <a:xfrm flipH="1">
              <a:off x="1209760" y="607238"/>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63" name="Freeform: Shape 262">
              <a:extLst>
                <a:ext uri="{FF2B5EF4-FFF2-40B4-BE49-F238E27FC236}">
                  <a16:creationId xmlns:a16="http://schemas.microsoft.com/office/drawing/2014/main" id="{100B6DF1-5762-46BB-BF1E-0FCEC9538625}"/>
                </a:ext>
              </a:extLst>
            </p:cNvPr>
            <p:cNvSpPr/>
            <p:nvPr/>
          </p:nvSpPr>
          <p:spPr>
            <a:xfrm flipH="1">
              <a:off x="1128171" y="656412"/>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64" name="Freeform: Shape 263">
              <a:extLst>
                <a:ext uri="{FF2B5EF4-FFF2-40B4-BE49-F238E27FC236}">
                  <a16:creationId xmlns:a16="http://schemas.microsoft.com/office/drawing/2014/main" id="{48FA3075-D1A4-4D52-9849-550C3A4549C0}"/>
                </a:ext>
              </a:extLst>
            </p:cNvPr>
            <p:cNvSpPr/>
            <p:nvPr/>
          </p:nvSpPr>
          <p:spPr>
            <a:xfrm flipH="1">
              <a:off x="1051236" y="712610"/>
              <a:ext cx="53320" cy="53320"/>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endParaRPr lang="en-US" dirty="0"/>
            </a:p>
          </p:txBody>
        </p:sp>
        <p:sp>
          <p:nvSpPr>
            <p:cNvPr id="265" name="Freeform: Shape 264">
              <a:extLst>
                <a:ext uri="{FF2B5EF4-FFF2-40B4-BE49-F238E27FC236}">
                  <a16:creationId xmlns:a16="http://schemas.microsoft.com/office/drawing/2014/main" id="{71222E06-24D5-43BD-A39C-D41E2C240888}"/>
                </a:ext>
              </a:extLst>
            </p:cNvPr>
            <p:cNvSpPr/>
            <p:nvPr/>
          </p:nvSpPr>
          <p:spPr>
            <a:xfrm flipH="1">
              <a:off x="979381" y="775241"/>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66" name="Freeform: Shape 265">
              <a:extLst>
                <a:ext uri="{FF2B5EF4-FFF2-40B4-BE49-F238E27FC236}">
                  <a16:creationId xmlns:a16="http://schemas.microsoft.com/office/drawing/2014/main" id="{59FB726D-0D15-493A-A06A-F14FE8D8B8A8}"/>
                </a:ext>
              </a:extLst>
            </p:cNvPr>
            <p:cNvSpPr/>
            <p:nvPr/>
          </p:nvSpPr>
          <p:spPr>
            <a:xfrm flipH="1">
              <a:off x="913365" y="843880"/>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267" name="Freeform: Shape 266">
              <a:extLst>
                <a:ext uri="{FF2B5EF4-FFF2-40B4-BE49-F238E27FC236}">
                  <a16:creationId xmlns:a16="http://schemas.microsoft.com/office/drawing/2014/main" id="{18E3556C-A7D3-466D-BF2D-F6C1E4BE9BBD}"/>
                </a:ext>
              </a:extLst>
            </p:cNvPr>
            <p:cNvSpPr/>
            <p:nvPr/>
          </p:nvSpPr>
          <p:spPr>
            <a:xfrm flipH="1">
              <a:off x="853528" y="918021"/>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268" name="Freeform: Shape 267">
              <a:extLst>
                <a:ext uri="{FF2B5EF4-FFF2-40B4-BE49-F238E27FC236}">
                  <a16:creationId xmlns:a16="http://schemas.microsoft.com/office/drawing/2014/main" id="{D1C6C5C2-BAD7-4DFE-B633-7D7843D01406}"/>
                </a:ext>
              </a:extLst>
            </p:cNvPr>
            <p:cNvSpPr/>
            <p:nvPr/>
          </p:nvSpPr>
          <p:spPr>
            <a:xfrm flipH="1">
              <a:off x="800377" y="997071"/>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69" name="Freeform: Shape 268">
              <a:extLst>
                <a:ext uri="{FF2B5EF4-FFF2-40B4-BE49-F238E27FC236}">
                  <a16:creationId xmlns:a16="http://schemas.microsoft.com/office/drawing/2014/main" id="{C5E33058-BB19-47BE-816C-35D5B717FB83}"/>
                </a:ext>
              </a:extLst>
            </p:cNvPr>
            <p:cNvSpPr/>
            <p:nvPr/>
          </p:nvSpPr>
          <p:spPr>
            <a:xfrm flipH="1">
              <a:off x="754335" y="1080521"/>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70" name="Freeform: Shape 269">
              <a:extLst>
                <a:ext uri="{FF2B5EF4-FFF2-40B4-BE49-F238E27FC236}">
                  <a16:creationId xmlns:a16="http://schemas.microsoft.com/office/drawing/2014/main" id="{AAD5742E-5A49-484A-BBD4-DFE04C791943}"/>
                </a:ext>
              </a:extLst>
            </p:cNvPr>
            <p:cNvSpPr/>
            <p:nvPr/>
          </p:nvSpPr>
          <p:spPr>
            <a:xfrm flipH="1">
              <a:off x="715741" y="1167612"/>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71" name="Freeform: Shape 270">
              <a:extLst>
                <a:ext uri="{FF2B5EF4-FFF2-40B4-BE49-F238E27FC236}">
                  <a16:creationId xmlns:a16="http://schemas.microsoft.com/office/drawing/2014/main" id="{EC106C4F-43D5-4BE7-B6D0-FA0B2B197C24}"/>
                </a:ext>
              </a:extLst>
            </p:cNvPr>
            <p:cNvSpPr/>
            <p:nvPr/>
          </p:nvSpPr>
          <p:spPr>
            <a:xfrm flipH="1">
              <a:off x="684849" y="1257749"/>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72" name="Freeform: Shape 271">
              <a:extLst>
                <a:ext uri="{FF2B5EF4-FFF2-40B4-BE49-F238E27FC236}">
                  <a16:creationId xmlns:a16="http://schemas.microsoft.com/office/drawing/2014/main" id="{1556C057-0937-4C33-A954-6AF7DBCBEFD0}"/>
                </a:ext>
              </a:extLst>
            </p:cNvPr>
            <p:cNvSpPr/>
            <p:nvPr/>
          </p:nvSpPr>
          <p:spPr>
            <a:xfrm flipH="1">
              <a:off x="661998" y="1350255"/>
              <a:ext cx="53320" cy="53320"/>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endParaRPr lang="en-US" dirty="0"/>
            </a:p>
          </p:txBody>
        </p:sp>
        <p:sp>
          <p:nvSpPr>
            <p:cNvPr id="273" name="Freeform: Shape 272">
              <a:extLst>
                <a:ext uri="{FF2B5EF4-FFF2-40B4-BE49-F238E27FC236}">
                  <a16:creationId xmlns:a16="http://schemas.microsoft.com/office/drawing/2014/main" id="{7EAD91EA-D0D3-40E7-85E8-B3389B5994E5}"/>
                </a:ext>
              </a:extLst>
            </p:cNvPr>
            <p:cNvSpPr/>
            <p:nvPr/>
          </p:nvSpPr>
          <p:spPr>
            <a:xfrm flipH="1">
              <a:off x="647271" y="1444370"/>
              <a:ext cx="53320" cy="53320"/>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74" name="Freeform: Shape 273">
              <a:extLst>
                <a:ext uri="{FF2B5EF4-FFF2-40B4-BE49-F238E27FC236}">
                  <a16:creationId xmlns:a16="http://schemas.microsoft.com/office/drawing/2014/main" id="{4D5872D0-0B5C-491F-B5D4-AACB83D026E8}"/>
                </a:ext>
              </a:extLst>
            </p:cNvPr>
            <p:cNvSpPr/>
            <p:nvPr/>
          </p:nvSpPr>
          <p:spPr>
            <a:xfrm flipH="1">
              <a:off x="1629145" y="628846"/>
              <a:ext cx="47620" cy="47620"/>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275" name="Freeform: Shape 274">
              <a:extLst>
                <a:ext uri="{FF2B5EF4-FFF2-40B4-BE49-F238E27FC236}">
                  <a16:creationId xmlns:a16="http://schemas.microsoft.com/office/drawing/2014/main" id="{3DDE8F59-4F9A-4749-9757-726BAF91422A}"/>
                </a:ext>
              </a:extLst>
            </p:cNvPr>
            <p:cNvSpPr/>
            <p:nvPr/>
          </p:nvSpPr>
          <p:spPr>
            <a:xfrm flipH="1">
              <a:off x="1545620" y="645248"/>
              <a:ext cx="47620" cy="47620"/>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endParaRPr lang="en-US" dirty="0"/>
            </a:p>
          </p:txBody>
        </p:sp>
        <p:sp>
          <p:nvSpPr>
            <p:cNvPr id="276" name="Freeform: Shape 275">
              <a:extLst>
                <a:ext uri="{FF2B5EF4-FFF2-40B4-BE49-F238E27FC236}">
                  <a16:creationId xmlns:a16="http://schemas.microsoft.com/office/drawing/2014/main" id="{9159F50C-5982-4CB7-999A-9A16EB74DD13}"/>
                </a:ext>
              </a:extLst>
            </p:cNvPr>
            <p:cNvSpPr/>
            <p:nvPr/>
          </p:nvSpPr>
          <p:spPr>
            <a:xfrm flipH="1">
              <a:off x="1463835" y="668832"/>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77" name="Freeform: Shape 276">
              <a:extLst>
                <a:ext uri="{FF2B5EF4-FFF2-40B4-BE49-F238E27FC236}">
                  <a16:creationId xmlns:a16="http://schemas.microsoft.com/office/drawing/2014/main" id="{38CBD4EE-2541-43A1-A366-C301203764AE}"/>
                </a:ext>
              </a:extLst>
            </p:cNvPr>
            <p:cNvSpPr/>
            <p:nvPr/>
          </p:nvSpPr>
          <p:spPr>
            <a:xfrm flipH="1">
              <a:off x="1384467" y="699521"/>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78" name="Freeform: Shape 277">
              <a:extLst>
                <a:ext uri="{FF2B5EF4-FFF2-40B4-BE49-F238E27FC236}">
                  <a16:creationId xmlns:a16="http://schemas.microsoft.com/office/drawing/2014/main" id="{6252B160-A1EA-4BBE-8BEF-82932F4D08D2}"/>
                </a:ext>
              </a:extLst>
            </p:cNvPr>
            <p:cNvSpPr/>
            <p:nvPr/>
          </p:nvSpPr>
          <p:spPr>
            <a:xfrm flipH="1">
              <a:off x="1308049" y="736936"/>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79" name="Freeform: Shape 278">
              <a:extLst>
                <a:ext uri="{FF2B5EF4-FFF2-40B4-BE49-F238E27FC236}">
                  <a16:creationId xmlns:a16="http://schemas.microsoft.com/office/drawing/2014/main" id="{FD485F5E-B013-407B-B1D7-FB6161CCD9BC}"/>
                </a:ext>
              </a:extLst>
            </p:cNvPr>
            <p:cNvSpPr/>
            <p:nvPr/>
          </p:nvSpPr>
          <p:spPr>
            <a:xfrm flipH="1">
              <a:off x="1235182" y="780853"/>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80" name="Freeform: Shape 279">
              <a:extLst>
                <a:ext uri="{FF2B5EF4-FFF2-40B4-BE49-F238E27FC236}">
                  <a16:creationId xmlns:a16="http://schemas.microsoft.com/office/drawing/2014/main" id="{E9792347-CDC7-4066-973E-EB6F7BA47712}"/>
                </a:ext>
              </a:extLst>
            </p:cNvPr>
            <p:cNvSpPr/>
            <p:nvPr/>
          </p:nvSpPr>
          <p:spPr>
            <a:xfrm flipH="1">
              <a:off x="1166472" y="831043"/>
              <a:ext cx="47620" cy="47620"/>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endParaRPr lang="en-US" dirty="0"/>
            </a:p>
          </p:txBody>
        </p:sp>
        <p:sp>
          <p:nvSpPr>
            <p:cNvPr id="281" name="Freeform: Shape 280">
              <a:extLst>
                <a:ext uri="{FF2B5EF4-FFF2-40B4-BE49-F238E27FC236}">
                  <a16:creationId xmlns:a16="http://schemas.microsoft.com/office/drawing/2014/main" id="{250B510D-28EA-4109-A4C9-F77AEDE8FB3C}"/>
                </a:ext>
              </a:extLst>
            </p:cNvPr>
            <p:cNvSpPr/>
            <p:nvPr/>
          </p:nvSpPr>
          <p:spPr>
            <a:xfrm flipH="1">
              <a:off x="1102298" y="886978"/>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82" name="Freeform: Shape 281">
              <a:extLst>
                <a:ext uri="{FF2B5EF4-FFF2-40B4-BE49-F238E27FC236}">
                  <a16:creationId xmlns:a16="http://schemas.microsoft.com/office/drawing/2014/main" id="{B13B3F38-239A-461F-A01E-C12BB0A2B819}"/>
                </a:ext>
              </a:extLst>
            </p:cNvPr>
            <p:cNvSpPr/>
            <p:nvPr/>
          </p:nvSpPr>
          <p:spPr>
            <a:xfrm flipH="1">
              <a:off x="1043340" y="948279"/>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283" name="Freeform: Shape 282">
              <a:extLst>
                <a:ext uri="{FF2B5EF4-FFF2-40B4-BE49-F238E27FC236}">
                  <a16:creationId xmlns:a16="http://schemas.microsoft.com/office/drawing/2014/main" id="{66000796-8254-476D-AAD6-EF81EE1166A3}"/>
                </a:ext>
              </a:extLst>
            </p:cNvPr>
            <p:cNvSpPr/>
            <p:nvPr/>
          </p:nvSpPr>
          <p:spPr>
            <a:xfrm flipH="1">
              <a:off x="989899" y="1014494"/>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284" name="Freeform: Shape 283">
              <a:extLst>
                <a:ext uri="{FF2B5EF4-FFF2-40B4-BE49-F238E27FC236}">
                  <a16:creationId xmlns:a16="http://schemas.microsoft.com/office/drawing/2014/main" id="{38924080-17E6-4B25-811B-D8960D720315}"/>
                </a:ext>
              </a:extLst>
            </p:cNvPr>
            <p:cNvSpPr/>
            <p:nvPr/>
          </p:nvSpPr>
          <p:spPr>
            <a:xfrm flipH="1">
              <a:off x="942430" y="1085094"/>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85" name="Freeform: Shape 284">
              <a:extLst>
                <a:ext uri="{FF2B5EF4-FFF2-40B4-BE49-F238E27FC236}">
                  <a16:creationId xmlns:a16="http://schemas.microsoft.com/office/drawing/2014/main" id="{6A34AEF2-A4A6-4260-AD33-995898E228F3}"/>
                </a:ext>
              </a:extLst>
            </p:cNvPr>
            <p:cNvSpPr/>
            <p:nvPr/>
          </p:nvSpPr>
          <p:spPr>
            <a:xfrm flipH="1">
              <a:off x="901311" y="1159623"/>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86" name="Freeform: Shape 285">
              <a:extLst>
                <a:ext uri="{FF2B5EF4-FFF2-40B4-BE49-F238E27FC236}">
                  <a16:creationId xmlns:a16="http://schemas.microsoft.com/office/drawing/2014/main" id="{884BB386-2A6E-4F60-98BA-F30024BF2406}"/>
                </a:ext>
              </a:extLst>
            </p:cNvPr>
            <p:cNvSpPr/>
            <p:nvPr/>
          </p:nvSpPr>
          <p:spPr>
            <a:xfrm flipH="1">
              <a:off x="866843" y="1237403"/>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87" name="Freeform: Shape 286">
              <a:extLst>
                <a:ext uri="{FF2B5EF4-FFF2-40B4-BE49-F238E27FC236}">
                  <a16:creationId xmlns:a16="http://schemas.microsoft.com/office/drawing/2014/main" id="{4D756CD3-216C-4A2D-A779-64F32D0C815B}"/>
                </a:ext>
              </a:extLst>
            </p:cNvPr>
            <p:cNvSpPr/>
            <p:nvPr/>
          </p:nvSpPr>
          <p:spPr>
            <a:xfrm flipH="1">
              <a:off x="839253" y="1317904"/>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88" name="Freeform: Shape 287">
              <a:extLst>
                <a:ext uri="{FF2B5EF4-FFF2-40B4-BE49-F238E27FC236}">
                  <a16:creationId xmlns:a16="http://schemas.microsoft.com/office/drawing/2014/main" id="{FC465FAC-D286-42AC-80CC-15A9F27428CD}"/>
                </a:ext>
              </a:extLst>
            </p:cNvPr>
            <p:cNvSpPr/>
            <p:nvPr/>
          </p:nvSpPr>
          <p:spPr>
            <a:xfrm flipH="1">
              <a:off x="818845" y="1400521"/>
              <a:ext cx="47620" cy="47620"/>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endParaRPr lang="en-US" dirty="0"/>
            </a:p>
          </p:txBody>
        </p:sp>
        <p:sp>
          <p:nvSpPr>
            <p:cNvPr id="289" name="Freeform: Shape 288">
              <a:extLst>
                <a:ext uri="{FF2B5EF4-FFF2-40B4-BE49-F238E27FC236}">
                  <a16:creationId xmlns:a16="http://schemas.microsoft.com/office/drawing/2014/main" id="{857F8B99-D036-4981-9316-C772729238B1}"/>
                </a:ext>
              </a:extLst>
            </p:cNvPr>
            <p:cNvSpPr/>
            <p:nvPr/>
          </p:nvSpPr>
          <p:spPr>
            <a:xfrm flipH="1">
              <a:off x="1618621" y="773612"/>
              <a:ext cx="42356" cy="42356"/>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endParaRPr lang="en-US" dirty="0"/>
            </a:p>
          </p:txBody>
        </p:sp>
        <p:sp>
          <p:nvSpPr>
            <p:cNvPr id="290" name="Freeform: Shape 289">
              <a:extLst>
                <a:ext uri="{FF2B5EF4-FFF2-40B4-BE49-F238E27FC236}">
                  <a16:creationId xmlns:a16="http://schemas.microsoft.com/office/drawing/2014/main" id="{509E85F8-3D30-425A-8909-29402609047A}"/>
                </a:ext>
              </a:extLst>
            </p:cNvPr>
            <p:cNvSpPr/>
            <p:nvPr/>
          </p:nvSpPr>
          <p:spPr>
            <a:xfrm flipH="1">
              <a:off x="1545877" y="794588"/>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91" name="Freeform: Shape 290">
              <a:extLst>
                <a:ext uri="{FF2B5EF4-FFF2-40B4-BE49-F238E27FC236}">
                  <a16:creationId xmlns:a16="http://schemas.microsoft.com/office/drawing/2014/main" id="{9BCB9F9A-904C-4392-B558-D0135142D334}"/>
                </a:ext>
              </a:extLst>
            </p:cNvPr>
            <p:cNvSpPr/>
            <p:nvPr/>
          </p:nvSpPr>
          <p:spPr>
            <a:xfrm flipH="1">
              <a:off x="1475284" y="821885"/>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92" name="Freeform: Shape 291">
              <a:extLst>
                <a:ext uri="{FF2B5EF4-FFF2-40B4-BE49-F238E27FC236}">
                  <a16:creationId xmlns:a16="http://schemas.microsoft.com/office/drawing/2014/main" id="{6255823D-DE1F-4491-9449-2DEF31EF0BFF}"/>
                </a:ext>
              </a:extLst>
            </p:cNvPr>
            <p:cNvSpPr/>
            <p:nvPr/>
          </p:nvSpPr>
          <p:spPr>
            <a:xfrm flipH="1">
              <a:off x="1407313" y="855164"/>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93" name="Freeform: Shape 292">
              <a:extLst>
                <a:ext uri="{FF2B5EF4-FFF2-40B4-BE49-F238E27FC236}">
                  <a16:creationId xmlns:a16="http://schemas.microsoft.com/office/drawing/2014/main" id="{72DF5AB4-2E6E-4987-987C-2622B9007A41}"/>
                </a:ext>
              </a:extLst>
            </p:cNvPr>
            <p:cNvSpPr/>
            <p:nvPr/>
          </p:nvSpPr>
          <p:spPr>
            <a:xfrm flipH="1">
              <a:off x="1342502" y="894226"/>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94" name="Freeform: Shape 293">
              <a:extLst>
                <a:ext uri="{FF2B5EF4-FFF2-40B4-BE49-F238E27FC236}">
                  <a16:creationId xmlns:a16="http://schemas.microsoft.com/office/drawing/2014/main" id="{62771365-2643-4C4E-9750-9E24405A888A}"/>
                </a:ext>
              </a:extLst>
            </p:cNvPr>
            <p:cNvSpPr/>
            <p:nvPr/>
          </p:nvSpPr>
          <p:spPr>
            <a:xfrm flipH="1">
              <a:off x="1281388" y="938868"/>
              <a:ext cx="42356" cy="42356"/>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endParaRPr lang="en-US" dirty="0"/>
            </a:p>
          </p:txBody>
        </p:sp>
        <p:sp>
          <p:nvSpPr>
            <p:cNvPr id="295" name="Freeform: Shape 294">
              <a:extLst>
                <a:ext uri="{FF2B5EF4-FFF2-40B4-BE49-F238E27FC236}">
                  <a16:creationId xmlns:a16="http://schemas.microsoft.com/office/drawing/2014/main" id="{31E43DEE-098F-48D1-9DD6-7CE86C10F218}"/>
                </a:ext>
              </a:extLst>
            </p:cNvPr>
            <p:cNvSpPr/>
            <p:nvPr/>
          </p:nvSpPr>
          <p:spPr>
            <a:xfrm flipH="1">
              <a:off x="1224309" y="988619"/>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96" name="Freeform: Shape 295">
              <a:extLst>
                <a:ext uri="{FF2B5EF4-FFF2-40B4-BE49-F238E27FC236}">
                  <a16:creationId xmlns:a16="http://schemas.microsoft.com/office/drawing/2014/main" id="{11E59865-37C5-4885-AA43-03BB7F50C954}"/>
                </a:ext>
              </a:extLst>
            </p:cNvPr>
            <p:cNvSpPr/>
            <p:nvPr/>
          </p:nvSpPr>
          <p:spPr>
            <a:xfrm flipH="1">
              <a:off x="1171868" y="1043143"/>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297" name="Freeform: Shape 296">
              <a:extLst>
                <a:ext uri="{FF2B5EF4-FFF2-40B4-BE49-F238E27FC236}">
                  <a16:creationId xmlns:a16="http://schemas.microsoft.com/office/drawing/2014/main" id="{D9719689-2F63-4806-A8CA-DEE7E0638023}"/>
                </a:ext>
              </a:extLst>
            </p:cNvPr>
            <p:cNvSpPr/>
            <p:nvPr/>
          </p:nvSpPr>
          <p:spPr>
            <a:xfrm flipH="1">
              <a:off x="1124335" y="1102038"/>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298" name="Freeform: Shape 297">
              <a:extLst>
                <a:ext uri="{FF2B5EF4-FFF2-40B4-BE49-F238E27FC236}">
                  <a16:creationId xmlns:a16="http://schemas.microsoft.com/office/drawing/2014/main" id="{4969237E-4C17-44F2-8DB1-F046AC914216}"/>
                </a:ext>
              </a:extLst>
            </p:cNvPr>
            <p:cNvSpPr/>
            <p:nvPr/>
          </p:nvSpPr>
          <p:spPr>
            <a:xfrm flipH="1">
              <a:off x="1082114" y="1164833"/>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299" name="Freeform: Shape 298">
              <a:extLst>
                <a:ext uri="{FF2B5EF4-FFF2-40B4-BE49-F238E27FC236}">
                  <a16:creationId xmlns:a16="http://schemas.microsoft.com/office/drawing/2014/main" id="{A47C14B3-06D3-4253-A0BE-A894F63976AC}"/>
                </a:ext>
              </a:extLst>
            </p:cNvPr>
            <p:cNvSpPr/>
            <p:nvPr/>
          </p:nvSpPr>
          <p:spPr>
            <a:xfrm flipH="1">
              <a:off x="1045540" y="1231123"/>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00" name="Freeform: Shape 299">
              <a:extLst>
                <a:ext uri="{FF2B5EF4-FFF2-40B4-BE49-F238E27FC236}">
                  <a16:creationId xmlns:a16="http://schemas.microsoft.com/office/drawing/2014/main" id="{0CAA2CEA-6C95-4C7E-A537-07EDD6089C77}"/>
                </a:ext>
              </a:extLst>
            </p:cNvPr>
            <p:cNvSpPr/>
            <p:nvPr/>
          </p:nvSpPr>
          <p:spPr>
            <a:xfrm flipH="1">
              <a:off x="1014882" y="1300305"/>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01" name="Freeform: Shape 300">
              <a:extLst>
                <a:ext uri="{FF2B5EF4-FFF2-40B4-BE49-F238E27FC236}">
                  <a16:creationId xmlns:a16="http://schemas.microsoft.com/office/drawing/2014/main" id="{7706D172-6F57-45DD-85F9-E1D245738A22}"/>
                </a:ext>
              </a:extLst>
            </p:cNvPr>
            <p:cNvSpPr/>
            <p:nvPr/>
          </p:nvSpPr>
          <p:spPr>
            <a:xfrm flipH="1">
              <a:off x="990343" y="1371906"/>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02" name="Freeform: Shape 301">
              <a:extLst>
                <a:ext uri="{FF2B5EF4-FFF2-40B4-BE49-F238E27FC236}">
                  <a16:creationId xmlns:a16="http://schemas.microsoft.com/office/drawing/2014/main" id="{6B374566-2A0A-464A-91F4-4FF88E3C762A}"/>
                </a:ext>
              </a:extLst>
            </p:cNvPr>
            <p:cNvSpPr/>
            <p:nvPr/>
          </p:nvSpPr>
          <p:spPr>
            <a:xfrm flipH="1">
              <a:off x="1604687" y="934669"/>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03" name="Freeform: Shape 302">
              <a:extLst>
                <a:ext uri="{FF2B5EF4-FFF2-40B4-BE49-F238E27FC236}">
                  <a16:creationId xmlns:a16="http://schemas.microsoft.com/office/drawing/2014/main" id="{74A6D7B0-1BD8-46D1-B9D8-AC7975F96818}"/>
                </a:ext>
              </a:extLst>
            </p:cNvPr>
            <p:cNvSpPr/>
            <p:nvPr/>
          </p:nvSpPr>
          <p:spPr>
            <a:xfrm flipH="1">
              <a:off x="1545396" y="957595"/>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04" name="Freeform: Shape 303">
              <a:extLst>
                <a:ext uri="{FF2B5EF4-FFF2-40B4-BE49-F238E27FC236}">
                  <a16:creationId xmlns:a16="http://schemas.microsoft.com/office/drawing/2014/main" id="{20535558-2CF4-461B-8C10-8E36458DAA03}"/>
                </a:ext>
              </a:extLst>
            </p:cNvPr>
            <p:cNvSpPr/>
            <p:nvPr/>
          </p:nvSpPr>
          <p:spPr>
            <a:xfrm flipH="1">
              <a:off x="1488307" y="985547"/>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05" name="Freeform: Shape 304">
              <a:extLst>
                <a:ext uri="{FF2B5EF4-FFF2-40B4-BE49-F238E27FC236}">
                  <a16:creationId xmlns:a16="http://schemas.microsoft.com/office/drawing/2014/main" id="{134C86CB-E4A5-4046-A0D9-AE971B484C9F}"/>
                </a:ext>
              </a:extLst>
            </p:cNvPr>
            <p:cNvSpPr/>
            <p:nvPr/>
          </p:nvSpPr>
          <p:spPr>
            <a:xfrm flipH="1">
              <a:off x="1433872" y="1018355"/>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06" name="Freeform: Shape 305">
              <a:extLst>
                <a:ext uri="{FF2B5EF4-FFF2-40B4-BE49-F238E27FC236}">
                  <a16:creationId xmlns:a16="http://schemas.microsoft.com/office/drawing/2014/main" id="{DACDD07D-76EF-4109-8F40-491CB1B033ED}"/>
                </a:ext>
              </a:extLst>
            </p:cNvPr>
            <p:cNvSpPr/>
            <p:nvPr/>
          </p:nvSpPr>
          <p:spPr>
            <a:xfrm flipH="1">
              <a:off x="1382542" y="1055850"/>
              <a:ext cx="35575" cy="35575"/>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endParaRPr lang="en-US" dirty="0"/>
            </a:p>
          </p:txBody>
        </p:sp>
        <p:sp>
          <p:nvSpPr>
            <p:cNvPr id="307" name="Freeform: Shape 306">
              <a:extLst>
                <a:ext uri="{FF2B5EF4-FFF2-40B4-BE49-F238E27FC236}">
                  <a16:creationId xmlns:a16="http://schemas.microsoft.com/office/drawing/2014/main" id="{AF4180EE-01D7-4C9D-A527-B508444662F6}"/>
                </a:ext>
              </a:extLst>
            </p:cNvPr>
            <p:cNvSpPr/>
            <p:nvPr/>
          </p:nvSpPr>
          <p:spPr>
            <a:xfrm flipH="1">
              <a:off x="1334601" y="1097636"/>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08" name="Freeform: Shape 307">
              <a:extLst>
                <a:ext uri="{FF2B5EF4-FFF2-40B4-BE49-F238E27FC236}">
                  <a16:creationId xmlns:a16="http://schemas.microsoft.com/office/drawing/2014/main" id="{A4939113-551A-439B-978D-DA9C474652B8}"/>
                </a:ext>
              </a:extLst>
            </p:cNvPr>
            <p:cNvSpPr/>
            <p:nvPr/>
          </p:nvSpPr>
          <p:spPr>
            <a:xfrm flipH="1">
              <a:off x="1290556" y="1143431"/>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309" name="Freeform: Shape 308">
              <a:extLst>
                <a:ext uri="{FF2B5EF4-FFF2-40B4-BE49-F238E27FC236}">
                  <a16:creationId xmlns:a16="http://schemas.microsoft.com/office/drawing/2014/main" id="{DBFB565C-A138-45EC-B7D1-6F5C1A6DEEE8}"/>
                </a:ext>
              </a:extLst>
            </p:cNvPr>
            <p:cNvSpPr/>
            <p:nvPr/>
          </p:nvSpPr>
          <p:spPr>
            <a:xfrm flipH="1">
              <a:off x="1250633" y="1192898"/>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310" name="Freeform: Shape 309">
              <a:extLst>
                <a:ext uri="{FF2B5EF4-FFF2-40B4-BE49-F238E27FC236}">
                  <a16:creationId xmlns:a16="http://schemas.microsoft.com/office/drawing/2014/main" id="{A849A408-3527-4754-8BF0-DD78CB03D656}"/>
                </a:ext>
              </a:extLst>
            </p:cNvPr>
            <p:cNvSpPr/>
            <p:nvPr/>
          </p:nvSpPr>
          <p:spPr>
            <a:xfrm flipH="1">
              <a:off x="1215171" y="1245639"/>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11" name="Freeform: Shape 310">
              <a:extLst>
                <a:ext uri="{FF2B5EF4-FFF2-40B4-BE49-F238E27FC236}">
                  <a16:creationId xmlns:a16="http://schemas.microsoft.com/office/drawing/2014/main" id="{D19E61C0-B3C2-4B0C-8525-333C96BC4E67}"/>
                </a:ext>
              </a:extLst>
            </p:cNvPr>
            <p:cNvSpPr/>
            <p:nvPr/>
          </p:nvSpPr>
          <p:spPr>
            <a:xfrm flipH="1">
              <a:off x="1184452" y="1301316"/>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12" name="Freeform: Shape 311">
              <a:extLst>
                <a:ext uri="{FF2B5EF4-FFF2-40B4-BE49-F238E27FC236}">
                  <a16:creationId xmlns:a16="http://schemas.microsoft.com/office/drawing/2014/main" id="{83524B1A-12E5-4C48-9260-19519701E05E}"/>
                </a:ext>
              </a:extLst>
            </p:cNvPr>
            <p:cNvSpPr/>
            <p:nvPr/>
          </p:nvSpPr>
          <p:spPr>
            <a:xfrm flipH="1">
              <a:off x="1158703" y="1359422"/>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13" name="Freeform: Shape 312">
              <a:extLst>
                <a:ext uri="{FF2B5EF4-FFF2-40B4-BE49-F238E27FC236}">
                  <a16:creationId xmlns:a16="http://schemas.microsoft.com/office/drawing/2014/main" id="{D62AA340-7129-46F4-81DA-D6815C3A248E}"/>
                </a:ext>
              </a:extLst>
            </p:cNvPr>
            <p:cNvSpPr/>
            <p:nvPr/>
          </p:nvSpPr>
          <p:spPr>
            <a:xfrm flipH="1">
              <a:off x="1585949" y="1097251"/>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14" name="Freeform: Shape 313">
              <a:extLst>
                <a:ext uri="{FF2B5EF4-FFF2-40B4-BE49-F238E27FC236}">
                  <a16:creationId xmlns:a16="http://schemas.microsoft.com/office/drawing/2014/main" id="{5D231331-977A-45C7-9836-14019770EF4F}"/>
                </a:ext>
              </a:extLst>
            </p:cNvPr>
            <p:cNvSpPr/>
            <p:nvPr/>
          </p:nvSpPr>
          <p:spPr>
            <a:xfrm flipH="1">
              <a:off x="1543086" y="1118237"/>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15" name="Freeform: Shape 314">
              <a:extLst>
                <a:ext uri="{FF2B5EF4-FFF2-40B4-BE49-F238E27FC236}">
                  <a16:creationId xmlns:a16="http://schemas.microsoft.com/office/drawing/2014/main" id="{7639C1BE-6C10-4060-9BD9-2D86D16BA17F}"/>
                </a:ext>
              </a:extLst>
            </p:cNvPr>
            <p:cNvSpPr/>
            <p:nvPr/>
          </p:nvSpPr>
          <p:spPr>
            <a:xfrm flipH="1">
              <a:off x="1502216" y="1142870"/>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16" name="Freeform: Shape 315">
              <a:extLst>
                <a:ext uri="{FF2B5EF4-FFF2-40B4-BE49-F238E27FC236}">
                  <a16:creationId xmlns:a16="http://schemas.microsoft.com/office/drawing/2014/main" id="{83FBA356-44F7-41FB-9AA0-8A5D6D4E93F3}"/>
                </a:ext>
              </a:extLst>
            </p:cNvPr>
            <p:cNvSpPr/>
            <p:nvPr/>
          </p:nvSpPr>
          <p:spPr>
            <a:xfrm flipH="1">
              <a:off x="1463678" y="1171021"/>
              <a:ext cx="26709" cy="26710"/>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endParaRPr lang="en-US" dirty="0"/>
            </a:p>
          </p:txBody>
        </p:sp>
        <p:sp>
          <p:nvSpPr>
            <p:cNvPr id="317" name="Freeform: Shape 316">
              <a:extLst>
                <a:ext uri="{FF2B5EF4-FFF2-40B4-BE49-F238E27FC236}">
                  <a16:creationId xmlns:a16="http://schemas.microsoft.com/office/drawing/2014/main" id="{9873301D-F6DA-4B14-83D3-6C91C10BEB2B}"/>
                </a:ext>
              </a:extLst>
            </p:cNvPr>
            <p:cNvSpPr/>
            <p:nvPr/>
          </p:nvSpPr>
          <p:spPr>
            <a:xfrm flipH="1">
              <a:off x="1427684" y="1202394"/>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18" name="Freeform: Shape 317">
              <a:extLst>
                <a:ext uri="{FF2B5EF4-FFF2-40B4-BE49-F238E27FC236}">
                  <a16:creationId xmlns:a16="http://schemas.microsoft.com/office/drawing/2014/main" id="{EF379AE6-1287-40C4-9AE2-E7BBF9162DA0}"/>
                </a:ext>
              </a:extLst>
            </p:cNvPr>
            <p:cNvSpPr/>
            <p:nvPr/>
          </p:nvSpPr>
          <p:spPr>
            <a:xfrm flipH="1">
              <a:off x="1394615" y="1236777"/>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319" name="Freeform: Shape 318">
              <a:extLst>
                <a:ext uri="{FF2B5EF4-FFF2-40B4-BE49-F238E27FC236}">
                  <a16:creationId xmlns:a16="http://schemas.microsoft.com/office/drawing/2014/main" id="{E1726876-A719-4707-B307-C9E8BD93A607}"/>
                </a:ext>
              </a:extLst>
            </p:cNvPr>
            <p:cNvSpPr/>
            <p:nvPr/>
          </p:nvSpPr>
          <p:spPr>
            <a:xfrm flipH="1">
              <a:off x="1364640" y="1273916"/>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320" name="Freeform: Shape 319">
              <a:extLst>
                <a:ext uri="{FF2B5EF4-FFF2-40B4-BE49-F238E27FC236}">
                  <a16:creationId xmlns:a16="http://schemas.microsoft.com/office/drawing/2014/main" id="{5816871E-7F14-4DD0-A5C1-0914FA63B7E2}"/>
                </a:ext>
              </a:extLst>
            </p:cNvPr>
            <p:cNvSpPr/>
            <p:nvPr/>
          </p:nvSpPr>
          <p:spPr>
            <a:xfrm flipH="1">
              <a:off x="1338016" y="1313515"/>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21" name="Freeform: Shape 320">
              <a:extLst>
                <a:ext uri="{FF2B5EF4-FFF2-40B4-BE49-F238E27FC236}">
                  <a16:creationId xmlns:a16="http://schemas.microsoft.com/office/drawing/2014/main" id="{757C45B0-7E7C-46D1-A7D4-668CC4789B09}"/>
                </a:ext>
              </a:extLst>
            </p:cNvPr>
            <p:cNvSpPr/>
            <p:nvPr/>
          </p:nvSpPr>
          <p:spPr>
            <a:xfrm flipH="1">
              <a:off x="1314952" y="1355317"/>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22" name="Freeform: Shape 321">
              <a:extLst>
                <a:ext uri="{FF2B5EF4-FFF2-40B4-BE49-F238E27FC236}">
                  <a16:creationId xmlns:a16="http://schemas.microsoft.com/office/drawing/2014/main" id="{F8119F1F-AD16-4FFC-BCDD-953030DD8419}"/>
                </a:ext>
              </a:extLst>
            </p:cNvPr>
            <p:cNvSpPr/>
            <p:nvPr/>
          </p:nvSpPr>
          <p:spPr>
            <a:xfrm flipH="1">
              <a:off x="1601130" y="1232701"/>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23" name="Freeform: Shape 322">
              <a:extLst>
                <a:ext uri="{FF2B5EF4-FFF2-40B4-BE49-F238E27FC236}">
                  <a16:creationId xmlns:a16="http://schemas.microsoft.com/office/drawing/2014/main" id="{62F1730F-9B9C-4B47-812C-0C84E1EC7E82}"/>
                </a:ext>
              </a:extLst>
            </p:cNvPr>
            <p:cNvSpPr/>
            <p:nvPr/>
          </p:nvSpPr>
          <p:spPr>
            <a:xfrm flipH="1">
              <a:off x="1573638" y="1249271"/>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24" name="Freeform: Shape 323">
              <a:extLst>
                <a:ext uri="{FF2B5EF4-FFF2-40B4-BE49-F238E27FC236}">
                  <a16:creationId xmlns:a16="http://schemas.microsoft.com/office/drawing/2014/main" id="{0EEDF3CD-3183-424F-888E-7C439BB6DEAB}"/>
                </a:ext>
              </a:extLst>
            </p:cNvPr>
            <p:cNvSpPr/>
            <p:nvPr/>
          </p:nvSpPr>
          <p:spPr>
            <a:xfrm flipH="1">
              <a:off x="1547714" y="1268208"/>
              <a:ext cx="17967" cy="17967"/>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endParaRPr lang="en-US" dirty="0"/>
            </a:p>
          </p:txBody>
        </p:sp>
        <p:sp>
          <p:nvSpPr>
            <p:cNvPr id="325" name="Freeform: Shape 324">
              <a:extLst>
                <a:ext uri="{FF2B5EF4-FFF2-40B4-BE49-F238E27FC236}">
                  <a16:creationId xmlns:a16="http://schemas.microsoft.com/office/drawing/2014/main" id="{7EA4EA70-C4F8-49C2-8580-AC7BB251716F}"/>
                </a:ext>
              </a:extLst>
            </p:cNvPr>
            <p:cNvSpPr/>
            <p:nvPr/>
          </p:nvSpPr>
          <p:spPr>
            <a:xfrm flipH="1">
              <a:off x="1523501" y="1289312"/>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sp>
          <p:nvSpPr>
            <p:cNvPr id="326" name="Freeform: Shape 325">
              <a:extLst>
                <a:ext uri="{FF2B5EF4-FFF2-40B4-BE49-F238E27FC236}">
                  <a16:creationId xmlns:a16="http://schemas.microsoft.com/office/drawing/2014/main" id="{3CC0EF22-8AC9-4714-9300-F3078D05BE6B}"/>
                </a:ext>
              </a:extLst>
            </p:cNvPr>
            <p:cNvSpPr/>
            <p:nvPr/>
          </p:nvSpPr>
          <p:spPr>
            <a:xfrm flipH="1">
              <a:off x="1501256" y="1312440"/>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327" name="Freeform: Shape 326">
              <a:extLst>
                <a:ext uri="{FF2B5EF4-FFF2-40B4-BE49-F238E27FC236}">
                  <a16:creationId xmlns:a16="http://schemas.microsoft.com/office/drawing/2014/main" id="{0E6F5D81-68C2-4E05-AD5C-B0029A92293F}"/>
                </a:ext>
              </a:extLst>
            </p:cNvPr>
            <p:cNvSpPr/>
            <p:nvPr/>
          </p:nvSpPr>
          <p:spPr>
            <a:xfrm flipH="1">
              <a:off x="1481093" y="1337423"/>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endParaRPr lang="en-US" dirty="0"/>
            </a:p>
          </p:txBody>
        </p:sp>
        <p:sp>
          <p:nvSpPr>
            <p:cNvPr id="328" name="Freeform: Shape 327">
              <a:extLst>
                <a:ext uri="{FF2B5EF4-FFF2-40B4-BE49-F238E27FC236}">
                  <a16:creationId xmlns:a16="http://schemas.microsoft.com/office/drawing/2014/main" id="{EFB2B2D1-969D-4C2F-9D12-1D88DB582A47}"/>
                </a:ext>
              </a:extLst>
            </p:cNvPr>
            <p:cNvSpPr/>
            <p:nvPr/>
          </p:nvSpPr>
          <p:spPr>
            <a:xfrm flipH="1">
              <a:off x="1463183" y="1364060"/>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endParaRPr lang="en-US" dirty="0"/>
            </a:p>
          </p:txBody>
        </p:sp>
      </p:grpSp>
      <p:pic>
        <p:nvPicPr>
          <p:cNvPr id="1353" name="Picture 1352">
            <a:extLst>
              <a:ext uri="{FF2B5EF4-FFF2-40B4-BE49-F238E27FC236}">
                <a16:creationId xmlns:a16="http://schemas.microsoft.com/office/drawing/2014/main" id="{19417F2B-07E1-4D78-907E-EACA7665B3B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26206" y="2872476"/>
            <a:ext cx="2033255" cy="1878439"/>
          </a:xfrm>
          <a:custGeom>
            <a:avLst/>
            <a:gdLst>
              <a:gd name="connsiteX0" fmla="*/ 1468978 w 6233154"/>
              <a:gd name="connsiteY0" fmla="*/ 0 h 5758550"/>
              <a:gd name="connsiteX1" fmla="*/ 4764177 w 6233154"/>
              <a:gd name="connsiteY1" fmla="*/ 0 h 5758550"/>
              <a:gd name="connsiteX2" fmla="*/ 4859085 w 6233154"/>
              <a:gd name="connsiteY2" fmla="*/ 57658 h 5758550"/>
              <a:gd name="connsiteX3" fmla="*/ 6233154 w 6233154"/>
              <a:gd name="connsiteY3" fmla="*/ 2641973 h 5758550"/>
              <a:gd name="connsiteX4" fmla="*/ 3116577 w 6233154"/>
              <a:gd name="connsiteY4" fmla="*/ 5758550 h 5758550"/>
              <a:gd name="connsiteX5" fmla="*/ 0 w 6233154"/>
              <a:gd name="connsiteY5" fmla="*/ 2641973 h 5758550"/>
              <a:gd name="connsiteX6" fmla="*/ 1374070 w 6233154"/>
              <a:gd name="connsiteY6" fmla="*/ 57658 h 575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3154" h="5758550">
                <a:moveTo>
                  <a:pt x="1468978" y="0"/>
                </a:moveTo>
                <a:lnTo>
                  <a:pt x="4764177" y="0"/>
                </a:lnTo>
                <a:lnTo>
                  <a:pt x="4859085" y="57658"/>
                </a:lnTo>
                <a:cubicBezTo>
                  <a:pt x="5688100" y="617730"/>
                  <a:pt x="6233154" y="1566199"/>
                  <a:pt x="6233154" y="2641973"/>
                </a:cubicBezTo>
                <a:cubicBezTo>
                  <a:pt x="6233154" y="4363211"/>
                  <a:pt x="4837815" y="5758550"/>
                  <a:pt x="3116577" y="5758550"/>
                </a:cubicBezTo>
                <a:cubicBezTo>
                  <a:pt x="1395339" y="5758550"/>
                  <a:pt x="0" y="4363211"/>
                  <a:pt x="0" y="2641973"/>
                </a:cubicBezTo>
                <a:cubicBezTo>
                  <a:pt x="0" y="1566199"/>
                  <a:pt x="545055" y="617730"/>
                  <a:pt x="1374070" y="57658"/>
                </a:cubicBezTo>
                <a:close/>
              </a:path>
            </a:pathLst>
          </a:custGeom>
        </p:spPr>
      </p:pic>
      <p:grpSp>
        <p:nvGrpSpPr>
          <p:cNvPr id="1316" name="Group 1315">
            <a:extLst>
              <a:ext uri="{FF2B5EF4-FFF2-40B4-BE49-F238E27FC236}">
                <a16:creationId xmlns:a16="http://schemas.microsoft.com/office/drawing/2014/main" id="{47A4CEAE-543D-4B56-A221-F5251E62BFF1}"/>
              </a:ext>
            </a:extLst>
          </p:cNvPr>
          <p:cNvGrpSpPr/>
          <p:nvPr/>
        </p:nvGrpSpPr>
        <p:grpSpPr>
          <a:xfrm rot="1385713">
            <a:off x="10437889" y="5089416"/>
            <a:ext cx="924692" cy="802962"/>
            <a:chOff x="-1864940" y="-534856"/>
            <a:chExt cx="924692" cy="802962"/>
          </a:xfrm>
        </p:grpSpPr>
        <p:sp>
          <p:nvSpPr>
            <p:cNvPr id="1317" name="Oval 189">
              <a:extLst>
                <a:ext uri="{FF2B5EF4-FFF2-40B4-BE49-F238E27FC236}">
                  <a16:creationId xmlns:a16="http://schemas.microsoft.com/office/drawing/2014/main" id="{D70BD40F-C20C-4983-A43B-80117BB12FFB}"/>
                </a:ext>
              </a:extLst>
            </p:cNvPr>
            <p:cNvSpPr>
              <a:spLocks noChangeArrowheads="1"/>
            </p:cNvSpPr>
            <p:nvPr/>
          </p:nvSpPr>
          <p:spPr bwMode="auto">
            <a:xfrm>
              <a:off x="-1864940" y="16831"/>
              <a:ext cx="51372"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8" name="Oval 190">
              <a:extLst>
                <a:ext uri="{FF2B5EF4-FFF2-40B4-BE49-F238E27FC236}">
                  <a16:creationId xmlns:a16="http://schemas.microsoft.com/office/drawing/2014/main" id="{9F3BB6A5-91BF-4B96-9F30-726FA644DB37}"/>
                </a:ext>
              </a:extLst>
            </p:cNvPr>
            <p:cNvSpPr>
              <a:spLocks noChangeArrowheads="1"/>
            </p:cNvSpPr>
            <p:nvPr/>
          </p:nvSpPr>
          <p:spPr bwMode="auto">
            <a:xfrm>
              <a:off x="-1709707" y="16831"/>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9" name="Oval 191">
              <a:extLst>
                <a:ext uri="{FF2B5EF4-FFF2-40B4-BE49-F238E27FC236}">
                  <a16:creationId xmlns:a16="http://schemas.microsoft.com/office/drawing/2014/main" id="{CBF14296-D351-4B17-B681-6572BF10C7E1}"/>
                </a:ext>
              </a:extLst>
            </p:cNvPr>
            <p:cNvSpPr>
              <a:spLocks noChangeArrowheads="1"/>
            </p:cNvSpPr>
            <p:nvPr/>
          </p:nvSpPr>
          <p:spPr bwMode="auto">
            <a:xfrm>
              <a:off x="-1369091" y="16831"/>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0" name="Oval 192">
              <a:extLst>
                <a:ext uri="{FF2B5EF4-FFF2-40B4-BE49-F238E27FC236}">
                  <a16:creationId xmlns:a16="http://schemas.microsoft.com/office/drawing/2014/main" id="{A6AD0F5D-6BA8-42C6-BD16-C46E47DA4BE4}"/>
                </a:ext>
              </a:extLst>
            </p:cNvPr>
            <p:cNvSpPr>
              <a:spLocks noChangeArrowheads="1"/>
            </p:cNvSpPr>
            <p:nvPr/>
          </p:nvSpPr>
          <p:spPr bwMode="auto">
            <a:xfrm>
              <a:off x="-1369091" y="-15738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1" name="Oval 193">
              <a:extLst>
                <a:ext uri="{FF2B5EF4-FFF2-40B4-BE49-F238E27FC236}">
                  <a16:creationId xmlns:a16="http://schemas.microsoft.com/office/drawing/2014/main" id="{B51717DC-3B59-4D64-855F-635903C7C667}"/>
                </a:ext>
              </a:extLst>
            </p:cNvPr>
            <p:cNvSpPr>
              <a:spLocks noChangeArrowheads="1"/>
            </p:cNvSpPr>
            <p:nvPr/>
          </p:nvSpPr>
          <p:spPr bwMode="auto">
            <a:xfrm>
              <a:off x="-1200457" y="-340537"/>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2" name="Oval 194">
              <a:extLst>
                <a:ext uri="{FF2B5EF4-FFF2-40B4-BE49-F238E27FC236}">
                  <a16:creationId xmlns:a16="http://schemas.microsoft.com/office/drawing/2014/main" id="{DC444AFE-C8CC-4359-BB79-F76F370F85C9}"/>
                </a:ext>
              </a:extLst>
            </p:cNvPr>
            <p:cNvSpPr>
              <a:spLocks noChangeArrowheads="1"/>
            </p:cNvSpPr>
            <p:nvPr/>
          </p:nvSpPr>
          <p:spPr bwMode="auto">
            <a:xfrm>
              <a:off x="-1200457" y="-514754"/>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3" name="Oval 195">
              <a:extLst>
                <a:ext uri="{FF2B5EF4-FFF2-40B4-BE49-F238E27FC236}">
                  <a16:creationId xmlns:a16="http://schemas.microsoft.com/office/drawing/2014/main" id="{0E950935-89A4-4048-8436-698021F7DEBF}"/>
                </a:ext>
              </a:extLst>
            </p:cNvPr>
            <p:cNvSpPr>
              <a:spLocks noChangeArrowheads="1"/>
            </p:cNvSpPr>
            <p:nvPr/>
          </p:nvSpPr>
          <p:spPr bwMode="auto">
            <a:xfrm>
              <a:off x="-1012838" y="-336069"/>
              <a:ext cx="51372" cy="5583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4" name="Oval 196">
              <a:extLst>
                <a:ext uri="{FF2B5EF4-FFF2-40B4-BE49-F238E27FC236}">
                  <a16:creationId xmlns:a16="http://schemas.microsoft.com/office/drawing/2014/main" id="{3449EE48-6B9E-468D-B242-0B3FE4478776}"/>
                </a:ext>
              </a:extLst>
            </p:cNvPr>
            <p:cNvSpPr>
              <a:spLocks noChangeArrowheads="1"/>
            </p:cNvSpPr>
            <p:nvPr/>
          </p:nvSpPr>
          <p:spPr bwMode="auto">
            <a:xfrm>
              <a:off x="-1864940" y="195516"/>
              <a:ext cx="51372"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5" name="Oval 197">
              <a:extLst>
                <a:ext uri="{FF2B5EF4-FFF2-40B4-BE49-F238E27FC236}">
                  <a16:creationId xmlns:a16="http://schemas.microsoft.com/office/drawing/2014/main" id="{CD0A1E95-1200-4722-955C-B4F035C75998}"/>
                </a:ext>
              </a:extLst>
            </p:cNvPr>
            <p:cNvSpPr>
              <a:spLocks noChangeArrowheads="1"/>
            </p:cNvSpPr>
            <p:nvPr/>
          </p:nvSpPr>
          <p:spPr bwMode="auto">
            <a:xfrm>
              <a:off x="-1369091" y="19551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6" name="Oval 198">
              <a:extLst>
                <a:ext uri="{FF2B5EF4-FFF2-40B4-BE49-F238E27FC236}">
                  <a16:creationId xmlns:a16="http://schemas.microsoft.com/office/drawing/2014/main" id="{7EB560B1-FDC7-48E7-8F2C-D7E516368752}"/>
                </a:ext>
              </a:extLst>
            </p:cNvPr>
            <p:cNvSpPr>
              <a:spLocks noChangeArrowheads="1"/>
            </p:cNvSpPr>
            <p:nvPr/>
          </p:nvSpPr>
          <p:spPr bwMode="auto">
            <a:xfrm>
              <a:off x="-1200457" y="19551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7" name="Freeform 199">
              <a:extLst>
                <a:ext uri="{FF2B5EF4-FFF2-40B4-BE49-F238E27FC236}">
                  <a16:creationId xmlns:a16="http://schemas.microsoft.com/office/drawing/2014/main" id="{0131F108-F051-4D78-A324-13FB923AC95A}"/>
                </a:ext>
              </a:extLst>
            </p:cNvPr>
            <p:cNvSpPr>
              <a:spLocks noEditPoints="1"/>
            </p:cNvSpPr>
            <p:nvPr/>
          </p:nvSpPr>
          <p:spPr bwMode="auto">
            <a:xfrm>
              <a:off x="-1034057" y="174297"/>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8" name="Freeform 200">
              <a:extLst>
                <a:ext uri="{FF2B5EF4-FFF2-40B4-BE49-F238E27FC236}">
                  <a16:creationId xmlns:a16="http://schemas.microsoft.com/office/drawing/2014/main" id="{6BE19402-41B9-4FBE-AFB9-87986D6FE73C}"/>
                </a:ext>
              </a:extLst>
            </p:cNvPr>
            <p:cNvSpPr>
              <a:spLocks noEditPoints="1"/>
            </p:cNvSpPr>
            <p:nvPr/>
          </p:nvSpPr>
          <p:spPr bwMode="auto">
            <a:xfrm>
              <a:off x="-1220559" y="-2155"/>
              <a:ext cx="92693"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9" name="Freeform 201">
              <a:extLst>
                <a:ext uri="{FF2B5EF4-FFF2-40B4-BE49-F238E27FC236}">
                  <a16:creationId xmlns:a16="http://schemas.microsoft.com/office/drawing/2014/main" id="{2C83C36F-C035-4725-A3C8-E1070609C3FF}"/>
                </a:ext>
              </a:extLst>
            </p:cNvPr>
            <p:cNvSpPr>
              <a:spLocks noEditPoints="1"/>
            </p:cNvSpPr>
            <p:nvPr/>
          </p:nvSpPr>
          <p:spPr bwMode="auto">
            <a:xfrm>
              <a:off x="-1220559" y="-178605"/>
              <a:ext cx="92693" cy="94926"/>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0" name="Freeform 202">
              <a:extLst>
                <a:ext uri="{FF2B5EF4-FFF2-40B4-BE49-F238E27FC236}">
                  <a16:creationId xmlns:a16="http://schemas.microsoft.com/office/drawing/2014/main" id="{700B1E3F-684F-4247-B40D-5E20DF8F0BA6}"/>
                </a:ext>
              </a:extLst>
            </p:cNvPr>
            <p:cNvSpPr>
              <a:spLocks noEditPoints="1"/>
            </p:cNvSpPr>
            <p:nvPr/>
          </p:nvSpPr>
          <p:spPr bwMode="auto">
            <a:xfrm>
              <a:off x="-1034057" y="-2155"/>
              <a:ext cx="93809"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1" name="Freeform 203">
              <a:extLst>
                <a:ext uri="{FF2B5EF4-FFF2-40B4-BE49-F238E27FC236}">
                  <a16:creationId xmlns:a16="http://schemas.microsoft.com/office/drawing/2014/main" id="{DD17AFEF-F66C-4429-8D31-BEFD8C60600F}"/>
                </a:ext>
              </a:extLst>
            </p:cNvPr>
            <p:cNvSpPr>
              <a:spLocks noEditPoints="1"/>
            </p:cNvSpPr>
            <p:nvPr/>
          </p:nvSpPr>
          <p:spPr bwMode="auto">
            <a:xfrm>
              <a:off x="-1561176" y="-2155"/>
              <a:ext cx="93809"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2" name="Freeform 204">
              <a:extLst>
                <a:ext uri="{FF2B5EF4-FFF2-40B4-BE49-F238E27FC236}">
                  <a16:creationId xmlns:a16="http://schemas.microsoft.com/office/drawing/2014/main" id="{163A2755-4275-4C85-B97C-574B02E237AE}"/>
                </a:ext>
              </a:extLst>
            </p:cNvPr>
            <p:cNvSpPr>
              <a:spLocks noEditPoints="1"/>
            </p:cNvSpPr>
            <p:nvPr/>
          </p:nvSpPr>
          <p:spPr bwMode="auto">
            <a:xfrm>
              <a:off x="-1390309" y="-353938"/>
              <a:ext cx="93809" cy="91575"/>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3" name="Freeform 205">
              <a:extLst>
                <a:ext uri="{FF2B5EF4-FFF2-40B4-BE49-F238E27FC236}">
                  <a16:creationId xmlns:a16="http://schemas.microsoft.com/office/drawing/2014/main" id="{3F795073-2161-4D2E-A931-04627A1826F9}"/>
                </a:ext>
              </a:extLst>
            </p:cNvPr>
            <p:cNvSpPr>
              <a:spLocks noEditPoints="1"/>
            </p:cNvSpPr>
            <p:nvPr/>
          </p:nvSpPr>
          <p:spPr bwMode="auto">
            <a:xfrm>
              <a:off x="-1390309" y="-534856"/>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4" name="Freeform 206">
              <a:extLst>
                <a:ext uri="{FF2B5EF4-FFF2-40B4-BE49-F238E27FC236}">
                  <a16:creationId xmlns:a16="http://schemas.microsoft.com/office/drawing/2014/main" id="{52DF3151-365D-4658-BB2F-C9FB84AF374F}"/>
                </a:ext>
              </a:extLst>
            </p:cNvPr>
            <p:cNvSpPr>
              <a:spLocks noEditPoints="1"/>
            </p:cNvSpPr>
            <p:nvPr/>
          </p:nvSpPr>
          <p:spPr bwMode="auto">
            <a:xfrm>
              <a:off x="-1034057" y="-534856"/>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5" name="Freeform 207">
              <a:extLst>
                <a:ext uri="{FF2B5EF4-FFF2-40B4-BE49-F238E27FC236}">
                  <a16:creationId xmlns:a16="http://schemas.microsoft.com/office/drawing/2014/main" id="{F516442E-B45B-4B2A-A2AB-E8F1DB0132A5}"/>
                </a:ext>
              </a:extLst>
            </p:cNvPr>
            <p:cNvSpPr>
              <a:spLocks noEditPoints="1"/>
            </p:cNvSpPr>
            <p:nvPr/>
          </p:nvSpPr>
          <p:spPr bwMode="auto">
            <a:xfrm>
              <a:off x="-1561176" y="174297"/>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96" name="Group 1295">
            <a:extLst>
              <a:ext uri="{FF2B5EF4-FFF2-40B4-BE49-F238E27FC236}">
                <a16:creationId xmlns:a16="http://schemas.microsoft.com/office/drawing/2014/main" id="{1D754A87-2B70-4198-A328-1DE8896C4010}"/>
              </a:ext>
            </a:extLst>
          </p:cNvPr>
          <p:cNvGrpSpPr/>
          <p:nvPr/>
        </p:nvGrpSpPr>
        <p:grpSpPr>
          <a:xfrm rot="15508246">
            <a:off x="9781451" y="2282598"/>
            <a:ext cx="924692" cy="802962"/>
            <a:chOff x="-1864940" y="-534856"/>
            <a:chExt cx="924692" cy="802962"/>
          </a:xfrm>
        </p:grpSpPr>
        <p:sp>
          <p:nvSpPr>
            <p:cNvPr id="1297" name="Oval 189">
              <a:extLst>
                <a:ext uri="{FF2B5EF4-FFF2-40B4-BE49-F238E27FC236}">
                  <a16:creationId xmlns:a16="http://schemas.microsoft.com/office/drawing/2014/main" id="{4D79288E-7104-4401-AB2E-F17EC6487D46}"/>
                </a:ext>
              </a:extLst>
            </p:cNvPr>
            <p:cNvSpPr>
              <a:spLocks noChangeArrowheads="1"/>
            </p:cNvSpPr>
            <p:nvPr/>
          </p:nvSpPr>
          <p:spPr bwMode="auto">
            <a:xfrm>
              <a:off x="-1864940" y="16831"/>
              <a:ext cx="51372"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8" name="Oval 190">
              <a:extLst>
                <a:ext uri="{FF2B5EF4-FFF2-40B4-BE49-F238E27FC236}">
                  <a16:creationId xmlns:a16="http://schemas.microsoft.com/office/drawing/2014/main" id="{7883A044-06F7-4E0D-AB83-CD20CD58BDF0}"/>
                </a:ext>
              </a:extLst>
            </p:cNvPr>
            <p:cNvSpPr>
              <a:spLocks noChangeArrowheads="1"/>
            </p:cNvSpPr>
            <p:nvPr/>
          </p:nvSpPr>
          <p:spPr bwMode="auto">
            <a:xfrm>
              <a:off x="-1709707" y="16831"/>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9" name="Oval 191">
              <a:extLst>
                <a:ext uri="{FF2B5EF4-FFF2-40B4-BE49-F238E27FC236}">
                  <a16:creationId xmlns:a16="http://schemas.microsoft.com/office/drawing/2014/main" id="{EF5210BD-03E1-44D6-B3DF-59A8381A6367}"/>
                </a:ext>
              </a:extLst>
            </p:cNvPr>
            <p:cNvSpPr>
              <a:spLocks noChangeArrowheads="1"/>
            </p:cNvSpPr>
            <p:nvPr/>
          </p:nvSpPr>
          <p:spPr bwMode="auto">
            <a:xfrm>
              <a:off x="-1369091" y="16831"/>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0" name="Oval 192">
              <a:extLst>
                <a:ext uri="{FF2B5EF4-FFF2-40B4-BE49-F238E27FC236}">
                  <a16:creationId xmlns:a16="http://schemas.microsoft.com/office/drawing/2014/main" id="{700163FF-AB01-4464-B5F3-B0079FB17132}"/>
                </a:ext>
              </a:extLst>
            </p:cNvPr>
            <p:cNvSpPr>
              <a:spLocks noChangeArrowheads="1"/>
            </p:cNvSpPr>
            <p:nvPr/>
          </p:nvSpPr>
          <p:spPr bwMode="auto">
            <a:xfrm>
              <a:off x="-1369091" y="-15738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1" name="Oval 193">
              <a:extLst>
                <a:ext uri="{FF2B5EF4-FFF2-40B4-BE49-F238E27FC236}">
                  <a16:creationId xmlns:a16="http://schemas.microsoft.com/office/drawing/2014/main" id="{6BB16D1B-C38D-4A9C-9AEB-69CF05FF22C2}"/>
                </a:ext>
              </a:extLst>
            </p:cNvPr>
            <p:cNvSpPr>
              <a:spLocks noChangeArrowheads="1"/>
            </p:cNvSpPr>
            <p:nvPr/>
          </p:nvSpPr>
          <p:spPr bwMode="auto">
            <a:xfrm>
              <a:off x="-1200457" y="-340537"/>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2" name="Oval 194">
              <a:extLst>
                <a:ext uri="{FF2B5EF4-FFF2-40B4-BE49-F238E27FC236}">
                  <a16:creationId xmlns:a16="http://schemas.microsoft.com/office/drawing/2014/main" id="{2FAA4B9A-3FD8-4D8D-9B7F-6EA15DD3FD26}"/>
                </a:ext>
              </a:extLst>
            </p:cNvPr>
            <p:cNvSpPr>
              <a:spLocks noChangeArrowheads="1"/>
            </p:cNvSpPr>
            <p:nvPr/>
          </p:nvSpPr>
          <p:spPr bwMode="auto">
            <a:xfrm>
              <a:off x="-1200457" y="-514754"/>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3" name="Oval 195">
              <a:extLst>
                <a:ext uri="{FF2B5EF4-FFF2-40B4-BE49-F238E27FC236}">
                  <a16:creationId xmlns:a16="http://schemas.microsoft.com/office/drawing/2014/main" id="{3E794201-F340-4EAC-B9BC-CE2ED66F21B7}"/>
                </a:ext>
              </a:extLst>
            </p:cNvPr>
            <p:cNvSpPr>
              <a:spLocks noChangeArrowheads="1"/>
            </p:cNvSpPr>
            <p:nvPr/>
          </p:nvSpPr>
          <p:spPr bwMode="auto">
            <a:xfrm>
              <a:off x="-1012838" y="-336069"/>
              <a:ext cx="51372" cy="5583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4" name="Oval 196">
              <a:extLst>
                <a:ext uri="{FF2B5EF4-FFF2-40B4-BE49-F238E27FC236}">
                  <a16:creationId xmlns:a16="http://schemas.microsoft.com/office/drawing/2014/main" id="{E9DD1280-E494-4FEF-868D-84A17DCA9169}"/>
                </a:ext>
              </a:extLst>
            </p:cNvPr>
            <p:cNvSpPr>
              <a:spLocks noChangeArrowheads="1"/>
            </p:cNvSpPr>
            <p:nvPr/>
          </p:nvSpPr>
          <p:spPr bwMode="auto">
            <a:xfrm>
              <a:off x="-1864940" y="195516"/>
              <a:ext cx="51372"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5" name="Oval 197">
              <a:extLst>
                <a:ext uri="{FF2B5EF4-FFF2-40B4-BE49-F238E27FC236}">
                  <a16:creationId xmlns:a16="http://schemas.microsoft.com/office/drawing/2014/main" id="{CF7081BE-8E03-4880-B0B7-A6AC6DF92D68}"/>
                </a:ext>
              </a:extLst>
            </p:cNvPr>
            <p:cNvSpPr>
              <a:spLocks noChangeArrowheads="1"/>
            </p:cNvSpPr>
            <p:nvPr/>
          </p:nvSpPr>
          <p:spPr bwMode="auto">
            <a:xfrm>
              <a:off x="-1369091" y="19551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6" name="Oval 198">
              <a:extLst>
                <a:ext uri="{FF2B5EF4-FFF2-40B4-BE49-F238E27FC236}">
                  <a16:creationId xmlns:a16="http://schemas.microsoft.com/office/drawing/2014/main" id="{725F621D-AE9D-44B8-83E9-005C302A39FC}"/>
                </a:ext>
              </a:extLst>
            </p:cNvPr>
            <p:cNvSpPr>
              <a:spLocks noChangeArrowheads="1"/>
            </p:cNvSpPr>
            <p:nvPr/>
          </p:nvSpPr>
          <p:spPr bwMode="auto">
            <a:xfrm>
              <a:off x="-1200457" y="19551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7" name="Freeform 199">
              <a:extLst>
                <a:ext uri="{FF2B5EF4-FFF2-40B4-BE49-F238E27FC236}">
                  <a16:creationId xmlns:a16="http://schemas.microsoft.com/office/drawing/2014/main" id="{E0DE0C9F-641E-4F9E-B86A-D109EF054B3C}"/>
                </a:ext>
              </a:extLst>
            </p:cNvPr>
            <p:cNvSpPr>
              <a:spLocks noEditPoints="1"/>
            </p:cNvSpPr>
            <p:nvPr/>
          </p:nvSpPr>
          <p:spPr bwMode="auto">
            <a:xfrm>
              <a:off x="-1034057" y="174297"/>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8" name="Freeform 200">
              <a:extLst>
                <a:ext uri="{FF2B5EF4-FFF2-40B4-BE49-F238E27FC236}">
                  <a16:creationId xmlns:a16="http://schemas.microsoft.com/office/drawing/2014/main" id="{701F733D-1A5C-4341-9A9D-25BC5CAF076D}"/>
                </a:ext>
              </a:extLst>
            </p:cNvPr>
            <p:cNvSpPr>
              <a:spLocks noEditPoints="1"/>
            </p:cNvSpPr>
            <p:nvPr/>
          </p:nvSpPr>
          <p:spPr bwMode="auto">
            <a:xfrm>
              <a:off x="-1220559" y="-2155"/>
              <a:ext cx="92693"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9" name="Freeform 201">
              <a:extLst>
                <a:ext uri="{FF2B5EF4-FFF2-40B4-BE49-F238E27FC236}">
                  <a16:creationId xmlns:a16="http://schemas.microsoft.com/office/drawing/2014/main" id="{1F01A68E-9A81-439C-89B5-FED539491CE9}"/>
                </a:ext>
              </a:extLst>
            </p:cNvPr>
            <p:cNvSpPr>
              <a:spLocks noEditPoints="1"/>
            </p:cNvSpPr>
            <p:nvPr/>
          </p:nvSpPr>
          <p:spPr bwMode="auto">
            <a:xfrm>
              <a:off x="-1220559" y="-178605"/>
              <a:ext cx="92693" cy="94926"/>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0" name="Freeform 202">
              <a:extLst>
                <a:ext uri="{FF2B5EF4-FFF2-40B4-BE49-F238E27FC236}">
                  <a16:creationId xmlns:a16="http://schemas.microsoft.com/office/drawing/2014/main" id="{54DF09A6-BD6E-43DB-AA3C-B628756B2447}"/>
                </a:ext>
              </a:extLst>
            </p:cNvPr>
            <p:cNvSpPr>
              <a:spLocks noEditPoints="1"/>
            </p:cNvSpPr>
            <p:nvPr/>
          </p:nvSpPr>
          <p:spPr bwMode="auto">
            <a:xfrm>
              <a:off x="-1034057" y="-2155"/>
              <a:ext cx="93809"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1" name="Freeform 203">
              <a:extLst>
                <a:ext uri="{FF2B5EF4-FFF2-40B4-BE49-F238E27FC236}">
                  <a16:creationId xmlns:a16="http://schemas.microsoft.com/office/drawing/2014/main" id="{F34D16D2-2589-4BD9-8D44-BE1CAA3469FC}"/>
                </a:ext>
              </a:extLst>
            </p:cNvPr>
            <p:cNvSpPr>
              <a:spLocks noEditPoints="1"/>
            </p:cNvSpPr>
            <p:nvPr/>
          </p:nvSpPr>
          <p:spPr bwMode="auto">
            <a:xfrm>
              <a:off x="-1561176" y="-2155"/>
              <a:ext cx="93809"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2" name="Freeform 204">
              <a:extLst>
                <a:ext uri="{FF2B5EF4-FFF2-40B4-BE49-F238E27FC236}">
                  <a16:creationId xmlns:a16="http://schemas.microsoft.com/office/drawing/2014/main" id="{BE680ACE-D9DF-4196-AABC-8BC7090138B7}"/>
                </a:ext>
              </a:extLst>
            </p:cNvPr>
            <p:cNvSpPr>
              <a:spLocks noEditPoints="1"/>
            </p:cNvSpPr>
            <p:nvPr/>
          </p:nvSpPr>
          <p:spPr bwMode="auto">
            <a:xfrm>
              <a:off x="-1390309" y="-353938"/>
              <a:ext cx="93809" cy="91575"/>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3" name="Freeform 205">
              <a:extLst>
                <a:ext uri="{FF2B5EF4-FFF2-40B4-BE49-F238E27FC236}">
                  <a16:creationId xmlns:a16="http://schemas.microsoft.com/office/drawing/2014/main" id="{352E8BCD-257E-458F-8434-3508420CCCF8}"/>
                </a:ext>
              </a:extLst>
            </p:cNvPr>
            <p:cNvSpPr>
              <a:spLocks noEditPoints="1"/>
            </p:cNvSpPr>
            <p:nvPr/>
          </p:nvSpPr>
          <p:spPr bwMode="auto">
            <a:xfrm>
              <a:off x="-1390309" y="-534856"/>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4" name="Freeform 206">
              <a:extLst>
                <a:ext uri="{FF2B5EF4-FFF2-40B4-BE49-F238E27FC236}">
                  <a16:creationId xmlns:a16="http://schemas.microsoft.com/office/drawing/2014/main" id="{06CA68C6-6049-4862-A3D7-712AD758DA44}"/>
                </a:ext>
              </a:extLst>
            </p:cNvPr>
            <p:cNvSpPr>
              <a:spLocks noEditPoints="1"/>
            </p:cNvSpPr>
            <p:nvPr/>
          </p:nvSpPr>
          <p:spPr bwMode="auto">
            <a:xfrm>
              <a:off x="-1034057" y="-534856"/>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5" name="Freeform 207">
              <a:extLst>
                <a:ext uri="{FF2B5EF4-FFF2-40B4-BE49-F238E27FC236}">
                  <a16:creationId xmlns:a16="http://schemas.microsoft.com/office/drawing/2014/main" id="{C505E44B-DA49-4364-8444-745C324F0048}"/>
                </a:ext>
              </a:extLst>
            </p:cNvPr>
            <p:cNvSpPr>
              <a:spLocks noEditPoints="1"/>
            </p:cNvSpPr>
            <p:nvPr/>
          </p:nvSpPr>
          <p:spPr bwMode="auto">
            <a:xfrm>
              <a:off x="-1561176" y="174297"/>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76" name="Group 1275">
            <a:extLst>
              <a:ext uri="{FF2B5EF4-FFF2-40B4-BE49-F238E27FC236}">
                <a16:creationId xmlns:a16="http://schemas.microsoft.com/office/drawing/2014/main" id="{82C5D30E-7346-4E6C-887C-A11ECF8D3E36}"/>
              </a:ext>
            </a:extLst>
          </p:cNvPr>
          <p:cNvGrpSpPr/>
          <p:nvPr/>
        </p:nvGrpSpPr>
        <p:grpSpPr>
          <a:xfrm rot="16933073">
            <a:off x="7316266" y="2359552"/>
            <a:ext cx="924692" cy="802962"/>
            <a:chOff x="-1864940" y="-534856"/>
            <a:chExt cx="924692" cy="802962"/>
          </a:xfrm>
        </p:grpSpPr>
        <p:sp>
          <p:nvSpPr>
            <p:cNvPr id="1277" name="Oval 189">
              <a:extLst>
                <a:ext uri="{FF2B5EF4-FFF2-40B4-BE49-F238E27FC236}">
                  <a16:creationId xmlns:a16="http://schemas.microsoft.com/office/drawing/2014/main" id="{0271D6A7-CDB9-412F-BE9E-D2729471211B}"/>
                </a:ext>
              </a:extLst>
            </p:cNvPr>
            <p:cNvSpPr>
              <a:spLocks noChangeArrowheads="1"/>
            </p:cNvSpPr>
            <p:nvPr/>
          </p:nvSpPr>
          <p:spPr bwMode="auto">
            <a:xfrm>
              <a:off x="-1864940" y="16831"/>
              <a:ext cx="51372"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8" name="Oval 190">
              <a:extLst>
                <a:ext uri="{FF2B5EF4-FFF2-40B4-BE49-F238E27FC236}">
                  <a16:creationId xmlns:a16="http://schemas.microsoft.com/office/drawing/2014/main" id="{1C3969CE-E217-4180-A330-0DCD80F0C654}"/>
                </a:ext>
              </a:extLst>
            </p:cNvPr>
            <p:cNvSpPr>
              <a:spLocks noChangeArrowheads="1"/>
            </p:cNvSpPr>
            <p:nvPr/>
          </p:nvSpPr>
          <p:spPr bwMode="auto">
            <a:xfrm>
              <a:off x="-1709707" y="16831"/>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9" name="Oval 191">
              <a:extLst>
                <a:ext uri="{FF2B5EF4-FFF2-40B4-BE49-F238E27FC236}">
                  <a16:creationId xmlns:a16="http://schemas.microsoft.com/office/drawing/2014/main" id="{992A239B-E1DA-4AF2-9AEA-780CBC23B21C}"/>
                </a:ext>
              </a:extLst>
            </p:cNvPr>
            <p:cNvSpPr>
              <a:spLocks noChangeArrowheads="1"/>
            </p:cNvSpPr>
            <p:nvPr/>
          </p:nvSpPr>
          <p:spPr bwMode="auto">
            <a:xfrm>
              <a:off x="-1369091" y="16831"/>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0" name="Oval 192">
              <a:extLst>
                <a:ext uri="{FF2B5EF4-FFF2-40B4-BE49-F238E27FC236}">
                  <a16:creationId xmlns:a16="http://schemas.microsoft.com/office/drawing/2014/main" id="{A9683997-E91B-49DA-88AE-45149775C1B3}"/>
                </a:ext>
              </a:extLst>
            </p:cNvPr>
            <p:cNvSpPr>
              <a:spLocks noChangeArrowheads="1"/>
            </p:cNvSpPr>
            <p:nvPr/>
          </p:nvSpPr>
          <p:spPr bwMode="auto">
            <a:xfrm>
              <a:off x="-1369091" y="-15738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1" name="Oval 193">
              <a:extLst>
                <a:ext uri="{FF2B5EF4-FFF2-40B4-BE49-F238E27FC236}">
                  <a16:creationId xmlns:a16="http://schemas.microsoft.com/office/drawing/2014/main" id="{2B93AE36-588C-4734-B385-2165FD0C98CE}"/>
                </a:ext>
              </a:extLst>
            </p:cNvPr>
            <p:cNvSpPr>
              <a:spLocks noChangeArrowheads="1"/>
            </p:cNvSpPr>
            <p:nvPr/>
          </p:nvSpPr>
          <p:spPr bwMode="auto">
            <a:xfrm>
              <a:off x="-1200457" y="-340537"/>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2" name="Oval 194">
              <a:extLst>
                <a:ext uri="{FF2B5EF4-FFF2-40B4-BE49-F238E27FC236}">
                  <a16:creationId xmlns:a16="http://schemas.microsoft.com/office/drawing/2014/main" id="{AE9B4865-706B-4E5C-9FAC-F6EEF6ACCE8A}"/>
                </a:ext>
              </a:extLst>
            </p:cNvPr>
            <p:cNvSpPr>
              <a:spLocks noChangeArrowheads="1"/>
            </p:cNvSpPr>
            <p:nvPr/>
          </p:nvSpPr>
          <p:spPr bwMode="auto">
            <a:xfrm>
              <a:off x="-1200457" y="-514754"/>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3" name="Oval 195">
              <a:extLst>
                <a:ext uri="{FF2B5EF4-FFF2-40B4-BE49-F238E27FC236}">
                  <a16:creationId xmlns:a16="http://schemas.microsoft.com/office/drawing/2014/main" id="{AE3C2834-C370-40F6-95DA-F909652B2514}"/>
                </a:ext>
              </a:extLst>
            </p:cNvPr>
            <p:cNvSpPr>
              <a:spLocks noChangeArrowheads="1"/>
            </p:cNvSpPr>
            <p:nvPr/>
          </p:nvSpPr>
          <p:spPr bwMode="auto">
            <a:xfrm>
              <a:off x="-1012838" y="-336069"/>
              <a:ext cx="51372" cy="5583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4" name="Oval 196">
              <a:extLst>
                <a:ext uri="{FF2B5EF4-FFF2-40B4-BE49-F238E27FC236}">
                  <a16:creationId xmlns:a16="http://schemas.microsoft.com/office/drawing/2014/main" id="{32AB6F90-5FEC-468B-A0EB-9E237B7504FB}"/>
                </a:ext>
              </a:extLst>
            </p:cNvPr>
            <p:cNvSpPr>
              <a:spLocks noChangeArrowheads="1"/>
            </p:cNvSpPr>
            <p:nvPr/>
          </p:nvSpPr>
          <p:spPr bwMode="auto">
            <a:xfrm>
              <a:off x="-1864940" y="195516"/>
              <a:ext cx="51372"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5" name="Oval 197">
              <a:extLst>
                <a:ext uri="{FF2B5EF4-FFF2-40B4-BE49-F238E27FC236}">
                  <a16:creationId xmlns:a16="http://schemas.microsoft.com/office/drawing/2014/main" id="{46D27719-8399-44D2-9A61-9F74921F6A8A}"/>
                </a:ext>
              </a:extLst>
            </p:cNvPr>
            <p:cNvSpPr>
              <a:spLocks noChangeArrowheads="1"/>
            </p:cNvSpPr>
            <p:nvPr/>
          </p:nvSpPr>
          <p:spPr bwMode="auto">
            <a:xfrm>
              <a:off x="-1369091" y="19551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6" name="Oval 198">
              <a:extLst>
                <a:ext uri="{FF2B5EF4-FFF2-40B4-BE49-F238E27FC236}">
                  <a16:creationId xmlns:a16="http://schemas.microsoft.com/office/drawing/2014/main" id="{91716AE8-909E-43AD-BDE1-65A5CC4B95AE}"/>
                </a:ext>
              </a:extLst>
            </p:cNvPr>
            <p:cNvSpPr>
              <a:spLocks noChangeArrowheads="1"/>
            </p:cNvSpPr>
            <p:nvPr/>
          </p:nvSpPr>
          <p:spPr bwMode="auto">
            <a:xfrm>
              <a:off x="-1200457" y="19551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7" name="Freeform 199">
              <a:extLst>
                <a:ext uri="{FF2B5EF4-FFF2-40B4-BE49-F238E27FC236}">
                  <a16:creationId xmlns:a16="http://schemas.microsoft.com/office/drawing/2014/main" id="{ACB437A2-D479-4332-8774-35F29E181FBE}"/>
                </a:ext>
              </a:extLst>
            </p:cNvPr>
            <p:cNvSpPr>
              <a:spLocks noEditPoints="1"/>
            </p:cNvSpPr>
            <p:nvPr/>
          </p:nvSpPr>
          <p:spPr bwMode="auto">
            <a:xfrm>
              <a:off x="-1034057" y="174297"/>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8" name="Freeform 200">
              <a:extLst>
                <a:ext uri="{FF2B5EF4-FFF2-40B4-BE49-F238E27FC236}">
                  <a16:creationId xmlns:a16="http://schemas.microsoft.com/office/drawing/2014/main" id="{190B309E-F5F7-4FF2-8621-5A344D3DDCAF}"/>
                </a:ext>
              </a:extLst>
            </p:cNvPr>
            <p:cNvSpPr>
              <a:spLocks noEditPoints="1"/>
            </p:cNvSpPr>
            <p:nvPr/>
          </p:nvSpPr>
          <p:spPr bwMode="auto">
            <a:xfrm>
              <a:off x="-1220559" y="-2155"/>
              <a:ext cx="92693"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9" name="Freeform 201">
              <a:extLst>
                <a:ext uri="{FF2B5EF4-FFF2-40B4-BE49-F238E27FC236}">
                  <a16:creationId xmlns:a16="http://schemas.microsoft.com/office/drawing/2014/main" id="{363F2C2D-D488-499F-A4F2-1A3AB946E644}"/>
                </a:ext>
              </a:extLst>
            </p:cNvPr>
            <p:cNvSpPr>
              <a:spLocks noEditPoints="1"/>
            </p:cNvSpPr>
            <p:nvPr/>
          </p:nvSpPr>
          <p:spPr bwMode="auto">
            <a:xfrm>
              <a:off x="-1220559" y="-178605"/>
              <a:ext cx="92693" cy="94926"/>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0" name="Freeform 202">
              <a:extLst>
                <a:ext uri="{FF2B5EF4-FFF2-40B4-BE49-F238E27FC236}">
                  <a16:creationId xmlns:a16="http://schemas.microsoft.com/office/drawing/2014/main" id="{B0A089E4-FAE1-4D32-B7A7-C84935F98F2D}"/>
                </a:ext>
              </a:extLst>
            </p:cNvPr>
            <p:cNvSpPr>
              <a:spLocks noEditPoints="1"/>
            </p:cNvSpPr>
            <p:nvPr/>
          </p:nvSpPr>
          <p:spPr bwMode="auto">
            <a:xfrm>
              <a:off x="-1034057" y="-2155"/>
              <a:ext cx="93809"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1" name="Freeform 203">
              <a:extLst>
                <a:ext uri="{FF2B5EF4-FFF2-40B4-BE49-F238E27FC236}">
                  <a16:creationId xmlns:a16="http://schemas.microsoft.com/office/drawing/2014/main" id="{507F6DE0-2EBA-4D82-8B86-AAF14278AF7B}"/>
                </a:ext>
              </a:extLst>
            </p:cNvPr>
            <p:cNvSpPr>
              <a:spLocks noEditPoints="1"/>
            </p:cNvSpPr>
            <p:nvPr/>
          </p:nvSpPr>
          <p:spPr bwMode="auto">
            <a:xfrm>
              <a:off x="-1561176" y="-2155"/>
              <a:ext cx="93809"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2" name="Freeform 204">
              <a:extLst>
                <a:ext uri="{FF2B5EF4-FFF2-40B4-BE49-F238E27FC236}">
                  <a16:creationId xmlns:a16="http://schemas.microsoft.com/office/drawing/2014/main" id="{2764A721-EFD2-488E-8179-47A535123611}"/>
                </a:ext>
              </a:extLst>
            </p:cNvPr>
            <p:cNvSpPr>
              <a:spLocks noEditPoints="1"/>
            </p:cNvSpPr>
            <p:nvPr/>
          </p:nvSpPr>
          <p:spPr bwMode="auto">
            <a:xfrm>
              <a:off x="-1390309" y="-353938"/>
              <a:ext cx="93809" cy="91575"/>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3" name="Freeform 205">
              <a:extLst>
                <a:ext uri="{FF2B5EF4-FFF2-40B4-BE49-F238E27FC236}">
                  <a16:creationId xmlns:a16="http://schemas.microsoft.com/office/drawing/2014/main" id="{B9A0BFED-CF86-445E-B5AA-6C7690E3068E}"/>
                </a:ext>
              </a:extLst>
            </p:cNvPr>
            <p:cNvSpPr>
              <a:spLocks noEditPoints="1"/>
            </p:cNvSpPr>
            <p:nvPr/>
          </p:nvSpPr>
          <p:spPr bwMode="auto">
            <a:xfrm>
              <a:off x="-1390309" y="-534856"/>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4" name="Freeform 206">
              <a:extLst>
                <a:ext uri="{FF2B5EF4-FFF2-40B4-BE49-F238E27FC236}">
                  <a16:creationId xmlns:a16="http://schemas.microsoft.com/office/drawing/2014/main" id="{3265B6A0-0233-4314-8DF2-9401CA13E3B6}"/>
                </a:ext>
              </a:extLst>
            </p:cNvPr>
            <p:cNvSpPr>
              <a:spLocks noEditPoints="1"/>
            </p:cNvSpPr>
            <p:nvPr/>
          </p:nvSpPr>
          <p:spPr bwMode="auto">
            <a:xfrm>
              <a:off x="-1034057" y="-534856"/>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5" name="Freeform 207">
              <a:extLst>
                <a:ext uri="{FF2B5EF4-FFF2-40B4-BE49-F238E27FC236}">
                  <a16:creationId xmlns:a16="http://schemas.microsoft.com/office/drawing/2014/main" id="{873A00CF-D65B-4FBA-BA42-574A499571BA}"/>
                </a:ext>
              </a:extLst>
            </p:cNvPr>
            <p:cNvSpPr>
              <a:spLocks noEditPoints="1"/>
            </p:cNvSpPr>
            <p:nvPr/>
          </p:nvSpPr>
          <p:spPr bwMode="auto">
            <a:xfrm>
              <a:off x="-1561176" y="174297"/>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36" name="Group 1235">
            <a:extLst>
              <a:ext uri="{FF2B5EF4-FFF2-40B4-BE49-F238E27FC236}">
                <a16:creationId xmlns:a16="http://schemas.microsoft.com/office/drawing/2014/main" id="{47E289EC-1927-4AEE-B663-088A723ADFBF}"/>
              </a:ext>
            </a:extLst>
          </p:cNvPr>
          <p:cNvGrpSpPr/>
          <p:nvPr/>
        </p:nvGrpSpPr>
        <p:grpSpPr>
          <a:xfrm rot="6411605">
            <a:off x="2706920" y="5027511"/>
            <a:ext cx="924692" cy="802962"/>
            <a:chOff x="-1864940" y="-534856"/>
            <a:chExt cx="924692" cy="802962"/>
          </a:xfrm>
        </p:grpSpPr>
        <p:sp>
          <p:nvSpPr>
            <p:cNvPr id="1237" name="Oval 189">
              <a:extLst>
                <a:ext uri="{FF2B5EF4-FFF2-40B4-BE49-F238E27FC236}">
                  <a16:creationId xmlns:a16="http://schemas.microsoft.com/office/drawing/2014/main" id="{38EAB995-C89E-4737-B85F-C9111BB2DB40}"/>
                </a:ext>
              </a:extLst>
            </p:cNvPr>
            <p:cNvSpPr>
              <a:spLocks noChangeArrowheads="1"/>
            </p:cNvSpPr>
            <p:nvPr/>
          </p:nvSpPr>
          <p:spPr bwMode="auto">
            <a:xfrm>
              <a:off x="-1864940" y="16831"/>
              <a:ext cx="51372"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8" name="Oval 190">
              <a:extLst>
                <a:ext uri="{FF2B5EF4-FFF2-40B4-BE49-F238E27FC236}">
                  <a16:creationId xmlns:a16="http://schemas.microsoft.com/office/drawing/2014/main" id="{48F7D57E-6F47-4DC5-8D8F-4BB5EEB4FE63}"/>
                </a:ext>
              </a:extLst>
            </p:cNvPr>
            <p:cNvSpPr>
              <a:spLocks noChangeArrowheads="1"/>
            </p:cNvSpPr>
            <p:nvPr/>
          </p:nvSpPr>
          <p:spPr bwMode="auto">
            <a:xfrm>
              <a:off x="-1709707" y="16831"/>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9" name="Oval 191">
              <a:extLst>
                <a:ext uri="{FF2B5EF4-FFF2-40B4-BE49-F238E27FC236}">
                  <a16:creationId xmlns:a16="http://schemas.microsoft.com/office/drawing/2014/main" id="{1F456B1D-9F57-47A9-AE09-6D4FE95ABAD4}"/>
                </a:ext>
              </a:extLst>
            </p:cNvPr>
            <p:cNvSpPr>
              <a:spLocks noChangeArrowheads="1"/>
            </p:cNvSpPr>
            <p:nvPr/>
          </p:nvSpPr>
          <p:spPr bwMode="auto">
            <a:xfrm>
              <a:off x="-1369091" y="16831"/>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0" name="Oval 192">
              <a:extLst>
                <a:ext uri="{FF2B5EF4-FFF2-40B4-BE49-F238E27FC236}">
                  <a16:creationId xmlns:a16="http://schemas.microsoft.com/office/drawing/2014/main" id="{DF71E0EA-B0DA-4F1E-A768-8E303A043213}"/>
                </a:ext>
              </a:extLst>
            </p:cNvPr>
            <p:cNvSpPr>
              <a:spLocks noChangeArrowheads="1"/>
            </p:cNvSpPr>
            <p:nvPr/>
          </p:nvSpPr>
          <p:spPr bwMode="auto">
            <a:xfrm>
              <a:off x="-1369091" y="-15738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1" name="Oval 193">
              <a:extLst>
                <a:ext uri="{FF2B5EF4-FFF2-40B4-BE49-F238E27FC236}">
                  <a16:creationId xmlns:a16="http://schemas.microsoft.com/office/drawing/2014/main" id="{3D6201CF-ECED-49B8-898D-F27565E412D2}"/>
                </a:ext>
              </a:extLst>
            </p:cNvPr>
            <p:cNvSpPr>
              <a:spLocks noChangeArrowheads="1"/>
            </p:cNvSpPr>
            <p:nvPr/>
          </p:nvSpPr>
          <p:spPr bwMode="auto">
            <a:xfrm>
              <a:off x="-1200457" y="-340537"/>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2" name="Oval 194">
              <a:extLst>
                <a:ext uri="{FF2B5EF4-FFF2-40B4-BE49-F238E27FC236}">
                  <a16:creationId xmlns:a16="http://schemas.microsoft.com/office/drawing/2014/main" id="{9DA692D5-1D12-49E3-A588-0460C8679174}"/>
                </a:ext>
              </a:extLst>
            </p:cNvPr>
            <p:cNvSpPr>
              <a:spLocks noChangeArrowheads="1"/>
            </p:cNvSpPr>
            <p:nvPr/>
          </p:nvSpPr>
          <p:spPr bwMode="auto">
            <a:xfrm>
              <a:off x="-1200457" y="-514754"/>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3" name="Oval 195">
              <a:extLst>
                <a:ext uri="{FF2B5EF4-FFF2-40B4-BE49-F238E27FC236}">
                  <a16:creationId xmlns:a16="http://schemas.microsoft.com/office/drawing/2014/main" id="{26DC4E44-8B58-4B2A-BE12-031CAE8BD9D1}"/>
                </a:ext>
              </a:extLst>
            </p:cNvPr>
            <p:cNvSpPr>
              <a:spLocks noChangeArrowheads="1"/>
            </p:cNvSpPr>
            <p:nvPr/>
          </p:nvSpPr>
          <p:spPr bwMode="auto">
            <a:xfrm>
              <a:off x="-1012838" y="-336069"/>
              <a:ext cx="51372" cy="5583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4" name="Oval 196">
              <a:extLst>
                <a:ext uri="{FF2B5EF4-FFF2-40B4-BE49-F238E27FC236}">
                  <a16:creationId xmlns:a16="http://schemas.microsoft.com/office/drawing/2014/main" id="{E8F519A7-38B0-4263-AE52-9B1A376F85EC}"/>
                </a:ext>
              </a:extLst>
            </p:cNvPr>
            <p:cNvSpPr>
              <a:spLocks noChangeArrowheads="1"/>
            </p:cNvSpPr>
            <p:nvPr/>
          </p:nvSpPr>
          <p:spPr bwMode="auto">
            <a:xfrm>
              <a:off x="-1864940" y="195516"/>
              <a:ext cx="51372"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5" name="Oval 197">
              <a:extLst>
                <a:ext uri="{FF2B5EF4-FFF2-40B4-BE49-F238E27FC236}">
                  <a16:creationId xmlns:a16="http://schemas.microsoft.com/office/drawing/2014/main" id="{D417F464-556F-4C02-9A6C-65BA3D63FD62}"/>
                </a:ext>
              </a:extLst>
            </p:cNvPr>
            <p:cNvSpPr>
              <a:spLocks noChangeArrowheads="1"/>
            </p:cNvSpPr>
            <p:nvPr/>
          </p:nvSpPr>
          <p:spPr bwMode="auto">
            <a:xfrm>
              <a:off x="-1369091" y="19551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6" name="Oval 198">
              <a:extLst>
                <a:ext uri="{FF2B5EF4-FFF2-40B4-BE49-F238E27FC236}">
                  <a16:creationId xmlns:a16="http://schemas.microsoft.com/office/drawing/2014/main" id="{85FA7427-6705-4EAA-967B-802B888A1059}"/>
                </a:ext>
              </a:extLst>
            </p:cNvPr>
            <p:cNvSpPr>
              <a:spLocks noChangeArrowheads="1"/>
            </p:cNvSpPr>
            <p:nvPr/>
          </p:nvSpPr>
          <p:spPr bwMode="auto">
            <a:xfrm>
              <a:off x="-1200457" y="19551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7" name="Freeform 199">
              <a:extLst>
                <a:ext uri="{FF2B5EF4-FFF2-40B4-BE49-F238E27FC236}">
                  <a16:creationId xmlns:a16="http://schemas.microsoft.com/office/drawing/2014/main" id="{A0332DF0-A1FE-4365-ABB9-4255C062D488}"/>
                </a:ext>
              </a:extLst>
            </p:cNvPr>
            <p:cNvSpPr>
              <a:spLocks noEditPoints="1"/>
            </p:cNvSpPr>
            <p:nvPr/>
          </p:nvSpPr>
          <p:spPr bwMode="auto">
            <a:xfrm>
              <a:off x="-1034057" y="174297"/>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8" name="Freeform 200">
              <a:extLst>
                <a:ext uri="{FF2B5EF4-FFF2-40B4-BE49-F238E27FC236}">
                  <a16:creationId xmlns:a16="http://schemas.microsoft.com/office/drawing/2014/main" id="{00115A54-B2D5-4280-B076-B98BFC61A71C}"/>
                </a:ext>
              </a:extLst>
            </p:cNvPr>
            <p:cNvSpPr>
              <a:spLocks noEditPoints="1"/>
            </p:cNvSpPr>
            <p:nvPr/>
          </p:nvSpPr>
          <p:spPr bwMode="auto">
            <a:xfrm>
              <a:off x="-1220559" y="-2155"/>
              <a:ext cx="92693"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9" name="Freeform 201">
              <a:extLst>
                <a:ext uri="{FF2B5EF4-FFF2-40B4-BE49-F238E27FC236}">
                  <a16:creationId xmlns:a16="http://schemas.microsoft.com/office/drawing/2014/main" id="{3B9AC650-9282-4BF9-A98E-62894A576EF0}"/>
                </a:ext>
              </a:extLst>
            </p:cNvPr>
            <p:cNvSpPr>
              <a:spLocks noEditPoints="1"/>
            </p:cNvSpPr>
            <p:nvPr/>
          </p:nvSpPr>
          <p:spPr bwMode="auto">
            <a:xfrm>
              <a:off x="-1220559" y="-178605"/>
              <a:ext cx="92693" cy="94926"/>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0" name="Freeform 202">
              <a:extLst>
                <a:ext uri="{FF2B5EF4-FFF2-40B4-BE49-F238E27FC236}">
                  <a16:creationId xmlns:a16="http://schemas.microsoft.com/office/drawing/2014/main" id="{8BFEFF84-F390-4FB1-91E3-C7D1F082D395}"/>
                </a:ext>
              </a:extLst>
            </p:cNvPr>
            <p:cNvSpPr>
              <a:spLocks noEditPoints="1"/>
            </p:cNvSpPr>
            <p:nvPr/>
          </p:nvSpPr>
          <p:spPr bwMode="auto">
            <a:xfrm>
              <a:off x="-1034057" y="-2155"/>
              <a:ext cx="93809"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1" name="Freeform 203">
              <a:extLst>
                <a:ext uri="{FF2B5EF4-FFF2-40B4-BE49-F238E27FC236}">
                  <a16:creationId xmlns:a16="http://schemas.microsoft.com/office/drawing/2014/main" id="{04A68BCE-7276-42F3-86C8-02D39BAC4F97}"/>
                </a:ext>
              </a:extLst>
            </p:cNvPr>
            <p:cNvSpPr>
              <a:spLocks noEditPoints="1"/>
            </p:cNvSpPr>
            <p:nvPr/>
          </p:nvSpPr>
          <p:spPr bwMode="auto">
            <a:xfrm>
              <a:off x="-1561176" y="-2155"/>
              <a:ext cx="93809"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2" name="Freeform 204">
              <a:extLst>
                <a:ext uri="{FF2B5EF4-FFF2-40B4-BE49-F238E27FC236}">
                  <a16:creationId xmlns:a16="http://schemas.microsoft.com/office/drawing/2014/main" id="{11FA2F56-7C3B-4371-B83C-3A04E61F5936}"/>
                </a:ext>
              </a:extLst>
            </p:cNvPr>
            <p:cNvSpPr>
              <a:spLocks noEditPoints="1"/>
            </p:cNvSpPr>
            <p:nvPr/>
          </p:nvSpPr>
          <p:spPr bwMode="auto">
            <a:xfrm>
              <a:off x="-1390309" y="-353938"/>
              <a:ext cx="93809" cy="91575"/>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3" name="Freeform 205">
              <a:extLst>
                <a:ext uri="{FF2B5EF4-FFF2-40B4-BE49-F238E27FC236}">
                  <a16:creationId xmlns:a16="http://schemas.microsoft.com/office/drawing/2014/main" id="{5604E3CB-0F21-445B-9151-FC22AFADE3DF}"/>
                </a:ext>
              </a:extLst>
            </p:cNvPr>
            <p:cNvSpPr>
              <a:spLocks noEditPoints="1"/>
            </p:cNvSpPr>
            <p:nvPr/>
          </p:nvSpPr>
          <p:spPr bwMode="auto">
            <a:xfrm>
              <a:off x="-1390309" y="-534856"/>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4" name="Freeform 206">
              <a:extLst>
                <a:ext uri="{FF2B5EF4-FFF2-40B4-BE49-F238E27FC236}">
                  <a16:creationId xmlns:a16="http://schemas.microsoft.com/office/drawing/2014/main" id="{8685D290-8AD8-4004-958F-14C7D2E51D04}"/>
                </a:ext>
              </a:extLst>
            </p:cNvPr>
            <p:cNvSpPr>
              <a:spLocks noEditPoints="1"/>
            </p:cNvSpPr>
            <p:nvPr/>
          </p:nvSpPr>
          <p:spPr bwMode="auto">
            <a:xfrm>
              <a:off x="-1034057" y="-534856"/>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5" name="Freeform 207">
              <a:extLst>
                <a:ext uri="{FF2B5EF4-FFF2-40B4-BE49-F238E27FC236}">
                  <a16:creationId xmlns:a16="http://schemas.microsoft.com/office/drawing/2014/main" id="{89D2372D-ED97-4600-A37D-15935817BA0F}"/>
                </a:ext>
              </a:extLst>
            </p:cNvPr>
            <p:cNvSpPr>
              <a:spLocks noEditPoints="1"/>
            </p:cNvSpPr>
            <p:nvPr/>
          </p:nvSpPr>
          <p:spPr bwMode="auto">
            <a:xfrm>
              <a:off x="-1561176" y="174297"/>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35" name="Group 1234">
            <a:extLst>
              <a:ext uri="{FF2B5EF4-FFF2-40B4-BE49-F238E27FC236}">
                <a16:creationId xmlns:a16="http://schemas.microsoft.com/office/drawing/2014/main" id="{EE517207-4141-47D9-85E5-69F8267C9D6E}"/>
              </a:ext>
            </a:extLst>
          </p:cNvPr>
          <p:cNvGrpSpPr/>
          <p:nvPr/>
        </p:nvGrpSpPr>
        <p:grpSpPr>
          <a:xfrm rot="10800000">
            <a:off x="2490910" y="1967129"/>
            <a:ext cx="924692" cy="802962"/>
            <a:chOff x="-1864940" y="-534856"/>
            <a:chExt cx="924692" cy="802962"/>
          </a:xfrm>
        </p:grpSpPr>
        <p:sp>
          <p:nvSpPr>
            <p:cNvPr id="1216" name="Oval 189">
              <a:extLst>
                <a:ext uri="{FF2B5EF4-FFF2-40B4-BE49-F238E27FC236}">
                  <a16:creationId xmlns:a16="http://schemas.microsoft.com/office/drawing/2014/main" id="{2EDB2EC8-F3E2-46AD-80BB-3919E5D16F85}"/>
                </a:ext>
              </a:extLst>
            </p:cNvPr>
            <p:cNvSpPr>
              <a:spLocks noChangeArrowheads="1"/>
            </p:cNvSpPr>
            <p:nvPr/>
          </p:nvSpPr>
          <p:spPr bwMode="auto">
            <a:xfrm>
              <a:off x="-1864940" y="16831"/>
              <a:ext cx="51372"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7" name="Oval 190">
              <a:extLst>
                <a:ext uri="{FF2B5EF4-FFF2-40B4-BE49-F238E27FC236}">
                  <a16:creationId xmlns:a16="http://schemas.microsoft.com/office/drawing/2014/main" id="{22FA41F2-3056-4C8E-AE6D-8B0F71403C29}"/>
                </a:ext>
              </a:extLst>
            </p:cNvPr>
            <p:cNvSpPr>
              <a:spLocks noChangeArrowheads="1"/>
            </p:cNvSpPr>
            <p:nvPr/>
          </p:nvSpPr>
          <p:spPr bwMode="auto">
            <a:xfrm>
              <a:off x="-1709707" y="16831"/>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8" name="Oval 191">
              <a:extLst>
                <a:ext uri="{FF2B5EF4-FFF2-40B4-BE49-F238E27FC236}">
                  <a16:creationId xmlns:a16="http://schemas.microsoft.com/office/drawing/2014/main" id="{E80AF671-2028-4AC2-AE28-EEF68ECDB905}"/>
                </a:ext>
              </a:extLst>
            </p:cNvPr>
            <p:cNvSpPr>
              <a:spLocks noChangeArrowheads="1"/>
            </p:cNvSpPr>
            <p:nvPr/>
          </p:nvSpPr>
          <p:spPr bwMode="auto">
            <a:xfrm>
              <a:off x="-1369091" y="16831"/>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9" name="Oval 192">
              <a:extLst>
                <a:ext uri="{FF2B5EF4-FFF2-40B4-BE49-F238E27FC236}">
                  <a16:creationId xmlns:a16="http://schemas.microsoft.com/office/drawing/2014/main" id="{129C8F9D-A1F9-456A-9198-43B398654472}"/>
                </a:ext>
              </a:extLst>
            </p:cNvPr>
            <p:cNvSpPr>
              <a:spLocks noChangeArrowheads="1"/>
            </p:cNvSpPr>
            <p:nvPr/>
          </p:nvSpPr>
          <p:spPr bwMode="auto">
            <a:xfrm>
              <a:off x="-1369091" y="-15738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0" name="Oval 193">
              <a:extLst>
                <a:ext uri="{FF2B5EF4-FFF2-40B4-BE49-F238E27FC236}">
                  <a16:creationId xmlns:a16="http://schemas.microsoft.com/office/drawing/2014/main" id="{DFB30795-2717-4070-BA67-831D9B3E12DA}"/>
                </a:ext>
              </a:extLst>
            </p:cNvPr>
            <p:cNvSpPr>
              <a:spLocks noChangeArrowheads="1"/>
            </p:cNvSpPr>
            <p:nvPr/>
          </p:nvSpPr>
          <p:spPr bwMode="auto">
            <a:xfrm>
              <a:off x="-1200457" y="-340537"/>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1" name="Oval 194">
              <a:extLst>
                <a:ext uri="{FF2B5EF4-FFF2-40B4-BE49-F238E27FC236}">
                  <a16:creationId xmlns:a16="http://schemas.microsoft.com/office/drawing/2014/main" id="{62EEB633-CAF2-4DAD-93DC-C929CBC19919}"/>
                </a:ext>
              </a:extLst>
            </p:cNvPr>
            <p:cNvSpPr>
              <a:spLocks noChangeArrowheads="1"/>
            </p:cNvSpPr>
            <p:nvPr/>
          </p:nvSpPr>
          <p:spPr bwMode="auto">
            <a:xfrm>
              <a:off x="-1200457" y="-514754"/>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2" name="Oval 195">
              <a:extLst>
                <a:ext uri="{FF2B5EF4-FFF2-40B4-BE49-F238E27FC236}">
                  <a16:creationId xmlns:a16="http://schemas.microsoft.com/office/drawing/2014/main" id="{5C1197FA-7471-4768-9967-D8929810A395}"/>
                </a:ext>
              </a:extLst>
            </p:cNvPr>
            <p:cNvSpPr>
              <a:spLocks noChangeArrowheads="1"/>
            </p:cNvSpPr>
            <p:nvPr/>
          </p:nvSpPr>
          <p:spPr bwMode="auto">
            <a:xfrm>
              <a:off x="-1012838" y="-336069"/>
              <a:ext cx="51372" cy="5583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3" name="Oval 196">
              <a:extLst>
                <a:ext uri="{FF2B5EF4-FFF2-40B4-BE49-F238E27FC236}">
                  <a16:creationId xmlns:a16="http://schemas.microsoft.com/office/drawing/2014/main" id="{4A0BFD6A-0E5B-477D-AB81-DEC653AEE112}"/>
                </a:ext>
              </a:extLst>
            </p:cNvPr>
            <p:cNvSpPr>
              <a:spLocks noChangeArrowheads="1"/>
            </p:cNvSpPr>
            <p:nvPr/>
          </p:nvSpPr>
          <p:spPr bwMode="auto">
            <a:xfrm>
              <a:off x="-1864940" y="195516"/>
              <a:ext cx="51372"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4" name="Oval 197">
              <a:extLst>
                <a:ext uri="{FF2B5EF4-FFF2-40B4-BE49-F238E27FC236}">
                  <a16:creationId xmlns:a16="http://schemas.microsoft.com/office/drawing/2014/main" id="{0D96612D-7616-4EF2-B4CD-43E126BA500B}"/>
                </a:ext>
              </a:extLst>
            </p:cNvPr>
            <p:cNvSpPr>
              <a:spLocks noChangeArrowheads="1"/>
            </p:cNvSpPr>
            <p:nvPr/>
          </p:nvSpPr>
          <p:spPr bwMode="auto">
            <a:xfrm>
              <a:off x="-1369091" y="19551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5" name="Oval 198">
              <a:extLst>
                <a:ext uri="{FF2B5EF4-FFF2-40B4-BE49-F238E27FC236}">
                  <a16:creationId xmlns:a16="http://schemas.microsoft.com/office/drawing/2014/main" id="{9E1200BD-9FC5-4ABC-99BB-AF73BE32EA70}"/>
                </a:ext>
              </a:extLst>
            </p:cNvPr>
            <p:cNvSpPr>
              <a:spLocks noChangeArrowheads="1"/>
            </p:cNvSpPr>
            <p:nvPr/>
          </p:nvSpPr>
          <p:spPr bwMode="auto">
            <a:xfrm>
              <a:off x="-1200457" y="19551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6" name="Freeform 199">
              <a:extLst>
                <a:ext uri="{FF2B5EF4-FFF2-40B4-BE49-F238E27FC236}">
                  <a16:creationId xmlns:a16="http://schemas.microsoft.com/office/drawing/2014/main" id="{52611AF8-0519-4D67-BD64-70F2C6181978}"/>
                </a:ext>
              </a:extLst>
            </p:cNvPr>
            <p:cNvSpPr>
              <a:spLocks noEditPoints="1"/>
            </p:cNvSpPr>
            <p:nvPr/>
          </p:nvSpPr>
          <p:spPr bwMode="auto">
            <a:xfrm>
              <a:off x="-1034057" y="174297"/>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7" name="Freeform 200">
              <a:extLst>
                <a:ext uri="{FF2B5EF4-FFF2-40B4-BE49-F238E27FC236}">
                  <a16:creationId xmlns:a16="http://schemas.microsoft.com/office/drawing/2014/main" id="{1BF31ADF-B93B-4A6E-9C35-1988B9910E0E}"/>
                </a:ext>
              </a:extLst>
            </p:cNvPr>
            <p:cNvSpPr>
              <a:spLocks noEditPoints="1"/>
            </p:cNvSpPr>
            <p:nvPr/>
          </p:nvSpPr>
          <p:spPr bwMode="auto">
            <a:xfrm>
              <a:off x="-1220559" y="-2155"/>
              <a:ext cx="92693"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8" name="Freeform 201">
              <a:extLst>
                <a:ext uri="{FF2B5EF4-FFF2-40B4-BE49-F238E27FC236}">
                  <a16:creationId xmlns:a16="http://schemas.microsoft.com/office/drawing/2014/main" id="{5F6C0F17-7BFF-473E-9360-0DF26764D432}"/>
                </a:ext>
              </a:extLst>
            </p:cNvPr>
            <p:cNvSpPr>
              <a:spLocks noEditPoints="1"/>
            </p:cNvSpPr>
            <p:nvPr/>
          </p:nvSpPr>
          <p:spPr bwMode="auto">
            <a:xfrm>
              <a:off x="-1220559" y="-178605"/>
              <a:ext cx="92693" cy="94926"/>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9" name="Freeform 202">
              <a:extLst>
                <a:ext uri="{FF2B5EF4-FFF2-40B4-BE49-F238E27FC236}">
                  <a16:creationId xmlns:a16="http://schemas.microsoft.com/office/drawing/2014/main" id="{9A54B063-320A-4C0E-9339-4A088A4E37CC}"/>
                </a:ext>
              </a:extLst>
            </p:cNvPr>
            <p:cNvSpPr>
              <a:spLocks noEditPoints="1"/>
            </p:cNvSpPr>
            <p:nvPr/>
          </p:nvSpPr>
          <p:spPr bwMode="auto">
            <a:xfrm>
              <a:off x="-1034057" y="-2155"/>
              <a:ext cx="93809"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0" name="Freeform 203">
              <a:extLst>
                <a:ext uri="{FF2B5EF4-FFF2-40B4-BE49-F238E27FC236}">
                  <a16:creationId xmlns:a16="http://schemas.microsoft.com/office/drawing/2014/main" id="{84D40659-565F-4360-A127-907BB3D5ED20}"/>
                </a:ext>
              </a:extLst>
            </p:cNvPr>
            <p:cNvSpPr>
              <a:spLocks noEditPoints="1"/>
            </p:cNvSpPr>
            <p:nvPr/>
          </p:nvSpPr>
          <p:spPr bwMode="auto">
            <a:xfrm>
              <a:off x="-1561176" y="-2155"/>
              <a:ext cx="93809"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1" name="Freeform 204">
              <a:extLst>
                <a:ext uri="{FF2B5EF4-FFF2-40B4-BE49-F238E27FC236}">
                  <a16:creationId xmlns:a16="http://schemas.microsoft.com/office/drawing/2014/main" id="{39408422-39F6-4976-8458-1C447DD7A955}"/>
                </a:ext>
              </a:extLst>
            </p:cNvPr>
            <p:cNvSpPr>
              <a:spLocks noEditPoints="1"/>
            </p:cNvSpPr>
            <p:nvPr/>
          </p:nvSpPr>
          <p:spPr bwMode="auto">
            <a:xfrm>
              <a:off x="-1390309" y="-353938"/>
              <a:ext cx="93809" cy="91575"/>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2" name="Freeform 205">
              <a:extLst>
                <a:ext uri="{FF2B5EF4-FFF2-40B4-BE49-F238E27FC236}">
                  <a16:creationId xmlns:a16="http://schemas.microsoft.com/office/drawing/2014/main" id="{82C8EBEF-C853-4DFA-B74E-9173184EE497}"/>
                </a:ext>
              </a:extLst>
            </p:cNvPr>
            <p:cNvSpPr>
              <a:spLocks noEditPoints="1"/>
            </p:cNvSpPr>
            <p:nvPr/>
          </p:nvSpPr>
          <p:spPr bwMode="auto">
            <a:xfrm>
              <a:off x="-1390309" y="-534856"/>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3" name="Freeform 206">
              <a:extLst>
                <a:ext uri="{FF2B5EF4-FFF2-40B4-BE49-F238E27FC236}">
                  <a16:creationId xmlns:a16="http://schemas.microsoft.com/office/drawing/2014/main" id="{2D1B5D28-C5DA-4E0B-9AD2-DD839FC2CCCD}"/>
                </a:ext>
              </a:extLst>
            </p:cNvPr>
            <p:cNvSpPr>
              <a:spLocks noEditPoints="1"/>
            </p:cNvSpPr>
            <p:nvPr/>
          </p:nvSpPr>
          <p:spPr bwMode="auto">
            <a:xfrm>
              <a:off x="-1034057" y="-534856"/>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4" name="Freeform 207">
              <a:extLst>
                <a:ext uri="{FF2B5EF4-FFF2-40B4-BE49-F238E27FC236}">
                  <a16:creationId xmlns:a16="http://schemas.microsoft.com/office/drawing/2014/main" id="{5E2D5ABA-7D4A-4C75-B2EE-8DC449CA799A}"/>
                </a:ext>
              </a:extLst>
            </p:cNvPr>
            <p:cNvSpPr>
              <a:spLocks noEditPoints="1"/>
            </p:cNvSpPr>
            <p:nvPr/>
          </p:nvSpPr>
          <p:spPr bwMode="auto">
            <a:xfrm>
              <a:off x="-1561176" y="174297"/>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 name="Rectangle 11">
            <a:extLst>
              <a:ext uri="{FF2B5EF4-FFF2-40B4-BE49-F238E27FC236}">
                <a16:creationId xmlns:a16="http://schemas.microsoft.com/office/drawing/2014/main" id="{B71F5356-9955-4685-8717-133E020A7F35}"/>
              </a:ext>
            </a:extLst>
          </p:cNvPr>
          <p:cNvSpPr/>
          <p:nvPr/>
        </p:nvSpPr>
        <p:spPr>
          <a:xfrm>
            <a:off x="533400" y="1571636"/>
            <a:ext cx="11125201" cy="4587864"/>
          </a:xfrm>
          <a:prstGeom prst="rect">
            <a:avLst/>
          </a:prstGeom>
          <a:noFill/>
          <a:ln w="635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BB96FFD-BCBF-4EB9-9642-819957FC1B68}"/>
              </a:ext>
            </a:extLst>
          </p:cNvPr>
          <p:cNvSpPr/>
          <p:nvPr/>
        </p:nvSpPr>
        <p:spPr>
          <a:xfrm>
            <a:off x="1728720" y="1350827"/>
            <a:ext cx="8734560" cy="39432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accent1"/>
                </a:solidFill>
              </a:rPr>
              <a:t>Whether you’re a small business owner, mid-sized, or enterprise company you’re probably asking yourself…</a:t>
            </a:r>
          </a:p>
        </p:txBody>
      </p:sp>
      <p:sp>
        <p:nvSpPr>
          <p:cNvPr id="15" name="Oval 14">
            <a:extLst>
              <a:ext uri="{FF2B5EF4-FFF2-40B4-BE49-F238E27FC236}">
                <a16:creationId xmlns:a16="http://schemas.microsoft.com/office/drawing/2014/main" id="{53FDD7D1-B306-4380-8C50-EEC6A9F78A85}"/>
              </a:ext>
            </a:extLst>
          </p:cNvPr>
          <p:cNvSpPr/>
          <p:nvPr/>
        </p:nvSpPr>
        <p:spPr>
          <a:xfrm>
            <a:off x="2608819" y="1980156"/>
            <a:ext cx="1706778" cy="1706778"/>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t>Can we verify user identity when our teams are remote?</a:t>
            </a:r>
          </a:p>
        </p:txBody>
      </p:sp>
      <p:sp>
        <p:nvSpPr>
          <p:cNvPr id="16" name="Oval 15">
            <a:extLst>
              <a:ext uri="{FF2B5EF4-FFF2-40B4-BE49-F238E27FC236}">
                <a16:creationId xmlns:a16="http://schemas.microsoft.com/office/drawing/2014/main" id="{98535073-D1FC-4427-8430-5FA8A2FC2CD4}"/>
              </a:ext>
            </a:extLst>
          </p:cNvPr>
          <p:cNvSpPr/>
          <p:nvPr/>
        </p:nvSpPr>
        <p:spPr>
          <a:xfrm>
            <a:off x="2917921" y="4209287"/>
            <a:ext cx="1706778" cy="1706778"/>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t>How do we enable secure access to company apps?</a:t>
            </a:r>
          </a:p>
        </p:txBody>
      </p:sp>
      <p:sp>
        <p:nvSpPr>
          <p:cNvPr id="17" name="Oval 16">
            <a:extLst>
              <a:ext uri="{FF2B5EF4-FFF2-40B4-BE49-F238E27FC236}">
                <a16:creationId xmlns:a16="http://schemas.microsoft.com/office/drawing/2014/main" id="{C3BCCB72-B8D7-4145-8970-0CD00CEB6A5B}"/>
              </a:ext>
            </a:extLst>
          </p:cNvPr>
          <p:cNvSpPr/>
          <p:nvPr/>
        </p:nvSpPr>
        <p:spPr>
          <a:xfrm>
            <a:off x="6498931" y="2164733"/>
            <a:ext cx="1625920" cy="1625920"/>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t>Can we defend against potential threats?</a:t>
            </a:r>
          </a:p>
        </p:txBody>
      </p:sp>
      <p:sp>
        <p:nvSpPr>
          <p:cNvPr id="18" name="Oval 17">
            <a:extLst>
              <a:ext uri="{FF2B5EF4-FFF2-40B4-BE49-F238E27FC236}">
                <a16:creationId xmlns:a16="http://schemas.microsoft.com/office/drawing/2014/main" id="{42EF1AE2-A6AE-4243-8C38-466EF1BEEB78}"/>
              </a:ext>
            </a:extLst>
          </p:cNvPr>
          <p:cNvSpPr/>
          <p:nvPr/>
        </p:nvSpPr>
        <p:spPr>
          <a:xfrm>
            <a:off x="8838006" y="2092977"/>
            <a:ext cx="1706778" cy="1706778"/>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400" dirty="0"/>
              <a:t>How do we secure</a:t>
            </a:r>
          </a:p>
          <a:p>
            <a:pPr algn="ctr"/>
            <a:r>
              <a:rPr lang="en-US" sz="1400" dirty="0"/>
              <a:t>workers when they’re </a:t>
            </a:r>
            <a:br>
              <a:rPr lang="en-US" sz="1400" dirty="0"/>
            </a:br>
            <a:r>
              <a:rPr lang="en-US" sz="1400" dirty="0"/>
              <a:t>on public Wi-Fi?</a:t>
            </a:r>
          </a:p>
        </p:txBody>
      </p:sp>
      <p:sp>
        <p:nvSpPr>
          <p:cNvPr id="19" name="Oval 18">
            <a:extLst>
              <a:ext uri="{FF2B5EF4-FFF2-40B4-BE49-F238E27FC236}">
                <a16:creationId xmlns:a16="http://schemas.microsoft.com/office/drawing/2014/main" id="{17AC2C9C-3105-4CCF-934B-8051EB7D1BA3}"/>
              </a:ext>
            </a:extLst>
          </p:cNvPr>
          <p:cNvSpPr/>
          <p:nvPr/>
        </p:nvSpPr>
        <p:spPr>
          <a:xfrm>
            <a:off x="9809531" y="4096811"/>
            <a:ext cx="1706778" cy="1706778"/>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t>Can we get best-in-class security without breaking the bank?</a:t>
            </a:r>
          </a:p>
        </p:txBody>
      </p:sp>
      <p:sp>
        <p:nvSpPr>
          <p:cNvPr id="2" name="Footer Placeholder 1">
            <a:extLst>
              <a:ext uri="{FF2B5EF4-FFF2-40B4-BE49-F238E27FC236}">
                <a16:creationId xmlns:a16="http://schemas.microsoft.com/office/drawing/2014/main" id="{E0EC5B47-8F0A-4740-880D-1ADFED616041}"/>
              </a:ext>
            </a:extLst>
          </p:cNvPr>
          <p:cNvSpPr>
            <a:spLocks noGrp="1"/>
          </p:cNvSpPr>
          <p:nvPr>
            <p:ph type="ftr" sz="quarter" idx="10"/>
          </p:nvPr>
        </p:nvSpPr>
        <p:spPr/>
        <p:txBody>
          <a:bodyPr/>
          <a:lstStyle/>
          <a:p>
            <a:r>
              <a:rPr lang="en-US" dirty="0"/>
              <a:t>© 2020 Cisco and/or its affiliates. All rights reserved. Cisco Confidential</a:t>
            </a:r>
          </a:p>
        </p:txBody>
      </p:sp>
      <p:sp>
        <p:nvSpPr>
          <p:cNvPr id="21" name="Title 1">
            <a:extLst>
              <a:ext uri="{FF2B5EF4-FFF2-40B4-BE49-F238E27FC236}">
                <a16:creationId xmlns:a16="http://schemas.microsoft.com/office/drawing/2014/main" id="{B9812674-2E1E-4132-9B15-02173F6BDA39}"/>
              </a:ext>
            </a:extLst>
          </p:cNvPr>
          <p:cNvSpPr>
            <a:spLocks noGrp="1"/>
          </p:cNvSpPr>
          <p:nvPr>
            <p:ph type="title"/>
          </p:nvPr>
        </p:nvSpPr>
        <p:spPr>
          <a:xfrm>
            <a:off x="533401" y="481807"/>
            <a:ext cx="9892314" cy="403828"/>
          </a:xfrm>
        </p:spPr>
        <p:txBody>
          <a:bodyPr/>
          <a:lstStyle/>
          <a:p>
            <a:r>
              <a:rPr lang="en-US" sz="3200" dirty="0"/>
              <a:t>…but also new challenges for businesses of all sizes</a:t>
            </a:r>
          </a:p>
        </p:txBody>
      </p:sp>
      <p:sp>
        <p:nvSpPr>
          <p:cNvPr id="168" name="Arc 167">
            <a:extLst>
              <a:ext uri="{FF2B5EF4-FFF2-40B4-BE49-F238E27FC236}">
                <a16:creationId xmlns:a16="http://schemas.microsoft.com/office/drawing/2014/main" id="{EA1A54FE-B404-48A3-A54C-91DDA0CBB701}"/>
              </a:ext>
            </a:extLst>
          </p:cNvPr>
          <p:cNvSpPr/>
          <p:nvPr/>
        </p:nvSpPr>
        <p:spPr>
          <a:xfrm>
            <a:off x="732293" y="2717933"/>
            <a:ext cx="2030344" cy="2030343"/>
          </a:xfrm>
          <a:prstGeom prst="arc">
            <a:avLst>
              <a:gd name="adj1" fmla="val 6902269"/>
              <a:gd name="adj2" fmla="val 2292401"/>
            </a:avLst>
          </a:prstGeom>
          <a:noFill/>
          <a:ln w="25400" cap="flat" cmpd="sng" algn="ctr">
            <a:solidFill>
              <a:schemeClr val="accent1">
                <a:lumMod val="20000"/>
                <a:lumOff val="80000"/>
              </a:schemeClr>
            </a:solid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nvGrpSpPr>
          <p:cNvPr id="999" name="Group 998">
            <a:extLst>
              <a:ext uri="{FF2B5EF4-FFF2-40B4-BE49-F238E27FC236}">
                <a16:creationId xmlns:a16="http://schemas.microsoft.com/office/drawing/2014/main" id="{D08BD5FA-EFE8-4153-BBBD-1BF1A93B688F}"/>
              </a:ext>
            </a:extLst>
          </p:cNvPr>
          <p:cNvGrpSpPr/>
          <p:nvPr/>
        </p:nvGrpSpPr>
        <p:grpSpPr>
          <a:xfrm>
            <a:off x="567710" y="3185853"/>
            <a:ext cx="427381" cy="414159"/>
            <a:chOff x="1214934" y="2933849"/>
            <a:chExt cx="442164" cy="428483"/>
          </a:xfrm>
        </p:grpSpPr>
        <p:sp>
          <p:nvSpPr>
            <p:cNvPr id="997" name="Oval 996">
              <a:extLst>
                <a:ext uri="{FF2B5EF4-FFF2-40B4-BE49-F238E27FC236}">
                  <a16:creationId xmlns:a16="http://schemas.microsoft.com/office/drawing/2014/main" id="{7B31EDAE-747E-42AA-A918-6FFBEBCA26E4}"/>
                </a:ext>
              </a:extLst>
            </p:cNvPr>
            <p:cNvSpPr/>
            <p:nvPr/>
          </p:nvSpPr>
          <p:spPr>
            <a:xfrm>
              <a:off x="1242411" y="2947647"/>
              <a:ext cx="414687" cy="414685"/>
            </a:xfrm>
            <a:prstGeom prst="ellipse">
              <a:avLst/>
            </a:prstGeom>
            <a:noFill/>
            <a:ln w="6350" cap="flat" cmpd="sng" algn="ctr">
              <a:solidFill>
                <a:srgbClr val="0D274D"/>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998" name="Oval 997">
              <a:extLst>
                <a:ext uri="{FF2B5EF4-FFF2-40B4-BE49-F238E27FC236}">
                  <a16:creationId xmlns:a16="http://schemas.microsoft.com/office/drawing/2014/main" id="{D12F1739-569E-47C4-8DE5-A6AAC7960448}"/>
                </a:ext>
              </a:extLst>
            </p:cNvPr>
            <p:cNvSpPr/>
            <p:nvPr/>
          </p:nvSpPr>
          <p:spPr>
            <a:xfrm>
              <a:off x="1214934" y="2933849"/>
              <a:ext cx="411809" cy="411809"/>
            </a:xfrm>
            <a:prstGeom prst="ellipse">
              <a:avLst/>
            </a:prstGeom>
            <a:solidFill>
              <a:srgbClr val="74BF4B">
                <a:alpha val="73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grpSp>
      <p:grpSp>
        <p:nvGrpSpPr>
          <p:cNvPr id="1175" name="Group 1174">
            <a:extLst>
              <a:ext uri="{FF2B5EF4-FFF2-40B4-BE49-F238E27FC236}">
                <a16:creationId xmlns:a16="http://schemas.microsoft.com/office/drawing/2014/main" id="{B2908205-3AC0-4F1B-9EFE-388542E13246}"/>
              </a:ext>
            </a:extLst>
          </p:cNvPr>
          <p:cNvGrpSpPr/>
          <p:nvPr/>
        </p:nvGrpSpPr>
        <p:grpSpPr>
          <a:xfrm rot="20342845" flipH="1">
            <a:off x="1351210" y="3800460"/>
            <a:ext cx="817917" cy="706821"/>
            <a:chOff x="16515921" y="4129462"/>
            <a:chExt cx="1972915" cy="1704936"/>
          </a:xfrm>
        </p:grpSpPr>
        <p:sp>
          <p:nvSpPr>
            <p:cNvPr id="1176" name="Rectangle: Rounded Corners 1175">
              <a:extLst>
                <a:ext uri="{FF2B5EF4-FFF2-40B4-BE49-F238E27FC236}">
                  <a16:creationId xmlns:a16="http://schemas.microsoft.com/office/drawing/2014/main" id="{4B10D877-2133-423E-8D9C-107D1F62029F}"/>
                </a:ext>
              </a:extLst>
            </p:cNvPr>
            <p:cNvSpPr/>
            <p:nvPr/>
          </p:nvSpPr>
          <p:spPr>
            <a:xfrm rot="2622936">
              <a:off x="16515921" y="4930624"/>
              <a:ext cx="1972915" cy="127146"/>
            </a:xfrm>
            <a:prstGeom prst="roundRect">
              <a:avLst>
                <a:gd name="adj" fmla="val 50000"/>
              </a:avLst>
            </a:prstGeom>
            <a:solidFill>
              <a:srgbClr val="00BCEB"/>
            </a:solidFill>
            <a:ln w="24984" cap="flat">
              <a:noFill/>
              <a:prstDash val="solid"/>
              <a:miter/>
            </a:ln>
          </p:spPr>
          <p:txBody>
            <a:bodyPr rtlCol="0" anchor="ctr"/>
            <a:lstStyle/>
            <a:p>
              <a:endParaRPr lang="en-US" dirty="0"/>
            </a:p>
          </p:txBody>
        </p:sp>
        <p:sp>
          <p:nvSpPr>
            <p:cNvPr id="1177" name="Freeform: Shape 1176">
              <a:extLst>
                <a:ext uri="{FF2B5EF4-FFF2-40B4-BE49-F238E27FC236}">
                  <a16:creationId xmlns:a16="http://schemas.microsoft.com/office/drawing/2014/main" id="{E8A37EB4-9385-4672-BFE0-C23FA69E89B7}"/>
                </a:ext>
              </a:extLst>
            </p:cNvPr>
            <p:cNvSpPr/>
            <p:nvPr/>
          </p:nvSpPr>
          <p:spPr>
            <a:xfrm>
              <a:off x="17966732" y="5428672"/>
              <a:ext cx="405726" cy="405726"/>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chemeClr val="accent1">
                <a:lumMod val="75000"/>
              </a:schemeClr>
            </a:solidFill>
            <a:ln w="24984" cap="flat">
              <a:noFill/>
              <a:prstDash val="solid"/>
              <a:miter/>
            </a:ln>
          </p:spPr>
          <p:txBody>
            <a:bodyPr rtlCol="0" anchor="ctr"/>
            <a:lstStyle/>
            <a:p>
              <a:endParaRPr lang="en-US" dirty="0"/>
            </a:p>
          </p:txBody>
        </p:sp>
        <p:sp>
          <p:nvSpPr>
            <p:cNvPr id="1178" name="Freeform: Shape 1177">
              <a:extLst>
                <a:ext uri="{FF2B5EF4-FFF2-40B4-BE49-F238E27FC236}">
                  <a16:creationId xmlns:a16="http://schemas.microsoft.com/office/drawing/2014/main" id="{53D7B4CB-606E-4C81-BCE1-FDB58F07B85D}"/>
                </a:ext>
              </a:extLst>
            </p:cNvPr>
            <p:cNvSpPr/>
            <p:nvPr/>
          </p:nvSpPr>
          <p:spPr>
            <a:xfrm>
              <a:off x="16622601" y="4129462"/>
              <a:ext cx="405726" cy="405726"/>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chemeClr val="accent1">
                <a:lumMod val="75000"/>
              </a:schemeClr>
            </a:solidFill>
            <a:ln w="24984" cap="flat">
              <a:noFill/>
              <a:prstDash val="solid"/>
              <a:miter/>
            </a:ln>
          </p:spPr>
          <p:txBody>
            <a:bodyPr rtlCol="0" anchor="ctr"/>
            <a:lstStyle/>
            <a:p>
              <a:endParaRPr lang="en-US" dirty="0"/>
            </a:p>
          </p:txBody>
        </p:sp>
      </p:grpSp>
      <p:grpSp>
        <p:nvGrpSpPr>
          <p:cNvPr id="1205" name="Group 1204">
            <a:extLst>
              <a:ext uri="{FF2B5EF4-FFF2-40B4-BE49-F238E27FC236}">
                <a16:creationId xmlns:a16="http://schemas.microsoft.com/office/drawing/2014/main" id="{BE94063A-962C-4A02-8255-FC97C3C3B23D}"/>
              </a:ext>
            </a:extLst>
          </p:cNvPr>
          <p:cNvGrpSpPr/>
          <p:nvPr/>
        </p:nvGrpSpPr>
        <p:grpSpPr>
          <a:xfrm>
            <a:off x="7318745" y="3655100"/>
            <a:ext cx="2200410" cy="2250414"/>
            <a:chOff x="-8423393" y="1849787"/>
            <a:chExt cx="3673577" cy="3757061"/>
          </a:xfrm>
        </p:grpSpPr>
        <p:sp>
          <p:nvSpPr>
            <p:cNvPr id="1119" name="Oval 1118">
              <a:extLst>
                <a:ext uri="{FF2B5EF4-FFF2-40B4-BE49-F238E27FC236}">
                  <a16:creationId xmlns:a16="http://schemas.microsoft.com/office/drawing/2014/main" id="{D2586D5A-4739-4C85-90E6-4CD88836747A}"/>
                </a:ext>
              </a:extLst>
            </p:cNvPr>
            <p:cNvSpPr/>
            <p:nvPr/>
          </p:nvSpPr>
          <p:spPr>
            <a:xfrm>
              <a:off x="-7913830" y="2834685"/>
              <a:ext cx="2058152" cy="2058152"/>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01" name="Group 800">
              <a:extLst>
                <a:ext uri="{FF2B5EF4-FFF2-40B4-BE49-F238E27FC236}">
                  <a16:creationId xmlns:a16="http://schemas.microsoft.com/office/drawing/2014/main" id="{B209B942-8821-47D2-B04E-A029F27F948C}"/>
                </a:ext>
              </a:extLst>
            </p:cNvPr>
            <p:cNvGrpSpPr/>
            <p:nvPr/>
          </p:nvGrpSpPr>
          <p:grpSpPr>
            <a:xfrm>
              <a:off x="-8365754" y="1849787"/>
              <a:ext cx="3565154" cy="1747548"/>
              <a:chOff x="1752897" y="5646420"/>
              <a:chExt cx="3804054" cy="1864651"/>
            </a:xfrm>
            <a:solidFill>
              <a:srgbClr val="4CD0F1"/>
            </a:solidFill>
          </p:grpSpPr>
          <p:grpSp>
            <p:nvGrpSpPr>
              <p:cNvPr id="802" name="Group 801">
                <a:extLst>
                  <a:ext uri="{FF2B5EF4-FFF2-40B4-BE49-F238E27FC236}">
                    <a16:creationId xmlns:a16="http://schemas.microsoft.com/office/drawing/2014/main" id="{604FCE8C-C563-4673-870A-A5E214F16685}"/>
                  </a:ext>
                </a:extLst>
              </p:cNvPr>
              <p:cNvGrpSpPr/>
              <p:nvPr/>
            </p:nvGrpSpPr>
            <p:grpSpPr>
              <a:xfrm>
                <a:off x="1752897" y="5646420"/>
                <a:ext cx="1953571" cy="1864651"/>
                <a:chOff x="438434" y="314912"/>
                <a:chExt cx="1318735" cy="1258728"/>
              </a:xfrm>
              <a:grpFill/>
            </p:grpSpPr>
            <p:sp>
              <p:nvSpPr>
                <p:cNvPr id="896" name="Freeform: Shape 895">
                  <a:extLst>
                    <a:ext uri="{FF2B5EF4-FFF2-40B4-BE49-F238E27FC236}">
                      <a16:creationId xmlns:a16="http://schemas.microsoft.com/office/drawing/2014/main" id="{BCED7967-1CFE-449F-9785-8B7FD07B535B}"/>
                    </a:ext>
                  </a:extLst>
                </p:cNvPr>
                <p:cNvSpPr/>
                <p:nvPr/>
              </p:nvSpPr>
              <p:spPr>
                <a:xfrm flipH="1">
                  <a:off x="1697162" y="314912"/>
                  <a:ext cx="60007" cy="60007"/>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97" name="Freeform: Shape 896">
                  <a:extLst>
                    <a:ext uri="{FF2B5EF4-FFF2-40B4-BE49-F238E27FC236}">
                      <a16:creationId xmlns:a16="http://schemas.microsoft.com/office/drawing/2014/main" id="{5D7DED8B-02C3-4BFB-8F14-A06267C834B8}"/>
                    </a:ext>
                  </a:extLst>
                </p:cNvPr>
                <p:cNvSpPr/>
                <p:nvPr/>
              </p:nvSpPr>
              <p:spPr>
                <a:xfrm flipH="1">
                  <a:off x="1590007" y="317007"/>
                  <a:ext cx="60007" cy="60007"/>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98" name="Freeform: Shape 897">
                  <a:extLst>
                    <a:ext uri="{FF2B5EF4-FFF2-40B4-BE49-F238E27FC236}">
                      <a16:creationId xmlns:a16="http://schemas.microsoft.com/office/drawing/2014/main" id="{867F095B-4182-4F2B-868E-BBEE9C95618B}"/>
                    </a:ext>
                  </a:extLst>
                </p:cNvPr>
                <p:cNvSpPr/>
                <p:nvPr/>
              </p:nvSpPr>
              <p:spPr>
                <a:xfrm flipH="1">
                  <a:off x="1483422" y="328342"/>
                  <a:ext cx="60007" cy="60007"/>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99" name="Freeform: Shape 898">
                  <a:extLst>
                    <a:ext uri="{FF2B5EF4-FFF2-40B4-BE49-F238E27FC236}">
                      <a16:creationId xmlns:a16="http://schemas.microsoft.com/office/drawing/2014/main" id="{73C134A2-79FA-40EE-8660-920E1BD1E759}"/>
                    </a:ext>
                  </a:extLst>
                </p:cNvPr>
                <p:cNvSpPr/>
                <p:nvPr/>
              </p:nvSpPr>
              <p:spPr>
                <a:xfrm flipH="1">
                  <a:off x="1378170" y="349011"/>
                  <a:ext cx="60007" cy="60007"/>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00" name="Freeform: Shape 899">
                  <a:extLst>
                    <a:ext uri="{FF2B5EF4-FFF2-40B4-BE49-F238E27FC236}">
                      <a16:creationId xmlns:a16="http://schemas.microsoft.com/office/drawing/2014/main" id="{0463248F-3BED-4E40-B8F6-3D37CAEFF434}"/>
                    </a:ext>
                  </a:extLst>
                </p:cNvPr>
                <p:cNvSpPr/>
                <p:nvPr/>
              </p:nvSpPr>
              <p:spPr>
                <a:xfrm flipH="1">
                  <a:off x="1275110" y="378729"/>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01" name="Freeform: Shape 900">
                  <a:extLst>
                    <a:ext uri="{FF2B5EF4-FFF2-40B4-BE49-F238E27FC236}">
                      <a16:creationId xmlns:a16="http://schemas.microsoft.com/office/drawing/2014/main" id="{D4D09FAB-98B3-4A28-AC6B-5E2A2D4AA668}"/>
                    </a:ext>
                  </a:extLst>
                </p:cNvPr>
                <p:cNvSpPr/>
                <p:nvPr/>
              </p:nvSpPr>
              <p:spPr>
                <a:xfrm flipH="1">
                  <a:off x="1175097" y="417401"/>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02" name="Freeform: Shape 901">
                  <a:extLst>
                    <a:ext uri="{FF2B5EF4-FFF2-40B4-BE49-F238E27FC236}">
                      <a16:creationId xmlns:a16="http://schemas.microsoft.com/office/drawing/2014/main" id="{94498743-89AA-4E7B-A43D-8BE146FED4A1}"/>
                    </a:ext>
                  </a:extLst>
                </p:cNvPr>
                <p:cNvSpPr/>
                <p:nvPr/>
              </p:nvSpPr>
              <p:spPr>
                <a:xfrm flipH="1">
                  <a:off x="1078800" y="464549"/>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03" name="Freeform: Shape 902">
                  <a:extLst>
                    <a:ext uri="{FF2B5EF4-FFF2-40B4-BE49-F238E27FC236}">
                      <a16:creationId xmlns:a16="http://schemas.microsoft.com/office/drawing/2014/main" id="{882F803E-4CBF-4BC8-8D2B-3376E70770F9}"/>
                    </a:ext>
                  </a:extLst>
                </p:cNvPr>
                <p:cNvSpPr/>
                <p:nvPr/>
              </p:nvSpPr>
              <p:spPr>
                <a:xfrm flipH="1">
                  <a:off x="986979" y="519890"/>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04" name="Freeform: Shape 903">
                  <a:extLst>
                    <a:ext uri="{FF2B5EF4-FFF2-40B4-BE49-F238E27FC236}">
                      <a16:creationId xmlns:a16="http://schemas.microsoft.com/office/drawing/2014/main" id="{75105371-51DD-4798-A5AB-376A38CF14C6}"/>
                    </a:ext>
                  </a:extLst>
                </p:cNvPr>
                <p:cNvSpPr/>
                <p:nvPr/>
              </p:nvSpPr>
              <p:spPr>
                <a:xfrm flipH="1">
                  <a:off x="900396" y="583136"/>
                  <a:ext cx="60007" cy="60007"/>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05" name="Freeform: Shape 904">
                  <a:extLst>
                    <a:ext uri="{FF2B5EF4-FFF2-40B4-BE49-F238E27FC236}">
                      <a16:creationId xmlns:a16="http://schemas.microsoft.com/office/drawing/2014/main" id="{4DAE52D3-A56B-4CA2-B666-AFFC20B5323B}"/>
                    </a:ext>
                  </a:extLst>
                </p:cNvPr>
                <p:cNvSpPr/>
                <p:nvPr/>
              </p:nvSpPr>
              <p:spPr>
                <a:xfrm flipH="1">
                  <a:off x="819529" y="653621"/>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06" name="Freeform: Shape 905">
                  <a:extLst>
                    <a:ext uri="{FF2B5EF4-FFF2-40B4-BE49-F238E27FC236}">
                      <a16:creationId xmlns:a16="http://schemas.microsoft.com/office/drawing/2014/main" id="{BCCC8822-60EF-4301-AD44-9C448FA21546}"/>
                    </a:ext>
                  </a:extLst>
                </p:cNvPr>
                <p:cNvSpPr/>
                <p:nvPr/>
              </p:nvSpPr>
              <p:spPr>
                <a:xfrm flipH="1">
                  <a:off x="745234" y="730868"/>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07" name="Freeform: Shape 906">
                  <a:extLst>
                    <a:ext uri="{FF2B5EF4-FFF2-40B4-BE49-F238E27FC236}">
                      <a16:creationId xmlns:a16="http://schemas.microsoft.com/office/drawing/2014/main" id="{8877D7DF-7DD3-4C73-9388-DB50589D796A}"/>
                    </a:ext>
                  </a:extLst>
                </p:cNvPr>
                <p:cNvSpPr/>
                <p:nvPr/>
              </p:nvSpPr>
              <p:spPr>
                <a:xfrm flipH="1">
                  <a:off x="677892" y="814307"/>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08" name="Freeform: Shape 907">
                  <a:extLst>
                    <a:ext uri="{FF2B5EF4-FFF2-40B4-BE49-F238E27FC236}">
                      <a16:creationId xmlns:a16="http://schemas.microsoft.com/office/drawing/2014/main" id="{169B1750-2D7D-4C82-987F-2563B1B95E45}"/>
                    </a:ext>
                  </a:extLst>
                </p:cNvPr>
                <p:cNvSpPr/>
                <p:nvPr/>
              </p:nvSpPr>
              <p:spPr>
                <a:xfrm flipH="1">
                  <a:off x="618075" y="903271"/>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09" name="Freeform: Shape 908">
                  <a:extLst>
                    <a:ext uri="{FF2B5EF4-FFF2-40B4-BE49-F238E27FC236}">
                      <a16:creationId xmlns:a16="http://schemas.microsoft.com/office/drawing/2014/main" id="{99F3104D-5C7A-4533-8D6C-A9FD75BF79CD}"/>
                    </a:ext>
                  </a:extLst>
                </p:cNvPr>
                <p:cNvSpPr/>
                <p:nvPr/>
              </p:nvSpPr>
              <p:spPr>
                <a:xfrm flipH="1">
                  <a:off x="566259" y="997187"/>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10" name="Freeform: Shape 909">
                  <a:extLst>
                    <a:ext uri="{FF2B5EF4-FFF2-40B4-BE49-F238E27FC236}">
                      <a16:creationId xmlns:a16="http://schemas.microsoft.com/office/drawing/2014/main" id="{48CB3CA5-8D80-4943-B536-E0C1E26CBE94}"/>
                    </a:ext>
                  </a:extLst>
                </p:cNvPr>
                <p:cNvSpPr/>
                <p:nvPr/>
              </p:nvSpPr>
              <p:spPr>
                <a:xfrm flipH="1">
                  <a:off x="522825" y="1095200"/>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11" name="Freeform: Shape 910">
                  <a:extLst>
                    <a:ext uri="{FF2B5EF4-FFF2-40B4-BE49-F238E27FC236}">
                      <a16:creationId xmlns:a16="http://schemas.microsoft.com/office/drawing/2014/main" id="{772E585A-8EF8-4835-B78E-88B433125815}"/>
                    </a:ext>
                  </a:extLst>
                </p:cNvPr>
                <p:cNvSpPr/>
                <p:nvPr/>
              </p:nvSpPr>
              <p:spPr>
                <a:xfrm flipH="1">
                  <a:off x="488059" y="1196641"/>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12" name="Freeform: Shape 911">
                  <a:extLst>
                    <a:ext uri="{FF2B5EF4-FFF2-40B4-BE49-F238E27FC236}">
                      <a16:creationId xmlns:a16="http://schemas.microsoft.com/office/drawing/2014/main" id="{0A701BA9-DFFA-45AD-A555-97475519BCE3}"/>
                    </a:ext>
                  </a:extLst>
                </p:cNvPr>
                <p:cNvSpPr/>
                <p:nvPr/>
              </p:nvSpPr>
              <p:spPr>
                <a:xfrm flipH="1">
                  <a:off x="462342" y="1300749"/>
                  <a:ext cx="60007" cy="60007"/>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13" name="Freeform: Shape 912">
                  <a:extLst>
                    <a:ext uri="{FF2B5EF4-FFF2-40B4-BE49-F238E27FC236}">
                      <a16:creationId xmlns:a16="http://schemas.microsoft.com/office/drawing/2014/main" id="{997FA4C1-1A4F-4302-9C05-9B59D8B632F1}"/>
                    </a:ext>
                  </a:extLst>
                </p:cNvPr>
                <p:cNvSpPr/>
                <p:nvPr/>
              </p:nvSpPr>
              <p:spPr>
                <a:xfrm flipH="1">
                  <a:off x="445768" y="1406667"/>
                  <a:ext cx="60007" cy="60007"/>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14" name="Freeform: Shape 913">
                  <a:extLst>
                    <a:ext uri="{FF2B5EF4-FFF2-40B4-BE49-F238E27FC236}">
                      <a16:creationId xmlns:a16="http://schemas.microsoft.com/office/drawing/2014/main" id="{68D5477E-04C6-4860-BF33-88BA82BE2A78}"/>
                    </a:ext>
                  </a:extLst>
                </p:cNvPr>
                <p:cNvSpPr/>
                <p:nvPr/>
              </p:nvSpPr>
              <p:spPr>
                <a:xfrm flipH="1">
                  <a:off x="438434" y="1513633"/>
                  <a:ext cx="60007" cy="60007"/>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15" name="Freeform: Shape 914">
                  <a:extLst>
                    <a:ext uri="{FF2B5EF4-FFF2-40B4-BE49-F238E27FC236}">
                      <a16:creationId xmlns:a16="http://schemas.microsoft.com/office/drawing/2014/main" id="{A9413B0D-B242-464C-AE22-FBA347F8BBC5}"/>
                    </a:ext>
                  </a:extLst>
                </p:cNvPr>
                <p:cNvSpPr/>
                <p:nvPr/>
              </p:nvSpPr>
              <p:spPr>
                <a:xfrm flipH="1">
                  <a:off x="438434" y="1513633"/>
                  <a:ext cx="60007" cy="60007"/>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16" name="Freeform: Shape 915">
                  <a:extLst>
                    <a:ext uri="{FF2B5EF4-FFF2-40B4-BE49-F238E27FC236}">
                      <a16:creationId xmlns:a16="http://schemas.microsoft.com/office/drawing/2014/main" id="{ABD5AD7A-26A5-4D5E-9E87-B6E1163700A0}"/>
                    </a:ext>
                  </a:extLst>
                </p:cNvPr>
                <p:cNvSpPr/>
                <p:nvPr/>
              </p:nvSpPr>
              <p:spPr>
                <a:xfrm flipH="1">
                  <a:off x="1663999" y="476138"/>
                  <a:ext cx="53320" cy="53320"/>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17" name="Freeform: Shape 916">
                  <a:extLst>
                    <a:ext uri="{FF2B5EF4-FFF2-40B4-BE49-F238E27FC236}">
                      <a16:creationId xmlns:a16="http://schemas.microsoft.com/office/drawing/2014/main" id="{9B04EC16-4B79-4A78-A198-43B842673AA9}"/>
                    </a:ext>
                  </a:extLst>
                </p:cNvPr>
                <p:cNvSpPr/>
                <p:nvPr/>
              </p:nvSpPr>
              <p:spPr>
                <a:xfrm flipH="1">
                  <a:off x="1569292" y="486210"/>
                  <a:ext cx="53320" cy="53320"/>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18" name="Freeform: Shape 917">
                  <a:extLst>
                    <a:ext uri="{FF2B5EF4-FFF2-40B4-BE49-F238E27FC236}">
                      <a16:creationId xmlns:a16="http://schemas.microsoft.com/office/drawing/2014/main" id="{4D78BA55-C4A1-4F3E-BD6C-A31460C954A5}"/>
                    </a:ext>
                  </a:extLst>
                </p:cNvPr>
                <p:cNvSpPr/>
                <p:nvPr/>
              </p:nvSpPr>
              <p:spPr>
                <a:xfrm flipH="1">
                  <a:off x="1475769" y="504576"/>
                  <a:ext cx="53320" cy="53320"/>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19" name="Freeform: Shape 918">
                  <a:extLst>
                    <a:ext uri="{FF2B5EF4-FFF2-40B4-BE49-F238E27FC236}">
                      <a16:creationId xmlns:a16="http://schemas.microsoft.com/office/drawing/2014/main" id="{C9FD4807-ACC6-4887-B174-7994C87026C7}"/>
                    </a:ext>
                  </a:extLst>
                </p:cNvPr>
                <p:cNvSpPr/>
                <p:nvPr/>
              </p:nvSpPr>
              <p:spPr>
                <a:xfrm flipH="1">
                  <a:off x="1384193" y="530982"/>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20" name="Freeform: Shape 919">
                  <a:extLst>
                    <a:ext uri="{FF2B5EF4-FFF2-40B4-BE49-F238E27FC236}">
                      <a16:creationId xmlns:a16="http://schemas.microsoft.com/office/drawing/2014/main" id="{144BB9F1-684A-49A4-8BEF-104700FB0638}"/>
                    </a:ext>
                  </a:extLst>
                </p:cNvPr>
                <p:cNvSpPr/>
                <p:nvPr/>
              </p:nvSpPr>
              <p:spPr>
                <a:xfrm flipH="1">
                  <a:off x="1295325" y="565344"/>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21" name="Freeform: Shape 920">
                  <a:extLst>
                    <a:ext uri="{FF2B5EF4-FFF2-40B4-BE49-F238E27FC236}">
                      <a16:creationId xmlns:a16="http://schemas.microsoft.com/office/drawing/2014/main" id="{E25B21CE-9E53-42C0-A66E-25D1D77AE56E}"/>
                    </a:ext>
                  </a:extLst>
                </p:cNvPr>
                <p:cNvSpPr/>
                <p:nvPr/>
              </p:nvSpPr>
              <p:spPr>
                <a:xfrm flipH="1">
                  <a:off x="1209760" y="607238"/>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22" name="Freeform: Shape 921">
                  <a:extLst>
                    <a:ext uri="{FF2B5EF4-FFF2-40B4-BE49-F238E27FC236}">
                      <a16:creationId xmlns:a16="http://schemas.microsoft.com/office/drawing/2014/main" id="{40CEF976-CDF1-4095-930F-F856C76696A4}"/>
                    </a:ext>
                  </a:extLst>
                </p:cNvPr>
                <p:cNvSpPr/>
                <p:nvPr/>
              </p:nvSpPr>
              <p:spPr>
                <a:xfrm flipH="1">
                  <a:off x="1128171" y="656412"/>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23" name="Freeform: Shape 922">
                  <a:extLst>
                    <a:ext uri="{FF2B5EF4-FFF2-40B4-BE49-F238E27FC236}">
                      <a16:creationId xmlns:a16="http://schemas.microsoft.com/office/drawing/2014/main" id="{67ED8629-9E4A-4902-A2DE-19F2B98FD58E}"/>
                    </a:ext>
                  </a:extLst>
                </p:cNvPr>
                <p:cNvSpPr/>
                <p:nvPr/>
              </p:nvSpPr>
              <p:spPr>
                <a:xfrm flipH="1">
                  <a:off x="1051236" y="712610"/>
                  <a:ext cx="53320" cy="53320"/>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24" name="Freeform: Shape 923">
                  <a:extLst>
                    <a:ext uri="{FF2B5EF4-FFF2-40B4-BE49-F238E27FC236}">
                      <a16:creationId xmlns:a16="http://schemas.microsoft.com/office/drawing/2014/main" id="{2916A337-0C77-4F04-AE25-BD4262991076}"/>
                    </a:ext>
                  </a:extLst>
                </p:cNvPr>
                <p:cNvSpPr/>
                <p:nvPr/>
              </p:nvSpPr>
              <p:spPr>
                <a:xfrm flipH="1">
                  <a:off x="979381" y="775241"/>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25" name="Freeform: Shape 924">
                  <a:extLst>
                    <a:ext uri="{FF2B5EF4-FFF2-40B4-BE49-F238E27FC236}">
                      <a16:creationId xmlns:a16="http://schemas.microsoft.com/office/drawing/2014/main" id="{C04D724C-D6B3-466C-8749-5752CF3A2DA5}"/>
                    </a:ext>
                  </a:extLst>
                </p:cNvPr>
                <p:cNvSpPr/>
                <p:nvPr/>
              </p:nvSpPr>
              <p:spPr>
                <a:xfrm flipH="1">
                  <a:off x="913365" y="843880"/>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26" name="Freeform: Shape 925">
                  <a:extLst>
                    <a:ext uri="{FF2B5EF4-FFF2-40B4-BE49-F238E27FC236}">
                      <a16:creationId xmlns:a16="http://schemas.microsoft.com/office/drawing/2014/main" id="{7CF39F01-E01C-4BAB-B803-F61D2BEB329E}"/>
                    </a:ext>
                  </a:extLst>
                </p:cNvPr>
                <p:cNvSpPr/>
                <p:nvPr/>
              </p:nvSpPr>
              <p:spPr>
                <a:xfrm flipH="1">
                  <a:off x="853528" y="918021"/>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27" name="Freeform: Shape 926">
                  <a:extLst>
                    <a:ext uri="{FF2B5EF4-FFF2-40B4-BE49-F238E27FC236}">
                      <a16:creationId xmlns:a16="http://schemas.microsoft.com/office/drawing/2014/main" id="{05B0B6F9-4FE1-4DE2-AF13-0DC12DD09DE4}"/>
                    </a:ext>
                  </a:extLst>
                </p:cNvPr>
                <p:cNvSpPr/>
                <p:nvPr/>
              </p:nvSpPr>
              <p:spPr>
                <a:xfrm flipH="1">
                  <a:off x="800377" y="997071"/>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28" name="Freeform: Shape 927">
                  <a:extLst>
                    <a:ext uri="{FF2B5EF4-FFF2-40B4-BE49-F238E27FC236}">
                      <a16:creationId xmlns:a16="http://schemas.microsoft.com/office/drawing/2014/main" id="{23A4AAA2-4C69-433D-BBB7-6A3000E014BC}"/>
                    </a:ext>
                  </a:extLst>
                </p:cNvPr>
                <p:cNvSpPr/>
                <p:nvPr/>
              </p:nvSpPr>
              <p:spPr>
                <a:xfrm flipH="1">
                  <a:off x="754335" y="1080521"/>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29" name="Freeform: Shape 928">
                  <a:extLst>
                    <a:ext uri="{FF2B5EF4-FFF2-40B4-BE49-F238E27FC236}">
                      <a16:creationId xmlns:a16="http://schemas.microsoft.com/office/drawing/2014/main" id="{C5E5F5DF-EAA6-4ED0-8881-E0BEFBD4B952}"/>
                    </a:ext>
                  </a:extLst>
                </p:cNvPr>
                <p:cNvSpPr/>
                <p:nvPr/>
              </p:nvSpPr>
              <p:spPr>
                <a:xfrm flipH="1">
                  <a:off x="715741" y="1167612"/>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30" name="Freeform: Shape 929">
                  <a:extLst>
                    <a:ext uri="{FF2B5EF4-FFF2-40B4-BE49-F238E27FC236}">
                      <a16:creationId xmlns:a16="http://schemas.microsoft.com/office/drawing/2014/main" id="{E8DEF8DE-1442-40E7-A9F5-AFF2662CDF5C}"/>
                    </a:ext>
                  </a:extLst>
                </p:cNvPr>
                <p:cNvSpPr/>
                <p:nvPr/>
              </p:nvSpPr>
              <p:spPr>
                <a:xfrm flipH="1">
                  <a:off x="684849" y="1257749"/>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31" name="Freeform: Shape 930">
                  <a:extLst>
                    <a:ext uri="{FF2B5EF4-FFF2-40B4-BE49-F238E27FC236}">
                      <a16:creationId xmlns:a16="http://schemas.microsoft.com/office/drawing/2014/main" id="{28C4A983-AEEF-4B8F-9DD7-121FA4257C3D}"/>
                    </a:ext>
                  </a:extLst>
                </p:cNvPr>
                <p:cNvSpPr/>
                <p:nvPr/>
              </p:nvSpPr>
              <p:spPr>
                <a:xfrm flipH="1">
                  <a:off x="661998" y="1350255"/>
                  <a:ext cx="53320" cy="53320"/>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32" name="Freeform: Shape 931">
                  <a:extLst>
                    <a:ext uri="{FF2B5EF4-FFF2-40B4-BE49-F238E27FC236}">
                      <a16:creationId xmlns:a16="http://schemas.microsoft.com/office/drawing/2014/main" id="{DC33D319-AF8E-4DC2-A407-B24BC44E3996}"/>
                    </a:ext>
                  </a:extLst>
                </p:cNvPr>
                <p:cNvSpPr/>
                <p:nvPr/>
              </p:nvSpPr>
              <p:spPr>
                <a:xfrm flipH="1">
                  <a:off x="647271" y="1444370"/>
                  <a:ext cx="53320" cy="53320"/>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33" name="Freeform: Shape 932">
                  <a:extLst>
                    <a:ext uri="{FF2B5EF4-FFF2-40B4-BE49-F238E27FC236}">
                      <a16:creationId xmlns:a16="http://schemas.microsoft.com/office/drawing/2014/main" id="{C75D933E-10FB-44C1-B169-E9D3552371A1}"/>
                    </a:ext>
                  </a:extLst>
                </p:cNvPr>
                <p:cNvSpPr/>
                <p:nvPr/>
              </p:nvSpPr>
              <p:spPr>
                <a:xfrm flipH="1">
                  <a:off x="1629145" y="628846"/>
                  <a:ext cx="47620" cy="47620"/>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34" name="Freeform: Shape 933">
                  <a:extLst>
                    <a:ext uri="{FF2B5EF4-FFF2-40B4-BE49-F238E27FC236}">
                      <a16:creationId xmlns:a16="http://schemas.microsoft.com/office/drawing/2014/main" id="{2ED2F9B9-8AAF-49C4-AFAC-88C75F39A49C}"/>
                    </a:ext>
                  </a:extLst>
                </p:cNvPr>
                <p:cNvSpPr/>
                <p:nvPr/>
              </p:nvSpPr>
              <p:spPr>
                <a:xfrm flipH="1">
                  <a:off x="1545620" y="645248"/>
                  <a:ext cx="47620" cy="47620"/>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35" name="Freeform: Shape 934">
                  <a:extLst>
                    <a:ext uri="{FF2B5EF4-FFF2-40B4-BE49-F238E27FC236}">
                      <a16:creationId xmlns:a16="http://schemas.microsoft.com/office/drawing/2014/main" id="{36B7C4D6-BD20-4C96-A775-1F6B96ABF34E}"/>
                    </a:ext>
                  </a:extLst>
                </p:cNvPr>
                <p:cNvSpPr/>
                <p:nvPr/>
              </p:nvSpPr>
              <p:spPr>
                <a:xfrm flipH="1">
                  <a:off x="1463835" y="668832"/>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36" name="Freeform: Shape 935">
                  <a:extLst>
                    <a:ext uri="{FF2B5EF4-FFF2-40B4-BE49-F238E27FC236}">
                      <a16:creationId xmlns:a16="http://schemas.microsoft.com/office/drawing/2014/main" id="{FB4B3FD8-9386-4ABD-82F4-1781CB1FC205}"/>
                    </a:ext>
                  </a:extLst>
                </p:cNvPr>
                <p:cNvSpPr/>
                <p:nvPr/>
              </p:nvSpPr>
              <p:spPr>
                <a:xfrm flipH="1">
                  <a:off x="1384467" y="699521"/>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37" name="Freeform: Shape 936">
                  <a:extLst>
                    <a:ext uri="{FF2B5EF4-FFF2-40B4-BE49-F238E27FC236}">
                      <a16:creationId xmlns:a16="http://schemas.microsoft.com/office/drawing/2014/main" id="{AC4C087A-DC58-46DF-A675-1B6B4A97816C}"/>
                    </a:ext>
                  </a:extLst>
                </p:cNvPr>
                <p:cNvSpPr/>
                <p:nvPr/>
              </p:nvSpPr>
              <p:spPr>
                <a:xfrm flipH="1">
                  <a:off x="1308049" y="736936"/>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38" name="Freeform: Shape 937">
                  <a:extLst>
                    <a:ext uri="{FF2B5EF4-FFF2-40B4-BE49-F238E27FC236}">
                      <a16:creationId xmlns:a16="http://schemas.microsoft.com/office/drawing/2014/main" id="{B3681B5F-746B-448F-A668-BF6FA38CF611}"/>
                    </a:ext>
                  </a:extLst>
                </p:cNvPr>
                <p:cNvSpPr/>
                <p:nvPr/>
              </p:nvSpPr>
              <p:spPr>
                <a:xfrm flipH="1">
                  <a:off x="1235182" y="780853"/>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39" name="Freeform: Shape 938">
                  <a:extLst>
                    <a:ext uri="{FF2B5EF4-FFF2-40B4-BE49-F238E27FC236}">
                      <a16:creationId xmlns:a16="http://schemas.microsoft.com/office/drawing/2014/main" id="{5FA090C3-413E-44AD-A575-024F503B82BF}"/>
                    </a:ext>
                  </a:extLst>
                </p:cNvPr>
                <p:cNvSpPr/>
                <p:nvPr/>
              </p:nvSpPr>
              <p:spPr>
                <a:xfrm flipH="1">
                  <a:off x="1166472" y="831043"/>
                  <a:ext cx="47620" cy="47620"/>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40" name="Freeform: Shape 939">
                  <a:extLst>
                    <a:ext uri="{FF2B5EF4-FFF2-40B4-BE49-F238E27FC236}">
                      <a16:creationId xmlns:a16="http://schemas.microsoft.com/office/drawing/2014/main" id="{10363EB0-1EA8-4266-BDC5-9557216C5EE1}"/>
                    </a:ext>
                  </a:extLst>
                </p:cNvPr>
                <p:cNvSpPr/>
                <p:nvPr/>
              </p:nvSpPr>
              <p:spPr>
                <a:xfrm flipH="1">
                  <a:off x="1102298" y="886978"/>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41" name="Freeform: Shape 940">
                  <a:extLst>
                    <a:ext uri="{FF2B5EF4-FFF2-40B4-BE49-F238E27FC236}">
                      <a16:creationId xmlns:a16="http://schemas.microsoft.com/office/drawing/2014/main" id="{748F1967-B6C0-4BE7-A438-3D61205B2356}"/>
                    </a:ext>
                  </a:extLst>
                </p:cNvPr>
                <p:cNvSpPr/>
                <p:nvPr/>
              </p:nvSpPr>
              <p:spPr>
                <a:xfrm flipH="1">
                  <a:off x="1043340" y="948279"/>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42" name="Freeform: Shape 941">
                  <a:extLst>
                    <a:ext uri="{FF2B5EF4-FFF2-40B4-BE49-F238E27FC236}">
                      <a16:creationId xmlns:a16="http://schemas.microsoft.com/office/drawing/2014/main" id="{FA3E9896-229F-4575-9A50-6A780289371B}"/>
                    </a:ext>
                  </a:extLst>
                </p:cNvPr>
                <p:cNvSpPr/>
                <p:nvPr/>
              </p:nvSpPr>
              <p:spPr>
                <a:xfrm flipH="1">
                  <a:off x="989899" y="1014494"/>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43" name="Freeform: Shape 942">
                  <a:extLst>
                    <a:ext uri="{FF2B5EF4-FFF2-40B4-BE49-F238E27FC236}">
                      <a16:creationId xmlns:a16="http://schemas.microsoft.com/office/drawing/2014/main" id="{8B6A57B1-E23F-48C3-827B-9EB740E8F97D}"/>
                    </a:ext>
                  </a:extLst>
                </p:cNvPr>
                <p:cNvSpPr/>
                <p:nvPr/>
              </p:nvSpPr>
              <p:spPr>
                <a:xfrm flipH="1">
                  <a:off x="942430" y="1085094"/>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44" name="Freeform: Shape 943">
                  <a:extLst>
                    <a:ext uri="{FF2B5EF4-FFF2-40B4-BE49-F238E27FC236}">
                      <a16:creationId xmlns:a16="http://schemas.microsoft.com/office/drawing/2014/main" id="{5F9986FC-33C0-483E-BC95-104FA04ED626}"/>
                    </a:ext>
                  </a:extLst>
                </p:cNvPr>
                <p:cNvSpPr/>
                <p:nvPr/>
              </p:nvSpPr>
              <p:spPr>
                <a:xfrm flipH="1">
                  <a:off x="901311" y="1159623"/>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45" name="Freeform: Shape 944">
                  <a:extLst>
                    <a:ext uri="{FF2B5EF4-FFF2-40B4-BE49-F238E27FC236}">
                      <a16:creationId xmlns:a16="http://schemas.microsoft.com/office/drawing/2014/main" id="{68C82DB8-262F-4BA8-BA5B-32319A3670D9}"/>
                    </a:ext>
                  </a:extLst>
                </p:cNvPr>
                <p:cNvSpPr/>
                <p:nvPr/>
              </p:nvSpPr>
              <p:spPr>
                <a:xfrm flipH="1">
                  <a:off x="866843" y="1237403"/>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46" name="Freeform: Shape 945">
                  <a:extLst>
                    <a:ext uri="{FF2B5EF4-FFF2-40B4-BE49-F238E27FC236}">
                      <a16:creationId xmlns:a16="http://schemas.microsoft.com/office/drawing/2014/main" id="{2C568E0A-AE77-4D4A-8314-04B4F2CEABFE}"/>
                    </a:ext>
                  </a:extLst>
                </p:cNvPr>
                <p:cNvSpPr/>
                <p:nvPr/>
              </p:nvSpPr>
              <p:spPr>
                <a:xfrm flipH="1">
                  <a:off x="839253" y="1317904"/>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47" name="Freeform: Shape 946">
                  <a:extLst>
                    <a:ext uri="{FF2B5EF4-FFF2-40B4-BE49-F238E27FC236}">
                      <a16:creationId xmlns:a16="http://schemas.microsoft.com/office/drawing/2014/main" id="{B16A1CFB-EC9E-4447-A805-47E208E5088D}"/>
                    </a:ext>
                  </a:extLst>
                </p:cNvPr>
                <p:cNvSpPr/>
                <p:nvPr/>
              </p:nvSpPr>
              <p:spPr>
                <a:xfrm flipH="1">
                  <a:off x="818845" y="1400521"/>
                  <a:ext cx="47620" cy="47620"/>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48" name="Freeform: Shape 947">
                  <a:extLst>
                    <a:ext uri="{FF2B5EF4-FFF2-40B4-BE49-F238E27FC236}">
                      <a16:creationId xmlns:a16="http://schemas.microsoft.com/office/drawing/2014/main" id="{2725FC6E-6890-4D75-92E7-8118F6ED725C}"/>
                    </a:ext>
                  </a:extLst>
                </p:cNvPr>
                <p:cNvSpPr/>
                <p:nvPr/>
              </p:nvSpPr>
              <p:spPr>
                <a:xfrm flipH="1">
                  <a:off x="1618621" y="773612"/>
                  <a:ext cx="42356" cy="42356"/>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49" name="Freeform: Shape 948">
                  <a:extLst>
                    <a:ext uri="{FF2B5EF4-FFF2-40B4-BE49-F238E27FC236}">
                      <a16:creationId xmlns:a16="http://schemas.microsoft.com/office/drawing/2014/main" id="{56D090AD-0600-468C-92E4-D794C21F7F9E}"/>
                    </a:ext>
                  </a:extLst>
                </p:cNvPr>
                <p:cNvSpPr/>
                <p:nvPr/>
              </p:nvSpPr>
              <p:spPr>
                <a:xfrm flipH="1">
                  <a:off x="1545877" y="794588"/>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50" name="Freeform: Shape 949">
                  <a:extLst>
                    <a:ext uri="{FF2B5EF4-FFF2-40B4-BE49-F238E27FC236}">
                      <a16:creationId xmlns:a16="http://schemas.microsoft.com/office/drawing/2014/main" id="{A9A0A63F-E78D-414B-9751-7366850258CE}"/>
                    </a:ext>
                  </a:extLst>
                </p:cNvPr>
                <p:cNvSpPr/>
                <p:nvPr/>
              </p:nvSpPr>
              <p:spPr>
                <a:xfrm flipH="1">
                  <a:off x="1475284" y="821885"/>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51" name="Freeform: Shape 950">
                  <a:extLst>
                    <a:ext uri="{FF2B5EF4-FFF2-40B4-BE49-F238E27FC236}">
                      <a16:creationId xmlns:a16="http://schemas.microsoft.com/office/drawing/2014/main" id="{7BDB4BA3-B46C-40F1-80DC-F44EEC6592EF}"/>
                    </a:ext>
                  </a:extLst>
                </p:cNvPr>
                <p:cNvSpPr/>
                <p:nvPr/>
              </p:nvSpPr>
              <p:spPr>
                <a:xfrm flipH="1">
                  <a:off x="1407313" y="855164"/>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52" name="Freeform: Shape 951">
                  <a:extLst>
                    <a:ext uri="{FF2B5EF4-FFF2-40B4-BE49-F238E27FC236}">
                      <a16:creationId xmlns:a16="http://schemas.microsoft.com/office/drawing/2014/main" id="{05E5B1FF-45D5-4597-A8FC-AD174603DAD1}"/>
                    </a:ext>
                  </a:extLst>
                </p:cNvPr>
                <p:cNvSpPr/>
                <p:nvPr/>
              </p:nvSpPr>
              <p:spPr>
                <a:xfrm flipH="1">
                  <a:off x="1342502" y="894226"/>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53" name="Freeform: Shape 952">
                  <a:extLst>
                    <a:ext uri="{FF2B5EF4-FFF2-40B4-BE49-F238E27FC236}">
                      <a16:creationId xmlns:a16="http://schemas.microsoft.com/office/drawing/2014/main" id="{C490C810-7374-430F-949A-F18861E6ECB6}"/>
                    </a:ext>
                  </a:extLst>
                </p:cNvPr>
                <p:cNvSpPr/>
                <p:nvPr/>
              </p:nvSpPr>
              <p:spPr>
                <a:xfrm flipH="1">
                  <a:off x="1281388" y="938868"/>
                  <a:ext cx="42356" cy="42356"/>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54" name="Freeform: Shape 953">
                  <a:extLst>
                    <a:ext uri="{FF2B5EF4-FFF2-40B4-BE49-F238E27FC236}">
                      <a16:creationId xmlns:a16="http://schemas.microsoft.com/office/drawing/2014/main" id="{9102928C-7B03-47AC-BC1F-423E73AA2A3A}"/>
                    </a:ext>
                  </a:extLst>
                </p:cNvPr>
                <p:cNvSpPr/>
                <p:nvPr/>
              </p:nvSpPr>
              <p:spPr>
                <a:xfrm flipH="1">
                  <a:off x="1224309" y="988619"/>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55" name="Freeform: Shape 954">
                  <a:extLst>
                    <a:ext uri="{FF2B5EF4-FFF2-40B4-BE49-F238E27FC236}">
                      <a16:creationId xmlns:a16="http://schemas.microsoft.com/office/drawing/2014/main" id="{40B6CF14-D6DC-4200-ACEE-4E94DF3F6E0B}"/>
                    </a:ext>
                  </a:extLst>
                </p:cNvPr>
                <p:cNvSpPr/>
                <p:nvPr/>
              </p:nvSpPr>
              <p:spPr>
                <a:xfrm flipH="1">
                  <a:off x="1171868" y="1043143"/>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56" name="Freeform: Shape 955">
                  <a:extLst>
                    <a:ext uri="{FF2B5EF4-FFF2-40B4-BE49-F238E27FC236}">
                      <a16:creationId xmlns:a16="http://schemas.microsoft.com/office/drawing/2014/main" id="{1F04FB23-78E2-4028-81BE-AA0136A59ECD}"/>
                    </a:ext>
                  </a:extLst>
                </p:cNvPr>
                <p:cNvSpPr/>
                <p:nvPr/>
              </p:nvSpPr>
              <p:spPr>
                <a:xfrm flipH="1">
                  <a:off x="1124335" y="1102038"/>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57" name="Freeform: Shape 956">
                  <a:extLst>
                    <a:ext uri="{FF2B5EF4-FFF2-40B4-BE49-F238E27FC236}">
                      <a16:creationId xmlns:a16="http://schemas.microsoft.com/office/drawing/2014/main" id="{ADE57C34-CD45-4DAD-BF59-B4A144CFFC72}"/>
                    </a:ext>
                  </a:extLst>
                </p:cNvPr>
                <p:cNvSpPr/>
                <p:nvPr/>
              </p:nvSpPr>
              <p:spPr>
                <a:xfrm flipH="1">
                  <a:off x="1082114" y="1164833"/>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58" name="Freeform: Shape 957">
                  <a:extLst>
                    <a:ext uri="{FF2B5EF4-FFF2-40B4-BE49-F238E27FC236}">
                      <a16:creationId xmlns:a16="http://schemas.microsoft.com/office/drawing/2014/main" id="{E593C475-3C18-48F5-9F72-B8E1D9F919FB}"/>
                    </a:ext>
                  </a:extLst>
                </p:cNvPr>
                <p:cNvSpPr/>
                <p:nvPr/>
              </p:nvSpPr>
              <p:spPr>
                <a:xfrm flipH="1">
                  <a:off x="1045540" y="1231123"/>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59" name="Freeform: Shape 958">
                  <a:extLst>
                    <a:ext uri="{FF2B5EF4-FFF2-40B4-BE49-F238E27FC236}">
                      <a16:creationId xmlns:a16="http://schemas.microsoft.com/office/drawing/2014/main" id="{CB797783-4581-47AE-92CF-7A3402676433}"/>
                    </a:ext>
                  </a:extLst>
                </p:cNvPr>
                <p:cNvSpPr/>
                <p:nvPr/>
              </p:nvSpPr>
              <p:spPr>
                <a:xfrm flipH="1">
                  <a:off x="1014882" y="1300305"/>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60" name="Freeform: Shape 959">
                  <a:extLst>
                    <a:ext uri="{FF2B5EF4-FFF2-40B4-BE49-F238E27FC236}">
                      <a16:creationId xmlns:a16="http://schemas.microsoft.com/office/drawing/2014/main" id="{EAE49030-3E0A-43E5-93B4-1DFA35F4E957}"/>
                    </a:ext>
                  </a:extLst>
                </p:cNvPr>
                <p:cNvSpPr/>
                <p:nvPr/>
              </p:nvSpPr>
              <p:spPr>
                <a:xfrm flipH="1">
                  <a:off x="990343" y="1371906"/>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61" name="Freeform: Shape 960">
                  <a:extLst>
                    <a:ext uri="{FF2B5EF4-FFF2-40B4-BE49-F238E27FC236}">
                      <a16:creationId xmlns:a16="http://schemas.microsoft.com/office/drawing/2014/main" id="{AEF98C27-6B28-4EE5-8548-81445B72ECAF}"/>
                    </a:ext>
                  </a:extLst>
                </p:cNvPr>
                <p:cNvSpPr/>
                <p:nvPr/>
              </p:nvSpPr>
              <p:spPr>
                <a:xfrm flipH="1">
                  <a:off x="1604687" y="934669"/>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62" name="Freeform: Shape 961">
                  <a:extLst>
                    <a:ext uri="{FF2B5EF4-FFF2-40B4-BE49-F238E27FC236}">
                      <a16:creationId xmlns:a16="http://schemas.microsoft.com/office/drawing/2014/main" id="{DC6082E1-2765-4F8E-AD92-990C4F1F764A}"/>
                    </a:ext>
                  </a:extLst>
                </p:cNvPr>
                <p:cNvSpPr/>
                <p:nvPr/>
              </p:nvSpPr>
              <p:spPr>
                <a:xfrm flipH="1">
                  <a:off x="1545396" y="957595"/>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63" name="Freeform: Shape 962">
                  <a:extLst>
                    <a:ext uri="{FF2B5EF4-FFF2-40B4-BE49-F238E27FC236}">
                      <a16:creationId xmlns:a16="http://schemas.microsoft.com/office/drawing/2014/main" id="{C5FEA196-E27E-44A8-8653-FA800AA2CEC9}"/>
                    </a:ext>
                  </a:extLst>
                </p:cNvPr>
                <p:cNvSpPr/>
                <p:nvPr/>
              </p:nvSpPr>
              <p:spPr>
                <a:xfrm flipH="1">
                  <a:off x="1488307" y="985547"/>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64" name="Freeform: Shape 963">
                  <a:extLst>
                    <a:ext uri="{FF2B5EF4-FFF2-40B4-BE49-F238E27FC236}">
                      <a16:creationId xmlns:a16="http://schemas.microsoft.com/office/drawing/2014/main" id="{3AB890DD-8A83-46A3-82DF-433AB98B8D70}"/>
                    </a:ext>
                  </a:extLst>
                </p:cNvPr>
                <p:cNvSpPr/>
                <p:nvPr/>
              </p:nvSpPr>
              <p:spPr>
                <a:xfrm flipH="1">
                  <a:off x="1433872" y="1018355"/>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65" name="Freeform: Shape 964">
                  <a:extLst>
                    <a:ext uri="{FF2B5EF4-FFF2-40B4-BE49-F238E27FC236}">
                      <a16:creationId xmlns:a16="http://schemas.microsoft.com/office/drawing/2014/main" id="{5AAE1BFD-81D6-4435-9640-84AB0932B8C5}"/>
                    </a:ext>
                  </a:extLst>
                </p:cNvPr>
                <p:cNvSpPr/>
                <p:nvPr/>
              </p:nvSpPr>
              <p:spPr>
                <a:xfrm flipH="1">
                  <a:off x="1382542" y="1055850"/>
                  <a:ext cx="35575" cy="35575"/>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66" name="Freeform: Shape 965">
                  <a:extLst>
                    <a:ext uri="{FF2B5EF4-FFF2-40B4-BE49-F238E27FC236}">
                      <a16:creationId xmlns:a16="http://schemas.microsoft.com/office/drawing/2014/main" id="{1CFA8A30-C651-492C-8276-0A82065432B2}"/>
                    </a:ext>
                  </a:extLst>
                </p:cNvPr>
                <p:cNvSpPr/>
                <p:nvPr/>
              </p:nvSpPr>
              <p:spPr>
                <a:xfrm flipH="1">
                  <a:off x="1334601" y="1097636"/>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67" name="Freeform: Shape 966">
                  <a:extLst>
                    <a:ext uri="{FF2B5EF4-FFF2-40B4-BE49-F238E27FC236}">
                      <a16:creationId xmlns:a16="http://schemas.microsoft.com/office/drawing/2014/main" id="{44B124A4-7497-4BF9-B3A0-1259AB9138B1}"/>
                    </a:ext>
                  </a:extLst>
                </p:cNvPr>
                <p:cNvSpPr/>
                <p:nvPr/>
              </p:nvSpPr>
              <p:spPr>
                <a:xfrm flipH="1">
                  <a:off x="1290556" y="1143431"/>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68" name="Freeform: Shape 967">
                  <a:extLst>
                    <a:ext uri="{FF2B5EF4-FFF2-40B4-BE49-F238E27FC236}">
                      <a16:creationId xmlns:a16="http://schemas.microsoft.com/office/drawing/2014/main" id="{FD8555B5-8F7C-4F81-9454-84D554A4B068}"/>
                    </a:ext>
                  </a:extLst>
                </p:cNvPr>
                <p:cNvSpPr/>
                <p:nvPr/>
              </p:nvSpPr>
              <p:spPr>
                <a:xfrm flipH="1">
                  <a:off x="1250633" y="1192898"/>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69" name="Freeform: Shape 968">
                  <a:extLst>
                    <a:ext uri="{FF2B5EF4-FFF2-40B4-BE49-F238E27FC236}">
                      <a16:creationId xmlns:a16="http://schemas.microsoft.com/office/drawing/2014/main" id="{38F9F49A-34C3-4498-B5DB-F8D052BB0C13}"/>
                    </a:ext>
                  </a:extLst>
                </p:cNvPr>
                <p:cNvSpPr/>
                <p:nvPr/>
              </p:nvSpPr>
              <p:spPr>
                <a:xfrm flipH="1">
                  <a:off x="1215171" y="1245639"/>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70" name="Freeform: Shape 969">
                  <a:extLst>
                    <a:ext uri="{FF2B5EF4-FFF2-40B4-BE49-F238E27FC236}">
                      <a16:creationId xmlns:a16="http://schemas.microsoft.com/office/drawing/2014/main" id="{FA5A9B06-50E7-4314-94DE-F69C4DCD1A14}"/>
                    </a:ext>
                  </a:extLst>
                </p:cNvPr>
                <p:cNvSpPr/>
                <p:nvPr/>
              </p:nvSpPr>
              <p:spPr>
                <a:xfrm flipH="1">
                  <a:off x="1184452" y="1301316"/>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71" name="Freeform: Shape 970">
                  <a:extLst>
                    <a:ext uri="{FF2B5EF4-FFF2-40B4-BE49-F238E27FC236}">
                      <a16:creationId xmlns:a16="http://schemas.microsoft.com/office/drawing/2014/main" id="{233F5AF8-F1B2-45D4-94CB-B5B3C7D6D0F6}"/>
                    </a:ext>
                  </a:extLst>
                </p:cNvPr>
                <p:cNvSpPr/>
                <p:nvPr/>
              </p:nvSpPr>
              <p:spPr>
                <a:xfrm flipH="1">
                  <a:off x="1158703" y="1359422"/>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72" name="Freeform: Shape 971">
                  <a:extLst>
                    <a:ext uri="{FF2B5EF4-FFF2-40B4-BE49-F238E27FC236}">
                      <a16:creationId xmlns:a16="http://schemas.microsoft.com/office/drawing/2014/main" id="{4EA1BC41-35AB-4222-8086-786D183A9A99}"/>
                    </a:ext>
                  </a:extLst>
                </p:cNvPr>
                <p:cNvSpPr/>
                <p:nvPr/>
              </p:nvSpPr>
              <p:spPr>
                <a:xfrm flipH="1">
                  <a:off x="1585949" y="1097251"/>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73" name="Freeform: Shape 972">
                  <a:extLst>
                    <a:ext uri="{FF2B5EF4-FFF2-40B4-BE49-F238E27FC236}">
                      <a16:creationId xmlns:a16="http://schemas.microsoft.com/office/drawing/2014/main" id="{9A5A3446-6A67-41BA-B91D-EA85A5519C10}"/>
                    </a:ext>
                  </a:extLst>
                </p:cNvPr>
                <p:cNvSpPr/>
                <p:nvPr/>
              </p:nvSpPr>
              <p:spPr>
                <a:xfrm flipH="1">
                  <a:off x="1543086" y="1118237"/>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74" name="Freeform: Shape 973">
                  <a:extLst>
                    <a:ext uri="{FF2B5EF4-FFF2-40B4-BE49-F238E27FC236}">
                      <a16:creationId xmlns:a16="http://schemas.microsoft.com/office/drawing/2014/main" id="{67836A1D-2156-45FD-A08C-C42984D43E37}"/>
                    </a:ext>
                  </a:extLst>
                </p:cNvPr>
                <p:cNvSpPr/>
                <p:nvPr/>
              </p:nvSpPr>
              <p:spPr>
                <a:xfrm flipH="1">
                  <a:off x="1502216" y="1142870"/>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75" name="Freeform: Shape 974">
                  <a:extLst>
                    <a:ext uri="{FF2B5EF4-FFF2-40B4-BE49-F238E27FC236}">
                      <a16:creationId xmlns:a16="http://schemas.microsoft.com/office/drawing/2014/main" id="{9DE658C4-B776-40BA-9C52-AC75E8F4F0F1}"/>
                    </a:ext>
                  </a:extLst>
                </p:cNvPr>
                <p:cNvSpPr/>
                <p:nvPr/>
              </p:nvSpPr>
              <p:spPr>
                <a:xfrm flipH="1">
                  <a:off x="1463678" y="1171021"/>
                  <a:ext cx="26709" cy="26710"/>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76" name="Freeform: Shape 975">
                  <a:extLst>
                    <a:ext uri="{FF2B5EF4-FFF2-40B4-BE49-F238E27FC236}">
                      <a16:creationId xmlns:a16="http://schemas.microsoft.com/office/drawing/2014/main" id="{3BDA82B7-F4F5-440B-954D-32B326101948}"/>
                    </a:ext>
                  </a:extLst>
                </p:cNvPr>
                <p:cNvSpPr/>
                <p:nvPr/>
              </p:nvSpPr>
              <p:spPr>
                <a:xfrm flipH="1">
                  <a:off x="1427684" y="1202394"/>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77" name="Freeform: Shape 976">
                  <a:extLst>
                    <a:ext uri="{FF2B5EF4-FFF2-40B4-BE49-F238E27FC236}">
                      <a16:creationId xmlns:a16="http://schemas.microsoft.com/office/drawing/2014/main" id="{E23A68CA-AA0C-49E2-85F0-1114D9B7C48C}"/>
                    </a:ext>
                  </a:extLst>
                </p:cNvPr>
                <p:cNvSpPr/>
                <p:nvPr/>
              </p:nvSpPr>
              <p:spPr>
                <a:xfrm flipH="1">
                  <a:off x="1394615" y="1236777"/>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78" name="Freeform: Shape 977">
                  <a:extLst>
                    <a:ext uri="{FF2B5EF4-FFF2-40B4-BE49-F238E27FC236}">
                      <a16:creationId xmlns:a16="http://schemas.microsoft.com/office/drawing/2014/main" id="{D6904C05-60DF-44FB-97C2-49E543744A48}"/>
                    </a:ext>
                  </a:extLst>
                </p:cNvPr>
                <p:cNvSpPr/>
                <p:nvPr/>
              </p:nvSpPr>
              <p:spPr>
                <a:xfrm flipH="1">
                  <a:off x="1364640" y="1273916"/>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79" name="Freeform: Shape 978">
                  <a:extLst>
                    <a:ext uri="{FF2B5EF4-FFF2-40B4-BE49-F238E27FC236}">
                      <a16:creationId xmlns:a16="http://schemas.microsoft.com/office/drawing/2014/main" id="{6176D472-07FD-463A-BFBC-8FBCF9E6245E}"/>
                    </a:ext>
                  </a:extLst>
                </p:cNvPr>
                <p:cNvSpPr/>
                <p:nvPr/>
              </p:nvSpPr>
              <p:spPr>
                <a:xfrm flipH="1">
                  <a:off x="1338016" y="1313515"/>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80" name="Freeform: Shape 979">
                  <a:extLst>
                    <a:ext uri="{FF2B5EF4-FFF2-40B4-BE49-F238E27FC236}">
                      <a16:creationId xmlns:a16="http://schemas.microsoft.com/office/drawing/2014/main" id="{4DAE39E0-7282-4D45-A796-2AF9AEC461F2}"/>
                    </a:ext>
                  </a:extLst>
                </p:cNvPr>
                <p:cNvSpPr/>
                <p:nvPr/>
              </p:nvSpPr>
              <p:spPr>
                <a:xfrm flipH="1">
                  <a:off x="1314952" y="1355317"/>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81" name="Freeform: Shape 980">
                  <a:extLst>
                    <a:ext uri="{FF2B5EF4-FFF2-40B4-BE49-F238E27FC236}">
                      <a16:creationId xmlns:a16="http://schemas.microsoft.com/office/drawing/2014/main" id="{C4132DBD-A73F-4E49-B8FB-8DA4B78B4326}"/>
                    </a:ext>
                  </a:extLst>
                </p:cNvPr>
                <p:cNvSpPr/>
                <p:nvPr/>
              </p:nvSpPr>
              <p:spPr>
                <a:xfrm flipH="1">
                  <a:off x="1601130" y="1232701"/>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82" name="Freeform: Shape 981">
                  <a:extLst>
                    <a:ext uri="{FF2B5EF4-FFF2-40B4-BE49-F238E27FC236}">
                      <a16:creationId xmlns:a16="http://schemas.microsoft.com/office/drawing/2014/main" id="{A0C7BBC2-6C7F-462D-B0F1-5FEB7533B774}"/>
                    </a:ext>
                  </a:extLst>
                </p:cNvPr>
                <p:cNvSpPr/>
                <p:nvPr/>
              </p:nvSpPr>
              <p:spPr>
                <a:xfrm flipH="1">
                  <a:off x="1573638" y="1249271"/>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83" name="Freeform: Shape 982">
                  <a:extLst>
                    <a:ext uri="{FF2B5EF4-FFF2-40B4-BE49-F238E27FC236}">
                      <a16:creationId xmlns:a16="http://schemas.microsoft.com/office/drawing/2014/main" id="{BFD02522-B50D-4C00-A2CC-7A267737627A}"/>
                    </a:ext>
                  </a:extLst>
                </p:cNvPr>
                <p:cNvSpPr/>
                <p:nvPr/>
              </p:nvSpPr>
              <p:spPr>
                <a:xfrm flipH="1">
                  <a:off x="1547714" y="1268208"/>
                  <a:ext cx="17967" cy="17967"/>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84" name="Freeform: Shape 983">
                  <a:extLst>
                    <a:ext uri="{FF2B5EF4-FFF2-40B4-BE49-F238E27FC236}">
                      <a16:creationId xmlns:a16="http://schemas.microsoft.com/office/drawing/2014/main" id="{AA69B668-76CE-4F20-8B2E-4BF661678EFD}"/>
                    </a:ext>
                  </a:extLst>
                </p:cNvPr>
                <p:cNvSpPr/>
                <p:nvPr/>
              </p:nvSpPr>
              <p:spPr>
                <a:xfrm flipH="1">
                  <a:off x="1523501" y="1289312"/>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85" name="Freeform: Shape 984">
                  <a:extLst>
                    <a:ext uri="{FF2B5EF4-FFF2-40B4-BE49-F238E27FC236}">
                      <a16:creationId xmlns:a16="http://schemas.microsoft.com/office/drawing/2014/main" id="{A200D66B-56A8-4C3C-AE89-5329CA3386F8}"/>
                    </a:ext>
                  </a:extLst>
                </p:cNvPr>
                <p:cNvSpPr/>
                <p:nvPr/>
              </p:nvSpPr>
              <p:spPr>
                <a:xfrm flipH="1">
                  <a:off x="1501256" y="1312440"/>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86" name="Freeform: Shape 985">
                  <a:extLst>
                    <a:ext uri="{FF2B5EF4-FFF2-40B4-BE49-F238E27FC236}">
                      <a16:creationId xmlns:a16="http://schemas.microsoft.com/office/drawing/2014/main" id="{69F70AEB-2EE1-4E2B-B02D-050861C06B6D}"/>
                    </a:ext>
                  </a:extLst>
                </p:cNvPr>
                <p:cNvSpPr/>
                <p:nvPr/>
              </p:nvSpPr>
              <p:spPr>
                <a:xfrm flipH="1">
                  <a:off x="1481093" y="1337423"/>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987" name="Freeform: Shape 986">
                  <a:extLst>
                    <a:ext uri="{FF2B5EF4-FFF2-40B4-BE49-F238E27FC236}">
                      <a16:creationId xmlns:a16="http://schemas.microsoft.com/office/drawing/2014/main" id="{77817469-505A-4FFA-B32B-BD4D48BC125F}"/>
                    </a:ext>
                  </a:extLst>
                </p:cNvPr>
                <p:cNvSpPr/>
                <p:nvPr/>
              </p:nvSpPr>
              <p:spPr>
                <a:xfrm flipH="1">
                  <a:off x="1463183" y="1364060"/>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grpSp>
          <p:grpSp>
            <p:nvGrpSpPr>
              <p:cNvPr id="803" name="Group 802">
                <a:extLst>
                  <a:ext uri="{FF2B5EF4-FFF2-40B4-BE49-F238E27FC236}">
                    <a16:creationId xmlns:a16="http://schemas.microsoft.com/office/drawing/2014/main" id="{70C1FF1C-9D1A-44A3-A85D-CEBF5E51F4D0}"/>
                  </a:ext>
                </a:extLst>
              </p:cNvPr>
              <p:cNvGrpSpPr/>
              <p:nvPr/>
            </p:nvGrpSpPr>
            <p:grpSpPr>
              <a:xfrm flipH="1">
                <a:off x="3603380" y="5646420"/>
                <a:ext cx="1953571" cy="1864651"/>
                <a:chOff x="438434" y="314912"/>
                <a:chExt cx="1318735" cy="1258728"/>
              </a:xfrm>
              <a:grpFill/>
            </p:grpSpPr>
            <p:sp>
              <p:nvSpPr>
                <p:cNvPr id="804" name="Freeform: Shape 803">
                  <a:extLst>
                    <a:ext uri="{FF2B5EF4-FFF2-40B4-BE49-F238E27FC236}">
                      <a16:creationId xmlns:a16="http://schemas.microsoft.com/office/drawing/2014/main" id="{97E31817-2E39-4F50-A8C6-1BED9F43B66E}"/>
                    </a:ext>
                  </a:extLst>
                </p:cNvPr>
                <p:cNvSpPr/>
                <p:nvPr/>
              </p:nvSpPr>
              <p:spPr>
                <a:xfrm flipH="1">
                  <a:off x="1697162" y="314912"/>
                  <a:ext cx="60007" cy="60007"/>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05" name="Freeform: Shape 804">
                  <a:extLst>
                    <a:ext uri="{FF2B5EF4-FFF2-40B4-BE49-F238E27FC236}">
                      <a16:creationId xmlns:a16="http://schemas.microsoft.com/office/drawing/2014/main" id="{4F354411-C327-4CB8-89CE-B66658A158BF}"/>
                    </a:ext>
                  </a:extLst>
                </p:cNvPr>
                <p:cNvSpPr/>
                <p:nvPr/>
              </p:nvSpPr>
              <p:spPr>
                <a:xfrm flipH="1">
                  <a:off x="1590007" y="317007"/>
                  <a:ext cx="60007" cy="60007"/>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06" name="Freeform: Shape 805">
                  <a:extLst>
                    <a:ext uri="{FF2B5EF4-FFF2-40B4-BE49-F238E27FC236}">
                      <a16:creationId xmlns:a16="http://schemas.microsoft.com/office/drawing/2014/main" id="{92F0ACF4-6520-4E87-A515-B72EE4A0CAC8}"/>
                    </a:ext>
                  </a:extLst>
                </p:cNvPr>
                <p:cNvSpPr/>
                <p:nvPr/>
              </p:nvSpPr>
              <p:spPr>
                <a:xfrm flipH="1">
                  <a:off x="1483422" y="328342"/>
                  <a:ext cx="60007" cy="60007"/>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07" name="Freeform: Shape 806">
                  <a:extLst>
                    <a:ext uri="{FF2B5EF4-FFF2-40B4-BE49-F238E27FC236}">
                      <a16:creationId xmlns:a16="http://schemas.microsoft.com/office/drawing/2014/main" id="{7B4D5009-5ED5-4383-9104-E15A3872217A}"/>
                    </a:ext>
                  </a:extLst>
                </p:cNvPr>
                <p:cNvSpPr/>
                <p:nvPr/>
              </p:nvSpPr>
              <p:spPr>
                <a:xfrm flipH="1">
                  <a:off x="1378170" y="349011"/>
                  <a:ext cx="60007" cy="60007"/>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08" name="Freeform: Shape 807">
                  <a:extLst>
                    <a:ext uri="{FF2B5EF4-FFF2-40B4-BE49-F238E27FC236}">
                      <a16:creationId xmlns:a16="http://schemas.microsoft.com/office/drawing/2014/main" id="{45AA7429-8AD4-4F99-AE16-162F358FA5FA}"/>
                    </a:ext>
                  </a:extLst>
                </p:cNvPr>
                <p:cNvSpPr/>
                <p:nvPr/>
              </p:nvSpPr>
              <p:spPr>
                <a:xfrm flipH="1">
                  <a:off x="1275110" y="378729"/>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09" name="Freeform: Shape 808">
                  <a:extLst>
                    <a:ext uri="{FF2B5EF4-FFF2-40B4-BE49-F238E27FC236}">
                      <a16:creationId xmlns:a16="http://schemas.microsoft.com/office/drawing/2014/main" id="{A789C083-0BA6-4783-A12C-A72A89B0E4C2}"/>
                    </a:ext>
                  </a:extLst>
                </p:cNvPr>
                <p:cNvSpPr/>
                <p:nvPr/>
              </p:nvSpPr>
              <p:spPr>
                <a:xfrm flipH="1">
                  <a:off x="1175097" y="417401"/>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10" name="Freeform: Shape 809">
                  <a:extLst>
                    <a:ext uri="{FF2B5EF4-FFF2-40B4-BE49-F238E27FC236}">
                      <a16:creationId xmlns:a16="http://schemas.microsoft.com/office/drawing/2014/main" id="{AF5F9FE5-4F0F-4FBA-8DF4-D3BD9F8301E8}"/>
                    </a:ext>
                  </a:extLst>
                </p:cNvPr>
                <p:cNvSpPr/>
                <p:nvPr/>
              </p:nvSpPr>
              <p:spPr>
                <a:xfrm flipH="1">
                  <a:off x="1078800" y="464549"/>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11" name="Freeform: Shape 810">
                  <a:extLst>
                    <a:ext uri="{FF2B5EF4-FFF2-40B4-BE49-F238E27FC236}">
                      <a16:creationId xmlns:a16="http://schemas.microsoft.com/office/drawing/2014/main" id="{666CD2AE-E6EC-4F93-9088-9DBBFD9C70A2}"/>
                    </a:ext>
                  </a:extLst>
                </p:cNvPr>
                <p:cNvSpPr/>
                <p:nvPr/>
              </p:nvSpPr>
              <p:spPr>
                <a:xfrm flipH="1">
                  <a:off x="986979" y="519890"/>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12" name="Freeform: Shape 811">
                  <a:extLst>
                    <a:ext uri="{FF2B5EF4-FFF2-40B4-BE49-F238E27FC236}">
                      <a16:creationId xmlns:a16="http://schemas.microsoft.com/office/drawing/2014/main" id="{2D4B1206-7BB7-4E02-86DE-68EB48F60C6B}"/>
                    </a:ext>
                  </a:extLst>
                </p:cNvPr>
                <p:cNvSpPr/>
                <p:nvPr/>
              </p:nvSpPr>
              <p:spPr>
                <a:xfrm flipH="1">
                  <a:off x="900396" y="583136"/>
                  <a:ext cx="60007" cy="60007"/>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13" name="Freeform: Shape 812">
                  <a:extLst>
                    <a:ext uri="{FF2B5EF4-FFF2-40B4-BE49-F238E27FC236}">
                      <a16:creationId xmlns:a16="http://schemas.microsoft.com/office/drawing/2014/main" id="{CD447B06-A4E0-4C62-A849-EA90E2413295}"/>
                    </a:ext>
                  </a:extLst>
                </p:cNvPr>
                <p:cNvSpPr/>
                <p:nvPr/>
              </p:nvSpPr>
              <p:spPr>
                <a:xfrm flipH="1">
                  <a:off x="819529" y="653621"/>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14" name="Freeform: Shape 813">
                  <a:extLst>
                    <a:ext uri="{FF2B5EF4-FFF2-40B4-BE49-F238E27FC236}">
                      <a16:creationId xmlns:a16="http://schemas.microsoft.com/office/drawing/2014/main" id="{333243AF-7A7A-4A9B-B8A5-05E196A94419}"/>
                    </a:ext>
                  </a:extLst>
                </p:cNvPr>
                <p:cNvSpPr/>
                <p:nvPr/>
              </p:nvSpPr>
              <p:spPr>
                <a:xfrm flipH="1">
                  <a:off x="745234" y="730868"/>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15" name="Freeform: Shape 814">
                  <a:extLst>
                    <a:ext uri="{FF2B5EF4-FFF2-40B4-BE49-F238E27FC236}">
                      <a16:creationId xmlns:a16="http://schemas.microsoft.com/office/drawing/2014/main" id="{310E34CD-D8EA-4137-9A9C-14C3B38861A0}"/>
                    </a:ext>
                  </a:extLst>
                </p:cNvPr>
                <p:cNvSpPr/>
                <p:nvPr/>
              </p:nvSpPr>
              <p:spPr>
                <a:xfrm flipH="1">
                  <a:off x="677892" y="814307"/>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16" name="Freeform: Shape 815">
                  <a:extLst>
                    <a:ext uri="{FF2B5EF4-FFF2-40B4-BE49-F238E27FC236}">
                      <a16:creationId xmlns:a16="http://schemas.microsoft.com/office/drawing/2014/main" id="{0A7DBC9F-C0A2-4EF8-B7EF-EC3B800C52F9}"/>
                    </a:ext>
                  </a:extLst>
                </p:cNvPr>
                <p:cNvSpPr/>
                <p:nvPr/>
              </p:nvSpPr>
              <p:spPr>
                <a:xfrm flipH="1">
                  <a:off x="618075" y="903271"/>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17" name="Freeform: Shape 816">
                  <a:extLst>
                    <a:ext uri="{FF2B5EF4-FFF2-40B4-BE49-F238E27FC236}">
                      <a16:creationId xmlns:a16="http://schemas.microsoft.com/office/drawing/2014/main" id="{6BD87A21-C9F3-4B70-B56C-5B2EE041E610}"/>
                    </a:ext>
                  </a:extLst>
                </p:cNvPr>
                <p:cNvSpPr/>
                <p:nvPr/>
              </p:nvSpPr>
              <p:spPr>
                <a:xfrm flipH="1">
                  <a:off x="566259" y="997187"/>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18" name="Freeform: Shape 817">
                  <a:extLst>
                    <a:ext uri="{FF2B5EF4-FFF2-40B4-BE49-F238E27FC236}">
                      <a16:creationId xmlns:a16="http://schemas.microsoft.com/office/drawing/2014/main" id="{C83A545C-7207-4344-81CF-36DAFBA9D0B7}"/>
                    </a:ext>
                  </a:extLst>
                </p:cNvPr>
                <p:cNvSpPr/>
                <p:nvPr/>
              </p:nvSpPr>
              <p:spPr>
                <a:xfrm flipH="1">
                  <a:off x="522825" y="1095200"/>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19" name="Freeform: Shape 818">
                  <a:extLst>
                    <a:ext uri="{FF2B5EF4-FFF2-40B4-BE49-F238E27FC236}">
                      <a16:creationId xmlns:a16="http://schemas.microsoft.com/office/drawing/2014/main" id="{01F4CCD7-7129-477B-A057-8CB9E9EB6425}"/>
                    </a:ext>
                  </a:extLst>
                </p:cNvPr>
                <p:cNvSpPr/>
                <p:nvPr/>
              </p:nvSpPr>
              <p:spPr>
                <a:xfrm flipH="1">
                  <a:off x="488059" y="1196641"/>
                  <a:ext cx="60007" cy="6000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20" name="Freeform: Shape 819">
                  <a:extLst>
                    <a:ext uri="{FF2B5EF4-FFF2-40B4-BE49-F238E27FC236}">
                      <a16:creationId xmlns:a16="http://schemas.microsoft.com/office/drawing/2014/main" id="{BD2DE8EF-4D45-4B04-A618-7C6632329C73}"/>
                    </a:ext>
                  </a:extLst>
                </p:cNvPr>
                <p:cNvSpPr/>
                <p:nvPr/>
              </p:nvSpPr>
              <p:spPr>
                <a:xfrm flipH="1">
                  <a:off x="462342" y="1300749"/>
                  <a:ext cx="60007" cy="60007"/>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21" name="Freeform: Shape 820">
                  <a:extLst>
                    <a:ext uri="{FF2B5EF4-FFF2-40B4-BE49-F238E27FC236}">
                      <a16:creationId xmlns:a16="http://schemas.microsoft.com/office/drawing/2014/main" id="{9B16FFFC-6BDC-47BD-894A-9BB0004FD5C2}"/>
                    </a:ext>
                  </a:extLst>
                </p:cNvPr>
                <p:cNvSpPr/>
                <p:nvPr/>
              </p:nvSpPr>
              <p:spPr>
                <a:xfrm flipH="1">
                  <a:off x="445768" y="1406667"/>
                  <a:ext cx="60007" cy="60007"/>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22" name="Freeform: Shape 821">
                  <a:extLst>
                    <a:ext uri="{FF2B5EF4-FFF2-40B4-BE49-F238E27FC236}">
                      <a16:creationId xmlns:a16="http://schemas.microsoft.com/office/drawing/2014/main" id="{46C3592A-0221-4086-8D9B-69D9B2D818D8}"/>
                    </a:ext>
                  </a:extLst>
                </p:cNvPr>
                <p:cNvSpPr/>
                <p:nvPr/>
              </p:nvSpPr>
              <p:spPr>
                <a:xfrm flipH="1">
                  <a:off x="438434" y="1513633"/>
                  <a:ext cx="60007" cy="60007"/>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23" name="Freeform: Shape 822">
                  <a:extLst>
                    <a:ext uri="{FF2B5EF4-FFF2-40B4-BE49-F238E27FC236}">
                      <a16:creationId xmlns:a16="http://schemas.microsoft.com/office/drawing/2014/main" id="{94897621-8681-468B-BBF7-EEDF917725A0}"/>
                    </a:ext>
                  </a:extLst>
                </p:cNvPr>
                <p:cNvSpPr/>
                <p:nvPr/>
              </p:nvSpPr>
              <p:spPr>
                <a:xfrm flipH="1">
                  <a:off x="438434" y="1513633"/>
                  <a:ext cx="60007" cy="60007"/>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24" name="Freeform: Shape 823">
                  <a:extLst>
                    <a:ext uri="{FF2B5EF4-FFF2-40B4-BE49-F238E27FC236}">
                      <a16:creationId xmlns:a16="http://schemas.microsoft.com/office/drawing/2014/main" id="{9299B259-25B6-4391-A101-A1A10BA1579F}"/>
                    </a:ext>
                  </a:extLst>
                </p:cNvPr>
                <p:cNvSpPr/>
                <p:nvPr/>
              </p:nvSpPr>
              <p:spPr>
                <a:xfrm flipH="1">
                  <a:off x="1663999" y="476138"/>
                  <a:ext cx="53320" cy="53320"/>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25" name="Freeform: Shape 824">
                  <a:extLst>
                    <a:ext uri="{FF2B5EF4-FFF2-40B4-BE49-F238E27FC236}">
                      <a16:creationId xmlns:a16="http://schemas.microsoft.com/office/drawing/2014/main" id="{AC717D5A-5CC5-42DC-8297-853754E844C1}"/>
                    </a:ext>
                  </a:extLst>
                </p:cNvPr>
                <p:cNvSpPr/>
                <p:nvPr/>
              </p:nvSpPr>
              <p:spPr>
                <a:xfrm flipH="1">
                  <a:off x="1569292" y="486210"/>
                  <a:ext cx="53320" cy="53320"/>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26" name="Freeform: Shape 825">
                  <a:extLst>
                    <a:ext uri="{FF2B5EF4-FFF2-40B4-BE49-F238E27FC236}">
                      <a16:creationId xmlns:a16="http://schemas.microsoft.com/office/drawing/2014/main" id="{30E6837E-B957-43A7-BB62-5AAE49486B92}"/>
                    </a:ext>
                  </a:extLst>
                </p:cNvPr>
                <p:cNvSpPr/>
                <p:nvPr/>
              </p:nvSpPr>
              <p:spPr>
                <a:xfrm flipH="1">
                  <a:off x="1475769" y="504576"/>
                  <a:ext cx="53320" cy="53320"/>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27" name="Freeform: Shape 826">
                  <a:extLst>
                    <a:ext uri="{FF2B5EF4-FFF2-40B4-BE49-F238E27FC236}">
                      <a16:creationId xmlns:a16="http://schemas.microsoft.com/office/drawing/2014/main" id="{3797E66C-6EF1-4493-ABF9-EA24C93FE3C7}"/>
                    </a:ext>
                  </a:extLst>
                </p:cNvPr>
                <p:cNvSpPr/>
                <p:nvPr/>
              </p:nvSpPr>
              <p:spPr>
                <a:xfrm flipH="1">
                  <a:off x="1384193" y="530982"/>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28" name="Freeform: Shape 827">
                  <a:extLst>
                    <a:ext uri="{FF2B5EF4-FFF2-40B4-BE49-F238E27FC236}">
                      <a16:creationId xmlns:a16="http://schemas.microsoft.com/office/drawing/2014/main" id="{B5CF4C06-306F-4F9B-BA1F-41164BB57781}"/>
                    </a:ext>
                  </a:extLst>
                </p:cNvPr>
                <p:cNvSpPr/>
                <p:nvPr/>
              </p:nvSpPr>
              <p:spPr>
                <a:xfrm flipH="1">
                  <a:off x="1295325" y="565344"/>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29" name="Freeform: Shape 828">
                  <a:extLst>
                    <a:ext uri="{FF2B5EF4-FFF2-40B4-BE49-F238E27FC236}">
                      <a16:creationId xmlns:a16="http://schemas.microsoft.com/office/drawing/2014/main" id="{6B3F25E7-E05C-4C59-BEA6-4F9F96461CF4}"/>
                    </a:ext>
                  </a:extLst>
                </p:cNvPr>
                <p:cNvSpPr/>
                <p:nvPr/>
              </p:nvSpPr>
              <p:spPr>
                <a:xfrm flipH="1">
                  <a:off x="1209760" y="607238"/>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30" name="Freeform: Shape 829">
                  <a:extLst>
                    <a:ext uri="{FF2B5EF4-FFF2-40B4-BE49-F238E27FC236}">
                      <a16:creationId xmlns:a16="http://schemas.microsoft.com/office/drawing/2014/main" id="{BAE6EC31-90AC-427B-B548-E6E3416D3FD3}"/>
                    </a:ext>
                  </a:extLst>
                </p:cNvPr>
                <p:cNvSpPr/>
                <p:nvPr/>
              </p:nvSpPr>
              <p:spPr>
                <a:xfrm flipH="1">
                  <a:off x="1128171" y="656412"/>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31" name="Freeform: Shape 830">
                  <a:extLst>
                    <a:ext uri="{FF2B5EF4-FFF2-40B4-BE49-F238E27FC236}">
                      <a16:creationId xmlns:a16="http://schemas.microsoft.com/office/drawing/2014/main" id="{8607B348-3EF4-42E4-93C9-CA40D0EAD2C2}"/>
                    </a:ext>
                  </a:extLst>
                </p:cNvPr>
                <p:cNvSpPr/>
                <p:nvPr/>
              </p:nvSpPr>
              <p:spPr>
                <a:xfrm flipH="1">
                  <a:off x="1051236" y="712610"/>
                  <a:ext cx="53320" cy="53320"/>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32" name="Freeform: Shape 831">
                  <a:extLst>
                    <a:ext uri="{FF2B5EF4-FFF2-40B4-BE49-F238E27FC236}">
                      <a16:creationId xmlns:a16="http://schemas.microsoft.com/office/drawing/2014/main" id="{A9F0515C-9DAB-4177-B874-26DC78029190}"/>
                    </a:ext>
                  </a:extLst>
                </p:cNvPr>
                <p:cNvSpPr/>
                <p:nvPr/>
              </p:nvSpPr>
              <p:spPr>
                <a:xfrm flipH="1">
                  <a:off x="979381" y="775241"/>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33" name="Freeform: Shape 832">
                  <a:extLst>
                    <a:ext uri="{FF2B5EF4-FFF2-40B4-BE49-F238E27FC236}">
                      <a16:creationId xmlns:a16="http://schemas.microsoft.com/office/drawing/2014/main" id="{F625974C-9531-478B-B529-51559578139E}"/>
                    </a:ext>
                  </a:extLst>
                </p:cNvPr>
                <p:cNvSpPr/>
                <p:nvPr/>
              </p:nvSpPr>
              <p:spPr>
                <a:xfrm flipH="1">
                  <a:off x="913365" y="843880"/>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34" name="Freeform: Shape 833">
                  <a:extLst>
                    <a:ext uri="{FF2B5EF4-FFF2-40B4-BE49-F238E27FC236}">
                      <a16:creationId xmlns:a16="http://schemas.microsoft.com/office/drawing/2014/main" id="{21852974-DACD-4C87-A1F9-8695DA403A8D}"/>
                    </a:ext>
                  </a:extLst>
                </p:cNvPr>
                <p:cNvSpPr/>
                <p:nvPr/>
              </p:nvSpPr>
              <p:spPr>
                <a:xfrm flipH="1">
                  <a:off x="853528" y="918021"/>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35" name="Freeform: Shape 834">
                  <a:extLst>
                    <a:ext uri="{FF2B5EF4-FFF2-40B4-BE49-F238E27FC236}">
                      <a16:creationId xmlns:a16="http://schemas.microsoft.com/office/drawing/2014/main" id="{282F2A18-C749-4737-80AC-F426B075C716}"/>
                    </a:ext>
                  </a:extLst>
                </p:cNvPr>
                <p:cNvSpPr/>
                <p:nvPr/>
              </p:nvSpPr>
              <p:spPr>
                <a:xfrm flipH="1">
                  <a:off x="800377" y="997071"/>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36" name="Freeform: Shape 835">
                  <a:extLst>
                    <a:ext uri="{FF2B5EF4-FFF2-40B4-BE49-F238E27FC236}">
                      <a16:creationId xmlns:a16="http://schemas.microsoft.com/office/drawing/2014/main" id="{8A2E568E-4766-48F0-9A32-4298202A4AB3}"/>
                    </a:ext>
                  </a:extLst>
                </p:cNvPr>
                <p:cNvSpPr/>
                <p:nvPr/>
              </p:nvSpPr>
              <p:spPr>
                <a:xfrm flipH="1">
                  <a:off x="754335" y="1080521"/>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37" name="Freeform: Shape 836">
                  <a:extLst>
                    <a:ext uri="{FF2B5EF4-FFF2-40B4-BE49-F238E27FC236}">
                      <a16:creationId xmlns:a16="http://schemas.microsoft.com/office/drawing/2014/main" id="{7DA2C981-1D24-49BF-A768-96469065CD6E}"/>
                    </a:ext>
                  </a:extLst>
                </p:cNvPr>
                <p:cNvSpPr/>
                <p:nvPr/>
              </p:nvSpPr>
              <p:spPr>
                <a:xfrm flipH="1">
                  <a:off x="715741" y="1167612"/>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38" name="Freeform: Shape 837">
                  <a:extLst>
                    <a:ext uri="{FF2B5EF4-FFF2-40B4-BE49-F238E27FC236}">
                      <a16:creationId xmlns:a16="http://schemas.microsoft.com/office/drawing/2014/main" id="{E2E9B594-172A-42CB-B2A6-50D8F8A59443}"/>
                    </a:ext>
                  </a:extLst>
                </p:cNvPr>
                <p:cNvSpPr/>
                <p:nvPr/>
              </p:nvSpPr>
              <p:spPr>
                <a:xfrm flipH="1">
                  <a:off x="684849" y="1257749"/>
                  <a:ext cx="53320" cy="533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39" name="Freeform: Shape 838">
                  <a:extLst>
                    <a:ext uri="{FF2B5EF4-FFF2-40B4-BE49-F238E27FC236}">
                      <a16:creationId xmlns:a16="http://schemas.microsoft.com/office/drawing/2014/main" id="{181FA201-40DD-4E07-A12A-531AD2C36487}"/>
                    </a:ext>
                  </a:extLst>
                </p:cNvPr>
                <p:cNvSpPr/>
                <p:nvPr/>
              </p:nvSpPr>
              <p:spPr>
                <a:xfrm flipH="1">
                  <a:off x="661998" y="1350255"/>
                  <a:ext cx="53320" cy="53320"/>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40" name="Freeform: Shape 839">
                  <a:extLst>
                    <a:ext uri="{FF2B5EF4-FFF2-40B4-BE49-F238E27FC236}">
                      <a16:creationId xmlns:a16="http://schemas.microsoft.com/office/drawing/2014/main" id="{FEDC8271-8C75-44F7-8BCE-8B47DA34895D}"/>
                    </a:ext>
                  </a:extLst>
                </p:cNvPr>
                <p:cNvSpPr/>
                <p:nvPr/>
              </p:nvSpPr>
              <p:spPr>
                <a:xfrm flipH="1">
                  <a:off x="647271" y="1444370"/>
                  <a:ext cx="53320" cy="53320"/>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41" name="Freeform: Shape 840">
                  <a:extLst>
                    <a:ext uri="{FF2B5EF4-FFF2-40B4-BE49-F238E27FC236}">
                      <a16:creationId xmlns:a16="http://schemas.microsoft.com/office/drawing/2014/main" id="{C5A6393C-C6F8-46C7-940B-368D8935F05C}"/>
                    </a:ext>
                  </a:extLst>
                </p:cNvPr>
                <p:cNvSpPr/>
                <p:nvPr/>
              </p:nvSpPr>
              <p:spPr>
                <a:xfrm flipH="1">
                  <a:off x="1629145" y="628846"/>
                  <a:ext cx="47620" cy="47620"/>
                </a:xfrm>
                <a:custGeom>
                  <a:avLst/>
                  <a:gdLst>
                    <a:gd name="connsiteX0" fmla="*/ 60008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7"/>
                        <a:pt x="30004" y="60007"/>
                      </a:cubicBezTo>
                      <a:cubicBezTo>
                        <a:pt x="13433" y="60007"/>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42" name="Freeform: Shape 841">
                  <a:extLst>
                    <a:ext uri="{FF2B5EF4-FFF2-40B4-BE49-F238E27FC236}">
                      <a16:creationId xmlns:a16="http://schemas.microsoft.com/office/drawing/2014/main" id="{B26AB91E-32C9-4608-A040-1A24F3D7C465}"/>
                    </a:ext>
                  </a:extLst>
                </p:cNvPr>
                <p:cNvSpPr/>
                <p:nvPr/>
              </p:nvSpPr>
              <p:spPr>
                <a:xfrm flipH="1">
                  <a:off x="1545620" y="645248"/>
                  <a:ext cx="47620" cy="47620"/>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43" name="Freeform: Shape 842">
                  <a:extLst>
                    <a:ext uri="{FF2B5EF4-FFF2-40B4-BE49-F238E27FC236}">
                      <a16:creationId xmlns:a16="http://schemas.microsoft.com/office/drawing/2014/main" id="{683CC7E0-78B0-4ADC-AC15-D8501EEF9AA4}"/>
                    </a:ext>
                  </a:extLst>
                </p:cNvPr>
                <p:cNvSpPr/>
                <p:nvPr/>
              </p:nvSpPr>
              <p:spPr>
                <a:xfrm flipH="1">
                  <a:off x="1463835" y="668832"/>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44" name="Freeform: Shape 843">
                  <a:extLst>
                    <a:ext uri="{FF2B5EF4-FFF2-40B4-BE49-F238E27FC236}">
                      <a16:creationId xmlns:a16="http://schemas.microsoft.com/office/drawing/2014/main" id="{2C461CEC-73EF-40BB-A548-AA70B9C1886D}"/>
                    </a:ext>
                  </a:extLst>
                </p:cNvPr>
                <p:cNvSpPr/>
                <p:nvPr/>
              </p:nvSpPr>
              <p:spPr>
                <a:xfrm flipH="1">
                  <a:off x="1384467" y="699521"/>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45" name="Freeform: Shape 844">
                  <a:extLst>
                    <a:ext uri="{FF2B5EF4-FFF2-40B4-BE49-F238E27FC236}">
                      <a16:creationId xmlns:a16="http://schemas.microsoft.com/office/drawing/2014/main" id="{67A2CA9B-32BF-41C7-9B55-F67CBD13B884}"/>
                    </a:ext>
                  </a:extLst>
                </p:cNvPr>
                <p:cNvSpPr/>
                <p:nvPr/>
              </p:nvSpPr>
              <p:spPr>
                <a:xfrm flipH="1">
                  <a:off x="1308049" y="736936"/>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46" name="Freeform: Shape 845">
                  <a:extLst>
                    <a:ext uri="{FF2B5EF4-FFF2-40B4-BE49-F238E27FC236}">
                      <a16:creationId xmlns:a16="http://schemas.microsoft.com/office/drawing/2014/main" id="{135D639C-CAED-4B35-A559-D251EF16EF4F}"/>
                    </a:ext>
                  </a:extLst>
                </p:cNvPr>
                <p:cNvSpPr/>
                <p:nvPr/>
              </p:nvSpPr>
              <p:spPr>
                <a:xfrm flipH="1">
                  <a:off x="1235182" y="780853"/>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47" name="Freeform: Shape 846">
                  <a:extLst>
                    <a:ext uri="{FF2B5EF4-FFF2-40B4-BE49-F238E27FC236}">
                      <a16:creationId xmlns:a16="http://schemas.microsoft.com/office/drawing/2014/main" id="{E0D48677-18E1-4460-B14E-016466CFA45F}"/>
                    </a:ext>
                  </a:extLst>
                </p:cNvPr>
                <p:cNvSpPr/>
                <p:nvPr/>
              </p:nvSpPr>
              <p:spPr>
                <a:xfrm flipH="1">
                  <a:off x="1166472" y="831043"/>
                  <a:ext cx="47620" cy="47620"/>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48" name="Freeform: Shape 847">
                  <a:extLst>
                    <a:ext uri="{FF2B5EF4-FFF2-40B4-BE49-F238E27FC236}">
                      <a16:creationId xmlns:a16="http://schemas.microsoft.com/office/drawing/2014/main" id="{3F71DF0B-40C4-478D-B6B0-13293C8B5224}"/>
                    </a:ext>
                  </a:extLst>
                </p:cNvPr>
                <p:cNvSpPr/>
                <p:nvPr/>
              </p:nvSpPr>
              <p:spPr>
                <a:xfrm flipH="1">
                  <a:off x="1102298" y="886978"/>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49" name="Freeform: Shape 848">
                  <a:extLst>
                    <a:ext uri="{FF2B5EF4-FFF2-40B4-BE49-F238E27FC236}">
                      <a16:creationId xmlns:a16="http://schemas.microsoft.com/office/drawing/2014/main" id="{8DB32B92-7541-4C0F-AF71-AEC289311FE6}"/>
                    </a:ext>
                  </a:extLst>
                </p:cNvPr>
                <p:cNvSpPr/>
                <p:nvPr/>
              </p:nvSpPr>
              <p:spPr>
                <a:xfrm flipH="1">
                  <a:off x="1043340" y="948279"/>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50" name="Freeform: Shape 849">
                  <a:extLst>
                    <a:ext uri="{FF2B5EF4-FFF2-40B4-BE49-F238E27FC236}">
                      <a16:creationId xmlns:a16="http://schemas.microsoft.com/office/drawing/2014/main" id="{CFCE2C54-F5D5-4AB5-8DDE-A165479B8A8B}"/>
                    </a:ext>
                  </a:extLst>
                </p:cNvPr>
                <p:cNvSpPr/>
                <p:nvPr/>
              </p:nvSpPr>
              <p:spPr>
                <a:xfrm flipH="1">
                  <a:off x="989899" y="1014494"/>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51" name="Freeform: Shape 850">
                  <a:extLst>
                    <a:ext uri="{FF2B5EF4-FFF2-40B4-BE49-F238E27FC236}">
                      <a16:creationId xmlns:a16="http://schemas.microsoft.com/office/drawing/2014/main" id="{8617E74A-17FE-4114-9CCD-72C04C05CB52}"/>
                    </a:ext>
                  </a:extLst>
                </p:cNvPr>
                <p:cNvSpPr/>
                <p:nvPr/>
              </p:nvSpPr>
              <p:spPr>
                <a:xfrm flipH="1">
                  <a:off x="942430" y="1085094"/>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52" name="Freeform: Shape 851">
                  <a:extLst>
                    <a:ext uri="{FF2B5EF4-FFF2-40B4-BE49-F238E27FC236}">
                      <a16:creationId xmlns:a16="http://schemas.microsoft.com/office/drawing/2014/main" id="{ACEE5E1D-0042-4B4A-A852-58D6D3DB9984}"/>
                    </a:ext>
                  </a:extLst>
                </p:cNvPr>
                <p:cNvSpPr/>
                <p:nvPr/>
              </p:nvSpPr>
              <p:spPr>
                <a:xfrm flipH="1">
                  <a:off x="901311" y="1159623"/>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53" name="Freeform: Shape 852">
                  <a:extLst>
                    <a:ext uri="{FF2B5EF4-FFF2-40B4-BE49-F238E27FC236}">
                      <a16:creationId xmlns:a16="http://schemas.microsoft.com/office/drawing/2014/main" id="{0BBF3948-A1D6-4503-9A40-22E4E9DC4D13}"/>
                    </a:ext>
                  </a:extLst>
                </p:cNvPr>
                <p:cNvSpPr/>
                <p:nvPr/>
              </p:nvSpPr>
              <p:spPr>
                <a:xfrm flipH="1">
                  <a:off x="866843" y="1237403"/>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54" name="Freeform: Shape 853">
                  <a:extLst>
                    <a:ext uri="{FF2B5EF4-FFF2-40B4-BE49-F238E27FC236}">
                      <a16:creationId xmlns:a16="http://schemas.microsoft.com/office/drawing/2014/main" id="{6E670D5C-652F-40EF-B2C9-7E1257ADBD9A}"/>
                    </a:ext>
                  </a:extLst>
                </p:cNvPr>
                <p:cNvSpPr/>
                <p:nvPr/>
              </p:nvSpPr>
              <p:spPr>
                <a:xfrm flipH="1">
                  <a:off x="839253" y="1317904"/>
                  <a:ext cx="47620" cy="4762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55" name="Freeform: Shape 854">
                  <a:extLst>
                    <a:ext uri="{FF2B5EF4-FFF2-40B4-BE49-F238E27FC236}">
                      <a16:creationId xmlns:a16="http://schemas.microsoft.com/office/drawing/2014/main" id="{17C01A95-9423-408A-AB2C-84CAFA0AE753}"/>
                    </a:ext>
                  </a:extLst>
                </p:cNvPr>
                <p:cNvSpPr/>
                <p:nvPr/>
              </p:nvSpPr>
              <p:spPr>
                <a:xfrm flipH="1">
                  <a:off x="818845" y="1400521"/>
                  <a:ext cx="47620" cy="47620"/>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56" name="Freeform: Shape 855">
                  <a:extLst>
                    <a:ext uri="{FF2B5EF4-FFF2-40B4-BE49-F238E27FC236}">
                      <a16:creationId xmlns:a16="http://schemas.microsoft.com/office/drawing/2014/main" id="{8D581A9D-E884-41D1-963A-AFC430CD3989}"/>
                    </a:ext>
                  </a:extLst>
                </p:cNvPr>
                <p:cNvSpPr/>
                <p:nvPr/>
              </p:nvSpPr>
              <p:spPr>
                <a:xfrm flipH="1">
                  <a:off x="1618621" y="773612"/>
                  <a:ext cx="42356" cy="42356"/>
                </a:xfrm>
                <a:custGeom>
                  <a:avLst/>
                  <a:gdLst>
                    <a:gd name="connsiteX0" fmla="*/ 60007 w 60007"/>
                    <a:gd name="connsiteY0" fmla="*/ 30004 h 60007"/>
                    <a:gd name="connsiteX1" fmla="*/ 30004 w 60007"/>
                    <a:gd name="connsiteY1" fmla="*/ 60007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7"/>
                        <a:pt x="30004" y="60007"/>
                      </a:cubicBezTo>
                      <a:cubicBezTo>
                        <a:pt x="13433" y="60007"/>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57" name="Freeform: Shape 856">
                  <a:extLst>
                    <a:ext uri="{FF2B5EF4-FFF2-40B4-BE49-F238E27FC236}">
                      <a16:creationId xmlns:a16="http://schemas.microsoft.com/office/drawing/2014/main" id="{9447A58F-B24C-41FB-B8B6-4FC25010D441}"/>
                    </a:ext>
                  </a:extLst>
                </p:cNvPr>
                <p:cNvSpPr/>
                <p:nvPr/>
              </p:nvSpPr>
              <p:spPr>
                <a:xfrm flipH="1">
                  <a:off x="1545877" y="794588"/>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58" name="Freeform: Shape 857">
                  <a:extLst>
                    <a:ext uri="{FF2B5EF4-FFF2-40B4-BE49-F238E27FC236}">
                      <a16:creationId xmlns:a16="http://schemas.microsoft.com/office/drawing/2014/main" id="{060B0359-6913-4457-89E9-2524431B48CC}"/>
                    </a:ext>
                  </a:extLst>
                </p:cNvPr>
                <p:cNvSpPr/>
                <p:nvPr/>
              </p:nvSpPr>
              <p:spPr>
                <a:xfrm flipH="1">
                  <a:off x="1475284" y="821885"/>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59" name="Freeform: Shape 858">
                  <a:extLst>
                    <a:ext uri="{FF2B5EF4-FFF2-40B4-BE49-F238E27FC236}">
                      <a16:creationId xmlns:a16="http://schemas.microsoft.com/office/drawing/2014/main" id="{7EB36D18-9B90-40BB-BC77-6BF8D618F21C}"/>
                    </a:ext>
                  </a:extLst>
                </p:cNvPr>
                <p:cNvSpPr/>
                <p:nvPr/>
              </p:nvSpPr>
              <p:spPr>
                <a:xfrm flipH="1">
                  <a:off x="1407313" y="855164"/>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60" name="Freeform: Shape 859">
                  <a:extLst>
                    <a:ext uri="{FF2B5EF4-FFF2-40B4-BE49-F238E27FC236}">
                      <a16:creationId xmlns:a16="http://schemas.microsoft.com/office/drawing/2014/main" id="{B6CBBBF3-F421-4FDE-B6CB-AADBF7C0837C}"/>
                    </a:ext>
                  </a:extLst>
                </p:cNvPr>
                <p:cNvSpPr/>
                <p:nvPr/>
              </p:nvSpPr>
              <p:spPr>
                <a:xfrm flipH="1">
                  <a:off x="1342502" y="894226"/>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61" name="Freeform: Shape 860">
                  <a:extLst>
                    <a:ext uri="{FF2B5EF4-FFF2-40B4-BE49-F238E27FC236}">
                      <a16:creationId xmlns:a16="http://schemas.microsoft.com/office/drawing/2014/main" id="{599DA748-73F9-426E-81EA-D4BEC2BC3264}"/>
                    </a:ext>
                  </a:extLst>
                </p:cNvPr>
                <p:cNvSpPr/>
                <p:nvPr/>
              </p:nvSpPr>
              <p:spPr>
                <a:xfrm flipH="1">
                  <a:off x="1281388" y="938868"/>
                  <a:ext cx="42356" cy="42356"/>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62" name="Freeform: Shape 861">
                  <a:extLst>
                    <a:ext uri="{FF2B5EF4-FFF2-40B4-BE49-F238E27FC236}">
                      <a16:creationId xmlns:a16="http://schemas.microsoft.com/office/drawing/2014/main" id="{2410E5FF-6C2C-4F09-96B9-7C871A7D1CA6}"/>
                    </a:ext>
                  </a:extLst>
                </p:cNvPr>
                <p:cNvSpPr/>
                <p:nvPr/>
              </p:nvSpPr>
              <p:spPr>
                <a:xfrm flipH="1">
                  <a:off x="1224309" y="988619"/>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63" name="Freeform: Shape 862">
                  <a:extLst>
                    <a:ext uri="{FF2B5EF4-FFF2-40B4-BE49-F238E27FC236}">
                      <a16:creationId xmlns:a16="http://schemas.microsoft.com/office/drawing/2014/main" id="{A8431186-3745-41C3-93B6-7C3B2BCCAE95}"/>
                    </a:ext>
                  </a:extLst>
                </p:cNvPr>
                <p:cNvSpPr/>
                <p:nvPr/>
              </p:nvSpPr>
              <p:spPr>
                <a:xfrm flipH="1">
                  <a:off x="1171868" y="1043143"/>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64" name="Freeform: Shape 863">
                  <a:extLst>
                    <a:ext uri="{FF2B5EF4-FFF2-40B4-BE49-F238E27FC236}">
                      <a16:creationId xmlns:a16="http://schemas.microsoft.com/office/drawing/2014/main" id="{318EC852-CDCF-4CFF-B934-9202E9F3A1AD}"/>
                    </a:ext>
                  </a:extLst>
                </p:cNvPr>
                <p:cNvSpPr/>
                <p:nvPr/>
              </p:nvSpPr>
              <p:spPr>
                <a:xfrm flipH="1">
                  <a:off x="1124335" y="1102038"/>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65" name="Freeform: Shape 864">
                  <a:extLst>
                    <a:ext uri="{FF2B5EF4-FFF2-40B4-BE49-F238E27FC236}">
                      <a16:creationId xmlns:a16="http://schemas.microsoft.com/office/drawing/2014/main" id="{8447463B-1443-45BB-96D2-2C52835DC7A7}"/>
                    </a:ext>
                  </a:extLst>
                </p:cNvPr>
                <p:cNvSpPr/>
                <p:nvPr/>
              </p:nvSpPr>
              <p:spPr>
                <a:xfrm flipH="1">
                  <a:off x="1082114" y="1164833"/>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66" name="Freeform: Shape 865">
                  <a:extLst>
                    <a:ext uri="{FF2B5EF4-FFF2-40B4-BE49-F238E27FC236}">
                      <a16:creationId xmlns:a16="http://schemas.microsoft.com/office/drawing/2014/main" id="{5A1EBCEB-57BE-4A96-A5A7-4B2CEA5390BD}"/>
                    </a:ext>
                  </a:extLst>
                </p:cNvPr>
                <p:cNvSpPr/>
                <p:nvPr/>
              </p:nvSpPr>
              <p:spPr>
                <a:xfrm flipH="1">
                  <a:off x="1045540" y="1231123"/>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67" name="Freeform: Shape 866">
                  <a:extLst>
                    <a:ext uri="{FF2B5EF4-FFF2-40B4-BE49-F238E27FC236}">
                      <a16:creationId xmlns:a16="http://schemas.microsoft.com/office/drawing/2014/main" id="{29C0B5E5-F15D-44ED-911E-A3040E5A775A}"/>
                    </a:ext>
                  </a:extLst>
                </p:cNvPr>
                <p:cNvSpPr/>
                <p:nvPr/>
              </p:nvSpPr>
              <p:spPr>
                <a:xfrm flipH="1">
                  <a:off x="1014882" y="1300305"/>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68" name="Freeform: Shape 867">
                  <a:extLst>
                    <a:ext uri="{FF2B5EF4-FFF2-40B4-BE49-F238E27FC236}">
                      <a16:creationId xmlns:a16="http://schemas.microsoft.com/office/drawing/2014/main" id="{BC67BEC1-A130-4F46-8792-5B9EB8DA4878}"/>
                    </a:ext>
                  </a:extLst>
                </p:cNvPr>
                <p:cNvSpPr/>
                <p:nvPr/>
              </p:nvSpPr>
              <p:spPr>
                <a:xfrm flipH="1">
                  <a:off x="990343" y="1371906"/>
                  <a:ext cx="42356" cy="42356"/>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69" name="Freeform: Shape 868">
                  <a:extLst>
                    <a:ext uri="{FF2B5EF4-FFF2-40B4-BE49-F238E27FC236}">
                      <a16:creationId xmlns:a16="http://schemas.microsoft.com/office/drawing/2014/main" id="{376C84F9-2D30-4739-A89F-91C37AC6D417}"/>
                    </a:ext>
                  </a:extLst>
                </p:cNvPr>
                <p:cNvSpPr/>
                <p:nvPr/>
              </p:nvSpPr>
              <p:spPr>
                <a:xfrm flipH="1">
                  <a:off x="1604687" y="934669"/>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70" name="Freeform: Shape 869">
                  <a:extLst>
                    <a:ext uri="{FF2B5EF4-FFF2-40B4-BE49-F238E27FC236}">
                      <a16:creationId xmlns:a16="http://schemas.microsoft.com/office/drawing/2014/main" id="{E27AE194-ED67-4DDB-BD1D-B46FBC74AEF0}"/>
                    </a:ext>
                  </a:extLst>
                </p:cNvPr>
                <p:cNvSpPr/>
                <p:nvPr/>
              </p:nvSpPr>
              <p:spPr>
                <a:xfrm flipH="1">
                  <a:off x="1545396" y="957595"/>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71" name="Freeform: Shape 870">
                  <a:extLst>
                    <a:ext uri="{FF2B5EF4-FFF2-40B4-BE49-F238E27FC236}">
                      <a16:creationId xmlns:a16="http://schemas.microsoft.com/office/drawing/2014/main" id="{47925F62-5A15-48A9-A92F-BFA65725DACF}"/>
                    </a:ext>
                  </a:extLst>
                </p:cNvPr>
                <p:cNvSpPr/>
                <p:nvPr/>
              </p:nvSpPr>
              <p:spPr>
                <a:xfrm flipH="1">
                  <a:off x="1488307" y="985547"/>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72" name="Freeform: Shape 871">
                  <a:extLst>
                    <a:ext uri="{FF2B5EF4-FFF2-40B4-BE49-F238E27FC236}">
                      <a16:creationId xmlns:a16="http://schemas.microsoft.com/office/drawing/2014/main" id="{D3BB6060-7403-40AC-BDE3-475676DEA8B2}"/>
                    </a:ext>
                  </a:extLst>
                </p:cNvPr>
                <p:cNvSpPr/>
                <p:nvPr/>
              </p:nvSpPr>
              <p:spPr>
                <a:xfrm flipH="1">
                  <a:off x="1433872" y="1018355"/>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73" name="Freeform: Shape 872">
                  <a:extLst>
                    <a:ext uri="{FF2B5EF4-FFF2-40B4-BE49-F238E27FC236}">
                      <a16:creationId xmlns:a16="http://schemas.microsoft.com/office/drawing/2014/main" id="{52E27B7C-C78D-406E-8F9F-908FE2B78507}"/>
                    </a:ext>
                  </a:extLst>
                </p:cNvPr>
                <p:cNvSpPr/>
                <p:nvPr/>
              </p:nvSpPr>
              <p:spPr>
                <a:xfrm flipH="1">
                  <a:off x="1382542" y="1055850"/>
                  <a:ext cx="35575" cy="35575"/>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74" name="Freeform: Shape 873">
                  <a:extLst>
                    <a:ext uri="{FF2B5EF4-FFF2-40B4-BE49-F238E27FC236}">
                      <a16:creationId xmlns:a16="http://schemas.microsoft.com/office/drawing/2014/main" id="{9C2C337A-D967-46AE-991A-36616ED15BAD}"/>
                    </a:ext>
                  </a:extLst>
                </p:cNvPr>
                <p:cNvSpPr/>
                <p:nvPr/>
              </p:nvSpPr>
              <p:spPr>
                <a:xfrm flipH="1">
                  <a:off x="1334601" y="1097636"/>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75" name="Freeform: Shape 874">
                  <a:extLst>
                    <a:ext uri="{FF2B5EF4-FFF2-40B4-BE49-F238E27FC236}">
                      <a16:creationId xmlns:a16="http://schemas.microsoft.com/office/drawing/2014/main" id="{28B999F7-9B98-4F21-898B-D0B1C0E52598}"/>
                    </a:ext>
                  </a:extLst>
                </p:cNvPr>
                <p:cNvSpPr/>
                <p:nvPr/>
              </p:nvSpPr>
              <p:spPr>
                <a:xfrm flipH="1">
                  <a:off x="1290556" y="1143431"/>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76" name="Freeform: Shape 875">
                  <a:extLst>
                    <a:ext uri="{FF2B5EF4-FFF2-40B4-BE49-F238E27FC236}">
                      <a16:creationId xmlns:a16="http://schemas.microsoft.com/office/drawing/2014/main" id="{80D56765-4973-48A8-B7BC-28A4685C5674}"/>
                    </a:ext>
                  </a:extLst>
                </p:cNvPr>
                <p:cNvSpPr/>
                <p:nvPr/>
              </p:nvSpPr>
              <p:spPr>
                <a:xfrm flipH="1">
                  <a:off x="1250633" y="1192898"/>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77" name="Freeform: Shape 876">
                  <a:extLst>
                    <a:ext uri="{FF2B5EF4-FFF2-40B4-BE49-F238E27FC236}">
                      <a16:creationId xmlns:a16="http://schemas.microsoft.com/office/drawing/2014/main" id="{65FC6490-693E-422E-90EC-3A47DA608295}"/>
                    </a:ext>
                  </a:extLst>
                </p:cNvPr>
                <p:cNvSpPr/>
                <p:nvPr/>
              </p:nvSpPr>
              <p:spPr>
                <a:xfrm flipH="1">
                  <a:off x="1215171" y="1245639"/>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78" name="Freeform: Shape 877">
                  <a:extLst>
                    <a:ext uri="{FF2B5EF4-FFF2-40B4-BE49-F238E27FC236}">
                      <a16:creationId xmlns:a16="http://schemas.microsoft.com/office/drawing/2014/main" id="{9207B33C-050F-46C5-9B6C-B6E5DE482F70}"/>
                    </a:ext>
                  </a:extLst>
                </p:cNvPr>
                <p:cNvSpPr/>
                <p:nvPr/>
              </p:nvSpPr>
              <p:spPr>
                <a:xfrm flipH="1">
                  <a:off x="1184452" y="1301316"/>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79" name="Freeform: Shape 878">
                  <a:extLst>
                    <a:ext uri="{FF2B5EF4-FFF2-40B4-BE49-F238E27FC236}">
                      <a16:creationId xmlns:a16="http://schemas.microsoft.com/office/drawing/2014/main" id="{3138257C-12F6-40DE-B559-664398CFDE47}"/>
                    </a:ext>
                  </a:extLst>
                </p:cNvPr>
                <p:cNvSpPr/>
                <p:nvPr/>
              </p:nvSpPr>
              <p:spPr>
                <a:xfrm flipH="1">
                  <a:off x="1158703" y="1359422"/>
                  <a:ext cx="35575" cy="35575"/>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80" name="Freeform: Shape 879">
                  <a:extLst>
                    <a:ext uri="{FF2B5EF4-FFF2-40B4-BE49-F238E27FC236}">
                      <a16:creationId xmlns:a16="http://schemas.microsoft.com/office/drawing/2014/main" id="{74DC06AA-D05E-4FDD-A71A-375EB1C19D76}"/>
                    </a:ext>
                  </a:extLst>
                </p:cNvPr>
                <p:cNvSpPr/>
                <p:nvPr/>
              </p:nvSpPr>
              <p:spPr>
                <a:xfrm flipH="1">
                  <a:off x="1585949" y="1097251"/>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81" name="Freeform: Shape 880">
                  <a:extLst>
                    <a:ext uri="{FF2B5EF4-FFF2-40B4-BE49-F238E27FC236}">
                      <a16:creationId xmlns:a16="http://schemas.microsoft.com/office/drawing/2014/main" id="{E7718FCD-D56F-4DE6-B752-531CBD6F0505}"/>
                    </a:ext>
                  </a:extLst>
                </p:cNvPr>
                <p:cNvSpPr/>
                <p:nvPr/>
              </p:nvSpPr>
              <p:spPr>
                <a:xfrm flipH="1">
                  <a:off x="1543086" y="1118237"/>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82" name="Freeform: Shape 881">
                  <a:extLst>
                    <a:ext uri="{FF2B5EF4-FFF2-40B4-BE49-F238E27FC236}">
                      <a16:creationId xmlns:a16="http://schemas.microsoft.com/office/drawing/2014/main" id="{21C70E30-0F7C-47D7-B5ED-F0094B94BF04}"/>
                    </a:ext>
                  </a:extLst>
                </p:cNvPr>
                <p:cNvSpPr/>
                <p:nvPr/>
              </p:nvSpPr>
              <p:spPr>
                <a:xfrm flipH="1">
                  <a:off x="1502216" y="1142870"/>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83" name="Freeform: Shape 882">
                  <a:extLst>
                    <a:ext uri="{FF2B5EF4-FFF2-40B4-BE49-F238E27FC236}">
                      <a16:creationId xmlns:a16="http://schemas.microsoft.com/office/drawing/2014/main" id="{11F3D78D-B7FB-45C3-8E98-B132C0B51B89}"/>
                    </a:ext>
                  </a:extLst>
                </p:cNvPr>
                <p:cNvSpPr/>
                <p:nvPr/>
              </p:nvSpPr>
              <p:spPr>
                <a:xfrm flipH="1">
                  <a:off x="1463678" y="1171021"/>
                  <a:ext cx="26709" cy="26710"/>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84" name="Freeform: Shape 883">
                  <a:extLst>
                    <a:ext uri="{FF2B5EF4-FFF2-40B4-BE49-F238E27FC236}">
                      <a16:creationId xmlns:a16="http://schemas.microsoft.com/office/drawing/2014/main" id="{9256AB0C-1169-4E09-B173-97FD89B0C88D}"/>
                    </a:ext>
                  </a:extLst>
                </p:cNvPr>
                <p:cNvSpPr/>
                <p:nvPr/>
              </p:nvSpPr>
              <p:spPr>
                <a:xfrm flipH="1">
                  <a:off x="1427684" y="1202394"/>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85" name="Freeform: Shape 884">
                  <a:extLst>
                    <a:ext uri="{FF2B5EF4-FFF2-40B4-BE49-F238E27FC236}">
                      <a16:creationId xmlns:a16="http://schemas.microsoft.com/office/drawing/2014/main" id="{9440C5E1-49A6-4727-B933-BAA770D5036D}"/>
                    </a:ext>
                  </a:extLst>
                </p:cNvPr>
                <p:cNvSpPr/>
                <p:nvPr/>
              </p:nvSpPr>
              <p:spPr>
                <a:xfrm flipH="1">
                  <a:off x="1394615" y="1236777"/>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86" name="Freeform: Shape 885">
                  <a:extLst>
                    <a:ext uri="{FF2B5EF4-FFF2-40B4-BE49-F238E27FC236}">
                      <a16:creationId xmlns:a16="http://schemas.microsoft.com/office/drawing/2014/main" id="{5D5EDADE-7B22-442F-A10C-029EB31D15D5}"/>
                    </a:ext>
                  </a:extLst>
                </p:cNvPr>
                <p:cNvSpPr/>
                <p:nvPr/>
              </p:nvSpPr>
              <p:spPr>
                <a:xfrm flipH="1">
                  <a:off x="1364640" y="1273916"/>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87" name="Freeform: Shape 886">
                  <a:extLst>
                    <a:ext uri="{FF2B5EF4-FFF2-40B4-BE49-F238E27FC236}">
                      <a16:creationId xmlns:a16="http://schemas.microsoft.com/office/drawing/2014/main" id="{DA7CBE22-76FE-47E6-B508-60570C5D712A}"/>
                    </a:ext>
                  </a:extLst>
                </p:cNvPr>
                <p:cNvSpPr/>
                <p:nvPr/>
              </p:nvSpPr>
              <p:spPr>
                <a:xfrm flipH="1">
                  <a:off x="1338016" y="1313515"/>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88" name="Freeform: Shape 887">
                  <a:extLst>
                    <a:ext uri="{FF2B5EF4-FFF2-40B4-BE49-F238E27FC236}">
                      <a16:creationId xmlns:a16="http://schemas.microsoft.com/office/drawing/2014/main" id="{DB35C2A9-3AAC-4ACE-8AEF-6DACC9F46FD7}"/>
                    </a:ext>
                  </a:extLst>
                </p:cNvPr>
                <p:cNvSpPr/>
                <p:nvPr/>
              </p:nvSpPr>
              <p:spPr>
                <a:xfrm flipH="1">
                  <a:off x="1314952" y="1355317"/>
                  <a:ext cx="26709" cy="26710"/>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89" name="Freeform: Shape 888">
                  <a:extLst>
                    <a:ext uri="{FF2B5EF4-FFF2-40B4-BE49-F238E27FC236}">
                      <a16:creationId xmlns:a16="http://schemas.microsoft.com/office/drawing/2014/main" id="{D67520FD-77E7-4DEF-9E91-7C868D0B22CB}"/>
                    </a:ext>
                  </a:extLst>
                </p:cNvPr>
                <p:cNvSpPr/>
                <p:nvPr/>
              </p:nvSpPr>
              <p:spPr>
                <a:xfrm flipH="1">
                  <a:off x="1601130" y="1232701"/>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90" name="Freeform: Shape 889">
                  <a:extLst>
                    <a:ext uri="{FF2B5EF4-FFF2-40B4-BE49-F238E27FC236}">
                      <a16:creationId xmlns:a16="http://schemas.microsoft.com/office/drawing/2014/main" id="{3378D7DB-36A5-418B-831D-DD0986743528}"/>
                    </a:ext>
                  </a:extLst>
                </p:cNvPr>
                <p:cNvSpPr/>
                <p:nvPr/>
              </p:nvSpPr>
              <p:spPr>
                <a:xfrm flipH="1">
                  <a:off x="1573638" y="1249271"/>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91" name="Freeform: Shape 890">
                  <a:extLst>
                    <a:ext uri="{FF2B5EF4-FFF2-40B4-BE49-F238E27FC236}">
                      <a16:creationId xmlns:a16="http://schemas.microsoft.com/office/drawing/2014/main" id="{1523BFB8-6C69-487F-A0FB-F3747C13BE12}"/>
                    </a:ext>
                  </a:extLst>
                </p:cNvPr>
                <p:cNvSpPr/>
                <p:nvPr/>
              </p:nvSpPr>
              <p:spPr>
                <a:xfrm flipH="1">
                  <a:off x="1547714" y="1268208"/>
                  <a:ext cx="17967" cy="17967"/>
                </a:xfrm>
                <a:custGeom>
                  <a:avLst/>
                  <a:gdLst>
                    <a:gd name="connsiteX0" fmla="*/ 60007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7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7" y="30004"/>
                      </a:moveTo>
                      <a:cubicBezTo>
                        <a:pt x="60007" y="46574"/>
                        <a:pt x="46574" y="60008"/>
                        <a:pt x="30004" y="60008"/>
                      </a:cubicBezTo>
                      <a:cubicBezTo>
                        <a:pt x="13433" y="60008"/>
                        <a:pt x="0" y="46574"/>
                        <a:pt x="0" y="30004"/>
                      </a:cubicBezTo>
                      <a:cubicBezTo>
                        <a:pt x="0" y="13433"/>
                        <a:pt x="13433" y="0"/>
                        <a:pt x="30004" y="0"/>
                      </a:cubicBezTo>
                      <a:cubicBezTo>
                        <a:pt x="46574" y="0"/>
                        <a:pt x="60007" y="13433"/>
                        <a:pt x="60007"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92" name="Freeform: Shape 891">
                  <a:extLst>
                    <a:ext uri="{FF2B5EF4-FFF2-40B4-BE49-F238E27FC236}">
                      <a16:creationId xmlns:a16="http://schemas.microsoft.com/office/drawing/2014/main" id="{D19DCDE5-6E5A-4B1F-967A-A4EC7436A74F}"/>
                    </a:ext>
                  </a:extLst>
                </p:cNvPr>
                <p:cNvSpPr/>
                <p:nvPr/>
              </p:nvSpPr>
              <p:spPr>
                <a:xfrm flipH="1">
                  <a:off x="1523501" y="1289312"/>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93" name="Freeform: Shape 892">
                  <a:extLst>
                    <a:ext uri="{FF2B5EF4-FFF2-40B4-BE49-F238E27FC236}">
                      <a16:creationId xmlns:a16="http://schemas.microsoft.com/office/drawing/2014/main" id="{E25EE846-A19A-4928-A87B-CC4A115C4330}"/>
                    </a:ext>
                  </a:extLst>
                </p:cNvPr>
                <p:cNvSpPr/>
                <p:nvPr/>
              </p:nvSpPr>
              <p:spPr>
                <a:xfrm flipH="1">
                  <a:off x="1501256" y="1312440"/>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94" name="Freeform: Shape 893">
                  <a:extLst>
                    <a:ext uri="{FF2B5EF4-FFF2-40B4-BE49-F238E27FC236}">
                      <a16:creationId xmlns:a16="http://schemas.microsoft.com/office/drawing/2014/main" id="{1B0270CF-4804-4478-8AC8-276F2CF73673}"/>
                    </a:ext>
                  </a:extLst>
                </p:cNvPr>
                <p:cNvSpPr/>
                <p:nvPr/>
              </p:nvSpPr>
              <p:spPr>
                <a:xfrm flipH="1">
                  <a:off x="1481093" y="1337423"/>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5"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sp>
              <p:nvSpPr>
                <p:cNvPr id="895" name="Freeform: Shape 894">
                  <a:extLst>
                    <a:ext uri="{FF2B5EF4-FFF2-40B4-BE49-F238E27FC236}">
                      <a16:creationId xmlns:a16="http://schemas.microsoft.com/office/drawing/2014/main" id="{214809E8-2273-4B2E-8A42-1D00010A2F68}"/>
                    </a:ext>
                  </a:extLst>
                </p:cNvPr>
                <p:cNvSpPr/>
                <p:nvPr/>
              </p:nvSpPr>
              <p:spPr>
                <a:xfrm flipH="1">
                  <a:off x="1463183" y="1364060"/>
                  <a:ext cx="17967" cy="17967"/>
                </a:xfrm>
                <a:custGeom>
                  <a:avLst/>
                  <a:gdLst>
                    <a:gd name="connsiteX0" fmla="*/ 60008 w 60007"/>
                    <a:gd name="connsiteY0" fmla="*/ 30004 h 60007"/>
                    <a:gd name="connsiteX1" fmla="*/ 30004 w 60007"/>
                    <a:gd name="connsiteY1" fmla="*/ 60008 h 60007"/>
                    <a:gd name="connsiteX2" fmla="*/ 0 w 60007"/>
                    <a:gd name="connsiteY2" fmla="*/ 30004 h 60007"/>
                    <a:gd name="connsiteX3" fmla="*/ 30004 w 60007"/>
                    <a:gd name="connsiteY3" fmla="*/ 0 h 60007"/>
                    <a:gd name="connsiteX4" fmla="*/ 60008 w 60007"/>
                    <a:gd name="connsiteY4" fmla="*/ 30004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007">
                      <a:moveTo>
                        <a:pt x="60008" y="30004"/>
                      </a:moveTo>
                      <a:cubicBezTo>
                        <a:pt x="60008" y="46574"/>
                        <a:pt x="46574" y="60008"/>
                        <a:pt x="30004" y="60008"/>
                      </a:cubicBezTo>
                      <a:cubicBezTo>
                        <a:pt x="13433" y="60008"/>
                        <a:pt x="0" y="46574"/>
                        <a:pt x="0" y="30004"/>
                      </a:cubicBezTo>
                      <a:cubicBezTo>
                        <a:pt x="0" y="13433"/>
                        <a:pt x="13433" y="0"/>
                        <a:pt x="30004" y="0"/>
                      </a:cubicBezTo>
                      <a:cubicBezTo>
                        <a:pt x="46574" y="0"/>
                        <a:pt x="60008" y="13433"/>
                        <a:pt x="60008" y="30004"/>
                      </a:cubicBezTo>
                      <a:close/>
                    </a:path>
                  </a:pathLst>
                </a:custGeom>
                <a:grpFill/>
                <a:ln w="9525" cap="flat">
                  <a:noFill/>
                  <a:prstDash val="solid"/>
                  <a:miter/>
                </a:ln>
              </p:spPr>
              <p:txBody>
                <a:bodyPr rtlCol="0" anchor="ctr"/>
                <a:lstStyle/>
                <a:p>
                  <a:pPr marL="0" marR="0" lvl="0" indent="0" defTabSz="609585"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ea typeface="ＭＳ Ｐゴシック" charset="0"/>
                  </a:endParaRPr>
                </a:p>
              </p:txBody>
            </p:sp>
          </p:grpSp>
        </p:grpSp>
        <p:pic>
          <p:nvPicPr>
            <p:cNvPr id="995" name="Picture 994">
              <a:extLst>
                <a:ext uri="{FF2B5EF4-FFF2-40B4-BE49-F238E27FC236}">
                  <a16:creationId xmlns:a16="http://schemas.microsoft.com/office/drawing/2014/main" id="{73E42B51-F10B-4797-A76C-2DE57200B29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347650" y="2099609"/>
              <a:ext cx="3594856" cy="3496329"/>
            </a:xfrm>
            <a:custGeom>
              <a:avLst/>
              <a:gdLst>
                <a:gd name="connsiteX0" fmla="*/ 1091264 w 3269380"/>
                <a:gd name="connsiteY0" fmla="*/ 0 h 3174648"/>
                <a:gd name="connsiteX1" fmla="*/ 2178117 w 3269380"/>
                <a:gd name="connsiteY1" fmla="*/ 0 h 3174648"/>
                <a:gd name="connsiteX2" fmla="*/ 2270985 w 3269380"/>
                <a:gd name="connsiteY2" fmla="*/ 33988 h 3174648"/>
                <a:gd name="connsiteX3" fmla="*/ 3269380 w 3269380"/>
                <a:gd name="connsiteY3" fmla="*/ 1540092 h 3174648"/>
                <a:gd name="connsiteX4" fmla="*/ 1634690 w 3269380"/>
                <a:gd name="connsiteY4" fmla="*/ 3174648 h 3174648"/>
                <a:gd name="connsiteX5" fmla="*/ 0 w 3269380"/>
                <a:gd name="connsiteY5" fmla="*/ 1540092 h 3174648"/>
                <a:gd name="connsiteX6" fmla="*/ 998395 w 3269380"/>
                <a:gd name="connsiteY6" fmla="*/ 33988 h 317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9380" h="3174648">
                  <a:moveTo>
                    <a:pt x="1091264" y="0"/>
                  </a:moveTo>
                  <a:lnTo>
                    <a:pt x="2178117" y="0"/>
                  </a:lnTo>
                  <a:lnTo>
                    <a:pt x="2270985" y="33988"/>
                  </a:lnTo>
                  <a:cubicBezTo>
                    <a:pt x="2857700" y="282127"/>
                    <a:pt x="3269380" y="863037"/>
                    <a:pt x="3269380" y="1540092"/>
                  </a:cubicBezTo>
                  <a:cubicBezTo>
                    <a:pt x="3269380" y="2442832"/>
                    <a:pt x="2537504" y="3174648"/>
                    <a:pt x="1634690" y="3174648"/>
                  </a:cubicBezTo>
                  <a:cubicBezTo>
                    <a:pt x="731876" y="3174648"/>
                    <a:pt x="0" y="2442832"/>
                    <a:pt x="0" y="1540092"/>
                  </a:cubicBezTo>
                  <a:cubicBezTo>
                    <a:pt x="0" y="863037"/>
                    <a:pt x="411681" y="282127"/>
                    <a:pt x="998395" y="33988"/>
                  </a:cubicBezTo>
                  <a:close/>
                </a:path>
              </a:pathLst>
            </a:custGeom>
          </p:spPr>
        </p:pic>
        <p:grpSp>
          <p:nvGrpSpPr>
            <p:cNvPr id="1149" name="Group 1148">
              <a:extLst>
                <a:ext uri="{FF2B5EF4-FFF2-40B4-BE49-F238E27FC236}">
                  <a16:creationId xmlns:a16="http://schemas.microsoft.com/office/drawing/2014/main" id="{184144D6-407C-4A74-8624-E4B26499470E}"/>
                </a:ext>
              </a:extLst>
            </p:cNvPr>
            <p:cNvGrpSpPr/>
            <p:nvPr/>
          </p:nvGrpSpPr>
          <p:grpSpPr>
            <a:xfrm rot="8954161">
              <a:off x="-7061841" y="4392215"/>
              <a:ext cx="453576" cy="393866"/>
              <a:chOff x="2560638" y="2862263"/>
              <a:chExt cx="1314450" cy="1141412"/>
            </a:xfrm>
            <a:solidFill>
              <a:schemeClr val="accent2"/>
            </a:solidFill>
          </p:grpSpPr>
          <p:sp>
            <p:nvSpPr>
              <p:cNvPr id="1150" name="Oval 189">
                <a:extLst>
                  <a:ext uri="{FF2B5EF4-FFF2-40B4-BE49-F238E27FC236}">
                    <a16:creationId xmlns:a16="http://schemas.microsoft.com/office/drawing/2014/main" id="{E348F9F0-D416-4FD5-B828-4687D6E11532}"/>
                  </a:ext>
                </a:extLst>
              </p:cNvPr>
              <p:cNvSpPr>
                <a:spLocks noChangeArrowheads="1"/>
              </p:cNvSpPr>
              <p:nvPr/>
            </p:nvSpPr>
            <p:spPr bwMode="auto">
              <a:xfrm>
                <a:off x="2560638" y="3646488"/>
                <a:ext cx="7302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1" name="Oval 190">
                <a:extLst>
                  <a:ext uri="{FF2B5EF4-FFF2-40B4-BE49-F238E27FC236}">
                    <a16:creationId xmlns:a16="http://schemas.microsoft.com/office/drawing/2014/main" id="{7D5CD669-71ED-4F04-A8BE-548A40CD0EC7}"/>
                  </a:ext>
                </a:extLst>
              </p:cNvPr>
              <p:cNvSpPr>
                <a:spLocks noChangeArrowheads="1"/>
              </p:cNvSpPr>
              <p:nvPr/>
            </p:nvSpPr>
            <p:spPr bwMode="auto">
              <a:xfrm>
                <a:off x="2781301" y="3646488"/>
                <a:ext cx="74613"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2" name="Oval 191">
                <a:extLst>
                  <a:ext uri="{FF2B5EF4-FFF2-40B4-BE49-F238E27FC236}">
                    <a16:creationId xmlns:a16="http://schemas.microsoft.com/office/drawing/2014/main" id="{EB5E2F7C-CB9F-46F0-935A-573F795F5D46}"/>
                  </a:ext>
                </a:extLst>
              </p:cNvPr>
              <p:cNvSpPr>
                <a:spLocks noChangeArrowheads="1"/>
              </p:cNvSpPr>
              <p:nvPr/>
            </p:nvSpPr>
            <p:spPr bwMode="auto">
              <a:xfrm>
                <a:off x="3265488" y="3646488"/>
                <a:ext cx="74613"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3" name="Oval 192">
                <a:extLst>
                  <a:ext uri="{FF2B5EF4-FFF2-40B4-BE49-F238E27FC236}">
                    <a16:creationId xmlns:a16="http://schemas.microsoft.com/office/drawing/2014/main" id="{E84DCA73-929D-489B-942B-27F4422B4380}"/>
                  </a:ext>
                </a:extLst>
              </p:cNvPr>
              <p:cNvSpPr>
                <a:spLocks noChangeArrowheads="1"/>
              </p:cNvSpPr>
              <p:nvPr/>
            </p:nvSpPr>
            <p:spPr bwMode="auto">
              <a:xfrm>
                <a:off x="3265488" y="339883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4" name="Oval 193">
                <a:extLst>
                  <a:ext uri="{FF2B5EF4-FFF2-40B4-BE49-F238E27FC236}">
                    <a16:creationId xmlns:a16="http://schemas.microsoft.com/office/drawing/2014/main" id="{C292BB00-65E1-4ABE-A296-D6F73911C8F0}"/>
                  </a:ext>
                </a:extLst>
              </p:cNvPr>
              <p:cNvSpPr>
                <a:spLocks noChangeArrowheads="1"/>
              </p:cNvSpPr>
              <p:nvPr/>
            </p:nvSpPr>
            <p:spPr bwMode="auto">
              <a:xfrm>
                <a:off x="3505201" y="3138488"/>
                <a:ext cx="74613"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5" name="Oval 194">
                <a:extLst>
                  <a:ext uri="{FF2B5EF4-FFF2-40B4-BE49-F238E27FC236}">
                    <a16:creationId xmlns:a16="http://schemas.microsoft.com/office/drawing/2014/main" id="{8217D1F3-7017-4480-816D-A5B87F2F404B}"/>
                  </a:ext>
                </a:extLst>
              </p:cNvPr>
              <p:cNvSpPr>
                <a:spLocks noChangeArrowheads="1"/>
              </p:cNvSpPr>
              <p:nvPr/>
            </p:nvSpPr>
            <p:spPr bwMode="auto">
              <a:xfrm>
                <a:off x="3505201" y="289083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6" name="Oval 195">
                <a:extLst>
                  <a:ext uri="{FF2B5EF4-FFF2-40B4-BE49-F238E27FC236}">
                    <a16:creationId xmlns:a16="http://schemas.microsoft.com/office/drawing/2014/main" id="{C192185F-B65D-4757-A50B-50FFDEA4F613}"/>
                  </a:ext>
                </a:extLst>
              </p:cNvPr>
              <p:cNvSpPr>
                <a:spLocks noChangeArrowheads="1"/>
              </p:cNvSpPr>
              <p:nvPr/>
            </p:nvSpPr>
            <p:spPr bwMode="auto">
              <a:xfrm>
                <a:off x="3771901" y="3144838"/>
                <a:ext cx="7302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7" name="Oval 196">
                <a:extLst>
                  <a:ext uri="{FF2B5EF4-FFF2-40B4-BE49-F238E27FC236}">
                    <a16:creationId xmlns:a16="http://schemas.microsoft.com/office/drawing/2014/main" id="{A9030006-4CC5-45CC-B91C-64AAB20434E6}"/>
                  </a:ext>
                </a:extLst>
              </p:cNvPr>
              <p:cNvSpPr>
                <a:spLocks noChangeArrowheads="1"/>
              </p:cNvSpPr>
              <p:nvPr/>
            </p:nvSpPr>
            <p:spPr bwMode="auto">
              <a:xfrm>
                <a:off x="2560638" y="3900488"/>
                <a:ext cx="73025"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8" name="Oval 197">
                <a:extLst>
                  <a:ext uri="{FF2B5EF4-FFF2-40B4-BE49-F238E27FC236}">
                    <a16:creationId xmlns:a16="http://schemas.microsoft.com/office/drawing/2014/main" id="{5938F9FF-F305-4145-80D2-42DB087EB423}"/>
                  </a:ext>
                </a:extLst>
              </p:cNvPr>
              <p:cNvSpPr>
                <a:spLocks noChangeArrowheads="1"/>
              </p:cNvSpPr>
              <p:nvPr/>
            </p:nvSpPr>
            <p:spPr bwMode="auto">
              <a:xfrm>
                <a:off x="3265488" y="390048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9" name="Oval 198">
                <a:extLst>
                  <a:ext uri="{FF2B5EF4-FFF2-40B4-BE49-F238E27FC236}">
                    <a16:creationId xmlns:a16="http://schemas.microsoft.com/office/drawing/2014/main" id="{32D826C2-AB6E-418D-A6B1-D4FA307E3FDC}"/>
                  </a:ext>
                </a:extLst>
              </p:cNvPr>
              <p:cNvSpPr>
                <a:spLocks noChangeArrowheads="1"/>
              </p:cNvSpPr>
              <p:nvPr/>
            </p:nvSpPr>
            <p:spPr bwMode="auto">
              <a:xfrm>
                <a:off x="3505201" y="390048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0" name="Freeform 199">
                <a:extLst>
                  <a:ext uri="{FF2B5EF4-FFF2-40B4-BE49-F238E27FC236}">
                    <a16:creationId xmlns:a16="http://schemas.microsoft.com/office/drawing/2014/main" id="{07595F9D-CCC5-44B0-B613-80966A768BCC}"/>
                  </a:ext>
                </a:extLst>
              </p:cNvPr>
              <p:cNvSpPr>
                <a:spLocks noEditPoints="1"/>
              </p:cNvSpPr>
              <p:nvPr/>
            </p:nvSpPr>
            <p:spPr bwMode="auto">
              <a:xfrm>
                <a:off x="3741738" y="3870325"/>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1" name="Freeform 200">
                <a:extLst>
                  <a:ext uri="{FF2B5EF4-FFF2-40B4-BE49-F238E27FC236}">
                    <a16:creationId xmlns:a16="http://schemas.microsoft.com/office/drawing/2014/main" id="{30145F67-540C-457B-9190-FDB56A3F0AE2}"/>
                  </a:ext>
                </a:extLst>
              </p:cNvPr>
              <p:cNvSpPr>
                <a:spLocks noEditPoints="1"/>
              </p:cNvSpPr>
              <p:nvPr/>
            </p:nvSpPr>
            <p:spPr bwMode="auto">
              <a:xfrm>
                <a:off x="3476626" y="3619500"/>
                <a:ext cx="131763"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2" name="Freeform 201">
                <a:extLst>
                  <a:ext uri="{FF2B5EF4-FFF2-40B4-BE49-F238E27FC236}">
                    <a16:creationId xmlns:a16="http://schemas.microsoft.com/office/drawing/2014/main" id="{A313EFEC-71F9-40DF-A124-F8912632FF8C}"/>
                  </a:ext>
                </a:extLst>
              </p:cNvPr>
              <p:cNvSpPr>
                <a:spLocks noEditPoints="1"/>
              </p:cNvSpPr>
              <p:nvPr/>
            </p:nvSpPr>
            <p:spPr bwMode="auto">
              <a:xfrm>
                <a:off x="3476626" y="3368675"/>
                <a:ext cx="131763" cy="134938"/>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3" name="Freeform 202">
                <a:extLst>
                  <a:ext uri="{FF2B5EF4-FFF2-40B4-BE49-F238E27FC236}">
                    <a16:creationId xmlns:a16="http://schemas.microsoft.com/office/drawing/2014/main" id="{555D1222-C563-4C9D-86AF-1DA337C9B2E8}"/>
                  </a:ext>
                </a:extLst>
              </p:cNvPr>
              <p:cNvSpPr>
                <a:spLocks noEditPoints="1"/>
              </p:cNvSpPr>
              <p:nvPr/>
            </p:nvSpPr>
            <p:spPr bwMode="auto">
              <a:xfrm>
                <a:off x="3741738"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4" name="Freeform 203">
                <a:extLst>
                  <a:ext uri="{FF2B5EF4-FFF2-40B4-BE49-F238E27FC236}">
                    <a16:creationId xmlns:a16="http://schemas.microsoft.com/office/drawing/2014/main" id="{CE20A940-628B-4D96-A06E-BD86B4BAEA10}"/>
                  </a:ext>
                </a:extLst>
              </p:cNvPr>
              <p:cNvSpPr>
                <a:spLocks noEditPoints="1"/>
              </p:cNvSpPr>
              <p:nvPr/>
            </p:nvSpPr>
            <p:spPr bwMode="auto">
              <a:xfrm>
                <a:off x="2992438"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5" name="Freeform 204">
                <a:extLst>
                  <a:ext uri="{FF2B5EF4-FFF2-40B4-BE49-F238E27FC236}">
                    <a16:creationId xmlns:a16="http://schemas.microsoft.com/office/drawing/2014/main" id="{720BC543-4678-49E4-8C5A-C6ED1399D9BE}"/>
                  </a:ext>
                </a:extLst>
              </p:cNvPr>
              <p:cNvSpPr>
                <a:spLocks noEditPoints="1"/>
              </p:cNvSpPr>
              <p:nvPr/>
            </p:nvSpPr>
            <p:spPr bwMode="auto">
              <a:xfrm>
                <a:off x="3235326" y="3119438"/>
                <a:ext cx="133350" cy="130175"/>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6" name="Freeform 205">
                <a:extLst>
                  <a:ext uri="{FF2B5EF4-FFF2-40B4-BE49-F238E27FC236}">
                    <a16:creationId xmlns:a16="http://schemas.microsoft.com/office/drawing/2014/main" id="{8210C851-F2F2-4667-B780-62521E4E1D66}"/>
                  </a:ext>
                </a:extLst>
              </p:cNvPr>
              <p:cNvSpPr>
                <a:spLocks noEditPoints="1"/>
              </p:cNvSpPr>
              <p:nvPr/>
            </p:nvSpPr>
            <p:spPr bwMode="auto">
              <a:xfrm>
                <a:off x="3235326" y="2862263"/>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7" name="Freeform 206">
                <a:extLst>
                  <a:ext uri="{FF2B5EF4-FFF2-40B4-BE49-F238E27FC236}">
                    <a16:creationId xmlns:a16="http://schemas.microsoft.com/office/drawing/2014/main" id="{661CFEE1-4671-40AD-81B2-2180F3314F00}"/>
                  </a:ext>
                </a:extLst>
              </p:cNvPr>
              <p:cNvSpPr>
                <a:spLocks noEditPoints="1"/>
              </p:cNvSpPr>
              <p:nvPr/>
            </p:nvSpPr>
            <p:spPr bwMode="auto">
              <a:xfrm>
                <a:off x="3741738" y="2862263"/>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8" name="Freeform 207">
                <a:extLst>
                  <a:ext uri="{FF2B5EF4-FFF2-40B4-BE49-F238E27FC236}">
                    <a16:creationId xmlns:a16="http://schemas.microsoft.com/office/drawing/2014/main" id="{33B7389D-666D-4106-B26E-DFFF5919C60F}"/>
                  </a:ext>
                </a:extLst>
              </p:cNvPr>
              <p:cNvSpPr>
                <a:spLocks noEditPoints="1"/>
              </p:cNvSpPr>
              <p:nvPr/>
            </p:nvSpPr>
            <p:spPr bwMode="auto">
              <a:xfrm>
                <a:off x="2992438" y="3870325"/>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80" name="Group 1179">
              <a:extLst>
                <a:ext uri="{FF2B5EF4-FFF2-40B4-BE49-F238E27FC236}">
                  <a16:creationId xmlns:a16="http://schemas.microsoft.com/office/drawing/2014/main" id="{69E41EB5-4CE8-4807-B725-1BA7B36F0FF6}"/>
                </a:ext>
              </a:extLst>
            </p:cNvPr>
            <p:cNvGrpSpPr/>
            <p:nvPr/>
          </p:nvGrpSpPr>
          <p:grpSpPr>
            <a:xfrm rot="4302767">
              <a:off x="-6881641" y="3452788"/>
              <a:ext cx="810741" cy="704013"/>
              <a:chOff x="1239837" y="3583940"/>
              <a:chExt cx="907501" cy="788035"/>
            </a:xfrm>
            <a:solidFill>
              <a:schemeClr val="accent2"/>
            </a:solidFill>
          </p:grpSpPr>
          <p:sp>
            <p:nvSpPr>
              <p:cNvPr id="1181" name="Oval 227">
                <a:extLst>
                  <a:ext uri="{FF2B5EF4-FFF2-40B4-BE49-F238E27FC236}">
                    <a16:creationId xmlns:a16="http://schemas.microsoft.com/office/drawing/2014/main" id="{BCAD8507-16E9-4B49-84AE-BC8651433802}"/>
                  </a:ext>
                </a:extLst>
              </p:cNvPr>
              <p:cNvSpPr>
                <a:spLocks noChangeArrowheads="1"/>
              </p:cNvSpPr>
              <p:nvPr/>
            </p:nvSpPr>
            <p:spPr bwMode="auto">
              <a:xfrm flipH="1">
                <a:off x="2095825" y="4125372"/>
                <a:ext cx="51513" cy="5370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2" name="Oval 228">
                <a:extLst>
                  <a:ext uri="{FF2B5EF4-FFF2-40B4-BE49-F238E27FC236}">
                    <a16:creationId xmlns:a16="http://schemas.microsoft.com/office/drawing/2014/main" id="{F0FA84A2-92BA-4C7B-A46A-8CA7FECE3C5A}"/>
                  </a:ext>
                </a:extLst>
              </p:cNvPr>
              <p:cNvSpPr>
                <a:spLocks noChangeArrowheads="1"/>
              </p:cNvSpPr>
              <p:nvPr/>
            </p:nvSpPr>
            <p:spPr bwMode="auto">
              <a:xfrm flipH="1">
                <a:off x="1943479" y="4125372"/>
                <a:ext cx="50417" cy="5370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3" name="Oval 229">
                <a:extLst>
                  <a:ext uri="{FF2B5EF4-FFF2-40B4-BE49-F238E27FC236}">
                    <a16:creationId xmlns:a16="http://schemas.microsoft.com/office/drawing/2014/main" id="{02F9A26D-208C-499A-A505-A20DB37F58F6}"/>
                  </a:ext>
                </a:extLst>
              </p:cNvPr>
              <p:cNvSpPr>
                <a:spLocks noChangeArrowheads="1"/>
              </p:cNvSpPr>
              <p:nvPr/>
            </p:nvSpPr>
            <p:spPr bwMode="auto">
              <a:xfrm flipH="1">
                <a:off x="1609194" y="4125372"/>
                <a:ext cx="51513" cy="5370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4" name="Oval 230">
                <a:extLst>
                  <a:ext uri="{FF2B5EF4-FFF2-40B4-BE49-F238E27FC236}">
                    <a16:creationId xmlns:a16="http://schemas.microsoft.com/office/drawing/2014/main" id="{A6FCE56A-4B6C-4C13-9B32-921EBA37BBFA}"/>
                  </a:ext>
                </a:extLst>
              </p:cNvPr>
              <p:cNvSpPr>
                <a:spLocks noChangeArrowheads="1"/>
              </p:cNvSpPr>
              <p:nvPr/>
            </p:nvSpPr>
            <p:spPr bwMode="auto">
              <a:xfrm flipH="1">
                <a:off x="1609194" y="3954393"/>
                <a:ext cx="51513" cy="515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5" name="Oval 231">
                <a:extLst>
                  <a:ext uri="{FF2B5EF4-FFF2-40B4-BE49-F238E27FC236}">
                    <a16:creationId xmlns:a16="http://schemas.microsoft.com/office/drawing/2014/main" id="{04CE7011-258D-44FE-84B5-3FE4FE24D696}"/>
                  </a:ext>
                </a:extLst>
              </p:cNvPr>
              <p:cNvSpPr>
                <a:spLocks noChangeArrowheads="1"/>
              </p:cNvSpPr>
              <p:nvPr/>
            </p:nvSpPr>
            <p:spPr bwMode="auto">
              <a:xfrm flipH="1">
                <a:off x="1443696" y="3774647"/>
                <a:ext cx="51513" cy="5370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6" name="Oval 232">
                <a:extLst>
                  <a:ext uri="{FF2B5EF4-FFF2-40B4-BE49-F238E27FC236}">
                    <a16:creationId xmlns:a16="http://schemas.microsoft.com/office/drawing/2014/main" id="{998724C5-C5D0-4CD0-B444-977A8C1E4A3E}"/>
                  </a:ext>
                </a:extLst>
              </p:cNvPr>
              <p:cNvSpPr>
                <a:spLocks noChangeArrowheads="1"/>
              </p:cNvSpPr>
              <p:nvPr/>
            </p:nvSpPr>
            <p:spPr bwMode="auto">
              <a:xfrm flipH="1">
                <a:off x="1443696" y="3603668"/>
                <a:ext cx="51513" cy="515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7" name="Oval 233">
                <a:extLst>
                  <a:ext uri="{FF2B5EF4-FFF2-40B4-BE49-F238E27FC236}">
                    <a16:creationId xmlns:a16="http://schemas.microsoft.com/office/drawing/2014/main" id="{14A63752-541D-4A16-B924-F3FDFD4D3B3F}"/>
                  </a:ext>
                </a:extLst>
              </p:cNvPr>
              <p:cNvSpPr>
                <a:spLocks noChangeArrowheads="1"/>
              </p:cNvSpPr>
              <p:nvPr/>
            </p:nvSpPr>
            <p:spPr bwMode="auto">
              <a:xfrm flipH="1">
                <a:off x="1260662" y="3779031"/>
                <a:ext cx="50417" cy="5480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8" name="Oval 234">
                <a:extLst>
                  <a:ext uri="{FF2B5EF4-FFF2-40B4-BE49-F238E27FC236}">
                    <a16:creationId xmlns:a16="http://schemas.microsoft.com/office/drawing/2014/main" id="{0CD57E75-C39A-46E4-9B10-440068FFCA74}"/>
                  </a:ext>
                </a:extLst>
              </p:cNvPr>
              <p:cNvSpPr>
                <a:spLocks noChangeArrowheads="1"/>
              </p:cNvSpPr>
              <p:nvPr/>
            </p:nvSpPr>
            <p:spPr bwMode="auto">
              <a:xfrm flipH="1">
                <a:off x="2095825" y="4300734"/>
                <a:ext cx="51513" cy="515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9" name="Oval 235">
                <a:extLst>
                  <a:ext uri="{FF2B5EF4-FFF2-40B4-BE49-F238E27FC236}">
                    <a16:creationId xmlns:a16="http://schemas.microsoft.com/office/drawing/2014/main" id="{79FD0633-C346-47E9-BB2D-33A791591CE8}"/>
                  </a:ext>
                </a:extLst>
              </p:cNvPr>
              <p:cNvSpPr>
                <a:spLocks noChangeArrowheads="1"/>
              </p:cNvSpPr>
              <p:nvPr/>
            </p:nvSpPr>
            <p:spPr bwMode="auto">
              <a:xfrm flipH="1">
                <a:off x="1609194" y="4300734"/>
                <a:ext cx="51513" cy="515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0" name="Freeform 238">
                <a:extLst>
                  <a:ext uri="{FF2B5EF4-FFF2-40B4-BE49-F238E27FC236}">
                    <a16:creationId xmlns:a16="http://schemas.microsoft.com/office/drawing/2014/main" id="{22C09054-B058-4FE4-B312-E2C2F154D611}"/>
                  </a:ext>
                </a:extLst>
              </p:cNvPr>
              <p:cNvSpPr>
                <a:spLocks noEditPoints="1"/>
              </p:cNvSpPr>
              <p:nvPr/>
            </p:nvSpPr>
            <p:spPr bwMode="auto">
              <a:xfrm flipH="1">
                <a:off x="1422872" y="4106739"/>
                <a:ext cx="92065" cy="89873"/>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1" name="Freeform 239">
                <a:extLst>
                  <a:ext uri="{FF2B5EF4-FFF2-40B4-BE49-F238E27FC236}">
                    <a16:creationId xmlns:a16="http://schemas.microsoft.com/office/drawing/2014/main" id="{772CDCA7-4779-4B21-AB42-2E976EC3F9BA}"/>
                  </a:ext>
                </a:extLst>
              </p:cNvPr>
              <p:cNvSpPr>
                <a:spLocks noEditPoints="1"/>
              </p:cNvSpPr>
              <p:nvPr/>
            </p:nvSpPr>
            <p:spPr bwMode="auto">
              <a:xfrm flipH="1">
                <a:off x="1422872" y="3933569"/>
                <a:ext cx="92065" cy="9316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2" name="Freeform 241">
                <a:extLst>
                  <a:ext uri="{FF2B5EF4-FFF2-40B4-BE49-F238E27FC236}">
                    <a16:creationId xmlns:a16="http://schemas.microsoft.com/office/drawing/2014/main" id="{332ABD74-55BF-4032-910A-65D62368DB4C}"/>
                  </a:ext>
                </a:extLst>
              </p:cNvPr>
              <p:cNvSpPr>
                <a:spLocks noEditPoints="1"/>
              </p:cNvSpPr>
              <p:nvPr/>
            </p:nvSpPr>
            <p:spPr bwMode="auto">
              <a:xfrm flipH="1">
                <a:off x="1757156" y="4106739"/>
                <a:ext cx="92065" cy="89873"/>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3" name="Freeform 242">
                <a:extLst>
                  <a:ext uri="{FF2B5EF4-FFF2-40B4-BE49-F238E27FC236}">
                    <a16:creationId xmlns:a16="http://schemas.microsoft.com/office/drawing/2014/main" id="{611CC938-E212-4E40-85DB-8366C4DB9D75}"/>
                  </a:ext>
                </a:extLst>
              </p:cNvPr>
              <p:cNvSpPr>
                <a:spLocks noEditPoints="1"/>
              </p:cNvSpPr>
              <p:nvPr/>
            </p:nvSpPr>
            <p:spPr bwMode="auto">
              <a:xfrm flipH="1">
                <a:off x="1589466" y="3761495"/>
                <a:ext cx="90970" cy="89873"/>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4" name="Freeform 243">
                <a:extLst>
                  <a:ext uri="{FF2B5EF4-FFF2-40B4-BE49-F238E27FC236}">
                    <a16:creationId xmlns:a16="http://schemas.microsoft.com/office/drawing/2014/main" id="{AC1DF8AC-1FD7-491E-A298-43E2B7A53B09}"/>
                  </a:ext>
                </a:extLst>
              </p:cNvPr>
              <p:cNvSpPr>
                <a:spLocks noEditPoints="1"/>
              </p:cNvSpPr>
              <p:nvPr/>
            </p:nvSpPr>
            <p:spPr bwMode="auto">
              <a:xfrm flipH="1">
                <a:off x="1589466" y="3583940"/>
                <a:ext cx="90970" cy="92065"/>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5" name="Freeform 244">
                <a:extLst>
                  <a:ext uri="{FF2B5EF4-FFF2-40B4-BE49-F238E27FC236}">
                    <a16:creationId xmlns:a16="http://schemas.microsoft.com/office/drawing/2014/main" id="{958F1571-FABD-4FC8-8D90-24919ADD77D7}"/>
                  </a:ext>
                </a:extLst>
              </p:cNvPr>
              <p:cNvSpPr>
                <a:spLocks noEditPoints="1"/>
              </p:cNvSpPr>
              <p:nvPr/>
            </p:nvSpPr>
            <p:spPr bwMode="auto">
              <a:xfrm flipH="1">
                <a:off x="1239837" y="3583940"/>
                <a:ext cx="92065" cy="92065"/>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6" name="Freeform 245">
                <a:extLst>
                  <a:ext uri="{FF2B5EF4-FFF2-40B4-BE49-F238E27FC236}">
                    <a16:creationId xmlns:a16="http://schemas.microsoft.com/office/drawing/2014/main" id="{2DD5BFB1-9128-4780-997F-D71A4AD534AF}"/>
                  </a:ext>
                </a:extLst>
              </p:cNvPr>
              <p:cNvSpPr>
                <a:spLocks noEditPoints="1"/>
              </p:cNvSpPr>
              <p:nvPr/>
            </p:nvSpPr>
            <p:spPr bwMode="auto">
              <a:xfrm flipH="1">
                <a:off x="1757156" y="4279910"/>
                <a:ext cx="92065" cy="92065"/>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97" name="Arc 1196">
              <a:extLst>
                <a:ext uri="{FF2B5EF4-FFF2-40B4-BE49-F238E27FC236}">
                  <a16:creationId xmlns:a16="http://schemas.microsoft.com/office/drawing/2014/main" id="{FBB29FFB-F2F5-4338-9437-8568054A3DBA}"/>
                </a:ext>
              </a:extLst>
            </p:cNvPr>
            <p:cNvSpPr/>
            <p:nvPr/>
          </p:nvSpPr>
          <p:spPr>
            <a:xfrm rot="6946093">
              <a:off x="-8352835" y="2003830"/>
              <a:ext cx="3615323" cy="3590714"/>
            </a:xfrm>
            <a:prstGeom prst="arc">
              <a:avLst>
                <a:gd name="adj1" fmla="val 13206288"/>
                <a:gd name="adj2" fmla="val 4242639"/>
              </a:avLst>
            </a:prstGeom>
            <a:no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00" name="Group 1199">
              <a:extLst>
                <a:ext uri="{FF2B5EF4-FFF2-40B4-BE49-F238E27FC236}">
                  <a16:creationId xmlns:a16="http://schemas.microsoft.com/office/drawing/2014/main" id="{C4377AF8-2041-4910-BD4C-30E01A80E540}"/>
                </a:ext>
              </a:extLst>
            </p:cNvPr>
            <p:cNvGrpSpPr/>
            <p:nvPr/>
          </p:nvGrpSpPr>
          <p:grpSpPr>
            <a:xfrm>
              <a:off x="-5002734" y="2958967"/>
              <a:ext cx="197302" cy="197302"/>
              <a:chOff x="11108003" y="5987353"/>
              <a:chExt cx="197302" cy="197302"/>
            </a:xfrm>
          </p:grpSpPr>
          <p:sp>
            <p:nvSpPr>
              <p:cNvPr id="1198" name="Freeform: Shape 1197">
                <a:extLst>
                  <a:ext uri="{FF2B5EF4-FFF2-40B4-BE49-F238E27FC236}">
                    <a16:creationId xmlns:a16="http://schemas.microsoft.com/office/drawing/2014/main" id="{59868E67-115A-4A3D-BD0B-8BEA253E9D60}"/>
                  </a:ext>
                </a:extLst>
              </p:cNvPr>
              <p:cNvSpPr/>
              <p:nvPr/>
            </p:nvSpPr>
            <p:spPr>
              <a:xfrm>
                <a:off x="11108003" y="5987353"/>
                <a:ext cx="197302" cy="197302"/>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rgbClr val="74BF4B"/>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99" name="Oval 1198">
                <a:extLst>
                  <a:ext uri="{FF2B5EF4-FFF2-40B4-BE49-F238E27FC236}">
                    <a16:creationId xmlns:a16="http://schemas.microsoft.com/office/drawing/2014/main" id="{4BAEC246-3CAA-49DE-BC7D-C5799C55E80A}"/>
                  </a:ext>
                </a:extLst>
              </p:cNvPr>
              <p:cNvSpPr/>
              <p:nvPr/>
            </p:nvSpPr>
            <p:spPr>
              <a:xfrm>
                <a:off x="11150490" y="6029840"/>
                <a:ext cx="112328" cy="112327"/>
              </a:xfrm>
              <a:prstGeom prst="ellipse">
                <a:avLst/>
              </a:prstGeom>
              <a:solidFill>
                <a:srgbClr val="74BF4B"/>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grpSp>
          <p:nvGrpSpPr>
            <p:cNvPr id="1202" name="Group 1201">
              <a:extLst>
                <a:ext uri="{FF2B5EF4-FFF2-40B4-BE49-F238E27FC236}">
                  <a16:creationId xmlns:a16="http://schemas.microsoft.com/office/drawing/2014/main" id="{535C62B6-9352-4808-BC21-417A42467CA4}"/>
                </a:ext>
              </a:extLst>
            </p:cNvPr>
            <p:cNvGrpSpPr/>
            <p:nvPr/>
          </p:nvGrpSpPr>
          <p:grpSpPr>
            <a:xfrm>
              <a:off x="-8423393" y="3458490"/>
              <a:ext cx="197302" cy="197302"/>
              <a:chOff x="11108003" y="5987353"/>
              <a:chExt cx="197302" cy="197302"/>
            </a:xfrm>
          </p:grpSpPr>
          <p:sp>
            <p:nvSpPr>
              <p:cNvPr id="1203" name="Freeform: Shape 1202">
                <a:extLst>
                  <a:ext uri="{FF2B5EF4-FFF2-40B4-BE49-F238E27FC236}">
                    <a16:creationId xmlns:a16="http://schemas.microsoft.com/office/drawing/2014/main" id="{F4DBA447-D155-4CCC-B163-C003471E5A3F}"/>
                  </a:ext>
                </a:extLst>
              </p:cNvPr>
              <p:cNvSpPr/>
              <p:nvPr/>
            </p:nvSpPr>
            <p:spPr>
              <a:xfrm>
                <a:off x="11108003" y="5987353"/>
                <a:ext cx="197302" cy="197302"/>
              </a:xfrm>
              <a:custGeom>
                <a:avLst/>
                <a:gdLst>
                  <a:gd name="connsiteX0" fmla="*/ 202864 w 405726"/>
                  <a:gd name="connsiteY0" fmla="*/ 0 h 405726"/>
                  <a:gd name="connsiteX1" fmla="*/ 243745 w 405726"/>
                  <a:gd name="connsiteY1" fmla="*/ 4122 h 405726"/>
                  <a:gd name="connsiteX2" fmla="*/ 271436 w 405726"/>
                  <a:gd name="connsiteY2" fmla="*/ 12719 h 405726"/>
                  <a:gd name="connsiteX3" fmla="*/ 271436 w 405726"/>
                  <a:gd name="connsiteY3" fmla="*/ 12719 h 405726"/>
                  <a:gd name="connsiteX4" fmla="*/ 281822 w 405726"/>
                  <a:gd name="connsiteY4" fmla="*/ 15943 h 405726"/>
                  <a:gd name="connsiteX5" fmla="*/ 405726 w 405726"/>
                  <a:gd name="connsiteY5" fmla="*/ 202863 h 405726"/>
                  <a:gd name="connsiteX6" fmla="*/ 202863 w 405726"/>
                  <a:gd name="connsiteY6" fmla="*/ 405726 h 405726"/>
                  <a:gd name="connsiteX7" fmla="*/ 0 w 405726"/>
                  <a:gd name="connsiteY7" fmla="*/ 202863 h 405726"/>
                  <a:gd name="connsiteX8" fmla="*/ 123904 w 405726"/>
                  <a:gd name="connsiteY8" fmla="*/ 15943 h 405726"/>
                  <a:gd name="connsiteX9" fmla="*/ 141433 w 405726"/>
                  <a:gd name="connsiteY9" fmla="*/ 10501 h 405726"/>
                  <a:gd name="connsiteX10" fmla="*/ 141433 w 405726"/>
                  <a:gd name="connsiteY10" fmla="*/ 62912 h 405726"/>
                  <a:gd name="connsiteX11" fmla="*/ 117314 w 405726"/>
                  <a:gd name="connsiteY11" fmla="*/ 75999 h 405726"/>
                  <a:gd name="connsiteX12" fmla="*/ 49883 w 405726"/>
                  <a:gd name="connsiteY12" fmla="*/ 202863 h 405726"/>
                  <a:gd name="connsiteX13" fmla="*/ 202863 w 405726"/>
                  <a:gd name="connsiteY13" fmla="*/ 355844 h 405726"/>
                  <a:gd name="connsiteX14" fmla="*/ 355844 w 405726"/>
                  <a:gd name="connsiteY14" fmla="*/ 202863 h 405726"/>
                  <a:gd name="connsiteX15" fmla="*/ 288413 w 405726"/>
                  <a:gd name="connsiteY15" fmla="*/ 75999 h 405726"/>
                  <a:gd name="connsiteX16" fmla="*/ 271436 w 405726"/>
                  <a:gd name="connsiteY16" fmla="*/ 66788 h 405726"/>
                  <a:gd name="connsiteX17" fmla="*/ 271436 w 405726"/>
                  <a:gd name="connsiteY17" fmla="*/ 66788 h 405726"/>
                  <a:gd name="connsiteX18" fmla="*/ 262427 w 405726"/>
                  <a:gd name="connsiteY18" fmla="*/ 61899 h 405726"/>
                  <a:gd name="connsiteX19" fmla="*/ 202864 w 405726"/>
                  <a:gd name="connsiteY19" fmla="*/ 49882 h 405726"/>
                  <a:gd name="connsiteX20" fmla="*/ 143301 w 405726"/>
                  <a:gd name="connsiteY20" fmla="*/ 61899 h 405726"/>
                  <a:gd name="connsiteX21" fmla="*/ 141433 w 405726"/>
                  <a:gd name="connsiteY21" fmla="*/ 62913 h 405726"/>
                  <a:gd name="connsiteX22" fmla="*/ 141433 w 405726"/>
                  <a:gd name="connsiteY22" fmla="*/ 10502 h 405726"/>
                  <a:gd name="connsiteX23" fmla="*/ 161983 w 405726"/>
                  <a:gd name="connsiteY23" fmla="*/ 4122 h 405726"/>
                  <a:gd name="connsiteX24" fmla="*/ 202864 w 405726"/>
                  <a:gd name="connsiteY24" fmla="*/ 0 h 4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5726" h="405726">
                    <a:moveTo>
                      <a:pt x="202864" y="0"/>
                    </a:moveTo>
                    <a:cubicBezTo>
                      <a:pt x="216867" y="0"/>
                      <a:pt x="230539" y="1420"/>
                      <a:pt x="243745" y="4122"/>
                    </a:cubicBezTo>
                    <a:lnTo>
                      <a:pt x="271436" y="12719"/>
                    </a:lnTo>
                    <a:lnTo>
                      <a:pt x="271436" y="12719"/>
                    </a:lnTo>
                    <a:lnTo>
                      <a:pt x="281822" y="15943"/>
                    </a:lnTo>
                    <a:cubicBezTo>
                      <a:pt x="354631" y="46742"/>
                      <a:pt x="405726" y="118842"/>
                      <a:pt x="405726" y="202863"/>
                    </a:cubicBezTo>
                    <a:cubicBezTo>
                      <a:pt x="405726" y="314890"/>
                      <a:pt x="314890" y="405726"/>
                      <a:pt x="202863" y="405726"/>
                    </a:cubicBezTo>
                    <a:cubicBezTo>
                      <a:pt x="90836" y="405726"/>
                      <a:pt x="0" y="314890"/>
                      <a:pt x="0" y="202863"/>
                    </a:cubicBezTo>
                    <a:cubicBezTo>
                      <a:pt x="0" y="118842"/>
                      <a:pt x="51096" y="46742"/>
                      <a:pt x="123904" y="15943"/>
                    </a:cubicBezTo>
                    <a:lnTo>
                      <a:pt x="141433" y="10501"/>
                    </a:lnTo>
                    <a:lnTo>
                      <a:pt x="141433" y="62912"/>
                    </a:lnTo>
                    <a:lnTo>
                      <a:pt x="117314" y="75999"/>
                    </a:lnTo>
                    <a:cubicBezTo>
                      <a:pt x="76622" y="103483"/>
                      <a:pt x="49883" y="150034"/>
                      <a:pt x="49883" y="202863"/>
                    </a:cubicBezTo>
                    <a:cubicBezTo>
                      <a:pt x="49883" y="287389"/>
                      <a:pt x="118337" y="355844"/>
                      <a:pt x="202863" y="355844"/>
                    </a:cubicBezTo>
                    <a:cubicBezTo>
                      <a:pt x="287389" y="355844"/>
                      <a:pt x="355844" y="287389"/>
                      <a:pt x="355844" y="202863"/>
                    </a:cubicBezTo>
                    <a:cubicBezTo>
                      <a:pt x="355844" y="150034"/>
                      <a:pt x="329104" y="103483"/>
                      <a:pt x="288413" y="75999"/>
                    </a:cubicBezTo>
                    <a:lnTo>
                      <a:pt x="271436" y="66788"/>
                    </a:lnTo>
                    <a:lnTo>
                      <a:pt x="271436" y="66788"/>
                    </a:lnTo>
                    <a:lnTo>
                      <a:pt x="262427" y="61899"/>
                    </a:lnTo>
                    <a:cubicBezTo>
                      <a:pt x="244123" y="54161"/>
                      <a:pt x="223995" y="49882"/>
                      <a:pt x="202864" y="49882"/>
                    </a:cubicBezTo>
                    <a:cubicBezTo>
                      <a:pt x="181732" y="49882"/>
                      <a:pt x="161605" y="54161"/>
                      <a:pt x="143301" y="61899"/>
                    </a:cubicBezTo>
                    <a:lnTo>
                      <a:pt x="141433" y="62913"/>
                    </a:lnTo>
                    <a:lnTo>
                      <a:pt x="141433" y="10502"/>
                    </a:lnTo>
                    <a:lnTo>
                      <a:pt x="161983" y="4122"/>
                    </a:lnTo>
                    <a:cubicBezTo>
                      <a:pt x="175188" y="1420"/>
                      <a:pt x="188861" y="0"/>
                      <a:pt x="202864" y="0"/>
                    </a:cubicBezTo>
                    <a:close/>
                  </a:path>
                </a:pathLst>
              </a:custGeom>
              <a:solidFill>
                <a:srgbClr val="74BF4B"/>
              </a:solidFill>
              <a:ln w="24984"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04" name="Oval 1203">
                <a:extLst>
                  <a:ext uri="{FF2B5EF4-FFF2-40B4-BE49-F238E27FC236}">
                    <a16:creationId xmlns:a16="http://schemas.microsoft.com/office/drawing/2014/main" id="{34AC25FB-C890-4583-BDDD-3CF4FE499C47}"/>
                  </a:ext>
                </a:extLst>
              </p:cNvPr>
              <p:cNvSpPr/>
              <p:nvPr/>
            </p:nvSpPr>
            <p:spPr>
              <a:xfrm>
                <a:off x="11150490" y="6029840"/>
                <a:ext cx="112328" cy="112327"/>
              </a:xfrm>
              <a:prstGeom prst="ellipse">
                <a:avLst/>
              </a:prstGeom>
              <a:solidFill>
                <a:srgbClr val="74BF4B"/>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grpSp>
      <p:sp>
        <p:nvSpPr>
          <p:cNvPr id="1206" name="Oval 1205">
            <a:extLst>
              <a:ext uri="{FF2B5EF4-FFF2-40B4-BE49-F238E27FC236}">
                <a16:creationId xmlns:a16="http://schemas.microsoft.com/office/drawing/2014/main" id="{EF50391F-F263-4294-92A0-8F8AE09F066A}"/>
              </a:ext>
            </a:extLst>
          </p:cNvPr>
          <p:cNvSpPr/>
          <p:nvPr/>
        </p:nvSpPr>
        <p:spPr>
          <a:xfrm>
            <a:off x="2608819" y="1980156"/>
            <a:ext cx="1706778" cy="1706778"/>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7" name="Oval 1206">
            <a:extLst>
              <a:ext uri="{FF2B5EF4-FFF2-40B4-BE49-F238E27FC236}">
                <a16:creationId xmlns:a16="http://schemas.microsoft.com/office/drawing/2014/main" id="{6AE7510E-FE7A-4D8E-8A6F-89D2756CA4F2}"/>
              </a:ext>
            </a:extLst>
          </p:cNvPr>
          <p:cNvSpPr/>
          <p:nvPr/>
        </p:nvSpPr>
        <p:spPr>
          <a:xfrm>
            <a:off x="2917921" y="4209287"/>
            <a:ext cx="1706778" cy="1706778"/>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8" name="Oval 1207">
            <a:extLst>
              <a:ext uri="{FF2B5EF4-FFF2-40B4-BE49-F238E27FC236}">
                <a16:creationId xmlns:a16="http://schemas.microsoft.com/office/drawing/2014/main" id="{3631CEF6-BB32-4FC7-8D05-8E1957E96E19}"/>
              </a:ext>
            </a:extLst>
          </p:cNvPr>
          <p:cNvSpPr/>
          <p:nvPr/>
        </p:nvSpPr>
        <p:spPr>
          <a:xfrm>
            <a:off x="6498931" y="2164733"/>
            <a:ext cx="1625920" cy="1625920"/>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9" name="Oval 1208">
            <a:extLst>
              <a:ext uri="{FF2B5EF4-FFF2-40B4-BE49-F238E27FC236}">
                <a16:creationId xmlns:a16="http://schemas.microsoft.com/office/drawing/2014/main" id="{84699ADD-B77B-4DE1-A3E1-A78A7E1B11E1}"/>
              </a:ext>
            </a:extLst>
          </p:cNvPr>
          <p:cNvSpPr/>
          <p:nvPr/>
        </p:nvSpPr>
        <p:spPr>
          <a:xfrm>
            <a:off x="8838006" y="2092977"/>
            <a:ext cx="1706778" cy="1706778"/>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0" name="Oval 1209">
            <a:extLst>
              <a:ext uri="{FF2B5EF4-FFF2-40B4-BE49-F238E27FC236}">
                <a16:creationId xmlns:a16="http://schemas.microsoft.com/office/drawing/2014/main" id="{5EF6E021-85A3-4394-99A4-E20883411646}"/>
              </a:ext>
            </a:extLst>
          </p:cNvPr>
          <p:cNvSpPr/>
          <p:nvPr/>
        </p:nvSpPr>
        <p:spPr>
          <a:xfrm>
            <a:off x="9809531" y="4096811"/>
            <a:ext cx="1706778" cy="1706778"/>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 name="Group 2">
            <a:extLst>
              <a:ext uri="{FF2B5EF4-FFF2-40B4-BE49-F238E27FC236}">
                <a16:creationId xmlns:a16="http://schemas.microsoft.com/office/drawing/2014/main" id="{C6444E94-D50E-4534-80F3-0E5A6937581B}"/>
              </a:ext>
            </a:extLst>
          </p:cNvPr>
          <p:cNvGrpSpPr/>
          <p:nvPr/>
        </p:nvGrpSpPr>
        <p:grpSpPr>
          <a:xfrm>
            <a:off x="5252495" y="4259809"/>
            <a:ext cx="1768730" cy="1706778"/>
            <a:chOff x="5252495" y="4259809"/>
            <a:chExt cx="1768730" cy="1706778"/>
          </a:xfrm>
        </p:grpSpPr>
        <p:grpSp>
          <p:nvGrpSpPr>
            <p:cNvPr id="1256" name="Group 1255">
              <a:extLst>
                <a:ext uri="{FF2B5EF4-FFF2-40B4-BE49-F238E27FC236}">
                  <a16:creationId xmlns:a16="http://schemas.microsoft.com/office/drawing/2014/main" id="{4380E676-F343-4DF8-B689-AC28F15DEDB9}"/>
                </a:ext>
              </a:extLst>
            </p:cNvPr>
            <p:cNvGrpSpPr/>
            <p:nvPr/>
          </p:nvGrpSpPr>
          <p:grpSpPr>
            <a:xfrm rot="19874064">
              <a:off x="6096533" y="5027510"/>
              <a:ext cx="924692" cy="802962"/>
              <a:chOff x="-1864940" y="-534856"/>
              <a:chExt cx="924692" cy="802962"/>
            </a:xfrm>
          </p:grpSpPr>
          <p:sp>
            <p:nvSpPr>
              <p:cNvPr id="1257" name="Oval 189">
                <a:extLst>
                  <a:ext uri="{FF2B5EF4-FFF2-40B4-BE49-F238E27FC236}">
                    <a16:creationId xmlns:a16="http://schemas.microsoft.com/office/drawing/2014/main" id="{AB10835A-AA0C-436A-AD4A-D1CF317DCF0D}"/>
                  </a:ext>
                </a:extLst>
              </p:cNvPr>
              <p:cNvSpPr>
                <a:spLocks noChangeArrowheads="1"/>
              </p:cNvSpPr>
              <p:nvPr/>
            </p:nvSpPr>
            <p:spPr bwMode="auto">
              <a:xfrm>
                <a:off x="-1864940" y="16831"/>
                <a:ext cx="51372"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8" name="Oval 190">
                <a:extLst>
                  <a:ext uri="{FF2B5EF4-FFF2-40B4-BE49-F238E27FC236}">
                    <a16:creationId xmlns:a16="http://schemas.microsoft.com/office/drawing/2014/main" id="{62258069-9EAD-4604-97F6-9111E0B1715D}"/>
                  </a:ext>
                </a:extLst>
              </p:cNvPr>
              <p:cNvSpPr>
                <a:spLocks noChangeArrowheads="1"/>
              </p:cNvSpPr>
              <p:nvPr/>
            </p:nvSpPr>
            <p:spPr bwMode="auto">
              <a:xfrm>
                <a:off x="-1709707" y="16831"/>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9" name="Oval 191">
                <a:extLst>
                  <a:ext uri="{FF2B5EF4-FFF2-40B4-BE49-F238E27FC236}">
                    <a16:creationId xmlns:a16="http://schemas.microsoft.com/office/drawing/2014/main" id="{33864C28-AF53-4BFF-8F14-FF8800F6674E}"/>
                  </a:ext>
                </a:extLst>
              </p:cNvPr>
              <p:cNvSpPr>
                <a:spLocks noChangeArrowheads="1"/>
              </p:cNvSpPr>
              <p:nvPr/>
            </p:nvSpPr>
            <p:spPr bwMode="auto">
              <a:xfrm>
                <a:off x="-1369091" y="16831"/>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0" name="Oval 192">
                <a:extLst>
                  <a:ext uri="{FF2B5EF4-FFF2-40B4-BE49-F238E27FC236}">
                    <a16:creationId xmlns:a16="http://schemas.microsoft.com/office/drawing/2014/main" id="{E7BD0BB8-1797-41AE-B1A9-E52BB095D77B}"/>
                  </a:ext>
                </a:extLst>
              </p:cNvPr>
              <p:cNvSpPr>
                <a:spLocks noChangeArrowheads="1"/>
              </p:cNvSpPr>
              <p:nvPr/>
            </p:nvSpPr>
            <p:spPr bwMode="auto">
              <a:xfrm>
                <a:off x="-1369091" y="-15738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1" name="Oval 193">
                <a:extLst>
                  <a:ext uri="{FF2B5EF4-FFF2-40B4-BE49-F238E27FC236}">
                    <a16:creationId xmlns:a16="http://schemas.microsoft.com/office/drawing/2014/main" id="{FB27EB7B-016D-4DF8-97C0-B0A1EE5ED80C}"/>
                  </a:ext>
                </a:extLst>
              </p:cNvPr>
              <p:cNvSpPr>
                <a:spLocks noChangeArrowheads="1"/>
              </p:cNvSpPr>
              <p:nvPr/>
            </p:nvSpPr>
            <p:spPr bwMode="auto">
              <a:xfrm>
                <a:off x="-1200457" y="-340537"/>
                <a:ext cx="52489" cy="54722"/>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2" name="Oval 194">
                <a:extLst>
                  <a:ext uri="{FF2B5EF4-FFF2-40B4-BE49-F238E27FC236}">
                    <a16:creationId xmlns:a16="http://schemas.microsoft.com/office/drawing/2014/main" id="{E8846F09-85EE-4CFF-BBE0-4D8BC34A6730}"/>
                  </a:ext>
                </a:extLst>
              </p:cNvPr>
              <p:cNvSpPr>
                <a:spLocks noChangeArrowheads="1"/>
              </p:cNvSpPr>
              <p:nvPr/>
            </p:nvSpPr>
            <p:spPr bwMode="auto">
              <a:xfrm>
                <a:off x="-1200457" y="-514754"/>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3" name="Oval 195">
                <a:extLst>
                  <a:ext uri="{FF2B5EF4-FFF2-40B4-BE49-F238E27FC236}">
                    <a16:creationId xmlns:a16="http://schemas.microsoft.com/office/drawing/2014/main" id="{D0EBC8A8-F52D-4091-BB90-87EF1F89D729}"/>
                  </a:ext>
                </a:extLst>
              </p:cNvPr>
              <p:cNvSpPr>
                <a:spLocks noChangeArrowheads="1"/>
              </p:cNvSpPr>
              <p:nvPr/>
            </p:nvSpPr>
            <p:spPr bwMode="auto">
              <a:xfrm>
                <a:off x="-1012838" y="-336069"/>
                <a:ext cx="51372" cy="5583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4" name="Oval 196">
                <a:extLst>
                  <a:ext uri="{FF2B5EF4-FFF2-40B4-BE49-F238E27FC236}">
                    <a16:creationId xmlns:a16="http://schemas.microsoft.com/office/drawing/2014/main" id="{BDB276E2-0816-441D-93CB-5A8F52D44BA4}"/>
                  </a:ext>
                </a:extLst>
              </p:cNvPr>
              <p:cNvSpPr>
                <a:spLocks noChangeArrowheads="1"/>
              </p:cNvSpPr>
              <p:nvPr/>
            </p:nvSpPr>
            <p:spPr bwMode="auto">
              <a:xfrm>
                <a:off x="-1864940" y="195516"/>
                <a:ext cx="51372"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5" name="Oval 197">
                <a:extLst>
                  <a:ext uri="{FF2B5EF4-FFF2-40B4-BE49-F238E27FC236}">
                    <a16:creationId xmlns:a16="http://schemas.microsoft.com/office/drawing/2014/main" id="{D4ACE407-B47E-4821-B463-A1901BEA8851}"/>
                  </a:ext>
                </a:extLst>
              </p:cNvPr>
              <p:cNvSpPr>
                <a:spLocks noChangeArrowheads="1"/>
              </p:cNvSpPr>
              <p:nvPr/>
            </p:nvSpPr>
            <p:spPr bwMode="auto">
              <a:xfrm>
                <a:off x="-1369091" y="19551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6" name="Oval 198">
                <a:extLst>
                  <a:ext uri="{FF2B5EF4-FFF2-40B4-BE49-F238E27FC236}">
                    <a16:creationId xmlns:a16="http://schemas.microsoft.com/office/drawing/2014/main" id="{4E255CBE-9504-4F9B-9274-092390E21CDC}"/>
                  </a:ext>
                </a:extLst>
              </p:cNvPr>
              <p:cNvSpPr>
                <a:spLocks noChangeArrowheads="1"/>
              </p:cNvSpPr>
              <p:nvPr/>
            </p:nvSpPr>
            <p:spPr bwMode="auto">
              <a:xfrm>
                <a:off x="-1200457" y="195516"/>
                <a:ext cx="52489" cy="5248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7" name="Freeform 199">
                <a:extLst>
                  <a:ext uri="{FF2B5EF4-FFF2-40B4-BE49-F238E27FC236}">
                    <a16:creationId xmlns:a16="http://schemas.microsoft.com/office/drawing/2014/main" id="{F8F355D1-B70E-46C8-BFB2-6F99540ECF15}"/>
                  </a:ext>
                </a:extLst>
              </p:cNvPr>
              <p:cNvSpPr>
                <a:spLocks noEditPoints="1"/>
              </p:cNvSpPr>
              <p:nvPr/>
            </p:nvSpPr>
            <p:spPr bwMode="auto">
              <a:xfrm>
                <a:off x="-1034057" y="174297"/>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8" name="Freeform 200">
                <a:extLst>
                  <a:ext uri="{FF2B5EF4-FFF2-40B4-BE49-F238E27FC236}">
                    <a16:creationId xmlns:a16="http://schemas.microsoft.com/office/drawing/2014/main" id="{75A9577C-E139-48E0-8906-520446A5C8CE}"/>
                  </a:ext>
                </a:extLst>
              </p:cNvPr>
              <p:cNvSpPr>
                <a:spLocks noEditPoints="1"/>
              </p:cNvSpPr>
              <p:nvPr/>
            </p:nvSpPr>
            <p:spPr bwMode="auto">
              <a:xfrm>
                <a:off x="-1220559" y="-2155"/>
                <a:ext cx="92693"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9" name="Freeform 201">
                <a:extLst>
                  <a:ext uri="{FF2B5EF4-FFF2-40B4-BE49-F238E27FC236}">
                    <a16:creationId xmlns:a16="http://schemas.microsoft.com/office/drawing/2014/main" id="{22B50A3C-36EF-4290-86EE-CA92F24BE38C}"/>
                  </a:ext>
                </a:extLst>
              </p:cNvPr>
              <p:cNvSpPr>
                <a:spLocks noEditPoints="1"/>
              </p:cNvSpPr>
              <p:nvPr/>
            </p:nvSpPr>
            <p:spPr bwMode="auto">
              <a:xfrm>
                <a:off x="-1220559" y="-178605"/>
                <a:ext cx="92693" cy="94926"/>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0" name="Freeform 202">
                <a:extLst>
                  <a:ext uri="{FF2B5EF4-FFF2-40B4-BE49-F238E27FC236}">
                    <a16:creationId xmlns:a16="http://schemas.microsoft.com/office/drawing/2014/main" id="{C476DF06-5ADF-4B2B-A57A-0C80F673DC72}"/>
                  </a:ext>
                </a:extLst>
              </p:cNvPr>
              <p:cNvSpPr>
                <a:spLocks noEditPoints="1"/>
              </p:cNvSpPr>
              <p:nvPr/>
            </p:nvSpPr>
            <p:spPr bwMode="auto">
              <a:xfrm>
                <a:off x="-1034057" y="-2155"/>
                <a:ext cx="93809"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1" name="Freeform 203">
                <a:extLst>
                  <a:ext uri="{FF2B5EF4-FFF2-40B4-BE49-F238E27FC236}">
                    <a16:creationId xmlns:a16="http://schemas.microsoft.com/office/drawing/2014/main" id="{3507232A-4DCB-4E8C-9E38-7AADDCDDA9FB}"/>
                  </a:ext>
                </a:extLst>
              </p:cNvPr>
              <p:cNvSpPr>
                <a:spLocks noEditPoints="1"/>
              </p:cNvSpPr>
              <p:nvPr/>
            </p:nvSpPr>
            <p:spPr bwMode="auto">
              <a:xfrm>
                <a:off x="-1561176" y="-2155"/>
                <a:ext cx="93809" cy="915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2" name="Freeform 204">
                <a:extLst>
                  <a:ext uri="{FF2B5EF4-FFF2-40B4-BE49-F238E27FC236}">
                    <a16:creationId xmlns:a16="http://schemas.microsoft.com/office/drawing/2014/main" id="{5AFB54D7-FCC7-41CB-BA16-7E1BA74A4244}"/>
                  </a:ext>
                </a:extLst>
              </p:cNvPr>
              <p:cNvSpPr>
                <a:spLocks noEditPoints="1"/>
              </p:cNvSpPr>
              <p:nvPr/>
            </p:nvSpPr>
            <p:spPr bwMode="auto">
              <a:xfrm>
                <a:off x="-1390309" y="-353938"/>
                <a:ext cx="93809" cy="91575"/>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3" name="Freeform 205">
                <a:extLst>
                  <a:ext uri="{FF2B5EF4-FFF2-40B4-BE49-F238E27FC236}">
                    <a16:creationId xmlns:a16="http://schemas.microsoft.com/office/drawing/2014/main" id="{E927E535-7719-468E-8767-DEE4B4F66DAD}"/>
                  </a:ext>
                </a:extLst>
              </p:cNvPr>
              <p:cNvSpPr>
                <a:spLocks noEditPoints="1"/>
              </p:cNvSpPr>
              <p:nvPr/>
            </p:nvSpPr>
            <p:spPr bwMode="auto">
              <a:xfrm>
                <a:off x="-1390309" y="-534856"/>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4" name="Freeform 206">
                <a:extLst>
                  <a:ext uri="{FF2B5EF4-FFF2-40B4-BE49-F238E27FC236}">
                    <a16:creationId xmlns:a16="http://schemas.microsoft.com/office/drawing/2014/main" id="{3048D878-AB3D-4A65-A1C8-04BF72F95C69}"/>
                  </a:ext>
                </a:extLst>
              </p:cNvPr>
              <p:cNvSpPr>
                <a:spLocks noEditPoints="1"/>
              </p:cNvSpPr>
              <p:nvPr/>
            </p:nvSpPr>
            <p:spPr bwMode="auto">
              <a:xfrm>
                <a:off x="-1034057" y="-534856"/>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5" name="Freeform 207">
                <a:extLst>
                  <a:ext uri="{FF2B5EF4-FFF2-40B4-BE49-F238E27FC236}">
                    <a16:creationId xmlns:a16="http://schemas.microsoft.com/office/drawing/2014/main" id="{F4A1A27F-BA7D-4379-B5A4-122BC6FE6BBE}"/>
                  </a:ext>
                </a:extLst>
              </p:cNvPr>
              <p:cNvSpPr>
                <a:spLocks noEditPoints="1"/>
              </p:cNvSpPr>
              <p:nvPr/>
            </p:nvSpPr>
            <p:spPr bwMode="auto">
              <a:xfrm>
                <a:off x="-1561176" y="174297"/>
                <a:ext cx="93809" cy="93809"/>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 name="Oval 19">
              <a:extLst>
                <a:ext uri="{FF2B5EF4-FFF2-40B4-BE49-F238E27FC236}">
                  <a16:creationId xmlns:a16="http://schemas.microsoft.com/office/drawing/2014/main" id="{7C4D2AEF-0D56-43B4-814B-2CDA06B03A1D}"/>
                </a:ext>
              </a:extLst>
            </p:cNvPr>
            <p:cNvSpPr/>
            <p:nvPr/>
          </p:nvSpPr>
          <p:spPr>
            <a:xfrm>
              <a:off x="5252495" y="4259809"/>
              <a:ext cx="1706778" cy="1706778"/>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a:t>How do we keep our teams feeling connected?</a:t>
              </a:r>
            </a:p>
          </p:txBody>
        </p:sp>
        <p:sp>
          <p:nvSpPr>
            <p:cNvPr id="1211" name="Oval 1210">
              <a:extLst>
                <a:ext uri="{FF2B5EF4-FFF2-40B4-BE49-F238E27FC236}">
                  <a16:creationId xmlns:a16="http://schemas.microsoft.com/office/drawing/2014/main" id="{E822DF12-9F10-4173-B053-18D7E3D3EC8D}"/>
                </a:ext>
              </a:extLst>
            </p:cNvPr>
            <p:cNvSpPr/>
            <p:nvPr/>
          </p:nvSpPr>
          <p:spPr>
            <a:xfrm>
              <a:off x="5252495" y="4259809"/>
              <a:ext cx="1706778" cy="1706778"/>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354" name="Arc 1353">
            <a:extLst>
              <a:ext uri="{FF2B5EF4-FFF2-40B4-BE49-F238E27FC236}">
                <a16:creationId xmlns:a16="http://schemas.microsoft.com/office/drawing/2014/main" id="{271218BF-3E88-40E7-9BC9-E178EE85400E}"/>
              </a:ext>
            </a:extLst>
          </p:cNvPr>
          <p:cNvSpPr/>
          <p:nvPr/>
        </p:nvSpPr>
        <p:spPr>
          <a:xfrm>
            <a:off x="732293" y="2717933"/>
            <a:ext cx="2030344" cy="2030343"/>
          </a:xfrm>
          <a:prstGeom prst="arc">
            <a:avLst>
              <a:gd name="adj1" fmla="val 2297032"/>
              <a:gd name="adj2" fmla="val 6909498"/>
            </a:avLst>
          </a:prstGeom>
          <a:noFill/>
          <a:ln w="25400" cap="flat" cmpd="sng" algn="ctr">
            <a:solidFill>
              <a:schemeClr val="accent1"/>
            </a:solid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nvGrpSpPr>
          <p:cNvPr id="5" name="Group 4">
            <a:extLst>
              <a:ext uri="{FF2B5EF4-FFF2-40B4-BE49-F238E27FC236}">
                <a16:creationId xmlns:a16="http://schemas.microsoft.com/office/drawing/2014/main" id="{D1DED965-BEBD-4F8D-B03B-216C76E25BCE}"/>
              </a:ext>
            </a:extLst>
          </p:cNvPr>
          <p:cNvGrpSpPr/>
          <p:nvPr/>
        </p:nvGrpSpPr>
        <p:grpSpPr>
          <a:xfrm>
            <a:off x="4612865" y="2183915"/>
            <a:ext cx="1770528" cy="1815444"/>
            <a:chOff x="4344235" y="1886371"/>
            <a:chExt cx="2094684" cy="2147824"/>
          </a:xfrm>
        </p:grpSpPr>
        <p:grpSp>
          <p:nvGrpSpPr>
            <p:cNvPr id="550" name="Graphic 1">
              <a:extLst>
                <a:ext uri="{FF2B5EF4-FFF2-40B4-BE49-F238E27FC236}">
                  <a16:creationId xmlns:a16="http://schemas.microsoft.com/office/drawing/2014/main" id="{9AFBFC7C-6B06-4655-84F7-228BC5229F67}"/>
                </a:ext>
              </a:extLst>
            </p:cNvPr>
            <p:cNvGrpSpPr/>
            <p:nvPr/>
          </p:nvGrpSpPr>
          <p:grpSpPr>
            <a:xfrm>
              <a:off x="4359907" y="1886371"/>
              <a:ext cx="2078941" cy="2091785"/>
              <a:chOff x="3453884" y="801171"/>
              <a:chExt cx="2092880" cy="2093356"/>
            </a:xfrm>
            <a:solidFill>
              <a:schemeClr val="bg2">
                <a:lumMod val="95000"/>
              </a:schemeClr>
            </a:solidFill>
          </p:grpSpPr>
          <p:sp>
            <p:nvSpPr>
              <p:cNvPr id="552" name="Freeform: Shape 551">
                <a:extLst>
                  <a:ext uri="{FF2B5EF4-FFF2-40B4-BE49-F238E27FC236}">
                    <a16:creationId xmlns:a16="http://schemas.microsoft.com/office/drawing/2014/main" id="{0D2B5561-7826-4994-ADAB-B82092726602}"/>
                  </a:ext>
                </a:extLst>
              </p:cNvPr>
              <p:cNvSpPr/>
              <p:nvPr/>
            </p:nvSpPr>
            <p:spPr>
              <a:xfrm>
                <a:off x="4134921" y="1482623"/>
                <a:ext cx="1350882" cy="1350944"/>
              </a:xfrm>
              <a:custGeom>
                <a:avLst/>
                <a:gdLst>
                  <a:gd name="connsiteX0" fmla="*/ 1324332 w 1350882"/>
                  <a:gd name="connsiteY0" fmla="*/ 4229 h 1350944"/>
                  <a:gd name="connsiteX1" fmla="*/ 4643 w 1350882"/>
                  <a:gd name="connsiteY1" fmla="*/ 1324394 h 1350944"/>
                  <a:gd name="connsiteX2" fmla="*/ 4643 w 1350882"/>
                  <a:gd name="connsiteY2" fmla="*/ 1346301 h 1350944"/>
                  <a:gd name="connsiteX3" fmla="*/ 26551 w 1350882"/>
                  <a:gd name="connsiteY3" fmla="*/ 1346301 h 1350944"/>
                  <a:gd name="connsiteX4" fmla="*/ 1346240 w 1350882"/>
                  <a:gd name="connsiteY4" fmla="*/ 26612 h 1350944"/>
                  <a:gd name="connsiteX5" fmla="*/ 1346240 w 1350882"/>
                  <a:gd name="connsiteY5" fmla="*/ 4705 h 1350944"/>
                  <a:gd name="connsiteX6" fmla="*/ 1324332 w 1350882"/>
                  <a:gd name="connsiteY6" fmla="*/ 4229 h 135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82" h="1350944">
                    <a:moveTo>
                      <a:pt x="1324332" y="4229"/>
                    </a:moveTo>
                    <a:lnTo>
                      <a:pt x="4643" y="1324394"/>
                    </a:lnTo>
                    <a:cubicBezTo>
                      <a:pt x="-1548" y="1330585"/>
                      <a:pt x="-1548" y="1340110"/>
                      <a:pt x="4643" y="1346301"/>
                    </a:cubicBezTo>
                    <a:cubicBezTo>
                      <a:pt x="10835" y="1352492"/>
                      <a:pt x="20360" y="1352492"/>
                      <a:pt x="26551" y="1346301"/>
                    </a:cubicBezTo>
                    <a:lnTo>
                      <a:pt x="1346240" y="26612"/>
                    </a:lnTo>
                    <a:cubicBezTo>
                      <a:pt x="1352431" y="20421"/>
                      <a:pt x="1352431" y="10896"/>
                      <a:pt x="1346240" y="4705"/>
                    </a:cubicBezTo>
                    <a:cubicBezTo>
                      <a:pt x="1340048" y="-1486"/>
                      <a:pt x="1330523" y="-1486"/>
                      <a:pt x="1324332" y="4229"/>
                    </a:cubicBezTo>
                    <a:close/>
                  </a:path>
                </a:pathLst>
              </a:custGeom>
              <a:grpFill/>
              <a:ln w="4763" cap="flat">
                <a:noFill/>
                <a:prstDash val="solid"/>
                <a:miter/>
              </a:ln>
            </p:spPr>
            <p:txBody>
              <a:bodyPr rtlCol="0" anchor="ctr"/>
              <a:lstStyle/>
              <a:p>
                <a:endParaRPr lang="en-US" dirty="0"/>
              </a:p>
            </p:txBody>
          </p:sp>
          <p:sp>
            <p:nvSpPr>
              <p:cNvPr id="553" name="Freeform: Shape 552">
                <a:extLst>
                  <a:ext uri="{FF2B5EF4-FFF2-40B4-BE49-F238E27FC236}">
                    <a16:creationId xmlns:a16="http://schemas.microsoft.com/office/drawing/2014/main" id="{C7A0839B-0E82-4FAC-A06A-2E94A3E6E150}"/>
                  </a:ext>
                </a:extLst>
              </p:cNvPr>
              <p:cNvSpPr/>
              <p:nvPr/>
            </p:nvSpPr>
            <p:spPr>
              <a:xfrm>
                <a:off x="4037766" y="1385411"/>
                <a:ext cx="1407556" cy="1407199"/>
              </a:xfrm>
              <a:custGeom>
                <a:avLst/>
                <a:gdLst>
                  <a:gd name="connsiteX0" fmla="*/ 1381006 w 1407556"/>
                  <a:gd name="connsiteY0" fmla="*/ 4286 h 1407199"/>
                  <a:gd name="connsiteX1" fmla="*/ 4643 w 1407556"/>
                  <a:gd name="connsiteY1" fmla="*/ 1380649 h 1407199"/>
                  <a:gd name="connsiteX2" fmla="*/ 4643 w 1407556"/>
                  <a:gd name="connsiteY2" fmla="*/ 1402556 h 1407199"/>
                  <a:gd name="connsiteX3" fmla="*/ 26551 w 1407556"/>
                  <a:gd name="connsiteY3" fmla="*/ 1402556 h 1407199"/>
                  <a:gd name="connsiteX4" fmla="*/ 1402914 w 1407556"/>
                  <a:gd name="connsiteY4" fmla="*/ 26194 h 1407199"/>
                  <a:gd name="connsiteX5" fmla="*/ 1402914 w 1407556"/>
                  <a:gd name="connsiteY5" fmla="*/ 4286 h 1407199"/>
                  <a:gd name="connsiteX6" fmla="*/ 1381006 w 1407556"/>
                  <a:gd name="connsiteY6" fmla="*/ 4286 h 140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556" h="1407199">
                    <a:moveTo>
                      <a:pt x="1381006" y="4286"/>
                    </a:moveTo>
                    <a:lnTo>
                      <a:pt x="4643" y="1380649"/>
                    </a:lnTo>
                    <a:cubicBezTo>
                      <a:pt x="-1548" y="1386840"/>
                      <a:pt x="-1548" y="1396365"/>
                      <a:pt x="4643" y="1402556"/>
                    </a:cubicBezTo>
                    <a:cubicBezTo>
                      <a:pt x="10835" y="1408748"/>
                      <a:pt x="20360" y="1408748"/>
                      <a:pt x="26551" y="1402556"/>
                    </a:cubicBezTo>
                    <a:lnTo>
                      <a:pt x="1402914" y="26194"/>
                    </a:lnTo>
                    <a:cubicBezTo>
                      <a:pt x="1409105" y="20003"/>
                      <a:pt x="1409105" y="10478"/>
                      <a:pt x="1402914" y="4286"/>
                    </a:cubicBezTo>
                    <a:cubicBezTo>
                      <a:pt x="1396722" y="-1429"/>
                      <a:pt x="1386721" y="-1429"/>
                      <a:pt x="1381006" y="4286"/>
                    </a:cubicBezTo>
                    <a:close/>
                  </a:path>
                </a:pathLst>
              </a:custGeom>
              <a:grpFill/>
              <a:ln w="4763" cap="flat">
                <a:noFill/>
                <a:prstDash val="solid"/>
                <a:miter/>
              </a:ln>
            </p:spPr>
            <p:txBody>
              <a:bodyPr rtlCol="0" anchor="ctr"/>
              <a:lstStyle/>
              <a:p>
                <a:endParaRPr lang="en-US" dirty="0"/>
              </a:p>
            </p:txBody>
          </p:sp>
          <p:sp>
            <p:nvSpPr>
              <p:cNvPr id="554" name="Freeform: Shape 553">
                <a:extLst>
                  <a:ext uri="{FF2B5EF4-FFF2-40B4-BE49-F238E27FC236}">
                    <a16:creationId xmlns:a16="http://schemas.microsoft.com/office/drawing/2014/main" id="{A53C0CF6-35A1-491D-8BCC-F4FFE0959A76}"/>
                  </a:ext>
                </a:extLst>
              </p:cNvPr>
              <p:cNvSpPr/>
              <p:nvPr/>
            </p:nvSpPr>
            <p:spPr>
              <a:xfrm>
                <a:off x="3948707" y="1295995"/>
                <a:ext cx="1448038" cy="1448038"/>
              </a:xfrm>
              <a:custGeom>
                <a:avLst/>
                <a:gdLst>
                  <a:gd name="connsiteX0" fmla="*/ 1421487 w 1448038"/>
                  <a:gd name="connsiteY0" fmla="*/ 4644 h 1448038"/>
                  <a:gd name="connsiteX1" fmla="*/ 4643 w 1448038"/>
                  <a:gd name="connsiteY1" fmla="*/ 1421487 h 1448038"/>
                  <a:gd name="connsiteX2" fmla="*/ 4643 w 1448038"/>
                  <a:gd name="connsiteY2" fmla="*/ 1443395 h 1448038"/>
                  <a:gd name="connsiteX3" fmla="*/ 26551 w 1448038"/>
                  <a:gd name="connsiteY3" fmla="*/ 1443395 h 1448038"/>
                  <a:gd name="connsiteX4" fmla="*/ 1443395 w 1448038"/>
                  <a:gd name="connsiteY4" fmla="*/ 26551 h 1448038"/>
                  <a:gd name="connsiteX5" fmla="*/ 1443395 w 1448038"/>
                  <a:gd name="connsiteY5" fmla="*/ 4644 h 1448038"/>
                  <a:gd name="connsiteX6" fmla="*/ 1421487 w 1448038"/>
                  <a:gd name="connsiteY6" fmla="*/ 4644 h 1448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038" h="1448038">
                    <a:moveTo>
                      <a:pt x="1421487" y="4644"/>
                    </a:moveTo>
                    <a:lnTo>
                      <a:pt x="4643" y="1421487"/>
                    </a:lnTo>
                    <a:cubicBezTo>
                      <a:pt x="-1548" y="1427679"/>
                      <a:pt x="-1548" y="1437204"/>
                      <a:pt x="4643" y="1443395"/>
                    </a:cubicBezTo>
                    <a:cubicBezTo>
                      <a:pt x="10835" y="1449586"/>
                      <a:pt x="20360" y="1449586"/>
                      <a:pt x="26551" y="1443395"/>
                    </a:cubicBezTo>
                    <a:lnTo>
                      <a:pt x="1443395" y="26551"/>
                    </a:lnTo>
                    <a:cubicBezTo>
                      <a:pt x="1449586" y="20360"/>
                      <a:pt x="1449586" y="10835"/>
                      <a:pt x="1443395" y="4644"/>
                    </a:cubicBezTo>
                    <a:cubicBezTo>
                      <a:pt x="1437204" y="-1548"/>
                      <a:pt x="1427203" y="-1548"/>
                      <a:pt x="1421487" y="4644"/>
                    </a:cubicBezTo>
                    <a:close/>
                  </a:path>
                </a:pathLst>
              </a:custGeom>
              <a:grpFill/>
              <a:ln w="4763" cap="flat">
                <a:noFill/>
                <a:prstDash val="solid"/>
                <a:miter/>
              </a:ln>
            </p:spPr>
            <p:txBody>
              <a:bodyPr rtlCol="0" anchor="ctr"/>
              <a:lstStyle/>
              <a:p>
                <a:endParaRPr lang="en-US" dirty="0"/>
              </a:p>
            </p:txBody>
          </p:sp>
          <p:sp>
            <p:nvSpPr>
              <p:cNvPr id="555" name="Freeform: Shape 554">
                <a:extLst>
                  <a:ext uri="{FF2B5EF4-FFF2-40B4-BE49-F238E27FC236}">
                    <a16:creationId xmlns:a16="http://schemas.microsoft.com/office/drawing/2014/main" id="{038D561E-4531-458B-8D61-BC9270B96744}"/>
                  </a:ext>
                </a:extLst>
              </p:cNvPr>
              <p:cNvSpPr/>
              <p:nvPr/>
            </p:nvSpPr>
            <p:spPr>
              <a:xfrm>
                <a:off x="4240649" y="1588351"/>
                <a:ext cx="1277064" cy="1276649"/>
              </a:xfrm>
              <a:custGeom>
                <a:avLst/>
                <a:gdLst>
                  <a:gd name="connsiteX0" fmla="*/ 1250514 w 1277064"/>
                  <a:gd name="connsiteY0" fmla="*/ 4705 h 1276649"/>
                  <a:gd name="connsiteX1" fmla="*/ 4644 w 1277064"/>
                  <a:gd name="connsiteY1" fmla="*/ 1250099 h 1276649"/>
                  <a:gd name="connsiteX2" fmla="*/ 4644 w 1277064"/>
                  <a:gd name="connsiteY2" fmla="*/ 1272006 h 1276649"/>
                  <a:gd name="connsiteX3" fmla="*/ 26551 w 1277064"/>
                  <a:gd name="connsiteY3" fmla="*/ 1272006 h 1276649"/>
                  <a:gd name="connsiteX4" fmla="*/ 1272421 w 1277064"/>
                  <a:gd name="connsiteY4" fmla="*/ 26136 h 1276649"/>
                  <a:gd name="connsiteX5" fmla="*/ 1272421 w 1277064"/>
                  <a:gd name="connsiteY5" fmla="*/ 4228 h 1276649"/>
                  <a:gd name="connsiteX6" fmla="*/ 1250514 w 1277064"/>
                  <a:gd name="connsiteY6" fmla="*/ 4705 h 127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064" h="1276649">
                    <a:moveTo>
                      <a:pt x="1250514" y="4705"/>
                    </a:moveTo>
                    <a:lnTo>
                      <a:pt x="4644" y="1250099"/>
                    </a:lnTo>
                    <a:cubicBezTo>
                      <a:pt x="-1548" y="1256290"/>
                      <a:pt x="-1548" y="1265815"/>
                      <a:pt x="4644" y="1272006"/>
                    </a:cubicBezTo>
                    <a:cubicBezTo>
                      <a:pt x="10835" y="1278197"/>
                      <a:pt x="20360" y="1278197"/>
                      <a:pt x="26551" y="1272006"/>
                    </a:cubicBezTo>
                    <a:lnTo>
                      <a:pt x="1272421" y="26136"/>
                    </a:lnTo>
                    <a:cubicBezTo>
                      <a:pt x="1278612" y="19945"/>
                      <a:pt x="1278612" y="10420"/>
                      <a:pt x="1272421" y="4228"/>
                    </a:cubicBezTo>
                    <a:cubicBezTo>
                      <a:pt x="1266230" y="-1486"/>
                      <a:pt x="1256705" y="-1486"/>
                      <a:pt x="1250514" y="4705"/>
                    </a:cubicBezTo>
                    <a:close/>
                  </a:path>
                </a:pathLst>
              </a:custGeom>
              <a:grpFill/>
              <a:ln w="4763" cap="flat">
                <a:noFill/>
                <a:prstDash val="solid"/>
                <a:miter/>
              </a:ln>
            </p:spPr>
            <p:txBody>
              <a:bodyPr rtlCol="0" anchor="ctr"/>
              <a:lstStyle/>
              <a:p>
                <a:endParaRPr lang="en-US" dirty="0"/>
              </a:p>
            </p:txBody>
          </p:sp>
          <p:sp>
            <p:nvSpPr>
              <p:cNvPr id="556" name="Freeform: Shape 555">
                <a:extLst>
                  <a:ext uri="{FF2B5EF4-FFF2-40B4-BE49-F238E27FC236}">
                    <a16:creationId xmlns:a16="http://schemas.microsoft.com/office/drawing/2014/main" id="{E566C357-9B2B-4FD0-9020-5169B0567496}"/>
                  </a:ext>
                </a:extLst>
              </p:cNvPr>
              <p:cNvSpPr/>
              <p:nvPr/>
            </p:nvSpPr>
            <p:spPr>
              <a:xfrm>
                <a:off x="5116949" y="2464593"/>
                <a:ext cx="213598" cy="213240"/>
              </a:xfrm>
              <a:custGeom>
                <a:avLst/>
                <a:gdLst>
                  <a:gd name="connsiteX0" fmla="*/ 187047 w 213598"/>
                  <a:gd name="connsiteY0" fmla="*/ 4286 h 213240"/>
                  <a:gd name="connsiteX1" fmla="*/ 4644 w 213598"/>
                  <a:gd name="connsiteY1" fmla="*/ 186690 h 213240"/>
                  <a:gd name="connsiteX2" fmla="*/ 4644 w 213598"/>
                  <a:gd name="connsiteY2" fmla="*/ 208597 h 213240"/>
                  <a:gd name="connsiteX3" fmla="*/ 26551 w 213598"/>
                  <a:gd name="connsiteY3" fmla="*/ 208597 h 213240"/>
                  <a:gd name="connsiteX4" fmla="*/ 208955 w 213598"/>
                  <a:gd name="connsiteY4" fmla="*/ 26194 h 213240"/>
                  <a:gd name="connsiteX5" fmla="*/ 208955 w 213598"/>
                  <a:gd name="connsiteY5" fmla="*/ 4286 h 213240"/>
                  <a:gd name="connsiteX6" fmla="*/ 187047 w 213598"/>
                  <a:gd name="connsiteY6" fmla="*/ 4286 h 21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98" h="213240">
                    <a:moveTo>
                      <a:pt x="187047" y="4286"/>
                    </a:moveTo>
                    <a:lnTo>
                      <a:pt x="4644" y="186690"/>
                    </a:lnTo>
                    <a:cubicBezTo>
                      <a:pt x="-1548" y="192881"/>
                      <a:pt x="-1548" y="202406"/>
                      <a:pt x="4644" y="208597"/>
                    </a:cubicBezTo>
                    <a:cubicBezTo>
                      <a:pt x="10835" y="214789"/>
                      <a:pt x="20360" y="214789"/>
                      <a:pt x="26551" y="208597"/>
                    </a:cubicBezTo>
                    <a:lnTo>
                      <a:pt x="208955" y="26194"/>
                    </a:lnTo>
                    <a:cubicBezTo>
                      <a:pt x="215146" y="20002"/>
                      <a:pt x="215146" y="10477"/>
                      <a:pt x="208955" y="4286"/>
                    </a:cubicBezTo>
                    <a:cubicBezTo>
                      <a:pt x="202764" y="-1429"/>
                      <a:pt x="192762" y="-1429"/>
                      <a:pt x="187047" y="4286"/>
                    </a:cubicBezTo>
                    <a:close/>
                  </a:path>
                </a:pathLst>
              </a:custGeom>
              <a:grpFill/>
              <a:ln w="4763" cap="flat">
                <a:noFill/>
                <a:prstDash val="solid"/>
                <a:miter/>
              </a:ln>
            </p:spPr>
            <p:txBody>
              <a:bodyPr rtlCol="0" anchor="ctr"/>
              <a:lstStyle/>
              <a:p>
                <a:endParaRPr lang="en-US" dirty="0"/>
              </a:p>
            </p:txBody>
          </p:sp>
          <p:sp>
            <p:nvSpPr>
              <p:cNvPr id="557" name="Freeform: Shape 556">
                <a:extLst>
                  <a:ext uri="{FF2B5EF4-FFF2-40B4-BE49-F238E27FC236}">
                    <a16:creationId xmlns:a16="http://schemas.microsoft.com/office/drawing/2014/main" id="{2CF04C55-0BDF-4C57-B78D-57F517767D28}"/>
                  </a:ext>
                </a:extLst>
              </p:cNvPr>
              <p:cNvSpPr/>
              <p:nvPr/>
            </p:nvSpPr>
            <p:spPr>
              <a:xfrm>
                <a:off x="4817387" y="2165508"/>
                <a:ext cx="674131" cy="673774"/>
              </a:xfrm>
              <a:custGeom>
                <a:avLst/>
                <a:gdLst>
                  <a:gd name="connsiteX0" fmla="*/ 647581 w 674131"/>
                  <a:gd name="connsiteY0" fmla="*/ 4286 h 673774"/>
                  <a:gd name="connsiteX1" fmla="*/ 4643 w 674131"/>
                  <a:gd name="connsiteY1" fmla="*/ 647224 h 673774"/>
                  <a:gd name="connsiteX2" fmla="*/ 4643 w 674131"/>
                  <a:gd name="connsiteY2" fmla="*/ 669131 h 673774"/>
                  <a:gd name="connsiteX3" fmla="*/ 26551 w 674131"/>
                  <a:gd name="connsiteY3" fmla="*/ 669131 h 673774"/>
                  <a:gd name="connsiteX4" fmla="*/ 669488 w 674131"/>
                  <a:gd name="connsiteY4" fmla="*/ 26194 h 673774"/>
                  <a:gd name="connsiteX5" fmla="*/ 669488 w 674131"/>
                  <a:gd name="connsiteY5" fmla="*/ 4286 h 673774"/>
                  <a:gd name="connsiteX6" fmla="*/ 647581 w 674131"/>
                  <a:gd name="connsiteY6" fmla="*/ 4286 h 67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31" h="673774">
                    <a:moveTo>
                      <a:pt x="647581" y="4286"/>
                    </a:moveTo>
                    <a:lnTo>
                      <a:pt x="4643" y="647224"/>
                    </a:lnTo>
                    <a:cubicBezTo>
                      <a:pt x="-1548" y="653415"/>
                      <a:pt x="-1548" y="662940"/>
                      <a:pt x="4643" y="669131"/>
                    </a:cubicBezTo>
                    <a:cubicBezTo>
                      <a:pt x="10835" y="675323"/>
                      <a:pt x="20360" y="675323"/>
                      <a:pt x="26551" y="669131"/>
                    </a:cubicBezTo>
                    <a:lnTo>
                      <a:pt x="669488" y="26194"/>
                    </a:lnTo>
                    <a:cubicBezTo>
                      <a:pt x="675680" y="20002"/>
                      <a:pt x="675680" y="10477"/>
                      <a:pt x="669488" y="4286"/>
                    </a:cubicBezTo>
                    <a:cubicBezTo>
                      <a:pt x="663774" y="-1429"/>
                      <a:pt x="653772" y="-1429"/>
                      <a:pt x="647581" y="4286"/>
                    </a:cubicBezTo>
                    <a:close/>
                  </a:path>
                </a:pathLst>
              </a:custGeom>
              <a:grpFill/>
              <a:ln w="4763" cap="flat">
                <a:noFill/>
                <a:prstDash val="solid"/>
                <a:miter/>
              </a:ln>
            </p:spPr>
            <p:txBody>
              <a:bodyPr rtlCol="0" anchor="ctr"/>
              <a:lstStyle/>
              <a:p>
                <a:endParaRPr lang="en-US" dirty="0"/>
              </a:p>
            </p:txBody>
          </p:sp>
          <p:sp>
            <p:nvSpPr>
              <p:cNvPr id="558" name="Freeform: Shape 557">
                <a:extLst>
                  <a:ext uri="{FF2B5EF4-FFF2-40B4-BE49-F238E27FC236}">
                    <a16:creationId xmlns:a16="http://schemas.microsoft.com/office/drawing/2014/main" id="{F7DDD0FA-4C86-4E6E-9A90-0C17C4429F39}"/>
                  </a:ext>
                </a:extLst>
              </p:cNvPr>
              <p:cNvSpPr/>
              <p:nvPr/>
            </p:nvSpPr>
            <p:spPr>
              <a:xfrm>
                <a:off x="4357330" y="1704975"/>
                <a:ext cx="1181338" cy="1181457"/>
              </a:xfrm>
              <a:custGeom>
                <a:avLst/>
                <a:gdLst>
                  <a:gd name="connsiteX0" fmla="*/ 1155264 w 1181338"/>
                  <a:gd name="connsiteY0" fmla="*/ 4286 h 1181457"/>
                  <a:gd name="connsiteX1" fmla="*/ 4644 w 1181338"/>
                  <a:gd name="connsiteY1" fmla="*/ 1154906 h 1181457"/>
                  <a:gd name="connsiteX2" fmla="*/ 4644 w 1181338"/>
                  <a:gd name="connsiteY2" fmla="*/ 1176814 h 1181457"/>
                  <a:gd name="connsiteX3" fmla="*/ 26551 w 1181338"/>
                  <a:gd name="connsiteY3" fmla="*/ 1176814 h 1181457"/>
                  <a:gd name="connsiteX4" fmla="*/ 1176695 w 1181338"/>
                  <a:gd name="connsiteY4" fmla="*/ 26194 h 1181457"/>
                  <a:gd name="connsiteX5" fmla="*/ 1176695 w 1181338"/>
                  <a:gd name="connsiteY5" fmla="*/ 4286 h 1181457"/>
                  <a:gd name="connsiteX6" fmla="*/ 1155264 w 1181338"/>
                  <a:gd name="connsiteY6" fmla="*/ 4286 h 118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338" h="1181457">
                    <a:moveTo>
                      <a:pt x="1155264" y="4286"/>
                    </a:moveTo>
                    <a:lnTo>
                      <a:pt x="4644" y="1154906"/>
                    </a:lnTo>
                    <a:cubicBezTo>
                      <a:pt x="-1548" y="1161097"/>
                      <a:pt x="-1548" y="1170622"/>
                      <a:pt x="4644" y="1176814"/>
                    </a:cubicBezTo>
                    <a:cubicBezTo>
                      <a:pt x="10835" y="1183005"/>
                      <a:pt x="20360" y="1183005"/>
                      <a:pt x="26551" y="1176814"/>
                    </a:cubicBezTo>
                    <a:lnTo>
                      <a:pt x="1176695" y="26194"/>
                    </a:lnTo>
                    <a:cubicBezTo>
                      <a:pt x="1182886" y="20003"/>
                      <a:pt x="1182886" y="10478"/>
                      <a:pt x="1176695" y="4286"/>
                    </a:cubicBezTo>
                    <a:cubicBezTo>
                      <a:pt x="1170980" y="-1429"/>
                      <a:pt x="1160978" y="-1429"/>
                      <a:pt x="1155264" y="4286"/>
                    </a:cubicBezTo>
                    <a:close/>
                  </a:path>
                </a:pathLst>
              </a:custGeom>
              <a:grpFill/>
              <a:ln w="4763" cap="flat">
                <a:noFill/>
                <a:prstDash val="solid"/>
                <a:miter/>
              </a:ln>
            </p:spPr>
            <p:txBody>
              <a:bodyPr rtlCol="0" anchor="ctr"/>
              <a:lstStyle/>
              <a:p>
                <a:endParaRPr lang="en-US" dirty="0"/>
              </a:p>
            </p:txBody>
          </p:sp>
          <p:sp>
            <p:nvSpPr>
              <p:cNvPr id="559" name="Freeform: Shape 558">
                <a:extLst>
                  <a:ext uri="{FF2B5EF4-FFF2-40B4-BE49-F238E27FC236}">
                    <a16:creationId xmlns:a16="http://schemas.microsoft.com/office/drawing/2014/main" id="{D21A0BCD-DAB0-4E99-AE65-2DBD7E01E95D}"/>
                  </a:ext>
                </a:extLst>
              </p:cNvPr>
              <p:cNvSpPr/>
              <p:nvPr/>
            </p:nvSpPr>
            <p:spPr>
              <a:xfrm>
                <a:off x="4635936" y="1983639"/>
                <a:ext cx="899874" cy="899459"/>
              </a:xfrm>
              <a:custGeom>
                <a:avLst/>
                <a:gdLst>
                  <a:gd name="connsiteX0" fmla="*/ 873324 w 899874"/>
                  <a:gd name="connsiteY0" fmla="*/ 4705 h 899459"/>
                  <a:gd name="connsiteX1" fmla="*/ 4644 w 899874"/>
                  <a:gd name="connsiteY1" fmla="*/ 872908 h 899459"/>
                  <a:gd name="connsiteX2" fmla="*/ 4644 w 899874"/>
                  <a:gd name="connsiteY2" fmla="*/ 894816 h 899459"/>
                  <a:gd name="connsiteX3" fmla="*/ 26551 w 899874"/>
                  <a:gd name="connsiteY3" fmla="*/ 894816 h 899459"/>
                  <a:gd name="connsiteX4" fmla="*/ 895231 w 899874"/>
                  <a:gd name="connsiteY4" fmla="*/ 26136 h 899459"/>
                  <a:gd name="connsiteX5" fmla="*/ 895231 w 899874"/>
                  <a:gd name="connsiteY5" fmla="*/ 4228 h 899459"/>
                  <a:gd name="connsiteX6" fmla="*/ 873324 w 899874"/>
                  <a:gd name="connsiteY6" fmla="*/ 4705 h 899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874" h="899459">
                    <a:moveTo>
                      <a:pt x="873324" y="4705"/>
                    </a:moveTo>
                    <a:lnTo>
                      <a:pt x="4644" y="872908"/>
                    </a:lnTo>
                    <a:cubicBezTo>
                      <a:pt x="-1548" y="879100"/>
                      <a:pt x="-1548" y="888625"/>
                      <a:pt x="4644" y="894816"/>
                    </a:cubicBezTo>
                    <a:cubicBezTo>
                      <a:pt x="10835" y="901007"/>
                      <a:pt x="20360" y="901007"/>
                      <a:pt x="26551" y="894816"/>
                    </a:cubicBezTo>
                    <a:lnTo>
                      <a:pt x="895231" y="26136"/>
                    </a:lnTo>
                    <a:cubicBezTo>
                      <a:pt x="901422" y="19945"/>
                      <a:pt x="901422" y="10420"/>
                      <a:pt x="895231" y="4228"/>
                    </a:cubicBezTo>
                    <a:cubicBezTo>
                      <a:pt x="889040" y="-1486"/>
                      <a:pt x="879039" y="-1486"/>
                      <a:pt x="873324" y="4705"/>
                    </a:cubicBezTo>
                    <a:close/>
                  </a:path>
                </a:pathLst>
              </a:custGeom>
              <a:grpFill/>
              <a:ln w="4763" cap="flat">
                <a:noFill/>
                <a:prstDash val="solid"/>
                <a:miter/>
              </a:ln>
            </p:spPr>
            <p:txBody>
              <a:bodyPr rtlCol="0" anchor="ctr"/>
              <a:lstStyle/>
              <a:p>
                <a:endParaRPr lang="en-US" dirty="0"/>
              </a:p>
            </p:txBody>
          </p:sp>
          <p:sp>
            <p:nvSpPr>
              <p:cNvPr id="560" name="Freeform: Shape 559">
                <a:extLst>
                  <a:ext uri="{FF2B5EF4-FFF2-40B4-BE49-F238E27FC236}">
                    <a16:creationId xmlns:a16="http://schemas.microsoft.com/office/drawing/2014/main" id="{5B84413F-9913-4873-B76A-E6CA716FB56D}"/>
                  </a:ext>
                </a:extLst>
              </p:cNvPr>
              <p:cNvSpPr/>
              <p:nvPr/>
            </p:nvSpPr>
            <p:spPr>
              <a:xfrm>
                <a:off x="4486870" y="1834634"/>
                <a:ext cx="1059894" cy="1059894"/>
              </a:xfrm>
              <a:custGeom>
                <a:avLst/>
                <a:gdLst>
                  <a:gd name="connsiteX0" fmla="*/ 1033343 w 1059894"/>
                  <a:gd name="connsiteY0" fmla="*/ 4644 h 1059894"/>
                  <a:gd name="connsiteX1" fmla="*/ 4643 w 1059894"/>
                  <a:gd name="connsiteY1" fmla="*/ 1033344 h 1059894"/>
                  <a:gd name="connsiteX2" fmla="*/ 4643 w 1059894"/>
                  <a:gd name="connsiteY2" fmla="*/ 1055251 h 1059894"/>
                  <a:gd name="connsiteX3" fmla="*/ 26551 w 1059894"/>
                  <a:gd name="connsiteY3" fmla="*/ 1055251 h 1059894"/>
                  <a:gd name="connsiteX4" fmla="*/ 1055251 w 1059894"/>
                  <a:gd name="connsiteY4" fmla="*/ 26551 h 1059894"/>
                  <a:gd name="connsiteX5" fmla="*/ 1055251 w 1059894"/>
                  <a:gd name="connsiteY5" fmla="*/ 4644 h 1059894"/>
                  <a:gd name="connsiteX6" fmla="*/ 1033343 w 1059894"/>
                  <a:gd name="connsiteY6" fmla="*/ 4644 h 105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894" h="1059894">
                    <a:moveTo>
                      <a:pt x="1033343" y="4644"/>
                    </a:moveTo>
                    <a:lnTo>
                      <a:pt x="4643" y="1033344"/>
                    </a:lnTo>
                    <a:cubicBezTo>
                      <a:pt x="-1548" y="1039535"/>
                      <a:pt x="-1548" y="1049060"/>
                      <a:pt x="4643" y="1055251"/>
                    </a:cubicBezTo>
                    <a:cubicBezTo>
                      <a:pt x="10835" y="1061442"/>
                      <a:pt x="20360" y="1061442"/>
                      <a:pt x="26551" y="1055251"/>
                    </a:cubicBezTo>
                    <a:lnTo>
                      <a:pt x="1055251" y="26551"/>
                    </a:lnTo>
                    <a:cubicBezTo>
                      <a:pt x="1061442" y="20360"/>
                      <a:pt x="1061442" y="10835"/>
                      <a:pt x="1055251" y="4644"/>
                    </a:cubicBezTo>
                    <a:cubicBezTo>
                      <a:pt x="1049060" y="-1548"/>
                      <a:pt x="1039535" y="-1548"/>
                      <a:pt x="1033343" y="4644"/>
                    </a:cubicBezTo>
                    <a:close/>
                  </a:path>
                </a:pathLst>
              </a:custGeom>
              <a:grpFill/>
              <a:ln w="4763" cap="flat">
                <a:noFill/>
                <a:prstDash val="solid"/>
                <a:miter/>
              </a:ln>
            </p:spPr>
            <p:txBody>
              <a:bodyPr rtlCol="0" anchor="ctr"/>
              <a:lstStyle/>
              <a:p>
                <a:endParaRPr lang="en-US" dirty="0"/>
              </a:p>
            </p:txBody>
          </p:sp>
          <p:sp>
            <p:nvSpPr>
              <p:cNvPr id="561" name="Freeform: Shape 560">
                <a:extLst>
                  <a:ext uri="{FF2B5EF4-FFF2-40B4-BE49-F238E27FC236}">
                    <a16:creationId xmlns:a16="http://schemas.microsoft.com/office/drawing/2014/main" id="{F9770E68-737E-4BFF-8698-D36CEE1953D9}"/>
                  </a:ext>
                </a:extLst>
              </p:cNvPr>
              <p:cNvSpPr/>
              <p:nvPr/>
            </p:nvSpPr>
            <p:spPr>
              <a:xfrm>
                <a:off x="3866316" y="1214019"/>
                <a:ext cx="1474708" cy="1474293"/>
              </a:xfrm>
              <a:custGeom>
                <a:avLst/>
                <a:gdLst>
                  <a:gd name="connsiteX0" fmla="*/ 1448157 w 1474708"/>
                  <a:gd name="connsiteY0" fmla="*/ 4705 h 1474293"/>
                  <a:gd name="connsiteX1" fmla="*/ 4643 w 1474708"/>
                  <a:gd name="connsiteY1" fmla="*/ 1447742 h 1474293"/>
                  <a:gd name="connsiteX2" fmla="*/ 4643 w 1474708"/>
                  <a:gd name="connsiteY2" fmla="*/ 1469650 h 1474293"/>
                  <a:gd name="connsiteX3" fmla="*/ 26551 w 1474708"/>
                  <a:gd name="connsiteY3" fmla="*/ 1469650 h 1474293"/>
                  <a:gd name="connsiteX4" fmla="*/ 1470065 w 1474708"/>
                  <a:gd name="connsiteY4" fmla="*/ 26136 h 1474293"/>
                  <a:gd name="connsiteX5" fmla="*/ 1470065 w 1474708"/>
                  <a:gd name="connsiteY5" fmla="*/ 4228 h 1474293"/>
                  <a:gd name="connsiteX6" fmla="*/ 1448157 w 1474708"/>
                  <a:gd name="connsiteY6" fmla="*/ 4705 h 147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708" h="1474293">
                    <a:moveTo>
                      <a:pt x="1448157" y="4705"/>
                    </a:moveTo>
                    <a:lnTo>
                      <a:pt x="4643" y="1447742"/>
                    </a:lnTo>
                    <a:cubicBezTo>
                      <a:pt x="-1548" y="1453934"/>
                      <a:pt x="-1548" y="1463459"/>
                      <a:pt x="4643" y="1469650"/>
                    </a:cubicBezTo>
                    <a:cubicBezTo>
                      <a:pt x="10835" y="1475841"/>
                      <a:pt x="20360" y="1475841"/>
                      <a:pt x="26551" y="1469650"/>
                    </a:cubicBezTo>
                    <a:lnTo>
                      <a:pt x="1470065" y="26136"/>
                    </a:lnTo>
                    <a:cubicBezTo>
                      <a:pt x="1476256" y="19945"/>
                      <a:pt x="1476256" y="10420"/>
                      <a:pt x="1470065" y="4228"/>
                    </a:cubicBezTo>
                    <a:cubicBezTo>
                      <a:pt x="1463873" y="-1486"/>
                      <a:pt x="1453872" y="-1486"/>
                      <a:pt x="1448157" y="4705"/>
                    </a:cubicBezTo>
                    <a:close/>
                  </a:path>
                </a:pathLst>
              </a:custGeom>
              <a:grpFill/>
              <a:ln w="4763" cap="flat">
                <a:noFill/>
                <a:prstDash val="solid"/>
                <a:miter/>
              </a:ln>
            </p:spPr>
            <p:txBody>
              <a:bodyPr rtlCol="0" anchor="ctr"/>
              <a:lstStyle/>
              <a:p>
                <a:endParaRPr lang="en-US" dirty="0"/>
              </a:p>
            </p:txBody>
          </p:sp>
          <p:sp>
            <p:nvSpPr>
              <p:cNvPr id="562" name="Freeform: Shape 561">
                <a:extLst>
                  <a:ext uri="{FF2B5EF4-FFF2-40B4-BE49-F238E27FC236}">
                    <a16:creationId xmlns:a16="http://schemas.microsoft.com/office/drawing/2014/main" id="{CD456446-9C67-4396-8559-152A536F67DF}"/>
                  </a:ext>
                </a:extLst>
              </p:cNvPr>
              <p:cNvSpPr/>
              <p:nvPr/>
            </p:nvSpPr>
            <p:spPr>
              <a:xfrm>
                <a:off x="3791069" y="1138771"/>
                <a:ext cx="1487566" cy="1487152"/>
              </a:xfrm>
              <a:custGeom>
                <a:avLst/>
                <a:gdLst>
                  <a:gd name="connsiteX0" fmla="*/ 1461016 w 1487566"/>
                  <a:gd name="connsiteY0" fmla="*/ 4705 h 1487152"/>
                  <a:gd name="connsiteX1" fmla="*/ 4643 w 1487566"/>
                  <a:gd name="connsiteY1" fmla="*/ 1460601 h 1487152"/>
                  <a:gd name="connsiteX2" fmla="*/ 4643 w 1487566"/>
                  <a:gd name="connsiteY2" fmla="*/ 1482509 h 1487152"/>
                  <a:gd name="connsiteX3" fmla="*/ 26551 w 1487566"/>
                  <a:gd name="connsiteY3" fmla="*/ 1482509 h 1487152"/>
                  <a:gd name="connsiteX4" fmla="*/ 1482924 w 1487566"/>
                  <a:gd name="connsiteY4" fmla="*/ 26136 h 1487152"/>
                  <a:gd name="connsiteX5" fmla="*/ 1482924 w 1487566"/>
                  <a:gd name="connsiteY5" fmla="*/ 4228 h 1487152"/>
                  <a:gd name="connsiteX6" fmla="*/ 1461016 w 1487566"/>
                  <a:gd name="connsiteY6" fmla="*/ 4705 h 148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566" h="1487152">
                    <a:moveTo>
                      <a:pt x="1461016" y="4705"/>
                    </a:moveTo>
                    <a:lnTo>
                      <a:pt x="4643" y="1460601"/>
                    </a:lnTo>
                    <a:cubicBezTo>
                      <a:pt x="-1548" y="1466792"/>
                      <a:pt x="-1548" y="1476317"/>
                      <a:pt x="4643" y="1482509"/>
                    </a:cubicBezTo>
                    <a:cubicBezTo>
                      <a:pt x="10835" y="1488700"/>
                      <a:pt x="20360" y="1488700"/>
                      <a:pt x="26551" y="1482509"/>
                    </a:cubicBezTo>
                    <a:lnTo>
                      <a:pt x="1482924" y="26136"/>
                    </a:lnTo>
                    <a:cubicBezTo>
                      <a:pt x="1489114" y="19945"/>
                      <a:pt x="1489114" y="10420"/>
                      <a:pt x="1482924" y="4228"/>
                    </a:cubicBezTo>
                    <a:cubicBezTo>
                      <a:pt x="1476732" y="-1486"/>
                      <a:pt x="1466731" y="-1486"/>
                      <a:pt x="1461016" y="4705"/>
                    </a:cubicBezTo>
                    <a:close/>
                  </a:path>
                </a:pathLst>
              </a:custGeom>
              <a:grpFill/>
              <a:ln w="4763" cap="flat">
                <a:noFill/>
                <a:prstDash val="solid"/>
                <a:miter/>
              </a:ln>
            </p:spPr>
            <p:txBody>
              <a:bodyPr rtlCol="0" anchor="ctr"/>
              <a:lstStyle/>
              <a:p>
                <a:endParaRPr lang="en-US" dirty="0"/>
              </a:p>
            </p:txBody>
          </p:sp>
          <p:sp>
            <p:nvSpPr>
              <p:cNvPr id="563" name="Freeform: Shape 562">
                <a:extLst>
                  <a:ext uri="{FF2B5EF4-FFF2-40B4-BE49-F238E27FC236}">
                    <a16:creationId xmlns:a16="http://schemas.microsoft.com/office/drawing/2014/main" id="{4BF87AF9-4FBD-4FFB-A81F-937E87DF3F4E}"/>
                  </a:ext>
                </a:extLst>
              </p:cNvPr>
              <p:cNvSpPr/>
              <p:nvPr/>
            </p:nvSpPr>
            <p:spPr>
              <a:xfrm>
                <a:off x="3508652" y="856416"/>
                <a:ext cx="674131" cy="673955"/>
              </a:xfrm>
              <a:custGeom>
                <a:avLst/>
                <a:gdLst>
                  <a:gd name="connsiteX0" fmla="*/ 26551 w 674131"/>
                  <a:gd name="connsiteY0" fmla="*/ 669488 h 673955"/>
                  <a:gd name="connsiteX1" fmla="*/ 669488 w 674131"/>
                  <a:gd name="connsiteY1" fmla="*/ 26551 h 673955"/>
                  <a:gd name="connsiteX2" fmla="*/ 669488 w 674131"/>
                  <a:gd name="connsiteY2" fmla="*/ 4643 h 673955"/>
                  <a:gd name="connsiteX3" fmla="*/ 647581 w 674131"/>
                  <a:gd name="connsiteY3" fmla="*/ 4643 h 673955"/>
                  <a:gd name="connsiteX4" fmla="*/ 4643 w 674131"/>
                  <a:gd name="connsiteY4" fmla="*/ 647581 h 673955"/>
                  <a:gd name="connsiteX5" fmla="*/ 4643 w 674131"/>
                  <a:gd name="connsiteY5" fmla="*/ 669488 h 673955"/>
                  <a:gd name="connsiteX6" fmla="*/ 26551 w 674131"/>
                  <a:gd name="connsiteY6" fmla="*/ 669488 h 67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31" h="673955">
                    <a:moveTo>
                      <a:pt x="26551" y="669488"/>
                    </a:moveTo>
                    <a:lnTo>
                      <a:pt x="669488" y="26551"/>
                    </a:lnTo>
                    <a:cubicBezTo>
                      <a:pt x="675680" y="20360"/>
                      <a:pt x="675680" y="10835"/>
                      <a:pt x="669488" y="4643"/>
                    </a:cubicBezTo>
                    <a:cubicBezTo>
                      <a:pt x="663297" y="-1548"/>
                      <a:pt x="653772" y="-1548"/>
                      <a:pt x="647581" y="4643"/>
                    </a:cubicBezTo>
                    <a:lnTo>
                      <a:pt x="4643" y="647581"/>
                    </a:lnTo>
                    <a:cubicBezTo>
                      <a:pt x="-1548" y="653772"/>
                      <a:pt x="-1548" y="663297"/>
                      <a:pt x="4643" y="669488"/>
                    </a:cubicBezTo>
                    <a:cubicBezTo>
                      <a:pt x="10835" y="675680"/>
                      <a:pt x="20836" y="675203"/>
                      <a:pt x="26551" y="669488"/>
                    </a:cubicBezTo>
                    <a:close/>
                  </a:path>
                </a:pathLst>
              </a:custGeom>
              <a:grpFill/>
              <a:ln w="4763" cap="flat">
                <a:noFill/>
                <a:prstDash val="solid"/>
                <a:miter/>
              </a:ln>
            </p:spPr>
            <p:txBody>
              <a:bodyPr rtlCol="0" anchor="ctr"/>
              <a:lstStyle/>
              <a:p>
                <a:endParaRPr lang="en-US" dirty="0"/>
              </a:p>
            </p:txBody>
          </p:sp>
          <p:sp>
            <p:nvSpPr>
              <p:cNvPr id="564" name="Freeform: Shape 563">
                <a:extLst>
                  <a:ext uri="{FF2B5EF4-FFF2-40B4-BE49-F238E27FC236}">
                    <a16:creationId xmlns:a16="http://schemas.microsoft.com/office/drawing/2014/main" id="{A44D11AC-E37D-4E1A-A26F-99C50ABE33D0}"/>
                  </a:ext>
                </a:extLst>
              </p:cNvPr>
              <p:cNvSpPr/>
              <p:nvPr/>
            </p:nvSpPr>
            <p:spPr>
              <a:xfrm>
                <a:off x="3670101" y="1017865"/>
                <a:ext cx="213598" cy="213421"/>
              </a:xfrm>
              <a:custGeom>
                <a:avLst/>
                <a:gdLst>
                  <a:gd name="connsiteX0" fmla="*/ 26551 w 213598"/>
                  <a:gd name="connsiteY0" fmla="*/ 208955 h 213421"/>
                  <a:gd name="connsiteX1" fmla="*/ 208955 w 213598"/>
                  <a:gd name="connsiteY1" fmla="*/ 26551 h 213421"/>
                  <a:gd name="connsiteX2" fmla="*/ 208955 w 213598"/>
                  <a:gd name="connsiteY2" fmla="*/ 4643 h 213421"/>
                  <a:gd name="connsiteX3" fmla="*/ 187047 w 213598"/>
                  <a:gd name="connsiteY3" fmla="*/ 4643 h 213421"/>
                  <a:gd name="connsiteX4" fmla="*/ 4643 w 213598"/>
                  <a:gd name="connsiteY4" fmla="*/ 187047 h 213421"/>
                  <a:gd name="connsiteX5" fmla="*/ 4643 w 213598"/>
                  <a:gd name="connsiteY5" fmla="*/ 208955 h 213421"/>
                  <a:gd name="connsiteX6" fmla="*/ 26551 w 213598"/>
                  <a:gd name="connsiteY6" fmla="*/ 208955 h 21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98" h="213421">
                    <a:moveTo>
                      <a:pt x="26551" y="208955"/>
                    </a:moveTo>
                    <a:lnTo>
                      <a:pt x="208955" y="26551"/>
                    </a:lnTo>
                    <a:cubicBezTo>
                      <a:pt x="215146" y="20360"/>
                      <a:pt x="215146" y="10835"/>
                      <a:pt x="208955" y="4643"/>
                    </a:cubicBezTo>
                    <a:cubicBezTo>
                      <a:pt x="202764" y="-1548"/>
                      <a:pt x="193239" y="-1548"/>
                      <a:pt x="187047" y="4643"/>
                    </a:cubicBezTo>
                    <a:lnTo>
                      <a:pt x="4643" y="187047"/>
                    </a:lnTo>
                    <a:cubicBezTo>
                      <a:pt x="-1548" y="193238"/>
                      <a:pt x="-1548" y="202763"/>
                      <a:pt x="4643" y="208955"/>
                    </a:cubicBezTo>
                    <a:cubicBezTo>
                      <a:pt x="10835" y="215146"/>
                      <a:pt x="20360" y="214670"/>
                      <a:pt x="26551" y="208955"/>
                    </a:cubicBezTo>
                    <a:close/>
                  </a:path>
                </a:pathLst>
              </a:custGeom>
              <a:grpFill/>
              <a:ln w="4763" cap="flat">
                <a:noFill/>
                <a:prstDash val="solid"/>
                <a:miter/>
              </a:ln>
            </p:spPr>
            <p:txBody>
              <a:bodyPr rtlCol="0" anchor="ctr"/>
              <a:lstStyle/>
              <a:p>
                <a:endParaRPr lang="en-US" dirty="0"/>
              </a:p>
            </p:txBody>
          </p:sp>
          <p:sp>
            <p:nvSpPr>
              <p:cNvPr id="565" name="Freeform: Shape 564">
                <a:extLst>
                  <a:ext uri="{FF2B5EF4-FFF2-40B4-BE49-F238E27FC236}">
                    <a16:creationId xmlns:a16="http://schemas.microsoft.com/office/drawing/2014/main" id="{488EE590-3421-4D4E-9BF6-0D5AFEF24154}"/>
                  </a:ext>
                </a:extLst>
              </p:cNvPr>
              <p:cNvSpPr/>
              <p:nvPr/>
            </p:nvSpPr>
            <p:spPr>
              <a:xfrm>
                <a:off x="3461504" y="809267"/>
                <a:ext cx="1181814" cy="1181399"/>
              </a:xfrm>
              <a:custGeom>
                <a:avLst/>
                <a:gdLst>
                  <a:gd name="connsiteX0" fmla="*/ 26551 w 1181814"/>
                  <a:gd name="connsiteY0" fmla="*/ 1176695 h 1181399"/>
                  <a:gd name="connsiteX1" fmla="*/ 1177171 w 1181814"/>
                  <a:gd name="connsiteY1" fmla="*/ 26551 h 1181399"/>
                  <a:gd name="connsiteX2" fmla="*/ 1177171 w 1181814"/>
                  <a:gd name="connsiteY2" fmla="*/ 4643 h 1181399"/>
                  <a:gd name="connsiteX3" fmla="*/ 1155264 w 1181814"/>
                  <a:gd name="connsiteY3" fmla="*/ 4643 h 1181399"/>
                  <a:gd name="connsiteX4" fmla="*/ 4643 w 1181814"/>
                  <a:gd name="connsiteY4" fmla="*/ 1155263 h 1181399"/>
                  <a:gd name="connsiteX5" fmla="*/ 4643 w 1181814"/>
                  <a:gd name="connsiteY5" fmla="*/ 1177171 h 1181399"/>
                  <a:gd name="connsiteX6" fmla="*/ 26551 w 1181814"/>
                  <a:gd name="connsiteY6" fmla="*/ 1176695 h 118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814" h="1181399">
                    <a:moveTo>
                      <a:pt x="26551" y="1176695"/>
                    </a:moveTo>
                    <a:lnTo>
                      <a:pt x="1177171" y="26551"/>
                    </a:lnTo>
                    <a:cubicBezTo>
                      <a:pt x="1183362" y="20360"/>
                      <a:pt x="1183362" y="10835"/>
                      <a:pt x="1177171" y="4643"/>
                    </a:cubicBezTo>
                    <a:cubicBezTo>
                      <a:pt x="1170980" y="-1548"/>
                      <a:pt x="1161455" y="-1548"/>
                      <a:pt x="1155264" y="4643"/>
                    </a:cubicBezTo>
                    <a:lnTo>
                      <a:pt x="4643" y="1155263"/>
                    </a:lnTo>
                    <a:cubicBezTo>
                      <a:pt x="-1548" y="1161455"/>
                      <a:pt x="-1548" y="1170980"/>
                      <a:pt x="4643" y="1177171"/>
                    </a:cubicBezTo>
                    <a:cubicBezTo>
                      <a:pt x="10835" y="1182886"/>
                      <a:pt x="20836" y="1182886"/>
                      <a:pt x="26551" y="1176695"/>
                    </a:cubicBezTo>
                    <a:close/>
                  </a:path>
                </a:pathLst>
              </a:custGeom>
              <a:grpFill/>
              <a:ln w="4763" cap="flat">
                <a:noFill/>
                <a:prstDash val="solid"/>
                <a:miter/>
              </a:ln>
            </p:spPr>
            <p:txBody>
              <a:bodyPr rtlCol="0" anchor="ctr"/>
              <a:lstStyle/>
              <a:p>
                <a:endParaRPr lang="en-US" dirty="0"/>
              </a:p>
            </p:txBody>
          </p:sp>
          <p:sp>
            <p:nvSpPr>
              <p:cNvPr id="566" name="Freeform: Shape 565">
                <a:extLst>
                  <a:ext uri="{FF2B5EF4-FFF2-40B4-BE49-F238E27FC236}">
                    <a16:creationId xmlns:a16="http://schemas.microsoft.com/office/drawing/2014/main" id="{BCB431AF-C1A9-4CE4-8F79-713C240AD47B}"/>
                  </a:ext>
                </a:extLst>
              </p:cNvPr>
              <p:cNvSpPr/>
              <p:nvPr/>
            </p:nvSpPr>
            <p:spPr>
              <a:xfrm>
                <a:off x="3453884" y="801171"/>
                <a:ext cx="1059894" cy="1059717"/>
              </a:xfrm>
              <a:custGeom>
                <a:avLst/>
                <a:gdLst>
                  <a:gd name="connsiteX0" fmla="*/ 26551 w 1059894"/>
                  <a:gd name="connsiteY0" fmla="*/ 1055251 h 1059717"/>
                  <a:gd name="connsiteX1" fmla="*/ 1055251 w 1059894"/>
                  <a:gd name="connsiteY1" fmla="*/ 26551 h 1059717"/>
                  <a:gd name="connsiteX2" fmla="*/ 1055251 w 1059894"/>
                  <a:gd name="connsiteY2" fmla="*/ 4643 h 1059717"/>
                  <a:gd name="connsiteX3" fmla="*/ 1033343 w 1059894"/>
                  <a:gd name="connsiteY3" fmla="*/ 4643 h 1059717"/>
                  <a:gd name="connsiteX4" fmla="*/ 4643 w 1059894"/>
                  <a:gd name="connsiteY4" fmla="*/ 1033344 h 1059717"/>
                  <a:gd name="connsiteX5" fmla="*/ 4643 w 1059894"/>
                  <a:gd name="connsiteY5" fmla="*/ 1055251 h 1059717"/>
                  <a:gd name="connsiteX6" fmla="*/ 26551 w 1059894"/>
                  <a:gd name="connsiteY6" fmla="*/ 1055251 h 105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894" h="1059717">
                    <a:moveTo>
                      <a:pt x="26551" y="1055251"/>
                    </a:moveTo>
                    <a:lnTo>
                      <a:pt x="1055251" y="26551"/>
                    </a:lnTo>
                    <a:cubicBezTo>
                      <a:pt x="1061442" y="20360"/>
                      <a:pt x="1061442" y="10835"/>
                      <a:pt x="1055251" y="4643"/>
                    </a:cubicBezTo>
                    <a:cubicBezTo>
                      <a:pt x="1049060" y="-1548"/>
                      <a:pt x="1039535" y="-1548"/>
                      <a:pt x="1033343" y="4643"/>
                    </a:cubicBezTo>
                    <a:lnTo>
                      <a:pt x="4643" y="1033344"/>
                    </a:lnTo>
                    <a:cubicBezTo>
                      <a:pt x="-1548" y="1039535"/>
                      <a:pt x="-1548" y="1049060"/>
                      <a:pt x="4643" y="1055251"/>
                    </a:cubicBezTo>
                    <a:cubicBezTo>
                      <a:pt x="10835" y="1061442"/>
                      <a:pt x="20360" y="1060966"/>
                      <a:pt x="26551" y="1055251"/>
                    </a:cubicBezTo>
                    <a:close/>
                  </a:path>
                </a:pathLst>
              </a:custGeom>
              <a:grpFill/>
              <a:ln w="4763" cap="flat">
                <a:noFill/>
                <a:prstDash val="solid"/>
                <a:miter/>
              </a:ln>
            </p:spPr>
            <p:txBody>
              <a:bodyPr rtlCol="0" anchor="ctr"/>
              <a:lstStyle/>
              <a:p>
                <a:endParaRPr lang="en-US" dirty="0"/>
              </a:p>
            </p:txBody>
          </p:sp>
          <p:sp>
            <p:nvSpPr>
              <p:cNvPr id="567" name="Freeform: Shape 566">
                <a:extLst>
                  <a:ext uri="{FF2B5EF4-FFF2-40B4-BE49-F238E27FC236}">
                    <a16:creationId xmlns:a16="http://schemas.microsoft.com/office/drawing/2014/main" id="{147F564D-F298-4453-8AB9-A0DA6A5CBBE5}"/>
                  </a:ext>
                </a:extLst>
              </p:cNvPr>
              <p:cNvSpPr/>
              <p:nvPr/>
            </p:nvSpPr>
            <p:spPr>
              <a:xfrm>
                <a:off x="3464837" y="812125"/>
                <a:ext cx="899874" cy="899874"/>
              </a:xfrm>
              <a:custGeom>
                <a:avLst/>
                <a:gdLst>
                  <a:gd name="connsiteX0" fmla="*/ 26551 w 899874"/>
                  <a:gd name="connsiteY0" fmla="*/ 895231 h 899874"/>
                  <a:gd name="connsiteX1" fmla="*/ 895231 w 899874"/>
                  <a:gd name="connsiteY1" fmla="*/ 26551 h 899874"/>
                  <a:gd name="connsiteX2" fmla="*/ 895231 w 899874"/>
                  <a:gd name="connsiteY2" fmla="*/ 4643 h 899874"/>
                  <a:gd name="connsiteX3" fmla="*/ 873324 w 899874"/>
                  <a:gd name="connsiteY3" fmla="*/ 4643 h 899874"/>
                  <a:gd name="connsiteX4" fmla="*/ 4643 w 899874"/>
                  <a:gd name="connsiteY4" fmla="*/ 873323 h 899874"/>
                  <a:gd name="connsiteX5" fmla="*/ 4643 w 899874"/>
                  <a:gd name="connsiteY5" fmla="*/ 895231 h 899874"/>
                  <a:gd name="connsiteX6" fmla="*/ 26551 w 899874"/>
                  <a:gd name="connsiteY6" fmla="*/ 895231 h 89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874" h="899874">
                    <a:moveTo>
                      <a:pt x="26551" y="895231"/>
                    </a:moveTo>
                    <a:lnTo>
                      <a:pt x="895231" y="26551"/>
                    </a:lnTo>
                    <a:cubicBezTo>
                      <a:pt x="901422" y="20360"/>
                      <a:pt x="901422" y="10835"/>
                      <a:pt x="895231" y="4643"/>
                    </a:cubicBezTo>
                    <a:cubicBezTo>
                      <a:pt x="889040" y="-1548"/>
                      <a:pt x="879515" y="-1548"/>
                      <a:pt x="873324" y="4643"/>
                    </a:cubicBezTo>
                    <a:lnTo>
                      <a:pt x="4643" y="873323"/>
                    </a:lnTo>
                    <a:cubicBezTo>
                      <a:pt x="-1548" y="879515"/>
                      <a:pt x="-1548" y="889040"/>
                      <a:pt x="4643" y="895231"/>
                    </a:cubicBezTo>
                    <a:cubicBezTo>
                      <a:pt x="10835" y="901422"/>
                      <a:pt x="20360" y="901422"/>
                      <a:pt x="26551" y="895231"/>
                    </a:cubicBezTo>
                    <a:close/>
                  </a:path>
                </a:pathLst>
              </a:custGeom>
              <a:grpFill/>
              <a:ln w="4763" cap="flat">
                <a:noFill/>
                <a:prstDash val="solid"/>
                <a:miter/>
              </a:ln>
            </p:spPr>
            <p:txBody>
              <a:bodyPr rtlCol="0" anchor="ctr"/>
              <a:lstStyle/>
              <a:p>
                <a:endParaRPr lang="en-US" dirty="0"/>
              </a:p>
            </p:txBody>
          </p:sp>
          <p:sp>
            <p:nvSpPr>
              <p:cNvPr id="568" name="Freeform: Shape 567">
                <a:extLst>
                  <a:ext uri="{FF2B5EF4-FFF2-40B4-BE49-F238E27FC236}">
                    <a16:creationId xmlns:a16="http://schemas.microsoft.com/office/drawing/2014/main" id="{7289C7A0-99B3-4775-BBE0-082FAA15A551}"/>
                  </a:ext>
                </a:extLst>
              </p:cNvPr>
              <p:cNvSpPr/>
              <p:nvPr/>
            </p:nvSpPr>
            <p:spPr>
              <a:xfrm>
                <a:off x="3482935" y="830222"/>
                <a:ext cx="1277064" cy="1277064"/>
              </a:xfrm>
              <a:custGeom>
                <a:avLst/>
                <a:gdLst>
                  <a:gd name="connsiteX0" fmla="*/ 26551 w 1277064"/>
                  <a:gd name="connsiteY0" fmla="*/ 1272421 h 1277064"/>
                  <a:gd name="connsiteX1" fmla="*/ 1272421 w 1277064"/>
                  <a:gd name="connsiteY1" fmla="*/ 26551 h 1277064"/>
                  <a:gd name="connsiteX2" fmla="*/ 1272421 w 1277064"/>
                  <a:gd name="connsiteY2" fmla="*/ 4643 h 1277064"/>
                  <a:gd name="connsiteX3" fmla="*/ 1250514 w 1277064"/>
                  <a:gd name="connsiteY3" fmla="*/ 4643 h 1277064"/>
                  <a:gd name="connsiteX4" fmla="*/ 4643 w 1277064"/>
                  <a:gd name="connsiteY4" fmla="*/ 1250513 h 1277064"/>
                  <a:gd name="connsiteX5" fmla="*/ 4643 w 1277064"/>
                  <a:gd name="connsiteY5" fmla="*/ 1272421 h 1277064"/>
                  <a:gd name="connsiteX6" fmla="*/ 26551 w 1277064"/>
                  <a:gd name="connsiteY6" fmla="*/ 1272421 h 1277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064" h="1277064">
                    <a:moveTo>
                      <a:pt x="26551" y="1272421"/>
                    </a:moveTo>
                    <a:lnTo>
                      <a:pt x="1272421" y="26551"/>
                    </a:lnTo>
                    <a:cubicBezTo>
                      <a:pt x="1278612" y="20360"/>
                      <a:pt x="1278612" y="10835"/>
                      <a:pt x="1272421" y="4643"/>
                    </a:cubicBezTo>
                    <a:cubicBezTo>
                      <a:pt x="1266230" y="-1548"/>
                      <a:pt x="1256705" y="-1548"/>
                      <a:pt x="1250514" y="4643"/>
                    </a:cubicBezTo>
                    <a:lnTo>
                      <a:pt x="4643" y="1250513"/>
                    </a:lnTo>
                    <a:cubicBezTo>
                      <a:pt x="-1548" y="1256705"/>
                      <a:pt x="-1548" y="1266230"/>
                      <a:pt x="4643" y="1272421"/>
                    </a:cubicBezTo>
                    <a:cubicBezTo>
                      <a:pt x="10835" y="1278612"/>
                      <a:pt x="20360" y="1278612"/>
                      <a:pt x="26551" y="1272421"/>
                    </a:cubicBezTo>
                    <a:close/>
                  </a:path>
                </a:pathLst>
              </a:custGeom>
              <a:grpFill/>
              <a:ln w="4763" cap="flat">
                <a:noFill/>
                <a:prstDash val="solid"/>
                <a:miter/>
              </a:ln>
            </p:spPr>
            <p:txBody>
              <a:bodyPr rtlCol="0" anchor="ctr"/>
              <a:lstStyle/>
              <a:p>
                <a:endParaRPr lang="en-US" dirty="0"/>
              </a:p>
            </p:txBody>
          </p:sp>
          <p:sp>
            <p:nvSpPr>
              <p:cNvPr id="569" name="Freeform: Shape 568">
                <a:extLst>
                  <a:ext uri="{FF2B5EF4-FFF2-40B4-BE49-F238E27FC236}">
                    <a16:creationId xmlns:a16="http://schemas.microsoft.com/office/drawing/2014/main" id="{D086FBA7-EB01-4F73-AA0B-9399A2574444}"/>
                  </a:ext>
                </a:extLst>
              </p:cNvPr>
              <p:cNvSpPr/>
              <p:nvPr/>
            </p:nvSpPr>
            <p:spPr>
              <a:xfrm>
                <a:off x="3722012" y="1069300"/>
                <a:ext cx="1487566" cy="1487811"/>
              </a:xfrm>
              <a:custGeom>
                <a:avLst/>
                <a:gdLst>
                  <a:gd name="connsiteX0" fmla="*/ 26551 w 1487566"/>
                  <a:gd name="connsiteY0" fmla="*/ 1482924 h 1487811"/>
                  <a:gd name="connsiteX1" fmla="*/ 1482924 w 1487566"/>
                  <a:gd name="connsiteY1" fmla="*/ 26551 h 1487811"/>
                  <a:gd name="connsiteX2" fmla="*/ 1482924 w 1487566"/>
                  <a:gd name="connsiteY2" fmla="*/ 4643 h 1487811"/>
                  <a:gd name="connsiteX3" fmla="*/ 1461016 w 1487566"/>
                  <a:gd name="connsiteY3" fmla="*/ 4643 h 1487811"/>
                  <a:gd name="connsiteX4" fmla="*/ 4643 w 1487566"/>
                  <a:gd name="connsiteY4" fmla="*/ 1461492 h 1487811"/>
                  <a:gd name="connsiteX5" fmla="*/ 4643 w 1487566"/>
                  <a:gd name="connsiteY5" fmla="*/ 1483400 h 1487811"/>
                  <a:gd name="connsiteX6" fmla="*/ 26551 w 1487566"/>
                  <a:gd name="connsiteY6" fmla="*/ 1482924 h 1487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566" h="1487811">
                    <a:moveTo>
                      <a:pt x="26551" y="1482924"/>
                    </a:moveTo>
                    <a:lnTo>
                      <a:pt x="1482924" y="26551"/>
                    </a:lnTo>
                    <a:cubicBezTo>
                      <a:pt x="1489114" y="20360"/>
                      <a:pt x="1489114" y="10835"/>
                      <a:pt x="1482924" y="4643"/>
                    </a:cubicBezTo>
                    <a:cubicBezTo>
                      <a:pt x="1476732" y="-1548"/>
                      <a:pt x="1467207" y="-1548"/>
                      <a:pt x="1461016" y="4643"/>
                    </a:cubicBezTo>
                    <a:lnTo>
                      <a:pt x="4643" y="1461492"/>
                    </a:lnTo>
                    <a:cubicBezTo>
                      <a:pt x="-1548" y="1467684"/>
                      <a:pt x="-1548" y="1477209"/>
                      <a:pt x="4643" y="1483400"/>
                    </a:cubicBezTo>
                    <a:cubicBezTo>
                      <a:pt x="10835" y="1489591"/>
                      <a:pt x="20360" y="1489115"/>
                      <a:pt x="26551" y="1482924"/>
                    </a:cubicBezTo>
                    <a:close/>
                  </a:path>
                </a:pathLst>
              </a:custGeom>
              <a:grpFill/>
              <a:ln w="4763" cap="flat">
                <a:noFill/>
                <a:prstDash val="solid"/>
                <a:miter/>
              </a:ln>
            </p:spPr>
            <p:txBody>
              <a:bodyPr rtlCol="0" anchor="ctr"/>
              <a:lstStyle/>
              <a:p>
                <a:endParaRPr lang="en-US" dirty="0"/>
              </a:p>
            </p:txBody>
          </p:sp>
          <p:sp>
            <p:nvSpPr>
              <p:cNvPr id="570" name="Freeform: Shape 569">
                <a:extLst>
                  <a:ext uri="{FF2B5EF4-FFF2-40B4-BE49-F238E27FC236}">
                    <a16:creationId xmlns:a16="http://schemas.microsoft.com/office/drawing/2014/main" id="{AC9B9FCD-CFA2-4C7F-95AB-93DB39523290}"/>
                  </a:ext>
                </a:extLst>
              </p:cNvPr>
              <p:cNvSpPr/>
              <p:nvPr/>
            </p:nvSpPr>
            <p:spPr>
              <a:xfrm>
                <a:off x="3659624" y="1006911"/>
                <a:ext cx="1474708" cy="1474708"/>
              </a:xfrm>
              <a:custGeom>
                <a:avLst/>
                <a:gdLst>
                  <a:gd name="connsiteX0" fmla="*/ 26551 w 1474708"/>
                  <a:gd name="connsiteY0" fmla="*/ 1470065 h 1474708"/>
                  <a:gd name="connsiteX1" fmla="*/ 1470065 w 1474708"/>
                  <a:gd name="connsiteY1" fmla="*/ 26551 h 1474708"/>
                  <a:gd name="connsiteX2" fmla="*/ 1470065 w 1474708"/>
                  <a:gd name="connsiteY2" fmla="*/ 4643 h 1474708"/>
                  <a:gd name="connsiteX3" fmla="*/ 1448157 w 1474708"/>
                  <a:gd name="connsiteY3" fmla="*/ 4643 h 1474708"/>
                  <a:gd name="connsiteX4" fmla="*/ 4644 w 1474708"/>
                  <a:gd name="connsiteY4" fmla="*/ 1448157 h 1474708"/>
                  <a:gd name="connsiteX5" fmla="*/ 4644 w 1474708"/>
                  <a:gd name="connsiteY5" fmla="*/ 1470065 h 1474708"/>
                  <a:gd name="connsiteX6" fmla="*/ 26551 w 1474708"/>
                  <a:gd name="connsiteY6" fmla="*/ 1470065 h 1474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708" h="1474708">
                    <a:moveTo>
                      <a:pt x="26551" y="1470065"/>
                    </a:moveTo>
                    <a:lnTo>
                      <a:pt x="1470065" y="26551"/>
                    </a:lnTo>
                    <a:cubicBezTo>
                      <a:pt x="1476256" y="20360"/>
                      <a:pt x="1476256" y="10835"/>
                      <a:pt x="1470065" y="4643"/>
                    </a:cubicBezTo>
                    <a:cubicBezTo>
                      <a:pt x="1463874" y="-1548"/>
                      <a:pt x="1454349" y="-1548"/>
                      <a:pt x="1448157" y="4643"/>
                    </a:cubicBezTo>
                    <a:lnTo>
                      <a:pt x="4644" y="1448157"/>
                    </a:lnTo>
                    <a:cubicBezTo>
                      <a:pt x="-1548" y="1454348"/>
                      <a:pt x="-1548" y="1463873"/>
                      <a:pt x="4644" y="1470065"/>
                    </a:cubicBezTo>
                    <a:cubicBezTo>
                      <a:pt x="10835" y="1476256"/>
                      <a:pt x="20360" y="1476256"/>
                      <a:pt x="26551" y="1470065"/>
                    </a:cubicBezTo>
                    <a:close/>
                  </a:path>
                </a:pathLst>
              </a:custGeom>
              <a:grpFill/>
              <a:ln w="4763" cap="flat">
                <a:noFill/>
                <a:prstDash val="solid"/>
                <a:miter/>
              </a:ln>
            </p:spPr>
            <p:txBody>
              <a:bodyPr rtlCol="0" anchor="ctr"/>
              <a:lstStyle/>
              <a:p>
                <a:endParaRPr lang="en-US" dirty="0"/>
              </a:p>
            </p:txBody>
          </p:sp>
          <p:sp>
            <p:nvSpPr>
              <p:cNvPr id="571" name="Freeform: Shape 570">
                <a:extLst>
                  <a:ext uri="{FF2B5EF4-FFF2-40B4-BE49-F238E27FC236}">
                    <a16:creationId xmlns:a16="http://schemas.microsoft.com/office/drawing/2014/main" id="{927BEF7A-FEE2-4609-B097-72D83AE64F26}"/>
                  </a:ext>
                </a:extLst>
              </p:cNvPr>
              <p:cNvSpPr/>
              <p:nvPr/>
            </p:nvSpPr>
            <p:spPr>
              <a:xfrm>
                <a:off x="3514844" y="862607"/>
                <a:ext cx="1350883" cy="1350706"/>
              </a:xfrm>
              <a:custGeom>
                <a:avLst/>
                <a:gdLst>
                  <a:gd name="connsiteX0" fmla="*/ 26551 w 1350883"/>
                  <a:gd name="connsiteY0" fmla="*/ 1346240 h 1350706"/>
                  <a:gd name="connsiteX1" fmla="*/ 1346240 w 1350883"/>
                  <a:gd name="connsiteY1" fmla="*/ 26551 h 1350706"/>
                  <a:gd name="connsiteX2" fmla="*/ 1346240 w 1350883"/>
                  <a:gd name="connsiteY2" fmla="*/ 4643 h 1350706"/>
                  <a:gd name="connsiteX3" fmla="*/ 1324332 w 1350883"/>
                  <a:gd name="connsiteY3" fmla="*/ 4643 h 1350706"/>
                  <a:gd name="connsiteX4" fmla="*/ 4643 w 1350883"/>
                  <a:gd name="connsiteY4" fmla="*/ 1324332 h 1350706"/>
                  <a:gd name="connsiteX5" fmla="*/ 4643 w 1350883"/>
                  <a:gd name="connsiteY5" fmla="*/ 1346240 h 1350706"/>
                  <a:gd name="connsiteX6" fmla="*/ 26551 w 1350883"/>
                  <a:gd name="connsiteY6" fmla="*/ 1346240 h 135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83" h="1350706">
                    <a:moveTo>
                      <a:pt x="26551" y="1346240"/>
                    </a:moveTo>
                    <a:lnTo>
                      <a:pt x="1346240" y="26551"/>
                    </a:lnTo>
                    <a:cubicBezTo>
                      <a:pt x="1352431" y="20360"/>
                      <a:pt x="1352431" y="10835"/>
                      <a:pt x="1346240" y="4643"/>
                    </a:cubicBezTo>
                    <a:cubicBezTo>
                      <a:pt x="1340049" y="-1548"/>
                      <a:pt x="1330524" y="-1548"/>
                      <a:pt x="1324332" y="4643"/>
                    </a:cubicBezTo>
                    <a:lnTo>
                      <a:pt x="4643" y="1324332"/>
                    </a:lnTo>
                    <a:cubicBezTo>
                      <a:pt x="-1548" y="1330523"/>
                      <a:pt x="-1548" y="1340048"/>
                      <a:pt x="4643" y="1346240"/>
                    </a:cubicBezTo>
                    <a:cubicBezTo>
                      <a:pt x="10835" y="1352431"/>
                      <a:pt x="20360" y="1351955"/>
                      <a:pt x="26551" y="1346240"/>
                    </a:cubicBezTo>
                    <a:close/>
                  </a:path>
                </a:pathLst>
              </a:custGeom>
              <a:grpFill/>
              <a:ln w="4763" cap="flat">
                <a:noFill/>
                <a:prstDash val="solid"/>
                <a:miter/>
              </a:ln>
            </p:spPr>
            <p:txBody>
              <a:bodyPr rtlCol="0" anchor="ctr"/>
              <a:lstStyle/>
              <a:p>
                <a:endParaRPr lang="en-US" dirty="0"/>
              </a:p>
            </p:txBody>
          </p:sp>
          <p:sp>
            <p:nvSpPr>
              <p:cNvPr id="572" name="Freeform: Shape 571">
                <a:extLst>
                  <a:ext uri="{FF2B5EF4-FFF2-40B4-BE49-F238E27FC236}">
                    <a16:creationId xmlns:a16="http://schemas.microsoft.com/office/drawing/2014/main" id="{DCC17B5B-4B60-40AE-8757-08EAAD535380}"/>
                  </a:ext>
                </a:extLst>
              </p:cNvPr>
              <p:cNvSpPr/>
              <p:nvPr/>
            </p:nvSpPr>
            <p:spPr>
              <a:xfrm>
                <a:off x="3603902" y="951666"/>
                <a:ext cx="1448037" cy="1447680"/>
              </a:xfrm>
              <a:custGeom>
                <a:avLst/>
                <a:gdLst>
                  <a:gd name="connsiteX0" fmla="*/ 26551 w 1448037"/>
                  <a:gd name="connsiteY0" fmla="*/ 1443395 h 1447680"/>
                  <a:gd name="connsiteX1" fmla="*/ 1443395 w 1448037"/>
                  <a:gd name="connsiteY1" fmla="*/ 26551 h 1447680"/>
                  <a:gd name="connsiteX2" fmla="*/ 1443395 w 1448037"/>
                  <a:gd name="connsiteY2" fmla="*/ 4643 h 1447680"/>
                  <a:gd name="connsiteX3" fmla="*/ 1421487 w 1448037"/>
                  <a:gd name="connsiteY3" fmla="*/ 4643 h 1447680"/>
                  <a:gd name="connsiteX4" fmla="*/ 4643 w 1448037"/>
                  <a:gd name="connsiteY4" fmla="*/ 1421487 h 1447680"/>
                  <a:gd name="connsiteX5" fmla="*/ 4643 w 1448037"/>
                  <a:gd name="connsiteY5" fmla="*/ 1443395 h 1447680"/>
                  <a:gd name="connsiteX6" fmla="*/ 26551 w 1448037"/>
                  <a:gd name="connsiteY6" fmla="*/ 1443395 h 144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037" h="1447680">
                    <a:moveTo>
                      <a:pt x="26551" y="1443395"/>
                    </a:moveTo>
                    <a:lnTo>
                      <a:pt x="1443395" y="26551"/>
                    </a:lnTo>
                    <a:cubicBezTo>
                      <a:pt x="1449586" y="20360"/>
                      <a:pt x="1449586" y="10835"/>
                      <a:pt x="1443395" y="4643"/>
                    </a:cubicBezTo>
                    <a:cubicBezTo>
                      <a:pt x="1437203" y="-1548"/>
                      <a:pt x="1427678" y="-1548"/>
                      <a:pt x="1421487" y="4643"/>
                    </a:cubicBezTo>
                    <a:lnTo>
                      <a:pt x="4643" y="1421487"/>
                    </a:lnTo>
                    <a:cubicBezTo>
                      <a:pt x="-1548" y="1427679"/>
                      <a:pt x="-1548" y="1437204"/>
                      <a:pt x="4643" y="1443395"/>
                    </a:cubicBezTo>
                    <a:cubicBezTo>
                      <a:pt x="10835" y="1449110"/>
                      <a:pt x="20360" y="1449110"/>
                      <a:pt x="26551" y="1443395"/>
                    </a:cubicBezTo>
                    <a:close/>
                  </a:path>
                </a:pathLst>
              </a:custGeom>
              <a:grpFill/>
              <a:ln w="4763" cap="flat">
                <a:noFill/>
                <a:prstDash val="solid"/>
                <a:miter/>
              </a:ln>
            </p:spPr>
            <p:txBody>
              <a:bodyPr rtlCol="0" anchor="ctr"/>
              <a:lstStyle/>
              <a:p>
                <a:endParaRPr lang="en-US" dirty="0"/>
              </a:p>
            </p:txBody>
          </p:sp>
          <p:sp>
            <p:nvSpPr>
              <p:cNvPr id="573" name="Freeform: Shape 572">
                <a:extLst>
                  <a:ext uri="{FF2B5EF4-FFF2-40B4-BE49-F238E27FC236}">
                    <a16:creationId xmlns:a16="http://schemas.microsoft.com/office/drawing/2014/main" id="{6F545166-278C-4980-B1D1-2329D9E47516}"/>
                  </a:ext>
                </a:extLst>
              </p:cNvPr>
              <p:cNvSpPr/>
              <p:nvPr/>
            </p:nvSpPr>
            <p:spPr>
              <a:xfrm>
                <a:off x="3555325" y="902612"/>
                <a:ext cx="1407556" cy="1407556"/>
              </a:xfrm>
              <a:custGeom>
                <a:avLst/>
                <a:gdLst>
                  <a:gd name="connsiteX0" fmla="*/ 26551 w 1407556"/>
                  <a:gd name="connsiteY0" fmla="*/ 1402914 h 1407556"/>
                  <a:gd name="connsiteX1" fmla="*/ 1402913 w 1407556"/>
                  <a:gd name="connsiteY1" fmla="*/ 26551 h 1407556"/>
                  <a:gd name="connsiteX2" fmla="*/ 1402913 w 1407556"/>
                  <a:gd name="connsiteY2" fmla="*/ 4643 h 1407556"/>
                  <a:gd name="connsiteX3" fmla="*/ 1381006 w 1407556"/>
                  <a:gd name="connsiteY3" fmla="*/ 4643 h 1407556"/>
                  <a:gd name="connsiteX4" fmla="*/ 4643 w 1407556"/>
                  <a:gd name="connsiteY4" fmla="*/ 1381006 h 1407556"/>
                  <a:gd name="connsiteX5" fmla="*/ 4643 w 1407556"/>
                  <a:gd name="connsiteY5" fmla="*/ 1402914 h 1407556"/>
                  <a:gd name="connsiteX6" fmla="*/ 26551 w 1407556"/>
                  <a:gd name="connsiteY6" fmla="*/ 1402914 h 140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556" h="1407556">
                    <a:moveTo>
                      <a:pt x="26551" y="1402914"/>
                    </a:moveTo>
                    <a:lnTo>
                      <a:pt x="1402913" y="26551"/>
                    </a:lnTo>
                    <a:cubicBezTo>
                      <a:pt x="1409105" y="20360"/>
                      <a:pt x="1409105" y="10835"/>
                      <a:pt x="1402913" y="4643"/>
                    </a:cubicBezTo>
                    <a:cubicBezTo>
                      <a:pt x="1396722" y="-1548"/>
                      <a:pt x="1387197" y="-1548"/>
                      <a:pt x="1381006" y="4643"/>
                    </a:cubicBezTo>
                    <a:lnTo>
                      <a:pt x="4643" y="1381006"/>
                    </a:lnTo>
                    <a:cubicBezTo>
                      <a:pt x="-1548" y="1387197"/>
                      <a:pt x="-1548" y="1396722"/>
                      <a:pt x="4643" y="1402914"/>
                    </a:cubicBezTo>
                    <a:cubicBezTo>
                      <a:pt x="10835" y="1409105"/>
                      <a:pt x="20836" y="1409105"/>
                      <a:pt x="26551" y="1402914"/>
                    </a:cubicBezTo>
                    <a:close/>
                  </a:path>
                </a:pathLst>
              </a:custGeom>
              <a:grpFill/>
              <a:ln w="4763" cap="flat">
                <a:noFill/>
                <a:prstDash val="solid"/>
                <a:miter/>
              </a:ln>
            </p:spPr>
            <p:txBody>
              <a:bodyPr rtlCol="0" anchor="ctr"/>
              <a:lstStyle/>
              <a:p>
                <a:endParaRPr lang="en-US" dirty="0"/>
              </a:p>
            </p:txBody>
          </p:sp>
        </p:grpSp>
        <p:sp>
          <p:nvSpPr>
            <p:cNvPr id="551" name="Oval 550">
              <a:extLst>
                <a:ext uri="{FF2B5EF4-FFF2-40B4-BE49-F238E27FC236}">
                  <a16:creationId xmlns:a16="http://schemas.microsoft.com/office/drawing/2014/main" id="{29C2B9F5-BF41-4781-A91C-0ED0188B5528}"/>
                </a:ext>
              </a:extLst>
            </p:cNvPr>
            <p:cNvSpPr/>
            <p:nvPr/>
          </p:nvSpPr>
          <p:spPr>
            <a:xfrm>
              <a:off x="4355575" y="1886779"/>
              <a:ext cx="2083344" cy="2095735"/>
            </a:xfrm>
            <a:prstGeom prst="ellipse">
              <a:avLst/>
            </a:prstGeom>
            <a:noFill/>
            <a:ln w="63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1E4471"/>
                </a:solidFill>
                <a:effectLst/>
                <a:uLnTx/>
                <a:uFillTx/>
                <a:ea typeface="+mn-ea"/>
                <a:cs typeface="+mn-cs"/>
              </a:endParaRPr>
            </a:p>
          </p:txBody>
        </p:sp>
        <p:grpSp>
          <p:nvGrpSpPr>
            <p:cNvPr id="333" name="Group 332">
              <a:extLst>
                <a:ext uri="{FF2B5EF4-FFF2-40B4-BE49-F238E27FC236}">
                  <a16:creationId xmlns:a16="http://schemas.microsoft.com/office/drawing/2014/main" id="{2CF7EFFB-8F44-4F21-AA00-C174F932B537}"/>
                </a:ext>
              </a:extLst>
            </p:cNvPr>
            <p:cNvGrpSpPr/>
            <p:nvPr/>
          </p:nvGrpSpPr>
          <p:grpSpPr>
            <a:xfrm>
              <a:off x="4628211" y="1981290"/>
              <a:ext cx="1758421" cy="1554269"/>
              <a:chOff x="6003329" y="1981867"/>
              <a:chExt cx="1415531" cy="1251190"/>
            </a:xfrm>
          </p:grpSpPr>
          <p:sp>
            <p:nvSpPr>
              <p:cNvPr id="334" name="Freeform: Shape 333">
                <a:extLst>
                  <a:ext uri="{FF2B5EF4-FFF2-40B4-BE49-F238E27FC236}">
                    <a16:creationId xmlns:a16="http://schemas.microsoft.com/office/drawing/2014/main" id="{DF06AE2C-EA8F-4826-9B72-BD91B3EA67A6}"/>
                  </a:ext>
                </a:extLst>
              </p:cNvPr>
              <p:cNvSpPr/>
              <p:nvPr/>
            </p:nvSpPr>
            <p:spPr>
              <a:xfrm>
                <a:off x="6597633" y="2791152"/>
                <a:ext cx="128988" cy="128988"/>
              </a:xfrm>
              <a:custGeom>
                <a:avLst/>
                <a:gdLst>
                  <a:gd name="connsiteX0" fmla="*/ 128989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4" y="128989"/>
                    </a:cubicBezTo>
                    <a:cubicBezTo>
                      <a:pt x="28875" y="128989"/>
                      <a:pt x="0" y="100114"/>
                      <a:pt x="0" y="64494"/>
                    </a:cubicBezTo>
                    <a:cubicBezTo>
                      <a:pt x="0" y="28875"/>
                      <a:pt x="28875" y="0"/>
                      <a:pt x="64494" y="0"/>
                    </a:cubicBezTo>
                    <a:cubicBezTo>
                      <a:pt x="100114" y="0"/>
                      <a:pt x="128989" y="28875"/>
                      <a:pt x="128989" y="64494"/>
                    </a:cubicBezTo>
                    <a:close/>
                  </a:path>
                </a:pathLst>
              </a:custGeom>
              <a:solidFill>
                <a:schemeClr val="accent1"/>
              </a:solidFill>
              <a:ln w="4773" cap="flat">
                <a:noFill/>
                <a:prstDash val="solid"/>
                <a:miter/>
              </a:ln>
            </p:spPr>
            <p:txBody>
              <a:bodyPr rtlCol="0" anchor="ctr"/>
              <a:lstStyle/>
              <a:p>
                <a:endParaRPr lang="en-US" dirty="0"/>
              </a:p>
            </p:txBody>
          </p:sp>
          <p:sp>
            <p:nvSpPr>
              <p:cNvPr id="335" name="Freeform: Shape 334">
                <a:extLst>
                  <a:ext uri="{FF2B5EF4-FFF2-40B4-BE49-F238E27FC236}">
                    <a16:creationId xmlns:a16="http://schemas.microsoft.com/office/drawing/2014/main" id="{18C4DD8E-5379-41A1-A9E3-7ED4B47AEFAF}"/>
                  </a:ext>
                </a:extLst>
              </p:cNvPr>
              <p:cNvSpPr/>
              <p:nvPr/>
            </p:nvSpPr>
            <p:spPr>
              <a:xfrm>
                <a:off x="6452401" y="1981867"/>
                <a:ext cx="133766" cy="133766"/>
              </a:xfrm>
              <a:custGeom>
                <a:avLst/>
                <a:gdLst>
                  <a:gd name="connsiteX0" fmla="*/ 133766 w 133766"/>
                  <a:gd name="connsiteY0" fmla="*/ 66883 h 133766"/>
                  <a:gd name="connsiteX1" fmla="*/ 66883 w 133766"/>
                  <a:gd name="connsiteY1" fmla="*/ 133766 h 133766"/>
                  <a:gd name="connsiteX2" fmla="*/ 0 w 133766"/>
                  <a:gd name="connsiteY2" fmla="*/ 66883 h 133766"/>
                  <a:gd name="connsiteX3" fmla="*/ 66883 w 133766"/>
                  <a:gd name="connsiteY3" fmla="*/ 0 h 133766"/>
                  <a:gd name="connsiteX4" fmla="*/ 133766 w 133766"/>
                  <a:gd name="connsiteY4" fmla="*/ 66883 h 133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66" h="133766">
                    <a:moveTo>
                      <a:pt x="133766" y="66883"/>
                    </a:moveTo>
                    <a:cubicBezTo>
                      <a:pt x="133766" y="103822"/>
                      <a:pt x="103821" y="133766"/>
                      <a:pt x="66883" y="133766"/>
                    </a:cubicBezTo>
                    <a:cubicBezTo>
                      <a:pt x="29945" y="133766"/>
                      <a:pt x="0" y="103822"/>
                      <a:pt x="0" y="66883"/>
                    </a:cubicBezTo>
                    <a:cubicBezTo>
                      <a:pt x="0" y="29944"/>
                      <a:pt x="29945" y="0"/>
                      <a:pt x="66883" y="0"/>
                    </a:cubicBezTo>
                    <a:cubicBezTo>
                      <a:pt x="103821" y="0"/>
                      <a:pt x="133766" y="29944"/>
                      <a:pt x="133766" y="66883"/>
                    </a:cubicBezTo>
                    <a:close/>
                  </a:path>
                </a:pathLst>
              </a:custGeom>
              <a:solidFill>
                <a:schemeClr val="accent1"/>
              </a:solidFill>
              <a:ln w="4773" cap="flat">
                <a:noFill/>
                <a:prstDash val="solid"/>
                <a:miter/>
              </a:ln>
            </p:spPr>
            <p:txBody>
              <a:bodyPr rtlCol="0" anchor="ctr"/>
              <a:lstStyle/>
              <a:p>
                <a:endParaRPr lang="en-US" dirty="0"/>
              </a:p>
            </p:txBody>
          </p:sp>
          <p:sp>
            <p:nvSpPr>
              <p:cNvPr id="336" name="Freeform: Shape 335">
                <a:extLst>
                  <a:ext uri="{FF2B5EF4-FFF2-40B4-BE49-F238E27FC236}">
                    <a16:creationId xmlns:a16="http://schemas.microsoft.com/office/drawing/2014/main" id="{C2C40BDC-6DC6-4FD3-A6AD-535AA2167CAD}"/>
                  </a:ext>
                </a:extLst>
              </p:cNvPr>
              <p:cNvSpPr/>
              <p:nvPr/>
            </p:nvSpPr>
            <p:spPr>
              <a:xfrm>
                <a:off x="6183914" y="2116111"/>
                <a:ext cx="133766" cy="133766"/>
              </a:xfrm>
              <a:custGeom>
                <a:avLst/>
                <a:gdLst>
                  <a:gd name="connsiteX0" fmla="*/ 133766 w 133766"/>
                  <a:gd name="connsiteY0" fmla="*/ 66883 h 133766"/>
                  <a:gd name="connsiteX1" fmla="*/ 66883 w 133766"/>
                  <a:gd name="connsiteY1" fmla="*/ 133766 h 133766"/>
                  <a:gd name="connsiteX2" fmla="*/ 0 w 133766"/>
                  <a:gd name="connsiteY2" fmla="*/ 66883 h 133766"/>
                  <a:gd name="connsiteX3" fmla="*/ 66883 w 133766"/>
                  <a:gd name="connsiteY3" fmla="*/ 0 h 133766"/>
                  <a:gd name="connsiteX4" fmla="*/ 133766 w 133766"/>
                  <a:gd name="connsiteY4" fmla="*/ 66883 h 133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66" h="133766">
                    <a:moveTo>
                      <a:pt x="133766" y="66883"/>
                    </a:moveTo>
                    <a:cubicBezTo>
                      <a:pt x="133766" y="103822"/>
                      <a:pt x="103821" y="133766"/>
                      <a:pt x="66883" y="133766"/>
                    </a:cubicBezTo>
                    <a:cubicBezTo>
                      <a:pt x="29945" y="133766"/>
                      <a:pt x="0" y="103822"/>
                      <a:pt x="0" y="66883"/>
                    </a:cubicBezTo>
                    <a:cubicBezTo>
                      <a:pt x="0" y="29945"/>
                      <a:pt x="29945" y="0"/>
                      <a:pt x="66883" y="0"/>
                    </a:cubicBezTo>
                    <a:cubicBezTo>
                      <a:pt x="103821" y="0"/>
                      <a:pt x="133766" y="29945"/>
                      <a:pt x="133766" y="66883"/>
                    </a:cubicBezTo>
                    <a:close/>
                  </a:path>
                </a:pathLst>
              </a:custGeom>
              <a:solidFill>
                <a:schemeClr val="accent1"/>
              </a:solidFill>
              <a:ln w="4773" cap="flat">
                <a:noFill/>
                <a:prstDash val="solid"/>
                <a:miter/>
              </a:ln>
            </p:spPr>
            <p:txBody>
              <a:bodyPr rtlCol="0" anchor="ctr"/>
              <a:lstStyle/>
              <a:p>
                <a:endParaRPr lang="en-US" dirty="0"/>
              </a:p>
            </p:txBody>
          </p:sp>
          <p:sp>
            <p:nvSpPr>
              <p:cNvPr id="337" name="Freeform: Shape 336">
                <a:extLst>
                  <a:ext uri="{FF2B5EF4-FFF2-40B4-BE49-F238E27FC236}">
                    <a16:creationId xmlns:a16="http://schemas.microsoft.com/office/drawing/2014/main" id="{F8938F5A-0E5E-4284-9BFF-5C144AE27598}"/>
                  </a:ext>
                </a:extLst>
              </p:cNvPr>
              <p:cNvSpPr/>
              <p:nvPr/>
            </p:nvSpPr>
            <p:spPr>
              <a:xfrm>
                <a:off x="6323412" y="2335392"/>
                <a:ext cx="128988" cy="128988"/>
              </a:xfrm>
              <a:custGeom>
                <a:avLst/>
                <a:gdLst>
                  <a:gd name="connsiteX0" fmla="*/ 128989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3" y="128989"/>
                      <a:pt x="64494" y="128989"/>
                    </a:cubicBezTo>
                    <a:cubicBezTo>
                      <a:pt x="28875" y="128989"/>
                      <a:pt x="0" y="100114"/>
                      <a:pt x="0" y="64494"/>
                    </a:cubicBezTo>
                    <a:cubicBezTo>
                      <a:pt x="0" y="28875"/>
                      <a:pt x="28875" y="0"/>
                      <a:pt x="64494" y="0"/>
                    </a:cubicBezTo>
                    <a:cubicBezTo>
                      <a:pt x="100113" y="0"/>
                      <a:pt x="128989" y="28875"/>
                      <a:pt x="128989" y="64494"/>
                    </a:cubicBezTo>
                    <a:close/>
                  </a:path>
                </a:pathLst>
              </a:custGeom>
              <a:solidFill>
                <a:schemeClr val="accent1"/>
              </a:solidFill>
              <a:ln w="4773" cap="flat">
                <a:noFill/>
                <a:prstDash val="solid"/>
                <a:miter/>
              </a:ln>
            </p:spPr>
            <p:txBody>
              <a:bodyPr rtlCol="0" anchor="ctr"/>
              <a:lstStyle/>
              <a:p>
                <a:endParaRPr lang="en-US" dirty="0"/>
              </a:p>
            </p:txBody>
          </p:sp>
          <p:sp>
            <p:nvSpPr>
              <p:cNvPr id="338" name="Freeform: Shape 337">
                <a:extLst>
                  <a:ext uri="{FF2B5EF4-FFF2-40B4-BE49-F238E27FC236}">
                    <a16:creationId xmlns:a16="http://schemas.microsoft.com/office/drawing/2014/main" id="{610A7B13-3BEF-4E1E-9C94-CD3E95290086}"/>
                  </a:ext>
                </a:extLst>
              </p:cNvPr>
              <p:cNvSpPr/>
              <p:nvPr/>
            </p:nvSpPr>
            <p:spPr>
              <a:xfrm>
                <a:off x="6592855" y="2197326"/>
                <a:ext cx="128988" cy="128988"/>
              </a:xfrm>
              <a:custGeom>
                <a:avLst/>
                <a:gdLst>
                  <a:gd name="connsiteX0" fmla="*/ 128989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4" y="128989"/>
                    </a:cubicBezTo>
                    <a:cubicBezTo>
                      <a:pt x="28875" y="128989"/>
                      <a:pt x="0" y="100114"/>
                      <a:pt x="0" y="64494"/>
                    </a:cubicBezTo>
                    <a:cubicBezTo>
                      <a:pt x="0" y="28875"/>
                      <a:pt x="28875" y="0"/>
                      <a:pt x="64494" y="0"/>
                    </a:cubicBezTo>
                    <a:cubicBezTo>
                      <a:pt x="100114" y="0"/>
                      <a:pt x="128989" y="28875"/>
                      <a:pt x="128989" y="64494"/>
                    </a:cubicBezTo>
                    <a:close/>
                  </a:path>
                </a:pathLst>
              </a:custGeom>
              <a:solidFill>
                <a:schemeClr val="accent1"/>
              </a:solidFill>
              <a:ln w="4773" cap="flat">
                <a:noFill/>
                <a:prstDash val="solid"/>
                <a:miter/>
              </a:ln>
            </p:spPr>
            <p:txBody>
              <a:bodyPr rtlCol="0" anchor="ctr"/>
              <a:lstStyle/>
              <a:p>
                <a:endParaRPr lang="en-US" dirty="0"/>
              </a:p>
            </p:txBody>
          </p:sp>
          <p:sp>
            <p:nvSpPr>
              <p:cNvPr id="339" name="Freeform: Shape 338">
                <a:extLst>
                  <a:ext uri="{FF2B5EF4-FFF2-40B4-BE49-F238E27FC236}">
                    <a16:creationId xmlns:a16="http://schemas.microsoft.com/office/drawing/2014/main" id="{E4472E65-8EF6-48FC-9996-BE944532E69F}"/>
                  </a:ext>
                </a:extLst>
              </p:cNvPr>
              <p:cNvSpPr/>
              <p:nvPr/>
            </p:nvSpPr>
            <p:spPr>
              <a:xfrm>
                <a:off x="6816436" y="1992377"/>
                <a:ext cx="128988" cy="128988"/>
              </a:xfrm>
              <a:custGeom>
                <a:avLst/>
                <a:gdLst>
                  <a:gd name="connsiteX0" fmla="*/ 128988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8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8" y="64494"/>
                    </a:moveTo>
                    <a:cubicBezTo>
                      <a:pt x="128988" y="100114"/>
                      <a:pt x="100113" y="128989"/>
                      <a:pt x="64494" y="128989"/>
                    </a:cubicBezTo>
                    <a:cubicBezTo>
                      <a:pt x="28875" y="128989"/>
                      <a:pt x="0" y="100114"/>
                      <a:pt x="0" y="64494"/>
                    </a:cubicBezTo>
                    <a:cubicBezTo>
                      <a:pt x="0" y="28875"/>
                      <a:pt x="28875" y="0"/>
                      <a:pt x="64494" y="0"/>
                    </a:cubicBezTo>
                    <a:cubicBezTo>
                      <a:pt x="100113" y="0"/>
                      <a:pt x="128988" y="28875"/>
                      <a:pt x="128988" y="64494"/>
                    </a:cubicBezTo>
                    <a:close/>
                  </a:path>
                </a:pathLst>
              </a:custGeom>
              <a:solidFill>
                <a:schemeClr val="accent4"/>
              </a:solidFill>
              <a:ln w="4773" cap="flat">
                <a:noFill/>
                <a:prstDash val="solid"/>
                <a:miter/>
              </a:ln>
            </p:spPr>
            <p:txBody>
              <a:bodyPr rtlCol="0" anchor="ctr"/>
              <a:lstStyle/>
              <a:p>
                <a:endParaRPr lang="en-US" dirty="0"/>
              </a:p>
            </p:txBody>
          </p:sp>
          <p:sp>
            <p:nvSpPr>
              <p:cNvPr id="340" name="Freeform: Shape 339">
                <a:extLst>
                  <a:ext uri="{FF2B5EF4-FFF2-40B4-BE49-F238E27FC236}">
                    <a16:creationId xmlns:a16="http://schemas.microsoft.com/office/drawing/2014/main" id="{76963C0B-F332-407E-BBCC-DC3284CFFAC7}"/>
                  </a:ext>
                </a:extLst>
              </p:cNvPr>
              <p:cNvSpPr/>
              <p:nvPr/>
            </p:nvSpPr>
            <p:spPr>
              <a:xfrm>
                <a:off x="7127442" y="2166273"/>
                <a:ext cx="128988" cy="128988"/>
              </a:xfrm>
              <a:custGeom>
                <a:avLst/>
                <a:gdLst>
                  <a:gd name="connsiteX0" fmla="*/ 128989 w 128988"/>
                  <a:gd name="connsiteY0" fmla="*/ 64494 h 128988"/>
                  <a:gd name="connsiteX1" fmla="*/ 64495 w 128988"/>
                  <a:gd name="connsiteY1" fmla="*/ 128989 h 128988"/>
                  <a:gd name="connsiteX2" fmla="*/ 0 w 128988"/>
                  <a:gd name="connsiteY2" fmla="*/ 64494 h 128988"/>
                  <a:gd name="connsiteX3" fmla="*/ 64495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5" y="128989"/>
                    </a:cubicBezTo>
                    <a:cubicBezTo>
                      <a:pt x="28875" y="128989"/>
                      <a:pt x="0" y="100114"/>
                      <a:pt x="0" y="64494"/>
                    </a:cubicBezTo>
                    <a:cubicBezTo>
                      <a:pt x="0" y="28875"/>
                      <a:pt x="28875" y="0"/>
                      <a:pt x="64495" y="0"/>
                    </a:cubicBezTo>
                    <a:cubicBezTo>
                      <a:pt x="100114" y="0"/>
                      <a:pt x="128989" y="28875"/>
                      <a:pt x="128989" y="64494"/>
                    </a:cubicBezTo>
                    <a:close/>
                  </a:path>
                </a:pathLst>
              </a:custGeom>
              <a:solidFill>
                <a:schemeClr val="accent1"/>
              </a:solidFill>
              <a:ln w="4773" cap="flat">
                <a:noFill/>
                <a:prstDash val="solid"/>
                <a:miter/>
              </a:ln>
            </p:spPr>
            <p:txBody>
              <a:bodyPr rtlCol="0" anchor="ctr"/>
              <a:lstStyle/>
              <a:p>
                <a:endParaRPr lang="en-US" dirty="0"/>
              </a:p>
            </p:txBody>
          </p:sp>
          <p:sp>
            <p:nvSpPr>
              <p:cNvPr id="341" name="Freeform: Shape 340">
                <a:extLst>
                  <a:ext uri="{FF2B5EF4-FFF2-40B4-BE49-F238E27FC236}">
                    <a16:creationId xmlns:a16="http://schemas.microsoft.com/office/drawing/2014/main" id="{2BF27F00-F657-4739-8BD1-4155D19E6B3F}"/>
                  </a:ext>
                </a:extLst>
              </p:cNvPr>
              <p:cNvSpPr/>
              <p:nvPr/>
            </p:nvSpPr>
            <p:spPr>
              <a:xfrm>
                <a:off x="7289872" y="2418996"/>
                <a:ext cx="128988" cy="128988"/>
              </a:xfrm>
              <a:custGeom>
                <a:avLst/>
                <a:gdLst>
                  <a:gd name="connsiteX0" fmla="*/ 128989 w 128988"/>
                  <a:gd name="connsiteY0" fmla="*/ 64494 h 128988"/>
                  <a:gd name="connsiteX1" fmla="*/ 64495 w 128988"/>
                  <a:gd name="connsiteY1" fmla="*/ 128989 h 128988"/>
                  <a:gd name="connsiteX2" fmla="*/ 0 w 128988"/>
                  <a:gd name="connsiteY2" fmla="*/ 64494 h 128988"/>
                  <a:gd name="connsiteX3" fmla="*/ 64495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5" y="128989"/>
                    </a:cubicBezTo>
                    <a:cubicBezTo>
                      <a:pt x="28875" y="128989"/>
                      <a:pt x="0" y="100114"/>
                      <a:pt x="0" y="64494"/>
                    </a:cubicBezTo>
                    <a:cubicBezTo>
                      <a:pt x="0" y="28875"/>
                      <a:pt x="28875" y="0"/>
                      <a:pt x="64495" y="0"/>
                    </a:cubicBezTo>
                    <a:cubicBezTo>
                      <a:pt x="100114" y="0"/>
                      <a:pt x="128989" y="28875"/>
                      <a:pt x="128989" y="64494"/>
                    </a:cubicBezTo>
                    <a:close/>
                  </a:path>
                </a:pathLst>
              </a:custGeom>
              <a:solidFill>
                <a:schemeClr val="accent4"/>
              </a:solidFill>
              <a:ln w="4773" cap="flat">
                <a:noFill/>
                <a:prstDash val="solid"/>
                <a:miter/>
              </a:ln>
            </p:spPr>
            <p:txBody>
              <a:bodyPr rtlCol="0" anchor="ctr"/>
              <a:lstStyle/>
              <a:p>
                <a:endParaRPr lang="en-US" dirty="0"/>
              </a:p>
            </p:txBody>
          </p:sp>
          <p:sp>
            <p:nvSpPr>
              <p:cNvPr id="342" name="Freeform: Shape 341">
                <a:extLst>
                  <a:ext uri="{FF2B5EF4-FFF2-40B4-BE49-F238E27FC236}">
                    <a16:creationId xmlns:a16="http://schemas.microsoft.com/office/drawing/2014/main" id="{32276816-2717-49C8-949B-6BE84297DC3A}"/>
                  </a:ext>
                </a:extLst>
              </p:cNvPr>
              <p:cNvSpPr/>
              <p:nvPr/>
            </p:nvSpPr>
            <p:spPr>
              <a:xfrm>
                <a:off x="7062948" y="2526008"/>
                <a:ext cx="128988" cy="128988"/>
              </a:xfrm>
              <a:custGeom>
                <a:avLst/>
                <a:gdLst>
                  <a:gd name="connsiteX0" fmla="*/ 128989 w 128988"/>
                  <a:gd name="connsiteY0" fmla="*/ 64494 h 128988"/>
                  <a:gd name="connsiteX1" fmla="*/ 64495 w 128988"/>
                  <a:gd name="connsiteY1" fmla="*/ 128989 h 128988"/>
                  <a:gd name="connsiteX2" fmla="*/ 0 w 128988"/>
                  <a:gd name="connsiteY2" fmla="*/ 64494 h 128988"/>
                  <a:gd name="connsiteX3" fmla="*/ 64495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5" y="128989"/>
                    </a:cubicBezTo>
                    <a:cubicBezTo>
                      <a:pt x="28875" y="128989"/>
                      <a:pt x="0" y="100114"/>
                      <a:pt x="0" y="64494"/>
                    </a:cubicBezTo>
                    <a:cubicBezTo>
                      <a:pt x="0" y="28875"/>
                      <a:pt x="28875" y="0"/>
                      <a:pt x="64495" y="0"/>
                    </a:cubicBezTo>
                    <a:cubicBezTo>
                      <a:pt x="100114" y="0"/>
                      <a:pt x="128989" y="28875"/>
                      <a:pt x="128989" y="64494"/>
                    </a:cubicBezTo>
                    <a:close/>
                  </a:path>
                </a:pathLst>
              </a:custGeom>
              <a:solidFill>
                <a:schemeClr val="accent1"/>
              </a:solidFill>
              <a:ln w="4773" cap="flat">
                <a:noFill/>
                <a:prstDash val="solid"/>
                <a:miter/>
              </a:ln>
            </p:spPr>
            <p:txBody>
              <a:bodyPr rtlCol="0" anchor="ctr"/>
              <a:lstStyle/>
              <a:p>
                <a:endParaRPr lang="en-US" dirty="0"/>
              </a:p>
            </p:txBody>
          </p:sp>
          <p:sp>
            <p:nvSpPr>
              <p:cNvPr id="343" name="Freeform: Shape 342">
                <a:extLst>
                  <a:ext uri="{FF2B5EF4-FFF2-40B4-BE49-F238E27FC236}">
                    <a16:creationId xmlns:a16="http://schemas.microsoft.com/office/drawing/2014/main" id="{181103C8-0164-40EC-8CC9-DB040BF45725}"/>
                  </a:ext>
                </a:extLst>
              </p:cNvPr>
              <p:cNvSpPr/>
              <p:nvPr/>
            </p:nvSpPr>
            <p:spPr>
              <a:xfrm>
                <a:off x="6836501" y="2662641"/>
                <a:ext cx="128988" cy="128988"/>
              </a:xfrm>
              <a:custGeom>
                <a:avLst/>
                <a:gdLst>
                  <a:gd name="connsiteX0" fmla="*/ 128989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4" y="128989"/>
                    </a:cubicBezTo>
                    <a:cubicBezTo>
                      <a:pt x="28875" y="128989"/>
                      <a:pt x="0" y="100114"/>
                      <a:pt x="0" y="64494"/>
                    </a:cubicBezTo>
                    <a:cubicBezTo>
                      <a:pt x="0" y="28875"/>
                      <a:pt x="28875" y="0"/>
                      <a:pt x="64494" y="0"/>
                    </a:cubicBezTo>
                    <a:cubicBezTo>
                      <a:pt x="100114" y="0"/>
                      <a:pt x="128989" y="28875"/>
                      <a:pt x="128989" y="64494"/>
                    </a:cubicBezTo>
                    <a:close/>
                  </a:path>
                </a:pathLst>
              </a:custGeom>
              <a:solidFill>
                <a:schemeClr val="accent4"/>
              </a:solidFill>
              <a:ln w="4773" cap="flat">
                <a:noFill/>
                <a:prstDash val="solid"/>
                <a:miter/>
              </a:ln>
            </p:spPr>
            <p:txBody>
              <a:bodyPr rtlCol="0" anchor="ctr"/>
              <a:lstStyle/>
              <a:p>
                <a:endParaRPr lang="en-US" dirty="0"/>
              </a:p>
            </p:txBody>
          </p:sp>
          <p:sp>
            <p:nvSpPr>
              <p:cNvPr id="344" name="Freeform: Shape 343">
                <a:extLst>
                  <a:ext uri="{FF2B5EF4-FFF2-40B4-BE49-F238E27FC236}">
                    <a16:creationId xmlns:a16="http://schemas.microsoft.com/office/drawing/2014/main" id="{57581E0D-F48F-41EC-A3A2-BE6BDA6B51E2}"/>
                  </a:ext>
                </a:extLst>
              </p:cNvPr>
              <p:cNvSpPr/>
              <p:nvPr/>
            </p:nvSpPr>
            <p:spPr>
              <a:xfrm>
                <a:off x="7261208" y="2781119"/>
                <a:ext cx="128988" cy="128988"/>
              </a:xfrm>
              <a:custGeom>
                <a:avLst/>
                <a:gdLst>
                  <a:gd name="connsiteX0" fmla="*/ 128989 w 128988"/>
                  <a:gd name="connsiteY0" fmla="*/ 64494 h 128988"/>
                  <a:gd name="connsiteX1" fmla="*/ 64495 w 128988"/>
                  <a:gd name="connsiteY1" fmla="*/ 128989 h 128988"/>
                  <a:gd name="connsiteX2" fmla="*/ 0 w 128988"/>
                  <a:gd name="connsiteY2" fmla="*/ 64494 h 128988"/>
                  <a:gd name="connsiteX3" fmla="*/ 64495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5" y="128989"/>
                    </a:cubicBezTo>
                    <a:cubicBezTo>
                      <a:pt x="28875" y="128989"/>
                      <a:pt x="0" y="100114"/>
                      <a:pt x="0" y="64494"/>
                    </a:cubicBezTo>
                    <a:cubicBezTo>
                      <a:pt x="0" y="28875"/>
                      <a:pt x="28875" y="0"/>
                      <a:pt x="64495" y="0"/>
                    </a:cubicBezTo>
                    <a:cubicBezTo>
                      <a:pt x="100114" y="0"/>
                      <a:pt x="128989" y="28875"/>
                      <a:pt x="128989" y="64494"/>
                    </a:cubicBezTo>
                    <a:close/>
                  </a:path>
                </a:pathLst>
              </a:custGeom>
              <a:solidFill>
                <a:schemeClr val="accent4"/>
              </a:solidFill>
              <a:ln w="4773" cap="flat">
                <a:noFill/>
                <a:prstDash val="solid"/>
                <a:miter/>
              </a:ln>
            </p:spPr>
            <p:txBody>
              <a:bodyPr rtlCol="0" anchor="ctr"/>
              <a:lstStyle/>
              <a:p>
                <a:endParaRPr lang="en-US" dirty="0"/>
              </a:p>
            </p:txBody>
          </p:sp>
          <p:sp>
            <p:nvSpPr>
              <p:cNvPr id="345" name="Freeform: Shape 344">
                <a:extLst>
                  <a:ext uri="{FF2B5EF4-FFF2-40B4-BE49-F238E27FC236}">
                    <a16:creationId xmlns:a16="http://schemas.microsoft.com/office/drawing/2014/main" id="{D3B7F69A-C430-4D95-8A27-1054FC9F1350}"/>
                  </a:ext>
                </a:extLst>
              </p:cNvPr>
              <p:cNvSpPr/>
              <p:nvPr/>
            </p:nvSpPr>
            <p:spPr>
              <a:xfrm>
                <a:off x="6965012" y="2891954"/>
                <a:ext cx="128988" cy="128988"/>
              </a:xfrm>
              <a:custGeom>
                <a:avLst/>
                <a:gdLst>
                  <a:gd name="connsiteX0" fmla="*/ 128989 w 128988"/>
                  <a:gd name="connsiteY0" fmla="*/ 64494 h 128988"/>
                  <a:gd name="connsiteX1" fmla="*/ 64495 w 128988"/>
                  <a:gd name="connsiteY1" fmla="*/ 128989 h 128988"/>
                  <a:gd name="connsiteX2" fmla="*/ 0 w 128988"/>
                  <a:gd name="connsiteY2" fmla="*/ 64494 h 128988"/>
                  <a:gd name="connsiteX3" fmla="*/ 64495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5" y="128989"/>
                    </a:cubicBezTo>
                    <a:cubicBezTo>
                      <a:pt x="28875" y="128989"/>
                      <a:pt x="0" y="100114"/>
                      <a:pt x="0" y="64494"/>
                    </a:cubicBezTo>
                    <a:cubicBezTo>
                      <a:pt x="0" y="28875"/>
                      <a:pt x="28875" y="0"/>
                      <a:pt x="64495" y="0"/>
                    </a:cubicBezTo>
                    <a:cubicBezTo>
                      <a:pt x="100114" y="0"/>
                      <a:pt x="128989" y="28875"/>
                      <a:pt x="128989" y="64494"/>
                    </a:cubicBezTo>
                    <a:close/>
                  </a:path>
                </a:pathLst>
              </a:custGeom>
              <a:solidFill>
                <a:schemeClr val="accent4"/>
              </a:solidFill>
              <a:ln w="4773" cap="flat">
                <a:noFill/>
                <a:prstDash val="solid"/>
                <a:miter/>
              </a:ln>
            </p:spPr>
            <p:txBody>
              <a:bodyPr rtlCol="0" anchor="ctr"/>
              <a:lstStyle/>
              <a:p>
                <a:endParaRPr lang="en-US" dirty="0"/>
              </a:p>
            </p:txBody>
          </p:sp>
          <p:sp>
            <p:nvSpPr>
              <p:cNvPr id="346" name="Freeform: Shape 345">
                <a:extLst>
                  <a:ext uri="{FF2B5EF4-FFF2-40B4-BE49-F238E27FC236}">
                    <a16:creationId xmlns:a16="http://schemas.microsoft.com/office/drawing/2014/main" id="{2E4C71CE-02A9-45A1-8BC9-2CB3B00A96AF}"/>
                  </a:ext>
                </a:extLst>
              </p:cNvPr>
              <p:cNvSpPr/>
              <p:nvPr/>
            </p:nvSpPr>
            <p:spPr>
              <a:xfrm>
                <a:off x="7109288" y="3104069"/>
                <a:ext cx="128988" cy="128988"/>
              </a:xfrm>
              <a:custGeom>
                <a:avLst/>
                <a:gdLst>
                  <a:gd name="connsiteX0" fmla="*/ 128989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3" y="128989"/>
                      <a:pt x="64494" y="128989"/>
                    </a:cubicBezTo>
                    <a:cubicBezTo>
                      <a:pt x="28875" y="128989"/>
                      <a:pt x="0" y="100114"/>
                      <a:pt x="0" y="64494"/>
                    </a:cubicBezTo>
                    <a:cubicBezTo>
                      <a:pt x="0" y="28875"/>
                      <a:pt x="28875" y="0"/>
                      <a:pt x="64494" y="0"/>
                    </a:cubicBezTo>
                    <a:cubicBezTo>
                      <a:pt x="100113" y="0"/>
                      <a:pt x="128989" y="28875"/>
                      <a:pt x="128989" y="64494"/>
                    </a:cubicBezTo>
                    <a:close/>
                  </a:path>
                </a:pathLst>
              </a:custGeom>
              <a:solidFill>
                <a:schemeClr val="accent4"/>
              </a:solidFill>
              <a:ln w="4773" cap="flat">
                <a:noFill/>
                <a:prstDash val="solid"/>
                <a:miter/>
              </a:ln>
            </p:spPr>
            <p:txBody>
              <a:bodyPr rtlCol="0" anchor="ctr"/>
              <a:lstStyle/>
              <a:p>
                <a:endParaRPr lang="en-US" dirty="0"/>
              </a:p>
            </p:txBody>
          </p:sp>
          <p:sp>
            <p:nvSpPr>
              <p:cNvPr id="347" name="Freeform: Shape 346">
                <a:extLst>
                  <a:ext uri="{FF2B5EF4-FFF2-40B4-BE49-F238E27FC236}">
                    <a16:creationId xmlns:a16="http://schemas.microsoft.com/office/drawing/2014/main" id="{3A472373-AEF0-4021-9A19-36B9C002FA64}"/>
                  </a:ext>
                </a:extLst>
              </p:cNvPr>
              <p:cNvSpPr/>
              <p:nvPr/>
            </p:nvSpPr>
            <p:spPr>
              <a:xfrm>
                <a:off x="6233120" y="2694171"/>
                <a:ext cx="128988" cy="128988"/>
              </a:xfrm>
              <a:custGeom>
                <a:avLst/>
                <a:gdLst>
                  <a:gd name="connsiteX0" fmla="*/ 128989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3" y="128989"/>
                      <a:pt x="64494" y="128989"/>
                    </a:cubicBezTo>
                    <a:cubicBezTo>
                      <a:pt x="28875" y="128989"/>
                      <a:pt x="0" y="100114"/>
                      <a:pt x="0" y="64494"/>
                    </a:cubicBezTo>
                    <a:cubicBezTo>
                      <a:pt x="0" y="28875"/>
                      <a:pt x="28875" y="0"/>
                      <a:pt x="64494" y="0"/>
                    </a:cubicBezTo>
                    <a:cubicBezTo>
                      <a:pt x="100113" y="0"/>
                      <a:pt x="128989" y="28875"/>
                      <a:pt x="128989" y="64494"/>
                    </a:cubicBezTo>
                    <a:close/>
                  </a:path>
                </a:pathLst>
              </a:custGeom>
              <a:solidFill>
                <a:schemeClr val="bg2"/>
              </a:solidFill>
              <a:ln w="4773" cap="flat">
                <a:noFill/>
                <a:prstDash val="solid"/>
                <a:miter/>
              </a:ln>
            </p:spPr>
            <p:txBody>
              <a:bodyPr rtlCol="0" anchor="ctr"/>
              <a:lstStyle/>
              <a:p>
                <a:endParaRPr lang="en-US" dirty="0"/>
              </a:p>
            </p:txBody>
          </p:sp>
          <p:sp>
            <p:nvSpPr>
              <p:cNvPr id="348" name="Freeform: Shape 347">
                <a:extLst>
                  <a:ext uri="{FF2B5EF4-FFF2-40B4-BE49-F238E27FC236}">
                    <a16:creationId xmlns:a16="http://schemas.microsoft.com/office/drawing/2014/main" id="{74733C75-F8B1-4239-8CCD-D3DDE8455EEB}"/>
                  </a:ext>
                </a:extLst>
              </p:cNvPr>
              <p:cNvSpPr/>
              <p:nvPr/>
            </p:nvSpPr>
            <p:spPr>
              <a:xfrm>
                <a:off x="6003329" y="2808828"/>
                <a:ext cx="128988" cy="128988"/>
              </a:xfrm>
              <a:custGeom>
                <a:avLst/>
                <a:gdLst>
                  <a:gd name="connsiteX0" fmla="*/ 128989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3" y="128989"/>
                      <a:pt x="64494" y="128989"/>
                    </a:cubicBezTo>
                    <a:cubicBezTo>
                      <a:pt x="28875" y="128989"/>
                      <a:pt x="0" y="100114"/>
                      <a:pt x="0" y="64494"/>
                    </a:cubicBezTo>
                    <a:cubicBezTo>
                      <a:pt x="0" y="28875"/>
                      <a:pt x="28875" y="0"/>
                      <a:pt x="64494" y="0"/>
                    </a:cubicBezTo>
                    <a:cubicBezTo>
                      <a:pt x="100113" y="0"/>
                      <a:pt x="128989" y="28875"/>
                      <a:pt x="128989" y="64494"/>
                    </a:cubicBezTo>
                    <a:close/>
                  </a:path>
                </a:pathLst>
              </a:custGeom>
              <a:solidFill>
                <a:schemeClr val="bg2"/>
              </a:solidFill>
              <a:ln w="4773" cap="flat">
                <a:noFill/>
                <a:prstDash val="solid"/>
                <a:miter/>
              </a:ln>
            </p:spPr>
            <p:txBody>
              <a:bodyPr rtlCol="0" anchor="ctr"/>
              <a:lstStyle/>
              <a:p>
                <a:endParaRPr lang="en-US" dirty="0"/>
              </a:p>
            </p:txBody>
          </p:sp>
          <p:sp>
            <p:nvSpPr>
              <p:cNvPr id="349" name="Freeform: Shape 348">
                <a:extLst>
                  <a:ext uri="{FF2B5EF4-FFF2-40B4-BE49-F238E27FC236}">
                    <a16:creationId xmlns:a16="http://schemas.microsoft.com/office/drawing/2014/main" id="{AF1E299C-C1E2-4C2E-B144-E20373D9C2C4}"/>
                  </a:ext>
                </a:extLst>
              </p:cNvPr>
              <p:cNvSpPr/>
              <p:nvPr/>
            </p:nvSpPr>
            <p:spPr>
              <a:xfrm>
                <a:off x="6842711" y="2270897"/>
                <a:ext cx="128988" cy="128988"/>
              </a:xfrm>
              <a:custGeom>
                <a:avLst/>
                <a:gdLst>
                  <a:gd name="connsiteX0" fmla="*/ 128988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8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8" y="64494"/>
                    </a:moveTo>
                    <a:cubicBezTo>
                      <a:pt x="128988" y="100114"/>
                      <a:pt x="100113" y="128989"/>
                      <a:pt x="64494" y="128989"/>
                    </a:cubicBezTo>
                    <a:cubicBezTo>
                      <a:pt x="28875" y="128989"/>
                      <a:pt x="0" y="100114"/>
                      <a:pt x="0" y="64494"/>
                    </a:cubicBezTo>
                    <a:cubicBezTo>
                      <a:pt x="0" y="28875"/>
                      <a:pt x="28875" y="0"/>
                      <a:pt x="64494" y="0"/>
                    </a:cubicBezTo>
                    <a:cubicBezTo>
                      <a:pt x="100113" y="0"/>
                      <a:pt x="128988" y="28875"/>
                      <a:pt x="128988" y="64494"/>
                    </a:cubicBezTo>
                    <a:close/>
                  </a:path>
                </a:pathLst>
              </a:custGeom>
              <a:solidFill>
                <a:schemeClr val="accent1"/>
              </a:solidFill>
              <a:ln w="4773" cap="flat">
                <a:noFill/>
                <a:prstDash val="solid"/>
                <a:miter/>
              </a:ln>
            </p:spPr>
            <p:txBody>
              <a:bodyPr rtlCol="0" anchor="ctr"/>
              <a:lstStyle/>
              <a:p>
                <a:endParaRPr lang="en-US" dirty="0"/>
              </a:p>
            </p:txBody>
          </p:sp>
          <p:sp>
            <p:nvSpPr>
              <p:cNvPr id="350" name="Freeform: Shape 349">
                <a:extLst>
                  <a:ext uri="{FF2B5EF4-FFF2-40B4-BE49-F238E27FC236}">
                    <a16:creationId xmlns:a16="http://schemas.microsoft.com/office/drawing/2014/main" id="{3F839B73-B15C-488F-AE89-692F1F025374}"/>
                  </a:ext>
                </a:extLst>
              </p:cNvPr>
              <p:cNvSpPr/>
              <p:nvPr/>
            </p:nvSpPr>
            <p:spPr>
              <a:xfrm>
                <a:off x="6695091" y="2433328"/>
                <a:ext cx="128988" cy="128988"/>
              </a:xfrm>
              <a:custGeom>
                <a:avLst/>
                <a:gdLst>
                  <a:gd name="connsiteX0" fmla="*/ 128989 w 128988"/>
                  <a:gd name="connsiteY0" fmla="*/ 64494 h 128988"/>
                  <a:gd name="connsiteX1" fmla="*/ 64495 w 128988"/>
                  <a:gd name="connsiteY1" fmla="*/ 128989 h 128988"/>
                  <a:gd name="connsiteX2" fmla="*/ 0 w 128988"/>
                  <a:gd name="connsiteY2" fmla="*/ 64494 h 128988"/>
                  <a:gd name="connsiteX3" fmla="*/ 64495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5" y="128989"/>
                    </a:cubicBezTo>
                    <a:cubicBezTo>
                      <a:pt x="28875" y="128989"/>
                      <a:pt x="0" y="100114"/>
                      <a:pt x="0" y="64494"/>
                    </a:cubicBezTo>
                    <a:cubicBezTo>
                      <a:pt x="0" y="28875"/>
                      <a:pt x="28875" y="0"/>
                      <a:pt x="64495" y="0"/>
                    </a:cubicBezTo>
                    <a:cubicBezTo>
                      <a:pt x="100114" y="0"/>
                      <a:pt x="128989" y="28875"/>
                      <a:pt x="128989" y="64494"/>
                    </a:cubicBezTo>
                    <a:close/>
                  </a:path>
                </a:pathLst>
              </a:custGeom>
              <a:solidFill>
                <a:schemeClr val="bg2"/>
              </a:solidFill>
              <a:ln w="4773" cap="flat">
                <a:noFill/>
                <a:prstDash val="solid"/>
                <a:miter/>
              </a:ln>
            </p:spPr>
            <p:txBody>
              <a:bodyPr rtlCol="0" anchor="ctr"/>
              <a:lstStyle/>
              <a:p>
                <a:endParaRPr lang="en-US" dirty="0"/>
              </a:p>
            </p:txBody>
          </p:sp>
        </p:grpSp>
        <p:grpSp>
          <p:nvGrpSpPr>
            <p:cNvPr id="1169" name="Group 1168">
              <a:extLst>
                <a:ext uri="{FF2B5EF4-FFF2-40B4-BE49-F238E27FC236}">
                  <a16:creationId xmlns:a16="http://schemas.microsoft.com/office/drawing/2014/main" id="{F94139F8-FFF7-48A2-8BE5-7C69FB602FC6}"/>
                </a:ext>
              </a:extLst>
            </p:cNvPr>
            <p:cNvGrpSpPr/>
            <p:nvPr/>
          </p:nvGrpSpPr>
          <p:grpSpPr>
            <a:xfrm>
              <a:off x="4506234" y="1931222"/>
              <a:ext cx="312008" cy="312008"/>
              <a:chOff x="987706" y="2608489"/>
              <a:chExt cx="1038422" cy="1038422"/>
            </a:xfrm>
          </p:grpSpPr>
          <p:sp>
            <p:nvSpPr>
              <p:cNvPr id="1170" name="Oval 1169">
                <a:extLst>
                  <a:ext uri="{FF2B5EF4-FFF2-40B4-BE49-F238E27FC236}">
                    <a16:creationId xmlns:a16="http://schemas.microsoft.com/office/drawing/2014/main" id="{59260536-4F6C-4D08-817E-E7B5F06CAF3F}"/>
                  </a:ext>
                </a:extLst>
              </p:cNvPr>
              <p:cNvSpPr/>
              <p:nvPr/>
            </p:nvSpPr>
            <p:spPr>
              <a:xfrm>
                <a:off x="987706" y="2608489"/>
                <a:ext cx="1038422" cy="1038422"/>
              </a:xfrm>
              <a:prstGeom prst="ellipse">
                <a:avLst/>
              </a:prstGeom>
              <a:pattFill prst="wdUpDiag">
                <a:fgClr>
                  <a:schemeClr val="tx2">
                    <a:lumMod val="20000"/>
                    <a:lumOff val="80000"/>
                  </a:schemeClr>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171" name="Oval 1170">
                <a:extLst>
                  <a:ext uri="{FF2B5EF4-FFF2-40B4-BE49-F238E27FC236}">
                    <a16:creationId xmlns:a16="http://schemas.microsoft.com/office/drawing/2014/main" id="{704B933F-321E-43F5-8A68-6C42DEBE0C77}"/>
                  </a:ext>
                </a:extLst>
              </p:cNvPr>
              <p:cNvSpPr/>
              <p:nvPr/>
            </p:nvSpPr>
            <p:spPr>
              <a:xfrm>
                <a:off x="1097280" y="2718063"/>
                <a:ext cx="928848" cy="928848"/>
              </a:xfrm>
              <a:prstGeom prst="ellipse">
                <a:avLst/>
              </a:prstGeom>
              <a:solidFill>
                <a:schemeClr val="tx2">
                  <a:lumMod val="75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solidFill>
                    <a:schemeClr val="bg2"/>
                  </a:solidFill>
                </a:endParaRPr>
              </a:p>
            </p:txBody>
          </p:sp>
        </p:grpSp>
        <p:grpSp>
          <p:nvGrpSpPr>
            <p:cNvPr id="1172" name="Group 1171">
              <a:extLst>
                <a:ext uri="{FF2B5EF4-FFF2-40B4-BE49-F238E27FC236}">
                  <a16:creationId xmlns:a16="http://schemas.microsoft.com/office/drawing/2014/main" id="{E379BE5C-C112-48B3-ADDB-172E1D96F6EA}"/>
                </a:ext>
              </a:extLst>
            </p:cNvPr>
            <p:cNvGrpSpPr/>
            <p:nvPr/>
          </p:nvGrpSpPr>
          <p:grpSpPr>
            <a:xfrm rot="8179900">
              <a:off x="5907833" y="3722187"/>
              <a:ext cx="312008" cy="312008"/>
              <a:chOff x="987706" y="2608489"/>
              <a:chExt cx="1038422" cy="1038422"/>
            </a:xfrm>
          </p:grpSpPr>
          <p:sp>
            <p:nvSpPr>
              <p:cNvPr id="1173" name="Oval 1172">
                <a:extLst>
                  <a:ext uri="{FF2B5EF4-FFF2-40B4-BE49-F238E27FC236}">
                    <a16:creationId xmlns:a16="http://schemas.microsoft.com/office/drawing/2014/main" id="{8005E3C6-266B-4631-BDFF-6995988A7A35}"/>
                  </a:ext>
                </a:extLst>
              </p:cNvPr>
              <p:cNvSpPr/>
              <p:nvPr/>
            </p:nvSpPr>
            <p:spPr>
              <a:xfrm>
                <a:off x="987706" y="2608489"/>
                <a:ext cx="1038422" cy="1038422"/>
              </a:xfrm>
              <a:prstGeom prst="ellipse">
                <a:avLst/>
              </a:prstGeom>
              <a:pattFill prst="wdUpDiag">
                <a:fgClr>
                  <a:schemeClr val="tx2">
                    <a:lumMod val="20000"/>
                    <a:lumOff val="80000"/>
                  </a:schemeClr>
                </a:fgClr>
                <a:bgClr>
                  <a:srgbClr val="FFFFFF"/>
                </a:bgClr>
              </a:patt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1174" name="Oval 1173">
                <a:extLst>
                  <a:ext uri="{FF2B5EF4-FFF2-40B4-BE49-F238E27FC236}">
                    <a16:creationId xmlns:a16="http://schemas.microsoft.com/office/drawing/2014/main" id="{EDDC9AFB-7331-4BAE-A00F-891A2ACA60EE}"/>
                  </a:ext>
                </a:extLst>
              </p:cNvPr>
              <p:cNvSpPr/>
              <p:nvPr/>
            </p:nvSpPr>
            <p:spPr>
              <a:xfrm>
                <a:off x="1097280" y="2718063"/>
                <a:ext cx="928848" cy="928848"/>
              </a:xfrm>
              <a:prstGeom prst="ellipse">
                <a:avLst/>
              </a:prstGeom>
              <a:solidFill>
                <a:schemeClr val="tx2">
                  <a:lumMod val="75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400" dirty="0">
                  <a:solidFill>
                    <a:schemeClr val="bg2"/>
                  </a:solidFill>
                </a:endParaRPr>
              </a:p>
            </p:txBody>
          </p:sp>
        </p:grpSp>
        <p:pic>
          <p:nvPicPr>
            <p:cNvPr id="548" name="Picture 547">
              <a:extLst>
                <a:ext uri="{FF2B5EF4-FFF2-40B4-BE49-F238E27FC236}">
                  <a16:creationId xmlns:a16="http://schemas.microsoft.com/office/drawing/2014/main" id="{4095C21B-417A-4765-AEF2-133145D6B1C1}"/>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344235" y="2007145"/>
              <a:ext cx="2087798" cy="1978223"/>
            </a:xfrm>
            <a:custGeom>
              <a:avLst/>
              <a:gdLst>
                <a:gd name="connsiteX0" fmla="*/ 1909845 w 7177670"/>
                <a:gd name="connsiteY0" fmla="*/ 0 h 6760733"/>
                <a:gd name="connsiteX1" fmla="*/ 5267826 w 7177670"/>
                <a:gd name="connsiteY1" fmla="*/ 0 h 6760733"/>
                <a:gd name="connsiteX2" fmla="*/ 5299487 w 7177670"/>
                <a:gd name="connsiteY2" fmla="*/ 16216 h 6760733"/>
                <a:gd name="connsiteX3" fmla="*/ 7177670 w 7177670"/>
                <a:gd name="connsiteY3" fmla="*/ 3171898 h 6760733"/>
                <a:gd name="connsiteX4" fmla="*/ 3588835 w 7177670"/>
                <a:gd name="connsiteY4" fmla="*/ 6760733 h 6760733"/>
                <a:gd name="connsiteX5" fmla="*/ 0 w 7177670"/>
                <a:gd name="connsiteY5" fmla="*/ 3171898 h 6760733"/>
                <a:gd name="connsiteX6" fmla="*/ 1878183 w 7177670"/>
                <a:gd name="connsiteY6" fmla="*/ 16216 h 676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77670" h="6760733">
                  <a:moveTo>
                    <a:pt x="1909845" y="0"/>
                  </a:moveTo>
                  <a:lnTo>
                    <a:pt x="5267826" y="0"/>
                  </a:lnTo>
                  <a:lnTo>
                    <a:pt x="5299487" y="16216"/>
                  </a:lnTo>
                  <a:cubicBezTo>
                    <a:pt x="6418217" y="623947"/>
                    <a:pt x="7177670" y="1809233"/>
                    <a:pt x="7177670" y="3171898"/>
                  </a:cubicBezTo>
                  <a:cubicBezTo>
                    <a:pt x="7177670" y="5153957"/>
                    <a:pt x="5570894" y="6760733"/>
                    <a:pt x="3588835" y="6760733"/>
                  </a:cubicBezTo>
                  <a:cubicBezTo>
                    <a:pt x="1606776" y="6760733"/>
                    <a:pt x="0" y="5153957"/>
                    <a:pt x="0" y="3171898"/>
                  </a:cubicBezTo>
                  <a:cubicBezTo>
                    <a:pt x="0" y="1809233"/>
                    <a:pt x="759453" y="623947"/>
                    <a:pt x="1878183" y="16216"/>
                  </a:cubicBezTo>
                  <a:close/>
                </a:path>
              </a:pathLst>
            </a:custGeom>
          </p:spPr>
        </p:pic>
      </p:grpSp>
    </p:spTree>
    <p:extLst>
      <p:ext uri="{BB962C8B-B14F-4D97-AF65-F5344CB8AC3E}">
        <p14:creationId xmlns:p14="http://schemas.microsoft.com/office/powerpoint/2010/main" val="1648108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22" name="Freeform: Shape 421">
            <a:extLst>
              <a:ext uri="{FF2B5EF4-FFF2-40B4-BE49-F238E27FC236}">
                <a16:creationId xmlns:a16="http://schemas.microsoft.com/office/drawing/2014/main" id="{E259475F-9270-47EB-B2EE-E6489696F8C6}"/>
              </a:ext>
            </a:extLst>
          </p:cNvPr>
          <p:cNvSpPr>
            <a:spLocks/>
          </p:cNvSpPr>
          <p:nvPr/>
        </p:nvSpPr>
        <p:spPr bwMode="auto">
          <a:xfrm>
            <a:off x="10397280" y="4299855"/>
            <a:ext cx="1361058" cy="1380870"/>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chemeClr val="bg2">
              <a:lumMod val="95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21" name="Freeform: Shape 420">
            <a:extLst>
              <a:ext uri="{FF2B5EF4-FFF2-40B4-BE49-F238E27FC236}">
                <a16:creationId xmlns:a16="http://schemas.microsoft.com/office/drawing/2014/main" id="{714BC556-8890-42F8-8A07-C91947EF1B29}"/>
              </a:ext>
            </a:extLst>
          </p:cNvPr>
          <p:cNvSpPr>
            <a:spLocks/>
          </p:cNvSpPr>
          <p:nvPr/>
        </p:nvSpPr>
        <p:spPr bwMode="auto">
          <a:xfrm>
            <a:off x="9716751" y="1967454"/>
            <a:ext cx="1361058" cy="1380870"/>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chemeClr val="bg2">
              <a:lumMod val="95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20" name="Freeform: Shape 419">
            <a:extLst>
              <a:ext uri="{FF2B5EF4-FFF2-40B4-BE49-F238E27FC236}">
                <a16:creationId xmlns:a16="http://schemas.microsoft.com/office/drawing/2014/main" id="{B43CC68E-700B-416E-B0FF-852C564CE502}"/>
              </a:ext>
            </a:extLst>
          </p:cNvPr>
          <p:cNvSpPr>
            <a:spLocks/>
          </p:cNvSpPr>
          <p:nvPr/>
        </p:nvSpPr>
        <p:spPr bwMode="auto">
          <a:xfrm>
            <a:off x="6683683" y="960875"/>
            <a:ext cx="1361058" cy="1380870"/>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chemeClr val="bg2">
              <a:lumMod val="95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19" name="Freeform: Shape 418">
            <a:extLst>
              <a:ext uri="{FF2B5EF4-FFF2-40B4-BE49-F238E27FC236}">
                <a16:creationId xmlns:a16="http://schemas.microsoft.com/office/drawing/2014/main" id="{4A92C84E-3E86-4E0A-9904-298B662996FD}"/>
              </a:ext>
            </a:extLst>
          </p:cNvPr>
          <p:cNvSpPr>
            <a:spLocks/>
          </p:cNvSpPr>
          <p:nvPr/>
        </p:nvSpPr>
        <p:spPr bwMode="auto">
          <a:xfrm>
            <a:off x="4317480" y="960875"/>
            <a:ext cx="1361058" cy="1380870"/>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chemeClr val="bg2">
              <a:lumMod val="95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18" name="Freeform: Shape 417">
            <a:extLst>
              <a:ext uri="{FF2B5EF4-FFF2-40B4-BE49-F238E27FC236}">
                <a16:creationId xmlns:a16="http://schemas.microsoft.com/office/drawing/2014/main" id="{98C0E8F0-0E2D-4F4D-932C-C0A54FE0B3C4}"/>
              </a:ext>
            </a:extLst>
          </p:cNvPr>
          <p:cNvSpPr>
            <a:spLocks/>
          </p:cNvSpPr>
          <p:nvPr/>
        </p:nvSpPr>
        <p:spPr bwMode="auto">
          <a:xfrm>
            <a:off x="1913080" y="1768292"/>
            <a:ext cx="1361058" cy="1380870"/>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chemeClr val="bg2">
              <a:lumMod val="95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16" name="Freeform: Shape 415">
            <a:extLst>
              <a:ext uri="{FF2B5EF4-FFF2-40B4-BE49-F238E27FC236}">
                <a16:creationId xmlns:a16="http://schemas.microsoft.com/office/drawing/2014/main" id="{FBC607C7-AEF1-4581-9C1A-D179005A642F}"/>
              </a:ext>
            </a:extLst>
          </p:cNvPr>
          <p:cNvSpPr>
            <a:spLocks/>
          </p:cNvSpPr>
          <p:nvPr/>
        </p:nvSpPr>
        <p:spPr bwMode="auto">
          <a:xfrm>
            <a:off x="393261" y="3856275"/>
            <a:ext cx="1361058" cy="1380870"/>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chemeClr val="bg2">
              <a:lumMod val="95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10" name="Arc 409">
            <a:extLst>
              <a:ext uri="{FF2B5EF4-FFF2-40B4-BE49-F238E27FC236}">
                <a16:creationId xmlns:a16="http://schemas.microsoft.com/office/drawing/2014/main" id="{1F498C6F-57A2-41BB-91BF-12CADE9A4879}"/>
              </a:ext>
            </a:extLst>
          </p:cNvPr>
          <p:cNvSpPr/>
          <p:nvPr/>
        </p:nvSpPr>
        <p:spPr>
          <a:xfrm>
            <a:off x="2932816" y="3131884"/>
            <a:ext cx="6326368" cy="6326368"/>
          </a:xfrm>
          <a:prstGeom prst="arc">
            <a:avLst>
              <a:gd name="adj1" fmla="val 10747920"/>
              <a:gd name="adj2" fmla="val 0"/>
            </a:avLst>
          </a:prstGeom>
          <a:gradFill flip="none" rotWithShape="1">
            <a:gsLst>
              <a:gs pos="55000">
                <a:schemeClr val="accent1">
                  <a:lumMod val="20000"/>
                  <a:lumOff val="80000"/>
                  <a:alpha val="10000"/>
                </a:schemeClr>
              </a:gs>
              <a:gs pos="91000">
                <a:schemeClr val="accent1">
                  <a:lumMod val="20000"/>
                  <a:lumOff val="80000"/>
                </a:schemeClr>
              </a:gs>
            </a:gsLst>
            <a:lin ang="5400000" scaled="1"/>
            <a:tileRect/>
          </a:gradFill>
          <a:ln w="254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396" name="Group 395">
            <a:extLst>
              <a:ext uri="{FF2B5EF4-FFF2-40B4-BE49-F238E27FC236}">
                <a16:creationId xmlns:a16="http://schemas.microsoft.com/office/drawing/2014/main" id="{CEF150D8-CBCD-4B30-BDA3-183B44A1133F}"/>
              </a:ext>
            </a:extLst>
          </p:cNvPr>
          <p:cNvGrpSpPr/>
          <p:nvPr/>
        </p:nvGrpSpPr>
        <p:grpSpPr>
          <a:xfrm>
            <a:off x="2368422" y="2511706"/>
            <a:ext cx="7399379" cy="3009418"/>
            <a:chOff x="2368422" y="2511706"/>
            <a:chExt cx="7399379" cy="3009418"/>
          </a:xfrm>
        </p:grpSpPr>
        <p:grpSp>
          <p:nvGrpSpPr>
            <p:cNvPr id="391" name="Group 390">
              <a:extLst>
                <a:ext uri="{FF2B5EF4-FFF2-40B4-BE49-F238E27FC236}">
                  <a16:creationId xmlns:a16="http://schemas.microsoft.com/office/drawing/2014/main" id="{5A6BB105-3D29-49A4-8524-D2AA3E425BAC}"/>
                </a:ext>
              </a:extLst>
            </p:cNvPr>
            <p:cNvGrpSpPr/>
            <p:nvPr/>
          </p:nvGrpSpPr>
          <p:grpSpPr>
            <a:xfrm>
              <a:off x="2368422" y="2511706"/>
              <a:ext cx="3309258" cy="3009418"/>
              <a:chOff x="2368422" y="2511706"/>
              <a:chExt cx="3309258" cy="3009418"/>
            </a:xfrm>
          </p:grpSpPr>
          <p:cxnSp>
            <p:nvCxnSpPr>
              <p:cNvPr id="384" name="Straight Connector 383">
                <a:extLst>
                  <a:ext uri="{FF2B5EF4-FFF2-40B4-BE49-F238E27FC236}">
                    <a16:creationId xmlns:a16="http://schemas.microsoft.com/office/drawing/2014/main" id="{4092FFAD-3B13-4C4A-AADA-01710DA1E181}"/>
                  </a:ext>
                </a:extLst>
              </p:cNvPr>
              <p:cNvCxnSpPr>
                <a:cxnSpLocks/>
              </p:cNvCxnSpPr>
              <p:nvPr/>
            </p:nvCxnSpPr>
            <p:spPr>
              <a:xfrm flipH="1" flipV="1">
                <a:off x="5104435" y="2511706"/>
                <a:ext cx="573245" cy="2193357"/>
              </a:xfrm>
              <a:prstGeom prst="line">
                <a:avLst/>
              </a:prstGeom>
              <a:ln w="15875" cap="rnd">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0950CA3-A112-4E63-A91C-4BF9C1DCD1C0}"/>
                  </a:ext>
                </a:extLst>
              </p:cNvPr>
              <p:cNvCxnSpPr>
                <a:cxnSpLocks/>
              </p:cNvCxnSpPr>
              <p:nvPr/>
            </p:nvCxnSpPr>
            <p:spPr>
              <a:xfrm flipH="1" flipV="1">
                <a:off x="2368422" y="4705062"/>
                <a:ext cx="1960510" cy="816062"/>
              </a:xfrm>
              <a:prstGeom prst="line">
                <a:avLst/>
              </a:prstGeom>
              <a:ln w="15875" cap="rnd">
                <a:prstDash val="sysDot"/>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46347E64-1E18-4C5D-943F-672450A7AB17}"/>
                  </a:ext>
                </a:extLst>
              </p:cNvPr>
              <p:cNvCxnSpPr>
                <a:cxnSpLocks/>
                <a:stCxn id="383" idx="1"/>
              </p:cNvCxnSpPr>
              <p:nvPr/>
            </p:nvCxnSpPr>
            <p:spPr>
              <a:xfrm flipH="1" flipV="1">
                <a:off x="3518704" y="3162364"/>
                <a:ext cx="1399038" cy="1709114"/>
              </a:xfrm>
              <a:prstGeom prst="line">
                <a:avLst/>
              </a:prstGeom>
              <a:ln w="15875" cap="rnd">
                <a:prstDash val="sysDot"/>
              </a:ln>
            </p:spPr>
            <p:style>
              <a:lnRef idx="1">
                <a:schemeClr val="accent1"/>
              </a:lnRef>
              <a:fillRef idx="0">
                <a:schemeClr val="accent1"/>
              </a:fillRef>
              <a:effectRef idx="0">
                <a:schemeClr val="accent1"/>
              </a:effectRef>
              <a:fontRef idx="minor">
                <a:schemeClr val="tx1"/>
              </a:fontRef>
            </p:style>
          </p:cxnSp>
        </p:grpSp>
        <p:grpSp>
          <p:nvGrpSpPr>
            <p:cNvPr id="392" name="Group 391">
              <a:extLst>
                <a:ext uri="{FF2B5EF4-FFF2-40B4-BE49-F238E27FC236}">
                  <a16:creationId xmlns:a16="http://schemas.microsoft.com/office/drawing/2014/main" id="{75B2148F-DF85-40E3-BD32-6731AC719349}"/>
                </a:ext>
              </a:extLst>
            </p:cNvPr>
            <p:cNvGrpSpPr/>
            <p:nvPr/>
          </p:nvGrpSpPr>
          <p:grpSpPr>
            <a:xfrm flipH="1">
              <a:off x="6458543" y="2511706"/>
              <a:ext cx="3309258" cy="3009418"/>
              <a:chOff x="2368422" y="2511706"/>
              <a:chExt cx="3309258" cy="3009418"/>
            </a:xfrm>
          </p:grpSpPr>
          <p:cxnSp>
            <p:nvCxnSpPr>
              <p:cNvPr id="393" name="Straight Connector 392">
                <a:extLst>
                  <a:ext uri="{FF2B5EF4-FFF2-40B4-BE49-F238E27FC236}">
                    <a16:creationId xmlns:a16="http://schemas.microsoft.com/office/drawing/2014/main" id="{FF086929-3697-482E-A700-2BFAA915F2C5}"/>
                  </a:ext>
                </a:extLst>
              </p:cNvPr>
              <p:cNvCxnSpPr>
                <a:cxnSpLocks/>
              </p:cNvCxnSpPr>
              <p:nvPr/>
            </p:nvCxnSpPr>
            <p:spPr>
              <a:xfrm flipH="1" flipV="1">
                <a:off x="5104435" y="2511706"/>
                <a:ext cx="573245" cy="2193357"/>
              </a:xfrm>
              <a:prstGeom prst="line">
                <a:avLst/>
              </a:prstGeom>
              <a:ln w="15875" cap="rnd">
                <a:prstDash val="sysDot"/>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B05BD000-6149-41A0-ADD4-607EF5A86C3D}"/>
                  </a:ext>
                </a:extLst>
              </p:cNvPr>
              <p:cNvCxnSpPr>
                <a:cxnSpLocks/>
              </p:cNvCxnSpPr>
              <p:nvPr/>
            </p:nvCxnSpPr>
            <p:spPr>
              <a:xfrm flipH="1" flipV="1">
                <a:off x="2368422" y="4705062"/>
                <a:ext cx="1960510" cy="816062"/>
              </a:xfrm>
              <a:prstGeom prst="line">
                <a:avLst/>
              </a:prstGeom>
              <a:ln w="15875" cap="rnd">
                <a:prstDash val="sysDot"/>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6098C728-BAF7-43EF-ACA1-E32B39451D8C}"/>
                  </a:ext>
                </a:extLst>
              </p:cNvPr>
              <p:cNvCxnSpPr>
                <a:cxnSpLocks/>
              </p:cNvCxnSpPr>
              <p:nvPr/>
            </p:nvCxnSpPr>
            <p:spPr>
              <a:xfrm flipH="1" flipV="1">
                <a:off x="3518704" y="3131884"/>
                <a:ext cx="1399038" cy="1709114"/>
              </a:xfrm>
              <a:prstGeom prst="line">
                <a:avLst/>
              </a:prstGeom>
              <a:ln w="15875" cap="rnd">
                <a:prstDash val="sysDot"/>
              </a:ln>
            </p:spPr>
            <p:style>
              <a:lnRef idx="1">
                <a:schemeClr val="accent1"/>
              </a:lnRef>
              <a:fillRef idx="0">
                <a:schemeClr val="accent1"/>
              </a:fillRef>
              <a:effectRef idx="0">
                <a:schemeClr val="accent1"/>
              </a:effectRef>
              <a:fontRef idx="minor">
                <a:schemeClr val="tx1"/>
              </a:fontRef>
            </p:style>
          </p:cxnSp>
        </p:grpSp>
      </p:grpSp>
      <p:sp>
        <p:nvSpPr>
          <p:cNvPr id="12" name="Arc 11">
            <a:extLst>
              <a:ext uri="{FF2B5EF4-FFF2-40B4-BE49-F238E27FC236}">
                <a16:creationId xmlns:a16="http://schemas.microsoft.com/office/drawing/2014/main" id="{80F02710-6BC2-4B45-A89D-68799BA5035A}"/>
              </a:ext>
            </a:extLst>
          </p:cNvPr>
          <p:cNvSpPr/>
          <p:nvPr/>
        </p:nvSpPr>
        <p:spPr>
          <a:xfrm>
            <a:off x="4203444" y="4416016"/>
            <a:ext cx="3758104" cy="3758104"/>
          </a:xfrm>
          <a:prstGeom prst="arc">
            <a:avLst>
              <a:gd name="adj1" fmla="val 10747920"/>
              <a:gd name="adj2" fmla="val 0"/>
            </a:avLst>
          </a:prstGeom>
          <a:solidFill>
            <a:schemeClr val="bg2"/>
          </a:solidFill>
          <a:ln w="25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936C8B4B-AE31-4B2B-BF1F-18A3BB244641}"/>
              </a:ext>
            </a:extLst>
          </p:cNvPr>
          <p:cNvSpPr>
            <a:spLocks noGrp="1"/>
          </p:cNvSpPr>
          <p:nvPr>
            <p:ph type="ftr" sz="quarter" idx="10"/>
          </p:nvPr>
        </p:nvSpPr>
        <p:spPr/>
        <p:txBody>
          <a:bodyPr/>
          <a:lstStyle/>
          <a:p>
            <a:r>
              <a:rPr lang="en-US" dirty="0"/>
              <a:t>© 2020 Cisco and/or its affiliates. All rights reserved. Cisco Confidential</a:t>
            </a:r>
          </a:p>
        </p:txBody>
      </p:sp>
      <p:sp>
        <p:nvSpPr>
          <p:cNvPr id="346" name="Title 1">
            <a:extLst>
              <a:ext uri="{FF2B5EF4-FFF2-40B4-BE49-F238E27FC236}">
                <a16:creationId xmlns:a16="http://schemas.microsoft.com/office/drawing/2014/main" id="{252DF9BC-655B-4835-9748-482421FDE251}"/>
              </a:ext>
            </a:extLst>
          </p:cNvPr>
          <p:cNvSpPr>
            <a:spLocks noGrp="1"/>
          </p:cNvSpPr>
          <p:nvPr>
            <p:ph type="title"/>
          </p:nvPr>
        </p:nvSpPr>
        <p:spPr>
          <a:xfrm>
            <a:off x="533400" y="481807"/>
            <a:ext cx="11127317" cy="787908"/>
          </a:xfrm>
        </p:spPr>
        <p:txBody>
          <a:bodyPr/>
          <a:lstStyle/>
          <a:p>
            <a:r>
              <a:rPr lang="en-US" sz="3200" dirty="0"/>
              <a:t>As companies consider next steps, remote workers unknowingly create more risk</a:t>
            </a:r>
          </a:p>
        </p:txBody>
      </p:sp>
      <p:sp>
        <p:nvSpPr>
          <p:cNvPr id="10" name="Arc 9">
            <a:extLst>
              <a:ext uri="{FF2B5EF4-FFF2-40B4-BE49-F238E27FC236}">
                <a16:creationId xmlns:a16="http://schemas.microsoft.com/office/drawing/2014/main" id="{4002A57C-84A9-4D64-A720-C9E98034765C}"/>
              </a:ext>
            </a:extLst>
          </p:cNvPr>
          <p:cNvSpPr/>
          <p:nvPr/>
        </p:nvSpPr>
        <p:spPr>
          <a:xfrm>
            <a:off x="4618299" y="4830871"/>
            <a:ext cx="2928394" cy="2928394"/>
          </a:xfrm>
          <a:prstGeom prst="arc">
            <a:avLst>
              <a:gd name="adj1" fmla="val 10747920"/>
              <a:gd name="adj2" fmla="val 0"/>
            </a:avLst>
          </a:prstGeom>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383" name="Picture 382" descr="A picture containing man, looking, black, sitting&#10;&#10;Description automatically generated">
            <a:extLst>
              <a:ext uri="{FF2B5EF4-FFF2-40B4-BE49-F238E27FC236}">
                <a16:creationId xmlns:a16="http://schemas.microsoft.com/office/drawing/2014/main" id="{12DEAD04-3D7B-44B4-8FFE-54829D15406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917742" y="3589554"/>
            <a:ext cx="3126999" cy="2563848"/>
          </a:xfrm>
          <a:prstGeom prst="rect">
            <a:avLst/>
          </a:prstGeom>
        </p:spPr>
      </p:pic>
      <p:sp>
        <p:nvSpPr>
          <p:cNvPr id="9" name="Rectangle 8">
            <a:extLst>
              <a:ext uri="{FF2B5EF4-FFF2-40B4-BE49-F238E27FC236}">
                <a16:creationId xmlns:a16="http://schemas.microsoft.com/office/drawing/2014/main" id="{6A2B730F-C7B2-42C0-BE04-DC707274D8ED}"/>
              </a:ext>
            </a:extLst>
          </p:cNvPr>
          <p:cNvSpPr/>
          <p:nvPr/>
        </p:nvSpPr>
        <p:spPr>
          <a:xfrm>
            <a:off x="0" y="6099216"/>
            <a:ext cx="12192000" cy="75878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7" name="Group 16">
            <a:extLst>
              <a:ext uri="{FF2B5EF4-FFF2-40B4-BE49-F238E27FC236}">
                <a16:creationId xmlns:a16="http://schemas.microsoft.com/office/drawing/2014/main" id="{7C1AAC7D-84AA-41C0-8789-78EDFD933D1B}"/>
              </a:ext>
            </a:extLst>
          </p:cNvPr>
          <p:cNvGrpSpPr/>
          <p:nvPr/>
        </p:nvGrpSpPr>
        <p:grpSpPr>
          <a:xfrm>
            <a:off x="5199934" y="5612872"/>
            <a:ext cx="1703785" cy="1245128"/>
            <a:chOff x="5065273" y="5505855"/>
            <a:chExt cx="1222040" cy="893068"/>
          </a:xfrm>
        </p:grpSpPr>
        <p:sp>
          <p:nvSpPr>
            <p:cNvPr id="18" name="Freeform: Shape 17">
              <a:extLst>
                <a:ext uri="{FF2B5EF4-FFF2-40B4-BE49-F238E27FC236}">
                  <a16:creationId xmlns:a16="http://schemas.microsoft.com/office/drawing/2014/main" id="{76710824-9D72-4636-9784-AC52C033D61D}"/>
                </a:ext>
              </a:extLst>
            </p:cNvPr>
            <p:cNvSpPr/>
            <p:nvPr/>
          </p:nvSpPr>
          <p:spPr>
            <a:xfrm>
              <a:off x="5694802" y="5754519"/>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E955BA5F-F27C-4E31-AAA7-52C97CB5EBFD}"/>
                </a:ext>
              </a:extLst>
            </p:cNvPr>
            <p:cNvSpPr/>
            <p:nvPr/>
          </p:nvSpPr>
          <p:spPr>
            <a:xfrm>
              <a:off x="5694659" y="5704872"/>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CBE45E79-B1AC-4612-A305-7C581347B996}"/>
                </a:ext>
              </a:extLst>
            </p:cNvPr>
            <p:cNvSpPr/>
            <p:nvPr/>
          </p:nvSpPr>
          <p:spPr>
            <a:xfrm>
              <a:off x="5536275" y="5705873"/>
              <a:ext cx="42922" cy="42922"/>
            </a:xfrm>
            <a:custGeom>
              <a:avLst/>
              <a:gdLst>
                <a:gd name="connsiteX0" fmla="*/ 23893 w 42922"/>
                <a:gd name="connsiteY0" fmla="*/ 37056 h 42922"/>
                <a:gd name="connsiteX1" fmla="*/ 37056 w 42922"/>
                <a:gd name="connsiteY1" fmla="*/ 23894 h 42922"/>
                <a:gd name="connsiteX2" fmla="*/ 23893 w 42922"/>
                <a:gd name="connsiteY2" fmla="*/ 10731 h 42922"/>
                <a:gd name="connsiteX3" fmla="*/ 10731 w 42922"/>
                <a:gd name="connsiteY3" fmla="*/ 23894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4"/>
                  </a:cubicBezTo>
                  <a:cubicBezTo>
                    <a:pt x="37056" y="16624"/>
                    <a:pt x="31163" y="10731"/>
                    <a:pt x="23893" y="10731"/>
                  </a:cubicBezTo>
                  <a:cubicBezTo>
                    <a:pt x="16624" y="10731"/>
                    <a:pt x="10731" y="16624"/>
                    <a:pt x="10731" y="23894"/>
                  </a:cubicBezTo>
                  <a:cubicBezTo>
                    <a:pt x="10731" y="31163"/>
                    <a:pt x="16624" y="37056"/>
                    <a:pt x="23893"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CF6845B9-7BA4-46D6-9E82-E72FAB478379}"/>
                </a:ext>
              </a:extLst>
            </p:cNvPr>
            <p:cNvSpPr/>
            <p:nvPr/>
          </p:nvSpPr>
          <p:spPr>
            <a:xfrm>
              <a:off x="5694659" y="5655225"/>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38943E04-25B9-464D-938C-0EA4AC3CE27A}"/>
                </a:ext>
              </a:extLst>
            </p:cNvPr>
            <p:cNvSpPr/>
            <p:nvPr/>
          </p:nvSpPr>
          <p:spPr>
            <a:xfrm>
              <a:off x="5536847" y="5755663"/>
              <a:ext cx="42922" cy="42922"/>
            </a:xfrm>
            <a:custGeom>
              <a:avLst/>
              <a:gdLst>
                <a:gd name="connsiteX0" fmla="*/ 23894 w 42922"/>
                <a:gd name="connsiteY0" fmla="*/ 10731 h 42922"/>
                <a:gd name="connsiteX1" fmla="*/ 10731 w 42922"/>
                <a:gd name="connsiteY1" fmla="*/ 23894 h 42922"/>
                <a:gd name="connsiteX2" fmla="*/ 23894 w 42922"/>
                <a:gd name="connsiteY2" fmla="*/ 37056 h 42922"/>
                <a:gd name="connsiteX3" fmla="*/ 37056 w 42922"/>
                <a:gd name="connsiteY3" fmla="*/ 23894 h 42922"/>
                <a:gd name="connsiteX4" fmla="*/ 23894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4" y="10731"/>
                  </a:moveTo>
                  <a:cubicBezTo>
                    <a:pt x="16624" y="10731"/>
                    <a:pt x="10731" y="16624"/>
                    <a:pt x="10731" y="23894"/>
                  </a:cubicBezTo>
                  <a:cubicBezTo>
                    <a:pt x="10731" y="31163"/>
                    <a:pt x="16624" y="37056"/>
                    <a:pt x="23894" y="37056"/>
                  </a:cubicBezTo>
                  <a:cubicBezTo>
                    <a:pt x="31163" y="37056"/>
                    <a:pt x="37056" y="31163"/>
                    <a:pt x="37056" y="23894"/>
                  </a:cubicBezTo>
                  <a:cubicBezTo>
                    <a:pt x="37056" y="16624"/>
                    <a:pt x="31163" y="10731"/>
                    <a:pt x="2389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E0072CE3-F440-443C-8D2D-898493B166E3}"/>
                </a:ext>
              </a:extLst>
            </p:cNvPr>
            <p:cNvSpPr/>
            <p:nvPr/>
          </p:nvSpPr>
          <p:spPr>
            <a:xfrm>
              <a:off x="5694659" y="5505855"/>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BBAB4878-B503-447D-BF1F-D40D7B6F3389}"/>
                </a:ext>
              </a:extLst>
            </p:cNvPr>
            <p:cNvSpPr/>
            <p:nvPr/>
          </p:nvSpPr>
          <p:spPr>
            <a:xfrm>
              <a:off x="5694659" y="5605435"/>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87D26E29-6487-4522-8F0A-E765731D09A6}"/>
                </a:ext>
              </a:extLst>
            </p:cNvPr>
            <p:cNvSpPr/>
            <p:nvPr/>
          </p:nvSpPr>
          <p:spPr>
            <a:xfrm>
              <a:off x="5694802" y="5555502"/>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A2D14682-45D5-433B-B803-28A4906DDD97}"/>
                </a:ext>
              </a:extLst>
            </p:cNvPr>
            <p:cNvSpPr/>
            <p:nvPr/>
          </p:nvSpPr>
          <p:spPr>
            <a:xfrm>
              <a:off x="5457727" y="5706875"/>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D800DE76-F9AE-48E7-864D-7FE40B31BF59}"/>
                </a:ext>
              </a:extLst>
            </p:cNvPr>
            <p:cNvSpPr/>
            <p:nvPr/>
          </p:nvSpPr>
          <p:spPr>
            <a:xfrm>
              <a:off x="5458299" y="5756235"/>
              <a:ext cx="42922" cy="42922"/>
            </a:xfrm>
            <a:custGeom>
              <a:avLst/>
              <a:gdLst>
                <a:gd name="connsiteX0" fmla="*/ 22892 w 42922"/>
                <a:gd name="connsiteY0" fmla="*/ 11160 h 42922"/>
                <a:gd name="connsiteX1" fmla="*/ 10731 w 42922"/>
                <a:gd name="connsiteY1" fmla="*/ 22892 h 42922"/>
                <a:gd name="connsiteX2" fmla="*/ 10731 w 42922"/>
                <a:gd name="connsiteY2" fmla="*/ 22892 h 42922"/>
                <a:gd name="connsiteX3" fmla="*/ 22892 w 42922"/>
                <a:gd name="connsiteY3" fmla="*/ 35053 h 42922"/>
                <a:gd name="connsiteX4" fmla="*/ 35053 w 42922"/>
                <a:gd name="connsiteY4" fmla="*/ 22892 h 42922"/>
                <a:gd name="connsiteX5" fmla="*/ 22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2" y="11160"/>
                  </a:moveTo>
                  <a:cubicBezTo>
                    <a:pt x="16309" y="11080"/>
                    <a:pt x="10887" y="16311"/>
                    <a:pt x="10731" y="22892"/>
                  </a:cubicBezTo>
                  <a:lnTo>
                    <a:pt x="10731" y="22892"/>
                  </a:ln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8568161F-B5A3-4C63-98EB-6B387A29D665}"/>
                </a:ext>
              </a:extLst>
            </p:cNvPr>
            <p:cNvSpPr/>
            <p:nvPr/>
          </p:nvSpPr>
          <p:spPr>
            <a:xfrm>
              <a:off x="5615109" y="5754662"/>
              <a:ext cx="42922" cy="42922"/>
            </a:xfrm>
            <a:custGeom>
              <a:avLst/>
              <a:gdLst>
                <a:gd name="connsiteX0" fmla="*/ 25038 w 42922"/>
                <a:gd name="connsiteY0" fmla="*/ 10731 h 42922"/>
                <a:gd name="connsiteX1" fmla="*/ 10731 w 42922"/>
                <a:gd name="connsiteY1" fmla="*/ 25038 h 42922"/>
                <a:gd name="connsiteX2" fmla="*/ 10731 w 42922"/>
                <a:gd name="connsiteY2" fmla="*/ 25038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lnTo>
                    <a:pt x="10731" y="25038"/>
                  </a:lnTo>
                  <a:cubicBezTo>
                    <a:pt x="10731" y="32940"/>
                    <a:pt x="17136" y="39346"/>
                    <a:pt x="25038" y="39346"/>
                  </a:cubicBez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5677BEC2-E581-427D-AC7F-1D6D8FAE82E4}"/>
                </a:ext>
              </a:extLst>
            </p:cNvPr>
            <p:cNvSpPr/>
            <p:nvPr/>
          </p:nvSpPr>
          <p:spPr>
            <a:xfrm>
              <a:off x="5457727" y="5557648"/>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7BEB8EC6-9B01-4D6E-AD84-F10F3E360A48}"/>
                </a:ext>
              </a:extLst>
            </p:cNvPr>
            <p:cNvSpPr/>
            <p:nvPr/>
          </p:nvSpPr>
          <p:spPr>
            <a:xfrm>
              <a:off x="5457727" y="5657228"/>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498C68BF-9824-42B0-8B61-99714ACAB2EB}"/>
                </a:ext>
              </a:extLst>
            </p:cNvPr>
            <p:cNvSpPr/>
            <p:nvPr/>
          </p:nvSpPr>
          <p:spPr>
            <a:xfrm>
              <a:off x="5536990" y="5508430"/>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21DD8D22-F1AC-4013-B407-8CC56B24D0B1}"/>
                </a:ext>
              </a:extLst>
            </p:cNvPr>
            <p:cNvSpPr/>
            <p:nvPr/>
          </p:nvSpPr>
          <p:spPr>
            <a:xfrm>
              <a:off x="5536990" y="5606007"/>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7C338648-9537-410C-809D-F2C002BAF473}"/>
                </a:ext>
              </a:extLst>
            </p:cNvPr>
            <p:cNvSpPr/>
            <p:nvPr/>
          </p:nvSpPr>
          <p:spPr>
            <a:xfrm>
              <a:off x="5536275" y="5556646"/>
              <a:ext cx="42922" cy="42922"/>
            </a:xfrm>
            <a:custGeom>
              <a:avLst/>
              <a:gdLst>
                <a:gd name="connsiteX0" fmla="*/ 23893 w 42922"/>
                <a:gd name="connsiteY0" fmla="*/ 37056 h 42922"/>
                <a:gd name="connsiteX1" fmla="*/ 37056 w 42922"/>
                <a:gd name="connsiteY1" fmla="*/ 23893 h 42922"/>
                <a:gd name="connsiteX2" fmla="*/ 23893 w 42922"/>
                <a:gd name="connsiteY2" fmla="*/ 10731 h 42922"/>
                <a:gd name="connsiteX3" fmla="*/ 10731 w 42922"/>
                <a:gd name="connsiteY3" fmla="*/ 23893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3"/>
                  </a:cubicBezTo>
                  <a:cubicBezTo>
                    <a:pt x="37056" y="16624"/>
                    <a:pt x="31163" y="10731"/>
                    <a:pt x="23893" y="10731"/>
                  </a:cubicBezTo>
                  <a:cubicBezTo>
                    <a:pt x="16624" y="10731"/>
                    <a:pt x="10731" y="16624"/>
                    <a:pt x="10731" y="23893"/>
                  </a:cubicBezTo>
                  <a:cubicBezTo>
                    <a:pt x="10731" y="31163"/>
                    <a:pt x="16624" y="37056"/>
                    <a:pt x="23893"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F2C96D44-423A-4425-AFAF-7FD28CB04E98}"/>
                </a:ext>
              </a:extLst>
            </p:cNvPr>
            <p:cNvSpPr/>
            <p:nvPr/>
          </p:nvSpPr>
          <p:spPr>
            <a:xfrm>
              <a:off x="5458585" y="5507089"/>
              <a:ext cx="42922" cy="42922"/>
            </a:xfrm>
            <a:custGeom>
              <a:avLst/>
              <a:gdLst>
                <a:gd name="connsiteX0" fmla="*/ 24753 w 42922"/>
                <a:gd name="connsiteY0" fmla="*/ 10784 h 42922"/>
                <a:gd name="connsiteX1" fmla="*/ 22893 w 42922"/>
                <a:gd name="connsiteY1" fmla="*/ 10784 h 42922"/>
                <a:gd name="connsiteX2" fmla="*/ 10732 w 42922"/>
                <a:gd name="connsiteY2" fmla="*/ 22946 h 42922"/>
                <a:gd name="connsiteX3" fmla="*/ 10732 w 42922"/>
                <a:gd name="connsiteY3" fmla="*/ 24663 h 42922"/>
                <a:gd name="connsiteX4" fmla="*/ 22464 w 42922"/>
                <a:gd name="connsiteY4" fmla="*/ 36824 h 42922"/>
                <a:gd name="connsiteX5" fmla="*/ 22464 w 42922"/>
                <a:gd name="connsiteY5" fmla="*/ 36824 h 42922"/>
                <a:gd name="connsiteX6" fmla="*/ 34841 w 42922"/>
                <a:gd name="connsiteY6" fmla="*/ 22920 h 42922"/>
                <a:gd name="connsiteX7" fmla="*/ 24324 w 42922"/>
                <a:gd name="connsiteY7" fmla="*/ 1078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4753" y="10784"/>
                  </a:moveTo>
                  <a:cubicBezTo>
                    <a:pt x="24135" y="10713"/>
                    <a:pt x="23511" y="10713"/>
                    <a:pt x="22893" y="10784"/>
                  </a:cubicBezTo>
                  <a:cubicBezTo>
                    <a:pt x="16177" y="10784"/>
                    <a:pt x="10732" y="16230"/>
                    <a:pt x="10732" y="22946"/>
                  </a:cubicBezTo>
                  <a:lnTo>
                    <a:pt x="10732" y="24663"/>
                  </a:lnTo>
                  <a:cubicBezTo>
                    <a:pt x="10651" y="31245"/>
                    <a:pt x="15882" y="36668"/>
                    <a:pt x="22464" y="36824"/>
                  </a:cubicBezTo>
                  <a:lnTo>
                    <a:pt x="22464" y="36824"/>
                  </a:lnTo>
                  <a:cubicBezTo>
                    <a:pt x="29720" y="36402"/>
                    <a:pt x="35263" y="30178"/>
                    <a:pt x="34841" y="22920"/>
                  </a:cubicBezTo>
                  <a:cubicBezTo>
                    <a:pt x="34495" y="16957"/>
                    <a:pt x="30177" y="11975"/>
                    <a:pt x="24324" y="1078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D5D8B34A-3385-48CD-89B0-DC0C5C996AAC}"/>
                </a:ext>
              </a:extLst>
            </p:cNvPr>
            <p:cNvSpPr/>
            <p:nvPr/>
          </p:nvSpPr>
          <p:spPr>
            <a:xfrm>
              <a:off x="5855761" y="5657228"/>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C73FD909-C8D6-4601-9EB4-5298903E5F87}"/>
                </a:ext>
              </a:extLst>
            </p:cNvPr>
            <p:cNvSpPr/>
            <p:nvPr/>
          </p:nvSpPr>
          <p:spPr>
            <a:xfrm>
              <a:off x="5855761" y="5706875"/>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7AAE8919-EE76-4356-B622-9B0F06AA364B}"/>
                </a:ext>
              </a:extLst>
            </p:cNvPr>
            <p:cNvSpPr/>
            <p:nvPr/>
          </p:nvSpPr>
          <p:spPr>
            <a:xfrm>
              <a:off x="5856190" y="5756664"/>
              <a:ext cx="42922" cy="42922"/>
            </a:xfrm>
            <a:custGeom>
              <a:avLst/>
              <a:gdLst>
                <a:gd name="connsiteX0" fmla="*/ 22892 w 42922"/>
                <a:gd name="connsiteY0" fmla="*/ 10732 h 42922"/>
                <a:gd name="connsiteX1" fmla="*/ 22892 w 42922"/>
                <a:gd name="connsiteY1" fmla="*/ 10732 h 42922"/>
                <a:gd name="connsiteX2" fmla="*/ 10731 w 42922"/>
                <a:gd name="connsiteY2" fmla="*/ 22893 h 42922"/>
                <a:gd name="connsiteX3" fmla="*/ 22892 w 42922"/>
                <a:gd name="connsiteY3" fmla="*/ 35054 h 42922"/>
                <a:gd name="connsiteX4" fmla="*/ 35053 w 42922"/>
                <a:gd name="connsiteY4" fmla="*/ 22893 h 42922"/>
                <a:gd name="connsiteX5" fmla="*/ 23180 w 42922"/>
                <a:gd name="connsiteY5" fmla="*/ 10732 h 42922"/>
                <a:gd name="connsiteX6" fmla="*/ 22892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2"/>
                  </a:moveTo>
                  <a:lnTo>
                    <a:pt x="22892" y="10732"/>
                  </a:lnTo>
                  <a:cubicBezTo>
                    <a:pt x="16176" y="10732"/>
                    <a:pt x="10731" y="16177"/>
                    <a:pt x="10731" y="22893"/>
                  </a:cubicBezTo>
                  <a:cubicBezTo>
                    <a:pt x="10731" y="29609"/>
                    <a:pt x="16176" y="35054"/>
                    <a:pt x="22892" y="35054"/>
                  </a:cubicBezTo>
                  <a:cubicBezTo>
                    <a:pt x="29608" y="35054"/>
                    <a:pt x="35053" y="29609"/>
                    <a:pt x="35053" y="22893"/>
                  </a:cubicBezTo>
                  <a:cubicBezTo>
                    <a:pt x="35132" y="16256"/>
                    <a:pt x="29817" y="10812"/>
                    <a:pt x="23180" y="10732"/>
                  </a:cubicBezTo>
                  <a:cubicBezTo>
                    <a:pt x="23084" y="10730"/>
                    <a:pt x="22988" y="10730"/>
                    <a:pt x="2289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2408E4B8-26A9-4A72-BEC4-6ABF70A74C6C}"/>
                </a:ext>
              </a:extLst>
            </p:cNvPr>
            <p:cNvSpPr/>
            <p:nvPr/>
          </p:nvSpPr>
          <p:spPr>
            <a:xfrm>
              <a:off x="5855761" y="5607295"/>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3321 h 42922"/>
                <a:gd name="connsiteX4" fmla="*/ 35053 w 42922"/>
                <a:gd name="connsiteY4" fmla="*/ 23321 h 42922"/>
                <a:gd name="connsiteX5" fmla="*/ 23328 w 42922"/>
                <a:gd name="connsiteY5" fmla="*/ 10738 h 42922"/>
                <a:gd name="connsiteX6" fmla="*/ 22892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1"/>
                  </a:moveTo>
                  <a:cubicBezTo>
                    <a:pt x="16176" y="10731"/>
                    <a:pt x="10731" y="16176"/>
                    <a:pt x="10731" y="22892"/>
                  </a:cubicBezTo>
                  <a:cubicBezTo>
                    <a:pt x="10731" y="29608"/>
                    <a:pt x="16176" y="35053"/>
                    <a:pt x="22892" y="35053"/>
                  </a:cubicBezTo>
                  <a:cubicBezTo>
                    <a:pt x="29475" y="35133"/>
                    <a:pt x="34897" y="29903"/>
                    <a:pt x="35053" y="23321"/>
                  </a:cubicBezTo>
                  <a:lnTo>
                    <a:pt x="35053" y="23321"/>
                  </a:lnTo>
                  <a:cubicBezTo>
                    <a:pt x="35291" y="16610"/>
                    <a:pt x="30041" y="10975"/>
                    <a:pt x="23328" y="10738"/>
                  </a:cubicBezTo>
                  <a:cubicBezTo>
                    <a:pt x="23184" y="10733"/>
                    <a:pt x="2303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F3FA06B6-08EF-4E6B-A4DC-1D8B09D168AB}"/>
                </a:ext>
              </a:extLst>
            </p:cNvPr>
            <p:cNvSpPr/>
            <p:nvPr/>
          </p:nvSpPr>
          <p:spPr>
            <a:xfrm>
              <a:off x="5614537" y="5654939"/>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9E4288D6-676D-45EF-9077-978D6E011A99}"/>
                </a:ext>
              </a:extLst>
            </p:cNvPr>
            <p:cNvSpPr/>
            <p:nvPr/>
          </p:nvSpPr>
          <p:spPr>
            <a:xfrm>
              <a:off x="5855761" y="5557648"/>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CAA4DD27-4EDF-4308-B7A2-832935D4AA41}"/>
                </a:ext>
              </a:extLst>
            </p:cNvPr>
            <p:cNvSpPr/>
            <p:nvPr/>
          </p:nvSpPr>
          <p:spPr>
            <a:xfrm>
              <a:off x="5614680" y="5604719"/>
              <a:ext cx="42922" cy="42922"/>
            </a:xfrm>
            <a:custGeom>
              <a:avLst/>
              <a:gdLst>
                <a:gd name="connsiteX0" fmla="*/ 25753 w 42922"/>
                <a:gd name="connsiteY0" fmla="*/ 39346 h 42922"/>
                <a:gd name="connsiteX1" fmla="*/ 40061 w 42922"/>
                <a:gd name="connsiteY1" fmla="*/ 25038 h 42922"/>
                <a:gd name="connsiteX2" fmla="*/ 25753 w 42922"/>
                <a:gd name="connsiteY2" fmla="*/ 10731 h 42922"/>
                <a:gd name="connsiteX3" fmla="*/ 11446 w 42922"/>
                <a:gd name="connsiteY3" fmla="*/ 25038 h 42922"/>
                <a:gd name="connsiteX4" fmla="*/ 10731 w 42922"/>
                <a:gd name="connsiteY4" fmla="*/ 26040 h 42922"/>
                <a:gd name="connsiteX5" fmla="*/ 25753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753" y="39346"/>
                  </a:moveTo>
                  <a:cubicBezTo>
                    <a:pt x="33655" y="39346"/>
                    <a:pt x="40061" y="32940"/>
                    <a:pt x="40061" y="25038"/>
                  </a:cubicBezTo>
                  <a:cubicBezTo>
                    <a:pt x="40061" y="17136"/>
                    <a:pt x="33655" y="10731"/>
                    <a:pt x="25753" y="10731"/>
                  </a:cubicBezTo>
                  <a:cubicBezTo>
                    <a:pt x="17851" y="10731"/>
                    <a:pt x="11446" y="17136"/>
                    <a:pt x="11446" y="25038"/>
                  </a:cubicBezTo>
                  <a:lnTo>
                    <a:pt x="10731" y="26040"/>
                  </a:lnTo>
                  <a:cubicBezTo>
                    <a:pt x="11267" y="33831"/>
                    <a:pt x="17953" y="39755"/>
                    <a:pt x="25753"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44F29DE7-0490-4BCE-BB5D-191F3329C49D}"/>
                </a:ext>
              </a:extLst>
            </p:cNvPr>
            <p:cNvSpPr/>
            <p:nvPr/>
          </p:nvSpPr>
          <p:spPr>
            <a:xfrm>
              <a:off x="5854903" y="5507033"/>
              <a:ext cx="42922" cy="42922"/>
            </a:xfrm>
            <a:custGeom>
              <a:avLst/>
              <a:gdLst>
                <a:gd name="connsiteX0" fmla="*/ 24609 w 42922"/>
                <a:gd name="connsiteY0" fmla="*/ 10840 h 42922"/>
                <a:gd name="connsiteX1" fmla="*/ 22892 w 42922"/>
                <a:gd name="connsiteY1" fmla="*/ 10840 h 42922"/>
                <a:gd name="connsiteX2" fmla="*/ 10731 w 42922"/>
                <a:gd name="connsiteY2" fmla="*/ 23001 h 42922"/>
                <a:gd name="connsiteX3" fmla="*/ 22892 w 42922"/>
                <a:gd name="connsiteY3" fmla="*/ 35163 h 42922"/>
                <a:gd name="connsiteX4" fmla="*/ 35050 w 42922"/>
                <a:gd name="connsiteY4" fmla="*/ 23577 h 42922"/>
                <a:gd name="connsiteX5" fmla="*/ 35053 w 42922"/>
                <a:gd name="connsiteY5" fmla="*/ 23288 h 42922"/>
                <a:gd name="connsiteX6" fmla="*/ 35053 w 42922"/>
                <a:gd name="connsiteY6" fmla="*/ 23288 h 42922"/>
                <a:gd name="connsiteX7" fmla="*/ 35912 w 42922"/>
                <a:gd name="connsiteY7" fmla="*/ 23288 h 42922"/>
                <a:gd name="connsiteX8" fmla="*/ 24609 w 42922"/>
                <a:gd name="connsiteY8" fmla="*/ 1084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22" h="42922">
                  <a:moveTo>
                    <a:pt x="24609" y="10840"/>
                  </a:moveTo>
                  <a:cubicBezTo>
                    <a:pt x="24047" y="10694"/>
                    <a:pt x="23456" y="10694"/>
                    <a:pt x="22892" y="10840"/>
                  </a:cubicBezTo>
                  <a:cubicBezTo>
                    <a:pt x="16176" y="10840"/>
                    <a:pt x="10731" y="16285"/>
                    <a:pt x="10731" y="23001"/>
                  </a:cubicBezTo>
                  <a:cubicBezTo>
                    <a:pt x="10731" y="29717"/>
                    <a:pt x="16176" y="35163"/>
                    <a:pt x="22892" y="35163"/>
                  </a:cubicBezTo>
                  <a:cubicBezTo>
                    <a:pt x="29449" y="35320"/>
                    <a:pt x="34892" y="30134"/>
                    <a:pt x="35050" y="23577"/>
                  </a:cubicBezTo>
                  <a:cubicBezTo>
                    <a:pt x="35052" y="23481"/>
                    <a:pt x="35053" y="23383"/>
                    <a:pt x="35053" y="23288"/>
                  </a:cubicBezTo>
                  <a:lnTo>
                    <a:pt x="35053" y="23288"/>
                  </a:lnTo>
                  <a:lnTo>
                    <a:pt x="35912" y="23288"/>
                  </a:lnTo>
                  <a:cubicBezTo>
                    <a:pt x="36156" y="16755"/>
                    <a:pt x="31135" y="11225"/>
                    <a:pt x="24609" y="1084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80BB7372-0D83-46FE-A1BF-3509176B4223}"/>
                </a:ext>
              </a:extLst>
            </p:cNvPr>
            <p:cNvSpPr/>
            <p:nvPr/>
          </p:nvSpPr>
          <p:spPr>
            <a:xfrm>
              <a:off x="5775210" y="5705873"/>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6AA56C47-FB87-4069-9DEB-3F59004589D9}"/>
                </a:ext>
              </a:extLst>
            </p:cNvPr>
            <p:cNvSpPr/>
            <p:nvPr/>
          </p:nvSpPr>
          <p:spPr>
            <a:xfrm>
              <a:off x="5775210" y="5656226"/>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B8469893-B8DC-4612-AEDD-09FC210D22C8}"/>
                </a:ext>
              </a:extLst>
            </p:cNvPr>
            <p:cNvSpPr/>
            <p:nvPr/>
          </p:nvSpPr>
          <p:spPr>
            <a:xfrm>
              <a:off x="5536275" y="5656226"/>
              <a:ext cx="42922" cy="42922"/>
            </a:xfrm>
            <a:custGeom>
              <a:avLst/>
              <a:gdLst>
                <a:gd name="connsiteX0" fmla="*/ 23893 w 42922"/>
                <a:gd name="connsiteY0" fmla="*/ 37056 h 42922"/>
                <a:gd name="connsiteX1" fmla="*/ 37056 w 42922"/>
                <a:gd name="connsiteY1" fmla="*/ 23893 h 42922"/>
                <a:gd name="connsiteX2" fmla="*/ 23893 w 42922"/>
                <a:gd name="connsiteY2" fmla="*/ 10731 h 42922"/>
                <a:gd name="connsiteX3" fmla="*/ 10731 w 42922"/>
                <a:gd name="connsiteY3" fmla="*/ 23893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3"/>
                  </a:cubicBezTo>
                  <a:cubicBezTo>
                    <a:pt x="37056" y="16624"/>
                    <a:pt x="31163" y="10731"/>
                    <a:pt x="23893" y="10731"/>
                  </a:cubicBezTo>
                  <a:cubicBezTo>
                    <a:pt x="16624" y="10731"/>
                    <a:pt x="10731" y="16624"/>
                    <a:pt x="10731" y="23893"/>
                  </a:cubicBezTo>
                  <a:cubicBezTo>
                    <a:pt x="10731" y="31163"/>
                    <a:pt x="16624" y="37056"/>
                    <a:pt x="23893"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33B1A4EA-31CE-4729-A8D7-C92EE657A18D}"/>
                </a:ext>
              </a:extLst>
            </p:cNvPr>
            <p:cNvSpPr/>
            <p:nvPr/>
          </p:nvSpPr>
          <p:spPr>
            <a:xfrm>
              <a:off x="5775210" y="5755663"/>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0B53E6D5-11DB-4B61-95FC-D385D42B2733}"/>
                </a:ext>
              </a:extLst>
            </p:cNvPr>
            <p:cNvSpPr/>
            <p:nvPr/>
          </p:nvSpPr>
          <p:spPr>
            <a:xfrm>
              <a:off x="5614394" y="5704729"/>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25038 w 42922"/>
                <a:gd name="connsiteY3" fmla="*/ 10731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lnTo>
                    <a:pt x="25038" y="10731"/>
                  </a:lnTo>
                  <a:cubicBezTo>
                    <a:pt x="17136" y="10731"/>
                    <a:pt x="10731" y="17136"/>
                    <a:pt x="10731" y="25038"/>
                  </a:cubicBez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5A6F445A-82AD-4FE9-8281-DCC2BFEF44A9}"/>
                </a:ext>
              </a:extLst>
            </p:cNvPr>
            <p:cNvSpPr/>
            <p:nvPr/>
          </p:nvSpPr>
          <p:spPr>
            <a:xfrm>
              <a:off x="5775210" y="5506856"/>
              <a:ext cx="42922" cy="42922"/>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F4422F0E-97FB-4511-93F1-6EE4DF2E7C02}"/>
                </a:ext>
              </a:extLst>
            </p:cNvPr>
            <p:cNvSpPr/>
            <p:nvPr/>
          </p:nvSpPr>
          <p:spPr>
            <a:xfrm>
              <a:off x="5775210" y="5606293"/>
              <a:ext cx="42922" cy="42922"/>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06255D32-C3CE-4415-BDE5-A2916CDF0FC2}"/>
                </a:ext>
              </a:extLst>
            </p:cNvPr>
            <p:cNvSpPr/>
            <p:nvPr/>
          </p:nvSpPr>
          <p:spPr>
            <a:xfrm>
              <a:off x="5775211" y="5556789"/>
              <a:ext cx="42922" cy="42922"/>
            </a:xfrm>
            <a:custGeom>
              <a:avLst/>
              <a:gdLst>
                <a:gd name="connsiteX0" fmla="*/ 23892 w 42922"/>
                <a:gd name="connsiteY0" fmla="*/ 10731 h 42922"/>
                <a:gd name="connsiteX1" fmla="*/ 10731 w 42922"/>
                <a:gd name="connsiteY1" fmla="*/ 23895 h 42922"/>
                <a:gd name="connsiteX2" fmla="*/ 23893 w 42922"/>
                <a:gd name="connsiteY2" fmla="*/ 37056 h 42922"/>
                <a:gd name="connsiteX3" fmla="*/ 37056 w 42922"/>
                <a:gd name="connsiteY3" fmla="*/ 23892 h 42922"/>
                <a:gd name="connsiteX4" fmla="*/ 37055 w 42922"/>
                <a:gd name="connsiteY4" fmla="*/ 23750 h 42922"/>
                <a:gd name="connsiteX5" fmla="*/ 23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2" y="10731"/>
                  </a:moveTo>
                  <a:cubicBezTo>
                    <a:pt x="16622" y="10731"/>
                    <a:pt x="10729" y="16625"/>
                    <a:pt x="10731" y="23895"/>
                  </a:cubicBezTo>
                  <a:cubicBezTo>
                    <a:pt x="10731" y="31165"/>
                    <a:pt x="16624" y="37056"/>
                    <a:pt x="23893" y="37056"/>
                  </a:cubicBezTo>
                  <a:cubicBezTo>
                    <a:pt x="31163" y="37056"/>
                    <a:pt x="37056" y="31162"/>
                    <a:pt x="37056" y="23892"/>
                  </a:cubicBezTo>
                  <a:cubicBezTo>
                    <a:pt x="37056" y="23845"/>
                    <a:pt x="37055" y="23798"/>
                    <a:pt x="37055" y="23750"/>
                  </a:cubicBezTo>
                  <a:cubicBezTo>
                    <a:pt x="36976" y="16537"/>
                    <a:pt x="31106" y="10731"/>
                    <a:pt x="23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3BA416B3-62D2-4DAA-BA1C-1C3377C95A2F}"/>
                </a:ext>
              </a:extLst>
            </p:cNvPr>
            <p:cNvSpPr/>
            <p:nvPr/>
          </p:nvSpPr>
          <p:spPr>
            <a:xfrm>
              <a:off x="5144285" y="5758860"/>
              <a:ext cx="28615" cy="28615"/>
            </a:xfrm>
            <a:custGeom>
              <a:avLst/>
              <a:gdLst>
                <a:gd name="connsiteX0" fmla="*/ 10839 w 28614"/>
                <a:gd name="connsiteY0" fmla="*/ 17836 h 28614"/>
                <a:gd name="connsiteX1" fmla="*/ 10839 w 28614"/>
                <a:gd name="connsiteY1" fmla="*/ 20411 h 28614"/>
                <a:gd name="connsiteX2" fmla="*/ 20392 w 28614"/>
                <a:gd name="connsiteY2" fmla="*/ 27569 h 28614"/>
                <a:gd name="connsiteX3" fmla="*/ 20425 w 28614"/>
                <a:gd name="connsiteY3" fmla="*/ 27565 h 28614"/>
                <a:gd name="connsiteX4" fmla="*/ 27579 w 28614"/>
                <a:gd name="connsiteY4" fmla="*/ 20411 h 28614"/>
                <a:gd name="connsiteX5" fmla="*/ 20425 w 28614"/>
                <a:gd name="connsiteY5" fmla="*/ 10825 h 28614"/>
                <a:gd name="connsiteX6" fmla="*/ 10839 w 28614"/>
                <a:gd name="connsiteY6" fmla="*/ 178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0839" y="17836"/>
                  </a:moveTo>
                  <a:cubicBezTo>
                    <a:pt x="10694" y="18688"/>
                    <a:pt x="10694" y="19558"/>
                    <a:pt x="10839" y="20411"/>
                  </a:cubicBezTo>
                  <a:cubicBezTo>
                    <a:pt x="11500" y="25026"/>
                    <a:pt x="15778" y="28231"/>
                    <a:pt x="20392" y="27569"/>
                  </a:cubicBezTo>
                  <a:cubicBezTo>
                    <a:pt x="20404" y="27567"/>
                    <a:pt x="20414" y="27566"/>
                    <a:pt x="20425" y="27565"/>
                  </a:cubicBezTo>
                  <a:cubicBezTo>
                    <a:pt x="24132" y="27031"/>
                    <a:pt x="27045" y="24118"/>
                    <a:pt x="27579" y="20411"/>
                  </a:cubicBezTo>
                  <a:cubicBezTo>
                    <a:pt x="28180" y="15807"/>
                    <a:pt x="25009" y="11560"/>
                    <a:pt x="20425" y="10825"/>
                  </a:cubicBezTo>
                  <a:cubicBezTo>
                    <a:pt x="15848" y="10140"/>
                    <a:pt x="11573" y="13266"/>
                    <a:pt x="10839" y="1783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7D7B18E3-8B1F-453F-898C-BCB9DF1C3811}"/>
                </a:ext>
              </a:extLst>
            </p:cNvPr>
            <p:cNvSpPr/>
            <p:nvPr/>
          </p:nvSpPr>
          <p:spPr>
            <a:xfrm>
              <a:off x="5222226" y="5710595"/>
              <a:ext cx="28615" cy="28615"/>
            </a:xfrm>
            <a:custGeom>
              <a:avLst/>
              <a:gdLst>
                <a:gd name="connsiteX0" fmla="*/ 20030 w 28614"/>
                <a:gd name="connsiteY0" fmla="*/ 29330 h 28614"/>
                <a:gd name="connsiteX1" fmla="*/ 29473 w 28614"/>
                <a:gd name="connsiteY1" fmla="*/ 19887 h 28614"/>
                <a:gd name="connsiteX2" fmla="*/ 20030 w 28614"/>
                <a:gd name="connsiteY2" fmla="*/ 10731 h 28614"/>
                <a:gd name="connsiteX3" fmla="*/ 10731 w 28614"/>
                <a:gd name="connsiteY3" fmla="*/ 19887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83" y="29182"/>
                    <a:pt x="29325" y="25040"/>
                    <a:pt x="29473" y="19887"/>
                  </a:cubicBezTo>
                  <a:cubicBezTo>
                    <a:pt x="29319" y="14784"/>
                    <a:pt x="25135" y="10728"/>
                    <a:pt x="20030" y="10731"/>
                  </a:cubicBezTo>
                  <a:cubicBezTo>
                    <a:pt x="14950" y="10731"/>
                    <a:pt x="10809" y="14807"/>
                    <a:pt x="10731" y="19887"/>
                  </a:cubicBezTo>
                  <a:cubicBezTo>
                    <a:pt x="10731" y="25047"/>
                    <a:pt x="14871" y="29252"/>
                    <a:pt x="20030" y="2933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A9A8FDC1-D04D-4A3C-8F9C-FB4ECCCDB77E}"/>
                </a:ext>
              </a:extLst>
            </p:cNvPr>
            <p:cNvSpPr/>
            <p:nvPr/>
          </p:nvSpPr>
          <p:spPr>
            <a:xfrm>
              <a:off x="5065843" y="5611730"/>
              <a:ext cx="28615" cy="28615"/>
            </a:xfrm>
            <a:custGeom>
              <a:avLst/>
              <a:gdLst>
                <a:gd name="connsiteX0" fmla="*/ 18459 w 28614"/>
                <a:gd name="connsiteY0" fmla="*/ 10731 h 28614"/>
                <a:gd name="connsiteX1" fmla="*/ 11019 w 28614"/>
                <a:gd name="connsiteY1" fmla="*/ 18171 h 28614"/>
                <a:gd name="connsiteX2" fmla="*/ 16129 w 28614"/>
                <a:gd name="connsiteY2" fmla="*/ 27367 h 28614"/>
                <a:gd name="connsiteX3" fmla="*/ 25326 w 28614"/>
                <a:gd name="connsiteY3" fmla="*/ 22258 h 28614"/>
                <a:gd name="connsiteX4" fmla="*/ 25326 w 28614"/>
                <a:gd name="connsiteY4" fmla="*/ 18171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1"/>
                  </a:cubicBezTo>
                  <a:cubicBezTo>
                    <a:pt x="9890" y="22121"/>
                    <a:pt x="12178" y="26238"/>
                    <a:pt x="16129" y="27367"/>
                  </a:cubicBezTo>
                  <a:cubicBezTo>
                    <a:pt x="20080" y="28496"/>
                    <a:pt x="24198" y="26208"/>
                    <a:pt x="25326" y="22258"/>
                  </a:cubicBezTo>
                  <a:cubicBezTo>
                    <a:pt x="25708" y="20922"/>
                    <a:pt x="25708" y="19507"/>
                    <a:pt x="25326" y="18171"/>
                  </a:cubicBezTo>
                  <a:cubicBezTo>
                    <a:pt x="25338" y="14275"/>
                    <a:pt x="22342" y="11030"/>
                    <a:pt x="1845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FF6B035B-2A27-476C-8D86-8B191CD52372}"/>
                </a:ext>
              </a:extLst>
            </p:cNvPr>
            <p:cNvSpPr/>
            <p:nvPr/>
          </p:nvSpPr>
          <p:spPr>
            <a:xfrm>
              <a:off x="5065273" y="5712312"/>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6F1814C5-4EE5-4292-9416-1A9FE091C7A8}"/>
                </a:ext>
              </a:extLst>
            </p:cNvPr>
            <p:cNvSpPr/>
            <p:nvPr/>
          </p:nvSpPr>
          <p:spPr>
            <a:xfrm>
              <a:off x="5222226" y="5659946"/>
              <a:ext cx="28615" cy="28615"/>
            </a:xfrm>
            <a:custGeom>
              <a:avLst/>
              <a:gdLst>
                <a:gd name="connsiteX0" fmla="*/ 20030 w 28614"/>
                <a:gd name="connsiteY0" fmla="*/ 29330 h 28614"/>
                <a:gd name="connsiteX1" fmla="*/ 29473 w 28614"/>
                <a:gd name="connsiteY1" fmla="*/ 20174 h 28614"/>
                <a:gd name="connsiteX2" fmla="*/ 20030 w 28614"/>
                <a:gd name="connsiteY2" fmla="*/ 10731 h 28614"/>
                <a:gd name="connsiteX3" fmla="*/ 10731 w 28614"/>
                <a:gd name="connsiteY3" fmla="*/ 20174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35" y="29333"/>
                    <a:pt x="29319" y="25277"/>
                    <a:pt x="29473" y="20174"/>
                  </a:cubicBezTo>
                  <a:cubicBezTo>
                    <a:pt x="29325" y="15021"/>
                    <a:pt x="25183" y="10879"/>
                    <a:pt x="20030" y="10731"/>
                  </a:cubicBezTo>
                  <a:cubicBezTo>
                    <a:pt x="14871" y="10809"/>
                    <a:pt x="10731" y="15014"/>
                    <a:pt x="10731" y="20174"/>
                  </a:cubicBezTo>
                  <a:cubicBezTo>
                    <a:pt x="10809" y="25254"/>
                    <a:pt x="14950" y="29330"/>
                    <a:pt x="20030" y="2933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2D9C6FDC-8FC8-456C-8365-5AED550C8E3E}"/>
                </a:ext>
              </a:extLst>
            </p:cNvPr>
            <p:cNvSpPr/>
            <p:nvPr/>
          </p:nvSpPr>
          <p:spPr>
            <a:xfrm>
              <a:off x="5222226" y="5561225"/>
              <a:ext cx="28615" cy="28615"/>
            </a:xfrm>
            <a:custGeom>
              <a:avLst/>
              <a:gdLst>
                <a:gd name="connsiteX0" fmla="*/ 20030 w 28614"/>
                <a:gd name="connsiteY0" fmla="*/ 10731 h 28614"/>
                <a:gd name="connsiteX1" fmla="*/ 10731 w 28614"/>
                <a:gd name="connsiteY1" fmla="*/ 20174 h 28614"/>
                <a:gd name="connsiteX2" fmla="*/ 19886 w 28614"/>
                <a:gd name="connsiteY2" fmla="*/ 29332 h 28614"/>
                <a:gd name="connsiteX3" fmla="*/ 20030 w 28614"/>
                <a:gd name="connsiteY3" fmla="*/ 29330 h 28614"/>
                <a:gd name="connsiteX4" fmla="*/ 29473 w 28614"/>
                <a:gd name="connsiteY4" fmla="*/ 20174 h 28614"/>
                <a:gd name="connsiteX5" fmla="*/ 20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0" y="10731"/>
                  </a:moveTo>
                  <a:cubicBezTo>
                    <a:pt x="14871" y="10809"/>
                    <a:pt x="10731" y="15014"/>
                    <a:pt x="10731" y="20174"/>
                  </a:cubicBezTo>
                  <a:cubicBezTo>
                    <a:pt x="10731" y="25231"/>
                    <a:pt x="14830" y="29330"/>
                    <a:pt x="19886" y="29332"/>
                  </a:cubicBezTo>
                  <a:cubicBezTo>
                    <a:pt x="19935" y="29332"/>
                    <a:pt x="19982" y="29332"/>
                    <a:pt x="20030" y="29330"/>
                  </a:cubicBezTo>
                  <a:cubicBezTo>
                    <a:pt x="25135" y="29333"/>
                    <a:pt x="29319" y="25277"/>
                    <a:pt x="29473" y="20174"/>
                  </a:cubicBezTo>
                  <a:cubicBezTo>
                    <a:pt x="29325" y="15021"/>
                    <a:pt x="25183" y="10879"/>
                    <a:pt x="20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54A56B37-18CB-4462-AE67-FF945FF002F1}"/>
                </a:ext>
              </a:extLst>
            </p:cNvPr>
            <p:cNvSpPr/>
            <p:nvPr/>
          </p:nvSpPr>
          <p:spPr>
            <a:xfrm>
              <a:off x="5223084" y="5609870"/>
              <a:ext cx="28615" cy="28615"/>
            </a:xfrm>
            <a:custGeom>
              <a:avLst/>
              <a:gdLst>
                <a:gd name="connsiteX0" fmla="*/ 10731 w 28614"/>
                <a:gd name="connsiteY0" fmla="*/ 20030 h 28614"/>
                <a:gd name="connsiteX1" fmla="*/ 19887 w 28614"/>
                <a:gd name="connsiteY1" fmla="*/ 29473 h 28614"/>
                <a:gd name="connsiteX2" fmla="*/ 29330 w 28614"/>
                <a:gd name="connsiteY2" fmla="*/ 20030 h 28614"/>
                <a:gd name="connsiteX3" fmla="*/ 19887 w 28614"/>
                <a:gd name="connsiteY3" fmla="*/ 10731 h 28614"/>
                <a:gd name="connsiteX4" fmla="*/ 10731 w 28614"/>
                <a:gd name="connsiteY4" fmla="*/ 200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0731" y="20030"/>
                  </a:moveTo>
                  <a:cubicBezTo>
                    <a:pt x="10728" y="25135"/>
                    <a:pt x="14784" y="29319"/>
                    <a:pt x="19887" y="29473"/>
                  </a:cubicBezTo>
                  <a:cubicBezTo>
                    <a:pt x="25071" y="29396"/>
                    <a:pt x="29253" y="25214"/>
                    <a:pt x="29330" y="20030"/>
                  </a:cubicBezTo>
                  <a:cubicBezTo>
                    <a:pt x="29252" y="14871"/>
                    <a:pt x="25047" y="10731"/>
                    <a:pt x="19887" y="10731"/>
                  </a:cubicBezTo>
                  <a:cubicBezTo>
                    <a:pt x="14807" y="10809"/>
                    <a:pt x="10731" y="14950"/>
                    <a:pt x="10731" y="2003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BB0AF487-8422-4E37-8E0C-C0B0EEDA3B88}"/>
                </a:ext>
              </a:extLst>
            </p:cNvPr>
            <p:cNvSpPr/>
            <p:nvPr/>
          </p:nvSpPr>
          <p:spPr>
            <a:xfrm>
              <a:off x="5222937" y="5758523"/>
              <a:ext cx="28615" cy="28615"/>
            </a:xfrm>
            <a:custGeom>
              <a:avLst/>
              <a:gdLst>
                <a:gd name="connsiteX0" fmla="*/ 19892 w 28614"/>
                <a:gd name="connsiteY0" fmla="*/ 30333 h 28614"/>
                <a:gd name="connsiteX1" fmla="*/ 29764 w 28614"/>
                <a:gd name="connsiteY1" fmla="*/ 20461 h 28614"/>
                <a:gd name="connsiteX2" fmla="*/ 20036 w 28614"/>
                <a:gd name="connsiteY2" fmla="*/ 10731 h 28614"/>
                <a:gd name="connsiteX3" fmla="*/ 19892 w 28614"/>
                <a:gd name="connsiteY3" fmla="*/ 10732 h 28614"/>
                <a:gd name="connsiteX4" fmla="*/ 10735 w 28614"/>
                <a:gd name="connsiteY4" fmla="*/ 19600 h 28614"/>
                <a:gd name="connsiteX5" fmla="*/ 10735 w 28614"/>
                <a:gd name="connsiteY5" fmla="*/ 19889 h 28614"/>
                <a:gd name="connsiteX6" fmla="*/ 10735 w 28614"/>
                <a:gd name="connsiteY6" fmla="*/ 19889 h 28614"/>
                <a:gd name="connsiteX7" fmla="*/ 10735 w 28614"/>
                <a:gd name="connsiteY7" fmla="*/ 20890 h 28614"/>
                <a:gd name="connsiteX8" fmla="*/ 19601 w 28614"/>
                <a:gd name="connsiteY8" fmla="*/ 30329 h 28614"/>
                <a:gd name="connsiteX9" fmla="*/ 19892 w 28614"/>
                <a:gd name="connsiteY9" fmla="*/ 30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19892" y="30333"/>
                  </a:moveTo>
                  <a:cubicBezTo>
                    <a:pt x="25345" y="30333"/>
                    <a:pt x="29764" y="25914"/>
                    <a:pt x="29764" y="20461"/>
                  </a:cubicBezTo>
                  <a:cubicBezTo>
                    <a:pt x="29764" y="15087"/>
                    <a:pt x="25409" y="10732"/>
                    <a:pt x="20036" y="10731"/>
                  </a:cubicBezTo>
                  <a:cubicBezTo>
                    <a:pt x="19988" y="10731"/>
                    <a:pt x="19941" y="10731"/>
                    <a:pt x="19892" y="10732"/>
                  </a:cubicBezTo>
                  <a:cubicBezTo>
                    <a:pt x="14914" y="10652"/>
                    <a:pt x="10815" y="14622"/>
                    <a:pt x="10735" y="19600"/>
                  </a:cubicBezTo>
                  <a:cubicBezTo>
                    <a:pt x="10734" y="19697"/>
                    <a:pt x="10734" y="19793"/>
                    <a:pt x="10735" y="19889"/>
                  </a:cubicBezTo>
                  <a:lnTo>
                    <a:pt x="10735" y="19889"/>
                  </a:lnTo>
                  <a:lnTo>
                    <a:pt x="10735" y="20890"/>
                  </a:lnTo>
                  <a:cubicBezTo>
                    <a:pt x="10578" y="25945"/>
                    <a:pt x="14547" y="30170"/>
                    <a:pt x="19601" y="30329"/>
                  </a:cubicBezTo>
                  <a:cubicBezTo>
                    <a:pt x="19699" y="30332"/>
                    <a:pt x="19795" y="30333"/>
                    <a:pt x="19892" y="3033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0FC7FDA1-5B1A-4ED6-A68F-1DDFC02FA1A7}"/>
                </a:ext>
              </a:extLst>
            </p:cNvPr>
            <p:cNvSpPr/>
            <p:nvPr/>
          </p:nvSpPr>
          <p:spPr>
            <a:xfrm>
              <a:off x="5458585" y="5607008"/>
              <a:ext cx="42922" cy="42922"/>
            </a:xfrm>
            <a:custGeom>
              <a:avLst/>
              <a:gdLst>
                <a:gd name="connsiteX0" fmla="*/ 22893 w 42922"/>
                <a:gd name="connsiteY0" fmla="*/ 10731 h 42922"/>
                <a:gd name="connsiteX1" fmla="*/ 10732 w 42922"/>
                <a:gd name="connsiteY1" fmla="*/ 22892 h 42922"/>
                <a:gd name="connsiteX2" fmla="*/ 22464 w 42922"/>
                <a:gd name="connsiteY2" fmla="*/ 35053 h 42922"/>
                <a:gd name="connsiteX3" fmla="*/ 22464 w 42922"/>
                <a:gd name="connsiteY3" fmla="*/ 35053 h 42922"/>
                <a:gd name="connsiteX4" fmla="*/ 34625 w 42922"/>
                <a:gd name="connsiteY4" fmla="*/ 22892 h 42922"/>
                <a:gd name="connsiteX5" fmla="*/ 22464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3" y="10731"/>
                  </a:moveTo>
                  <a:cubicBezTo>
                    <a:pt x="16177" y="10731"/>
                    <a:pt x="10732" y="16176"/>
                    <a:pt x="10732" y="22892"/>
                  </a:cubicBezTo>
                  <a:cubicBezTo>
                    <a:pt x="10651" y="29475"/>
                    <a:pt x="15882" y="34897"/>
                    <a:pt x="22464" y="35053"/>
                  </a:cubicBezTo>
                  <a:lnTo>
                    <a:pt x="22464" y="35053"/>
                  </a:lnTo>
                  <a:cubicBezTo>
                    <a:pt x="29180" y="35053"/>
                    <a:pt x="34625" y="29608"/>
                    <a:pt x="34625" y="22892"/>
                  </a:cubicBezTo>
                  <a:cubicBezTo>
                    <a:pt x="34625" y="16176"/>
                    <a:pt x="29180" y="10731"/>
                    <a:pt x="2246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4E72288F-205F-4B53-9D21-B8A7176303D6}"/>
                </a:ext>
              </a:extLst>
            </p:cNvPr>
            <p:cNvSpPr/>
            <p:nvPr/>
          </p:nvSpPr>
          <p:spPr>
            <a:xfrm>
              <a:off x="5067314" y="5563513"/>
              <a:ext cx="28615" cy="28615"/>
            </a:xfrm>
            <a:custGeom>
              <a:avLst/>
              <a:gdLst>
                <a:gd name="connsiteX0" fmla="*/ 16129 w 28614"/>
                <a:gd name="connsiteY0" fmla="*/ 25325 h 28614"/>
                <a:gd name="connsiteX1" fmla="*/ 25326 w 28614"/>
                <a:gd name="connsiteY1" fmla="*/ 20214 h 28614"/>
                <a:gd name="connsiteX2" fmla="*/ 20216 w 28614"/>
                <a:gd name="connsiteY2" fmla="*/ 11017 h 28614"/>
                <a:gd name="connsiteX3" fmla="*/ 16129 w 28614"/>
                <a:gd name="connsiteY3" fmla="*/ 11017 h 28614"/>
                <a:gd name="connsiteX4" fmla="*/ 11019 w 28614"/>
                <a:gd name="connsiteY4" fmla="*/ 20214 h 28614"/>
                <a:gd name="connsiteX5" fmla="*/ 16129 w 28614"/>
                <a:gd name="connsiteY5"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6129" y="25325"/>
                  </a:moveTo>
                  <a:cubicBezTo>
                    <a:pt x="20080" y="26453"/>
                    <a:pt x="24198" y="24166"/>
                    <a:pt x="25326" y="20214"/>
                  </a:cubicBezTo>
                  <a:cubicBezTo>
                    <a:pt x="26455" y="16264"/>
                    <a:pt x="24167" y="12146"/>
                    <a:pt x="20216" y="11017"/>
                  </a:cubicBezTo>
                  <a:cubicBezTo>
                    <a:pt x="18880" y="10635"/>
                    <a:pt x="17464" y="10635"/>
                    <a:pt x="16129" y="11017"/>
                  </a:cubicBezTo>
                  <a:cubicBezTo>
                    <a:pt x="12178" y="12146"/>
                    <a:pt x="9890" y="16264"/>
                    <a:pt x="11019" y="20214"/>
                  </a:cubicBezTo>
                  <a:cubicBezTo>
                    <a:pt x="11725" y="22686"/>
                    <a:pt x="13657" y="24618"/>
                    <a:pt x="16129" y="253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A83244B9-8E11-40F8-86B8-DEE0919511C8}"/>
                </a:ext>
              </a:extLst>
            </p:cNvPr>
            <p:cNvSpPr/>
            <p:nvPr/>
          </p:nvSpPr>
          <p:spPr>
            <a:xfrm>
              <a:off x="5067314" y="5662522"/>
              <a:ext cx="28615" cy="28615"/>
            </a:xfrm>
            <a:custGeom>
              <a:avLst/>
              <a:gdLst>
                <a:gd name="connsiteX0" fmla="*/ 16129 w 28614"/>
                <a:gd name="connsiteY0" fmla="*/ 25038 h 28614"/>
                <a:gd name="connsiteX1" fmla="*/ 21239 w 28614"/>
                <a:gd name="connsiteY1" fmla="*/ 15841 h 28614"/>
                <a:gd name="connsiteX2" fmla="*/ 16129 w 28614"/>
                <a:gd name="connsiteY2" fmla="*/ 10731 h 28614"/>
                <a:gd name="connsiteX3" fmla="*/ 11019 w 28614"/>
                <a:gd name="connsiteY3" fmla="*/ 19927 h 28614"/>
                <a:gd name="connsiteX4" fmla="*/ 16129 w 28614"/>
                <a:gd name="connsiteY4" fmla="*/ 25038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6129" y="25038"/>
                  </a:moveTo>
                  <a:cubicBezTo>
                    <a:pt x="20080" y="23909"/>
                    <a:pt x="22368" y="19792"/>
                    <a:pt x="21239" y="15841"/>
                  </a:cubicBezTo>
                  <a:cubicBezTo>
                    <a:pt x="20533" y="13369"/>
                    <a:pt x="18601" y="11437"/>
                    <a:pt x="16129" y="10731"/>
                  </a:cubicBezTo>
                  <a:cubicBezTo>
                    <a:pt x="12178" y="11859"/>
                    <a:pt x="9890" y="15977"/>
                    <a:pt x="11019" y="19927"/>
                  </a:cubicBezTo>
                  <a:cubicBezTo>
                    <a:pt x="11725" y="22400"/>
                    <a:pt x="13657" y="24331"/>
                    <a:pt x="16129" y="25038"/>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D22868F2-31CC-4B2E-A812-44D69E9AFEAA}"/>
                </a:ext>
              </a:extLst>
            </p:cNvPr>
            <p:cNvSpPr/>
            <p:nvPr/>
          </p:nvSpPr>
          <p:spPr>
            <a:xfrm>
              <a:off x="5143712" y="5561787"/>
              <a:ext cx="28615" cy="28615"/>
            </a:xfrm>
            <a:custGeom>
              <a:avLst/>
              <a:gdLst>
                <a:gd name="connsiteX0" fmla="*/ 20425 w 28614"/>
                <a:gd name="connsiteY0" fmla="*/ 26622 h 28614"/>
                <a:gd name="connsiteX1" fmla="*/ 27436 w 28614"/>
                <a:gd name="connsiteY1" fmla="*/ 19611 h 28614"/>
                <a:gd name="connsiteX2" fmla="*/ 19445 w 28614"/>
                <a:gd name="connsiteY2" fmla="*/ 10742 h 28614"/>
                <a:gd name="connsiteX3" fmla="*/ 10839 w 28614"/>
                <a:gd name="connsiteY3" fmla="*/ 17036 h 28614"/>
                <a:gd name="connsiteX4" fmla="*/ 10839 w 28614"/>
                <a:gd name="connsiteY4" fmla="*/ 19611 h 28614"/>
                <a:gd name="connsiteX5" fmla="*/ 20425 w 28614"/>
                <a:gd name="connsiteY5" fmla="*/ 2662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425" y="26622"/>
                  </a:moveTo>
                  <a:cubicBezTo>
                    <a:pt x="24078" y="26137"/>
                    <a:pt x="26951" y="23264"/>
                    <a:pt x="27436" y="19611"/>
                  </a:cubicBezTo>
                  <a:cubicBezTo>
                    <a:pt x="27679" y="14956"/>
                    <a:pt x="24101" y="10985"/>
                    <a:pt x="19445" y="10742"/>
                  </a:cubicBezTo>
                  <a:cubicBezTo>
                    <a:pt x="15447" y="10533"/>
                    <a:pt x="11852" y="13163"/>
                    <a:pt x="10839" y="17036"/>
                  </a:cubicBezTo>
                  <a:cubicBezTo>
                    <a:pt x="10694" y="17889"/>
                    <a:pt x="10694" y="18759"/>
                    <a:pt x="10839" y="19611"/>
                  </a:cubicBezTo>
                  <a:cubicBezTo>
                    <a:pt x="11573" y="24181"/>
                    <a:pt x="15848" y="27307"/>
                    <a:pt x="20425" y="2662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32E749CF-9590-4A33-A945-DC3F311F43D1}"/>
                </a:ext>
              </a:extLst>
            </p:cNvPr>
            <p:cNvSpPr/>
            <p:nvPr/>
          </p:nvSpPr>
          <p:spPr>
            <a:xfrm>
              <a:off x="5144244" y="5711596"/>
              <a:ext cx="28615" cy="28615"/>
            </a:xfrm>
            <a:custGeom>
              <a:avLst/>
              <a:gdLst>
                <a:gd name="connsiteX0" fmla="*/ 18463 w 28614"/>
                <a:gd name="connsiteY0" fmla="*/ 27613 h 28614"/>
                <a:gd name="connsiteX1" fmla="*/ 27190 w 28614"/>
                <a:gd name="connsiteY1" fmla="*/ 19315 h 28614"/>
                <a:gd name="connsiteX2" fmla="*/ 19182 w 28614"/>
                <a:gd name="connsiteY2" fmla="*/ 10735 h 28614"/>
                <a:gd name="connsiteX3" fmla="*/ 18892 w 28614"/>
                <a:gd name="connsiteY3" fmla="*/ 10731 h 28614"/>
                <a:gd name="connsiteX4" fmla="*/ 18892 w 28614"/>
                <a:gd name="connsiteY4" fmla="*/ 10731 h 28614"/>
                <a:gd name="connsiteX5" fmla="*/ 10737 w 28614"/>
                <a:gd name="connsiteY5" fmla="*/ 18886 h 28614"/>
                <a:gd name="connsiteX6" fmla="*/ 18463 w 28614"/>
                <a:gd name="connsiteY6" fmla="*/ 2761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63" y="27613"/>
                  </a:moveTo>
                  <a:cubicBezTo>
                    <a:pt x="23150" y="27694"/>
                    <a:pt x="27034" y="24001"/>
                    <a:pt x="27190" y="19315"/>
                  </a:cubicBezTo>
                  <a:cubicBezTo>
                    <a:pt x="27348" y="14735"/>
                    <a:pt x="23764" y="10894"/>
                    <a:pt x="19182" y="10735"/>
                  </a:cubicBezTo>
                  <a:cubicBezTo>
                    <a:pt x="19086" y="10732"/>
                    <a:pt x="18989" y="10731"/>
                    <a:pt x="18892" y="10731"/>
                  </a:cubicBezTo>
                  <a:lnTo>
                    <a:pt x="18892" y="10731"/>
                  </a:lnTo>
                  <a:cubicBezTo>
                    <a:pt x="14388" y="10731"/>
                    <a:pt x="10737" y="14382"/>
                    <a:pt x="10737" y="18886"/>
                  </a:cubicBezTo>
                  <a:cubicBezTo>
                    <a:pt x="10568" y="23391"/>
                    <a:pt x="13970" y="27234"/>
                    <a:pt x="18463" y="2761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8A630246-9BE6-47F9-8239-E0D638BCE9C8}"/>
                </a:ext>
              </a:extLst>
            </p:cNvPr>
            <p:cNvSpPr/>
            <p:nvPr/>
          </p:nvSpPr>
          <p:spPr>
            <a:xfrm>
              <a:off x="5143712" y="5660508"/>
              <a:ext cx="28615" cy="28615"/>
            </a:xfrm>
            <a:custGeom>
              <a:avLst/>
              <a:gdLst>
                <a:gd name="connsiteX0" fmla="*/ 20425 w 28614"/>
                <a:gd name="connsiteY0" fmla="*/ 26622 h 28614"/>
                <a:gd name="connsiteX1" fmla="*/ 27436 w 28614"/>
                <a:gd name="connsiteY1" fmla="*/ 19611 h 28614"/>
                <a:gd name="connsiteX2" fmla="*/ 19445 w 28614"/>
                <a:gd name="connsiteY2" fmla="*/ 10742 h 28614"/>
                <a:gd name="connsiteX3" fmla="*/ 10839 w 28614"/>
                <a:gd name="connsiteY3" fmla="*/ 17036 h 28614"/>
                <a:gd name="connsiteX4" fmla="*/ 10839 w 28614"/>
                <a:gd name="connsiteY4" fmla="*/ 19611 h 28614"/>
                <a:gd name="connsiteX5" fmla="*/ 20425 w 28614"/>
                <a:gd name="connsiteY5" fmla="*/ 2662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425" y="26622"/>
                  </a:moveTo>
                  <a:cubicBezTo>
                    <a:pt x="24078" y="26137"/>
                    <a:pt x="26951" y="23264"/>
                    <a:pt x="27436" y="19611"/>
                  </a:cubicBezTo>
                  <a:cubicBezTo>
                    <a:pt x="27679" y="14956"/>
                    <a:pt x="24101" y="10984"/>
                    <a:pt x="19445" y="10742"/>
                  </a:cubicBezTo>
                  <a:cubicBezTo>
                    <a:pt x="15447" y="10533"/>
                    <a:pt x="11852" y="13163"/>
                    <a:pt x="10839" y="17036"/>
                  </a:cubicBezTo>
                  <a:cubicBezTo>
                    <a:pt x="10694" y="17889"/>
                    <a:pt x="10694" y="18759"/>
                    <a:pt x="10839" y="19611"/>
                  </a:cubicBezTo>
                  <a:cubicBezTo>
                    <a:pt x="11573" y="24181"/>
                    <a:pt x="15848" y="27307"/>
                    <a:pt x="20425" y="2662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E1E89F77-B64E-4DC6-9A1A-0828F66BD851}"/>
                </a:ext>
              </a:extLst>
            </p:cNvPr>
            <p:cNvSpPr/>
            <p:nvPr/>
          </p:nvSpPr>
          <p:spPr>
            <a:xfrm>
              <a:off x="5614537" y="5555358"/>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66" name="Freeform: Shape 65">
              <a:extLst>
                <a:ext uri="{FF2B5EF4-FFF2-40B4-BE49-F238E27FC236}">
                  <a16:creationId xmlns:a16="http://schemas.microsoft.com/office/drawing/2014/main" id="{B5C6D1B8-E1FA-4E47-9296-C9EB1F5D9A80}"/>
                </a:ext>
              </a:extLst>
            </p:cNvPr>
            <p:cNvSpPr/>
            <p:nvPr/>
          </p:nvSpPr>
          <p:spPr>
            <a:xfrm>
              <a:off x="5144965" y="5610872"/>
              <a:ext cx="28615" cy="28615"/>
            </a:xfrm>
            <a:custGeom>
              <a:avLst/>
              <a:gdLst>
                <a:gd name="connsiteX0" fmla="*/ 19029 w 28614"/>
                <a:gd name="connsiteY0" fmla="*/ 10731 h 28614"/>
                <a:gd name="connsiteX1" fmla="*/ 19029 w 28614"/>
                <a:gd name="connsiteY1" fmla="*/ 10731 h 28614"/>
                <a:gd name="connsiteX2" fmla="*/ 10731 w 28614"/>
                <a:gd name="connsiteY2" fmla="*/ 19029 h 28614"/>
                <a:gd name="connsiteX3" fmla="*/ 19029 w 28614"/>
                <a:gd name="connsiteY3" fmla="*/ 27613 h 28614"/>
                <a:gd name="connsiteX4" fmla="*/ 27470 w 28614"/>
                <a:gd name="connsiteY4" fmla="*/ 19172 h 28614"/>
                <a:gd name="connsiteX5" fmla="*/ 1902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29" y="10731"/>
                  </a:moveTo>
                  <a:lnTo>
                    <a:pt x="19029" y="10731"/>
                  </a:lnTo>
                  <a:cubicBezTo>
                    <a:pt x="14446" y="10731"/>
                    <a:pt x="10731" y="14446"/>
                    <a:pt x="10731" y="19029"/>
                  </a:cubicBezTo>
                  <a:cubicBezTo>
                    <a:pt x="10728" y="23660"/>
                    <a:pt x="14400" y="27459"/>
                    <a:pt x="19029" y="27613"/>
                  </a:cubicBezTo>
                  <a:cubicBezTo>
                    <a:pt x="23690" y="27613"/>
                    <a:pt x="27470" y="23833"/>
                    <a:pt x="27470" y="19172"/>
                  </a:cubicBezTo>
                  <a:cubicBezTo>
                    <a:pt x="27470" y="14511"/>
                    <a:pt x="23690" y="10731"/>
                    <a:pt x="1902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82130A23-C20F-4B3B-8B22-47A89E425331}"/>
                </a:ext>
              </a:extLst>
            </p:cNvPr>
            <p:cNvSpPr/>
            <p:nvPr/>
          </p:nvSpPr>
          <p:spPr>
            <a:xfrm>
              <a:off x="5065845" y="5511291"/>
              <a:ext cx="28615" cy="28615"/>
            </a:xfrm>
            <a:custGeom>
              <a:avLst/>
              <a:gdLst>
                <a:gd name="connsiteX0" fmla="*/ 18171 w 28614"/>
                <a:gd name="connsiteY0" fmla="*/ 25325 h 28614"/>
                <a:gd name="connsiteX1" fmla="*/ 27368 w 28614"/>
                <a:gd name="connsiteY1" fmla="*/ 20214 h 28614"/>
                <a:gd name="connsiteX2" fmla="*/ 22258 w 28614"/>
                <a:gd name="connsiteY2" fmla="*/ 11017 h 28614"/>
                <a:gd name="connsiteX3" fmla="*/ 18171 w 28614"/>
                <a:gd name="connsiteY3" fmla="*/ 11017 h 28614"/>
                <a:gd name="connsiteX4" fmla="*/ 18171 w 28614"/>
                <a:gd name="connsiteY4" fmla="*/ 11017 h 28614"/>
                <a:gd name="connsiteX5" fmla="*/ 10732 w 28614"/>
                <a:gd name="connsiteY5" fmla="*/ 18169 h 28614"/>
                <a:gd name="connsiteX6" fmla="*/ 10731 w 28614"/>
                <a:gd name="connsiteY6" fmla="*/ 18314 h 28614"/>
                <a:gd name="connsiteX7" fmla="*/ 18171 w 28614"/>
                <a:gd name="connsiteY7"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8171" y="25325"/>
                  </a:moveTo>
                  <a:cubicBezTo>
                    <a:pt x="22121" y="26453"/>
                    <a:pt x="26239" y="24166"/>
                    <a:pt x="27368" y="20214"/>
                  </a:cubicBezTo>
                  <a:cubicBezTo>
                    <a:pt x="28496" y="16264"/>
                    <a:pt x="26208" y="12146"/>
                    <a:pt x="22258" y="11017"/>
                  </a:cubicBezTo>
                  <a:cubicBezTo>
                    <a:pt x="20922" y="10635"/>
                    <a:pt x="19506" y="10635"/>
                    <a:pt x="18171" y="11017"/>
                  </a:cubicBezTo>
                  <a:lnTo>
                    <a:pt x="18171" y="11017"/>
                  </a:lnTo>
                  <a:cubicBezTo>
                    <a:pt x="14141" y="10938"/>
                    <a:pt x="10811" y="14140"/>
                    <a:pt x="10732" y="18169"/>
                  </a:cubicBezTo>
                  <a:cubicBezTo>
                    <a:pt x="10731" y="18218"/>
                    <a:pt x="10731" y="18265"/>
                    <a:pt x="10731" y="18314"/>
                  </a:cubicBezTo>
                  <a:cubicBezTo>
                    <a:pt x="10958" y="22254"/>
                    <a:pt x="14223" y="25332"/>
                    <a:pt x="18171" y="253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D54FEC74-14C4-4E37-937C-5C3183459582}"/>
                </a:ext>
              </a:extLst>
            </p:cNvPr>
            <p:cNvSpPr/>
            <p:nvPr/>
          </p:nvSpPr>
          <p:spPr>
            <a:xfrm>
              <a:off x="5065845" y="5760385"/>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A7354E90-CF23-4888-8B40-020A0E0DB2B8}"/>
                </a:ext>
              </a:extLst>
            </p:cNvPr>
            <p:cNvSpPr/>
            <p:nvPr/>
          </p:nvSpPr>
          <p:spPr>
            <a:xfrm>
              <a:off x="5300774" y="5570667"/>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cubicBezTo>
                    <a:pt x="10731" y="10731"/>
                    <a:pt x="10731" y="10731"/>
                    <a:pt x="1073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55307BF0-9B38-44B6-B9F7-344E224F1AE6}"/>
                </a:ext>
              </a:extLst>
            </p:cNvPr>
            <p:cNvSpPr/>
            <p:nvPr/>
          </p:nvSpPr>
          <p:spPr>
            <a:xfrm>
              <a:off x="5379604" y="5707875"/>
              <a:ext cx="42922" cy="42922"/>
            </a:xfrm>
            <a:custGeom>
              <a:avLst/>
              <a:gdLst>
                <a:gd name="connsiteX0" fmla="*/ 21608 w 42922"/>
                <a:gd name="connsiteY0" fmla="*/ 33480 h 42922"/>
                <a:gd name="connsiteX1" fmla="*/ 33197 w 42922"/>
                <a:gd name="connsiteY1" fmla="*/ 22321 h 42922"/>
                <a:gd name="connsiteX2" fmla="*/ 22185 w 42922"/>
                <a:gd name="connsiteY2" fmla="*/ 10734 h 42922"/>
                <a:gd name="connsiteX3" fmla="*/ 22037 w 42922"/>
                <a:gd name="connsiteY3" fmla="*/ 10732 h 42922"/>
                <a:gd name="connsiteX4" fmla="*/ 22037 w 42922"/>
                <a:gd name="connsiteY4" fmla="*/ 10732 h 42922"/>
                <a:gd name="connsiteX5" fmla="*/ 10736 w 42922"/>
                <a:gd name="connsiteY5" fmla="*/ 21747 h 42922"/>
                <a:gd name="connsiteX6" fmla="*/ 10735 w 42922"/>
                <a:gd name="connsiteY6" fmla="*/ 21891 h 42922"/>
                <a:gd name="connsiteX7" fmla="*/ 21608 w 42922"/>
                <a:gd name="connsiteY7" fmla="*/ 334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1608" y="33480"/>
                  </a:moveTo>
                  <a:cubicBezTo>
                    <a:pt x="27875" y="33561"/>
                    <a:pt x="33041" y="28586"/>
                    <a:pt x="33197" y="22321"/>
                  </a:cubicBezTo>
                  <a:cubicBezTo>
                    <a:pt x="33356" y="16080"/>
                    <a:pt x="28426" y="10893"/>
                    <a:pt x="22185" y="10734"/>
                  </a:cubicBezTo>
                  <a:cubicBezTo>
                    <a:pt x="22136" y="10733"/>
                    <a:pt x="22086" y="10732"/>
                    <a:pt x="22037" y="10732"/>
                  </a:cubicBezTo>
                  <a:lnTo>
                    <a:pt x="22037" y="10732"/>
                  </a:lnTo>
                  <a:cubicBezTo>
                    <a:pt x="15875" y="10653"/>
                    <a:pt x="10815" y="15585"/>
                    <a:pt x="10736" y="21747"/>
                  </a:cubicBezTo>
                  <a:cubicBezTo>
                    <a:pt x="10735" y="21796"/>
                    <a:pt x="10735" y="21843"/>
                    <a:pt x="10735" y="21891"/>
                  </a:cubicBezTo>
                  <a:cubicBezTo>
                    <a:pt x="10573" y="28081"/>
                    <a:pt x="15422" y="33247"/>
                    <a:pt x="21608" y="3348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74F1D440-A909-4BEA-9BDD-822F4A405187}"/>
                </a:ext>
              </a:extLst>
            </p:cNvPr>
            <p:cNvSpPr/>
            <p:nvPr/>
          </p:nvSpPr>
          <p:spPr>
            <a:xfrm>
              <a:off x="5379780" y="5758984"/>
              <a:ext cx="42922" cy="42922"/>
            </a:xfrm>
            <a:custGeom>
              <a:avLst/>
              <a:gdLst>
                <a:gd name="connsiteX0" fmla="*/ 20574 w 42922"/>
                <a:gd name="connsiteY0" fmla="*/ 10843 h 42922"/>
                <a:gd name="connsiteX1" fmla="*/ 10845 w 42922"/>
                <a:gd name="connsiteY1" fmla="*/ 20572 h 42922"/>
                <a:gd name="connsiteX2" fmla="*/ 20574 w 42922"/>
                <a:gd name="connsiteY2" fmla="*/ 33509 h 42922"/>
                <a:gd name="connsiteX3" fmla="*/ 33511 w 42922"/>
                <a:gd name="connsiteY3" fmla="*/ 23780 h 42922"/>
                <a:gd name="connsiteX4" fmla="*/ 23782 w 42922"/>
                <a:gd name="connsiteY4" fmla="*/ 10843 h 42922"/>
                <a:gd name="connsiteX5" fmla="*/ 20574 w 42922"/>
                <a:gd name="connsiteY5" fmla="*/ 1084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74" y="10843"/>
                  </a:moveTo>
                  <a:cubicBezTo>
                    <a:pt x="15526" y="11557"/>
                    <a:pt x="11559" y="15525"/>
                    <a:pt x="10845" y="20572"/>
                  </a:cubicBezTo>
                  <a:cubicBezTo>
                    <a:pt x="9959" y="26832"/>
                    <a:pt x="14314" y="32624"/>
                    <a:pt x="20574" y="33509"/>
                  </a:cubicBezTo>
                  <a:cubicBezTo>
                    <a:pt x="26834" y="34395"/>
                    <a:pt x="32625" y="30040"/>
                    <a:pt x="33511" y="23780"/>
                  </a:cubicBezTo>
                  <a:cubicBezTo>
                    <a:pt x="34396" y="17521"/>
                    <a:pt x="30041" y="11729"/>
                    <a:pt x="23782" y="10843"/>
                  </a:cubicBezTo>
                  <a:cubicBezTo>
                    <a:pt x="22717" y="10693"/>
                    <a:pt x="21638" y="10693"/>
                    <a:pt x="20574" y="1084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6374F79F-9C65-42BD-B9C3-DFA284A92BCC}"/>
                </a:ext>
              </a:extLst>
            </p:cNvPr>
            <p:cNvSpPr/>
            <p:nvPr/>
          </p:nvSpPr>
          <p:spPr>
            <a:xfrm>
              <a:off x="5300917" y="5560079"/>
              <a:ext cx="42922" cy="28615"/>
            </a:xfrm>
            <a:custGeom>
              <a:avLst/>
              <a:gdLst>
                <a:gd name="connsiteX0" fmla="*/ 26469 w 42922"/>
                <a:gd name="connsiteY0" fmla="*/ 11161 h 28614"/>
                <a:gd name="connsiteX1" fmla="*/ 20746 w 42922"/>
                <a:gd name="connsiteY1" fmla="*/ 11161 h 28614"/>
                <a:gd name="connsiteX2" fmla="*/ 10731 w 42922"/>
                <a:gd name="connsiteY2" fmla="*/ 20890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25" y="11158"/>
                    <a:pt x="10885" y="15470"/>
                    <a:pt x="10731" y="20890"/>
                  </a:cubicBezTo>
                  <a:cubicBezTo>
                    <a:pt x="10884" y="26333"/>
                    <a:pt x="15300" y="30688"/>
                    <a:pt x="20746" y="30762"/>
                  </a:cubicBezTo>
                  <a:cubicBezTo>
                    <a:pt x="26158" y="32343"/>
                    <a:pt x="31827" y="29236"/>
                    <a:pt x="33408" y="23823"/>
                  </a:cubicBezTo>
                  <a:cubicBezTo>
                    <a:pt x="34989" y="18411"/>
                    <a:pt x="31881" y="12742"/>
                    <a:pt x="26469" y="1116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C71334F4-C602-4789-BEC5-68660E289067}"/>
                </a:ext>
              </a:extLst>
            </p:cNvPr>
            <p:cNvSpPr/>
            <p:nvPr/>
          </p:nvSpPr>
          <p:spPr>
            <a:xfrm>
              <a:off x="5379274" y="5656607"/>
              <a:ext cx="42922" cy="42922"/>
            </a:xfrm>
            <a:custGeom>
              <a:avLst/>
              <a:gdLst>
                <a:gd name="connsiteX0" fmla="*/ 23512 w 42922"/>
                <a:gd name="connsiteY0" fmla="*/ 33241 h 42922"/>
                <a:gd name="connsiteX1" fmla="*/ 33241 w 42922"/>
                <a:gd name="connsiteY1" fmla="*/ 23512 h 42922"/>
                <a:gd name="connsiteX2" fmla="*/ 23512 w 42922"/>
                <a:gd name="connsiteY2" fmla="*/ 10829 h 42922"/>
                <a:gd name="connsiteX3" fmla="*/ 10829 w 42922"/>
                <a:gd name="connsiteY3" fmla="*/ 20558 h 42922"/>
                <a:gd name="connsiteX4" fmla="*/ 20558 w 42922"/>
                <a:gd name="connsiteY4" fmla="*/ 33241 h 42922"/>
                <a:gd name="connsiteX5" fmla="*/ 23512 w 42922"/>
                <a:gd name="connsiteY5" fmla="*/ 3324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512" y="33241"/>
                  </a:moveTo>
                  <a:cubicBezTo>
                    <a:pt x="28607" y="32621"/>
                    <a:pt x="32620" y="28607"/>
                    <a:pt x="33241" y="23512"/>
                  </a:cubicBezTo>
                  <a:cubicBezTo>
                    <a:pt x="34057" y="17323"/>
                    <a:pt x="29702" y="11646"/>
                    <a:pt x="23512" y="10829"/>
                  </a:cubicBezTo>
                  <a:cubicBezTo>
                    <a:pt x="17323" y="10013"/>
                    <a:pt x="11646" y="14370"/>
                    <a:pt x="10829" y="20558"/>
                  </a:cubicBezTo>
                  <a:cubicBezTo>
                    <a:pt x="10013" y="26747"/>
                    <a:pt x="14370" y="32426"/>
                    <a:pt x="20558" y="33241"/>
                  </a:cubicBezTo>
                  <a:cubicBezTo>
                    <a:pt x="21539" y="33370"/>
                    <a:pt x="22532" y="33370"/>
                    <a:pt x="23512" y="3324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428E8200-72BD-4293-B836-8E7F2C0DCE3A}"/>
                </a:ext>
              </a:extLst>
            </p:cNvPr>
            <p:cNvSpPr/>
            <p:nvPr/>
          </p:nvSpPr>
          <p:spPr>
            <a:xfrm>
              <a:off x="5379893" y="5508375"/>
              <a:ext cx="42922" cy="42922"/>
            </a:xfrm>
            <a:custGeom>
              <a:avLst/>
              <a:gdLst>
                <a:gd name="connsiteX0" fmla="*/ 22178 w 42922"/>
                <a:gd name="connsiteY0" fmla="*/ 10786 h 42922"/>
                <a:gd name="connsiteX1" fmla="*/ 22178 w 42922"/>
                <a:gd name="connsiteY1" fmla="*/ 10786 h 42922"/>
                <a:gd name="connsiteX2" fmla="*/ 10732 w 42922"/>
                <a:gd name="connsiteY2" fmla="*/ 22089 h 42922"/>
                <a:gd name="connsiteX3" fmla="*/ 21890 w 42922"/>
                <a:gd name="connsiteY3" fmla="*/ 33535 h 42922"/>
                <a:gd name="connsiteX4" fmla="*/ 21891 w 42922"/>
                <a:gd name="connsiteY4" fmla="*/ 33535 h 42922"/>
                <a:gd name="connsiteX5" fmla="*/ 34662 w 42922"/>
                <a:gd name="connsiteY5" fmla="*/ 23590 h 42922"/>
                <a:gd name="connsiteX6" fmla="*/ 24717 w 42922"/>
                <a:gd name="connsiteY6" fmla="*/ 10817 h 42922"/>
                <a:gd name="connsiteX7" fmla="*/ 22178 w 42922"/>
                <a:gd name="connsiteY7" fmla="*/ 1078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2178" y="10786"/>
                  </a:moveTo>
                  <a:lnTo>
                    <a:pt x="22178" y="10786"/>
                  </a:lnTo>
                  <a:cubicBezTo>
                    <a:pt x="15911" y="10786"/>
                    <a:pt x="10810" y="15824"/>
                    <a:pt x="10732" y="22089"/>
                  </a:cubicBezTo>
                  <a:cubicBezTo>
                    <a:pt x="10651" y="28331"/>
                    <a:pt x="15648" y="33455"/>
                    <a:pt x="21890" y="33535"/>
                  </a:cubicBezTo>
                  <a:cubicBezTo>
                    <a:pt x="21890" y="33535"/>
                    <a:pt x="21891" y="33535"/>
                    <a:pt x="21891" y="33535"/>
                  </a:cubicBezTo>
                  <a:cubicBezTo>
                    <a:pt x="28164" y="34315"/>
                    <a:pt x="33882" y="29862"/>
                    <a:pt x="34662" y="23590"/>
                  </a:cubicBezTo>
                  <a:cubicBezTo>
                    <a:pt x="35442" y="17316"/>
                    <a:pt x="30990" y="11599"/>
                    <a:pt x="24717" y="10817"/>
                  </a:cubicBezTo>
                  <a:cubicBezTo>
                    <a:pt x="23874" y="10713"/>
                    <a:pt x="23023" y="10703"/>
                    <a:pt x="22178" y="1078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DF4520D5-9E4A-477F-AA84-230C5C905CF2}"/>
                </a:ext>
              </a:extLst>
            </p:cNvPr>
            <p:cNvSpPr/>
            <p:nvPr/>
          </p:nvSpPr>
          <p:spPr>
            <a:xfrm>
              <a:off x="5381171" y="5608579"/>
              <a:ext cx="42922" cy="42922"/>
            </a:xfrm>
            <a:custGeom>
              <a:avLst/>
              <a:gdLst>
                <a:gd name="connsiteX0" fmla="*/ 20900 w 42922"/>
                <a:gd name="connsiteY0" fmla="*/ 10734 h 42922"/>
                <a:gd name="connsiteX1" fmla="*/ 20900 w 42922"/>
                <a:gd name="connsiteY1" fmla="*/ 10734 h 42922"/>
                <a:gd name="connsiteX2" fmla="*/ 10803 w 42922"/>
                <a:gd name="connsiteY2" fmla="*/ 23386 h 42922"/>
                <a:gd name="connsiteX3" fmla="*/ 20900 w 42922"/>
                <a:gd name="connsiteY3" fmla="*/ 33483 h 42922"/>
                <a:gd name="connsiteX4" fmla="*/ 32489 w 42922"/>
                <a:gd name="connsiteY4" fmla="*/ 22180 h 42922"/>
                <a:gd name="connsiteX5" fmla="*/ 21333 w 42922"/>
                <a:gd name="connsiteY5" fmla="*/ 10731 h 42922"/>
                <a:gd name="connsiteX6" fmla="*/ 20900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0900" y="10734"/>
                  </a:moveTo>
                  <a:lnTo>
                    <a:pt x="20900" y="10734"/>
                  </a:lnTo>
                  <a:cubicBezTo>
                    <a:pt x="14617" y="11440"/>
                    <a:pt x="10098" y="17104"/>
                    <a:pt x="10803" y="23386"/>
                  </a:cubicBezTo>
                  <a:cubicBezTo>
                    <a:pt x="11400" y="28696"/>
                    <a:pt x="15590" y="32887"/>
                    <a:pt x="20900" y="33483"/>
                  </a:cubicBezTo>
                  <a:cubicBezTo>
                    <a:pt x="27191" y="33485"/>
                    <a:pt x="32333" y="28468"/>
                    <a:pt x="32489" y="22180"/>
                  </a:cubicBezTo>
                  <a:cubicBezTo>
                    <a:pt x="32571" y="15938"/>
                    <a:pt x="27576" y="10813"/>
                    <a:pt x="21333" y="10731"/>
                  </a:cubicBezTo>
                  <a:cubicBezTo>
                    <a:pt x="21189" y="10730"/>
                    <a:pt x="21044" y="10730"/>
                    <a:pt x="20900"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D8E43962-A98F-4195-82DA-84B777248139}"/>
                </a:ext>
              </a:extLst>
            </p:cNvPr>
            <p:cNvSpPr/>
            <p:nvPr/>
          </p:nvSpPr>
          <p:spPr>
            <a:xfrm>
              <a:off x="5379322" y="5560311"/>
              <a:ext cx="28615" cy="28615"/>
            </a:xfrm>
            <a:custGeom>
              <a:avLst/>
              <a:gdLst>
                <a:gd name="connsiteX0" fmla="*/ 23464 w 28614"/>
                <a:gd name="connsiteY0" fmla="*/ 30387 h 28614"/>
                <a:gd name="connsiteX1" fmla="*/ 30382 w 28614"/>
                <a:gd name="connsiteY1" fmla="*/ 18027 h 28614"/>
                <a:gd name="connsiteX2" fmla="*/ 18022 w 28614"/>
                <a:gd name="connsiteY2" fmla="*/ 11110 h 28614"/>
                <a:gd name="connsiteX3" fmla="*/ 10731 w 28614"/>
                <a:gd name="connsiteY3" fmla="*/ 20515 h 28614"/>
                <a:gd name="connsiteX4" fmla="*/ 23284 w 28614"/>
                <a:gd name="connsiteY4" fmla="*/ 30410 h 28614"/>
                <a:gd name="connsiteX5" fmla="*/ 23464 w 28614"/>
                <a:gd name="connsiteY5" fmla="*/ 3038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464" y="30387"/>
                  </a:moveTo>
                  <a:cubicBezTo>
                    <a:pt x="28788" y="28884"/>
                    <a:pt x="31884" y="23350"/>
                    <a:pt x="30382" y="18027"/>
                  </a:cubicBezTo>
                  <a:cubicBezTo>
                    <a:pt x="28878" y="12704"/>
                    <a:pt x="23346" y="9607"/>
                    <a:pt x="18022" y="11110"/>
                  </a:cubicBezTo>
                  <a:cubicBezTo>
                    <a:pt x="13791" y="12305"/>
                    <a:pt x="10834" y="16119"/>
                    <a:pt x="10731" y="20515"/>
                  </a:cubicBezTo>
                  <a:cubicBezTo>
                    <a:pt x="11465" y="26714"/>
                    <a:pt x="17086" y="31144"/>
                    <a:pt x="23284" y="30410"/>
                  </a:cubicBezTo>
                  <a:cubicBezTo>
                    <a:pt x="23344" y="30402"/>
                    <a:pt x="23404" y="30395"/>
                    <a:pt x="23464" y="3038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F750D934-5F8D-4254-8B9F-76E708F052C6}"/>
                </a:ext>
              </a:extLst>
            </p:cNvPr>
            <p:cNvSpPr/>
            <p:nvPr/>
          </p:nvSpPr>
          <p:spPr>
            <a:xfrm>
              <a:off x="5300774" y="5658945"/>
              <a:ext cx="28615" cy="28615"/>
            </a:xfrm>
            <a:custGeom>
              <a:avLst/>
              <a:gdLst>
                <a:gd name="connsiteX0" fmla="*/ 10731 w 28614"/>
                <a:gd name="connsiteY0" fmla="*/ 21175 h 28614"/>
                <a:gd name="connsiteX1" fmla="*/ 21032 w 28614"/>
                <a:gd name="connsiteY1" fmla="*/ 31476 h 28614"/>
                <a:gd name="connsiteX2" fmla="*/ 31333 w 28614"/>
                <a:gd name="connsiteY2" fmla="*/ 21175 h 28614"/>
                <a:gd name="connsiteX3" fmla="*/ 31333 w 28614"/>
                <a:gd name="connsiteY3" fmla="*/ 21175 h 28614"/>
                <a:gd name="connsiteX4" fmla="*/ 20889 w 28614"/>
                <a:gd name="connsiteY4" fmla="*/ 10731 h 28614"/>
                <a:gd name="connsiteX5" fmla="*/ 10731 w 28614"/>
                <a:gd name="connsiteY5" fmla="*/ 2088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0731" y="21175"/>
                  </a:moveTo>
                  <a:cubicBezTo>
                    <a:pt x="10731" y="26864"/>
                    <a:pt x="15343" y="31476"/>
                    <a:pt x="21032" y="31476"/>
                  </a:cubicBezTo>
                  <a:cubicBezTo>
                    <a:pt x="26721" y="31476"/>
                    <a:pt x="31333" y="26864"/>
                    <a:pt x="31333" y="21175"/>
                  </a:cubicBezTo>
                  <a:lnTo>
                    <a:pt x="31333" y="21175"/>
                  </a:lnTo>
                  <a:cubicBezTo>
                    <a:pt x="31333" y="15406"/>
                    <a:pt x="26658" y="10731"/>
                    <a:pt x="20889" y="10731"/>
                  </a:cubicBezTo>
                  <a:cubicBezTo>
                    <a:pt x="15279" y="10731"/>
                    <a:pt x="10731" y="15279"/>
                    <a:pt x="10731" y="2088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2028F3C3-4C49-4701-A8C3-67A3E243F94D}"/>
                </a:ext>
              </a:extLst>
            </p:cNvPr>
            <p:cNvSpPr/>
            <p:nvPr/>
          </p:nvSpPr>
          <p:spPr>
            <a:xfrm>
              <a:off x="5144965" y="5510004"/>
              <a:ext cx="28615" cy="28615"/>
            </a:xfrm>
            <a:custGeom>
              <a:avLst/>
              <a:gdLst>
                <a:gd name="connsiteX0" fmla="*/ 19029 w 28614"/>
                <a:gd name="connsiteY0" fmla="*/ 10731 h 28614"/>
                <a:gd name="connsiteX1" fmla="*/ 19029 w 28614"/>
                <a:gd name="connsiteY1" fmla="*/ 10731 h 28614"/>
                <a:gd name="connsiteX2" fmla="*/ 10731 w 28614"/>
                <a:gd name="connsiteY2" fmla="*/ 19029 h 28614"/>
                <a:gd name="connsiteX3" fmla="*/ 19029 w 28614"/>
                <a:gd name="connsiteY3" fmla="*/ 27613 h 28614"/>
                <a:gd name="connsiteX4" fmla="*/ 27470 w 28614"/>
                <a:gd name="connsiteY4" fmla="*/ 19172 h 28614"/>
                <a:gd name="connsiteX5" fmla="*/ 1902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29" y="10731"/>
                  </a:moveTo>
                  <a:lnTo>
                    <a:pt x="19029" y="10731"/>
                  </a:lnTo>
                  <a:cubicBezTo>
                    <a:pt x="14446" y="10731"/>
                    <a:pt x="10731" y="14446"/>
                    <a:pt x="10731" y="19029"/>
                  </a:cubicBezTo>
                  <a:cubicBezTo>
                    <a:pt x="10728" y="23660"/>
                    <a:pt x="14400" y="27459"/>
                    <a:pt x="19029" y="27613"/>
                  </a:cubicBezTo>
                  <a:cubicBezTo>
                    <a:pt x="23690" y="27613"/>
                    <a:pt x="27470" y="23833"/>
                    <a:pt x="27470" y="19172"/>
                  </a:cubicBezTo>
                  <a:cubicBezTo>
                    <a:pt x="27470" y="14511"/>
                    <a:pt x="23690" y="10731"/>
                    <a:pt x="1902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AB7BB241-8415-4A2E-8764-DE4B96A9F710}"/>
                </a:ext>
              </a:extLst>
            </p:cNvPr>
            <p:cNvSpPr/>
            <p:nvPr/>
          </p:nvSpPr>
          <p:spPr>
            <a:xfrm>
              <a:off x="5300917" y="5709163"/>
              <a:ext cx="42922" cy="28615"/>
            </a:xfrm>
            <a:custGeom>
              <a:avLst/>
              <a:gdLst>
                <a:gd name="connsiteX0" fmla="*/ 26469 w 42922"/>
                <a:gd name="connsiteY0" fmla="*/ 11161 h 28614"/>
                <a:gd name="connsiteX1" fmla="*/ 20746 w 42922"/>
                <a:gd name="connsiteY1" fmla="*/ 11161 h 28614"/>
                <a:gd name="connsiteX2" fmla="*/ 10731 w 42922"/>
                <a:gd name="connsiteY2" fmla="*/ 21033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00" y="11235"/>
                    <a:pt x="10884" y="15590"/>
                    <a:pt x="10731" y="21033"/>
                  </a:cubicBezTo>
                  <a:cubicBezTo>
                    <a:pt x="10885" y="26453"/>
                    <a:pt x="15325" y="30765"/>
                    <a:pt x="20746" y="30762"/>
                  </a:cubicBezTo>
                  <a:cubicBezTo>
                    <a:pt x="26158" y="32343"/>
                    <a:pt x="31827" y="29236"/>
                    <a:pt x="33408" y="23823"/>
                  </a:cubicBezTo>
                  <a:cubicBezTo>
                    <a:pt x="34989" y="18410"/>
                    <a:pt x="31881" y="12742"/>
                    <a:pt x="26469" y="1116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765595C1-5587-437E-994B-79DD5F7AA262}"/>
                </a:ext>
              </a:extLst>
            </p:cNvPr>
            <p:cNvSpPr/>
            <p:nvPr/>
          </p:nvSpPr>
          <p:spPr>
            <a:xfrm>
              <a:off x="5301485" y="5608868"/>
              <a:ext cx="28615" cy="28615"/>
            </a:xfrm>
            <a:custGeom>
              <a:avLst/>
              <a:gdLst>
                <a:gd name="connsiteX0" fmla="*/ 20750 w 28614"/>
                <a:gd name="connsiteY0" fmla="*/ 31333 h 28614"/>
                <a:gd name="connsiteX1" fmla="*/ 20750 w 28614"/>
                <a:gd name="connsiteY1" fmla="*/ 31333 h 28614"/>
                <a:gd name="connsiteX2" fmla="*/ 31194 w 28614"/>
                <a:gd name="connsiteY2" fmla="*/ 21032 h 28614"/>
                <a:gd name="connsiteX3" fmla="*/ 20893 w 28614"/>
                <a:gd name="connsiteY3" fmla="*/ 10731 h 28614"/>
                <a:gd name="connsiteX4" fmla="*/ 20893 w 28614"/>
                <a:gd name="connsiteY4" fmla="*/ 10731 h 28614"/>
                <a:gd name="connsiteX5" fmla="*/ 10733 w 28614"/>
                <a:gd name="connsiteY5" fmla="*/ 20887 h 28614"/>
                <a:gd name="connsiteX6" fmla="*/ 10735 w 28614"/>
                <a:gd name="connsiteY6" fmla="*/ 21032 h 28614"/>
                <a:gd name="connsiteX7" fmla="*/ 20460 w 28614"/>
                <a:gd name="connsiteY7" fmla="*/ 31329 h 28614"/>
                <a:gd name="connsiteX8" fmla="*/ 20750 w 28614"/>
                <a:gd name="connsiteY8"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750" y="31333"/>
                  </a:moveTo>
                  <a:lnTo>
                    <a:pt x="20750" y="31333"/>
                  </a:lnTo>
                  <a:cubicBezTo>
                    <a:pt x="26463" y="31333"/>
                    <a:pt x="31116" y="26745"/>
                    <a:pt x="31194" y="21032"/>
                  </a:cubicBezTo>
                  <a:cubicBezTo>
                    <a:pt x="31194" y="15343"/>
                    <a:pt x="26582" y="10731"/>
                    <a:pt x="20893" y="10731"/>
                  </a:cubicBezTo>
                  <a:lnTo>
                    <a:pt x="20893" y="10731"/>
                  </a:lnTo>
                  <a:cubicBezTo>
                    <a:pt x="15283" y="10731"/>
                    <a:pt x="10735" y="15278"/>
                    <a:pt x="10733" y="20887"/>
                  </a:cubicBezTo>
                  <a:cubicBezTo>
                    <a:pt x="10733" y="20936"/>
                    <a:pt x="10735" y="20983"/>
                    <a:pt x="10735" y="21032"/>
                  </a:cubicBezTo>
                  <a:cubicBezTo>
                    <a:pt x="10577" y="26560"/>
                    <a:pt x="14931" y="31172"/>
                    <a:pt x="20460" y="31329"/>
                  </a:cubicBezTo>
                  <a:cubicBezTo>
                    <a:pt x="20557" y="31332"/>
                    <a:pt x="20653" y="31333"/>
                    <a:pt x="20750" y="3133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4C257A17-EE9D-4426-81CE-B31953244799}"/>
                </a:ext>
              </a:extLst>
            </p:cNvPr>
            <p:cNvSpPr/>
            <p:nvPr/>
          </p:nvSpPr>
          <p:spPr>
            <a:xfrm>
              <a:off x="5223080" y="5508430"/>
              <a:ext cx="28615" cy="28615"/>
            </a:xfrm>
            <a:custGeom>
              <a:avLst/>
              <a:gdLst>
                <a:gd name="connsiteX0" fmla="*/ 19892 w 28614"/>
                <a:gd name="connsiteY0" fmla="*/ 10731 h 28614"/>
                <a:gd name="connsiteX1" fmla="*/ 10735 w 28614"/>
                <a:gd name="connsiteY1" fmla="*/ 20030 h 28614"/>
                <a:gd name="connsiteX2" fmla="*/ 10735 w 28614"/>
                <a:gd name="connsiteY2" fmla="*/ 21032 h 28614"/>
                <a:gd name="connsiteX3" fmla="*/ 19458 w 28614"/>
                <a:gd name="connsiteY3" fmla="*/ 30328 h 28614"/>
                <a:gd name="connsiteX4" fmla="*/ 19749 w 28614"/>
                <a:gd name="connsiteY4" fmla="*/ 30332 h 28614"/>
                <a:gd name="connsiteX5" fmla="*/ 19749 w 28614"/>
                <a:gd name="connsiteY5" fmla="*/ 30332 h 28614"/>
                <a:gd name="connsiteX6" fmla="*/ 29620 w 28614"/>
                <a:gd name="connsiteY6" fmla="*/ 20747 h 28614"/>
                <a:gd name="connsiteX7" fmla="*/ 29621 w 28614"/>
                <a:gd name="connsiteY7" fmla="*/ 20603 h 28614"/>
                <a:gd name="connsiteX8" fmla="*/ 19892 w 28614"/>
                <a:gd name="connsiteY8"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19892" y="10731"/>
                  </a:moveTo>
                  <a:cubicBezTo>
                    <a:pt x="14811" y="10809"/>
                    <a:pt x="10735" y="14950"/>
                    <a:pt x="10735" y="20030"/>
                  </a:cubicBezTo>
                  <a:lnTo>
                    <a:pt x="10735" y="21032"/>
                  </a:lnTo>
                  <a:cubicBezTo>
                    <a:pt x="10578" y="26008"/>
                    <a:pt x="14482" y="30169"/>
                    <a:pt x="19458" y="30328"/>
                  </a:cubicBezTo>
                  <a:cubicBezTo>
                    <a:pt x="19556" y="30330"/>
                    <a:pt x="19652" y="30332"/>
                    <a:pt x="19749" y="30332"/>
                  </a:cubicBezTo>
                  <a:lnTo>
                    <a:pt x="19749" y="30332"/>
                  </a:lnTo>
                  <a:cubicBezTo>
                    <a:pt x="25121" y="30411"/>
                    <a:pt x="29541" y="26120"/>
                    <a:pt x="29620" y="20747"/>
                  </a:cubicBezTo>
                  <a:cubicBezTo>
                    <a:pt x="29621" y="20699"/>
                    <a:pt x="29621" y="20651"/>
                    <a:pt x="29621" y="20603"/>
                  </a:cubicBezTo>
                  <a:cubicBezTo>
                    <a:pt x="29621" y="15206"/>
                    <a:pt x="25289" y="10809"/>
                    <a:pt x="19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2C29D8C5-FAD7-4FC6-BBB0-9042353991A7}"/>
                </a:ext>
              </a:extLst>
            </p:cNvPr>
            <p:cNvSpPr/>
            <p:nvPr/>
          </p:nvSpPr>
          <p:spPr>
            <a:xfrm>
              <a:off x="5300774" y="5719751"/>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D0061D0B-F955-4E2D-8C82-2D72F467EAB3}"/>
                </a:ext>
              </a:extLst>
            </p:cNvPr>
            <p:cNvSpPr/>
            <p:nvPr/>
          </p:nvSpPr>
          <p:spPr>
            <a:xfrm>
              <a:off x="5301346" y="5758524"/>
              <a:ext cx="28615" cy="28615"/>
            </a:xfrm>
            <a:custGeom>
              <a:avLst/>
              <a:gdLst>
                <a:gd name="connsiteX0" fmla="*/ 21032 w 28614"/>
                <a:gd name="connsiteY0" fmla="*/ 10732 h 28614"/>
                <a:gd name="connsiteX1" fmla="*/ 10732 w 28614"/>
                <a:gd name="connsiteY1" fmla="*/ 20745 h 28614"/>
                <a:gd name="connsiteX2" fmla="*/ 10731 w 28614"/>
                <a:gd name="connsiteY2" fmla="*/ 20890 h 28614"/>
                <a:gd name="connsiteX3" fmla="*/ 10731 w 28614"/>
                <a:gd name="connsiteY3" fmla="*/ 20890 h 28614"/>
                <a:gd name="connsiteX4" fmla="*/ 21032 w 28614"/>
                <a:gd name="connsiteY4" fmla="*/ 31191 h 28614"/>
                <a:gd name="connsiteX5" fmla="*/ 31333 w 28614"/>
                <a:gd name="connsiteY5" fmla="*/ 20890 h 28614"/>
                <a:gd name="connsiteX6" fmla="*/ 31333 w 28614"/>
                <a:gd name="connsiteY6" fmla="*/ 20890 h 28614"/>
                <a:gd name="connsiteX7" fmla="*/ 21032 w 28614"/>
                <a:gd name="connsiteY7"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032" y="10732"/>
                  </a:moveTo>
                  <a:cubicBezTo>
                    <a:pt x="15422" y="10653"/>
                    <a:pt x="10811" y="15135"/>
                    <a:pt x="10732" y="20745"/>
                  </a:cubicBezTo>
                  <a:cubicBezTo>
                    <a:pt x="10731" y="20794"/>
                    <a:pt x="10731" y="20841"/>
                    <a:pt x="10731" y="20890"/>
                  </a:cubicBezTo>
                  <a:lnTo>
                    <a:pt x="10731" y="20890"/>
                  </a:lnTo>
                  <a:cubicBezTo>
                    <a:pt x="10731" y="26579"/>
                    <a:pt x="15343" y="31191"/>
                    <a:pt x="21032" y="31191"/>
                  </a:cubicBezTo>
                  <a:cubicBezTo>
                    <a:pt x="26721" y="31191"/>
                    <a:pt x="31333" y="26579"/>
                    <a:pt x="31333" y="20890"/>
                  </a:cubicBezTo>
                  <a:lnTo>
                    <a:pt x="31333" y="20890"/>
                  </a:lnTo>
                  <a:cubicBezTo>
                    <a:pt x="31255" y="15257"/>
                    <a:pt x="26666" y="10732"/>
                    <a:pt x="2103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AC4B4C19-8761-458E-9888-27EE02CCFFB0}"/>
                </a:ext>
              </a:extLst>
            </p:cNvPr>
            <p:cNvSpPr/>
            <p:nvPr/>
          </p:nvSpPr>
          <p:spPr>
            <a:xfrm>
              <a:off x="5301346" y="5509002"/>
              <a:ext cx="28615" cy="28615"/>
            </a:xfrm>
            <a:custGeom>
              <a:avLst/>
              <a:gdLst>
                <a:gd name="connsiteX0" fmla="*/ 20889 w 28614"/>
                <a:gd name="connsiteY0" fmla="*/ 31333 h 28614"/>
                <a:gd name="connsiteX1" fmla="*/ 20889 w 28614"/>
                <a:gd name="connsiteY1" fmla="*/ 31333 h 28614"/>
                <a:gd name="connsiteX2" fmla="*/ 31333 w 28614"/>
                <a:gd name="connsiteY2" fmla="*/ 21032 h 28614"/>
                <a:gd name="connsiteX3" fmla="*/ 21032 w 28614"/>
                <a:gd name="connsiteY3" fmla="*/ 10731 h 28614"/>
                <a:gd name="connsiteX4" fmla="*/ 21032 w 28614"/>
                <a:gd name="connsiteY4" fmla="*/ 10731 h 28614"/>
                <a:gd name="connsiteX5" fmla="*/ 10731 w 28614"/>
                <a:gd name="connsiteY5" fmla="*/ 21032 h 28614"/>
                <a:gd name="connsiteX6" fmla="*/ 21032 w 28614"/>
                <a:gd name="connsiteY6"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889" y="31333"/>
                  </a:moveTo>
                  <a:lnTo>
                    <a:pt x="20889" y="31333"/>
                  </a:lnTo>
                  <a:cubicBezTo>
                    <a:pt x="26602" y="31333"/>
                    <a:pt x="31255" y="26745"/>
                    <a:pt x="31333" y="21032"/>
                  </a:cubicBezTo>
                  <a:cubicBezTo>
                    <a:pt x="31333" y="15343"/>
                    <a:pt x="26721" y="10731"/>
                    <a:pt x="21032" y="10731"/>
                  </a:cubicBezTo>
                  <a:lnTo>
                    <a:pt x="21032" y="10731"/>
                  </a:lnTo>
                  <a:cubicBezTo>
                    <a:pt x="15343" y="10731"/>
                    <a:pt x="10731" y="15343"/>
                    <a:pt x="10731" y="21032"/>
                  </a:cubicBezTo>
                  <a:cubicBezTo>
                    <a:pt x="10731" y="26721"/>
                    <a:pt x="15343" y="31333"/>
                    <a:pt x="21032" y="3133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85" name="Freeform: Shape 84">
              <a:extLst>
                <a:ext uri="{FF2B5EF4-FFF2-40B4-BE49-F238E27FC236}">
                  <a16:creationId xmlns:a16="http://schemas.microsoft.com/office/drawing/2014/main" id="{EF3E88DD-8991-4B63-A8C1-4C52BE5E6A7B}"/>
                </a:ext>
              </a:extLst>
            </p:cNvPr>
            <p:cNvSpPr/>
            <p:nvPr/>
          </p:nvSpPr>
          <p:spPr>
            <a:xfrm>
              <a:off x="6016434" y="5659517"/>
              <a:ext cx="28615" cy="28615"/>
            </a:xfrm>
            <a:custGeom>
              <a:avLst/>
              <a:gdLst>
                <a:gd name="connsiteX0" fmla="*/ 21175 w 28614"/>
                <a:gd name="connsiteY0" fmla="*/ 31333 h 28614"/>
                <a:gd name="connsiteX1" fmla="*/ 31476 w 28614"/>
                <a:gd name="connsiteY1" fmla="*/ 21032 h 28614"/>
                <a:gd name="connsiteX2" fmla="*/ 21175 w 28614"/>
                <a:gd name="connsiteY2" fmla="*/ 10731 h 28614"/>
                <a:gd name="connsiteX3" fmla="*/ 21175 w 28614"/>
                <a:gd name="connsiteY3" fmla="*/ 10731 h 28614"/>
                <a:gd name="connsiteX4" fmla="*/ 10731 w 28614"/>
                <a:gd name="connsiteY4" fmla="*/ 21175 h 28614"/>
                <a:gd name="connsiteX5" fmla="*/ 20889 w 28614"/>
                <a:gd name="connsiteY5"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1175" y="31333"/>
                  </a:moveTo>
                  <a:cubicBezTo>
                    <a:pt x="26864" y="31333"/>
                    <a:pt x="31476" y="26721"/>
                    <a:pt x="31476" y="21032"/>
                  </a:cubicBezTo>
                  <a:cubicBezTo>
                    <a:pt x="31476" y="15343"/>
                    <a:pt x="26864" y="10731"/>
                    <a:pt x="21175" y="10731"/>
                  </a:cubicBezTo>
                  <a:lnTo>
                    <a:pt x="21175" y="10731"/>
                  </a:lnTo>
                  <a:cubicBezTo>
                    <a:pt x="15406" y="10731"/>
                    <a:pt x="10731" y="15406"/>
                    <a:pt x="10731" y="21175"/>
                  </a:cubicBezTo>
                  <a:cubicBezTo>
                    <a:pt x="10731" y="26785"/>
                    <a:pt x="15279" y="31333"/>
                    <a:pt x="20889" y="3133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FF7EA816-9ECB-4A90-A723-0C15E5B8FB4B}"/>
                </a:ext>
              </a:extLst>
            </p:cNvPr>
            <p:cNvSpPr/>
            <p:nvPr/>
          </p:nvSpPr>
          <p:spPr>
            <a:xfrm>
              <a:off x="6016434" y="5609297"/>
              <a:ext cx="28615" cy="28615"/>
            </a:xfrm>
            <a:custGeom>
              <a:avLst/>
              <a:gdLst>
                <a:gd name="connsiteX0" fmla="*/ 21175 w 28614"/>
                <a:gd name="connsiteY0" fmla="*/ 10732 h 28614"/>
                <a:gd name="connsiteX1" fmla="*/ 10731 w 28614"/>
                <a:gd name="connsiteY1" fmla="*/ 20747 h 28614"/>
                <a:gd name="connsiteX2" fmla="*/ 10731 w 28614"/>
                <a:gd name="connsiteY2" fmla="*/ 20747 h 28614"/>
                <a:gd name="connsiteX3" fmla="*/ 21175 w 28614"/>
                <a:gd name="connsiteY3" fmla="*/ 31191 h 28614"/>
                <a:gd name="connsiteX4" fmla="*/ 31333 w 28614"/>
                <a:gd name="connsiteY4" fmla="*/ 21033 h 28614"/>
                <a:gd name="connsiteX5" fmla="*/ 31333 w 28614"/>
                <a:gd name="connsiteY5" fmla="*/ 21033 h 28614"/>
                <a:gd name="connsiteX6" fmla="*/ 21320 w 28614"/>
                <a:gd name="connsiteY6" fmla="*/ 10733 h 28614"/>
                <a:gd name="connsiteX7" fmla="*/ 21175 w 28614"/>
                <a:gd name="connsiteY7"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175" y="10732"/>
                  </a:moveTo>
                  <a:cubicBezTo>
                    <a:pt x="15541" y="10652"/>
                    <a:pt x="10886" y="15114"/>
                    <a:pt x="10731" y="20747"/>
                  </a:cubicBezTo>
                  <a:lnTo>
                    <a:pt x="10731" y="20747"/>
                  </a:lnTo>
                  <a:cubicBezTo>
                    <a:pt x="10731" y="26516"/>
                    <a:pt x="15406" y="31191"/>
                    <a:pt x="21175" y="31191"/>
                  </a:cubicBezTo>
                  <a:cubicBezTo>
                    <a:pt x="26785" y="31191"/>
                    <a:pt x="31333" y="26643"/>
                    <a:pt x="31333" y="21033"/>
                  </a:cubicBezTo>
                  <a:lnTo>
                    <a:pt x="31333" y="21033"/>
                  </a:lnTo>
                  <a:cubicBezTo>
                    <a:pt x="31412" y="15423"/>
                    <a:pt x="26929" y="10812"/>
                    <a:pt x="21320" y="10733"/>
                  </a:cubicBezTo>
                  <a:cubicBezTo>
                    <a:pt x="21271" y="10732"/>
                    <a:pt x="21224" y="10732"/>
                    <a:pt x="21175"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87" name="Freeform: Shape 86">
              <a:extLst>
                <a:ext uri="{FF2B5EF4-FFF2-40B4-BE49-F238E27FC236}">
                  <a16:creationId xmlns:a16="http://schemas.microsoft.com/office/drawing/2014/main" id="{C41B3284-7850-4BB9-AC29-C795AD2512F6}"/>
                </a:ext>
              </a:extLst>
            </p:cNvPr>
            <p:cNvSpPr/>
            <p:nvPr/>
          </p:nvSpPr>
          <p:spPr>
            <a:xfrm>
              <a:off x="6177102" y="5660662"/>
              <a:ext cx="28615" cy="28615"/>
            </a:xfrm>
            <a:custGeom>
              <a:avLst/>
              <a:gdLst>
                <a:gd name="connsiteX0" fmla="*/ 19463 w 28614"/>
                <a:gd name="connsiteY0" fmla="*/ 10731 h 28614"/>
                <a:gd name="connsiteX1" fmla="*/ 10736 w 28614"/>
                <a:gd name="connsiteY1" fmla="*/ 19029 h 28614"/>
                <a:gd name="connsiteX2" fmla="*/ 18744 w 28614"/>
                <a:gd name="connsiteY2" fmla="*/ 27609 h 28614"/>
                <a:gd name="connsiteX3" fmla="*/ 19034 w 28614"/>
                <a:gd name="connsiteY3" fmla="*/ 27613 h 28614"/>
                <a:gd name="connsiteX4" fmla="*/ 19034 w 28614"/>
                <a:gd name="connsiteY4" fmla="*/ 27613 h 28614"/>
                <a:gd name="connsiteX5" fmla="*/ 27189 w 28614"/>
                <a:gd name="connsiteY5" fmla="*/ 19747 h 28614"/>
                <a:gd name="connsiteX6" fmla="*/ 27189 w 28614"/>
                <a:gd name="connsiteY6" fmla="*/ 19458 h 28614"/>
                <a:gd name="connsiteX7" fmla="*/ 19463 w 28614"/>
                <a:gd name="connsiteY7"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63" y="10731"/>
                  </a:moveTo>
                  <a:cubicBezTo>
                    <a:pt x="14806" y="10725"/>
                    <a:pt x="10965" y="14378"/>
                    <a:pt x="10736" y="19029"/>
                  </a:cubicBezTo>
                  <a:cubicBezTo>
                    <a:pt x="10578" y="23609"/>
                    <a:pt x="14162" y="27450"/>
                    <a:pt x="18744" y="27609"/>
                  </a:cubicBezTo>
                  <a:cubicBezTo>
                    <a:pt x="18839" y="27612"/>
                    <a:pt x="18937" y="27613"/>
                    <a:pt x="19034" y="27613"/>
                  </a:cubicBezTo>
                  <a:lnTo>
                    <a:pt x="19034" y="27613"/>
                  </a:lnTo>
                  <a:cubicBezTo>
                    <a:pt x="23458" y="27694"/>
                    <a:pt x="27109" y="24171"/>
                    <a:pt x="27189" y="19747"/>
                  </a:cubicBezTo>
                  <a:cubicBezTo>
                    <a:pt x="27191" y="19651"/>
                    <a:pt x="27191" y="19554"/>
                    <a:pt x="27189" y="19458"/>
                  </a:cubicBezTo>
                  <a:cubicBezTo>
                    <a:pt x="27358" y="14953"/>
                    <a:pt x="23956" y="11110"/>
                    <a:pt x="1946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88" name="Freeform: Shape 87">
              <a:extLst>
                <a:ext uri="{FF2B5EF4-FFF2-40B4-BE49-F238E27FC236}">
                  <a16:creationId xmlns:a16="http://schemas.microsoft.com/office/drawing/2014/main" id="{FBFF5DD9-D4B6-4991-AED9-258CE200473A}"/>
                </a:ext>
              </a:extLst>
            </p:cNvPr>
            <p:cNvSpPr/>
            <p:nvPr/>
          </p:nvSpPr>
          <p:spPr>
            <a:xfrm>
              <a:off x="6177058" y="5612351"/>
              <a:ext cx="28615" cy="28615"/>
            </a:xfrm>
            <a:custGeom>
              <a:avLst/>
              <a:gdLst>
                <a:gd name="connsiteX0" fmla="*/ 18077 w 28614"/>
                <a:gd name="connsiteY0" fmla="*/ 10825 h 28614"/>
                <a:gd name="connsiteX1" fmla="*/ 10803 w 28614"/>
                <a:gd name="connsiteY1" fmla="*/ 20291 h 28614"/>
                <a:gd name="connsiteX2" fmla="*/ 18077 w 28614"/>
                <a:gd name="connsiteY2" fmla="*/ 27565 h 28614"/>
                <a:gd name="connsiteX3" fmla="*/ 27659 w 28614"/>
                <a:gd name="connsiteY3" fmla="*/ 20444 h 28614"/>
                <a:gd name="connsiteX4" fmla="*/ 27663 w 28614"/>
                <a:gd name="connsiteY4" fmla="*/ 20411 h 28614"/>
                <a:gd name="connsiteX5" fmla="*/ 27663 w 28614"/>
                <a:gd name="connsiteY5" fmla="*/ 17835 h 28614"/>
                <a:gd name="connsiteX6" fmla="*/ 18077 w 28614"/>
                <a:gd name="connsiteY6"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077" y="10825"/>
                  </a:moveTo>
                  <a:cubicBezTo>
                    <a:pt x="13454" y="11430"/>
                    <a:pt x="10198" y="15669"/>
                    <a:pt x="10803" y="20291"/>
                  </a:cubicBezTo>
                  <a:cubicBezTo>
                    <a:pt x="11301" y="24084"/>
                    <a:pt x="14285" y="27068"/>
                    <a:pt x="18077" y="27565"/>
                  </a:cubicBezTo>
                  <a:cubicBezTo>
                    <a:pt x="22690" y="28244"/>
                    <a:pt x="26979" y="25055"/>
                    <a:pt x="27659" y="20444"/>
                  </a:cubicBezTo>
                  <a:cubicBezTo>
                    <a:pt x="27660" y="20432"/>
                    <a:pt x="27661" y="20422"/>
                    <a:pt x="27663" y="20411"/>
                  </a:cubicBezTo>
                  <a:cubicBezTo>
                    <a:pt x="27807" y="19558"/>
                    <a:pt x="27807" y="18688"/>
                    <a:pt x="27663" y="17835"/>
                  </a:cubicBezTo>
                  <a:cubicBezTo>
                    <a:pt x="26929" y="13266"/>
                    <a:pt x="22654" y="10139"/>
                    <a:pt x="18077" y="108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89" name="Freeform: Shape 88">
              <a:extLst>
                <a:ext uri="{FF2B5EF4-FFF2-40B4-BE49-F238E27FC236}">
                  <a16:creationId xmlns:a16="http://schemas.microsoft.com/office/drawing/2014/main" id="{F3EB2870-617A-42A4-9505-D0F6F954FC7F}"/>
                </a:ext>
              </a:extLst>
            </p:cNvPr>
            <p:cNvSpPr/>
            <p:nvPr/>
          </p:nvSpPr>
          <p:spPr>
            <a:xfrm>
              <a:off x="6177106" y="5761238"/>
              <a:ext cx="28615" cy="28615"/>
            </a:xfrm>
            <a:custGeom>
              <a:avLst/>
              <a:gdLst>
                <a:gd name="connsiteX0" fmla="*/ 19459 w 28614"/>
                <a:gd name="connsiteY0" fmla="*/ 10736 h 28614"/>
                <a:gd name="connsiteX1" fmla="*/ 10732 w 28614"/>
                <a:gd name="connsiteY1" fmla="*/ 18881 h 28614"/>
                <a:gd name="connsiteX2" fmla="*/ 10732 w 28614"/>
                <a:gd name="connsiteY2" fmla="*/ 18891 h 28614"/>
                <a:gd name="connsiteX3" fmla="*/ 19030 w 28614"/>
                <a:gd name="connsiteY3" fmla="*/ 27619 h 28614"/>
                <a:gd name="connsiteX4" fmla="*/ 19030 w 28614"/>
                <a:gd name="connsiteY4" fmla="*/ 27619 h 28614"/>
                <a:gd name="connsiteX5" fmla="*/ 27187 w 28614"/>
                <a:gd name="connsiteY5" fmla="*/ 19465 h 28614"/>
                <a:gd name="connsiteX6" fmla="*/ 27186 w 28614"/>
                <a:gd name="connsiteY6" fmla="*/ 19320 h 28614"/>
                <a:gd name="connsiteX7" fmla="*/ 19459 w 28614"/>
                <a:gd name="connsiteY7" fmla="*/ 107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59" y="10736"/>
                  </a:moveTo>
                  <a:cubicBezTo>
                    <a:pt x="14800" y="10575"/>
                    <a:pt x="10894" y="14222"/>
                    <a:pt x="10732" y="18881"/>
                  </a:cubicBezTo>
                  <a:cubicBezTo>
                    <a:pt x="10732" y="18884"/>
                    <a:pt x="10732" y="18888"/>
                    <a:pt x="10732" y="18891"/>
                  </a:cubicBezTo>
                  <a:cubicBezTo>
                    <a:pt x="10652" y="23578"/>
                    <a:pt x="14345" y="27463"/>
                    <a:pt x="19030" y="27619"/>
                  </a:cubicBezTo>
                  <a:lnTo>
                    <a:pt x="19030" y="27619"/>
                  </a:lnTo>
                  <a:cubicBezTo>
                    <a:pt x="23534" y="27619"/>
                    <a:pt x="27186" y="23969"/>
                    <a:pt x="27187" y="19465"/>
                  </a:cubicBezTo>
                  <a:cubicBezTo>
                    <a:pt x="27187" y="19416"/>
                    <a:pt x="27187" y="19369"/>
                    <a:pt x="27186" y="19320"/>
                  </a:cubicBezTo>
                  <a:cubicBezTo>
                    <a:pt x="27277" y="14869"/>
                    <a:pt x="23896" y="11112"/>
                    <a:pt x="19459" y="1073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05CB2F0F-8340-4A19-926C-F4AA748BFA6A}"/>
                </a:ext>
              </a:extLst>
            </p:cNvPr>
            <p:cNvSpPr/>
            <p:nvPr/>
          </p:nvSpPr>
          <p:spPr>
            <a:xfrm>
              <a:off x="6177197" y="5711073"/>
              <a:ext cx="28615" cy="28615"/>
            </a:xfrm>
            <a:custGeom>
              <a:avLst/>
              <a:gdLst>
                <a:gd name="connsiteX0" fmla="*/ 17938 w 28614"/>
                <a:gd name="connsiteY0" fmla="*/ 10825 h 28614"/>
                <a:gd name="connsiteX1" fmla="*/ 10823 w 28614"/>
                <a:gd name="connsiteY1" fmla="*/ 20411 h 28614"/>
                <a:gd name="connsiteX2" fmla="*/ 20409 w 28614"/>
                <a:gd name="connsiteY2" fmla="*/ 27526 h 28614"/>
                <a:gd name="connsiteX3" fmla="*/ 27524 w 28614"/>
                <a:gd name="connsiteY3" fmla="*/ 20411 h 28614"/>
                <a:gd name="connsiteX4" fmla="*/ 27524 w 28614"/>
                <a:gd name="connsiteY4" fmla="*/ 17836 h 28614"/>
                <a:gd name="connsiteX5" fmla="*/ 17938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938" y="10825"/>
                  </a:moveTo>
                  <a:cubicBezTo>
                    <a:pt x="13326" y="11507"/>
                    <a:pt x="10140" y="15800"/>
                    <a:pt x="10823" y="20411"/>
                  </a:cubicBezTo>
                  <a:cubicBezTo>
                    <a:pt x="11505" y="25022"/>
                    <a:pt x="15797" y="28208"/>
                    <a:pt x="20409" y="27526"/>
                  </a:cubicBezTo>
                  <a:cubicBezTo>
                    <a:pt x="24089" y="26981"/>
                    <a:pt x="26979" y="24091"/>
                    <a:pt x="27524" y="20411"/>
                  </a:cubicBezTo>
                  <a:cubicBezTo>
                    <a:pt x="27668" y="19558"/>
                    <a:pt x="27668" y="18688"/>
                    <a:pt x="27524" y="17836"/>
                  </a:cubicBezTo>
                  <a:cubicBezTo>
                    <a:pt x="26790" y="13266"/>
                    <a:pt x="22515" y="10140"/>
                    <a:pt x="17938" y="108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3D08E68E-3FDC-4D2A-8F0B-D4ACB7B87CD3}"/>
                </a:ext>
              </a:extLst>
            </p:cNvPr>
            <p:cNvSpPr/>
            <p:nvPr/>
          </p:nvSpPr>
          <p:spPr>
            <a:xfrm>
              <a:off x="6257658" y="5561654"/>
              <a:ext cx="28615" cy="28615"/>
            </a:xfrm>
            <a:custGeom>
              <a:avLst/>
              <a:gdLst>
                <a:gd name="connsiteX0" fmla="*/ 25610 w 28614"/>
                <a:gd name="connsiteY0" fmla="*/ 18170 h 28614"/>
                <a:gd name="connsiteX1" fmla="*/ 18170 w 28614"/>
                <a:gd name="connsiteY1" fmla="*/ 25610 h 28614"/>
                <a:gd name="connsiteX2" fmla="*/ 10731 w 28614"/>
                <a:gd name="connsiteY2" fmla="*/ 18170 h 28614"/>
                <a:gd name="connsiteX3" fmla="*/ 18170 w 28614"/>
                <a:gd name="connsiteY3" fmla="*/ 10731 h 28614"/>
                <a:gd name="connsiteX4" fmla="*/ 25610 w 28614"/>
                <a:gd name="connsiteY4" fmla="*/ 1817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0"/>
                  </a:moveTo>
                  <a:cubicBezTo>
                    <a:pt x="25610" y="22279"/>
                    <a:pt x="22279" y="25610"/>
                    <a:pt x="18170" y="25610"/>
                  </a:cubicBezTo>
                  <a:cubicBezTo>
                    <a:pt x="14062" y="25610"/>
                    <a:pt x="10731" y="22279"/>
                    <a:pt x="10731" y="18170"/>
                  </a:cubicBezTo>
                  <a:cubicBezTo>
                    <a:pt x="10731" y="14062"/>
                    <a:pt x="14062" y="10731"/>
                    <a:pt x="18170" y="10731"/>
                  </a:cubicBezTo>
                  <a:cubicBezTo>
                    <a:pt x="22279" y="10731"/>
                    <a:pt x="25610" y="14062"/>
                    <a:pt x="25610" y="1817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2" name="Freeform: Shape 91">
              <a:extLst>
                <a:ext uri="{FF2B5EF4-FFF2-40B4-BE49-F238E27FC236}">
                  <a16:creationId xmlns:a16="http://schemas.microsoft.com/office/drawing/2014/main" id="{48793F18-CBC5-4327-9DD7-D6F75177D2F4}"/>
                </a:ext>
              </a:extLst>
            </p:cNvPr>
            <p:cNvSpPr/>
            <p:nvPr/>
          </p:nvSpPr>
          <p:spPr>
            <a:xfrm>
              <a:off x="6256657" y="5512581"/>
              <a:ext cx="28615" cy="28615"/>
            </a:xfrm>
            <a:custGeom>
              <a:avLst/>
              <a:gdLst>
                <a:gd name="connsiteX0" fmla="*/ 18170 w 28614"/>
                <a:gd name="connsiteY0" fmla="*/ 25895 h 28614"/>
                <a:gd name="connsiteX1" fmla="*/ 25895 w 28614"/>
                <a:gd name="connsiteY1" fmla="*/ 18457 h 28614"/>
                <a:gd name="connsiteX2" fmla="*/ 18457 w 28614"/>
                <a:gd name="connsiteY2" fmla="*/ 10732 h 28614"/>
                <a:gd name="connsiteX3" fmla="*/ 10732 w 28614"/>
                <a:gd name="connsiteY3" fmla="*/ 18170 h 28614"/>
                <a:gd name="connsiteX4" fmla="*/ 10731 w 28614"/>
                <a:gd name="connsiteY4" fmla="*/ 18312 h 28614"/>
                <a:gd name="connsiteX5" fmla="*/ 18170 w 28614"/>
                <a:gd name="connsiteY5" fmla="*/ 2589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170" y="25895"/>
                  </a:moveTo>
                  <a:cubicBezTo>
                    <a:pt x="22358" y="25974"/>
                    <a:pt x="25816" y="22644"/>
                    <a:pt x="25895" y="18457"/>
                  </a:cubicBezTo>
                  <a:cubicBezTo>
                    <a:pt x="25974" y="14269"/>
                    <a:pt x="22644" y="10811"/>
                    <a:pt x="18457" y="10732"/>
                  </a:cubicBezTo>
                  <a:cubicBezTo>
                    <a:pt x="14269" y="10653"/>
                    <a:pt x="10811" y="13983"/>
                    <a:pt x="10732" y="18170"/>
                  </a:cubicBezTo>
                  <a:cubicBezTo>
                    <a:pt x="10731" y="18218"/>
                    <a:pt x="10731" y="18265"/>
                    <a:pt x="10731" y="18312"/>
                  </a:cubicBezTo>
                  <a:cubicBezTo>
                    <a:pt x="10729" y="22444"/>
                    <a:pt x="14038" y="25816"/>
                    <a:pt x="18170" y="2589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3" name="Freeform: Shape 92">
              <a:extLst>
                <a:ext uri="{FF2B5EF4-FFF2-40B4-BE49-F238E27FC236}">
                  <a16:creationId xmlns:a16="http://schemas.microsoft.com/office/drawing/2014/main" id="{414F90ED-2E80-42C1-B3A7-9DFE43E96E25}"/>
                </a:ext>
              </a:extLst>
            </p:cNvPr>
            <p:cNvSpPr/>
            <p:nvPr/>
          </p:nvSpPr>
          <p:spPr>
            <a:xfrm>
              <a:off x="6177106" y="5560504"/>
              <a:ext cx="28615" cy="28615"/>
            </a:xfrm>
            <a:custGeom>
              <a:avLst/>
              <a:gdLst>
                <a:gd name="connsiteX0" fmla="*/ 19459 w 28614"/>
                <a:gd name="connsiteY0" fmla="*/ 10736 h 28614"/>
                <a:gd name="connsiteX1" fmla="*/ 10732 w 28614"/>
                <a:gd name="connsiteY1" fmla="*/ 18881 h 28614"/>
                <a:gd name="connsiteX2" fmla="*/ 10732 w 28614"/>
                <a:gd name="connsiteY2" fmla="*/ 18891 h 28614"/>
                <a:gd name="connsiteX3" fmla="*/ 19030 w 28614"/>
                <a:gd name="connsiteY3" fmla="*/ 27619 h 28614"/>
                <a:gd name="connsiteX4" fmla="*/ 19030 w 28614"/>
                <a:gd name="connsiteY4" fmla="*/ 27619 h 28614"/>
                <a:gd name="connsiteX5" fmla="*/ 27472 w 28614"/>
                <a:gd name="connsiteY5" fmla="*/ 19177 h 28614"/>
                <a:gd name="connsiteX6" fmla="*/ 19030 w 28614"/>
                <a:gd name="connsiteY6" fmla="*/ 107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459" y="10736"/>
                  </a:moveTo>
                  <a:cubicBezTo>
                    <a:pt x="14800" y="10575"/>
                    <a:pt x="10894" y="14222"/>
                    <a:pt x="10732" y="18881"/>
                  </a:cubicBezTo>
                  <a:cubicBezTo>
                    <a:pt x="10732" y="18884"/>
                    <a:pt x="10732" y="18888"/>
                    <a:pt x="10732" y="18891"/>
                  </a:cubicBezTo>
                  <a:cubicBezTo>
                    <a:pt x="10652" y="23578"/>
                    <a:pt x="14345" y="27463"/>
                    <a:pt x="19030" y="27619"/>
                  </a:cubicBezTo>
                  <a:lnTo>
                    <a:pt x="19030" y="27619"/>
                  </a:lnTo>
                  <a:cubicBezTo>
                    <a:pt x="23693" y="27619"/>
                    <a:pt x="27472" y="23838"/>
                    <a:pt x="27472" y="19177"/>
                  </a:cubicBezTo>
                  <a:cubicBezTo>
                    <a:pt x="27472" y="14516"/>
                    <a:pt x="23692" y="10736"/>
                    <a:pt x="19030" y="1073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488E0E80-7408-44A2-8635-C97625FE1D8B}"/>
                </a:ext>
              </a:extLst>
            </p:cNvPr>
            <p:cNvSpPr/>
            <p:nvPr/>
          </p:nvSpPr>
          <p:spPr>
            <a:xfrm>
              <a:off x="6016576" y="5758525"/>
              <a:ext cx="28615" cy="28615"/>
            </a:xfrm>
            <a:custGeom>
              <a:avLst/>
              <a:gdLst>
                <a:gd name="connsiteX0" fmla="*/ 21176 w 28614"/>
                <a:gd name="connsiteY0" fmla="*/ 10731 h 28614"/>
                <a:gd name="connsiteX1" fmla="*/ 21176 w 28614"/>
                <a:gd name="connsiteY1" fmla="*/ 10731 h 28614"/>
                <a:gd name="connsiteX2" fmla="*/ 10732 w 28614"/>
                <a:gd name="connsiteY2" fmla="*/ 21032 h 28614"/>
                <a:gd name="connsiteX3" fmla="*/ 20746 w 28614"/>
                <a:gd name="connsiteY3" fmla="*/ 31332 h 28614"/>
                <a:gd name="connsiteX4" fmla="*/ 20890 w 28614"/>
                <a:gd name="connsiteY4" fmla="*/ 31333 h 28614"/>
                <a:gd name="connsiteX5" fmla="*/ 20890 w 28614"/>
                <a:gd name="connsiteY5" fmla="*/ 31333 h 28614"/>
                <a:gd name="connsiteX6" fmla="*/ 31050 w 28614"/>
                <a:gd name="connsiteY6" fmla="*/ 21176 h 28614"/>
                <a:gd name="connsiteX7" fmla="*/ 31048 w 28614"/>
                <a:gd name="connsiteY7" fmla="*/ 21032 h 28614"/>
                <a:gd name="connsiteX8" fmla="*/ 21325 w 28614"/>
                <a:gd name="connsiteY8" fmla="*/ 10734 h 28614"/>
                <a:gd name="connsiteX9" fmla="*/ 21176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176" y="10731"/>
                  </a:moveTo>
                  <a:lnTo>
                    <a:pt x="21176" y="10731"/>
                  </a:lnTo>
                  <a:cubicBezTo>
                    <a:pt x="15463" y="10731"/>
                    <a:pt x="10810" y="15319"/>
                    <a:pt x="10732" y="21032"/>
                  </a:cubicBezTo>
                  <a:cubicBezTo>
                    <a:pt x="10653" y="26642"/>
                    <a:pt x="15135" y="31253"/>
                    <a:pt x="20746" y="31332"/>
                  </a:cubicBezTo>
                  <a:cubicBezTo>
                    <a:pt x="20794" y="31333"/>
                    <a:pt x="20841" y="31333"/>
                    <a:pt x="20890" y="31333"/>
                  </a:cubicBezTo>
                  <a:lnTo>
                    <a:pt x="20890" y="31333"/>
                  </a:lnTo>
                  <a:cubicBezTo>
                    <a:pt x="26500" y="31333"/>
                    <a:pt x="31048" y="26786"/>
                    <a:pt x="31050" y="21176"/>
                  </a:cubicBezTo>
                  <a:cubicBezTo>
                    <a:pt x="31050" y="21128"/>
                    <a:pt x="31048" y="21081"/>
                    <a:pt x="31048" y="21032"/>
                  </a:cubicBezTo>
                  <a:cubicBezTo>
                    <a:pt x="31207" y="15504"/>
                    <a:pt x="26853" y="10892"/>
                    <a:pt x="21325" y="10734"/>
                  </a:cubicBezTo>
                  <a:cubicBezTo>
                    <a:pt x="21275" y="10732"/>
                    <a:pt x="21226" y="10731"/>
                    <a:pt x="21176"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5" name="Freeform: Shape 94">
              <a:extLst>
                <a:ext uri="{FF2B5EF4-FFF2-40B4-BE49-F238E27FC236}">
                  <a16:creationId xmlns:a16="http://schemas.microsoft.com/office/drawing/2014/main" id="{2824EBC9-0608-4B87-8ADB-03737A6F0CF3}"/>
                </a:ext>
              </a:extLst>
            </p:cNvPr>
            <p:cNvSpPr/>
            <p:nvPr/>
          </p:nvSpPr>
          <p:spPr>
            <a:xfrm>
              <a:off x="6095698" y="5510004"/>
              <a:ext cx="28615" cy="28615"/>
            </a:xfrm>
            <a:custGeom>
              <a:avLst/>
              <a:gdLst>
                <a:gd name="connsiteX0" fmla="*/ 20603 w 28614"/>
                <a:gd name="connsiteY0" fmla="*/ 30332 h 28614"/>
                <a:gd name="connsiteX1" fmla="*/ 29759 w 28614"/>
                <a:gd name="connsiteY1" fmla="*/ 21175 h 28614"/>
                <a:gd name="connsiteX2" fmla="*/ 29759 w 28614"/>
                <a:gd name="connsiteY2" fmla="*/ 20030 h 28614"/>
                <a:gd name="connsiteX3" fmla="*/ 20603 w 28614"/>
                <a:gd name="connsiteY3" fmla="*/ 10731 h 28614"/>
                <a:gd name="connsiteX4" fmla="*/ 10731 w 28614"/>
                <a:gd name="connsiteY4" fmla="*/ 20603 h 28614"/>
                <a:gd name="connsiteX5" fmla="*/ 20458 w 28614"/>
                <a:gd name="connsiteY5" fmla="*/ 30333 h 28614"/>
                <a:gd name="connsiteX6" fmla="*/ 20603 w 28614"/>
                <a:gd name="connsiteY6" fmla="*/ 303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603" y="30332"/>
                  </a:moveTo>
                  <a:cubicBezTo>
                    <a:pt x="25660" y="30332"/>
                    <a:pt x="29759" y="26233"/>
                    <a:pt x="29759" y="21175"/>
                  </a:cubicBezTo>
                  <a:lnTo>
                    <a:pt x="29759" y="20030"/>
                  </a:lnTo>
                  <a:cubicBezTo>
                    <a:pt x="29759" y="14950"/>
                    <a:pt x="25683" y="10809"/>
                    <a:pt x="20603" y="10731"/>
                  </a:cubicBezTo>
                  <a:cubicBezTo>
                    <a:pt x="15150" y="10731"/>
                    <a:pt x="10731" y="15150"/>
                    <a:pt x="10731" y="20603"/>
                  </a:cubicBezTo>
                  <a:cubicBezTo>
                    <a:pt x="10731" y="25977"/>
                    <a:pt x="15086" y="30332"/>
                    <a:pt x="20458" y="30333"/>
                  </a:cubicBezTo>
                  <a:cubicBezTo>
                    <a:pt x="20507" y="30333"/>
                    <a:pt x="20554" y="30332"/>
                    <a:pt x="20603" y="303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05139D0D-E238-4798-BB5C-DBAC4D293538}"/>
                </a:ext>
              </a:extLst>
            </p:cNvPr>
            <p:cNvSpPr/>
            <p:nvPr/>
          </p:nvSpPr>
          <p:spPr>
            <a:xfrm>
              <a:off x="6176342" y="5513057"/>
              <a:ext cx="28615" cy="28615"/>
            </a:xfrm>
            <a:custGeom>
              <a:avLst/>
              <a:gdLst>
                <a:gd name="connsiteX0" fmla="*/ 18077 w 28614"/>
                <a:gd name="connsiteY0" fmla="*/ 27565 h 28614"/>
                <a:gd name="connsiteX1" fmla="*/ 27659 w 28614"/>
                <a:gd name="connsiteY1" fmla="*/ 20444 h 28614"/>
                <a:gd name="connsiteX2" fmla="*/ 27663 w 28614"/>
                <a:gd name="connsiteY2" fmla="*/ 20411 h 28614"/>
                <a:gd name="connsiteX3" fmla="*/ 27663 w 28614"/>
                <a:gd name="connsiteY3" fmla="*/ 17835 h 28614"/>
                <a:gd name="connsiteX4" fmla="*/ 18077 w 28614"/>
                <a:gd name="connsiteY4" fmla="*/ 10825 h 28614"/>
                <a:gd name="connsiteX5" fmla="*/ 10803 w 28614"/>
                <a:gd name="connsiteY5" fmla="*/ 20291 h 28614"/>
                <a:gd name="connsiteX6" fmla="*/ 18077 w 28614"/>
                <a:gd name="connsiteY6" fmla="*/ 2756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077" y="27565"/>
                  </a:moveTo>
                  <a:cubicBezTo>
                    <a:pt x="22690" y="28244"/>
                    <a:pt x="26979" y="25055"/>
                    <a:pt x="27659" y="20444"/>
                  </a:cubicBezTo>
                  <a:cubicBezTo>
                    <a:pt x="27660" y="20432"/>
                    <a:pt x="27661" y="20422"/>
                    <a:pt x="27663" y="20411"/>
                  </a:cubicBezTo>
                  <a:cubicBezTo>
                    <a:pt x="27807" y="19558"/>
                    <a:pt x="27807" y="18688"/>
                    <a:pt x="27663" y="17835"/>
                  </a:cubicBezTo>
                  <a:cubicBezTo>
                    <a:pt x="26929" y="13266"/>
                    <a:pt x="22654" y="10140"/>
                    <a:pt x="18077" y="10825"/>
                  </a:cubicBezTo>
                  <a:cubicBezTo>
                    <a:pt x="13454" y="11430"/>
                    <a:pt x="10198" y="15669"/>
                    <a:pt x="10803" y="20291"/>
                  </a:cubicBezTo>
                  <a:cubicBezTo>
                    <a:pt x="11301" y="24084"/>
                    <a:pt x="14285" y="27068"/>
                    <a:pt x="18077" y="2756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7" name="Freeform: Shape 96">
              <a:extLst>
                <a:ext uri="{FF2B5EF4-FFF2-40B4-BE49-F238E27FC236}">
                  <a16:creationId xmlns:a16="http://schemas.microsoft.com/office/drawing/2014/main" id="{32A27628-E595-4463-B838-D33C2595B650}"/>
                </a:ext>
              </a:extLst>
            </p:cNvPr>
            <p:cNvSpPr/>
            <p:nvPr/>
          </p:nvSpPr>
          <p:spPr>
            <a:xfrm>
              <a:off x="6015718" y="5509144"/>
              <a:ext cx="28615" cy="28615"/>
            </a:xfrm>
            <a:custGeom>
              <a:avLst/>
              <a:gdLst>
                <a:gd name="connsiteX0" fmla="*/ 21033 w 28614"/>
                <a:gd name="connsiteY0" fmla="*/ 31191 h 28614"/>
                <a:gd name="connsiteX1" fmla="*/ 31333 w 28614"/>
                <a:gd name="connsiteY1" fmla="*/ 21178 h 28614"/>
                <a:gd name="connsiteX2" fmla="*/ 31334 w 28614"/>
                <a:gd name="connsiteY2" fmla="*/ 21033 h 28614"/>
                <a:gd name="connsiteX3" fmla="*/ 31334 w 28614"/>
                <a:gd name="connsiteY3" fmla="*/ 21033 h 28614"/>
                <a:gd name="connsiteX4" fmla="*/ 21033 w 28614"/>
                <a:gd name="connsiteY4" fmla="*/ 10732 h 28614"/>
                <a:gd name="connsiteX5" fmla="*/ 10732 w 28614"/>
                <a:gd name="connsiteY5" fmla="*/ 20745 h 28614"/>
                <a:gd name="connsiteX6" fmla="*/ 10732 w 28614"/>
                <a:gd name="connsiteY6" fmla="*/ 20747 h 28614"/>
                <a:gd name="connsiteX7" fmla="*/ 10732 w 28614"/>
                <a:gd name="connsiteY7" fmla="*/ 20747 h 28614"/>
                <a:gd name="connsiteX8" fmla="*/ 20888 w 28614"/>
                <a:gd name="connsiteY8" fmla="*/ 31190 h 28614"/>
                <a:gd name="connsiteX9" fmla="*/ 21033 w 28614"/>
                <a:gd name="connsiteY9" fmla="*/ 3119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033" y="31191"/>
                  </a:moveTo>
                  <a:cubicBezTo>
                    <a:pt x="26643" y="31270"/>
                    <a:pt x="31254" y="26788"/>
                    <a:pt x="31333" y="21178"/>
                  </a:cubicBezTo>
                  <a:cubicBezTo>
                    <a:pt x="31334" y="21129"/>
                    <a:pt x="31334" y="21082"/>
                    <a:pt x="31334" y="21033"/>
                  </a:cubicBezTo>
                  <a:lnTo>
                    <a:pt x="31334" y="21033"/>
                  </a:lnTo>
                  <a:cubicBezTo>
                    <a:pt x="31334" y="15344"/>
                    <a:pt x="26722" y="10732"/>
                    <a:pt x="21033" y="10732"/>
                  </a:cubicBezTo>
                  <a:cubicBezTo>
                    <a:pt x="15423" y="10652"/>
                    <a:pt x="10812" y="15136"/>
                    <a:pt x="10732" y="20745"/>
                  </a:cubicBezTo>
                  <a:cubicBezTo>
                    <a:pt x="10732" y="20745"/>
                    <a:pt x="10732" y="20747"/>
                    <a:pt x="10732" y="20747"/>
                  </a:cubicBezTo>
                  <a:lnTo>
                    <a:pt x="10732" y="20747"/>
                  </a:lnTo>
                  <a:cubicBezTo>
                    <a:pt x="10653" y="26436"/>
                    <a:pt x="15200" y="31111"/>
                    <a:pt x="20888" y="31190"/>
                  </a:cubicBezTo>
                  <a:cubicBezTo>
                    <a:pt x="20937" y="31191"/>
                    <a:pt x="20984" y="31191"/>
                    <a:pt x="21033" y="3119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8" name="Freeform: Shape 97">
              <a:extLst>
                <a:ext uri="{FF2B5EF4-FFF2-40B4-BE49-F238E27FC236}">
                  <a16:creationId xmlns:a16="http://schemas.microsoft.com/office/drawing/2014/main" id="{97BBA3DC-259A-44A3-9621-B19D0FADF0CA}"/>
                </a:ext>
              </a:extLst>
            </p:cNvPr>
            <p:cNvSpPr/>
            <p:nvPr/>
          </p:nvSpPr>
          <p:spPr>
            <a:xfrm>
              <a:off x="6097271" y="5708735"/>
              <a:ext cx="28615" cy="28615"/>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80" y="25040"/>
                    <a:pt x="15021" y="29182"/>
                    <a:pt x="20174" y="29330"/>
                  </a:cubicBezTo>
                  <a:cubicBezTo>
                    <a:pt x="25333" y="29252"/>
                    <a:pt x="29473" y="25047"/>
                    <a:pt x="29473" y="19887"/>
                  </a:cubicBezTo>
                  <a:cubicBezTo>
                    <a:pt x="29395" y="14807"/>
                    <a:pt x="25254" y="10731"/>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99" name="Freeform: Shape 98">
              <a:extLst>
                <a:ext uri="{FF2B5EF4-FFF2-40B4-BE49-F238E27FC236}">
                  <a16:creationId xmlns:a16="http://schemas.microsoft.com/office/drawing/2014/main" id="{0F4125CF-54AB-4479-82B6-129820F6E056}"/>
                </a:ext>
              </a:extLst>
            </p:cNvPr>
            <p:cNvSpPr/>
            <p:nvPr/>
          </p:nvSpPr>
          <p:spPr>
            <a:xfrm>
              <a:off x="6097271" y="5659946"/>
              <a:ext cx="28615" cy="28615"/>
            </a:xfrm>
            <a:custGeom>
              <a:avLst/>
              <a:gdLst>
                <a:gd name="connsiteX0" fmla="*/ 20174 w 28614"/>
                <a:gd name="connsiteY0" fmla="*/ 10731 h 28614"/>
                <a:gd name="connsiteX1" fmla="*/ 10731 w 28614"/>
                <a:gd name="connsiteY1" fmla="*/ 20174 h 28614"/>
                <a:gd name="connsiteX2" fmla="*/ 20174 w 28614"/>
                <a:gd name="connsiteY2" fmla="*/ 29330 h 28614"/>
                <a:gd name="connsiteX3" fmla="*/ 29473 w 28614"/>
                <a:gd name="connsiteY3" fmla="*/ 20174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21" y="10879"/>
                    <a:pt x="10880" y="15021"/>
                    <a:pt x="10731" y="20174"/>
                  </a:cubicBezTo>
                  <a:cubicBezTo>
                    <a:pt x="10885" y="25277"/>
                    <a:pt x="15069" y="29333"/>
                    <a:pt x="20174" y="29330"/>
                  </a:cubicBezTo>
                  <a:cubicBezTo>
                    <a:pt x="25254" y="29330"/>
                    <a:pt x="29395" y="25254"/>
                    <a:pt x="29473" y="20174"/>
                  </a:cubicBezTo>
                  <a:cubicBezTo>
                    <a:pt x="29473" y="15014"/>
                    <a:pt x="25333" y="10809"/>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BC6801F9-29F4-4C54-9DB9-19646A78CD63}"/>
                </a:ext>
              </a:extLst>
            </p:cNvPr>
            <p:cNvSpPr/>
            <p:nvPr/>
          </p:nvSpPr>
          <p:spPr>
            <a:xfrm>
              <a:off x="5614924" y="5506713"/>
              <a:ext cx="42922" cy="42922"/>
            </a:xfrm>
            <a:custGeom>
              <a:avLst/>
              <a:gdLst>
                <a:gd name="connsiteX0" fmla="*/ 23506 w 42922"/>
                <a:gd name="connsiteY0" fmla="*/ 39346 h 42922"/>
                <a:gd name="connsiteX1" fmla="*/ 38958 w 42922"/>
                <a:gd name="connsiteY1" fmla="*/ 26183 h 42922"/>
                <a:gd name="connsiteX2" fmla="*/ 25795 w 42922"/>
                <a:gd name="connsiteY2" fmla="*/ 10731 h 42922"/>
                <a:gd name="connsiteX3" fmla="*/ 25795 w 42922"/>
                <a:gd name="connsiteY3" fmla="*/ 10731 h 42922"/>
                <a:gd name="connsiteX4" fmla="*/ 11488 w 42922"/>
                <a:gd name="connsiteY4" fmla="*/ 25038 h 42922"/>
                <a:gd name="connsiteX5" fmla="*/ 10772 w 42922"/>
                <a:gd name="connsiteY5" fmla="*/ 24037 h 42922"/>
                <a:gd name="connsiteX6" fmla="*/ 23506 w 42922"/>
                <a:gd name="connsiteY6"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3506" y="39346"/>
                  </a:moveTo>
                  <a:cubicBezTo>
                    <a:pt x="31408" y="39978"/>
                    <a:pt x="38326" y="34085"/>
                    <a:pt x="38958" y="26183"/>
                  </a:cubicBezTo>
                  <a:cubicBezTo>
                    <a:pt x="39590" y="18281"/>
                    <a:pt x="33697" y="11363"/>
                    <a:pt x="25795" y="10731"/>
                  </a:cubicBezTo>
                  <a:lnTo>
                    <a:pt x="25795" y="10731"/>
                  </a:lnTo>
                  <a:cubicBezTo>
                    <a:pt x="17893" y="10731"/>
                    <a:pt x="11488" y="17136"/>
                    <a:pt x="11488" y="25038"/>
                  </a:cubicBezTo>
                  <a:lnTo>
                    <a:pt x="10772" y="24037"/>
                  </a:lnTo>
                  <a:cubicBezTo>
                    <a:pt x="10187" y="31741"/>
                    <a:pt x="15824" y="38517"/>
                    <a:pt x="23506"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1" name="Freeform: Shape 100">
              <a:extLst>
                <a:ext uri="{FF2B5EF4-FFF2-40B4-BE49-F238E27FC236}">
                  <a16:creationId xmlns:a16="http://schemas.microsoft.com/office/drawing/2014/main" id="{8F93349F-D39D-4DA1-BB58-F3303BA91826}"/>
                </a:ext>
              </a:extLst>
            </p:cNvPr>
            <p:cNvSpPr/>
            <p:nvPr/>
          </p:nvSpPr>
          <p:spPr>
            <a:xfrm>
              <a:off x="6097271" y="5559651"/>
              <a:ext cx="28615" cy="28615"/>
            </a:xfrm>
            <a:custGeom>
              <a:avLst/>
              <a:gdLst>
                <a:gd name="connsiteX0" fmla="*/ 20174 w 28614"/>
                <a:gd name="connsiteY0" fmla="*/ 10731 h 28614"/>
                <a:gd name="connsiteX1" fmla="*/ 10731 w 28614"/>
                <a:gd name="connsiteY1" fmla="*/ 20174 h 28614"/>
                <a:gd name="connsiteX2" fmla="*/ 20174 w 28614"/>
                <a:gd name="connsiteY2" fmla="*/ 29330 h 28614"/>
                <a:gd name="connsiteX3" fmla="*/ 29472 w 28614"/>
                <a:gd name="connsiteY3" fmla="*/ 20318 h 28614"/>
                <a:gd name="connsiteX4" fmla="*/ 29473 w 28614"/>
                <a:gd name="connsiteY4" fmla="*/ 20174 h 28614"/>
                <a:gd name="connsiteX5" fmla="*/ 20174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174" y="10731"/>
                  </a:moveTo>
                  <a:cubicBezTo>
                    <a:pt x="15021" y="10879"/>
                    <a:pt x="10880" y="15021"/>
                    <a:pt x="10731" y="20174"/>
                  </a:cubicBezTo>
                  <a:cubicBezTo>
                    <a:pt x="10885" y="25277"/>
                    <a:pt x="15069" y="29333"/>
                    <a:pt x="20174" y="29330"/>
                  </a:cubicBezTo>
                  <a:cubicBezTo>
                    <a:pt x="25230" y="29409"/>
                    <a:pt x="29393" y="25374"/>
                    <a:pt x="29472" y="20318"/>
                  </a:cubicBezTo>
                  <a:cubicBezTo>
                    <a:pt x="29473" y="20269"/>
                    <a:pt x="29473" y="20222"/>
                    <a:pt x="29473" y="20174"/>
                  </a:cubicBezTo>
                  <a:cubicBezTo>
                    <a:pt x="29473" y="15014"/>
                    <a:pt x="25333" y="10809"/>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2" name="Freeform: Shape 101">
              <a:extLst>
                <a:ext uri="{FF2B5EF4-FFF2-40B4-BE49-F238E27FC236}">
                  <a16:creationId xmlns:a16="http://schemas.microsoft.com/office/drawing/2014/main" id="{D1495F16-AE2F-473F-9495-48EA861B2578}"/>
                </a:ext>
              </a:extLst>
            </p:cNvPr>
            <p:cNvSpPr/>
            <p:nvPr/>
          </p:nvSpPr>
          <p:spPr>
            <a:xfrm>
              <a:off x="6013459" y="5708478"/>
              <a:ext cx="42922" cy="28615"/>
            </a:xfrm>
            <a:custGeom>
              <a:avLst/>
              <a:gdLst>
                <a:gd name="connsiteX0" fmla="*/ 18141 w 42922"/>
                <a:gd name="connsiteY0" fmla="*/ 30731 h 28614"/>
                <a:gd name="connsiteX1" fmla="*/ 23721 w 42922"/>
                <a:gd name="connsiteY1" fmla="*/ 30731 h 28614"/>
                <a:gd name="connsiteX2" fmla="*/ 33879 w 42922"/>
                <a:gd name="connsiteY2" fmla="*/ 20859 h 28614"/>
                <a:gd name="connsiteX3" fmla="*/ 23721 w 42922"/>
                <a:gd name="connsiteY3" fmla="*/ 11130 h 28614"/>
                <a:gd name="connsiteX4" fmla="*/ 11147 w 42922"/>
                <a:gd name="connsiteY4" fmla="*/ 18079 h 28614"/>
                <a:gd name="connsiteX5" fmla="*/ 11130 w 42922"/>
                <a:gd name="connsiteY5" fmla="*/ 18141 h 28614"/>
                <a:gd name="connsiteX6" fmla="*/ 18079 w 42922"/>
                <a:gd name="connsiteY6" fmla="*/ 30714 h 28614"/>
                <a:gd name="connsiteX7" fmla="*/ 18141 w 42922"/>
                <a:gd name="connsiteY7" fmla="*/ 3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28614">
                  <a:moveTo>
                    <a:pt x="18141" y="30731"/>
                  </a:moveTo>
                  <a:cubicBezTo>
                    <a:pt x="19976" y="31159"/>
                    <a:pt x="21885" y="31159"/>
                    <a:pt x="23721" y="30731"/>
                  </a:cubicBezTo>
                  <a:cubicBezTo>
                    <a:pt x="29190" y="30660"/>
                    <a:pt x="33651" y="26325"/>
                    <a:pt x="33879" y="20859"/>
                  </a:cubicBezTo>
                  <a:cubicBezTo>
                    <a:pt x="33649" y="15417"/>
                    <a:pt x="29167" y="11126"/>
                    <a:pt x="23721" y="11130"/>
                  </a:cubicBezTo>
                  <a:cubicBezTo>
                    <a:pt x="18329" y="9578"/>
                    <a:pt x="12701" y="12688"/>
                    <a:pt x="11147" y="18079"/>
                  </a:cubicBezTo>
                  <a:cubicBezTo>
                    <a:pt x="11141" y="18101"/>
                    <a:pt x="11136" y="18121"/>
                    <a:pt x="11130" y="18141"/>
                  </a:cubicBezTo>
                  <a:cubicBezTo>
                    <a:pt x="9578" y="23532"/>
                    <a:pt x="12688" y="29162"/>
                    <a:pt x="18079" y="30714"/>
                  </a:cubicBezTo>
                  <a:cubicBezTo>
                    <a:pt x="18101" y="30720"/>
                    <a:pt x="18121" y="30726"/>
                    <a:pt x="18141" y="3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3" name="Freeform: Shape 102">
              <a:extLst>
                <a:ext uri="{FF2B5EF4-FFF2-40B4-BE49-F238E27FC236}">
                  <a16:creationId xmlns:a16="http://schemas.microsoft.com/office/drawing/2014/main" id="{9E2904E8-BEA5-4701-8601-C639BAC86860}"/>
                </a:ext>
              </a:extLst>
            </p:cNvPr>
            <p:cNvSpPr/>
            <p:nvPr/>
          </p:nvSpPr>
          <p:spPr>
            <a:xfrm>
              <a:off x="5935740" y="5558359"/>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3336 w 42922"/>
                <a:gd name="connsiteY5" fmla="*/ 22180 h 42922"/>
                <a:gd name="connsiteX6" fmla="*/ 22467 w 42922"/>
                <a:gd name="connsiteY6" fmla="*/ 10737 h 42922"/>
                <a:gd name="connsiteX7" fmla="*/ 22320 w 42922"/>
                <a:gd name="connsiteY7"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276" y="33483"/>
                    <a:pt x="33336" y="28423"/>
                    <a:pt x="33336" y="22180"/>
                  </a:cubicBezTo>
                  <a:cubicBezTo>
                    <a:pt x="33495" y="16020"/>
                    <a:pt x="28629" y="10896"/>
                    <a:pt x="22467" y="10737"/>
                  </a:cubicBezTo>
                  <a:cubicBezTo>
                    <a:pt x="22418" y="10736"/>
                    <a:pt x="22368" y="10734"/>
                    <a:pt x="22320"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4" name="Freeform: Shape 103">
              <a:extLst>
                <a:ext uri="{FF2B5EF4-FFF2-40B4-BE49-F238E27FC236}">
                  <a16:creationId xmlns:a16="http://schemas.microsoft.com/office/drawing/2014/main" id="{983926E6-FD5B-4716-83F7-77C61E557059}"/>
                </a:ext>
              </a:extLst>
            </p:cNvPr>
            <p:cNvSpPr/>
            <p:nvPr/>
          </p:nvSpPr>
          <p:spPr>
            <a:xfrm>
              <a:off x="6096842" y="5759383"/>
              <a:ext cx="28615" cy="28615"/>
            </a:xfrm>
            <a:custGeom>
              <a:avLst/>
              <a:gdLst>
                <a:gd name="connsiteX0" fmla="*/ 20603 w 28614"/>
                <a:gd name="connsiteY0" fmla="*/ 10731 h 28614"/>
                <a:gd name="connsiteX1" fmla="*/ 20603 w 28614"/>
                <a:gd name="connsiteY1" fmla="*/ 10731 h 28614"/>
                <a:gd name="connsiteX2" fmla="*/ 10731 w 28614"/>
                <a:gd name="connsiteY2" fmla="*/ 20603 h 28614"/>
                <a:gd name="connsiteX3" fmla="*/ 20603 w 28614"/>
                <a:gd name="connsiteY3" fmla="*/ 30475 h 28614"/>
                <a:gd name="connsiteX4" fmla="*/ 29903 w 28614"/>
                <a:gd name="connsiteY4" fmla="*/ 21175 h 28614"/>
                <a:gd name="connsiteX5" fmla="*/ 29903 w 28614"/>
                <a:gd name="connsiteY5" fmla="*/ 20174 h 28614"/>
                <a:gd name="connsiteX6" fmla="*/ 20603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603" y="10731"/>
                  </a:moveTo>
                  <a:lnTo>
                    <a:pt x="20603" y="10731"/>
                  </a:lnTo>
                  <a:cubicBezTo>
                    <a:pt x="15150" y="10731"/>
                    <a:pt x="10731" y="15150"/>
                    <a:pt x="10731" y="20603"/>
                  </a:cubicBezTo>
                  <a:cubicBezTo>
                    <a:pt x="10731" y="26055"/>
                    <a:pt x="15150" y="30475"/>
                    <a:pt x="20603" y="30475"/>
                  </a:cubicBezTo>
                  <a:cubicBezTo>
                    <a:pt x="25739" y="30475"/>
                    <a:pt x="29903" y="26311"/>
                    <a:pt x="29903" y="21175"/>
                  </a:cubicBezTo>
                  <a:lnTo>
                    <a:pt x="29903" y="20174"/>
                  </a:lnTo>
                  <a:cubicBezTo>
                    <a:pt x="29903" y="15014"/>
                    <a:pt x="25762" y="10809"/>
                    <a:pt x="2060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5" name="Freeform: Shape 104">
              <a:extLst>
                <a:ext uri="{FF2B5EF4-FFF2-40B4-BE49-F238E27FC236}">
                  <a16:creationId xmlns:a16="http://schemas.microsoft.com/office/drawing/2014/main" id="{5B2010A6-E2EF-490B-8433-323ABE40A96F}"/>
                </a:ext>
              </a:extLst>
            </p:cNvPr>
            <p:cNvSpPr/>
            <p:nvPr/>
          </p:nvSpPr>
          <p:spPr>
            <a:xfrm>
              <a:off x="6037037" y="5569094"/>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106" name="Freeform: Shape 105">
              <a:extLst>
                <a:ext uri="{FF2B5EF4-FFF2-40B4-BE49-F238E27FC236}">
                  <a16:creationId xmlns:a16="http://schemas.microsoft.com/office/drawing/2014/main" id="{E7657203-09D5-4575-8E49-CC9E903E862C}"/>
                </a:ext>
              </a:extLst>
            </p:cNvPr>
            <p:cNvSpPr/>
            <p:nvPr/>
          </p:nvSpPr>
          <p:spPr>
            <a:xfrm>
              <a:off x="6013467" y="5559974"/>
              <a:ext cx="42922" cy="28615"/>
            </a:xfrm>
            <a:custGeom>
              <a:avLst/>
              <a:gdLst>
                <a:gd name="connsiteX0" fmla="*/ 18133 w 42922"/>
                <a:gd name="connsiteY0" fmla="*/ 30724 h 28614"/>
                <a:gd name="connsiteX1" fmla="*/ 23713 w 42922"/>
                <a:gd name="connsiteY1" fmla="*/ 30724 h 28614"/>
                <a:gd name="connsiteX2" fmla="*/ 33871 w 42922"/>
                <a:gd name="connsiteY2" fmla="*/ 20995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60" y="30728"/>
                    <a:pt x="33641" y="26437"/>
                    <a:pt x="33871" y="20995"/>
                  </a:cubicBezTo>
                  <a:cubicBezTo>
                    <a:pt x="33644" y="15529"/>
                    <a:pt x="29183" y="11194"/>
                    <a:pt x="23713" y="11123"/>
                  </a:cubicBezTo>
                  <a:cubicBezTo>
                    <a:pt x="18301" y="9582"/>
                    <a:pt x="12664" y="12721"/>
                    <a:pt x="11123" y="18133"/>
                  </a:cubicBezTo>
                  <a:cubicBezTo>
                    <a:pt x="9582" y="23546"/>
                    <a:pt x="12721" y="29183"/>
                    <a:pt x="18133" y="3072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7" name="Freeform: Shape 106">
              <a:extLst>
                <a:ext uri="{FF2B5EF4-FFF2-40B4-BE49-F238E27FC236}">
                  <a16:creationId xmlns:a16="http://schemas.microsoft.com/office/drawing/2014/main" id="{28E9FC1A-A21F-4F80-9CD1-9EBFC223FF03}"/>
                </a:ext>
              </a:extLst>
            </p:cNvPr>
            <p:cNvSpPr/>
            <p:nvPr/>
          </p:nvSpPr>
          <p:spPr>
            <a:xfrm>
              <a:off x="6037037" y="5718178"/>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108" name="Freeform: Shape 107">
              <a:extLst>
                <a:ext uri="{FF2B5EF4-FFF2-40B4-BE49-F238E27FC236}">
                  <a16:creationId xmlns:a16="http://schemas.microsoft.com/office/drawing/2014/main" id="{020D4F61-D55C-458E-B9C6-5CE96D516300}"/>
                </a:ext>
              </a:extLst>
            </p:cNvPr>
            <p:cNvSpPr/>
            <p:nvPr/>
          </p:nvSpPr>
          <p:spPr>
            <a:xfrm>
              <a:off x="6257370" y="5710738"/>
              <a:ext cx="28615" cy="28615"/>
            </a:xfrm>
            <a:custGeom>
              <a:avLst/>
              <a:gdLst>
                <a:gd name="connsiteX0" fmla="*/ 18459 w 28614"/>
                <a:gd name="connsiteY0" fmla="*/ 10731 h 28614"/>
                <a:gd name="connsiteX1" fmla="*/ 11019 w 28614"/>
                <a:gd name="connsiteY1" fmla="*/ 18171 h 28614"/>
                <a:gd name="connsiteX2" fmla="*/ 16129 w 28614"/>
                <a:gd name="connsiteY2" fmla="*/ 27367 h 28614"/>
                <a:gd name="connsiteX3" fmla="*/ 25326 w 28614"/>
                <a:gd name="connsiteY3" fmla="*/ 22258 h 28614"/>
                <a:gd name="connsiteX4" fmla="*/ 25326 w 28614"/>
                <a:gd name="connsiteY4" fmla="*/ 18171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1"/>
                  </a:cubicBezTo>
                  <a:cubicBezTo>
                    <a:pt x="9890" y="22121"/>
                    <a:pt x="12178" y="26238"/>
                    <a:pt x="16129" y="27367"/>
                  </a:cubicBezTo>
                  <a:cubicBezTo>
                    <a:pt x="20080" y="28496"/>
                    <a:pt x="24197" y="26208"/>
                    <a:pt x="25326" y="22258"/>
                  </a:cubicBezTo>
                  <a:cubicBezTo>
                    <a:pt x="25708" y="20922"/>
                    <a:pt x="25708" y="19507"/>
                    <a:pt x="25326" y="18171"/>
                  </a:cubicBezTo>
                  <a:cubicBezTo>
                    <a:pt x="25338" y="14275"/>
                    <a:pt x="22343" y="11030"/>
                    <a:pt x="1845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09" name="Freeform: Shape 108">
              <a:extLst>
                <a:ext uri="{FF2B5EF4-FFF2-40B4-BE49-F238E27FC236}">
                  <a16:creationId xmlns:a16="http://schemas.microsoft.com/office/drawing/2014/main" id="{9E9DDB4E-0647-486C-AA08-9814404ED8F4}"/>
                </a:ext>
              </a:extLst>
            </p:cNvPr>
            <p:cNvSpPr/>
            <p:nvPr/>
          </p:nvSpPr>
          <p:spPr>
            <a:xfrm>
              <a:off x="6097271" y="5610299"/>
              <a:ext cx="28615" cy="28615"/>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08" y="25071"/>
                    <a:pt x="14990" y="29253"/>
                    <a:pt x="20174" y="29330"/>
                  </a:cubicBezTo>
                  <a:cubicBezTo>
                    <a:pt x="25333" y="29252"/>
                    <a:pt x="29473" y="25047"/>
                    <a:pt x="29473" y="19887"/>
                  </a:cubicBezTo>
                  <a:cubicBezTo>
                    <a:pt x="29395" y="14807"/>
                    <a:pt x="25254" y="10731"/>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0" name="Freeform: Shape 109">
              <a:extLst>
                <a:ext uri="{FF2B5EF4-FFF2-40B4-BE49-F238E27FC236}">
                  <a16:creationId xmlns:a16="http://schemas.microsoft.com/office/drawing/2014/main" id="{963B690F-7EA4-4914-BEB0-947594F4EA1F}"/>
                </a:ext>
              </a:extLst>
            </p:cNvPr>
            <p:cNvSpPr/>
            <p:nvPr/>
          </p:nvSpPr>
          <p:spPr>
            <a:xfrm>
              <a:off x="6257658" y="5762388"/>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1" name="Freeform: Shape 110">
              <a:extLst>
                <a:ext uri="{FF2B5EF4-FFF2-40B4-BE49-F238E27FC236}">
                  <a16:creationId xmlns:a16="http://schemas.microsoft.com/office/drawing/2014/main" id="{B334EEB0-285B-47D6-9AF1-7E42B21388F1}"/>
                </a:ext>
              </a:extLst>
            </p:cNvPr>
            <p:cNvSpPr/>
            <p:nvPr/>
          </p:nvSpPr>
          <p:spPr>
            <a:xfrm>
              <a:off x="5935740" y="5657796"/>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2" name="Freeform: Shape 111">
              <a:extLst>
                <a:ext uri="{FF2B5EF4-FFF2-40B4-BE49-F238E27FC236}">
                  <a16:creationId xmlns:a16="http://schemas.microsoft.com/office/drawing/2014/main" id="{94CEE262-9786-40AD-B904-8D98DFDDC165}"/>
                </a:ext>
              </a:extLst>
            </p:cNvPr>
            <p:cNvSpPr/>
            <p:nvPr/>
          </p:nvSpPr>
          <p:spPr>
            <a:xfrm>
              <a:off x="5934604" y="5757164"/>
              <a:ext cx="42922" cy="42922"/>
            </a:xfrm>
            <a:custGeom>
              <a:avLst/>
              <a:gdLst>
                <a:gd name="connsiteX0" fmla="*/ 23455 w 42922"/>
                <a:gd name="connsiteY0" fmla="*/ 10803 h 42922"/>
                <a:gd name="connsiteX1" fmla="*/ 10803 w 42922"/>
                <a:gd name="connsiteY1" fmla="*/ 20900 h 42922"/>
                <a:gd name="connsiteX2" fmla="*/ 20900 w 42922"/>
                <a:gd name="connsiteY2" fmla="*/ 33552 h 42922"/>
                <a:gd name="connsiteX3" fmla="*/ 23455 w 42922"/>
                <a:gd name="connsiteY3" fmla="*/ 33552 h 42922"/>
                <a:gd name="connsiteX4" fmla="*/ 23455 w 42922"/>
                <a:gd name="connsiteY4" fmla="*/ 33552 h 42922"/>
                <a:gd name="connsiteX5" fmla="*/ 34757 w 42922"/>
                <a:gd name="connsiteY5" fmla="*/ 22537 h 42922"/>
                <a:gd name="connsiteX6" fmla="*/ 34758 w 42922"/>
                <a:gd name="connsiteY6" fmla="*/ 22392 h 42922"/>
                <a:gd name="connsiteX7" fmla="*/ 23744 w 42922"/>
                <a:gd name="connsiteY7" fmla="*/ 10807 h 42922"/>
                <a:gd name="connsiteX8" fmla="*/ 23455 w 42922"/>
                <a:gd name="connsiteY8" fmla="*/ 1080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22" h="42922">
                  <a:moveTo>
                    <a:pt x="23455" y="10803"/>
                  </a:moveTo>
                  <a:cubicBezTo>
                    <a:pt x="17173" y="10098"/>
                    <a:pt x="11509" y="14618"/>
                    <a:pt x="10803" y="20900"/>
                  </a:cubicBezTo>
                  <a:cubicBezTo>
                    <a:pt x="10098" y="27182"/>
                    <a:pt x="14618" y="32847"/>
                    <a:pt x="20900" y="33552"/>
                  </a:cubicBezTo>
                  <a:cubicBezTo>
                    <a:pt x="21748" y="33648"/>
                    <a:pt x="22607" y="33648"/>
                    <a:pt x="23455" y="33552"/>
                  </a:cubicBezTo>
                  <a:lnTo>
                    <a:pt x="23455" y="33552"/>
                  </a:lnTo>
                  <a:cubicBezTo>
                    <a:pt x="29618" y="33631"/>
                    <a:pt x="34678" y="28699"/>
                    <a:pt x="34757" y="22537"/>
                  </a:cubicBezTo>
                  <a:cubicBezTo>
                    <a:pt x="34758" y="22488"/>
                    <a:pt x="34758" y="22441"/>
                    <a:pt x="34758" y="22392"/>
                  </a:cubicBezTo>
                  <a:cubicBezTo>
                    <a:pt x="34916" y="16151"/>
                    <a:pt x="29985" y="10965"/>
                    <a:pt x="23744" y="10807"/>
                  </a:cubicBezTo>
                  <a:cubicBezTo>
                    <a:pt x="23648" y="10805"/>
                    <a:pt x="23551" y="10803"/>
                    <a:pt x="23455" y="1080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3" name="Freeform: Shape 112">
              <a:extLst>
                <a:ext uri="{FF2B5EF4-FFF2-40B4-BE49-F238E27FC236}">
                  <a16:creationId xmlns:a16="http://schemas.microsoft.com/office/drawing/2014/main" id="{C614B1DA-56EE-4E8E-9B67-7DBB8BE91E7F}"/>
                </a:ext>
              </a:extLst>
            </p:cNvPr>
            <p:cNvSpPr/>
            <p:nvPr/>
          </p:nvSpPr>
          <p:spPr>
            <a:xfrm>
              <a:off x="5935928" y="5609630"/>
              <a:ext cx="42922" cy="42922"/>
            </a:xfrm>
            <a:custGeom>
              <a:avLst/>
              <a:gdLst>
                <a:gd name="connsiteX0" fmla="*/ 20558 w 42922"/>
                <a:gd name="connsiteY0" fmla="*/ 10827 h 42922"/>
                <a:gd name="connsiteX1" fmla="*/ 10829 w 42922"/>
                <a:gd name="connsiteY1" fmla="*/ 20556 h 42922"/>
                <a:gd name="connsiteX2" fmla="*/ 20558 w 42922"/>
                <a:gd name="connsiteY2" fmla="*/ 33240 h 42922"/>
                <a:gd name="connsiteX3" fmla="*/ 33241 w 42922"/>
                <a:gd name="connsiteY3" fmla="*/ 23511 h 42922"/>
                <a:gd name="connsiteX4" fmla="*/ 23512 w 42922"/>
                <a:gd name="connsiteY4" fmla="*/ 10827 h 42922"/>
                <a:gd name="connsiteX5" fmla="*/ 20558 w 42922"/>
                <a:gd name="connsiteY5" fmla="*/ 1082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58" y="10827"/>
                  </a:moveTo>
                  <a:cubicBezTo>
                    <a:pt x="15510" y="11541"/>
                    <a:pt x="11543" y="15509"/>
                    <a:pt x="10829" y="20556"/>
                  </a:cubicBezTo>
                  <a:cubicBezTo>
                    <a:pt x="10013" y="26746"/>
                    <a:pt x="14368" y="32423"/>
                    <a:pt x="20558" y="33240"/>
                  </a:cubicBezTo>
                  <a:cubicBezTo>
                    <a:pt x="26747" y="34055"/>
                    <a:pt x="32424" y="29699"/>
                    <a:pt x="33241" y="23511"/>
                  </a:cubicBezTo>
                  <a:cubicBezTo>
                    <a:pt x="34057" y="17321"/>
                    <a:pt x="29700" y="11643"/>
                    <a:pt x="23512" y="10827"/>
                  </a:cubicBezTo>
                  <a:cubicBezTo>
                    <a:pt x="22531" y="10698"/>
                    <a:pt x="21538" y="10698"/>
                    <a:pt x="20558" y="1082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4" name="Freeform: Shape 113">
              <a:extLst>
                <a:ext uri="{FF2B5EF4-FFF2-40B4-BE49-F238E27FC236}">
                  <a16:creationId xmlns:a16="http://schemas.microsoft.com/office/drawing/2014/main" id="{B1C24990-F8EA-444E-BA75-EE991C88F721}"/>
                </a:ext>
              </a:extLst>
            </p:cNvPr>
            <p:cNvSpPr/>
            <p:nvPr/>
          </p:nvSpPr>
          <p:spPr>
            <a:xfrm>
              <a:off x="5936026" y="5708632"/>
              <a:ext cx="42922" cy="28615"/>
            </a:xfrm>
            <a:custGeom>
              <a:avLst/>
              <a:gdLst>
                <a:gd name="connsiteX0" fmla="*/ 20460 w 42922"/>
                <a:gd name="connsiteY0" fmla="*/ 10833 h 28614"/>
                <a:gd name="connsiteX1" fmla="*/ 10731 w 42922"/>
                <a:gd name="connsiteY1" fmla="*/ 20705 h 28614"/>
                <a:gd name="connsiteX2" fmla="*/ 23407 w 42922"/>
                <a:gd name="connsiteY2" fmla="*/ 30441 h 28614"/>
                <a:gd name="connsiteX3" fmla="*/ 23464 w 42922"/>
                <a:gd name="connsiteY3" fmla="*/ 30434 h 28614"/>
                <a:gd name="connsiteX4" fmla="*/ 33193 w 42922"/>
                <a:gd name="connsiteY4" fmla="*/ 20705 h 28614"/>
                <a:gd name="connsiteX5" fmla="*/ 20640 w 42922"/>
                <a:gd name="connsiteY5" fmla="*/ 10810 h 28614"/>
                <a:gd name="connsiteX6" fmla="*/ 20460 w 42922"/>
                <a:gd name="connsiteY6" fmla="*/ 108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28614">
                  <a:moveTo>
                    <a:pt x="20460" y="10833"/>
                  </a:moveTo>
                  <a:cubicBezTo>
                    <a:pt x="15366" y="11563"/>
                    <a:pt x="11386" y="15602"/>
                    <a:pt x="10731" y="20705"/>
                  </a:cubicBezTo>
                  <a:cubicBezTo>
                    <a:pt x="11543" y="26895"/>
                    <a:pt x="17219" y="31254"/>
                    <a:pt x="23407" y="30441"/>
                  </a:cubicBezTo>
                  <a:cubicBezTo>
                    <a:pt x="23427" y="30440"/>
                    <a:pt x="23446" y="30437"/>
                    <a:pt x="23464" y="30434"/>
                  </a:cubicBezTo>
                  <a:cubicBezTo>
                    <a:pt x="28559" y="29813"/>
                    <a:pt x="32572" y="25800"/>
                    <a:pt x="33193" y="20705"/>
                  </a:cubicBezTo>
                  <a:cubicBezTo>
                    <a:pt x="32459" y="14506"/>
                    <a:pt x="26838" y="10076"/>
                    <a:pt x="20640" y="10810"/>
                  </a:cubicBezTo>
                  <a:cubicBezTo>
                    <a:pt x="20580" y="10817"/>
                    <a:pt x="20520" y="10824"/>
                    <a:pt x="20460" y="1083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5" name="Freeform: Shape 114">
              <a:extLst>
                <a:ext uri="{FF2B5EF4-FFF2-40B4-BE49-F238E27FC236}">
                  <a16:creationId xmlns:a16="http://schemas.microsoft.com/office/drawing/2014/main" id="{33689FDC-AD4A-4330-AC9A-8274715D82BC}"/>
                </a:ext>
              </a:extLst>
            </p:cNvPr>
            <p:cNvSpPr/>
            <p:nvPr/>
          </p:nvSpPr>
          <p:spPr>
            <a:xfrm>
              <a:off x="6257658" y="5661949"/>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6" name="Freeform: Shape 115">
              <a:extLst>
                <a:ext uri="{FF2B5EF4-FFF2-40B4-BE49-F238E27FC236}">
                  <a16:creationId xmlns:a16="http://schemas.microsoft.com/office/drawing/2014/main" id="{337E5428-85BE-4FC5-B070-5EAEF03BBC78}"/>
                </a:ext>
              </a:extLst>
            </p:cNvPr>
            <p:cNvSpPr/>
            <p:nvPr/>
          </p:nvSpPr>
          <p:spPr>
            <a:xfrm>
              <a:off x="6257658" y="5612016"/>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7" name="Freeform: Shape 116">
              <a:extLst>
                <a:ext uri="{FF2B5EF4-FFF2-40B4-BE49-F238E27FC236}">
                  <a16:creationId xmlns:a16="http://schemas.microsoft.com/office/drawing/2014/main" id="{3D24BA1C-9A9F-4B1A-BFAD-B2E5A2E8DD74}"/>
                </a:ext>
              </a:extLst>
            </p:cNvPr>
            <p:cNvSpPr/>
            <p:nvPr/>
          </p:nvSpPr>
          <p:spPr>
            <a:xfrm>
              <a:off x="5935130" y="5509346"/>
              <a:ext cx="42922" cy="28615"/>
            </a:xfrm>
            <a:custGeom>
              <a:avLst/>
              <a:gdLst>
                <a:gd name="connsiteX0" fmla="*/ 23645 w 42922"/>
                <a:gd name="connsiteY0" fmla="*/ 30417 h 28614"/>
                <a:gd name="connsiteX1" fmla="*/ 33374 w 42922"/>
                <a:gd name="connsiteY1" fmla="*/ 20688 h 28614"/>
                <a:gd name="connsiteX2" fmla="*/ 20640 w 42922"/>
                <a:gd name="connsiteY2" fmla="*/ 10816 h 28614"/>
                <a:gd name="connsiteX3" fmla="*/ 10731 w 42922"/>
                <a:gd name="connsiteY3" fmla="*/ 20937 h 28614"/>
                <a:gd name="connsiteX4" fmla="*/ 20852 w 42922"/>
                <a:gd name="connsiteY4" fmla="*/ 30845 h 28614"/>
                <a:gd name="connsiteX5" fmla="*/ 23645 w 42922"/>
                <a:gd name="connsiteY5" fmla="*/ 3041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645" y="30417"/>
                  </a:moveTo>
                  <a:cubicBezTo>
                    <a:pt x="28671" y="29659"/>
                    <a:pt x="32616" y="25714"/>
                    <a:pt x="33374" y="20688"/>
                  </a:cubicBezTo>
                  <a:cubicBezTo>
                    <a:pt x="32557" y="14461"/>
                    <a:pt x="26874" y="10056"/>
                    <a:pt x="20640" y="10816"/>
                  </a:cubicBezTo>
                  <a:cubicBezTo>
                    <a:pt x="15109" y="10874"/>
                    <a:pt x="10674" y="15406"/>
                    <a:pt x="10731" y="20937"/>
                  </a:cubicBezTo>
                  <a:cubicBezTo>
                    <a:pt x="10790" y="26467"/>
                    <a:pt x="15321" y="30904"/>
                    <a:pt x="20852" y="30845"/>
                  </a:cubicBezTo>
                  <a:cubicBezTo>
                    <a:pt x="21799" y="30835"/>
                    <a:pt x="22739" y="30690"/>
                    <a:pt x="23645" y="3041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ADAF75E5-1979-46EE-B8E5-A73167CCCA42}"/>
                </a:ext>
              </a:extLst>
            </p:cNvPr>
            <p:cNvSpPr/>
            <p:nvPr/>
          </p:nvSpPr>
          <p:spPr>
            <a:xfrm>
              <a:off x="5379891" y="5912473"/>
              <a:ext cx="42922" cy="42922"/>
            </a:xfrm>
            <a:custGeom>
              <a:avLst/>
              <a:gdLst>
                <a:gd name="connsiteX0" fmla="*/ 22180 w 42922"/>
                <a:gd name="connsiteY0" fmla="*/ 10731 h 42922"/>
                <a:gd name="connsiteX1" fmla="*/ 22180 w 42922"/>
                <a:gd name="connsiteY1" fmla="*/ 10731 h 42922"/>
                <a:gd name="connsiteX2" fmla="*/ 10734 w 42922"/>
                <a:gd name="connsiteY2" fmla="*/ 21890 h 42922"/>
                <a:gd name="connsiteX3" fmla="*/ 21891 w 42922"/>
                <a:gd name="connsiteY3" fmla="*/ 33618 h 42922"/>
                <a:gd name="connsiteX4" fmla="*/ 33619 w 42922"/>
                <a:gd name="connsiteY4" fmla="*/ 22461 h 42922"/>
                <a:gd name="connsiteX5" fmla="*/ 22462 w 42922"/>
                <a:gd name="connsiteY5" fmla="*/ 10733 h 42922"/>
                <a:gd name="connsiteX6" fmla="*/ 22323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180" y="10731"/>
                  </a:moveTo>
                  <a:lnTo>
                    <a:pt x="22180" y="10731"/>
                  </a:lnTo>
                  <a:cubicBezTo>
                    <a:pt x="15969" y="10729"/>
                    <a:pt x="10890" y="15681"/>
                    <a:pt x="10734" y="21890"/>
                  </a:cubicBezTo>
                  <a:cubicBezTo>
                    <a:pt x="10577" y="28210"/>
                    <a:pt x="15572" y="33461"/>
                    <a:pt x="21891" y="33618"/>
                  </a:cubicBezTo>
                  <a:cubicBezTo>
                    <a:pt x="28211" y="33776"/>
                    <a:pt x="33462" y="28781"/>
                    <a:pt x="33619" y="22461"/>
                  </a:cubicBezTo>
                  <a:cubicBezTo>
                    <a:pt x="33776" y="16142"/>
                    <a:pt x="28782" y="10891"/>
                    <a:pt x="22462" y="10733"/>
                  </a:cubicBezTo>
                  <a:cubicBezTo>
                    <a:pt x="22416" y="10732"/>
                    <a:pt x="22369" y="10731"/>
                    <a:pt x="2232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19" name="Freeform: Shape 118">
              <a:extLst>
                <a:ext uri="{FF2B5EF4-FFF2-40B4-BE49-F238E27FC236}">
                  <a16:creationId xmlns:a16="http://schemas.microsoft.com/office/drawing/2014/main" id="{F11B7DBA-B247-4E49-A39A-A06386E1623D}"/>
                </a:ext>
              </a:extLst>
            </p:cNvPr>
            <p:cNvSpPr/>
            <p:nvPr/>
          </p:nvSpPr>
          <p:spPr>
            <a:xfrm>
              <a:off x="5300774" y="5875274"/>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lnTo>
                    <a:pt x="10731" y="10731"/>
                  </a:lnTo>
                  <a:cubicBezTo>
                    <a:pt x="10731" y="10731"/>
                    <a:pt x="10731" y="10731"/>
                    <a:pt x="1073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0" name="Freeform: Shape 119">
              <a:extLst>
                <a:ext uri="{FF2B5EF4-FFF2-40B4-BE49-F238E27FC236}">
                  <a16:creationId xmlns:a16="http://schemas.microsoft.com/office/drawing/2014/main" id="{51D34C2A-CB64-48DD-8DC6-5DA5999E7A01}"/>
                </a:ext>
              </a:extLst>
            </p:cNvPr>
            <p:cNvSpPr/>
            <p:nvPr/>
          </p:nvSpPr>
          <p:spPr>
            <a:xfrm>
              <a:off x="5301632" y="5813604"/>
              <a:ext cx="28615" cy="28615"/>
            </a:xfrm>
            <a:custGeom>
              <a:avLst/>
              <a:gdLst>
                <a:gd name="connsiteX0" fmla="*/ 21032 w 28614"/>
                <a:gd name="connsiteY0" fmla="*/ 10735 h 28614"/>
                <a:gd name="connsiteX1" fmla="*/ 21032 w 28614"/>
                <a:gd name="connsiteY1" fmla="*/ 10735 h 28614"/>
                <a:gd name="connsiteX2" fmla="*/ 10731 w 28614"/>
                <a:gd name="connsiteY2" fmla="*/ 21036 h 28614"/>
                <a:gd name="connsiteX3" fmla="*/ 21032 w 28614"/>
                <a:gd name="connsiteY3" fmla="*/ 31338 h 28614"/>
                <a:gd name="connsiteX4" fmla="*/ 21032 w 28614"/>
                <a:gd name="connsiteY4" fmla="*/ 31338 h 28614"/>
                <a:gd name="connsiteX5" fmla="*/ 31476 w 28614"/>
                <a:gd name="connsiteY5" fmla="*/ 20893 h 28614"/>
                <a:gd name="connsiteX6" fmla="*/ 21322 w 28614"/>
                <a:gd name="connsiteY6" fmla="*/ 10731 h 28614"/>
                <a:gd name="connsiteX7" fmla="*/ 21032 w 28614"/>
                <a:gd name="connsiteY7"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032" y="10735"/>
                  </a:moveTo>
                  <a:lnTo>
                    <a:pt x="21032" y="10735"/>
                  </a:lnTo>
                  <a:cubicBezTo>
                    <a:pt x="15343" y="10735"/>
                    <a:pt x="10731" y="15348"/>
                    <a:pt x="10731" y="21036"/>
                  </a:cubicBezTo>
                  <a:cubicBezTo>
                    <a:pt x="10731" y="26725"/>
                    <a:pt x="15343" y="31338"/>
                    <a:pt x="21032" y="31338"/>
                  </a:cubicBezTo>
                  <a:lnTo>
                    <a:pt x="21032" y="31338"/>
                  </a:lnTo>
                  <a:cubicBezTo>
                    <a:pt x="26801" y="31338"/>
                    <a:pt x="31476" y="26662"/>
                    <a:pt x="31476" y="20893"/>
                  </a:cubicBezTo>
                  <a:cubicBezTo>
                    <a:pt x="31479" y="15283"/>
                    <a:pt x="26932" y="10733"/>
                    <a:pt x="21322" y="10731"/>
                  </a:cubicBezTo>
                  <a:cubicBezTo>
                    <a:pt x="21225" y="10731"/>
                    <a:pt x="21129" y="10732"/>
                    <a:pt x="21032" y="107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1" name="Freeform: Shape 120">
              <a:extLst>
                <a:ext uri="{FF2B5EF4-FFF2-40B4-BE49-F238E27FC236}">
                  <a16:creationId xmlns:a16="http://schemas.microsoft.com/office/drawing/2014/main" id="{3A7E2FFE-6CC3-4353-816E-738E0CE88AB9}"/>
                </a:ext>
              </a:extLst>
            </p:cNvPr>
            <p:cNvSpPr/>
            <p:nvPr/>
          </p:nvSpPr>
          <p:spPr>
            <a:xfrm>
              <a:off x="6177393" y="5965268"/>
              <a:ext cx="28615" cy="28615"/>
            </a:xfrm>
            <a:custGeom>
              <a:avLst/>
              <a:gdLst>
                <a:gd name="connsiteX0" fmla="*/ 19172 w 28614"/>
                <a:gd name="connsiteY0" fmla="*/ 10731 h 28614"/>
                <a:gd name="connsiteX1" fmla="*/ 10731 w 28614"/>
                <a:gd name="connsiteY1" fmla="*/ 19172 h 28614"/>
                <a:gd name="connsiteX2" fmla="*/ 19172 w 28614"/>
                <a:gd name="connsiteY2" fmla="*/ 27613 h 28614"/>
                <a:gd name="connsiteX3" fmla="*/ 19172 w 28614"/>
                <a:gd name="connsiteY3" fmla="*/ 27613 h 28614"/>
                <a:gd name="connsiteX4" fmla="*/ 27327 w 28614"/>
                <a:gd name="connsiteY4" fmla="*/ 19458 h 28614"/>
                <a:gd name="connsiteX5" fmla="*/ 19182 w 28614"/>
                <a:gd name="connsiteY5" fmla="*/ 10731 h 28614"/>
                <a:gd name="connsiteX6" fmla="*/ 19172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172" y="10731"/>
                  </a:moveTo>
                  <a:cubicBezTo>
                    <a:pt x="14509" y="10731"/>
                    <a:pt x="10731" y="14511"/>
                    <a:pt x="10731" y="19172"/>
                  </a:cubicBezTo>
                  <a:cubicBezTo>
                    <a:pt x="10731" y="23833"/>
                    <a:pt x="14511" y="27613"/>
                    <a:pt x="19172" y="27613"/>
                  </a:cubicBezTo>
                  <a:lnTo>
                    <a:pt x="19172" y="27613"/>
                  </a:lnTo>
                  <a:cubicBezTo>
                    <a:pt x="23676" y="27613"/>
                    <a:pt x="27327" y="23962"/>
                    <a:pt x="27327" y="19458"/>
                  </a:cubicBezTo>
                  <a:cubicBezTo>
                    <a:pt x="27487" y="14798"/>
                    <a:pt x="23841" y="10891"/>
                    <a:pt x="19182" y="10731"/>
                  </a:cubicBezTo>
                  <a:cubicBezTo>
                    <a:pt x="19178" y="10731"/>
                    <a:pt x="19175" y="10731"/>
                    <a:pt x="1917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2" name="Freeform: Shape 121">
              <a:extLst>
                <a:ext uri="{FF2B5EF4-FFF2-40B4-BE49-F238E27FC236}">
                  <a16:creationId xmlns:a16="http://schemas.microsoft.com/office/drawing/2014/main" id="{07BA4418-9987-4182-ABAC-6AE3716EDC16}"/>
                </a:ext>
              </a:extLst>
            </p:cNvPr>
            <p:cNvSpPr/>
            <p:nvPr/>
          </p:nvSpPr>
          <p:spPr>
            <a:xfrm>
              <a:off x="5300774" y="6024358"/>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123" name="Freeform: Shape 122">
              <a:extLst>
                <a:ext uri="{FF2B5EF4-FFF2-40B4-BE49-F238E27FC236}">
                  <a16:creationId xmlns:a16="http://schemas.microsoft.com/office/drawing/2014/main" id="{03B22804-DCA1-474E-B5F6-4C1DEA3169F4}"/>
                </a:ext>
              </a:extLst>
            </p:cNvPr>
            <p:cNvSpPr/>
            <p:nvPr/>
          </p:nvSpPr>
          <p:spPr>
            <a:xfrm>
              <a:off x="5300917" y="6013769"/>
              <a:ext cx="42922" cy="28615"/>
            </a:xfrm>
            <a:custGeom>
              <a:avLst/>
              <a:gdLst>
                <a:gd name="connsiteX0" fmla="*/ 26469 w 42922"/>
                <a:gd name="connsiteY0" fmla="*/ 11161 h 28614"/>
                <a:gd name="connsiteX1" fmla="*/ 20746 w 42922"/>
                <a:gd name="connsiteY1" fmla="*/ 11161 h 28614"/>
                <a:gd name="connsiteX2" fmla="*/ 10731 w 42922"/>
                <a:gd name="connsiteY2" fmla="*/ 20890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25" y="11158"/>
                    <a:pt x="10885" y="15470"/>
                    <a:pt x="10731" y="20890"/>
                  </a:cubicBezTo>
                  <a:cubicBezTo>
                    <a:pt x="10884" y="26333"/>
                    <a:pt x="15300" y="30688"/>
                    <a:pt x="20746" y="30762"/>
                  </a:cubicBezTo>
                  <a:cubicBezTo>
                    <a:pt x="26158" y="32343"/>
                    <a:pt x="31827" y="29236"/>
                    <a:pt x="33408" y="23823"/>
                  </a:cubicBezTo>
                  <a:cubicBezTo>
                    <a:pt x="34989" y="18411"/>
                    <a:pt x="31881" y="12742"/>
                    <a:pt x="26469" y="1116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DD6D3E46-E6D0-4CA1-BDBB-5028EF50F3FB}"/>
                </a:ext>
              </a:extLst>
            </p:cNvPr>
            <p:cNvSpPr/>
            <p:nvPr/>
          </p:nvSpPr>
          <p:spPr>
            <a:xfrm>
              <a:off x="5379322" y="5864258"/>
              <a:ext cx="42922" cy="28615"/>
            </a:xfrm>
            <a:custGeom>
              <a:avLst/>
              <a:gdLst>
                <a:gd name="connsiteX0" fmla="*/ 23464 w 42922"/>
                <a:gd name="connsiteY0" fmla="*/ 30760 h 28614"/>
                <a:gd name="connsiteX1" fmla="*/ 33374 w 42922"/>
                <a:gd name="connsiteY1" fmla="*/ 20639 h 28614"/>
                <a:gd name="connsiteX2" fmla="*/ 23253 w 42922"/>
                <a:gd name="connsiteY2" fmla="*/ 10731 h 28614"/>
                <a:gd name="connsiteX3" fmla="*/ 20460 w 42922"/>
                <a:gd name="connsiteY3" fmla="*/ 11159 h 28614"/>
                <a:gd name="connsiteX4" fmla="*/ 10731 w 42922"/>
                <a:gd name="connsiteY4" fmla="*/ 20888 h 28614"/>
                <a:gd name="connsiteX5" fmla="*/ 23284 w 42922"/>
                <a:gd name="connsiteY5" fmla="*/ 30783 h 28614"/>
                <a:gd name="connsiteX6" fmla="*/ 23464 w 42922"/>
                <a:gd name="connsiteY6" fmla="*/ 3076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28614">
                  <a:moveTo>
                    <a:pt x="23464" y="30760"/>
                  </a:moveTo>
                  <a:cubicBezTo>
                    <a:pt x="28996" y="30702"/>
                    <a:pt x="33431" y="26170"/>
                    <a:pt x="33374" y="20639"/>
                  </a:cubicBezTo>
                  <a:cubicBezTo>
                    <a:pt x="33315" y="15109"/>
                    <a:pt x="28784" y="10673"/>
                    <a:pt x="23253" y="10731"/>
                  </a:cubicBezTo>
                  <a:cubicBezTo>
                    <a:pt x="22305" y="10741"/>
                    <a:pt x="21365" y="10886"/>
                    <a:pt x="20460" y="11159"/>
                  </a:cubicBezTo>
                  <a:cubicBezTo>
                    <a:pt x="15342" y="11730"/>
                    <a:pt x="11301" y="15770"/>
                    <a:pt x="10731" y="20888"/>
                  </a:cubicBezTo>
                  <a:cubicBezTo>
                    <a:pt x="11465" y="27088"/>
                    <a:pt x="17086" y="31517"/>
                    <a:pt x="23284" y="30783"/>
                  </a:cubicBezTo>
                  <a:cubicBezTo>
                    <a:pt x="23344" y="30776"/>
                    <a:pt x="23404" y="30769"/>
                    <a:pt x="23464" y="3076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5" name="Freeform: Shape 124">
              <a:extLst>
                <a:ext uri="{FF2B5EF4-FFF2-40B4-BE49-F238E27FC236}">
                  <a16:creationId xmlns:a16="http://schemas.microsoft.com/office/drawing/2014/main" id="{AE49FC01-B9CE-494B-84E7-A79DEBC8AC32}"/>
                </a:ext>
              </a:extLst>
            </p:cNvPr>
            <p:cNvSpPr/>
            <p:nvPr/>
          </p:nvSpPr>
          <p:spPr>
            <a:xfrm>
              <a:off x="5301346" y="6062988"/>
              <a:ext cx="28615" cy="28615"/>
            </a:xfrm>
            <a:custGeom>
              <a:avLst/>
              <a:gdLst>
                <a:gd name="connsiteX0" fmla="*/ 21032 w 28614"/>
                <a:gd name="connsiteY0" fmla="*/ 10731 h 28614"/>
                <a:gd name="connsiteX1" fmla="*/ 10731 w 28614"/>
                <a:gd name="connsiteY1" fmla="*/ 21032 h 28614"/>
                <a:gd name="connsiteX2" fmla="*/ 10731 w 28614"/>
                <a:gd name="connsiteY2" fmla="*/ 21032 h 28614"/>
                <a:gd name="connsiteX3" fmla="*/ 20888 w 28614"/>
                <a:gd name="connsiteY3" fmla="*/ 31192 h 28614"/>
                <a:gd name="connsiteX4" fmla="*/ 21032 w 28614"/>
                <a:gd name="connsiteY4" fmla="*/ 31190 h 28614"/>
                <a:gd name="connsiteX5" fmla="*/ 31333 w 28614"/>
                <a:gd name="connsiteY5" fmla="*/ 21177 h 28614"/>
                <a:gd name="connsiteX6" fmla="*/ 31333 w 28614"/>
                <a:gd name="connsiteY6" fmla="*/ 21175 h 28614"/>
                <a:gd name="connsiteX7" fmla="*/ 31333 w 28614"/>
                <a:gd name="connsiteY7" fmla="*/ 21175 h 28614"/>
                <a:gd name="connsiteX8" fmla="*/ 21032 w 28614"/>
                <a:gd name="connsiteY8"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032" y="10731"/>
                  </a:moveTo>
                  <a:cubicBezTo>
                    <a:pt x="15343" y="10731"/>
                    <a:pt x="10731" y="15343"/>
                    <a:pt x="10731" y="21032"/>
                  </a:cubicBezTo>
                  <a:lnTo>
                    <a:pt x="10731" y="21032"/>
                  </a:lnTo>
                  <a:cubicBezTo>
                    <a:pt x="10731" y="26642"/>
                    <a:pt x="15278" y="31190"/>
                    <a:pt x="20888" y="31192"/>
                  </a:cubicBezTo>
                  <a:cubicBezTo>
                    <a:pt x="20936" y="31192"/>
                    <a:pt x="20983" y="31190"/>
                    <a:pt x="21032" y="31190"/>
                  </a:cubicBezTo>
                  <a:cubicBezTo>
                    <a:pt x="26642" y="31270"/>
                    <a:pt x="31253" y="26786"/>
                    <a:pt x="31333" y="21177"/>
                  </a:cubicBezTo>
                  <a:cubicBezTo>
                    <a:pt x="31333" y="21177"/>
                    <a:pt x="31333" y="21175"/>
                    <a:pt x="31333" y="21175"/>
                  </a:cubicBezTo>
                  <a:lnTo>
                    <a:pt x="31333" y="21175"/>
                  </a:lnTo>
                  <a:cubicBezTo>
                    <a:pt x="31333" y="15462"/>
                    <a:pt x="26745" y="10809"/>
                    <a:pt x="2103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6" name="Freeform: Shape 125">
              <a:extLst>
                <a:ext uri="{FF2B5EF4-FFF2-40B4-BE49-F238E27FC236}">
                  <a16:creationId xmlns:a16="http://schemas.microsoft.com/office/drawing/2014/main" id="{FA260903-9BA2-41FB-8D84-1486F5811FD2}"/>
                </a:ext>
              </a:extLst>
            </p:cNvPr>
            <p:cNvSpPr/>
            <p:nvPr/>
          </p:nvSpPr>
          <p:spPr>
            <a:xfrm>
              <a:off x="6257370" y="5866117"/>
              <a:ext cx="28615" cy="28615"/>
            </a:xfrm>
            <a:custGeom>
              <a:avLst/>
              <a:gdLst>
                <a:gd name="connsiteX0" fmla="*/ 18459 w 28614"/>
                <a:gd name="connsiteY0" fmla="*/ 10731 h 28614"/>
                <a:gd name="connsiteX1" fmla="*/ 11019 w 28614"/>
                <a:gd name="connsiteY1" fmla="*/ 18171 h 28614"/>
                <a:gd name="connsiteX2" fmla="*/ 16129 w 28614"/>
                <a:gd name="connsiteY2" fmla="*/ 27367 h 28614"/>
                <a:gd name="connsiteX3" fmla="*/ 25326 w 28614"/>
                <a:gd name="connsiteY3" fmla="*/ 22258 h 28614"/>
                <a:gd name="connsiteX4" fmla="*/ 25326 w 28614"/>
                <a:gd name="connsiteY4" fmla="*/ 18171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1"/>
                  </a:cubicBezTo>
                  <a:cubicBezTo>
                    <a:pt x="9890" y="22121"/>
                    <a:pt x="12178" y="26238"/>
                    <a:pt x="16129" y="27367"/>
                  </a:cubicBezTo>
                  <a:cubicBezTo>
                    <a:pt x="20080" y="28496"/>
                    <a:pt x="24197" y="26208"/>
                    <a:pt x="25326" y="22258"/>
                  </a:cubicBezTo>
                  <a:cubicBezTo>
                    <a:pt x="25708" y="20922"/>
                    <a:pt x="25708" y="19507"/>
                    <a:pt x="25326" y="18171"/>
                  </a:cubicBezTo>
                  <a:cubicBezTo>
                    <a:pt x="25338" y="14275"/>
                    <a:pt x="22343" y="11030"/>
                    <a:pt x="1845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7" name="Freeform: Shape 126">
              <a:extLst>
                <a:ext uri="{FF2B5EF4-FFF2-40B4-BE49-F238E27FC236}">
                  <a16:creationId xmlns:a16="http://schemas.microsoft.com/office/drawing/2014/main" id="{E0851E2D-8886-4E39-BE5E-06047D269C5B}"/>
                </a:ext>
              </a:extLst>
            </p:cNvPr>
            <p:cNvSpPr/>
            <p:nvPr/>
          </p:nvSpPr>
          <p:spPr>
            <a:xfrm>
              <a:off x="5300917" y="5864650"/>
              <a:ext cx="42922" cy="28615"/>
            </a:xfrm>
            <a:custGeom>
              <a:avLst/>
              <a:gdLst>
                <a:gd name="connsiteX0" fmla="*/ 26469 w 42922"/>
                <a:gd name="connsiteY0" fmla="*/ 11053 h 28614"/>
                <a:gd name="connsiteX1" fmla="*/ 20746 w 42922"/>
                <a:gd name="connsiteY1" fmla="*/ 11053 h 28614"/>
                <a:gd name="connsiteX2" fmla="*/ 10731 w 42922"/>
                <a:gd name="connsiteY2" fmla="*/ 20925 h 28614"/>
                <a:gd name="connsiteX3" fmla="*/ 20746 w 42922"/>
                <a:gd name="connsiteY3" fmla="*/ 30654 h 28614"/>
                <a:gd name="connsiteX4" fmla="*/ 33480 w 42922"/>
                <a:gd name="connsiteY4" fmla="*/ 23643 h 28614"/>
                <a:gd name="connsiteX5" fmla="*/ 26469 w 42922"/>
                <a:gd name="connsiteY5" fmla="*/ 1105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053"/>
                  </a:moveTo>
                  <a:cubicBezTo>
                    <a:pt x="24586" y="10623"/>
                    <a:pt x="22629" y="10623"/>
                    <a:pt x="20746" y="11053"/>
                  </a:cubicBezTo>
                  <a:cubicBezTo>
                    <a:pt x="15300" y="11127"/>
                    <a:pt x="10884" y="15482"/>
                    <a:pt x="10731" y="20925"/>
                  </a:cubicBezTo>
                  <a:cubicBezTo>
                    <a:pt x="10885" y="26344"/>
                    <a:pt x="15325" y="30655"/>
                    <a:pt x="20746" y="30654"/>
                  </a:cubicBezTo>
                  <a:cubicBezTo>
                    <a:pt x="26197" y="32220"/>
                    <a:pt x="31889" y="29087"/>
                    <a:pt x="33480" y="23643"/>
                  </a:cubicBezTo>
                  <a:cubicBezTo>
                    <a:pt x="34876" y="18248"/>
                    <a:pt x="31790" y="12706"/>
                    <a:pt x="26469" y="11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8" name="Freeform: Shape 127">
              <a:extLst>
                <a:ext uri="{FF2B5EF4-FFF2-40B4-BE49-F238E27FC236}">
                  <a16:creationId xmlns:a16="http://schemas.microsoft.com/office/drawing/2014/main" id="{63AF99C8-6120-48AB-A85B-AE970D13769F}"/>
                </a:ext>
              </a:extLst>
            </p:cNvPr>
            <p:cNvSpPr/>
            <p:nvPr/>
          </p:nvSpPr>
          <p:spPr>
            <a:xfrm>
              <a:off x="5143712" y="5962987"/>
              <a:ext cx="28615" cy="28615"/>
            </a:xfrm>
            <a:custGeom>
              <a:avLst/>
              <a:gdLst>
                <a:gd name="connsiteX0" fmla="*/ 20425 w 28614"/>
                <a:gd name="connsiteY0" fmla="*/ 28321 h 28614"/>
                <a:gd name="connsiteX1" fmla="*/ 27436 w 28614"/>
                <a:gd name="connsiteY1" fmla="*/ 21310 h 28614"/>
                <a:gd name="connsiteX2" fmla="*/ 21405 w 28614"/>
                <a:gd name="connsiteY2" fmla="*/ 11007 h 28614"/>
                <a:gd name="connsiteX3" fmla="*/ 11102 w 28614"/>
                <a:gd name="connsiteY3" fmla="*/ 17038 h 28614"/>
                <a:gd name="connsiteX4" fmla="*/ 10839 w 28614"/>
                <a:gd name="connsiteY4" fmla="*/ 18735 h 28614"/>
                <a:gd name="connsiteX5" fmla="*/ 10839 w 28614"/>
                <a:gd name="connsiteY5" fmla="*/ 21310 h 28614"/>
                <a:gd name="connsiteX6" fmla="*/ 20425 w 28614"/>
                <a:gd name="connsiteY6" fmla="*/ 283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425" y="28321"/>
                  </a:moveTo>
                  <a:cubicBezTo>
                    <a:pt x="24078" y="27836"/>
                    <a:pt x="26951" y="24963"/>
                    <a:pt x="27436" y="21310"/>
                  </a:cubicBezTo>
                  <a:cubicBezTo>
                    <a:pt x="28616" y="16800"/>
                    <a:pt x="25915" y="12187"/>
                    <a:pt x="21405" y="11007"/>
                  </a:cubicBezTo>
                  <a:cubicBezTo>
                    <a:pt x="16894" y="9828"/>
                    <a:pt x="12283" y="12528"/>
                    <a:pt x="11102" y="17038"/>
                  </a:cubicBezTo>
                  <a:cubicBezTo>
                    <a:pt x="10958" y="17593"/>
                    <a:pt x="10869" y="18162"/>
                    <a:pt x="10839" y="18735"/>
                  </a:cubicBezTo>
                  <a:cubicBezTo>
                    <a:pt x="10694" y="19587"/>
                    <a:pt x="10694" y="20457"/>
                    <a:pt x="10839" y="21310"/>
                  </a:cubicBezTo>
                  <a:cubicBezTo>
                    <a:pt x="11573" y="25880"/>
                    <a:pt x="15848" y="29006"/>
                    <a:pt x="20425" y="2832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7E5AEC47-B781-49EA-9214-258B7C085AC2}"/>
                </a:ext>
              </a:extLst>
            </p:cNvPr>
            <p:cNvSpPr/>
            <p:nvPr/>
          </p:nvSpPr>
          <p:spPr>
            <a:xfrm>
              <a:off x="6177117" y="6015679"/>
              <a:ext cx="28615" cy="28615"/>
            </a:xfrm>
            <a:custGeom>
              <a:avLst/>
              <a:gdLst>
                <a:gd name="connsiteX0" fmla="*/ 18018 w 28614"/>
                <a:gd name="connsiteY0" fmla="*/ 10825 h 28614"/>
                <a:gd name="connsiteX1" fmla="*/ 11007 w 28614"/>
                <a:gd name="connsiteY1" fmla="*/ 17836 h 28614"/>
                <a:gd name="connsiteX2" fmla="*/ 17038 w 28614"/>
                <a:gd name="connsiteY2" fmla="*/ 28138 h 28614"/>
                <a:gd name="connsiteX3" fmla="*/ 27340 w 28614"/>
                <a:gd name="connsiteY3" fmla="*/ 22108 h 28614"/>
                <a:gd name="connsiteX4" fmla="*/ 27604 w 28614"/>
                <a:gd name="connsiteY4" fmla="*/ 20411 h 28614"/>
                <a:gd name="connsiteX5" fmla="*/ 27604 w 28614"/>
                <a:gd name="connsiteY5" fmla="*/ 17836 h 28614"/>
                <a:gd name="connsiteX6" fmla="*/ 18018 w 28614"/>
                <a:gd name="connsiteY6"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018" y="10825"/>
                  </a:moveTo>
                  <a:cubicBezTo>
                    <a:pt x="14409" y="11399"/>
                    <a:pt x="11581" y="14227"/>
                    <a:pt x="11007" y="17836"/>
                  </a:cubicBezTo>
                  <a:cubicBezTo>
                    <a:pt x="9828" y="22345"/>
                    <a:pt x="12528" y="26958"/>
                    <a:pt x="17038" y="28138"/>
                  </a:cubicBezTo>
                  <a:cubicBezTo>
                    <a:pt x="21549" y="29317"/>
                    <a:pt x="26162" y="26617"/>
                    <a:pt x="27340" y="22108"/>
                  </a:cubicBezTo>
                  <a:cubicBezTo>
                    <a:pt x="27486" y="21553"/>
                    <a:pt x="27574" y="20983"/>
                    <a:pt x="27604" y="20411"/>
                  </a:cubicBezTo>
                  <a:cubicBezTo>
                    <a:pt x="27748" y="19558"/>
                    <a:pt x="27748" y="18688"/>
                    <a:pt x="27604" y="17836"/>
                  </a:cubicBezTo>
                  <a:cubicBezTo>
                    <a:pt x="26871" y="13266"/>
                    <a:pt x="22595" y="10140"/>
                    <a:pt x="18018" y="108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0" name="Freeform: Shape 129">
              <a:extLst>
                <a:ext uri="{FF2B5EF4-FFF2-40B4-BE49-F238E27FC236}">
                  <a16:creationId xmlns:a16="http://schemas.microsoft.com/office/drawing/2014/main" id="{3B6AFA0C-7318-407C-9E00-C3707D0F7676}"/>
                </a:ext>
              </a:extLst>
            </p:cNvPr>
            <p:cNvSpPr/>
            <p:nvPr/>
          </p:nvSpPr>
          <p:spPr>
            <a:xfrm>
              <a:off x="5379322" y="5964068"/>
              <a:ext cx="28615" cy="28615"/>
            </a:xfrm>
            <a:custGeom>
              <a:avLst/>
              <a:gdLst>
                <a:gd name="connsiteX0" fmla="*/ 23464 w 28614"/>
                <a:gd name="connsiteY0" fmla="*/ 30387 h 28614"/>
                <a:gd name="connsiteX1" fmla="*/ 30385 w 28614"/>
                <a:gd name="connsiteY1" fmla="*/ 18030 h 28614"/>
                <a:gd name="connsiteX2" fmla="*/ 18026 w 28614"/>
                <a:gd name="connsiteY2" fmla="*/ 11110 h 28614"/>
                <a:gd name="connsiteX3" fmla="*/ 10731 w 28614"/>
                <a:gd name="connsiteY3" fmla="*/ 20658 h 28614"/>
                <a:gd name="connsiteX4" fmla="*/ 23407 w 28614"/>
                <a:gd name="connsiteY4" fmla="*/ 30395 h 28614"/>
                <a:gd name="connsiteX5" fmla="*/ 23464 w 28614"/>
                <a:gd name="connsiteY5" fmla="*/ 3038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464" y="30387"/>
                  </a:moveTo>
                  <a:cubicBezTo>
                    <a:pt x="28788" y="28887"/>
                    <a:pt x="31886" y="23352"/>
                    <a:pt x="30385" y="18030"/>
                  </a:cubicBezTo>
                  <a:cubicBezTo>
                    <a:pt x="28883" y="12706"/>
                    <a:pt x="23350" y="9607"/>
                    <a:pt x="18026" y="11110"/>
                  </a:cubicBezTo>
                  <a:cubicBezTo>
                    <a:pt x="13742" y="12317"/>
                    <a:pt x="10771" y="16207"/>
                    <a:pt x="10731" y="20658"/>
                  </a:cubicBezTo>
                  <a:cubicBezTo>
                    <a:pt x="11543" y="26848"/>
                    <a:pt x="17218" y="31207"/>
                    <a:pt x="23407" y="30395"/>
                  </a:cubicBezTo>
                  <a:cubicBezTo>
                    <a:pt x="23427" y="30393"/>
                    <a:pt x="23446" y="30390"/>
                    <a:pt x="23464" y="3038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1" name="Freeform: Shape 130">
              <a:extLst>
                <a:ext uri="{FF2B5EF4-FFF2-40B4-BE49-F238E27FC236}">
                  <a16:creationId xmlns:a16="http://schemas.microsoft.com/office/drawing/2014/main" id="{23E03CC6-45E8-4992-956A-D9AC9AE09789}"/>
                </a:ext>
              </a:extLst>
            </p:cNvPr>
            <p:cNvSpPr/>
            <p:nvPr/>
          </p:nvSpPr>
          <p:spPr>
            <a:xfrm>
              <a:off x="5379752" y="5812606"/>
              <a:ext cx="42922" cy="42922"/>
            </a:xfrm>
            <a:custGeom>
              <a:avLst/>
              <a:gdLst>
                <a:gd name="connsiteX0" fmla="*/ 22319 w 42922"/>
                <a:gd name="connsiteY0" fmla="*/ 10732 h 42922"/>
                <a:gd name="connsiteX1" fmla="*/ 22319 w 42922"/>
                <a:gd name="connsiteY1" fmla="*/ 10732 h 42922"/>
                <a:gd name="connsiteX2" fmla="*/ 10732 w 42922"/>
                <a:gd name="connsiteY2" fmla="*/ 22034 h 42922"/>
                <a:gd name="connsiteX3" fmla="*/ 22034 w 42922"/>
                <a:gd name="connsiteY3" fmla="*/ 33622 h 42922"/>
                <a:gd name="connsiteX4" fmla="*/ 33622 w 42922"/>
                <a:gd name="connsiteY4" fmla="*/ 22321 h 42922"/>
                <a:gd name="connsiteX5" fmla="*/ 22321 w 42922"/>
                <a:gd name="connsiteY5" fmla="*/ 10732 h 42922"/>
                <a:gd name="connsiteX6" fmla="*/ 22319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19" y="10732"/>
                  </a:moveTo>
                  <a:lnTo>
                    <a:pt x="22319" y="10732"/>
                  </a:lnTo>
                  <a:cubicBezTo>
                    <a:pt x="15998" y="10653"/>
                    <a:pt x="10810" y="15713"/>
                    <a:pt x="10732" y="22034"/>
                  </a:cubicBezTo>
                  <a:cubicBezTo>
                    <a:pt x="10653" y="28355"/>
                    <a:pt x="15713" y="33543"/>
                    <a:pt x="22034" y="33622"/>
                  </a:cubicBezTo>
                  <a:cubicBezTo>
                    <a:pt x="28355" y="33701"/>
                    <a:pt x="33542" y="28640"/>
                    <a:pt x="33622" y="22321"/>
                  </a:cubicBezTo>
                  <a:cubicBezTo>
                    <a:pt x="33702" y="16000"/>
                    <a:pt x="28642" y="10812"/>
                    <a:pt x="22321" y="10732"/>
                  </a:cubicBezTo>
                  <a:cubicBezTo>
                    <a:pt x="22321" y="10732"/>
                    <a:pt x="22319" y="10732"/>
                    <a:pt x="22319"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2" name="Freeform: Shape 131">
              <a:extLst>
                <a:ext uri="{FF2B5EF4-FFF2-40B4-BE49-F238E27FC236}">
                  <a16:creationId xmlns:a16="http://schemas.microsoft.com/office/drawing/2014/main" id="{25C39463-1E0B-45B8-81DD-09E966F821AC}"/>
                </a:ext>
              </a:extLst>
            </p:cNvPr>
            <p:cNvSpPr/>
            <p:nvPr/>
          </p:nvSpPr>
          <p:spPr>
            <a:xfrm>
              <a:off x="5143712" y="5864694"/>
              <a:ext cx="28615" cy="28615"/>
            </a:xfrm>
            <a:custGeom>
              <a:avLst/>
              <a:gdLst>
                <a:gd name="connsiteX0" fmla="*/ 20425 w 28614"/>
                <a:gd name="connsiteY0" fmla="*/ 28321 h 28614"/>
                <a:gd name="connsiteX1" fmla="*/ 27436 w 28614"/>
                <a:gd name="connsiteY1" fmla="*/ 21310 h 28614"/>
                <a:gd name="connsiteX2" fmla="*/ 21405 w 28614"/>
                <a:gd name="connsiteY2" fmla="*/ 11007 h 28614"/>
                <a:gd name="connsiteX3" fmla="*/ 11102 w 28614"/>
                <a:gd name="connsiteY3" fmla="*/ 17038 h 28614"/>
                <a:gd name="connsiteX4" fmla="*/ 10839 w 28614"/>
                <a:gd name="connsiteY4" fmla="*/ 18735 h 28614"/>
                <a:gd name="connsiteX5" fmla="*/ 10839 w 28614"/>
                <a:gd name="connsiteY5" fmla="*/ 21310 h 28614"/>
                <a:gd name="connsiteX6" fmla="*/ 20425 w 28614"/>
                <a:gd name="connsiteY6" fmla="*/ 283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425" y="28321"/>
                  </a:moveTo>
                  <a:cubicBezTo>
                    <a:pt x="24078" y="27836"/>
                    <a:pt x="26951" y="24963"/>
                    <a:pt x="27436" y="21310"/>
                  </a:cubicBezTo>
                  <a:cubicBezTo>
                    <a:pt x="28616" y="16800"/>
                    <a:pt x="25915" y="12187"/>
                    <a:pt x="21405" y="11007"/>
                  </a:cubicBezTo>
                  <a:cubicBezTo>
                    <a:pt x="16894" y="9828"/>
                    <a:pt x="12283" y="12528"/>
                    <a:pt x="11102" y="17038"/>
                  </a:cubicBezTo>
                  <a:cubicBezTo>
                    <a:pt x="10958" y="17593"/>
                    <a:pt x="10869" y="18162"/>
                    <a:pt x="10839" y="18735"/>
                  </a:cubicBezTo>
                  <a:cubicBezTo>
                    <a:pt x="10694" y="19587"/>
                    <a:pt x="10694" y="20457"/>
                    <a:pt x="10839" y="21310"/>
                  </a:cubicBezTo>
                  <a:cubicBezTo>
                    <a:pt x="11573" y="25880"/>
                    <a:pt x="15848" y="29006"/>
                    <a:pt x="20425" y="2832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3" name="Freeform: Shape 132">
              <a:extLst>
                <a:ext uri="{FF2B5EF4-FFF2-40B4-BE49-F238E27FC236}">
                  <a16:creationId xmlns:a16="http://schemas.microsoft.com/office/drawing/2014/main" id="{2FFE4DBE-2AA4-4396-BABF-B489686015C9}"/>
                </a:ext>
              </a:extLst>
            </p:cNvPr>
            <p:cNvSpPr/>
            <p:nvPr/>
          </p:nvSpPr>
          <p:spPr>
            <a:xfrm>
              <a:off x="6095681" y="5814037"/>
              <a:ext cx="28615" cy="28615"/>
            </a:xfrm>
            <a:custGeom>
              <a:avLst/>
              <a:gdLst>
                <a:gd name="connsiteX0" fmla="*/ 20620 w 28614"/>
                <a:gd name="connsiteY0" fmla="*/ 30905 h 28614"/>
                <a:gd name="connsiteX1" fmla="*/ 29776 w 28614"/>
                <a:gd name="connsiteY1" fmla="*/ 21605 h 28614"/>
                <a:gd name="connsiteX2" fmla="*/ 29776 w 28614"/>
                <a:gd name="connsiteY2" fmla="*/ 21605 h 28614"/>
                <a:gd name="connsiteX3" fmla="*/ 29776 w 28614"/>
                <a:gd name="connsiteY3" fmla="*/ 19888 h 28614"/>
                <a:gd name="connsiteX4" fmla="*/ 20620 w 28614"/>
                <a:gd name="connsiteY4" fmla="*/ 10732 h 28614"/>
                <a:gd name="connsiteX5" fmla="*/ 10749 w 28614"/>
                <a:gd name="connsiteY5" fmla="*/ 20316 h 28614"/>
                <a:gd name="connsiteX6" fmla="*/ 10748 w 28614"/>
                <a:gd name="connsiteY6" fmla="*/ 20461 h 28614"/>
                <a:gd name="connsiteX7" fmla="*/ 20030 w 28614"/>
                <a:gd name="connsiteY7" fmla="*/ 30888 h 28614"/>
                <a:gd name="connsiteX8" fmla="*/ 20620 w 28614"/>
                <a:gd name="connsiteY8" fmla="*/ 3090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620" y="30905"/>
                  </a:moveTo>
                  <a:cubicBezTo>
                    <a:pt x="25700" y="30827"/>
                    <a:pt x="29776" y="26686"/>
                    <a:pt x="29776" y="21605"/>
                  </a:cubicBezTo>
                  <a:lnTo>
                    <a:pt x="29776" y="21605"/>
                  </a:lnTo>
                  <a:lnTo>
                    <a:pt x="29776" y="19888"/>
                  </a:lnTo>
                  <a:cubicBezTo>
                    <a:pt x="29776" y="14831"/>
                    <a:pt x="25677" y="10732"/>
                    <a:pt x="20620" y="10732"/>
                  </a:cubicBezTo>
                  <a:cubicBezTo>
                    <a:pt x="15247" y="10653"/>
                    <a:pt x="10828" y="14944"/>
                    <a:pt x="10749" y="20316"/>
                  </a:cubicBezTo>
                  <a:cubicBezTo>
                    <a:pt x="10748" y="20365"/>
                    <a:pt x="10748" y="20412"/>
                    <a:pt x="10748" y="20461"/>
                  </a:cubicBezTo>
                  <a:cubicBezTo>
                    <a:pt x="10431" y="25903"/>
                    <a:pt x="14588" y="30572"/>
                    <a:pt x="20030" y="30888"/>
                  </a:cubicBezTo>
                  <a:cubicBezTo>
                    <a:pt x="20226" y="30899"/>
                    <a:pt x="20424" y="30905"/>
                    <a:pt x="20620" y="3090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5374748B-66EE-4B57-8BD1-B9329A8DDF91}"/>
                </a:ext>
              </a:extLst>
            </p:cNvPr>
            <p:cNvSpPr/>
            <p:nvPr/>
          </p:nvSpPr>
          <p:spPr>
            <a:xfrm>
              <a:off x="6177102" y="6066420"/>
              <a:ext cx="28615" cy="28615"/>
            </a:xfrm>
            <a:custGeom>
              <a:avLst/>
              <a:gdLst>
                <a:gd name="connsiteX0" fmla="*/ 19463 w 28614"/>
                <a:gd name="connsiteY0" fmla="*/ 10732 h 28614"/>
                <a:gd name="connsiteX1" fmla="*/ 10736 w 28614"/>
                <a:gd name="connsiteY1" fmla="*/ 19030 h 28614"/>
                <a:gd name="connsiteX2" fmla="*/ 18744 w 28614"/>
                <a:gd name="connsiteY2" fmla="*/ 27610 h 28614"/>
                <a:gd name="connsiteX3" fmla="*/ 19034 w 28614"/>
                <a:gd name="connsiteY3" fmla="*/ 27615 h 28614"/>
                <a:gd name="connsiteX4" fmla="*/ 19034 w 28614"/>
                <a:gd name="connsiteY4" fmla="*/ 27615 h 28614"/>
                <a:gd name="connsiteX5" fmla="*/ 27189 w 28614"/>
                <a:gd name="connsiteY5" fmla="*/ 19748 h 28614"/>
                <a:gd name="connsiteX6" fmla="*/ 27189 w 28614"/>
                <a:gd name="connsiteY6" fmla="*/ 19459 h 28614"/>
                <a:gd name="connsiteX7" fmla="*/ 19463 w 28614"/>
                <a:gd name="connsiteY7"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63" y="10732"/>
                  </a:moveTo>
                  <a:cubicBezTo>
                    <a:pt x="14776" y="10652"/>
                    <a:pt x="10892" y="14345"/>
                    <a:pt x="10736" y="19030"/>
                  </a:cubicBezTo>
                  <a:cubicBezTo>
                    <a:pt x="10578" y="23610"/>
                    <a:pt x="14162" y="27452"/>
                    <a:pt x="18744" y="27610"/>
                  </a:cubicBezTo>
                  <a:cubicBezTo>
                    <a:pt x="18839" y="27613"/>
                    <a:pt x="18937" y="27615"/>
                    <a:pt x="19034" y="27615"/>
                  </a:cubicBezTo>
                  <a:lnTo>
                    <a:pt x="19034" y="27615"/>
                  </a:lnTo>
                  <a:cubicBezTo>
                    <a:pt x="23458" y="27695"/>
                    <a:pt x="27109" y="24172"/>
                    <a:pt x="27189" y="19748"/>
                  </a:cubicBezTo>
                  <a:cubicBezTo>
                    <a:pt x="27191" y="19653"/>
                    <a:pt x="27191" y="19555"/>
                    <a:pt x="27189" y="19459"/>
                  </a:cubicBezTo>
                  <a:cubicBezTo>
                    <a:pt x="27358" y="14954"/>
                    <a:pt x="23956" y="11111"/>
                    <a:pt x="19463"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5" name="Freeform: Shape 134">
              <a:extLst>
                <a:ext uri="{FF2B5EF4-FFF2-40B4-BE49-F238E27FC236}">
                  <a16:creationId xmlns:a16="http://schemas.microsoft.com/office/drawing/2014/main" id="{DE4A32C2-868E-42D1-A83F-713BC65B6EEB}"/>
                </a:ext>
              </a:extLst>
            </p:cNvPr>
            <p:cNvSpPr/>
            <p:nvPr/>
          </p:nvSpPr>
          <p:spPr>
            <a:xfrm>
              <a:off x="5144285" y="6062751"/>
              <a:ext cx="28615" cy="28615"/>
            </a:xfrm>
            <a:custGeom>
              <a:avLst/>
              <a:gdLst>
                <a:gd name="connsiteX0" fmla="*/ 10839 w 28614"/>
                <a:gd name="connsiteY0" fmla="*/ 17836 h 28614"/>
                <a:gd name="connsiteX1" fmla="*/ 10839 w 28614"/>
                <a:gd name="connsiteY1" fmla="*/ 20411 h 28614"/>
                <a:gd name="connsiteX2" fmla="*/ 20425 w 28614"/>
                <a:gd name="connsiteY2" fmla="*/ 27422 h 28614"/>
                <a:gd name="connsiteX3" fmla="*/ 27579 w 28614"/>
                <a:gd name="connsiteY3" fmla="*/ 20411 h 28614"/>
                <a:gd name="connsiteX4" fmla="*/ 20425 w 28614"/>
                <a:gd name="connsiteY4" fmla="*/ 10825 h 28614"/>
                <a:gd name="connsiteX5" fmla="*/ 10839 w 28614"/>
                <a:gd name="connsiteY5" fmla="*/ 178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0839" y="17836"/>
                  </a:moveTo>
                  <a:cubicBezTo>
                    <a:pt x="10694" y="18688"/>
                    <a:pt x="10694" y="19558"/>
                    <a:pt x="10839" y="20411"/>
                  </a:cubicBezTo>
                  <a:cubicBezTo>
                    <a:pt x="11573" y="24981"/>
                    <a:pt x="15848" y="28107"/>
                    <a:pt x="20425" y="27422"/>
                  </a:cubicBezTo>
                  <a:cubicBezTo>
                    <a:pt x="24088" y="26905"/>
                    <a:pt x="26988" y="24064"/>
                    <a:pt x="27579" y="20411"/>
                  </a:cubicBezTo>
                  <a:cubicBezTo>
                    <a:pt x="28180" y="15807"/>
                    <a:pt x="25009" y="11560"/>
                    <a:pt x="20425" y="10825"/>
                  </a:cubicBezTo>
                  <a:cubicBezTo>
                    <a:pt x="15848" y="10139"/>
                    <a:pt x="11573" y="13266"/>
                    <a:pt x="10839" y="1783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6" name="Freeform: Shape 135">
              <a:extLst>
                <a:ext uri="{FF2B5EF4-FFF2-40B4-BE49-F238E27FC236}">
                  <a16:creationId xmlns:a16="http://schemas.microsoft.com/office/drawing/2014/main" id="{33AF14FC-71EF-47D0-B7AA-F180F0C3804A}"/>
                </a:ext>
              </a:extLst>
            </p:cNvPr>
            <p:cNvSpPr/>
            <p:nvPr/>
          </p:nvSpPr>
          <p:spPr>
            <a:xfrm>
              <a:off x="5222226" y="6015200"/>
              <a:ext cx="28615" cy="28615"/>
            </a:xfrm>
            <a:custGeom>
              <a:avLst/>
              <a:gdLst>
                <a:gd name="connsiteX0" fmla="*/ 20030 w 28614"/>
                <a:gd name="connsiteY0" fmla="*/ 29332 h 28614"/>
                <a:gd name="connsiteX1" fmla="*/ 29473 w 28614"/>
                <a:gd name="connsiteY1" fmla="*/ 19889 h 28614"/>
                <a:gd name="connsiteX2" fmla="*/ 20030 w 28614"/>
                <a:gd name="connsiteY2" fmla="*/ 10732 h 28614"/>
                <a:gd name="connsiteX3" fmla="*/ 10732 w 28614"/>
                <a:gd name="connsiteY3" fmla="*/ 19744 h 28614"/>
                <a:gd name="connsiteX4" fmla="*/ 10731 w 28614"/>
                <a:gd name="connsiteY4" fmla="*/ 19889 h 28614"/>
                <a:gd name="connsiteX5" fmla="*/ 20030 w 28614"/>
                <a:gd name="connsiteY5" fmla="*/ 293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0" y="29332"/>
                  </a:moveTo>
                  <a:cubicBezTo>
                    <a:pt x="25183" y="29183"/>
                    <a:pt x="29325" y="25041"/>
                    <a:pt x="29473" y="19889"/>
                  </a:cubicBezTo>
                  <a:cubicBezTo>
                    <a:pt x="29319" y="14785"/>
                    <a:pt x="25135" y="10729"/>
                    <a:pt x="20030" y="10732"/>
                  </a:cubicBezTo>
                  <a:cubicBezTo>
                    <a:pt x="14974" y="10653"/>
                    <a:pt x="10811" y="14688"/>
                    <a:pt x="10732" y="19744"/>
                  </a:cubicBezTo>
                  <a:cubicBezTo>
                    <a:pt x="10731" y="19793"/>
                    <a:pt x="10731" y="19840"/>
                    <a:pt x="10731" y="19889"/>
                  </a:cubicBezTo>
                  <a:cubicBezTo>
                    <a:pt x="10731" y="25048"/>
                    <a:pt x="14871" y="29253"/>
                    <a:pt x="20030" y="293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7" name="Freeform: Shape 136">
              <a:extLst>
                <a:ext uri="{FF2B5EF4-FFF2-40B4-BE49-F238E27FC236}">
                  <a16:creationId xmlns:a16="http://schemas.microsoft.com/office/drawing/2014/main" id="{4133C952-408D-46AC-8D04-3447A9517475}"/>
                </a:ext>
              </a:extLst>
            </p:cNvPr>
            <p:cNvSpPr/>
            <p:nvPr/>
          </p:nvSpPr>
          <p:spPr>
            <a:xfrm>
              <a:off x="5143535" y="6016059"/>
              <a:ext cx="28615" cy="28615"/>
            </a:xfrm>
            <a:custGeom>
              <a:avLst/>
              <a:gdLst>
                <a:gd name="connsiteX0" fmla="*/ 19172 w 28614"/>
                <a:gd name="connsiteY0" fmla="*/ 27613 h 28614"/>
                <a:gd name="connsiteX1" fmla="*/ 27613 w 28614"/>
                <a:gd name="connsiteY1" fmla="*/ 19172 h 28614"/>
                <a:gd name="connsiteX2" fmla="*/ 19172 w 28614"/>
                <a:gd name="connsiteY2" fmla="*/ 10731 h 28614"/>
                <a:gd name="connsiteX3" fmla="*/ 19172 w 28614"/>
                <a:gd name="connsiteY3" fmla="*/ 10731 h 28614"/>
                <a:gd name="connsiteX4" fmla="*/ 10731 w 28614"/>
                <a:gd name="connsiteY4" fmla="*/ 19172 h 28614"/>
                <a:gd name="connsiteX5" fmla="*/ 19172 w 28614"/>
                <a:gd name="connsiteY5" fmla="*/ 2761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172" y="27613"/>
                  </a:moveTo>
                  <a:cubicBezTo>
                    <a:pt x="23833" y="27613"/>
                    <a:pt x="27613" y="23833"/>
                    <a:pt x="27613" y="19172"/>
                  </a:cubicBezTo>
                  <a:cubicBezTo>
                    <a:pt x="27613" y="14511"/>
                    <a:pt x="23833" y="10731"/>
                    <a:pt x="19172" y="10731"/>
                  </a:cubicBezTo>
                  <a:lnTo>
                    <a:pt x="19172" y="10731"/>
                  </a:lnTo>
                  <a:cubicBezTo>
                    <a:pt x="14511" y="10731"/>
                    <a:pt x="10731" y="14511"/>
                    <a:pt x="10731" y="19172"/>
                  </a:cubicBezTo>
                  <a:cubicBezTo>
                    <a:pt x="10731" y="23833"/>
                    <a:pt x="14511" y="27613"/>
                    <a:pt x="19172" y="2761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8" name="Freeform: Shape 137">
              <a:extLst>
                <a:ext uri="{FF2B5EF4-FFF2-40B4-BE49-F238E27FC236}">
                  <a16:creationId xmlns:a16="http://schemas.microsoft.com/office/drawing/2014/main" id="{E99B8695-0CE5-4817-B9BA-89F1A1B09910}"/>
                </a:ext>
              </a:extLst>
            </p:cNvPr>
            <p:cNvSpPr/>
            <p:nvPr/>
          </p:nvSpPr>
          <p:spPr>
            <a:xfrm>
              <a:off x="6258698" y="5817614"/>
              <a:ext cx="28615" cy="28615"/>
            </a:xfrm>
            <a:custGeom>
              <a:avLst/>
              <a:gdLst>
                <a:gd name="connsiteX0" fmla="*/ 16129 w 28614"/>
                <a:gd name="connsiteY0" fmla="*/ 25325 h 28614"/>
                <a:gd name="connsiteX1" fmla="*/ 25326 w 28614"/>
                <a:gd name="connsiteY1" fmla="*/ 20214 h 28614"/>
                <a:gd name="connsiteX2" fmla="*/ 20217 w 28614"/>
                <a:gd name="connsiteY2" fmla="*/ 11017 h 28614"/>
                <a:gd name="connsiteX3" fmla="*/ 16129 w 28614"/>
                <a:gd name="connsiteY3" fmla="*/ 11017 h 28614"/>
                <a:gd name="connsiteX4" fmla="*/ 11019 w 28614"/>
                <a:gd name="connsiteY4" fmla="*/ 20214 h 28614"/>
                <a:gd name="connsiteX5" fmla="*/ 16129 w 28614"/>
                <a:gd name="connsiteY5"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6129" y="25325"/>
                  </a:moveTo>
                  <a:cubicBezTo>
                    <a:pt x="20080" y="26453"/>
                    <a:pt x="24197" y="24166"/>
                    <a:pt x="25326" y="20214"/>
                  </a:cubicBezTo>
                  <a:cubicBezTo>
                    <a:pt x="26455" y="16264"/>
                    <a:pt x="24167" y="12146"/>
                    <a:pt x="20217" y="11017"/>
                  </a:cubicBezTo>
                  <a:cubicBezTo>
                    <a:pt x="18881" y="10635"/>
                    <a:pt x="17466" y="10635"/>
                    <a:pt x="16129" y="11017"/>
                  </a:cubicBezTo>
                  <a:cubicBezTo>
                    <a:pt x="12179" y="12146"/>
                    <a:pt x="9890" y="16264"/>
                    <a:pt x="11019" y="20214"/>
                  </a:cubicBezTo>
                  <a:cubicBezTo>
                    <a:pt x="11725" y="22686"/>
                    <a:pt x="13657" y="24619"/>
                    <a:pt x="16129" y="253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39" name="Freeform: Shape 138">
              <a:extLst>
                <a:ext uri="{FF2B5EF4-FFF2-40B4-BE49-F238E27FC236}">
                  <a16:creationId xmlns:a16="http://schemas.microsoft.com/office/drawing/2014/main" id="{B401F126-522B-4446-9EB5-9F812365F6A0}"/>
                </a:ext>
              </a:extLst>
            </p:cNvPr>
            <p:cNvSpPr/>
            <p:nvPr/>
          </p:nvSpPr>
          <p:spPr>
            <a:xfrm>
              <a:off x="5066131" y="5916193"/>
              <a:ext cx="28615" cy="28615"/>
            </a:xfrm>
            <a:custGeom>
              <a:avLst/>
              <a:gdLst>
                <a:gd name="connsiteX0" fmla="*/ 25610 w 28614"/>
                <a:gd name="connsiteY0" fmla="*/ 18171 h 28614"/>
                <a:gd name="connsiteX1" fmla="*/ 18171 w 28614"/>
                <a:gd name="connsiteY1" fmla="*/ 25610 h 28614"/>
                <a:gd name="connsiteX2" fmla="*/ 10731 w 28614"/>
                <a:gd name="connsiteY2" fmla="*/ 18171 h 28614"/>
                <a:gd name="connsiteX3" fmla="*/ 18171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1" y="25610"/>
                  </a:cubicBezTo>
                  <a:cubicBezTo>
                    <a:pt x="14062" y="25610"/>
                    <a:pt x="10731" y="22279"/>
                    <a:pt x="10731" y="18171"/>
                  </a:cubicBezTo>
                  <a:cubicBezTo>
                    <a:pt x="10731" y="14062"/>
                    <a:pt x="14062" y="10731"/>
                    <a:pt x="18171"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0" name="Freeform: Shape 139">
              <a:extLst>
                <a:ext uri="{FF2B5EF4-FFF2-40B4-BE49-F238E27FC236}">
                  <a16:creationId xmlns:a16="http://schemas.microsoft.com/office/drawing/2014/main" id="{7DFB3508-E228-4813-8800-95D25A228220}"/>
                </a:ext>
              </a:extLst>
            </p:cNvPr>
            <p:cNvSpPr/>
            <p:nvPr/>
          </p:nvSpPr>
          <p:spPr>
            <a:xfrm>
              <a:off x="5066168" y="5966412"/>
              <a:ext cx="28615" cy="28615"/>
            </a:xfrm>
            <a:custGeom>
              <a:avLst/>
              <a:gdLst>
                <a:gd name="connsiteX0" fmla="*/ 17275 w 28614"/>
                <a:gd name="connsiteY0" fmla="*/ 25754 h 28614"/>
                <a:gd name="connsiteX1" fmla="*/ 23748 w 28614"/>
                <a:gd name="connsiteY1" fmla="*/ 17203 h 28614"/>
                <a:gd name="connsiteX2" fmla="*/ 17275 w 28614"/>
                <a:gd name="connsiteY2" fmla="*/ 10731 h 28614"/>
                <a:gd name="connsiteX3" fmla="*/ 10803 w 28614"/>
                <a:gd name="connsiteY3" fmla="*/ 19281 h 28614"/>
                <a:gd name="connsiteX4" fmla="*/ 17275 w 28614"/>
                <a:gd name="connsiteY4" fmla="*/ 25754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7275" y="25754"/>
                  </a:moveTo>
                  <a:cubicBezTo>
                    <a:pt x="21424" y="25180"/>
                    <a:pt x="24321" y="21351"/>
                    <a:pt x="23748" y="17203"/>
                  </a:cubicBezTo>
                  <a:cubicBezTo>
                    <a:pt x="23282" y="13840"/>
                    <a:pt x="20638" y="11196"/>
                    <a:pt x="17275" y="10731"/>
                  </a:cubicBezTo>
                  <a:cubicBezTo>
                    <a:pt x="13127" y="11304"/>
                    <a:pt x="10229" y="15133"/>
                    <a:pt x="10803" y="19281"/>
                  </a:cubicBezTo>
                  <a:cubicBezTo>
                    <a:pt x="11268" y="22644"/>
                    <a:pt x="13912" y="25288"/>
                    <a:pt x="17275" y="2575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1" name="Freeform: Shape 140">
              <a:extLst>
                <a:ext uri="{FF2B5EF4-FFF2-40B4-BE49-F238E27FC236}">
                  <a16:creationId xmlns:a16="http://schemas.microsoft.com/office/drawing/2014/main" id="{60CC7716-91A3-4C3D-A8B7-ED6920257681}"/>
                </a:ext>
              </a:extLst>
            </p:cNvPr>
            <p:cNvSpPr/>
            <p:nvPr/>
          </p:nvSpPr>
          <p:spPr>
            <a:xfrm>
              <a:off x="6176443" y="5817663"/>
              <a:ext cx="28615" cy="28615"/>
            </a:xfrm>
            <a:custGeom>
              <a:avLst/>
              <a:gdLst>
                <a:gd name="connsiteX0" fmla="*/ 17976 w 28614"/>
                <a:gd name="connsiteY0" fmla="*/ 27421 h 28614"/>
                <a:gd name="connsiteX1" fmla="*/ 27562 w 28614"/>
                <a:gd name="connsiteY1" fmla="*/ 20411 h 28614"/>
                <a:gd name="connsiteX2" fmla="*/ 27562 w 28614"/>
                <a:gd name="connsiteY2" fmla="*/ 17836 h 28614"/>
                <a:gd name="connsiteX3" fmla="*/ 17976 w 28614"/>
                <a:gd name="connsiteY3" fmla="*/ 10825 h 28614"/>
                <a:gd name="connsiteX4" fmla="*/ 10822 w 28614"/>
                <a:gd name="connsiteY4" fmla="*/ 17836 h 28614"/>
                <a:gd name="connsiteX5" fmla="*/ 17943 w 28614"/>
                <a:gd name="connsiteY5" fmla="*/ 27417 h 28614"/>
                <a:gd name="connsiteX6" fmla="*/ 17976 w 28614"/>
                <a:gd name="connsiteY6" fmla="*/ 274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7976" y="27421"/>
                  </a:moveTo>
                  <a:cubicBezTo>
                    <a:pt x="22553" y="28107"/>
                    <a:pt x="26828" y="24981"/>
                    <a:pt x="27562" y="20411"/>
                  </a:cubicBezTo>
                  <a:cubicBezTo>
                    <a:pt x="27706" y="19558"/>
                    <a:pt x="27706" y="18688"/>
                    <a:pt x="27562" y="17836"/>
                  </a:cubicBezTo>
                  <a:cubicBezTo>
                    <a:pt x="26828" y="13266"/>
                    <a:pt x="22553" y="10140"/>
                    <a:pt x="17976" y="10825"/>
                  </a:cubicBezTo>
                  <a:cubicBezTo>
                    <a:pt x="14313" y="11341"/>
                    <a:pt x="11413" y="14183"/>
                    <a:pt x="10822" y="17836"/>
                  </a:cubicBezTo>
                  <a:cubicBezTo>
                    <a:pt x="10142" y="22448"/>
                    <a:pt x="13331" y="26738"/>
                    <a:pt x="17943" y="27417"/>
                  </a:cubicBezTo>
                  <a:cubicBezTo>
                    <a:pt x="17954" y="27419"/>
                    <a:pt x="17964" y="27420"/>
                    <a:pt x="17976" y="2742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2" name="Freeform: Shape 141">
              <a:extLst>
                <a:ext uri="{FF2B5EF4-FFF2-40B4-BE49-F238E27FC236}">
                  <a16:creationId xmlns:a16="http://schemas.microsoft.com/office/drawing/2014/main" id="{9EDC691E-CA50-42B0-A899-1BD852D6B19E}"/>
                </a:ext>
              </a:extLst>
            </p:cNvPr>
            <p:cNvSpPr/>
            <p:nvPr/>
          </p:nvSpPr>
          <p:spPr>
            <a:xfrm>
              <a:off x="5222226" y="5865831"/>
              <a:ext cx="28615" cy="28615"/>
            </a:xfrm>
            <a:custGeom>
              <a:avLst/>
              <a:gdLst>
                <a:gd name="connsiteX0" fmla="*/ 20030 w 28614"/>
                <a:gd name="connsiteY0" fmla="*/ 29330 h 28614"/>
                <a:gd name="connsiteX1" fmla="*/ 29473 w 28614"/>
                <a:gd name="connsiteY1" fmla="*/ 20174 h 28614"/>
                <a:gd name="connsiteX2" fmla="*/ 20030 w 28614"/>
                <a:gd name="connsiteY2" fmla="*/ 10731 h 28614"/>
                <a:gd name="connsiteX3" fmla="*/ 10731 w 28614"/>
                <a:gd name="connsiteY3" fmla="*/ 20174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35" y="29333"/>
                    <a:pt x="29319" y="25277"/>
                    <a:pt x="29473" y="20174"/>
                  </a:cubicBezTo>
                  <a:cubicBezTo>
                    <a:pt x="29325" y="15021"/>
                    <a:pt x="25183" y="10879"/>
                    <a:pt x="20030" y="10731"/>
                  </a:cubicBezTo>
                  <a:cubicBezTo>
                    <a:pt x="14871" y="10809"/>
                    <a:pt x="10731" y="15014"/>
                    <a:pt x="10731" y="20174"/>
                  </a:cubicBezTo>
                  <a:cubicBezTo>
                    <a:pt x="10809" y="25254"/>
                    <a:pt x="14950" y="29330"/>
                    <a:pt x="20030" y="2933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3" name="Freeform: Shape 142">
              <a:extLst>
                <a:ext uri="{FF2B5EF4-FFF2-40B4-BE49-F238E27FC236}">
                  <a16:creationId xmlns:a16="http://schemas.microsoft.com/office/drawing/2014/main" id="{69A0BD4A-8E4F-426B-8E05-F59A6C93A548}"/>
                </a:ext>
              </a:extLst>
            </p:cNvPr>
            <p:cNvSpPr/>
            <p:nvPr/>
          </p:nvSpPr>
          <p:spPr>
            <a:xfrm>
              <a:off x="5067643" y="5868406"/>
              <a:ext cx="28615" cy="28615"/>
            </a:xfrm>
            <a:custGeom>
              <a:avLst/>
              <a:gdLst>
                <a:gd name="connsiteX0" fmla="*/ 15801 w 28614"/>
                <a:gd name="connsiteY0" fmla="*/ 25038 h 28614"/>
                <a:gd name="connsiteX1" fmla="*/ 20439 w 28614"/>
                <a:gd name="connsiteY1" fmla="*/ 15369 h 28614"/>
                <a:gd name="connsiteX2" fmla="*/ 15801 w 28614"/>
                <a:gd name="connsiteY2" fmla="*/ 10731 h 28614"/>
                <a:gd name="connsiteX3" fmla="*/ 11162 w 28614"/>
                <a:gd name="connsiteY3" fmla="*/ 20400 h 28614"/>
                <a:gd name="connsiteX4" fmla="*/ 15801 w 28614"/>
                <a:gd name="connsiteY4" fmla="*/ 25038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5801" y="25038"/>
                  </a:moveTo>
                  <a:cubicBezTo>
                    <a:pt x="19752" y="23649"/>
                    <a:pt x="21828" y="19321"/>
                    <a:pt x="20439" y="15369"/>
                  </a:cubicBezTo>
                  <a:cubicBezTo>
                    <a:pt x="19677" y="13200"/>
                    <a:pt x="17970" y="11493"/>
                    <a:pt x="15801" y="10731"/>
                  </a:cubicBezTo>
                  <a:cubicBezTo>
                    <a:pt x="11850" y="12120"/>
                    <a:pt x="9773" y="16448"/>
                    <a:pt x="11162" y="20400"/>
                  </a:cubicBezTo>
                  <a:cubicBezTo>
                    <a:pt x="11925" y="22569"/>
                    <a:pt x="13631" y="24276"/>
                    <a:pt x="15801" y="25038"/>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4" name="Freeform: Shape 143">
              <a:extLst>
                <a:ext uri="{FF2B5EF4-FFF2-40B4-BE49-F238E27FC236}">
                  <a16:creationId xmlns:a16="http://schemas.microsoft.com/office/drawing/2014/main" id="{6E47DB63-8EE3-4309-B141-E54E6F99C24A}"/>
                </a:ext>
              </a:extLst>
            </p:cNvPr>
            <p:cNvSpPr/>
            <p:nvPr/>
          </p:nvSpPr>
          <p:spPr>
            <a:xfrm>
              <a:off x="5222224" y="5964552"/>
              <a:ext cx="28615" cy="28615"/>
            </a:xfrm>
            <a:custGeom>
              <a:avLst/>
              <a:gdLst>
                <a:gd name="connsiteX0" fmla="*/ 20032 w 28614"/>
                <a:gd name="connsiteY0" fmla="*/ 29330 h 28614"/>
                <a:gd name="connsiteX1" fmla="*/ 29330 w 28614"/>
                <a:gd name="connsiteY1" fmla="*/ 20029 h 28614"/>
                <a:gd name="connsiteX2" fmla="*/ 20029 w 28614"/>
                <a:gd name="connsiteY2" fmla="*/ 10731 h 28614"/>
                <a:gd name="connsiteX3" fmla="*/ 10731 w 28614"/>
                <a:gd name="connsiteY3" fmla="*/ 20032 h 28614"/>
                <a:gd name="connsiteX4" fmla="*/ 10732 w 28614"/>
                <a:gd name="connsiteY4" fmla="*/ 20174 h 28614"/>
                <a:gd name="connsiteX5" fmla="*/ 20032 w 28614"/>
                <a:gd name="connsiteY5" fmla="*/ 293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2" y="29330"/>
                  </a:moveTo>
                  <a:cubicBezTo>
                    <a:pt x="25168" y="29330"/>
                    <a:pt x="29332" y="25165"/>
                    <a:pt x="29330" y="20029"/>
                  </a:cubicBezTo>
                  <a:cubicBezTo>
                    <a:pt x="29330" y="14893"/>
                    <a:pt x="25165" y="10731"/>
                    <a:pt x="20029" y="10731"/>
                  </a:cubicBezTo>
                  <a:cubicBezTo>
                    <a:pt x="14894" y="10731"/>
                    <a:pt x="10731" y="14896"/>
                    <a:pt x="10731" y="20032"/>
                  </a:cubicBezTo>
                  <a:cubicBezTo>
                    <a:pt x="10731" y="20079"/>
                    <a:pt x="10731" y="20126"/>
                    <a:pt x="10732" y="20174"/>
                  </a:cubicBezTo>
                  <a:cubicBezTo>
                    <a:pt x="10811" y="25254"/>
                    <a:pt x="14951" y="29330"/>
                    <a:pt x="20032" y="2933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5" name="Freeform: Shape 144">
              <a:extLst>
                <a:ext uri="{FF2B5EF4-FFF2-40B4-BE49-F238E27FC236}">
                  <a16:creationId xmlns:a16="http://schemas.microsoft.com/office/drawing/2014/main" id="{83AB9432-1940-4E85-AE0B-9676E501F020}"/>
                </a:ext>
              </a:extLst>
            </p:cNvPr>
            <p:cNvSpPr/>
            <p:nvPr/>
          </p:nvSpPr>
          <p:spPr>
            <a:xfrm>
              <a:off x="6257658" y="6066422"/>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6" name="Freeform: Shape 145">
              <a:extLst>
                <a:ext uri="{FF2B5EF4-FFF2-40B4-BE49-F238E27FC236}">
                  <a16:creationId xmlns:a16="http://schemas.microsoft.com/office/drawing/2014/main" id="{E37DAE69-6848-4F49-9994-6481542D2550}"/>
                </a:ext>
              </a:extLst>
            </p:cNvPr>
            <p:cNvSpPr/>
            <p:nvPr/>
          </p:nvSpPr>
          <p:spPr>
            <a:xfrm>
              <a:off x="5065988" y="6064989"/>
              <a:ext cx="28615" cy="28615"/>
            </a:xfrm>
            <a:custGeom>
              <a:avLst/>
              <a:gdLst>
                <a:gd name="connsiteX0" fmla="*/ 18027 w 28614"/>
                <a:gd name="connsiteY0" fmla="*/ 10732 h 28614"/>
                <a:gd name="connsiteX1" fmla="*/ 10732 w 28614"/>
                <a:gd name="connsiteY1" fmla="*/ 18314 h 28614"/>
                <a:gd name="connsiteX2" fmla="*/ 18314 w 28614"/>
                <a:gd name="connsiteY2" fmla="*/ 25609 h 28614"/>
                <a:gd name="connsiteX3" fmla="*/ 25610 w 28614"/>
                <a:gd name="connsiteY3" fmla="*/ 18172 h 28614"/>
                <a:gd name="connsiteX4" fmla="*/ 18172 w 28614"/>
                <a:gd name="connsiteY4" fmla="*/ 10731 h 28614"/>
                <a:gd name="connsiteX5" fmla="*/ 18027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027" y="10732"/>
                  </a:moveTo>
                  <a:cubicBezTo>
                    <a:pt x="13919" y="10811"/>
                    <a:pt x="10653" y="14206"/>
                    <a:pt x="10732" y="18314"/>
                  </a:cubicBezTo>
                  <a:cubicBezTo>
                    <a:pt x="10811" y="22421"/>
                    <a:pt x="14205" y="25688"/>
                    <a:pt x="18314" y="25609"/>
                  </a:cubicBezTo>
                  <a:cubicBezTo>
                    <a:pt x="22365" y="25532"/>
                    <a:pt x="25610" y="22225"/>
                    <a:pt x="25610" y="18172"/>
                  </a:cubicBezTo>
                  <a:cubicBezTo>
                    <a:pt x="25611" y="14063"/>
                    <a:pt x="22281" y="10732"/>
                    <a:pt x="18172" y="10731"/>
                  </a:cubicBezTo>
                  <a:cubicBezTo>
                    <a:pt x="18124" y="10731"/>
                    <a:pt x="18076" y="10731"/>
                    <a:pt x="18027"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7" name="Freeform: Shape 146">
              <a:extLst>
                <a:ext uri="{FF2B5EF4-FFF2-40B4-BE49-F238E27FC236}">
                  <a16:creationId xmlns:a16="http://schemas.microsoft.com/office/drawing/2014/main" id="{492F1A2C-C8C3-460D-B8E1-F4AD17F14C60}"/>
                </a:ext>
              </a:extLst>
            </p:cNvPr>
            <p:cNvSpPr/>
            <p:nvPr/>
          </p:nvSpPr>
          <p:spPr>
            <a:xfrm>
              <a:off x="5222937" y="6062988"/>
              <a:ext cx="28615" cy="28615"/>
            </a:xfrm>
            <a:custGeom>
              <a:avLst/>
              <a:gdLst>
                <a:gd name="connsiteX0" fmla="*/ 19892 w 28614"/>
                <a:gd name="connsiteY0" fmla="*/ 30332 h 28614"/>
                <a:gd name="connsiteX1" fmla="*/ 29763 w 28614"/>
                <a:gd name="connsiteY1" fmla="*/ 20747 h 28614"/>
                <a:gd name="connsiteX2" fmla="*/ 29764 w 28614"/>
                <a:gd name="connsiteY2" fmla="*/ 20603 h 28614"/>
                <a:gd name="connsiteX3" fmla="*/ 19892 w 28614"/>
                <a:gd name="connsiteY3" fmla="*/ 10731 h 28614"/>
                <a:gd name="connsiteX4" fmla="*/ 10734 w 28614"/>
                <a:gd name="connsiteY4" fmla="*/ 19886 h 28614"/>
                <a:gd name="connsiteX5" fmla="*/ 10735 w 28614"/>
                <a:gd name="connsiteY5" fmla="*/ 20030 h 28614"/>
                <a:gd name="connsiteX6" fmla="*/ 10735 w 28614"/>
                <a:gd name="connsiteY6" fmla="*/ 20030 h 28614"/>
                <a:gd name="connsiteX7" fmla="*/ 10735 w 28614"/>
                <a:gd name="connsiteY7" fmla="*/ 21032 h 28614"/>
                <a:gd name="connsiteX8" fmla="*/ 19457 w 28614"/>
                <a:gd name="connsiteY8" fmla="*/ 30329 h 28614"/>
                <a:gd name="connsiteX9" fmla="*/ 19892 w 28614"/>
                <a:gd name="connsiteY9" fmla="*/ 303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19892" y="30332"/>
                  </a:moveTo>
                  <a:cubicBezTo>
                    <a:pt x="25265" y="30411"/>
                    <a:pt x="29684" y="26120"/>
                    <a:pt x="29763" y="20747"/>
                  </a:cubicBezTo>
                  <a:cubicBezTo>
                    <a:pt x="29764" y="20699"/>
                    <a:pt x="29764" y="20651"/>
                    <a:pt x="29764" y="20603"/>
                  </a:cubicBezTo>
                  <a:cubicBezTo>
                    <a:pt x="29764" y="15150"/>
                    <a:pt x="25345" y="10731"/>
                    <a:pt x="19892" y="10731"/>
                  </a:cubicBezTo>
                  <a:cubicBezTo>
                    <a:pt x="14834" y="10731"/>
                    <a:pt x="10735" y="14830"/>
                    <a:pt x="10734" y="19886"/>
                  </a:cubicBezTo>
                  <a:cubicBezTo>
                    <a:pt x="10734" y="19935"/>
                    <a:pt x="10734" y="19982"/>
                    <a:pt x="10735" y="20030"/>
                  </a:cubicBezTo>
                  <a:lnTo>
                    <a:pt x="10735" y="20030"/>
                  </a:lnTo>
                  <a:lnTo>
                    <a:pt x="10735" y="21032"/>
                  </a:lnTo>
                  <a:cubicBezTo>
                    <a:pt x="10576" y="26008"/>
                    <a:pt x="14481" y="30170"/>
                    <a:pt x="19457" y="30329"/>
                  </a:cubicBezTo>
                  <a:cubicBezTo>
                    <a:pt x="19602" y="30333"/>
                    <a:pt x="19748" y="30335"/>
                    <a:pt x="19892" y="303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8" name="Freeform: Shape 147">
              <a:extLst>
                <a:ext uri="{FF2B5EF4-FFF2-40B4-BE49-F238E27FC236}">
                  <a16:creationId xmlns:a16="http://schemas.microsoft.com/office/drawing/2014/main" id="{E07867F3-7D1E-43F4-AE4C-6A9EAC252281}"/>
                </a:ext>
              </a:extLst>
            </p:cNvPr>
            <p:cNvSpPr/>
            <p:nvPr/>
          </p:nvSpPr>
          <p:spPr>
            <a:xfrm>
              <a:off x="5067314" y="6017490"/>
              <a:ext cx="28615" cy="28615"/>
            </a:xfrm>
            <a:custGeom>
              <a:avLst/>
              <a:gdLst>
                <a:gd name="connsiteX0" fmla="*/ 16129 w 28614"/>
                <a:gd name="connsiteY0" fmla="*/ 25038 h 28614"/>
                <a:gd name="connsiteX1" fmla="*/ 21239 w 28614"/>
                <a:gd name="connsiteY1" fmla="*/ 15841 h 28614"/>
                <a:gd name="connsiteX2" fmla="*/ 16129 w 28614"/>
                <a:gd name="connsiteY2" fmla="*/ 10731 h 28614"/>
                <a:gd name="connsiteX3" fmla="*/ 11019 w 28614"/>
                <a:gd name="connsiteY3" fmla="*/ 19927 h 28614"/>
                <a:gd name="connsiteX4" fmla="*/ 16129 w 28614"/>
                <a:gd name="connsiteY4" fmla="*/ 25038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6129" y="25038"/>
                  </a:moveTo>
                  <a:cubicBezTo>
                    <a:pt x="20080" y="23909"/>
                    <a:pt x="22368" y="19791"/>
                    <a:pt x="21239" y="15841"/>
                  </a:cubicBezTo>
                  <a:cubicBezTo>
                    <a:pt x="20533" y="13369"/>
                    <a:pt x="18601" y="11437"/>
                    <a:pt x="16129" y="10731"/>
                  </a:cubicBezTo>
                  <a:cubicBezTo>
                    <a:pt x="12178" y="11859"/>
                    <a:pt x="9890" y="15977"/>
                    <a:pt x="11019" y="19927"/>
                  </a:cubicBezTo>
                  <a:cubicBezTo>
                    <a:pt x="11725" y="22400"/>
                    <a:pt x="13657" y="24333"/>
                    <a:pt x="16129" y="25038"/>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49" name="Freeform: Shape 148">
              <a:extLst>
                <a:ext uri="{FF2B5EF4-FFF2-40B4-BE49-F238E27FC236}">
                  <a16:creationId xmlns:a16="http://schemas.microsoft.com/office/drawing/2014/main" id="{08D2B000-4A69-4623-9368-1D5A9043C6CD}"/>
                </a:ext>
              </a:extLst>
            </p:cNvPr>
            <p:cNvSpPr/>
            <p:nvPr/>
          </p:nvSpPr>
          <p:spPr>
            <a:xfrm>
              <a:off x="5223083" y="5914189"/>
              <a:ext cx="28615" cy="28615"/>
            </a:xfrm>
            <a:custGeom>
              <a:avLst/>
              <a:gdLst>
                <a:gd name="connsiteX0" fmla="*/ 10732 w 28614"/>
                <a:gd name="connsiteY0" fmla="*/ 19888 h 28614"/>
                <a:gd name="connsiteX1" fmla="*/ 19889 w 28614"/>
                <a:gd name="connsiteY1" fmla="*/ 29329 h 28614"/>
                <a:gd name="connsiteX2" fmla="*/ 29329 w 28614"/>
                <a:gd name="connsiteY2" fmla="*/ 20172 h 28614"/>
                <a:gd name="connsiteX3" fmla="*/ 20172 w 28614"/>
                <a:gd name="connsiteY3" fmla="*/ 10732 h 28614"/>
                <a:gd name="connsiteX4" fmla="*/ 19889 w 28614"/>
                <a:gd name="connsiteY4" fmla="*/ 10732 h 28614"/>
                <a:gd name="connsiteX5" fmla="*/ 10732 w 28614"/>
                <a:gd name="connsiteY5" fmla="*/ 1988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0732" y="19888"/>
                  </a:moveTo>
                  <a:cubicBezTo>
                    <a:pt x="10653" y="25023"/>
                    <a:pt x="14754" y="29251"/>
                    <a:pt x="19889" y="29329"/>
                  </a:cubicBezTo>
                  <a:cubicBezTo>
                    <a:pt x="25023" y="29407"/>
                    <a:pt x="29251" y="25308"/>
                    <a:pt x="29329" y="20172"/>
                  </a:cubicBezTo>
                  <a:cubicBezTo>
                    <a:pt x="29407" y="15037"/>
                    <a:pt x="25308" y="10810"/>
                    <a:pt x="20172" y="10732"/>
                  </a:cubicBezTo>
                  <a:cubicBezTo>
                    <a:pt x="20077" y="10730"/>
                    <a:pt x="19983" y="10730"/>
                    <a:pt x="19889" y="10732"/>
                  </a:cubicBezTo>
                  <a:cubicBezTo>
                    <a:pt x="14831" y="10732"/>
                    <a:pt x="10732" y="14831"/>
                    <a:pt x="10732" y="19888"/>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0" name="Freeform: Shape 149">
              <a:extLst>
                <a:ext uri="{FF2B5EF4-FFF2-40B4-BE49-F238E27FC236}">
                  <a16:creationId xmlns:a16="http://schemas.microsoft.com/office/drawing/2014/main" id="{A4411EEE-252C-4C73-9716-29B4B59A5040}"/>
                </a:ext>
              </a:extLst>
            </p:cNvPr>
            <p:cNvSpPr/>
            <p:nvPr/>
          </p:nvSpPr>
          <p:spPr>
            <a:xfrm>
              <a:off x="6177393" y="5864972"/>
              <a:ext cx="28615" cy="28615"/>
            </a:xfrm>
            <a:custGeom>
              <a:avLst/>
              <a:gdLst>
                <a:gd name="connsiteX0" fmla="*/ 19172 w 28614"/>
                <a:gd name="connsiteY0" fmla="*/ 10731 h 28614"/>
                <a:gd name="connsiteX1" fmla="*/ 10731 w 28614"/>
                <a:gd name="connsiteY1" fmla="*/ 19172 h 28614"/>
                <a:gd name="connsiteX2" fmla="*/ 19172 w 28614"/>
                <a:gd name="connsiteY2" fmla="*/ 27613 h 28614"/>
                <a:gd name="connsiteX3" fmla="*/ 19172 w 28614"/>
                <a:gd name="connsiteY3" fmla="*/ 27613 h 28614"/>
                <a:gd name="connsiteX4" fmla="*/ 27327 w 28614"/>
                <a:gd name="connsiteY4" fmla="*/ 19458 h 28614"/>
                <a:gd name="connsiteX5" fmla="*/ 19182 w 28614"/>
                <a:gd name="connsiteY5" fmla="*/ 10731 h 28614"/>
                <a:gd name="connsiteX6" fmla="*/ 19172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172" y="10731"/>
                  </a:moveTo>
                  <a:cubicBezTo>
                    <a:pt x="14509" y="10731"/>
                    <a:pt x="10731" y="14511"/>
                    <a:pt x="10731" y="19172"/>
                  </a:cubicBezTo>
                  <a:cubicBezTo>
                    <a:pt x="10731" y="23833"/>
                    <a:pt x="14511" y="27613"/>
                    <a:pt x="19172" y="27613"/>
                  </a:cubicBezTo>
                  <a:lnTo>
                    <a:pt x="19172" y="27613"/>
                  </a:lnTo>
                  <a:cubicBezTo>
                    <a:pt x="23676" y="27613"/>
                    <a:pt x="27327" y="23962"/>
                    <a:pt x="27327" y="19458"/>
                  </a:cubicBezTo>
                  <a:cubicBezTo>
                    <a:pt x="27487" y="14798"/>
                    <a:pt x="23841" y="10891"/>
                    <a:pt x="19182" y="10731"/>
                  </a:cubicBezTo>
                  <a:cubicBezTo>
                    <a:pt x="19178" y="10731"/>
                    <a:pt x="19175" y="10731"/>
                    <a:pt x="1917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1" name="Freeform: Shape 150">
              <a:extLst>
                <a:ext uri="{FF2B5EF4-FFF2-40B4-BE49-F238E27FC236}">
                  <a16:creationId xmlns:a16="http://schemas.microsoft.com/office/drawing/2014/main" id="{2425DEA9-B1D8-4EFC-952B-84055E2D9BB0}"/>
                </a:ext>
              </a:extLst>
            </p:cNvPr>
            <p:cNvSpPr/>
            <p:nvPr/>
          </p:nvSpPr>
          <p:spPr>
            <a:xfrm>
              <a:off x="6257372" y="5966268"/>
              <a:ext cx="28615" cy="28615"/>
            </a:xfrm>
            <a:custGeom>
              <a:avLst/>
              <a:gdLst>
                <a:gd name="connsiteX0" fmla="*/ 18457 w 28614"/>
                <a:gd name="connsiteY0" fmla="*/ 10732 h 28614"/>
                <a:gd name="connsiteX1" fmla="*/ 10732 w 28614"/>
                <a:gd name="connsiteY1" fmla="*/ 18170 h 28614"/>
                <a:gd name="connsiteX2" fmla="*/ 18171 w 28614"/>
                <a:gd name="connsiteY2" fmla="*/ 25895 h 28614"/>
                <a:gd name="connsiteX3" fmla="*/ 25895 w 28614"/>
                <a:gd name="connsiteY3" fmla="*/ 18457 h 28614"/>
                <a:gd name="connsiteX4" fmla="*/ 25896 w 28614"/>
                <a:gd name="connsiteY4" fmla="*/ 18315 h 28614"/>
                <a:gd name="connsiteX5" fmla="*/ 18601 w 28614"/>
                <a:gd name="connsiteY5" fmla="*/ 10733 h 28614"/>
                <a:gd name="connsiteX6" fmla="*/ 18457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57" y="10732"/>
                  </a:moveTo>
                  <a:cubicBezTo>
                    <a:pt x="14269" y="10653"/>
                    <a:pt x="10811" y="13983"/>
                    <a:pt x="10732" y="18170"/>
                  </a:cubicBezTo>
                  <a:cubicBezTo>
                    <a:pt x="10653" y="22358"/>
                    <a:pt x="13983" y="25816"/>
                    <a:pt x="18171" y="25895"/>
                  </a:cubicBezTo>
                  <a:cubicBezTo>
                    <a:pt x="22358" y="25974"/>
                    <a:pt x="25816" y="22644"/>
                    <a:pt x="25895" y="18457"/>
                  </a:cubicBezTo>
                  <a:cubicBezTo>
                    <a:pt x="25896" y="18409"/>
                    <a:pt x="25896" y="18362"/>
                    <a:pt x="25896" y="18315"/>
                  </a:cubicBezTo>
                  <a:cubicBezTo>
                    <a:pt x="25975" y="14207"/>
                    <a:pt x="22709" y="10812"/>
                    <a:pt x="18601" y="10733"/>
                  </a:cubicBezTo>
                  <a:cubicBezTo>
                    <a:pt x="18552" y="10732"/>
                    <a:pt x="18505" y="10732"/>
                    <a:pt x="18457"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2" name="Freeform: Shape 151">
              <a:extLst>
                <a:ext uri="{FF2B5EF4-FFF2-40B4-BE49-F238E27FC236}">
                  <a16:creationId xmlns:a16="http://schemas.microsoft.com/office/drawing/2014/main" id="{AECEEEF8-C6E6-4ABE-89FA-A552C7268B96}"/>
                </a:ext>
              </a:extLst>
            </p:cNvPr>
            <p:cNvSpPr/>
            <p:nvPr/>
          </p:nvSpPr>
          <p:spPr>
            <a:xfrm>
              <a:off x="5380313" y="6012339"/>
              <a:ext cx="28615" cy="42922"/>
            </a:xfrm>
            <a:custGeom>
              <a:avLst/>
              <a:gdLst>
                <a:gd name="connsiteX0" fmla="*/ 20900 w 28614"/>
                <a:gd name="connsiteY0" fmla="*/ 33480 h 42922"/>
                <a:gd name="connsiteX1" fmla="*/ 30997 w 28614"/>
                <a:gd name="connsiteY1" fmla="*/ 20827 h 42922"/>
                <a:gd name="connsiteX2" fmla="*/ 20900 w 28614"/>
                <a:gd name="connsiteY2" fmla="*/ 10731 h 42922"/>
                <a:gd name="connsiteX3" fmla="*/ 20900 w 28614"/>
                <a:gd name="connsiteY3" fmla="*/ 10731 h 42922"/>
                <a:gd name="connsiteX4" fmla="*/ 10803 w 28614"/>
                <a:gd name="connsiteY4" fmla="*/ 23383 h 42922"/>
                <a:gd name="connsiteX5" fmla="*/ 20900 w 28614"/>
                <a:gd name="connsiteY5" fmla="*/ 334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42922">
                  <a:moveTo>
                    <a:pt x="20900" y="33480"/>
                  </a:moveTo>
                  <a:cubicBezTo>
                    <a:pt x="27182" y="32774"/>
                    <a:pt x="31702" y="27110"/>
                    <a:pt x="30997" y="20827"/>
                  </a:cubicBezTo>
                  <a:cubicBezTo>
                    <a:pt x="30400" y="15518"/>
                    <a:pt x="26209" y="11327"/>
                    <a:pt x="20900" y="10731"/>
                  </a:cubicBezTo>
                  <a:lnTo>
                    <a:pt x="20900" y="10731"/>
                  </a:lnTo>
                  <a:cubicBezTo>
                    <a:pt x="14617" y="11436"/>
                    <a:pt x="10098" y="17100"/>
                    <a:pt x="10803" y="23383"/>
                  </a:cubicBezTo>
                  <a:cubicBezTo>
                    <a:pt x="11400" y="28692"/>
                    <a:pt x="15590" y="32883"/>
                    <a:pt x="20900" y="3348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3" name="Freeform: Shape 152">
              <a:extLst>
                <a:ext uri="{FF2B5EF4-FFF2-40B4-BE49-F238E27FC236}">
                  <a16:creationId xmlns:a16="http://schemas.microsoft.com/office/drawing/2014/main" id="{9AC952FA-9206-4D69-8569-35E412CC818D}"/>
                </a:ext>
              </a:extLst>
            </p:cNvPr>
            <p:cNvSpPr/>
            <p:nvPr/>
          </p:nvSpPr>
          <p:spPr>
            <a:xfrm>
              <a:off x="5223080" y="5812964"/>
              <a:ext cx="28615" cy="28615"/>
            </a:xfrm>
            <a:custGeom>
              <a:avLst/>
              <a:gdLst>
                <a:gd name="connsiteX0" fmla="*/ 19892 w 28614"/>
                <a:gd name="connsiteY0" fmla="*/ 11375 h 28614"/>
                <a:gd name="connsiteX1" fmla="*/ 10735 w 28614"/>
                <a:gd name="connsiteY1" fmla="*/ 20532 h 28614"/>
                <a:gd name="connsiteX2" fmla="*/ 10735 w 28614"/>
                <a:gd name="connsiteY2" fmla="*/ 20961 h 28614"/>
                <a:gd name="connsiteX3" fmla="*/ 19600 w 28614"/>
                <a:gd name="connsiteY3" fmla="*/ 30401 h 28614"/>
                <a:gd name="connsiteX4" fmla="*/ 19749 w 28614"/>
                <a:gd name="connsiteY4" fmla="*/ 30404 h 28614"/>
                <a:gd name="connsiteX5" fmla="*/ 19749 w 28614"/>
                <a:gd name="connsiteY5" fmla="*/ 30404 h 28614"/>
                <a:gd name="connsiteX6" fmla="*/ 30736 w 28614"/>
                <a:gd name="connsiteY6" fmla="*/ 21789 h 28614"/>
                <a:gd name="connsiteX7" fmla="*/ 22121 w 28614"/>
                <a:gd name="connsiteY7" fmla="*/ 10803 h 28614"/>
                <a:gd name="connsiteX8" fmla="*/ 19749 w 28614"/>
                <a:gd name="connsiteY8" fmla="*/ 1080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19892" y="11375"/>
                  </a:moveTo>
                  <a:cubicBezTo>
                    <a:pt x="14834" y="11375"/>
                    <a:pt x="10735" y="15474"/>
                    <a:pt x="10735" y="20532"/>
                  </a:cubicBezTo>
                  <a:lnTo>
                    <a:pt x="10735" y="20961"/>
                  </a:lnTo>
                  <a:cubicBezTo>
                    <a:pt x="10576" y="26016"/>
                    <a:pt x="14545" y="30242"/>
                    <a:pt x="19600" y="30401"/>
                  </a:cubicBezTo>
                  <a:cubicBezTo>
                    <a:pt x="19650" y="30402"/>
                    <a:pt x="19699" y="30404"/>
                    <a:pt x="19749" y="30404"/>
                  </a:cubicBezTo>
                  <a:lnTo>
                    <a:pt x="19749" y="30404"/>
                  </a:lnTo>
                  <a:cubicBezTo>
                    <a:pt x="25161" y="31059"/>
                    <a:pt x="30080" y="27202"/>
                    <a:pt x="30736" y="21789"/>
                  </a:cubicBezTo>
                  <a:cubicBezTo>
                    <a:pt x="31391" y="16377"/>
                    <a:pt x="27534" y="11458"/>
                    <a:pt x="22121" y="10803"/>
                  </a:cubicBezTo>
                  <a:cubicBezTo>
                    <a:pt x="21334" y="10707"/>
                    <a:pt x="20537" y="10707"/>
                    <a:pt x="19749" y="1080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4" name="Freeform: Shape 153">
              <a:extLst>
                <a:ext uri="{FF2B5EF4-FFF2-40B4-BE49-F238E27FC236}">
                  <a16:creationId xmlns:a16="http://schemas.microsoft.com/office/drawing/2014/main" id="{4D8D6778-620A-4112-94C6-F84A278CE83D}"/>
                </a:ext>
              </a:extLst>
            </p:cNvPr>
            <p:cNvSpPr/>
            <p:nvPr/>
          </p:nvSpPr>
          <p:spPr>
            <a:xfrm>
              <a:off x="5144964" y="5915478"/>
              <a:ext cx="28615" cy="28615"/>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5" name="Freeform: Shape 154">
              <a:extLst>
                <a:ext uri="{FF2B5EF4-FFF2-40B4-BE49-F238E27FC236}">
                  <a16:creationId xmlns:a16="http://schemas.microsoft.com/office/drawing/2014/main" id="{B1C9872C-6706-40B5-8572-0C1195157C5C}"/>
                </a:ext>
              </a:extLst>
            </p:cNvPr>
            <p:cNvSpPr/>
            <p:nvPr/>
          </p:nvSpPr>
          <p:spPr>
            <a:xfrm>
              <a:off x="5379894" y="6063474"/>
              <a:ext cx="42922" cy="28615"/>
            </a:xfrm>
            <a:custGeom>
              <a:avLst/>
              <a:gdLst>
                <a:gd name="connsiteX0" fmla="*/ 20460 w 42922"/>
                <a:gd name="connsiteY0" fmla="*/ 10817 h 28614"/>
                <a:gd name="connsiteX1" fmla="*/ 10731 w 42922"/>
                <a:gd name="connsiteY1" fmla="*/ 20689 h 28614"/>
                <a:gd name="connsiteX2" fmla="*/ 23464 w 42922"/>
                <a:gd name="connsiteY2" fmla="*/ 30418 h 28614"/>
                <a:gd name="connsiteX3" fmla="*/ 33336 w 42922"/>
                <a:gd name="connsiteY3" fmla="*/ 20689 h 28614"/>
                <a:gd name="connsiteX4" fmla="*/ 20460 w 42922"/>
                <a:gd name="connsiteY4" fmla="*/ 10817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28614">
                  <a:moveTo>
                    <a:pt x="20460" y="10817"/>
                  </a:moveTo>
                  <a:cubicBezTo>
                    <a:pt x="15389" y="11592"/>
                    <a:pt x="11432" y="15609"/>
                    <a:pt x="10731" y="20689"/>
                  </a:cubicBezTo>
                  <a:cubicBezTo>
                    <a:pt x="11619" y="26859"/>
                    <a:pt x="17279" y="31182"/>
                    <a:pt x="23464" y="30418"/>
                  </a:cubicBezTo>
                  <a:cubicBezTo>
                    <a:pt x="28591" y="29810"/>
                    <a:pt x="32654" y="25805"/>
                    <a:pt x="33336" y="20689"/>
                  </a:cubicBezTo>
                  <a:cubicBezTo>
                    <a:pt x="32448" y="14441"/>
                    <a:pt x="26724" y="10053"/>
                    <a:pt x="20460" y="1081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6" name="Freeform: Shape 155">
              <a:extLst>
                <a:ext uri="{FF2B5EF4-FFF2-40B4-BE49-F238E27FC236}">
                  <a16:creationId xmlns:a16="http://schemas.microsoft.com/office/drawing/2014/main" id="{6A600391-EF22-4C44-8771-1249BF281693}"/>
                </a:ext>
              </a:extLst>
            </p:cNvPr>
            <p:cNvSpPr/>
            <p:nvPr/>
          </p:nvSpPr>
          <p:spPr>
            <a:xfrm>
              <a:off x="6177382" y="5916957"/>
              <a:ext cx="28615" cy="28615"/>
            </a:xfrm>
            <a:custGeom>
              <a:avLst/>
              <a:gdLst>
                <a:gd name="connsiteX0" fmla="*/ 17753 w 28614"/>
                <a:gd name="connsiteY0" fmla="*/ 10825 h 28614"/>
                <a:gd name="connsiteX1" fmla="*/ 10742 w 28614"/>
                <a:gd name="connsiteY1" fmla="*/ 17835 h 28614"/>
                <a:gd name="connsiteX2" fmla="*/ 18733 w 28614"/>
                <a:gd name="connsiteY2" fmla="*/ 26705 h 28614"/>
                <a:gd name="connsiteX3" fmla="*/ 27339 w 28614"/>
                <a:gd name="connsiteY3" fmla="*/ 20411 h 28614"/>
                <a:gd name="connsiteX4" fmla="*/ 27339 w 28614"/>
                <a:gd name="connsiteY4" fmla="*/ 17835 h 28614"/>
                <a:gd name="connsiteX5" fmla="*/ 17753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753" y="10825"/>
                  </a:moveTo>
                  <a:cubicBezTo>
                    <a:pt x="14145" y="11399"/>
                    <a:pt x="11316" y="14229"/>
                    <a:pt x="10742" y="17835"/>
                  </a:cubicBezTo>
                  <a:cubicBezTo>
                    <a:pt x="10499" y="22491"/>
                    <a:pt x="14077" y="26463"/>
                    <a:pt x="18733" y="26705"/>
                  </a:cubicBezTo>
                  <a:cubicBezTo>
                    <a:pt x="22731" y="26914"/>
                    <a:pt x="26326" y="24284"/>
                    <a:pt x="27339" y="20411"/>
                  </a:cubicBezTo>
                  <a:cubicBezTo>
                    <a:pt x="27483" y="19558"/>
                    <a:pt x="27483" y="18688"/>
                    <a:pt x="27339" y="17835"/>
                  </a:cubicBezTo>
                  <a:cubicBezTo>
                    <a:pt x="26605" y="13266"/>
                    <a:pt x="22330" y="10139"/>
                    <a:pt x="17753" y="108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7" name="Freeform: Shape 156">
              <a:extLst>
                <a:ext uri="{FF2B5EF4-FFF2-40B4-BE49-F238E27FC236}">
                  <a16:creationId xmlns:a16="http://schemas.microsoft.com/office/drawing/2014/main" id="{EA912D94-156B-461D-9E98-8F1A2456E6A8}"/>
                </a:ext>
              </a:extLst>
            </p:cNvPr>
            <p:cNvSpPr/>
            <p:nvPr/>
          </p:nvSpPr>
          <p:spPr>
            <a:xfrm>
              <a:off x="6257658" y="5916622"/>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8" name="Freeform: Shape 157">
              <a:extLst>
                <a:ext uri="{FF2B5EF4-FFF2-40B4-BE49-F238E27FC236}">
                  <a16:creationId xmlns:a16="http://schemas.microsoft.com/office/drawing/2014/main" id="{A5E85705-54F2-4BAF-BB7B-7FEAA507AD70}"/>
                </a:ext>
              </a:extLst>
            </p:cNvPr>
            <p:cNvSpPr/>
            <p:nvPr/>
          </p:nvSpPr>
          <p:spPr>
            <a:xfrm>
              <a:off x="5144964" y="5814610"/>
              <a:ext cx="28615" cy="28615"/>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59" name="Freeform: Shape 158">
              <a:extLst>
                <a:ext uri="{FF2B5EF4-FFF2-40B4-BE49-F238E27FC236}">
                  <a16:creationId xmlns:a16="http://schemas.microsoft.com/office/drawing/2014/main" id="{2CCA9F4F-5B14-49A6-8A5A-22D771A7748F}"/>
                </a:ext>
              </a:extLst>
            </p:cNvPr>
            <p:cNvSpPr/>
            <p:nvPr/>
          </p:nvSpPr>
          <p:spPr>
            <a:xfrm>
              <a:off x="5065843" y="5815182"/>
              <a:ext cx="28615" cy="28615"/>
            </a:xfrm>
            <a:custGeom>
              <a:avLst/>
              <a:gdLst>
                <a:gd name="connsiteX0" fmla="*/ 18459 w 28614"/>
                <a:gd name="connsiteY0" fmla="*/ 11160 h 28614"/>
                <a:gd name="connsiteX1" fmla="*/ 11019 w 28614"/>
                <a:gd name="connsiteY1" fmla="*/ 18311 h 28614"/>
                <a:gd name="connsiteX2" fmla="*/ 11019 w 28614"/>
                <a:gd name="connsiteY2" fmla="*/ 18314 h 28614"/>
                <a:gd name="connsiteX3" fmla="*/ 16129 w 28614"/>
                <a:gd name="connsiteY3" fmla="*/ 27510 h 28614"/>
                <a:gd name="connsiteX4" fmla="*/ 25326 w 28614"/>
                <a:gd name="connsiteY4" fmla="*/ 22401 h 28614"/>
                <a:gd name="connsiteX5" fmla="*/ 25326 w 28614"/>
                <a:gd name="connsiteY5" fmla="*/ 18314 h 28614"/>
                <a:gd name="connsiteX6" fmla="*/ 18321 w 28614"/>
                <a:gd name="connsiteY6" fmla="*/ 10736 h 28614"/>
                <a:gd name="connsiteX7" fmla="*/ 18029 w 28614"/>
                <a:gd name="connsiteY7"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8459" y="11160"/>
                  </a:moveTo>
                  <a:cubicBezTo>
                    <a:pt x="14429" y="11080"/>
                    <a:pt x="11099" y="14282"/>
                    <a:pt x="11019" y="18311"/>
                  </a:cubicBezTo>
                  <a:cubicBezTo>
                    <a:pt x="11019" y="18312"/>
                    <a:pt x="11019" y="18312"/>
                    <a:pt x="11019" y="18314"/>
                  </a:cubicBezTo>
                  <a:cubicBezTo>
                    <a:pt x="9890" y="22264"/>
                    <a:pt x="12178" y="26382"/>
                    <a:pt x="16129" y="27510"/>
                  </a:cubicBezTo>
                  <a:cubicBezTo>
                    <a:pt x="20080" y="28639"/>
                    <a:pt x="24198" y="26352"/>
                    <a:pt x="25326" y="22401"/>
                  </a:cubicBezTo>
                  <a:cubicBezTo>
                    <a:pt x="25708" y="21065"/>
                    <a:pt x="25708" y="19650"/>
                    <a:pt x="25326" y="18314"/>
                  </a:cubicBezTo>
                  <a:cubicBezTo>
                    <a:pt x="25484" y="14287"/>
                    <a:pt x="22348" y="10894"/>
                    <a:pt x="18321" y="10736"/>
                  </a:cubicBezTo>
                  <a:cubicBezTo>
                    <a:pt x="18224" y="10732"/>
                    <a:pt x="18127" y="10731"/>
                    <a:pt x="1802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0" name="Freeform: Shape 159">
              <a:extLst>
                <a:ext uri="{FF2B5EF4-FFF2-40B4-BE49-F238E27FC236}">
                  <a16:creationId xmlns:a16="http://schemas.microsoft.com/office/drawing/2014/main" id="{EB1F9BDC-3DCE-4B03-9034-0C2265E20719}"/>
                </a:ext>
              </a:extLst>
            </p:cNvPr>
            <p:cNvSpPr/>
            <p:nvPr/>
          </p:nvSpPr>
          <p:spPr>
            <a:xfrm>
              <a:off x="5300773" y="5963693"/>
              <a:ext cx="28615" cy="28615"/>
            </a:xfrm>
            <a:custGeom>
              <a:avLst/>
              <a:gdLst>
                <a:gd name="connsiteX0" fmla="*/ 20890 w 28614"/>
                <a:gd name="connsiteY0" fmla="*/ 31191 h 28614"/>
                <a:gd name="connsiteX1" fmla="*/ 31334 w 28614"/>
                <a:gd name="connsiteY1" fmla="*/ 21176 h 28614"/>
                <a:gd name="connsiteX2" fmla="*/ 31334 w 28614"/>
                <a:gd name="connsiteY2" fmla="*/ 21176 h 28614"/>
                <a:gd name="connsiteX3" fmla="*/ 21178 w 28614"/>
                <a:gd name="connsiteY3" fmla="*/ 10732 h 28614"/>
                <a:gd name="connsiteX4" fmla="*/ 20890 w 28614"/>
                <a:gd name="connsiteY4" fmla="*/ 10732 h 28614"/>
                <a:gd name="connsiteX5" fmla="*/ 10732 w 28614"/>
                <a:gd name="connsiteY5" fmla="*/ 20890 h 28614"/>
                <a:gd name="connsiteX6" fmla="*/ 10732 w 28614"/>
                <a:gd name="connsiteY6" fmla="*/ 20890 h 28614"/>
                <a:gd name="connsiteX7" fmla="*/ 20745 w 28614"/>
                <a:gd name="connsiteY7" fmla="*/ 31190 h 28614"/>
                <a:gd name="connsiteX8" fmla="*/ 20890 w 28614"/>
                <a:gd name="connsiteY8" fmla="*/ 3119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890" y="31191"/>
                  </a:moveTo>
                  <a:cubicBezTo>
                    <a:pt x="26524" y="31271"/>
                    <a:pt x="31178" y="26809"/>
                    <a:pt x="31334" y="21176"/>
                  </a:cubicBezTo>
                  <a:lnTo>
                    <a:pt x="31334" y="21176"/>
                  </a:lnTo>
                  <a:cubicBezTo>
                    <a:pt x="31415" y="15487"/>
                    <a:pt x="26866" y="10812"/>
                    <a:pt x="21178" y="10732"/>
                  </a:cubicBezTo>
                  <a:cubicBezTo>
                    <a:pt x="21082" y="10730"/>
                    <a:pt x="20986" y="10730"/>
                    <a:pt x="20890" y="10732"/>
                  </a:cubicBezTo>
                  <a:cubicBezTo>
                    <a:pt x="15280" y="10732"/>
                    <a:pt x="10732" y="15280"/>
                    <a:pt x="10732" y="20890"/>
                  </a:cubicBezTo>
                  <a:lnTo>
                    <a:pt x="10732" y="20890"/>
                  </a:lnTo>
                  <a:cubicBezTo>
                    <a:pt x="10653" y="26500"/>
                    <a:pt x="15135" y="31111"/>
                    <a:pt x="20745" y="31190"/>
                  </a:cubicBezTo>
                  <a:cubicBezTo>
                    <a:pt x="20794" y="31191"/>
                    <a:pt x="20841" y="31191"/>
                    <a:pt x="20890" y="3119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1" name="Freeform: Shape 160">
              <a:extLst>
                <a:ext uri="{FF2B5EF4-FFF2-40B4-BE49-F238E27FC236}">
                  <a16:creationId xmlns:a16="http://schemas.microsoft.com/office/drawing/2014/main" id="{BB534812-E028-46F2-8520-9D9879E421DF}"/>
                </a:ext>
              </a:extLst>
            </p:cNvPr>
            <p:cNvSpPr/>
            <p:nvPr/>
          </p:nvSpPr>
          <p:spPr>
            <a:xfrm>
              <a:off x="6257658" y="6015344"/>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2" name="Freeform: Shape 161">
              <a:extLst>
                <a:ext uri="{FF2B5EF4-FFF2-40B4-BE49-F238E27FC236}">
                  <a16:creationId xmlns:a16="http://schemas.microsoft.com/office/drawing/2014/main" id="{B7F91530-E5D6-4A1C-8AA8-2D54F935A732}"/>
                </a:ext>
              </a:extLst>
            </p:cNvPr>
            <p:cNvSpPr/>
            <p:nvPr/>
          </p:nvSpPr>
          <p:spPr>
            <a:xfrm>
              <a:off x="5301346" y="5913473"/>
              <a:ext cx="28615" cy="28615"/>
            </a:xfrm>
            <a:custGeom>
              <a:avLst/>
              <a:gdLst>
                <a:gd name="connsiteX0" fmla="*/ 20889 w 28614"/>
                <a:gd name="connsiteY0" fmla="*/ 31335 h 28614"/>
                <a:gd name="connsiteX1" fmla="*/ 20889 w 28614"/>
                <a:gd name="connsiteY1" fmla="*/ 31335 h 28614"/>
                <a:gd name="connsiteX2" fmla="*/ 31333 w 28614"/>
                <a:gd name="connsiteY2" fmla="*/ 20890 h 28614"/>
                <a:gd name="connsiteX3" fmla="*/ 21177 w 28614"/>
                <a:gd name="connsiteY3" fmla="*/ 10731 h 28614"/>
                <a:gd name="connsiteX4" fmla="*/ 21032 w 28614"/>
                <a:gd name="connsiteY4" fmla="*/ 10732 h 28614"/>
                <a:gd name="connsiteX5" fmla="*/ 21032 w 28614"/>
                <a:gd name="connsiteY5" fmla="*/ 10732 h 28614"/>
                <a:gd name="connsiteX6" fmla="*/ 10731 w 28614"/>
                <a:gd name="connsiteY6" fmla="*/ 21033 h 28614"/>
                <a:gd name="connsiteX7" fmla="*/ 21032 w 28614"/>
                <a:gd name="connsiteY7" fmla="*/ 313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0889" y="31335"/>
                  </a:moveTo>
                  <a:lnTo>
                    <a:pt x="20889" y="31335"/>
                  </a:lnTo>
                  <a:cubicBezTo>
                    <a:pt x="26658" y="31335"/>
                    <a:pt x="31333" y="26659"/>
                    <a:pt x="31333" y="20890"/>
                  </a:cubicBezTo>
                  <a:cubicBezTo>
                    <a:pt x="31333" y="15280"/>
                    <a:pt x="26786" y="10732"/>
                    <a:pt x="21177" y="10731"/>
                  </a:cubicBezTo>
                  <a:cubicBezTo>
                    <a:pt x="21128" y="10731"/>
                    <a:pt x="21081" y="10732"/>
                    <a:pt x="21032" y="10732"/>
                  </a:cubicBezTo>
                  <a:lnTo>
                    <a:pt x="21032" y="10732"/>
                  </a:lnTo>
                  <a:cubicBezTo>
                    <a:pt x="15343" y="10732"/>
                    <a:pt x="10731" y="15345"/>
                    <a:pt x="10731" y="21033"/>
                  </a:cubicBezTo>
                  <a:cubicBezTo>
                    <a:pt x="10731" y="26722"/>
                    <a:pt x="15343" y="31335"/>
                    <a:pt x="21032" y="313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3" name="Freeform: Shape 162">
              <a:extLst>
                <a:ext uri="{FF2B5EF4-FFF2-40B4-BE49-F238E27FC236}">
                  <a16:creationId xmlns:a16="http://schemas.microsoft.com/office/drawing/2014/main" id="{7B287EFA-E5AD-4491-A18C-3F662CE9B20D}"/>
                </a:ext>
              </a:extLst>
            </p:cNvPr>
            <p:cNvSpPr/>
            <p:nvPr/>
          </p:nvSpPr>
          <p:spPr>
            <a:xfrm>
              <a:off x="5457726" y="5961548"/>
              <a:ext cx="42922" cy="42922"/>
            </a:xfrm>
            <a:custGeom>
              <a:avLst/>
              <a:gdLst>
                <a:gd name="connsiteX0" fmla="*/ 22893 w 42922"/>
                <a:gd name="connsiteY0" fmla="*/ 35339 h 42922"/>
                <a:gd name="connsiteX1" fmla="*/ 35339 w 42922"/>
                <a:gd name="connsiteY1" fmla="*/ 23178 h 42922"/>
                <a:gd name="connsiteX2" fmla="*/ 23178 w 42922"/>
                <a:gd name="connsiteY2" fmla="*/ 10731 h 42922"/>
                <a:gd name="connsiteX3" fmla="*/ 10732 w 42922"/>
                <a:gd name="connsiteY3" fmla="*/ 22893 h 42922"/>
                <a:gd name="connsiteX4" fmla="*/ 10732 w 42922"/>
                <a:gd name="connsiteY4" fmla="*/ 23178 h 42922"/>
                <a:gd name="connsiteX5" fmla="*/ 22893 w 42922"/>
                <a:gd name="connsiteY5" fmla="*/ 353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3" y="35339"/>
                  </a:moveTo>
                  <a:cubicBezTo>
                    <a:pt x="29688" y="35418"/>
                    <a:pt x="35260" y="29972"/>
                    <a:pt x="35339" y="23178"/>
                  </a:cubicBezTo>
                  <a:cubicBezTo>
                    <a:pt x="35418" y="16383"/>
                    <a:pt x="29972" y="10810"/>
                    <a:pt x="23178" y="10731"/>
                  </a:cubicBezTo>
                  <a:cubicBezTo>
                    <a:pt x="16383" y="10653"/>
                    <a:pt x="10810" y="16098"/>
                    <a:pt x="10732" y="22893"/>
                  </a:cubicBezTo>
                  <a:cubicBezTo>
                    <a:pt x="10730" y="22987"/>
                    <a:pt x="10730" y="23083"/>
                    <a:pt x="10732" y="23178"/>
                  </a:cubicBezTo>
                  <a:cubicBezTo>
                    <a:pt x="10809" y="29862"/>
                    <a:pt x="16209" y="35262"/>
                    <a:pt x="22893" y="3533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4" name="Freeform: Shape 163">
              <a:extLst>
                <a:ext uri="{FF2B5EF4-FFF2-40B4-BE49-F238E27FC236}">
                  <a16:creationId xmlns:a16="http://schemas.microsoft.com/office/drawing/2014/main" id="{2B3772D5-0E0E-44BC-AA46-7B55590CE624}"/>
                </a:ext>
              </a:extLst>
            </p:cNvPr>
            <p:cNvSpPr/>
            <p:nvPr/>
          </p:nvSpPr>
          <p:spPr>
            <a:xfrm>
              <a:off x="5775210" y="5960832"/>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5" name="Freeform: Shape 164">
              <a:extLst>
                <a:ext uri="{FF2B5EF4-FFF2-40B4-BE49-F238E27FC236}">
                  <a16:creationId xmlns:a16="http://schemas.microsoft.com/office/drawing/2014/main" id="{3322D7BC-F680-4C86-8AF0-97789F2F081A}"/>
                </a:ext>
              </a:extLst>
            </p:cNvPr>
            <p:cNvSpPr/>
            <p:nvPr/>
          </p:nvSpPr>
          <p:spPr>
            <a:xfrm>
              <a:off x="5775210" y="5910899"/>
              <a:ext cx="42922" cy="42922"/>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6" name="Freeform: Shape 165">
              <a:extLst>
                <a:ext uri="{FF2B5EF4-FFF2-40B4-BE49-F238E27FC236}">
                  <a16:creationId xmlns:a16="http://schemas.microsoft.com/office/drawing/2014/main" id="{35D9F13B-0CB9-45A9-8BA2-B668FB03DCC4}"/>
                </a:ext>
              </a:extLst>
            </p:cNvPr>
            <p:cNvSpPr/>
            <p:nvPr/>
          </p:nvSpPr>
          <p:spPr>
            <a:xfrm>
              <a:off x="5775210" y="6010479"/>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7" name="Freeform: Shape 166">
              <a:extLst>
                <a:ext uri="{FF2B5EF4-FFF2-40B4-BE49-F238E27FC236}">
                  <a16:creationId xmlns:a16="http://schemas.microsoft.com/office/drawing/2014/main" id="{9841387D-4A10-441C-B343-61147A84E947}"/>
                </a:ext>
              </a:extLst>
            </p:cNvPr>
            <p:cNvSpPr/>
            <p:nvPr/>
          </p:nvSpPr>
          <p:spPr>
            <a:xfrm>
              <a:off x="5775210" y="5811462"/>
              <a:ext cx="42922" cy="42922"/>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8" name="Freeform: Shape 167">
              <a:extLst>
                <a:ext uri="{FF2B5EF4-FFF2-40B4-BE49-F238E27FC236}">
                  <a16:creationId xmlns:a16="http://schemas.microsoft.com/office/drawing/2014/main" id="{7BCC3A8B-E41A-48DA-B7A2-45128C1C5B34}"/>
                </a:ext>
              </a:extLst>
            </p:cNvPr>
            <p:cNvSpPr/>
            <p:nvPr/>
          </p:nvSpPr>
          <p:spPr>
            <a:xfrm>
              <a:off x="5775210" y="5861252"/>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69" name="Freeform: Shape 168">
              <a:extLst>
                <a:ext uri="{FF2B5EF4-FFF2-40B4-BE49-F238E27FC236}">
                  <a16:creationId xmlns:a16="http://schemas.microsoft.com/office/drawing/2014/main" id="{F8735B59-AE0C-48F6-BB73-6B6682E6B374}"/>
                </a:ext>
              </a:extLst>
            </p:cNvPr>
            <p:cNvSpPr/>
            <p:nvPr/>
          </p:nvSpPr>
          <p:spPr>
            <a:xfrm>
              <a:off x="5614537" y="5959402"/>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0" name="Freeform: Shape 169">
              <a:extLst>
                <a:ext uri="{FF2B5EF4-FFF2-40B4-BE49-F238E27FC236}">
                  <a16:creationId xmlns:a16="http://schemas.microsoft.com/office/drawing/2014/main" id="{74DFF719-A8D7-44D0-8264-954874C270F7}"/>
                </a:ext>
              </a:extLst>
            </p:cNvPr>
            <p:cNvSpPr/>
            <p:nvPr/>
          </p:nvSpPr>
          <p:spPr>
            <a:xfrm>
              <a:off x="5775210" y="6060269"/>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1" name="Freeform: Shape 170">
              <a:extLst>
                <a:ext uri="{FF2B5EF4-FFF2-40B4-BE49-F238E27FC236}">
                  <a16:creationId xmlns:a16="http://schemas.microsoft.com/office/drawing/2014/main" id="{C88B0957-161E-4894-95B9-DFF1DAE7BC86}"/>
                </a:ext>
              </a:extLst>
            </p:cNvPr>
            <p:cNvSpPr/>
            <p:nvPr/>
          </p:nvSpPr>
          <p:spPr>
            <a:xfrm>
              <a:off x="6016434" y="5963551"/>
              <a:ext cx="28615" cy="28615"/>
            </a:xfrm>
            <a:custGeom>
              <a:avLst/>
              <a:gdLst>
                <a:gd name="connsiteX0" fmla="*/ 21175 w 28614"/>
                <a:gd name="connsiteY0" fmla="*/ 31333 h 28614"/>
                <a:gd name="connsiteX1" fmla="*/ 31476 w 28614"/>
                <a:gd name="connsiteY1" fmla="*/ 21032 h 28614"/>
                <a:gd name="connsiteX2" fmla="*/ 21175 w 28614"/>
                <a:gd name="connsiteY2" fmla="*/ 10731 h 28614"/>
                <a:gd name="connsiteX3" fmla="*/ 21175 w 28614"/>
                <a:gd name="connsiteY3" fmla="*/ 10731 h 28614"/>
                <a:gd name="connsiteX4" fmla="*/ 10731 w 28614"/>
                <a:gd name="connsiteY4" fmla="*/ 21175 h 28614"/>
                <a:gd name="connsiteX5" fmla="*/ 20889 w 28614"/>
                <a:gd name="connsiteY5"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1175" y="31333"/>
                  </a:moveTo>
                  <a:cubicBezTo>
                    <a:pt x="26864" y="31333"/>
                    <a:pt x="31476" y="26721"/>
                    <a:pt x="31476" y="21032"/>
                  </a:cubicBezTo>
                  <a:cubicBezTo>
                    <a:pt x="31476" y="15343"/>
                    <a:pt x="26864" y="10731"/>
                    <a:pt x="21175" y="10731"/>
                  </a:cubicBezTo>
                  <a:lnTo>
                    <a:pt x="21175" y="10731"/>
                  </a:lnTo>
                  <a:cubicBezTo>
                    <a:pt x="15406" y="10731"/>
                    <a:pt x="10731" y="15406"/>
                    <a:pt x="10731" y="21175"/>
                  </a:cubicBezTo>
                  <a:cubicBezTo>
                    <a:pt x="10731" y="26785"/>
                    <a:pt x="15279" y="31333"/>
                    <a:pt x="20889" y="3133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2" name="Freeform: Shape 171">
              <a:extLst>
                <a:ext uri="{FF2B5EF4-FFF2-40B4-BE49-F238E27FC236}">
                  <a16:creationId xmlns:a16="http://schemas.microsoft.com/office/drawing/2014/main" id="{14DA6F3F-AC4F-4926-858C-4D5D9BA4E5CE}"/>
                </a:ext>
              </a:extLst>
            </p:cNvPr>
            <p:cNvSpPr/>
            <p:nvPr/>
          </p:nvSpPr>
          <p:spPr>
            <a:xfrm>
              <a:off x="6013467" y="5863865"/>
              <a:ext cx="42922" cy="28615"/>
            </a:xfrm>
            <a:custGeom>
              <a:avLst/>
              <a:gdLst>
                <a:gd name="connsiteX0" fmla="*/ 18133 w 42922"/>
                <a:gd name="connsiteY0" fmla="*/ 30724 h 28614"/>
                <a:gd name="connsiteX1" fmla="*/ 23713 w 42922"/>
                <a:gd name="connsiteY1" fmla="*/ 30724 h 28614"/>
                <a:gd name="connsiteX2" fmla="*/ 33871 w 42922"/>
                <a:gd name="connsiteY2" fmla="*/ 20852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83" y="30652"/>
                    <a:pt x="33644" y="26317"/>
                    <a:pt x="33871" y="20852"/>
                  </a:cubicBezTo>
                  <a:cubicBezTo>
                    <a:pt x="33641" y="15409"/>
                    <a:pt x="29160" y="11118"/>
                    <a:pt x="23713" y="11123"/>
                  </a:cubicBezTo>
                  <a:cubicBezTo>
                    <a:pt x="18301" y="9582"/>
                    <a:pt x="12664" y="12721"/>
                    <a:pt x="11123" y="18133"/>
                  </a:cubicBezTo>
                  <a:cubicBezTo>
                    <a:pt x="9582" y="23546"/>
                    <a:pt x="12721" y="29183"/>
                    <a:pt x="18133" y="3072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3" name="Freeform: Shape 172">
              <a:extLst>
                <a:ext uri="{FF2B5EF4-FFF2-40B4-BE49-F238E27FC236}">
                  <a16:creationId xmlns:a16="http://schemas.microsoft.com/office/drawing/2014/main" id="{4B242536-A6A2-4EDB-B330-3DBA152FD15A}"/>
                </a:ext>
              </a:extLst>
            </p:cNvPr>
            <p:cNvSpPr/>
            <p:nvPr/>
          </p:nvSpPr>
          <p:spPr>
            <a:xfrm>
              <a:off x="6037037" y="6023499"/>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174" name="Freeform: Shape 173">
              <a:extLst>
                <a:ext uri="{FF2B5EF4-FFF2-40B4-BE49-F238E27FC236}">
                  <a16:creationId xmlns:a16="http://schemas.microsoft.com/office/drawing/2014/main" id="{759871FA-004E-46EA-A72D-2BF83AB7C4A6}"/>
                </a:ext>
              </a:extLst>
            </p:cNvPr>
            <p:cNvSpPr/>
            <p:nvPr/>
          </p:nvSpPr>
          <p:spPr>
            <a:xfrm>
              <a:off x="5694659" y="5810461"/>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5" name="Freeform: Shape 174">
              <a:extLst>
                <a:ext uri="{FF2B5EF4-FFF2-40B4-BE49-F238E27FC236}">
                  <a16:creationId xmlns:a16="http://schemas.microsoft.com/office/drawing/2014/main" id="{187DCE27-3DDB-41CC-AB94-1C52A197E3AB}"/>
                </a:ext>
              </a:extLst>
            </p:cNvPr>
            <p:cNvSpPr/>
            <p:nvPr/>
          </p:nvSpPr>
          <p:spPr>
            <a:xfrm>
              <a:off x="6016577" y="6062988"/>
              <a:ext cx="28615" cy="28615"/>
            </a:xfrm>
            <a:custGeom>
              <a:avLst/>
              <a:gdLst>
                <a:gd name="connsiteX0" fmla="*/ 21175 w 28614"/>
                <a:gd name="connsiteY0" fmla="*/ 10731 h 28614"/>
                <a:gd name="connsiteX1" fmla="*/ 21175 w 28614"/>
                <a:gd name="connsiteY1" fmla="*/ 10731 h 28614"/>
                <a:gd name="connsiteX2" fmla="*/ 10731 w 28614"/>
                <a:gd name="connsiteY2" fmla="*/ 21175 h 28614"/>
                <a:gd name="connsiteX3" fmla="*/ 20889 w 28614"/>
                <a:gd name="connsiteY3" fmla="*/ 31333 h 28614"/>
                <a:gd name="connsiteX4" fmla="*/ 20889 w 28614"/>
                <a:gd name="connsiteY4" fmla="*/ 31333 h 28614"/>
                <a:gd name="connsiteX5" fmla="*/ 31190 w 28614"/>
                <a:gd name="connsiteY5" fmla="*/ 21032 h 28614"/>
                <a:gd name="connsiteX6" fmla="*/ 20889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175" y="10731"/>
                  </a:moveTo>
                  <a:lnTo>
                    <a:pt x="21175" y="10731"/>
                  </a:lnTo>
                  <a:cubicBezTo>
                    <a:pt x="15406" y="10731"/>
                    <a:pt x="10731" y="15406"/>
                    <a:pt x="10731" y="21175"/>
                  </a:cubicBezTo>
                  <a:cubicBezTo>
                    <a:pt x="10731" y="26785"/>
                    <a:pt x="15279" y="31333"/>
                    <a:pt x="20889" y="31333"/>
                  </a:cubicBezTo>
                  <a:lnTo>
                    <a:pt x="20889" y="31333"/>
                  </a:lnTo>
                  <a:cubicBezTo>
                    <a:pt x="26578" y="31333"/>
                    <a:pt x="31190" y="26721"/>
                    <a:pt x="31190" y="21032"/>
                  </a:cubicBezTo>
                  <a:cubicBezTo>
                    <a:pt x="31190" y="15343"/>
                    <a:pt x="26578" y="10731"/>
                    <a:pt x="2088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6" name="Freeform: Shape 175">
              <a:extLst>
                <a:ext uri="{FF2B5EF4-FFF2-40B4-BE49-F238E27FC236}">
                  <a16:creationId xmlns:a16="http://schemas.microsoft.com/office/drawing/2014/main" id="{FB874C94-C436-4ABF-87EC-A5D806AC7566}"/>
                </a:ext>
              </a:extLst>
            </p:cNvPr>
            <p:cNvSpPr/>
            <p:nvPr/>
          </p:nvSpPr>
          <p:spPr>
            <a:xfrm>
              <a:off x="5614680" y="5909039"/>
              <a:ext cx="42922" cy="42922"/>
            </a:xfrm>
            <a:custGeom>
              <a:avLst/>
              <a:gdLst>
                <a:gd name="connsiteX0" fmla="*/ 25753 w 42922"/>
                <a:gd name="connsiteY0" fmla="*/ 39346 h 42922"/>
                <a:gd name="connsiteX1" fmla="*/ 40061 w 42922"/>
                <a:gd name="connsiteY1" fmla="*/ 25038 h 42922"/>
                <a:gd name="connsiteX2" fmla="*/ 25753 w 42922"/>
                <a:gd name="connsiteY2" fmla="*/ 10731 h 42922"/>
                <a:gd name="connsiteX3" fmla="*/ 11446 w 42922"/>
                <a:gd name="connsiteY3" fmla="*/ 25038 h 42922"/>
                <a:gd name="connsiteX4" fmla="*/ 10731 w 42922"/>
                <a:gd name="connsiteY4" fmla="*/ 26040 h 42922"/>
                <a:gd name="connsiteX5" fmla="*/ 25753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753" y="39346"/>
                  </a:moveTo>
                  <a:cubicBezTo>
                    <a:pt x="33655" y="39346"/>
                    <a:pt x="40061" y="32940"/>
                    <a:pt x="40061" y="25038"/>
                  </a:cubicBezTo>
                  <a:cubicBezTo>
                    <a:pt x="40061" y="17136"/>
                    <a:pt x="33655" y="10731"/>
                    <a:pt x="25753" y="10731"/>
                  </a:cubicBezTo>
                  <a:cubicBezTo>
                    <a:pt x="17851" y="10731"/>
                    <a:pt x="11446" y="17136"/>
                    <a:pt x="11446" y="25038"/>
                  </a:cubicBezTo>
                  <a:lnTo>
                    <a:pt x="10731" y="26040"/>
                  </a:lnTo>
                  <a:cubicBezTo>
                    <a:pt x="11267" y="33831"/>
                    <a:pt x="17953" y="39755"/>
                    <a:pt x="25753"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7" name="Freeform: Shape 176">
              <a:extLst>
                <a:ext uri="{FF2B5EF4-FFF2-40B4-BE49-F238E27FC236}">
                  <a16:creationId xmlns:a16="http://schemas.microsoft.com/office/drawing/2014/main" id="{218175F6-9FC3-4193-8237-37346BFB66B5}"/>
                </a:ext>
              </a:extLst>
            </p:cNvPr>
            <p:cNvSpPr/>
            <p:nvPr/>
          </p:nvSpPr>
          <p:spPr>
            <a:xfrm>
              <a:off x="5694802" y="5860108"/>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8" name="Freeform: Shape 177">
              <a:extLst>
                <a:ext uri="{FF2B5EF4-FFF2-40B4-BE49-F238E27FC236}">
                  <a16:creationId xmlns:a16="http://schemas.microsoft.com/office/drawing/2014/main" id="{CD14AE94-6C3F-4A9E-BFF4-D24D75933ABE}"/>
                </a:ext>
              </a:extLst>
            </p:cNvPr>
            <p:cNvSpPr/>
            <p:nvPr/>
          </p:nvSpPr>
          <p:spPr>
            <a:xfrm>
              <a:off x="6013467" y="6012949"/>
              <a:ext cx="42922" cy="28615"/>
            </a:xfrm>
            <a:custGeom>
              <a:avLst/>
              <a:gdLst>
                <a:gd name="connsiteX0" fmla="*/ 18133 w 42922"/>
                <a:gd name="connsiteY0" fmla="*/ 30724 h 28614"/>
                <a:gd name="connsiteX1" fmla="*/ 23713 w 42922"/>
                <a:gd name="connsiteY1" fmla="*/ 30724 h 28614"/>
                <a:gd name="connsiteX2" fmla="*/ 33871 w 42922"/>
                <a:gd name="connsiteY2" fmla="*/ 20995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60" y="30728"/>
                    <a:pt x="33641" y="26437"/>
                    <a:pt x="33871" y="20995"/>
                  </a:cubicBezTo>
                  <a:cubicBezTo>
                    <a:pt x="33644" y="15529"/>
                    <a:pt x="29183" y="11194"/>
                    <a:pt x="23713" y="11123"/>
                  </a:cubicBezTo>
                  <a:cubicBezTo>
                    <a:pt x="18301" y="9582"/>
                    <a:pt x="12664" y="12721"/>
                    <a:pt x="11123" y="18133"/>
                  </a:cubicBezTo>
                  <a:cubicBezTo>
                    <a:pt x="9582" y="23546"/>
                    <a:pt x="12721" y="29183"/>
                    <a:pt x="18133" y="3072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79" name="Freeform: Shape 178">
              <a:extLst>
                <a:ext uri="{FF2B5EF4-FFF2-40B4-BE49-F238E27FC236}">
                  <a16:creationId xmlns:a16="http://schemas.microsoft.com/office/drawing/2014/main" id="{03556E3C-0194-4AD7-8A69-7B7870CF32C3}"/>
                </a:ext>
              </a:extLst>
            </p:cNvPr>
            <p:cNvSpPr/>
            <p:nvPr/>
          </p:nvSpPr>
          <p:spPr>
            <a:xfrm>
              <a:off x="6016434" y="5913900"/>
              <a:ext cx="28615" cy="28615"/>
            </a:xfrm>
            <a:custGeom>
              <a:avLst/>
              <a:gdLst>
                <a:gd name="connsiteX0" fmla="*/ 21175 w 28614"/>
                <a:gd name="connsiteY0" fmla="*/ 10735 h 28614"/>
                <a:gd name="connsiteX1" fmla="*/ 10733 w 28614"/>
                <a:gd name="connsiteY1" fmla="*/ 20603 h 28614"/>
                <a:gd name="connsiteX2" fmla="*/ 10731 w 28614"/>
                <a:gd name="connsiteY2" fmla="*/ 20750 h 28614"/>
                <a:gd name="connsiteX3" fmla="*/ 10731 w 28614"/>
                <a:gd name="connsiteY3" fmla="*/ 20750 h 28614"/>
                <a:gd name="connsiteX4" fmla="*/ 21175 w 28614"/>
                <a:gd name="connsiteY4" fmla="*/ 31194 h 28614"/>
                <a:gd name="connsiteX5" fmla="*/ 31333 w 28614"/>
                <a:gd name="connsiteY5" fmla="*/ 21036 h 28614"/>
                <a:gd name="connsiteX6" fmla="*/ 31333 w 28614"/>
                <a:gd name="connsiteY6" fmla="*/ 21036 h 28614"/>
                <a:gd name="connsiteX7" fmla="*/ 21320 w 28614"/>
                <a:gd name="connsiteY7" fmla="*/ 10736 h 28614"/>
                <a:gd name="connsiteX8" fmla="*/ 21175 w 28614"/>
                <a:gd name="connsiteY8"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175" y="10735"/>
                  </a:moveTo>
                  <a:cubicBezTo>
                    <a:pt x="15567" y="10576"/>
                    <a:pt x="10892" y="14994"/>
                    <a:pt x="10733" y="20603"/>
                  </a:cubicBezTo>
                  <a:cubicBezTo>
                    <a:pt x="10732" y="20651"/>
                    <a:pt x="10731" y="20701"/>
                    <a:pt x="10731" y="20750"/>
                  </a:cubicBezTo>
                  <a:lnTo>
                    <a:pt x="10731" y="20750"/>
                  </a:lnTo>
                  <a:cubicBezTo>
                    <a:pt x="10731" y="26519"/>
                    <a:pt x="15406" y="31194"/>
                    <a:pt x="21175" y="31194"/>
                  </a:cubicBezTo>
                  <a:cubicBezTo>
                    <a:pt x="26785" y="31194"/>
                    <a:pt x="31333" y="26646"/>
                    <a:pt x="31333" y="21036"/>
                  </a:cubicBezTo>
                  <a:lnTo>
                    <a:pt x="31333" y="21036"/>
                  </a:lnTo>
                  <a:cubicBezTo>
                    <a:pt x="31412" y="15426"/>
                    <a:pt x="26929" y="10815"/>
                    <a:pt x="21320" y="10736"/>
                  </a:cubicBezTo>
                  <a:cubicBezTo>
                    <a:pt x="21271" y="10735"/>
                    <a:pt x="21224" y="10735"/>
                    <a:pt x="21175" y="107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0" name="Freeform: Shape 179">
              <a:extLst>
                <a:ext uri="{FF2B5EF4-FFF2-40B4-BE49-F238E27FC236}">
                  <a16:creationId xmlns:a16="http://schemas.microsoft.com/office/drawing/2014/main" id="{BE9D914A-8257-4F1A-B7AD-0F33C050FB94}"/>
                </a:ext>
              </a:extLst>
            </p:cNvPr>
            <p:cNvSpPr/>
            <p:nvPr/>
          </p:nvSpPr>
          <p:spPr>
            <a:xfrm>
              <a:off x="5935740" y="5962403"/>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1" name="Freeform: Shape 180">
              <a:extLst>
                <a:ext uri="{FF2B5EF4-FFF2-40B4-BE49-F238E27FC236}">
                  <a16:creationId xmlns:a16="http://schemas.microsoft.com/office/drawing/2014/main" id="{A5BB15B3-2AF9-4C32-AF1B-E6C031D5986F}"/>
                </a:ext>
              </a:extLst>
            </p:cNvPr>
            <p:cNvSpPr/>
            <p:nvPr/>
          </p:nvSpPr>
          <p:spPr>
            <a:xfrm>
              <a:off x="5855761" y="5862254"/>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2" name="Freeform: Shape 181">
              <a:extLst>
                <a:ext uri="{FF2B5EF4-FFF2-40B4-BE49-F238E27FC236}">
                  <a16:creationId xmlns:a16="http://schemas.microsoft.com/office/drawing/2014/main" id="{88C02D1D-7141-473D-99F8-6C950F5173DD}"/>
                </a:ext>
              </a:extLst>
            </p:cNvPr>
            <p:cNvSpPr/>
            <p:nvPr/>
          </p:nvSpPr>
          <p:spPr>
            <a:xfrm>
              <a:off x="5854903" y="5811605"/>
              <a:ext cx="42922" cy="42922"/>
            </a:xfrm>
            <a:custGeom>
              <a:avLst/>
              <a:gdLst>
                <a:gd name="connsiteX0" fmla="*/ 24609 w 42922"/>
                <a:gd name="connsiteY0" fmla="*/ 10731 h 42922"/>
                <a:gd name="connsiteX1" fmla="*/ 22892 w 42922"/>
                <a:gd name="connsiteY1" fmla="*/ 10731 h 42922"/>
                <a:gd name="connsiteX2" fmla="*/ 10731 w 42922"/>
                <a:gd name="connsiteY2" fmla="*/ 22892 h 42922"/>
                <a:gd name="connsiteX3" fmla="*/ 22892 w 42922"/>
                <a:gd name="connsiteY3" fmla="*/ 35053 h 42922"/>
                <a:gd name="connsiteX4" fmla="*/ 35045 w 42922"/>
                <a:gd name="connsiteY4" fmla="*/ 23758 h 42922"/>
                <a:gd name="connsiteX5" fmla="*/ 35053 w 42922"/>
                <a:gd name="connsiteY5" fmla="*/ 23321 h 42922"/>
                <a:gd name="connsiteX6" fmla="*/ 35053 w 42922"/>
                <a:gd name="connsiteY6" fmla="*/ 23321 h 42922"/>
                <a:gd name="connsiteX7" fmla="*/ 35912 w 42922"/>
                <a:gd name="connsiteY7" fmla="*/ 24180 h 42922"/>
                <a:gd name="connsiteX8" fmla="*/ 25135 w 42922"/>
                <a:gd name="connsiteY8" fmla="*/ 10776 h 42922"/>
                <a:gd name="connsiteX9" fmla="*/ 24609 w 42922"/>
                <a:gd name="connsiteY9"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4609" y="10731"/>
                  </a:moveTo>
                  <a:lnTo>
                    <a:pt x="22892" y="10731"/>
                  </a:lnTo>
                  <a:cubicBezTo>
                    <a:pt x="16176" y="10731"/>
                    <a:pt x="10731" y="16176"/>
                    <a:pt x="10731" y="22892"/>
                  </a:cubicBezTo>
                  <a:cubicBezTo>
                    <a:pt x="10731" y="29608"/>
                    <a:pt x="16176" y="35053"/>
                    <a:pt x="22892" y="35053"/>
                  </a:cubicBezTo>
                  <a:cubicBezTo>
                    <a:pt x="29367" y="35291"/>
                    <a:pt x="34809" y="30233"/>
                    <a:pt x="35045" y="23758"/>
                  </a:cubicBezTo>
                  <a:cubicBezTo>
                    <a:pt x="35050" y="23613"/>
                    <a:pt x="35053" y="23467"/>
                    <a:pt x="35053" y="23321"/>
                  </a:cubicBezTo>
                  <a:lnTo>
                    <a:pt x="35053" y="23321"/>
                  </a:lnTo>
                  <a:lnTo>
                    <a:pt x="35912" y="24180"/>
                  </a:lnTo>
                  <a:cubicBezTo>
                    <a:pt x="36637" y="17502"/>
                    <a:pt x="31813" y="11502"/>
                    <a:pt x="25135" y="10776"/>
                  </a:cubicBezTo>
                  <a:cubicBezTo>
                    <a:pt x="24959" y="10758"/>
                    <a:pt x="24785" y="10742"/>
                    <a:pt x="2460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3" name="Freeform: Shape 182">
              <a:extLst>
                <a:ext uri="{FF2B5EF4-FFF2-40B4-BE49-F238E27FC236}">
                  <a16:creationId xmlns:a16="http://schemas.microsoft.com/office/drawing/2014/main" id="{ADEE2A85-5BC6-409B-82C3-F1B1EA392F43}"/>
                </a:ext>
              </a:extLst>
            </p:cNvPr>
            <p:cNvSpPr/>
            <p:nvPr/>
          </p:nvSpPr>
          <p:spPr>
            <a:xfrm>
              <a:off x="5935928" y="5914237"/>
              <a:ext cx="42922" cy="42922"/>
            </a:xfrm>
            <a:custGeom>
              <a:avLst/>
              <a:gdLst>
                <a:gd name="connsiteX0" fmla="*/ 20558 w 42922"/>
                <a:gd name="connsiteY0" fmla="*/ 10827 h 42922"/>
                <a:gd name="connsiteX1" fmla="*/ 10829 w 42922"/>
                <a:gd name="connsiteY1" fmla="*/ 20556 h 42922"/>
                <a:gd name="connsiteX2" fmla="*/ 20558 w 42922"/>
                <a:gd name="connsiteY2" fmla="*/ 33240 h 42922"/>
                <a:gd name="connsiteX3" fmla="*/ 33241 w 42922"/>
                <a:gd name="connsiteY3" fmla="*/ 23511 h 42922"/>
                <a:gd name="connsiteX4" fmla="*/ 23512 w 42922"/>
                <a:gd name="connsiteY4" fmla="*/ 10827 h 42922"/>
                <a:gd name="connsiteX5" fmla="*/ 20558 w 42922"/>
                <a:gd name="connsiteY5" fmla="*/ 1082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58" y="10827"/>
                  </a:moveTo>
                  <a:cubicBezTo>
                    <a:pt x="15463" y="11448"/>
                    <a:pt x="11450" y="15461"/>
                    <a:pt x="10829" y="20556"/>
                  </a:cubicBezTo>
                  <a:cubicBezTo>
                    <a:pt x="10013" y="26746"/>
                    <a:pt x="14368" y="32423"/>
                    <a:pt x="20558" y="33240"/>
                  </a:cubicBezTo>
                  <a:cubicBezTo>
                    <a:pt x="26747" y="34055"/>
                    <a:pt x="32424" y="29699"/>
                    <a:pt x="33241" y="23511"/>
                  </a:cubicBezTo>
                  <a:cubicBezTo>
                    <a:pt x="34057" y="17321"/>
                    <a:pt x="29700" y="11643"/>
                    <a:pt x="23512" y="10827"/>
                  </a:cubicBezTo>
                  <a:cubicBezTo>
                    <a:pt x="22531" y="10698"/>
                    <a:pt x="21538" y="10698"/>
                    <a:pt x="20558" y="1082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4" name="Freeform: Shape 183">
              <a:extLst>
                <a:ext uri="{FF2B5EF4-FFF2-40B4-BE49-F238E27FC236}">
                  <a16:creationId xmlns:a16="http://schemas.microsoft.com/office/drawing/2014/main" id="{8C3A7547-1A04-42D1-A99F-18502735A31C}"/>
                </a:ext>
              </a:extLst>
            </p:cNvPr>
            <p:cNvSpPr/>
            <p:nvPr/>
          </p:nvSpPr>
          <p:spPr>
            <a:xfrm>
              <a:off x="5935946" y="6013671"/>
              <a:ext cx="42922" cy="42922"/>
            </a:xfrm>
            <a:custGeom>
              <a:avLst/>
              <a:gdLst>
                <a:gd name="connsiteX0" fmla="*/ 20540 w 42922"/>
                <a:gd name="connsiteY0" fmla="*/ 10829 h 42922"/>
                <a:gd name="connsiteX1" fmla="*/ 10810 w 42922"/>
                <a:gd name="connsiteY1" fmla="*/ 20702 h 42922"/>
                <a:gd name="connsiteX2" fmla="*/ 20703 w 42922"/>
                <a:gd name="connsiteY2" fmla="*/ 33258 h 42922"/>
                <a:gd name="connsiteX3" fmla="*/ 33259 w 42922"/>
                <a:gd name="connsiteY3" fmla="*/ 23364 h 42922"/>
                <a:gd name="connsiteX4" fmla="*/ 23367 w 42922"/>
                <a:gd name="connsiteY4" fmla="*/ 10809 h 42922"/>
                <a:gd name="connsiteX5" fmla="*/ 20540 w 42922"/>
                <a:gd name="connsiteY5" fmla="*/ 1082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40" y="10829"/>
                  </a:moveTo>
                  <a:cubicBezTo>
                    <a:pt x="15446" y="11559"/>
                    <a:pt x="11466" y="15598"/>
                    <a:pt x="10810" y="20702"/>
                  </a:cubicBezTo>
                  <a:cubicBezTo>
                    <a:pt x="10075" y="26901"/>
                    <a:pt x="14505" y="32522"/>
                    <a:pt x="20703" y="33258"/>
                  </a:cubicBezTo>
                  <a:cubicBezTo>
                    <a:pt x="26902" y="33993"/>
                    <a:pt x="32523" y="29564"/>
                    <a:pt x="33259" y="23364"/>
                  </a:cubicBezTo>
                  <a:cubicBezTo>
                    <a:pt x="33994" y="17166"/>
                    <a:pt x="29565" y="11545"/>
                    <a:pt x="23367" y="10809"/>
                  </a:cubicBezTo>
                  <a:cubicBezTo>
                    <a:pt x="22427" y="10698"/>
                    <a:pt x="21477" y="10705"/>
                    <a:pt x="20540" y="1082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5" name="Freeform: Shape 184">
              <a:extLst>
                <a:ext uri="{FF2B5EF4-FFF2-40B4-BE49-F238E27FC236}">
                  <a16:creationId xmlns:a16="http://schemas.microsoft.com/office/drawing/2014/main" id="{4CA99C4C-4EB5-4678-9A75-16CD191D1A9E}"/>
                </a:ext>
              </a:extLst>
            </p:cNvPr>
            <p:cNvSpPr/>
            <p:nvPr/>
          </p:nvSpPr>
          <p:spPr>
            <a:xfrm>
              <a:off x="5935130" y="5813950"/>
              <a:ext cx="42922" cy="28615"/>
            </a:xfrm>
            <a:custGeom>
              <a:avLst/>
              <a:gdLst>
                <a:gd name="connsiteX0" fmla="*/ 23645 w 42922"/>
                <a:gd name="connsiteY0" fmla="*/ 30419 h 28614"/>
                <a:gd name="connsiteX1" fmla="*/ 33374 w 42922"/>
                <a:gd name="connsiteY1" fmla="*/ 20547 h 28614"/>
                <a:gd name="connsiteX2" fmla="*/ 20640 w 42922"/>
                <a:gd name="connsiteY2" fmla="*/ 10818 h 28614"/>
                <a:gd name="connsiteX3" fmla="*/ 10731 w 42922"/>
                <a:gd name="connsiteY3" fmla="*/ 20939 h 28614"/>
                <a:gd name="connsiteX4" fmla="*/ 20852 w 42922"/>
                <a:gd name="connsiteY4" fmla="*/ 30847 h 28614"/>
                <a:gd name="connsiteX5" fmla="*/ 23645 w 42922"/>
                <a:gd name="connsiteY5" fmla="*/ 3041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645" y="30419"/>
                  </a:moveTo>
                  <a:cubicBezTo>
                    <a:pt x="28716" y="29644"/>
                    <a:pt x="32673" y="25628"/>
                    <a:pt x="33374" y="20547"/>
                  </a:cubicBezTo>
                  <a:cubicBezTo>
                    <a:pt x="32487" y="14378"/>
                    <a:pt x="26826" y="10054"/>
                    <a:pt x="20640" y="10818"/>
                  </a:cubicBezTo>
                  <a:cubicBezTo>
                    <a:pt x="15109" y="10877"/>
                    <a:pt x="10674" y="15408"/>
                    <a:pt x="10731" y="20939"/>
                  </a:cubicBezTo>
                  <a:cubicBezTo>
                    <a:pt x="10790" y="26469"/>
                    <a:pt x="15321" y="30906"/>
                    <a:pt x="20852" y="30847"/>
                  </a:cubicBezTo>
                  <a:cubicBezTo>
                    <a:pt x="21799" y="30837"/>
                    <a:pt x="22739" y="30693"/>
                    <a:pt x="23645" y="3041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6" name="Freeform: Shape 185">
              <a:extLst>
                <a:ext uri="{FF2B5EF4-FFF2-40B4-BE49-F238E27FC236}">
                  <a16:creationId xmlns:a16="http://schemas.microsoft.com/office/drawing/2014/main" id="{FD3A41E2-9097-468A-B797-3E6F866E4F1F}"/>
                </a:ext>
              </a:extLst>
            </p:cNvPr>
            <p:cNvSpPr/>
            <p:nvPr/>
          </p:nvSpPr>
          <p:spPr>
            <a:xfrm>
              <a:off x="5935740" y="6061840"/>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7" name="Freeform: Shape 186">
              <a:extLst>
                <a:ext uri="{FF2B5EF4-FFF2-40B4-BE49-F238E27FC236}">
                  <a16:creationId xmlns:a16="http://schemas.microsoft.com/office/drawing/2014/main" id="{C309D20F-55FF-48E2-852E-887A2B56FF7B}"/>
                </a:ext>
              </a:extLst>
            </p:cNvPr>
            <p:cNvSpPr/>
            <p:nvPr/>
          </p:nvSpPr>
          <p:spPr>
            <a:xfrm>
              <a:off x="5855476" y="6011337"/>
              <a:ext cx="42922" cy="42922"/>
            </a:xfrm>
            <a:custGeom>
              <a:avLst/>
              <a:gdLst>
                <a:gd name="connsiteX0" fmla="*/ 23178 w 42922"/>
                <a:gd name="connsiteY0" fmla="*/ 10731 h 42922"/>
                <a:gd name="connsiteX1" fmla="*/ 10731 w 42922"/>
                <a:gd name="connsiteY1" fmla="*/ 22891 h 42922"/>
                <a:gd name="connsiteX2" fmla="*/ 22891 w 42922"/>
                <a:gd name="connsiteY2" fmla="*/ 35339 h 42922"/>
                <a:gd name="connsiteX3" fmla="*/ 35337 w 42922"/>
                <a:gd name="connsiteY3" fmla="*/ 23178 h 42922"/>
                <a:gd name="connsiteX4" fmla="*/ 35339 w 42922"/>
                <a:gd name="connsiteY4" fmla="*/ 23036 h 42922"/>
                <a:gd name="connsiteX5" fmla="*/ 2317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178" y="10731"/>
                  </a:moveTo>
                  <a:cubicBezTo>
                    <a:pt x="16383" y="10653"/>
                    <a:pt x="10810" y="16097"/>
                    <a:pt x="10731" y="22891"/>
                  </a:cubicBezTo>
                  <a:cubicBezTo>
                    <a:pt x="10651" y="29687"/>
                    <a:pt x="16097" y="35260"/>
                    <a:pt x="22891" y="35339"/>
                  </a:cubicBezTo>
                  <a:cubicBezTo>
                    <a:pt x="29686" y="35418"/>
                    <a:pt x="35259" y="29974"/>
                    <a:pt x="35337" y="23178"/>
                  </a:cubicBezTo>
                  <a:cubicBezTo>
                    <a:pt x="35339" y="23130"/>
                    <a:pt x="35339" y="23083"/>
                    <a:pt x="35339" y="23036"/>
                  </a:cubicBezTo>
                  <a:cubicBezTo>
                    <a:pt x="35339" y="16296"/>
                    <a:pt x="29918" y="10810"/>
                    <a:pt x="2317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8" name="Freeform: Shape 187">
              <a:extLst>
                <a:ext uri="{FF2B5EF4-FFF2-40B4-BE49-F238E27FC236}">
                  <a16:creationId xmlns:a16="http://schemas.microsoft.com/office/drawing/2014/main" id="{5CDB3A49-7D62-4744-B156-9C67B6C18083}"/>
                </a:ext>
              </a:extLst>
            </p:cNvPr>
            <p:cNvSpPr/>
            <p:nvPr/>
          </p:nvSpPr>
          <p:spPr>
            <a:xfrm>
              <a:off x="5935739" y="5862823"/>
              <a:ext cx="42922" cy="42922"/>
            </a:xfrm>
            <a:custGeom>
              <a:avLst/>
              <a:gdLst>
                <a:gd name="connsiteX0" fmla="*/ 22321 w 42922"/>
                <a:gd name="connsiteY0" fmla="*/ 10734 h 42922"/>
                <a:gd name="connsiteX1" fmla="*/ 10734 w 42922"/>
                <a:gd name="connsiteY1" fmla="*/ 21747 h 42922"/>
                <a:gd name="connsiteX2" fmla="*/ 10732 w 42922"/>
                <a:gd name="connsiteY2" fmla="*/ 21894 h 42922"/>
                <a:gd name="connsiteX3" fmla="*/ 22033 w 42922"/>
                <a:gd name="connsiteY3" fmla="*/ 33483 h 42922"/>
                <a:gd name="connsiteX4" fmla="*/ 22034 w 42922"/>
                <a:gd name="connsiteY4" fmla="*/ 33483 h 42922"/>
                <a:gd name="connsiteX5" fmla="*/ 22034 w 42922"/>
                <a:gd name="connsiteY5" fmla="*/ 33483 h 42922"/>
                <a:gd name="connsiteX6" fmla="*/ 33336 w 42922"/>
                <a:gd name="connsiteY6" fmla="*/ 22468 h 42922"/>
                <a:gd name="connsiteX7" fmla="*/ 33337 w 42922"/>
                <a:gd name="connsiteY7" fmla="*/ 22323 h 42922"/>
                <a:gd name="connsiteX8" fmla="*/ 22328 w 42922"/>
                <a:gd name="connsiteY8" fmla="*/ 10734 h 42922"/>
                <a:gd name="connsiteX9" fmla="*/ 22321 w 42922"/>
                <a:gd name="connsiteY9"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2321" y="10734"/>
                  </a:moveTo>
                  <a:cubicBezTo>
                    <a:pt x="16080" y="10576"/>
                    <a:pt x="10893" y="15506"/>
                    <a:pt x="10734" y="21747"/>
                  </a:cubicBezTo>
                  <a:cubicBezTo>
                    <a:pt x="10733" y="21795"/>
                    <a:pt x="10732" y="21846"/>
                    <a:pt x="10732" y="21894"/>
                  </a:cubicBezTo>
                  <a:cubicBezTo>
                    <a:pt x="10651" y="28215"/>
                    <a:pt x="15712" y="33403"/>
                    <a:pt x="22033" y="33483"/>
                  </a:cubicBezTo>
                  <a:cubicBezTo>
                    <a:pt x="22033" y="33483"/>
                    <a:pt x="22034" y="33483"/>
                    <a:pt x="22034" y="33483"/>
                  </a:cubicBezTo>
                  <a:lnTo>
                    <a:pt x="22034" y="33483"/>
                  </a:lnTo>
                  <a:cubicBezTo>
                    <a:pt x="28197" y="33562"/>
                    <a:pt x="33257" y="28630"/>
                    <a:pt x="33336" y="22468"/>
                  </a:cubicBezTo>
                  <a:cubicBezTo>
                    <a:pt x="33337" y="22419"/>
                    <a:pt x="33337" y="22372"/>
                    <a:pt x="33337" y="22323"/>
                  </a:cubicBezTo>
                  <a:cubicBezTo>
                    <a:pt x="33498" y="16082"/>
                    <a:pt x="28569" y="10895"/>
                    <a:pt x="22328" y="10734"/>
                  </a:cubicBezTo>
                  <a:cubicBezTo>
                    <a:pt x="22325" y="10734"/>
                    <a:pt x="22323" y="10734"/>
                    <a:pt x="22321"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89" name="Freeform: Shape 188">
              <a:extLst>
                <a:ext uri="{FF2B5EF4-FFF2-40B4-BE49-F238E27FC236}">
                  <a16:creationId xmlns:a16="http://schemas.microsoft.com/office/drawing/2014/main" id="{D8DAE656-2E28-4FCB-BEE1-18C5B3681D99}"/>
                </a:ext>
              </a:extLst>
            </p:cNvPr>
            <p:cNvSpPr/>
            <p:nvPr/>
          </p:nvSpPr>
          <p:spPr>
            <a:xfrm>
              <a:off x="5614951" y="5811605"/>
              <a:ext cx="42922" cy="42922"/>
            </a:xfrm>
            <a:custGeom>
              <a:avLst/>
              <a:gdLst>
                <a:gd name="connsiteX0" fmla="*/ 23480 w 42922"/>
                <a:gd name="connsiteY0" fmla="*/ 38916 h 42922"/>
                <a:gd name="connsiteX1" fmla="*/ 38645 w 42922"/>
                <a:gd name="connsiteY1" fmla="*/ 26040 h 42922"/>
                <a:gd name="connsiteX2" fmla="*/ 25769 w 42922"/>
                <a:gd name="connsiteY2" fmla="*/ 10731 h 42922"/>
                <a:gd name="connsiteX3" fmla="*/ 25769 w 42922"/>
                <a:gd name="connsiteY3" fmla="*/ 10731 h 42922"/>
                <a:gd name="connsiteX4" fmla="*/ 11461 w 42922"/>
                <a:gd name="connsiteY4" fmla="*/ 25038 h 42922"/>
                <a:gd name="connsiteX5" fmla="*/ 10746 w 42922"/>
                <a:gd name="connsiteY5" fmla="*/ 24037 h 42922"/>
                <a:gd name="connsiteX6" fmla="*/ 23480 w 42922"/>
                <a:gd name="connsiteY6" fmla="*/ 3891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3480" y="38916"/>
                  </a:moveTo>
                  <a:cubicBezTo>
                    <a:pt x="31180" y="39417"/>
                    <a:pt x="37890" y="33720"/>
                    <a:pt x="38645" y="26040"/>
                  </a:cubicBezTo>
                  <a:cubicBezTo>
                    <a:pt x="39226" y="18285"/>
                    <a:pt x="33508" y="11486"/>
                    <a:pt x="25769" y="10731"/>
                  </a:cubicBezTo>
                  <a:lnTo>
                    <a:pt x="25769" y="10731"/>
                  </a:lnTo>
                  <a:cubicBezTo>
                    <a:pt x="17867" y="10731"/>
                    <a:pt x="11461" y="17136"/>
                    <a:pt x="11461" y="25038"/>
                  </a:cubicBezTo>
                  <a:lnTo>
                    <a:pt x="10746" y="24037"/>
                  </a:lnTo>
                  <a:cubicBezTo>
                    <a:pt x="10400" y="31580"/>
                    <a:pt x="15974" y="38094"/>
                    <a:pt x="23480" y="3891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0" name="Freeform: Shape 189">
              <a:extLst>
                <a:ext uri="{FF2B5EF4-FFF2-40B4-BE49-F238E27FC236}">
                  <a16:creationId xmlns:a16="http://schemas.microsoft.com/office/drawing/2014/main" id="{B4251F72-ACF6-4259-ACB5-B875BEAA7CC3}"/>
                </a:ext>
              </a:extLst>
            </p:cNvPr>
            <p:cNvSpPr/>
            <p:nvPr/>
          </p:nvSpPr>
          <p:spPr>
            <a:xfrm>
              <a:off x="5855761" y="5911901"/>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3321 h 42922"/>
                <a:gd name="connsiteX4" fmla="*/ 35053 w 42922"/>
                <a:gd name="connsiteY4" fmla="*/ 23321 h 42922"/>
                <a:gd name="connsiteX5" fmla="*/ 23328 w 42922"/>
                <a:gd name="connsiteY5" fmla="*/ 10738 h 42922"/>
                <a:gd name="connsiteX6" fmla="*/ 22892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1"/>
                  </a:moveTo>
                  <a:cubicBezTo>
                    <a:pt x="16176" y="10731"/>
                    <a:pt x="10731" y="16176"/>
                    <a:pt x="10731" y="22892"/>
                  </a:cubicBezTo>
                  <a:cubicBezTo>
                    <a:pt x="10731" y="29608"/>
                    <a:pt x="16176" y="35053"/>
                    <a:pt x="22892" y="35053"/>
                  </a:cubicBezTo>
                  <a:cubicBezTo>
                    <a:pt x="29475" y="35133"/>
                    <a:pt x="34897" y="29903"/>
                    <a:pt x="35053" y="23321"/>
                  </a:cubicBezTo>
                  <a:lnTo>
                    <a:pt x="35053" y="23321"/>
                  </a:lnTo>
                  <a:cubicBezTo>
                    <a:pt x="35291" y="16610"/>
                    <a:pt x="30041" y="10975"/>
                    <a:pt x="23328" y="10738"/>
                  </a:cubicBezTo>
                  <a:cubicBezTo>
                    <a:pt x="23184" y="10733"/>
                    <a:pt x="2303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1" name="Freeform: Shape 190">
              <a:extLst>
                <a:ext uri="{FF2B5EF4-FFF2-40B4-BE49-F238E27FC236}">
                  <a16:creationId xmlns:a16="http://schemas.microsoft.com/office/drawing/2014/main" id="{91BD77B4-CEA4-4D11-AA85-CE0A5CBF8CCB}"/>
                </a:ext>
              </a:extLst>
            </p:cNvPr>
            <p:cNvSpPr/>
            <p:nvPr/>
          </p:nvSpPr>
          <p:spPr>
            <a:xfrm>
              <a:off x="5856190" y="6061270"/>
              <a:ext cx="42922" cy="42922"/>
            </a:xfrm>
            <a:custGeom>
              <a:avLst/>
              <a:gdLst>
                <a:gd name="connsiteX0" fmla="*/ 22892 w 42922"/>
                <a:gd name="connsiteY0" fmla="*/ 10732 h 42922"/>
                <a:gd name="connsiteX1" fmla="*/ 22892 w 42922"/>
                <a:gd name="connsiteY1" fmla="*/ 10732 h 42922"/>
                <a:gd name="connsiteX2" fmla="*/ 10731 w 42922"/>
                <a:gd name="connsiteY2" fmla="*/ 22893 h 42922"/>
                <a:gd name="connsiteX3" fmla="*/ 22892 w 42922"/>
                <a:gd name="connsiteY3" fmla="*/ 35054 h 42922"/>
                <a:gd name="connsiteX4" fmla="*/ 35053 w 42922"/>
                <a:gd name="connsiteY4" fmla="*/ 22893 h 42922"/>
                <a:gd name="connsiteX5" fmla="*/ 23180 w 42922"/>
                <a:gd name="connsiteY5" fmla="*/ 10732 h 42922"/>
                <a:gd name="connsiteX6" fmla="*/ 22892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2"/>
                  </a:moveTo>
                  <a:lnTo>
                    <a:pt x="22892" y="10732"/>
                  </a:lnTo>
                  <a:cubicBezTo>
                    <a:pt x="16176" y="10732"/>
                    <a:pt x="10731" y="16177"/>
                    <a:pt x="10731" y="22893"/>
                  </a:cubicBezTo>
                  <a:cubicBezTo>
                    <a:pt x="10731" y="29609"/>
                    <a:pt x="16176" y="35054"/>
                    <a:pt x="22892" y="35054"/>
                  </a:cubicBezTo>
                  <a:cubicBezTo>
                    <a:pt x="29608" y="35054"/>
                    <a:pt x="35053" y="29609"/>
                    <a:pt x="35053" y="22893"/>
                  </a:cubicBezTo>
                  <a:cubicBezTo>
                    <a:pt x="35132" y="16256"/>
                    <a:pt x="29817" y="10812"/>
                    <a:pt x="23180" y="10732"/>
                  </a:cubicBezTo>
                  <a:cubicBezTo>
                    <a:pt x="23084" y="10730"/>
                    <a:pt x="22988" y="10730"/>
                    <a:pt x="2289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2" name="Freeform: Shape 191">
              <a:extLst>
                <a:ext uri="{FF2B5EF4-FFF2-40B4-BE49-F238E27FC236}">
                  <a16:creationId xmlns:a16="http://schemas.microsoft.com/office/drawing/2014/main" id="{38AE25BB-27B9-453D-A957-BFF49A223A14}"/>
                </a:ext>
              </a:extLst>
            </p:cNvPr>
            <p:cNvSpPr/>
            <p:nvPr/>
          </p:nvSpPr>
          <p:spPr>
            <a:xfrm>
              <a:off x="5614537" y="5859965"/>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3" name="Freeform: Shape 192">
              <a:extLst>
                <a:ext uri="{FF2B5EF4-FFF2-40B4-BE49-F238E27FC236}">
                  <a16:creationId xmlns:a16="http://schemas.microsoft.com/office/drawing/2014/main" id="{F3E78154-5EAB-4195-9172-9A1CBD840A3B}"/>
                </a:ext>
              </a:extLst>
            </p:cNvPr>
            <p:cNvSpPr/>
            <p:nvPr/>
          </p:nvSpPr>
          <p:spPr>
            <a:xfrm>
              <a:off x="5855476" y="5961690"/>
              <a:ext cx="42922" cy="42922"/>
            </a:xfrm>
            <a:custGeom>
              <a:avLst/>
              <a:gdLst>
                <a:gd name="connsiteX0" fmla="*/ 23178 w 42922"/>
                <a:gd name="connsiteY0" fmla="*/ 10731 h 42922"/>
                <a:gd name="connsiteX1" fmla="*/ 10731 w 42922"/>
                <a:gd name="connsiteY1" fmla="*/ 22891 h 42922"/>
                <a:gd name="connsiteX2" fmla="*/ 22891 w 42922"/>
                <a:gd name="connsiteY2" fmla="*/ 35339 h 42922"/>
                <a:gd name="connsiteX3" fmla="*/ 35337 w 42922"/>
                <a:gd name="connsiteY3" fmla="*/ 23178 h 42922"/>
                <a:gd name="connsiteX4" fmla="*/ 35339 w 42922"/>
                <a:gd name="connsiteY4" fmla="*/ 23036 h 42922"/>
                <a:gd name="connsiteX5" fmla="*/ 2317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178" y="10731"/>
                  </a:moveTo>
                  <a:cubicBezTo>
                    <a:pt x="16383" y="10653"/>
                    <a:pt x="10810" y="16097"/>
                    <a:pt x="10731" y="22891"/>
                  </a:cubicBezTo>
                  <a:cubicBezTo>
                    <a:pt x="10651" y="29687"/>
                    <a:pt x="16097" y="35260"/>
                    <a:pt x="22891" y="35339"/>
                  </a:cubicBezTo>
                  <a:cubicBezTo>
                    <a:pt x="29686" y="35418"/>
                    <a:pt x="35259" y="29974"/>
                    <a:pt x="35337" y="23178"/>
                  </a:cubicBezTo>
                  <a:cubicBezTo>
                    <a:pt x="35339" y="23130"/>
                    <a:pt x="35339" y="23083"/>
                    <a:pt x="35339" y="23036"/>
                  </a:cubicBezTo>
                  <a:cubicBezTo>
                    <a:pt x="35339" y="16296"/>
                    <a:pt x="29918" y="10810"/>
                    <a:pt x="2317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4" name="Freeform: Shape 193">
              <a:extLst>
                <a:ext uri="{FF2B5EF4-FFF2-40B4-BE49-F238E27FC236}">
                  <a16:creationId xmlns:a16="http://schemas.microsoft.com/office/drawing/2014/main" id="{8F20530E-FE2F-4C12-AD99-F8914DE612C8}"/>
                </a:ext>
              </a:extLst>
            </p:cNvPr>
            <p:cNvSpPr/>
            <p:nvPr/>
          </p:nvSpPr>
          <p:spPr>
            <a:xfrm>
              <a:off x="5614394" y="6009192"/>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25038 w 42922"/>
                <a:gd name="connsiteY3" fmla="*/ 10731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lnTo>
                    <a:pt x="25038" y="10731"/>
                  </a:lnTo>
                  <a:cubicBezTo>
                    <a:pt x="17136" y="10731"/>
                    <a:pt x="10731" y="17136"/>
                    <a:pt x="10731" y="25038"/>
                  </a:cubicBez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5" name="Freeform: Shape 194">
              <a:extLst>
                <a:ext uri="{FF2B5EF4-FFF2-40B4-BE49-F238E27FC236}">
                  <a16:creationId xmlns:a16="http://schemas.microsoft.com/office/drawing/2014/main" id="{041CE7A4-7715-4C93-A8BD-9498E0FE306B}"/>
                </a:ext>
              </a:extLst>
            </p:cNvPr>
            <p:cNvSpPr/>
            <p:nvPr/>
          </p:nvSpPr>
          <p:spPr>
            <a:xfrm>
              <a:off x="5536847" y="6060269"/>
              <a:ext cx="42922" cy="42922"/>
            </a:xfrm>
            <a:custGeom>
              <a:avLst/>
              <a:gdLst>
                <a:gd name="connsiteX0" fmla="*/ 23894 w 42922"/>
                <a:gd name="connsiteY0" fmla="*/ 10731 h 42922"/>
                <a:gd name="connsiteX1" fmla="*/ 10731 w 42922"/>
                <a:gd name="connsiteY1" fmla="*/ 23894 h 42922"/>
                <a:gd name="connsiteX2" fmla="*/ 23894 w 42922"/>
                <a:gd name="connsiteY2" fmla="*/ 37056 h 42922"/>
                <a:gd name="connsiteX3" fmla="*/ 37056 w 42922"/>
                <a:gd name="connsiteY3" fmla="*/ 23894 h 42922"/>
                <a:gd name="connsiteX4" fmla="*/ 23894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4" y="10731"/>
                  </a:moveTo>
                  <a:cubicBezTo>
                    <a:pt x="16624" y="10731"/>
                    <a:pt x="10731" y="16624"/>
                    <a:pt x="10731" y="23894"/>
                  </a:cubicBezTo>
                  <a:cubicBezTo>
                    <a:pt x="10731" y="31163"/>
                    <a:pt x="16624" y="37056"/>
                    <a:pt x="23894" y="37056"/>
                  </a:cubicBezTo>
                  <a:cubicBezTo>
                    <a:pt x="31163" y="37056"/>
                    <a:pt x="37056" y="31163"/>
                    <a:pt x="37056" y="23894"/>
                  </a:cubicBezTo>
                  <a:cubicBezTo>
                    <a:pt x="37056" y="16624"/>
                    <a:pt x="31163" y="10731"/>
                    <a:pt x="2389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6" name="Freeform: Shape 195">
              <a:extLst>
                <a:ext uri="{FF2B5EF4-FFF2-40B4-BE49-F238E27FC236}">
                  <a16:creationId xmlns:a16="http://schemas.microsoft.com/office/drawing/2014/main" id="{FE6C56A8-DAF5-484A-B426-5AD5003346B4}"/>
                </a:ext>
              </a:extLst>
            </p:cNvPr>
            <p:cNvSpPr/>
            <p:nvPr/>
          </p:nvSpPr>
          <p:spPr>
            <a:xfrm>
              <a:off x="5615109" y="6059268"/>
              <a:ext cx="42922" cy="42922"/>
            </a:xfrm>
            <a:custGeom>
              <a:avLst/>
              <a:gdLst>
                <a:gd name="connsiteX0" fmla="*/ 25038 w 42922"/>
                <a:gd name="connsiteY0" fmla="*/ 10731 h 42922"/>
                <a:gd name="connsiteX1" fmla="*/ 10731 w 42922"/>
                <a:gd name="connsiteY1" fmla="*/ 25038 h 42922"/>
                <a:gd name="connsiteX2" fmla="*/ 10731 w 42922"/>
                <a:gd name="connsiteY2" fmla="*/ 25038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lnTo>
                    <a:pt x="10731" y="25038"/>
                  </a:lnTo>
                  <a:cubicBezTo>
                    <a:pt x="10731" y="32940"/>
                    <a:pt x="17136" y="39346"/>
                    <a:pt x="25038" y="39346"/>
                  </a:cubicBez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7" name="Freeform: Shape 196">
              <a:extLst>
                <a:ext uri="{FF2B5EF4-FFF2-40B4-BE49-F238E27FC236}">
                  <a16:creationId xmlns:a16="http://schemas.microsoft.com/office/drawing/2014/main" id="{36E76EEE-613D-482B-8E4B-81FDAB700337}"/>
                </a:ext>
              </a:extLst>
            </p:cNvPr>
            <p:cNvSpPr/>
            <p:nvPr/>
          </p:nvSpPr>
          <p:spPr>
            <a:xfrm>
              <a:off x="5536990" y="5910470"/>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8" name="Freeform: Shape 197">
              <a:extLst>
                <a:ext uri="{FF2B5EF4-FFF2-40B4-BE49-F238E27FC236}">
                  <a16:creationId xmlns:a16="http://schemas.microsoft.com/office/drawing/2014/main" id="{63AA2CB0-F8CB-43B9-B746-B9AEC346C601}"/>
                </a:ext>
              </a:extLst>
            </p:cNvPr>
            <p:cNvSpPr/>
            <p:nvPr/>
          </p:nvSpPr>
          <p:spPr>
            <a:xfrm>
              <a:off x="5536275" y="5861252"/>
              <a:ext cx="42922" cy="42922"/>
            </a:xfrm>
            <a:custGeom>
              <a:avLst/>
              <a:gdLst>
                <a:gd name="connsiteX0" fmla="*/ 23893 w 42922"/>
                <a:gd name="connsiteY0" fmla="*/ 37056 h 42922"/>
                <a:gd name="connsiteX1" fmla="*/ 37056 w 42922"/>
                <a:gd name="connsiteY1" fmla="*/ 23894 h 42922"/>
                <a:gd name="connsiteX2" fmla="*/ 23893 w 42922"/>
                <a:gd name="connsiteY2" fmla="*/ 10731 h 42922"/>
                <a:gd name="connsiteX3" fmla="*/ 10731 w 42922"/>
                <a:gd name="connsiteY3" fmla="*/ 23894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4"/>
                  </a:cubicBezTo>
                  <a:cubicBezTo>
                    <a:pt x="37056" y="16624"/>
                    <a:pt x="31163" y="10731"/>
                    <a:pt x="23893" y="10731"/>
                  </a:cubicBezTo>
                  <a:cubicBezTo>
                    <a:pt x="16624" y="10731"/>
                    <a:pt x="10731" y="16624"/>
                    <a:pt x="10731" y="23894"/>
                  </a:cubicBezTo>
                  <a:cubicBezTo>
                    <a:pt x="10731" y="31163"/>
                    <a:pt x="16624" y="37056"/>
                    <a:pt x="23893"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199" name="Freeform: Shape 198">
              <a:extLst>
                <a:ext uri="{FF2B5EF4-FFF2-40B4-BE49-F238E27FC236}">
                  <a16:creationId xmlns:a16="http://schemas.microsoft.com/office/drawing/2014/main" id="{67711239-D4F8-4096-BFA3-584EAECFE84F}"/>
                </a:ext>
              </a:extLst>
            </p:cNvPr>
            <p:cNvSpPr/>
            <p:nvPr/>
          </p:nvSpPr>
          <p:spPr>
            <a:xfrm>
              <a:off x="5536274" y="5960689"/>
              <a:ext cx="42922" cy="42922"/>
            </a:xfrm>
            <a:custGeom>
              <a:avLst/>
              <a:gdLst>
                <a:gd name="connsiteX0" fmla="*/ 23895 w 42922"/>
                <a:gd name="connsiteY0" fmla="*/ 37056 h 42922"/>
                <a:gd name="connsiteX1" fmla="*/ 37056 w 42922"/>
                <a:gd name="connsiteY1" fmla="*/ 23892 h 42922"/>
                <a:gd name="connsiteX2" fmla="*/ 23893 w 42922"/>
                <a:gd name="connsiteY2" fmla="*/ 10731 h 42922"/>
                <a:gd name="connsiteX3" fmla="*/ 10731 w 42922"/>
                <a:gd name="connsiteY3" fmla="*/ 23895 h 42922"/>
                <a:gd name="connsiteX4" fmla="*/ 10732 w 42922"/>
                <a:gd name="connsiteY4" fmla="*/ 24037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2"/>
                    <a:pt x="37056" y="23892"/>
                  </a:cubicBezTo>
                  <a:cubicBezTo>
                    <a:pt x="37056" y="16622"/>
                    <a:pt x="31163" y="10731"/>
                    <a:pt x="23893" y="10731"/>
                  </a:cubicBezTo>
                  <a:cubicBezTo>
                    <a:pt x="16624" y="10731"/>
                    <a:pt x="10731" y="16625"/>
                    <a:pt x="10731" y="23895"/>
                  </a:cubicBezTo>
                  <a:cubicBezTo>
                    <a:pt x="10731" y="23942"/>
                    <a:pt x="10732" y="23989"/>
                    <a:pt x="10732" y="24037"/>
                  </a:cubicBezTo>
                  <a:cubicBezTo>
                    <a:pt x="10811" y="31250"/>
                    <a:pt x="16681" y="37056"/>
                    <a:pt x="23895"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0" name="Freeform: Shape 199">
              <a:extLst>
                <a:ext uri="{FF2B5EF4-FFF2-40B4-BE49-F238E27FC236}">
                  <a16:creationId xmlns:a16="http://schemas.microsoft.com/office/drawing/2014/main" id="{06F0E4F7-0991-4177-A23E-67AD1A118918}"/>
                </a:ext>
              </a:extLst>
            </p:cNvPr>
            <p:cNvSpPr/>
            <p:nvPr/>
          </p:nvSpPr>
          <p:spPr>
            <a:xfrm>
              <a:off x="5536274" y="6010336"/>
              <a:ext cx="42922" cy="42922"/>
            </a:xfrm>
            <a:custGeom>
              <a:avLst/>
              <a:gdLst>
                <a:gd name="connsiteX0" fmla="*/ 23895 w 42922"/>
                <a:gd name="connsiteY0" fmla="*/ 37056 h 42922"/>
                <a:gd name="connsiteX1" fmla="*/ 37056 w 42922"/>
                <a:gd name="connsiteY1" fmla="*/ 23892 h 42922"/>
                <a:gd name="connsiteX2" fmla="*/ 23893 w 42922"/>
                <a:gd name="connsiteY2" fmla="*/ 10731 h 42922"/>
                <a:gd name="connsiteX3" fmla="*/ 10731 w 42922"/>
                <a:gd name="connsiteY3" fmla="*/ 23895 h 42922"/>
                <a:gd name="connsiteX4" fmla="*/ 10732 w 42922"/>
                <a:gd name="connsiteY4" fmla="*/ 24037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2"/>
                    <a:pt x="37056" y="23892"/>
                  </a:cubicBezTo>
                  <a:cubicBezTo>
                    <a:pt x="37056" y="16622"/>
                    <a:pt x="31163" y="10731"/>
                    <a:pt x="23893" y="10731"/>
                  </a:cubicBezTo>
                  <a:cubicBezTo>
                    <a:pt x="16624" y="10731"/>
                    <a:pt x="10731" y="16625"/>
                    <a:pt x="10731" y="23895"/>
                  </a:cubicBezTo>
                  <a:cubicBezTo>
                    <a:pt x="10731" y="23942"/>
                    <a:pt x="10732" y="23989"/>
                    <a:pt x="10732" y="24037"/>
                  </a:cubicBezTo>
                  <a:cubicBezTo>
                    <a:pt x="10811" y="31250"/>
                    <a:pt x="16681" y="37056"/>
                    <a:pt x="23895"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1" name="Freeform: Shape 200">
              <a:extLst>
                <a:ext uri="{FF2B5EF4-FFF2-40B4-BE49-F238E27FC236}">
                  <a16:creationId xmlns:a16="http://schemas.microsoft.com/office/drawing/2014/main" id="{44F8481F-C9CE-4811-83E6-A1F07869D026}"/>
                </a:ext>
              </a:extLst>
            </p:cNvPr>
            <p:cNvSpPr/>
            <p:nvPr/>
          </p:nvSpPr>
          <p:spPr>
            <a:xfrm>
              <a:off x="5457727" y="5862254"/>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2" name="Freeform: Shape 201">
              <a:extLst>
                <a:ext uri="{FF2B5EF4-FFF2-40B4-BE49-F238E27FC236}">
                  <a16:creationId xmlns:a16="http://schemas.microsoft.com/office/drawing/2014/main" id="{63408140-9EBA-4FDA-9311-D7CD9FD777CF}"/>
                </a:ext>
              </a:extLst>
            </p:cNvPr>
            <p:cNvSpPr/>
            <p:nvPr/>
          </p:nvSpPr>
          <p:spPr>
            <a:xfrm>
              <a:off x="6097271" y="6013626"/>
              <a:ext cx="28615" cy="28615"/>
            </a:xfrm>
            <a:custGeom>
              <a:avLst/>
              <a:gdLst>
                <a:gd name="connsiteX0" fmla="*/ 20174 w 28614"/>
                <a:gd name="connsiteY0" fmla="*/ 10732 h 28614"/>
                <a:gd name="connsiteX1" fmla="*/ 10731 w 28614"/>
                <a:gd name="connsiteY1" fmla="*/ 19889 h 28614"/>
                <a:gd name="connsiteX2" fmla="*/ 20174 w 28614"/>
                <a:gd name="connsiteY2" fmla="*/ 29332 h 28614"/>
                <a:gd name="connsiteX3" fmla="*/ 29473 w 28614"/>
                <a:gd name="connsiteY3" fmla="*/ 19889 h 28614"/>
                <a:gd name="connsiteX4" fmla="*/ 20318 w 28614"/>
                <a:gd name="connsiteY4" fmla="*/ 10731 h 28614"/>
                <a:gd name="connsiteX5" fmla="*/ 20174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174" y="10732"/>
                  </a:moveTo>
                  <a:cubicBezTo>
                    <a:pt x="15069" y="10729"/>
                    <a:pt x="10885" y="14785"/>
                    <a:pt x="10731" y="19889"/>
                  </a:cubicBezTo>
                  <a:cubicBezTo>
                    <a:pt x="10880" y="25041"/>
                    <a:pt x="15021" y="29183"/>
                    <a:pt x="20174" y="29332"/>
                  </a:cubicBezTo>
                  <a:cubicBezTo>
                    <a:pt x="25333" y="29253"/>
                    <a:pt x="29473" y="25048"/>
                    <a:pt x="29473" y="19889"/>
                  </a:cubicBezTo>
                  <a:cubicBezTo>
                    <a:pt x="29473" y="14831"/>
                    <a:pt x="25374" y="10732"/>
                    <a:pt x="20318" y="10731"/>
                  </a:cubicBezTo>
                  <a:cubicBezTo>
                    <a:pt x="20269" y="10731"/>
                    <a:pt x="20222" y="10731"/>
                    <a:pt x="20174"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3" name="Freeform: Shape 202">
              <a:extLst>
                <a:ext uri="{FF2B5EF4-FFF2-40B4-BE49-F238E27FC236}">
                  <a16:creationId xmlns:a16="http://schemas.microsoft.com/office/drawing/2014/main" id="{4694D7EE-8E7B-4611-97BB-5872248D6330}"/>
                </a:ext>
              </a:extLst>
            </p:cNvPr>
            <p:cNvSpPr/>
            <p:nvPr/>
          </p:nvSpPr>
          <p:spPr>
            <a:xfrm>
              <a:off x="5536990" y="5812464"/>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4" name="Freeform: Shape 203">
              <a:extLst>
                <a:ext uri="{FF2B5EF4-FFF2-40B4-BE49-F238E27FC236}">
                  <a16:creationId xmlns:a16="http://schemas.microsoft.com/office/drawing/2014/main" id="{AD8F858C-8C54-48C6-B483-6514DA7DB4C9}"/>
                </a:ext>
              </a:extLst>
            </p:cNvPr>
            <p:cNvSpPr/>
            <p:nvPr/>
          </p:nvSpPr>
          <p:spPr>
            <a:xfrm>
              <a:off x="6096984" y="6063989"/>
              <a:ext cx="28615" cy="28615"/>
            </a:xfrm>
            <a:custGeom>
              <a:avLst/>
              <a:gdLst>
                <a:gd name="connsiteX0" fmla="*/ 20461 w 28614"/>
                <a:gd name="connsiteY0" fmla="*/ 10731 h 28614"/>
                <a:gd name="connsiteX1" fmla="*/ 20461 w 28614"/>
                <a:gd name="connsiteY1" fmla="*/ 10731 h 28614"/>
                <a:gd name="connsiteX2" fmla="*/ 10731 w 28614"/>
                <a:gd name="connsiteY2" fmla="*/ 20458 h 28614"/>
                <a:gd name="connsiteX3" fmla="*/ 10732 w 28614"/>
                <a:gd name="connsiteY3" fmla="*/ 20603 h 28614"/>
                <a:gd name="connsiteX4" fmla="*/ 20173 w 28614"/>
                <a:gd name="connsiteY4" fmla="*/ 30332 h 28614"/>
                <a:gd name="connsiteX5" fmla="*/ 20461 w 28614"/>
                <a:gd name="connsiteY5" fmla="*/ 30332 h 28614"/>
                <a:gd name="connsiteX6" fmla="*/ 29761 w 28614"/>
                <a:gd name="connsiteY6" fmla="*/ 21175 h 28614"/>
                <a:gd name="connsiteX7" fmla="*/ 29761 w 28614"/>
                <a:gd name="connsiteY7" fmla="*/ 20174 h 28614"/>
                <a:gd name="connsiteX8" fmla="*/ 20606 w 28614"/>
                <a:gd name="connsiteY8" fmla="*/ 10732 h 28614"/>
                <a:gd name="connsiteX9" fmla="*/ 20461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0461" y="10731"/>
                  </a:moveTo>
                  <a:lnTo>
                    <a:pt x="20461" y="10731"/>
                  </a:lnTo>
                  <a:cubicBezTo>
                    <a:pt x="15087" y="10731"/>
                    <a:pt x="10732" y="15086"/>
                    <a:pt x="10731" y="20458"/>
                  </a:cubicBezTo>
                  <a:cubicBezTo>
                    <a:pt x="10731" y="20507"/>
                    <a:pt x="10731" y="20554"/>
                    <a:pt x="10732" y="20603"/>
                  </a:cubicBezTo>
                  <a:cubicBezTo>
                    <a:pt x="10652" y="25897"/>
                    <a:pt x="14880" y="30252"/>
                    <a:pt x="20173" y="30332"/>
                  </a:cubicBezTo>
                  <a:cubicBezTo>
                    <a:pt x="20269" y="30333"/>
                    <a:pt x="20365" y="30333"/>
                    <a:pt x="20461" y="30332"/>
                  </a:cubicBezTo>
                  <a:cubicBezTo>
                    <a:pt x="25542" y="30332"/>
                    <a:pt x="29682" y="26256"/>
                    <a:pt x="29761" y="21175"/>
                  </a:cubicBezTo>
                  <a:lnTo>
                    <a:pt x="29761" y="20174"/>
                  </a:lnTo>
                  <a:cubicBezTo>
                    <a:pt x="29840" y="15039"/>
                    <a:pt x="25741" y="10811"/>
                    <a:pt x="20606" y="10732"/>
                  </a:cubicBezTo>
                  <a:cubicBezTo>
                    <a:pt x="20557" y="10731"/>
                    <a:pt x="20510" y="10731"/>
                    <a:pt x="2046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5" name="Freeform: Shape 204">
              <a:extLst>
                <a:ext uri="{FF2B5EF4-FFF2-40B4-BE49-F238E27FC236}">
                  <a16:creationId xmlns:a16="http://schemas.microsoft.com/office/drawing/2014/main" id="{5BE8417E-9D73-4812-96D4-882AF2AD0918}"/>
                </a:ext>
              </a:extLst>
            </p:cNvPr>
            <p:cNvSpPr/>
            <p:nvPr/>
          </p:nvSpPr>
          <p:spPr>
            <a:xfrm>
              <a:off x="6097271" y="5914905"/>
              <a:ext cx="28615" cy="28615"/>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80" y="25040"/>
                    <a:pt x="15021" y="29182"/>
                    <a:pt x="20174" y="29330"/>
                  </a:cubicBezTo>
                  <a:cubicBezTo>
                    <a:pt x="25333" y="29252"/>
                    <a:pt x="29473" y="25047"/>
                    <a:pt x="29473" y="19887"/>
                  </a:cubicBezTo>
                  <a:cubicBezTo>
                    <a:pt x="29395" y="14807"/>
                    <a:pt x="25254" y="10731"/>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6" name="Freeform: Shape 205">
              <a:extLst>
                <a:ext uri="{FF2B5EF4-FFF2-40B4-BE49-F238E27FC236}">
                  <a16:creationId xmlns:a16="http://schemas.microsoft.com/office/drawing/2014/main" id="{FA41A818-E614-4DF1-B983-FC5EA72D06FD}"/>
                </a:ext>
              </a:extLst>
            </p:cNvPr>
            <p:cNvSpPr/>
            <p:nvPr/>
          </p:nvSpPr>
          <p:spPr>
            <a:xfrm>
              <a:off x="6097414" y="5964552"/>
              <a:ext cx="28615" cy="28615"/>
            </a:xfrm>
            <a:custGeom>
              <a:avLst/>
              <a:gdLst>
                <a:gd name="connsiteX0" fmla="*/ 20030 w 28614"/>
                <a:gd name="connsiteY0" fmla="*/ 10731 h 28614"/>
                <a:gd name="connsiteX1" fmla="*/ 10731 w 28614"/>
                <a:gd name="connsiteY1" fmla="*/ 20030 h 28614"/>
                <a:gd name="connsiteX2" fmla="*/ 20030 w 28614"/>
                <a:gd name="connsiteY2" fmla="*/ 29330 h 28614"/>
                <a:gd name="connsiteX3" fmla="*/ 29330 w 28614"/>
                <a:gd name="connsiteY3" fmla="*/ 20174 h 28614"/>
                <a:gd name="connsiteX4" fmla="*/ 2003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10731"/>
                  </a:moveTo>
                  <a:cubicBezTo>
                    <a:pt x="14894" y="10731"/>
                    <a:pt x="10731" y="14894"/>
                    <a:pt x="10731" y="20030"/>
                  </a:cubicBezTo>
                  <a:cubicBezTo>
                    <a:pt x="10731" y="25167"/>
                    <a:pt x="14894" y="29330"/>
                    <a:pt x="20030" y="29330"/>
                  </a:cubicBezTo>
                  <a:cubicBezTo>
                    <a:pt x="25111" y="29330"/>
                    <a:pt x="29252" y="25254"/>
                    <a:pt x="29330" y="20174"/>
                  </a:cubicBezTo>
                  <a:cubicBezTo>
                    <a:pt x="29330" y="15014"/>
                    <a:pt x="25190" y="10809"/>
                    <a:pt x="20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7" name="Freeform: Shape 206">
              <a:extLst>
                <a:ext uri="{FF2B5EF4-FFF2-40B4-BE49-F238E27FC236}">
                  <a16:creationId xmlns:a16="http://schemas.microsoft.com/office/drawing/2014/main" id="{D5A1B672-68D0-4A4A-B7D0-5238E422FCBF}"/>
                </a:ext>
              </a:extLst>
            </p:cNvPr>
            <p:cNvSpPr/>
            <p:nvPr/>
          </p:nvSpPr>
          <p:spPr>
            <a:xfrm>
              <a:off x="6097271" y="5864257"/>
              <a:ext cx="28615" cy="28615"/>
            </a:xfrm>
            <a:custGeom>
              <a:avLst/>
              <a:gdLst>
                <a:gd name="connsiteX0" fmla="*/ 20174 w 28614"/>
                <a:gd name="connsiteY0" fmla="*/ 10731 h 28614"/>
                <a:gd name="connsiteX1" fmla="*/ 10731 w 28614"/>
                <a:gd name="connsiteY1" fmla="*/ 20174 h 28614"/>
                <a:gd name="connsiteX2" fmla="*/ 20174 w 28614"/>
                <a:gd name="connsiteY2" fmla="*/ 29330 h 28614"/>
                <a:gd name="connsiteX3" fmla="*/ 29473 w 28614"/>
                <a:gd name="connsiteY3" fmla="*/ 20174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21" y="10879"/>
                    <a:pt x="10880" y="15021"/>
                    <a:pt x="10731" y="20174"/>
                  </a:cubicBezTo>
                  <a:cubicBezTo>
                    <a:pt x="10885" y="25277"/>
                    <a:pt x="15069" y="29333"/>
                    <a:pt x="20174" y="29330"/>
                  </a:cubicBezTo>
                  <a:cubicBezTo>
                    <a:pt x="25254" y="29330"/>
                    <a:pt x="29395" y="25254"/>
                    <a:pt x="29473" y="20174"/>
                  </a:cubicBezTo>
                  <a:cubicBezTo>
                    <a:pt x="29473" y="15014"/>
                    <a:pt x="25333" y="10809"/>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8" name="Freeform: Shape 207">
              <a:extLst>
                <a:ext uri="{FF2B5EF4-FFF2-40B4-BE49-F238E27FC236}">
                  <a16:creationId xmlns:a16="http://schemas.microsoft.com/office/drawing/2014/main" id="{7B24F4AA-FBD7-4621-87DB-A98D6CBB5480}"/>
                </a:ext>
              </a:extLst>
            </p:cNvPr>
            <p:cNvSpPr/>
            <p:nvPr/>
          </p:nvSpPr>
          <p:spPr>
            <a:xfrm>
              <a:off x="6015719" y="5813604"/>
              <a:ext cx="28615" cy="28615"/>
            </a:xfrm>
            <a:custGeom>
              <a:avLst/>
              <a:gdLst>
                <a:gd name="connsiteX0" fmla="*/ 21032 w 28614"/>
                <a:gd name="connsiteY0" fmla="*/ 10735 h 28614"/>
                <a:gd name="connsiteX1" fmla="*/ 10735 w 28614"/>
                <a:gd name="connsiteY1" fmla="*/ 20460 h 28614"/>
                <a:gd name="connsiteX2" fmla="*/ 10731 w 28614"/>
                <a:gd name="connsiteY2" fmla="*/ 20750 h 28614"/>
                <a:gd name="connsiteX3" fmla="*/ 10731 w 28614"/>
                <a:gd name="connsiteY3" fmla="*/ 20750 h 28614"/>
                <a:gd name="connsiteX4" fmla="*/ 21032 w 28614"/>
                <a:gd name="connsiteY4" fmla="*/ 31194 h 28614"/>
                <a:gd name="connsiteX5" fmla="*/ 31332 w 28614"/>
                <a:gd name="connsiteY5" fmla="*/ 21181 h 28614"/>
                <a:gd name="connsiteX6" fmla="*/ 31333 w 28614"/>
                <a:gd name="connsiteY6" fmla="*/ 21036 h 28614"/>
                <a:gd name="connsiteX7" fmla="*/ 31333 w 28614"/>
                <a:gd name="connsiteY7" fmla="*/ 21036 h 28614"/>
                <a:gd name="connsiteX8" fmla="*/ 21320 w 28614"/>
                <a:gd name="connsiteY8" fmla="*/ 10735 h 28614"/>
                <a:gd name="connsiteX9" fmla="*/ 21032 w 28614"/>
                <a:gd name="connsiteY9"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032" y="10735"/>
                  </a:moveTo>
                  <a:cubicBezTo>
                    <a:pt x="15504" y="10577"/>
                    <a:pt x="10892" y="14931"/>
                    <a:pt x="10735" y="20460"/>
                  </a:cubicBezTo>
                  <a:cubicBezTo>
                    <a:pt x="10732" y="20557"/>
                    <a:pt x="10731" y="20653"/>
                    <a:pt x="10731" y="20750"/>
                  </a:cubicBezTo>
                  <a:lnTo>
                    <a:pt x="10731" y="20750"/>
                  </a:lnTo>
                  <a:cubicBezTo>
                    <a:pt x="10731" y="26463"/>
                    <a:pt x="15319" y="31116"/>
                    <a:pt x="21032" y="31194"/>
                  </a:cubicBezTo>
                  <a:cubicBezTo>
                    <a:pt x="26642" y="31273"/>
                    <a:pt x="31253" y="26791"/>
                    <a:pt x="31332" y="21181"/>
                  </a:cubicBezTo>
                  <a:cubicBezTo>
                    <a:pt x="31333" y="21132"/>
                    <a:pt x="31333" y="21085"/>
                    <a:pt x="31333" y="21036"/>
                  </a:cubicBezTo>
                  <a:lnTo>
                    <a:pt x="31333" y="21036"/>
                  </a:lnTo>
                  <a:cubicBezTo>
                    <a:pt x="31414" y="15426"/>
                    <a:pt x="26930" y="10815"/>
                    <a:pt x="21320" y="10735"/>
                  </a:cubicBezTo>
                  <a:cubicBezTo>
                    <a:pt x="21224" y="10733"/>
                    <a:pt x="21128" y="10733"/>
                    <a:pt x="21032" y="107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09" name="Freeform: Shape 208">
              <a:extLst>
                <a:ext uri="{FF2B5EF4-FFF2-40B4-BE49-F238E27FC236}">
                  <a16:creationId xmlns:a16="http://schemas.microsoft.com/office/drawing/2014/main" id="{F3C7B012-AB9C-4E3A-ADCE-D274569B2393}"/>
                </a:ext>
              </a:extLst>
            </p:cNvPr>
            <p:cNvSpPr/>
            <p:nvPr/>
          </p:nvSpPr>
          <p:spPr>
            <a:xfrm>
              <a:off x="5458299" y="6060842"/>
              <a:ext cx="42922" cy="42922"/>
            </a:xfrm>
            <a:custGeom>
              <a:avLst/>
              <a:gdLst>
                <a:gd name="connsiteX0" fmla="*/ 22892 w 42922"/>
                <a:gd name="connsiteY0" fmla="*/ 11160 h 42922"/>
                <a:gd name="connsiteX1" fmla="*/ 10731 w 42922"/>
                <a:gd name="connsiteY1" fmla="*/ 22892 h 42922"/>
                <a:gd name="connsiteX2" fmla="*/ 10731 w 42922"/>
                <a:gd name="connsiteY2" fmla="*/ 22892 h 42922"/>
                <a:gd name="connsiteX3" fmla="*/ 22892 w 42922"/>
                <a:gd name="connsiteY3" fmla="*/ 35053 h 42922"/>
                <a:gd name="connsiteX4" fmla="*/ 35053 w 42922"/>
                <a:gd name="connsiteY4" fmla="*/ 22892 h 42922"/>
                <a:gd name="connsiteX5" fmla="*/ 22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2" y="11160"/>
                  </a:moveTo>
                  <a:cubicBezTo>
                    <a:pt x="16309" y="11080"/>
                    <a:pt x="10887" y="16311"/>
                    <a:pt x="10731" y="22892"/>
                  </a:cubicBezTo>
                  <a:lnTo>
                    <a:pt x="10731" y="22892"/>
                  </a:ln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0" name="Freeform: Shape 209">
              <a:extLst>
                <a:ext uri="{FF2B5EF4-FFF2-40B4-BE49-F238E27FC236}">
                  <a16:creationId xmlns:a16="http://schemas.microsoft.com/office/drawing/2014/main" id="{2FE09666-DA66-46EE-ACFF-37C44708871D}"/>
                </a:ext>
              </a:extLst>
            </p:cNvPr>
            <p:cNvSpPr/>
            <p:nvPr/>
          </p:nvSpPr>
          <p:spPr>
            <a:xfrm>
              <a:off x="6037037" y="5873700"/>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211" name="Freeform: Shape 210">
              <a:extLst>
                <a:ext uri="{FF2B5EF4-FFF2-40B4-BE49-F238E27FC236}">
                  <a16:creationId xmlns:a16="http://schemas.microsoft.com/office/drawing/2014/main" id="{62CF6F14-A5C9-4719-BB1F-52ECEC523C03}"/>
                </a:ext>
              </a:extLst>
            </p:cNvPr>
            <p:cNvSpPr/>
            <p:nvPr/>
          </p:nvSpPr>
          <p:spPr>
            <a:xfrm>
              <a:off x="5694659" y="6009192"/>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2" name="Freeform: Shape 211">
              <a:extLst>
                <a:ext uri="{FF2B5EF4-FFF2-40B4-BE49-F238E27FC236}">
                  <a16:creationId xmlns:a16="http://schemas.microsoft.com/office/drawing/2014/main" id="{1089E565-1863-4C08-8ACD-AC705340592F}"/>
                </a:ext>
              </a:extLst>
            </p:cNvPr>
            <p:cNvSpPr/>
            <p:nvPr/>
          </p:nvSpPr>
          <p:spPr>
            <a:xfrm>
              <a:off x="5694659" y="5959831"/>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3" name="Freeform: Shape 212">
              <a:extLst>
                <a:ext uri="{FF2B5EF4-FFF2-40B4-BE49-F238E27FC236}">
                  <a16:creationId xmlns:a16="http://schemas.microsoft.com/office/drawing/2014/main" id="{E6958DAB-F1BB-4FA6-B848-569ECCB42AC7}"/>
                </a:ext>
              </a:extLst>
            </p:cNvPr>
            <p:cNvSpPr/>
            <p:nvPr/>
          </p:nvSpPr>
          <p:spPr>
            <a:xfrm>
              <a:off x="5694802" y="6059125"/>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4" name="Freeform: Shape 213">
              <a:extLst>
                <a:ext uri="{FF2B5EF4-FFF2-40B4-BE49-F238E27FC236}">
                  <a16:creationId xmlns:a16="http://schemas.microsoft.com/office/drawing/2014/main" id="{644851D0-08A7-4DA5-B514-A3B71AAFD2E9}"/>
                </a:ext>
              </a:extLst>
            </p:cNvPr>
            <p:cNvSpPr/>
            <p:nvPr/>
          </p:nvSpPr>
          <p:spPr>
            <a:xfrm>
              <a:off x="5694659" y="5909898"/>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5" name="Freeform: Shape 214">
              <a:extLst>
                <a:ext uri="{FF2B5EF4-FFF2-40B4-BE49-F238E27FC236}">
                  <a16:creationId xmlns:a16="http://schemas.microsoft.com/office/drawing/2014/main" id="{6B64D6A8-F360-42F8-AEBD-311C35FEAF81}"/>
                </a:ext>
              </a:extLst>
            </p:cNvPr>
            <p:cNvSpPr/>
            <p:nvPr/>
          </p:nvSpPr>
          <p:spPr>
            <a:xfrm>
              <a:off x="5458577" y="5911472"/>
              <a:ext cx="42922" cy="42922"/>
            </a:xfrm>
            <a:custGeom>
              <a:avLst/>
              <a:gdLst>
                <a:gd name="connsiteX0" fmla="*/ 22900 w 42922"/>
                <a:gd name="connsiteY0" fmla="*/ 10731 h 42922"/>
                <a:gd name="connsiteX1" fmla="*/ 10739 w 42922"/>
                <a:gd name="connsiteY1" fmla="*/ 22892 h 42922"/>
                <a:gd name="connsiteX2" fmla="*/ 22034 w 42922"/>
                <a:gd name="connsiteY2" fmla="*/ 35045 h 42922"/>
                <a:gd name="connsiteX3" fmla="*/ 22471 w 42922"/>
                <a:gd name="connsiteY3" fmla="*/ 35053 h 42922"/>
                <a:gd name="connsiteX4" fmla="*/ 22471 w 42922"/>
                <a:gd name="connsiteY4" fmla="*/ 35053 h 42922"/>
                <a:gd name="connsiteX5" fmla="*/ 34632 w 42922"/>
                <a:gd name="connsiteY5" fmla="*/ 22892 h 42922"/>
                <a:gd name="connsiteX6" fmla="*/ 22471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900" y="10731"/>
                  </a:moveTo>
                  <a:cubicBezTo>
                    <a:pt x="16184" y="10731"/>
                    <a:pt x="10739" y="16176"/>
                    <a:pt x="10739" y="22892"/>
                  </a:cubicBezTo>
                  <a:cubicBezTo>
                    <a:pt x="10501" y="29368"/>
                    <a:pt x="15559" y="34809"/>
                    <a:pt x="22034" y="35045"/>
                  </a:cubicBezTo>
                  <a:cubicBezTo>
                    <a:pt x="22179" y="35051"/>
                    <a:pt x="22325" y="35053"/>
                    <a:pt x="22471" y="35053"/>
                  </a:cubicBezTo>
                  <a:lnTo>
                    <a:pt x="22471" y="35053"/>
                  </a:lnTo>
                  <a:cubicBezTo>
                    <a:pt x="29187" y="35053"/>
                    <a:pt x="34632" y="29608"/>
                    <a:pt x="34632" y="22892"/>
                  </a:cubicBezTo>
                  <a:cubicBezTo>
                    <a:pt x="34632" y="16176"/>
                    <a:pt x="29187" y="10731"/>
                    <a:pt x="2247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6" name="Freeform: Shape 215">
              <a:extLst>
                <a:ext uri="{FF2B5EF4-FFF2-40B4-BE49-F238E27FC236}">
                  <a16:creationId xmlns:a16="http://schemas.microsoft.com/office/drawing/2014/main" id="{ECEF8C66-9AA7-4CD3-A18D-1FF9367DBE08}"/>
                </a:ext>
              </a:extLst>
            </p:cNvPr>
            <p:cNvSpPr/>
            <p:nvPr/>
          </p:nvSpPr>
          <p:spPr>
            <a:xfrm>
              <a:off x="5458585" y="5811749"/>
              <a:ext cx="42922" cy="42922"/>
            </a:xfrm>
            <a:custGeom>
              <a:avLst/>
              <a:gdLst>
                <a:gd name="connsiteX0" fmla="*/ 24753 w 42922"/>
                <a:gd name="connsiteY0" fmla="*/ 10731 h 42922"/>
                <a:gd name="connsiteX1" fmla="*/ 22893 w 42922"/>
                <a:gd name="connsiteY1" fmla="*/ 10731 h 42922"/>
                <a:gd name="connsiteX2" fmla="*/ 10732 w 42922"/>
                <a:gd name="connsiteY2" fmla="*/ 22892 h 42922"/>
                <a:gd name="connsiteX3" fmla="*/ 10732 w 42922"/>
                <a:gd name="connsiteY3" fmla="*/ 24752 h 42922"/>
                <a:gd name="connsiteX4" fmla="*/ 22464 w 42922"/>
                <a:gd name="connsiteY4" fmla="*/ 36913 h 42922"/>
                <a:gd name="connsiteX5" fmla="*/ 22464 w 42922"/>
                <a:gd name="connsiteY5" fmla="*/ 36913 h 42922"/>
                <a:gd name="connsiteX6" fmla="*/ 34841 w 42922"/>
                <a:gd name="connsiteY6" fmla="*/ 23009 h 42922"/>
                <a:gd name="connsiteX7" fmla="*/ 24324 w 42922"/>
                <a:gd name="connsiteY7" fmla="*/ 1087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4753" y="10731"/>
                  </a:moveTo>
                  <a:lnTo>
                    <a:pt x="22893" y="10731"/>
                  </a:lnTo>
                  <a:cubicBezTo>
                    <a:pt x="16177" y="10731"/>
                    <a:pt x="10732" y="16176"/>
                    <a:pt x="10732" y="22892"/>
                  </a:cubicBezTo>
                  <a:lnTo>
                    <a:pt x="10732" y="24752"/>
                  </a:lnTo>
                  <a:cubicBezTo>
                    <a:pt x="10651" y="31335"/>
                    <a:pt x="15882" y="36757"/>
                    <a:pt x="22464" y="36913"/>
                  </a:cubicBezTo>
                  <a:lnTo>
                    <a:pt x="22464" y="36913"/>
                  </a:lnTo>
                  <a:cubicBezTo>
                    <a:pt x="29720" y="36491"/>
                    <a:pt x="35263" y="30267"/>
                    <a:pt x="34841" y="23009"/>
                  </a:cubicBezTo>
                  <a:cubicBezTo>
                    <a:pt x="34495" y="17046"/>
                    <a:pt x="30177" y="12064"/>
                    <a:pt x="24324" y="1087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7" name="Freeform: Shape 216">
              <a:extLst>
                <a:ext uri="{FF2B5EF4-FFF2-40B4-BE49-F238E27FC236}">
                  <a16:creationId xmlns:a16="http://schemas.microsoft.com/office/drawing/2014/main" id="{21317E4B-4C3D-429D-A872-17A736C7B049}"/>
                </a:ext>
              </a:extLst>
            </p:cNvPr>
            <p:cNvSpPr/>
            <p:nvPr/>
          </p:nvSpPr>
          <p:spPr>
            <a:xfrm>
              <a:off x="5457726" y="6011195"/>
              <a:ext cx="42922" cy="42922"/>
            </a:xfrm>
            <a:custGeom>
              <a:avLst/>
              <a:gdLst>
                <a:gd name="connsiteX0" fmla="*/ 22893 w 42922"/>
                <a:gd name="connsiteY0" fmla="*/ 35339 h 42922"/>
                <a:gd name="connsiteX1" fmla="*/ 35339 w 42922"/>
                <a:gd name="connsiteY1" fmla="*/ 23178 h 42922"/>
                <a:gd name="connsiteX2" fmla="*/ 23178 w 42922"/>
                <a:gd name="connsiteY2" fmla="*/ 10731 h 42922"/>
                <a:gd name="connsiteX3" fmla="*/ 10732 w 42922"/>
                <a:gd name="connsiteY3" fmla="*/ 22893 h 42922"/>
                <a:gd name="connsiteX4" fmla="*/ 10732 w 42922"/>
                <a:gd name="connsiteY4" fmla="*/ 23178 h 42922"/>
                <a:gd name="connsiteX5" fmla="*/ 22893 w 42922"/>
                <a:gd name="connsiteY5" fmla="*/ 353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3" y="35339"/>
                  </a:moveTo>
                  <a:cubicBezTo>
                    <a:pt x="29688" y="35418"/>
                    <a:pt x="35260" y="29972"/>
                    <a:pt x="35339" y="23178"/>
                  </a:cubicBezTo>
                  <a:cubicBezTo>
                    <a:pt x="35418" y="16383"/>
                    <a:pt x="29972" y="10810"/>
                    <a:pt x="23178" y="10731"/>
                  </a:cubicBezTo>
                  <a:cubicBezTo>
                    <a:pt x="16383" y="10653"/>
                    <a:pt x="10810" y="16098"/>
                    <a:pt x="10732" y="22893"/>
                  </a:cubicBezTo>
                  <a:cubicBezTo>
                    <a:pt x="10730" y="22987"/>
                    <a:pt x="10730" y="23083"/>
                    <a:pt x="10732" y="23178"/>
                  </a:cubicBezTo>
                  <a:cubicBezTo>
                    <a:pt x="10809" y="29862"/>
                    <a:pt x="16209" y="35262"/>
                    <a:pt x="22893" y="3533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8" name="Freeform: Shape 217">
              <a:extLst>
                <a:ext uri="{FF2B5EF4-FFF2-40B4-BE49-F238E27FC236}">
                  <a16:creationId xmlns:a16="http://schemas.microsoft.com/office/drawing/2014/main" id="{2DADFDBA-94B2-4BAC-9EA1-AB8EB8B33110}"/>
                </a:ext>
              </a:extLst>
            </p:cNvPr>
            <p:cNvSpPr/>
            <p:nvPr/>
          </p:nvSpPr>
          <p:spPr>
            <a:xfrm>
              <a:off x="5457727" y="6256711"/>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19" name="Freeform: Shape 218">
              <a:extLst>
                <a:ext uri="{FF2B5EF4-FFF2-40B4-BE49-F238E27FC236}">
                  <a16:creationId xmlns:a16="http://schemas.microsoft.com/office/drawing/2014/main" id="{AB058FC2-D1AC-4F09-8861-AB9FE96D4077}"/>
                </a:ext>
              </a:extLst>
            </p:cNvPr>
            <p:cNvSpPr/>
            <p:nvPr/>
          </p:nvSpPr>
          <p:spPr>
            <a:xfrm>
              <a:off x="5222226" y="6159993"/>
              <a:ext cx="28615" cy="28615"/>
            </a:xfrm>
            <a:custGeom>
              <a:avLst/>
              <a:gdLst>
                <a:gd name="connsiteX0" fmla="*/ 20030 w 28614"/>
                <a:gd name="connsiteY0" fmla="*/ 29330 h 28614"/>
                <a:gd name="connsiteX1" fmla="*/ 29473 w 28614"/>
                <a:gd name="connsiteY1" fmla="*/ 20173 h 28614"/>
                <a:gd name="connsiteX2" fmla="*/ 20030 w 28614"/>
                <a:gd name="connsiteY2" fmla="*/ 10731 h 28614"/>
                <a:gd name="connsiteX3" fmla="*/ 10731 w 28614"/>
                <a:gd name="connsiteY3" fmla="*/ 20173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35" y="29333"/>
                    <a:pt x="29319" y="25277"/>
                    <a:pt x="29473" y="20173"/>
                  </a:cubicBezTo>
                  <a:cubicBezTo>
                    <a:pt x="29325" y="15021"/>
                    <a:pt x="25183" y="10879"/>
                    <a:pt x="20030" y="10731"/>
                  </a:cubicBezTo>
                  <a:cubicBezTo>
                    <a:pt x="14871" y="10809"/>
                    <a:pt x="10731" y="15014"/>
                    <a:pt x="10731" y="20173"/>
                  </a:cubicBezTo>
                  <a:cubicBezTo>
                    <a:pt x="10809" y="25254"/>
                    <a:pt x="14950" y="29330"/>
                    <a:pt x="20030" y="2933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0" name="Freeform: Shape 219">
              <a:extLst>
                <a:ext uri="{FF2B5EF4-FFF2-40B4-BE49-F238E27FC236}">
                  <a16:creationId xmlns:a16="http://schemas.microsoft.com/office/drawing/2014/main" id="{C127EC3E-EA5C-4CF5-87F1-41D80590D2C5}"/>
                </a:ext>
              </a:extLst>
            </p:cNvPr>
            <p:cNvSpPr/>
            <p:nvPr/>
          </p:nvSpPr>
          <p:spPr>
            <a:xfrm>
              <a:off x="6013467" y="6158027"/>
              <a:ext cx="42922" cy="28615"/>
            </a:xfrm>
            <a:custGeom>
              <a:avLst/>
              <a:gdLst>
                <a:gd name="connsiteX0" fmla="*/ 18133 w 42922"/>
                <a:gd name="connsiteY0" fmla="*/ 30724 h 28614"/>
                <a:gd name="connsiteX1" fmla="*/ 23713 w 42922"/>
                <a:gd name="connsiteY1" fmla="*/ 30724 h 28614"/>
                <a:gd name="connsiteX2" fmla="*/ 33871 w 42922"/>
                <a:gd name="connsiteY2" fmla="*/ 20852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83" y="30652"/>
                    <a:pt x="33644" y="26317"/>
                    <a:pt x="33871" y="20852"/>
                  </a:cubicBezTo>
                  <a:cubicBezTo>
                    <a:pt x="33641" y="15409"/>
                    <a:pt x="29160" y="11118"/>
                    <a:pt x="23713" y="11123"/>
                  </a:cubicBezTo>
                  <a:cubicBezTo>
                    <a:pt x="18301" y="9582"/>
                    <a:pt x="12664" y="12721"/>
                    <a:pt x="11123" y="18133"/>
                  </a:cubicBezTo>
                  <a:cubicBezTo>
                    <a:pt x="9582" y="23546"/>
                    <a:pt x="12721" y="29183"/>
                    <a:pt x="18133" y="3072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1" name="Freeform: Shape 220">
              <a:extLst>
                <a:ext uri="{FF2B5EF4-FFF2-40B4-BE49-F238E27FC236}">
                  <a16:creationId xmlns:a16="http://schemas.microsoft.com/office/drawing/2014/main" id="{749F03F3-4E37-418F-B54D-669D9167A063}"/>
                </a:ext>
              </a:extLst>
            </p:cNvPr>
            <p:cNvSpPr/>
            <p:nvPr/>
          </p:nvSpPr>
          <p:spPr>
            <a:xfrm>
              <a:off x="5614680" y="6203487"/>
              <a:ext cx="42922" cy="42922"/>
            </a:xfrm>
            <a:custGeom>
              <a:avLst/>
              <a:gdLst>
                <a:gd name="connsiteX0" fmla="*/ 25753 w 42922"/>
                <a:gd name="connsiteY0" fmla="*/ 39346 h 42922"/>
                <a:gd name="connsiteX1" fmla="*/ 40061 w 42922"/>
                <a:gd name="connsiteY1" fmla="*/ 25038 h 42922"/>
                <a:gd name="connsiteX2" fmla="*/ 25753 w 42922"/>
                <a:gd name="connsiteY2" fmla="*/ 10731 h 42922"/>
                <a:gd name="connsiteX3" fmla="*/ 11446 w 42922"/>
                <a:gd name="connsiteY3" fmla="*/ 25038 h 42922"/>
                <a:gd name="connsiteX4" fmla="*/ 10731 w 42922"/>
                <a:gd name="connsiteY4" fmla="*/ 26040 h 42922"/>
                <a:gd name="connsiteX5" fmla="*/ 25753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753" y="39346"/>
                  </a:moveTo>
                  <a:cubicBezTo>
                    <a:pt x="33655" y="39346"/>
                    <a:pt x="40061" y="32940"/>
                    <a:pt x="40061" y="25038"/>
                  </a:cubicBezTo>
                  <a:cubicBezTo>
                    <a:pt x="40061" y="17136"/>
                    <a:pt x="33655" y="10731"/>
                    <a:pt x="25753" y="10731"/>
                  </a:cubicBezTo>
                  <a:cubicBezTo>
                    <a:pt x="17851" y="10731"/>
                    <a:pt x="11446" y="17136"/>
                    <a:pt x="11446" y="25038"/>
                  </a:cubicBezTo>
                  <a:lnTo>
                    <a:pt x="10731" y="26040"/>
                  </a:lnTo>
                  <a:cubicBezTo>
                    <a:pt x="11267" y="33831"/>
                    <a:pt x="17953" y="39755"/>
                    <a:pt x="25753"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2" name="Freeform: Shape 221">
              <a:extLst>
                <a:ext uri="{FF2B5EF4-FFF2-40B4-BE49-F238E27FC236}">
                  <a16:creationId xmlns:a16="http://schemas.microsoft.com/office/drawing/2014/main" id="{0AFE596C-B773-4D68-B238-152E8A49812E}"/>
                </a:ext>
              </a:extLst>
            </p:cNvPr>
            <p:cNvSpPr/>
            <p:nvPr/>
          </p:nvSpPr>
          <p:spPr>
            <a:xfrm>
              <a:off x="5614537" y="6154126"/>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3" name="Freeform: Shape 222">
              <a:extLst>
                <a:ext uri="{FF2B5EF4-FFF2-40B4-BE49-F238E27FC236}">
                  <a16:creationId xmlns:a16="http://schemas.microsoft.com/office/drawing/2014/main" id="{5BD355E6-A791-42AA-8BA5-871DAA6735BA}"/>
                </a:ext>
              </a:extLst>
            </p:cNvPr>
            <p:cNvSpPr/>
            <p:nvPr/>
          </p:nvSpPr>
          <p:spPr>
            <a:xfrm>
              <a:off x="5614951" y="6105767"/>
              <a:ext cx="42922" cy="42922"/>
            </a:xfrm>
            <a:custGeom>
              <a:avLst/>
              <a:gdLst>
                <a:gd name="connsiteX0" fmla="*/ 23480 w 42922"/>
                <a:gd name="connsiteY0" fmla="*/ 38916 h 42922"/>
                <a:gd name="connsiteX1" fmla="*/ 38645 w 42922"/>
                <a:gd name="connsiteY1" fmla="*/ 26040 h 42922"/>
                <a:gd name="connsiteX2" fmla="*/ 25769 w 42922"/>
                <a:gd name="connsiteY2" fmla="*/ 10731 h 42922"/>
                <a:gd name="connsiteX3" fmla="*/ 25769 w 42922"/>
                <a:gd name="connsiteY3" fmla="*/ 10731 h 42922"/>
                <a:gd name="connsiteX4" fmla="*/ 11461 w 42922"/>
                <a:gd name="connsiteY4" fmla="*/ 25038 h 42922"/>
                <a:gd name="connsiteX5" fmla="*/ 10746 w 42922"/>
                <a:gd name="connsiteY5" fmla="*/ 24037 h 42922"/>
                <a:gd name="connsiteX6" fmla="*/ 23480 w 42922"/>
                <a:gd name="connsiteY6" fmla="*/ 3891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3480" y="38916"/>
                  </a:moveTo>
                  <a:cubicBezTo>
                    <a:pt x="31180" y="39417"/>
                    <a:pt x="37890" y="33720"/>
                    <a:pt x="38645" y="26040"/>
                  </a:cubicBezTo>
                  <a:cubicBezTo>
                    <a:pt x="39226" y="18285"/>
                    <a:pt x="33508" y="11486"/>
                    <a:pt x="25769" y="10731"/>
                  </a:cubicBezTo>
                  <a:lnTo>
                    <a:pt x="25769" y="10731"/>
                  </a:lnTo>
                  <a:cubicBezTo>
                    <a:pt x="17867" y="10731"/>
                    <a:pt x="11461" y="17136"/>
                    <a:pt x="11461" y="25038"/>
                  </a:cubicBezTo>
                  <a:lnTo>
                    <a:pt x="10746" y="24037"/>
                  </a:lnTo>
                  <a:cubicBezTo>
                    <a:pt x="10400" y="31579"/>
                    <a:pt x="15974" y="38094"/>
                    <a:pt x="23480" y="3891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4" name="Freeform: Shape 223">
              <a:extLst>
                <a:ext uri="{FF2B5EF4-FFF2-40B4-BE49-F238E27FC236}">
                  <a16:creationId xmlns:a16="http://schemas.microsoft.com/office/drawing/2014/main" id="{6E94BBA2-FEF6-4C61-825C-145531D3A611}"/>
                </a:ext>
              </a:extLst>
            </p:cNvPr>
            <p:cNvSpPr/>
            <p:nvPr/>
          </p:nvSpPr>
          <p:spPr>
            <a:xfrm>
              <a:off x="5614537" y="6253564"/>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5" name="Freeform: Shape 224">
              <a:extLst>
                <a:ext uri="{FF2B5EF4-FFF2-40B4-BE49-F238E27FC236}">
                  <a16:creationId xmlns:a16="http://schemas.microsoft.com/office/drawing/2014/main" id="{0B3C1C0A-469E-4D73-8F98-AA2505EDBA19}"/>
                </a:ext>
              </a:extLst>
            </p:cNvPr>
            <p:cNvSpPr/>
            <p:nvPr/>
          </p:nvSpPr>
          <p:spPr>
            <a:xfrm>
              <a:off x="5379322" y="6258229"/>
              <a:ext cx="28615" cy="28615"/>
            </a:xfrm>
            <a:custGeom>
              <a:avLst/>
              <a:gdLst>
                <a:gd name="connsiteX0" fmla="*/ 23464 w 28614"/>
                <a:gd name="connsiteY0" fmla="*/ 30387 h 28614"/>
                <a:gd name="connsiteX1" fmla="*/ 30385 w 28614"/>
                <a:gd name="connsiteY1" fmla="*/ 18030 h 28614"/>
                <a:gd name="connsiteX2" fmla="*/ 18026 w 28614"/>
                <a:gd name="connsiteY2" fmla="*/ 11110 h 28614"/>
                <a:gd name="connsiteX3" fmla="*/ 10731 w 28614"/>
                <a:gd name="connsiteY3" fmla="*/ 20658 h 28614"/>
                <a:gd name="connsiteX4" fmla="*/ 23407 w 28614"/>
                <a:gd name="connsiteY4" fmla="*/ 30395 h 28614"/>
                <a:gd name="connsiteX5" fmla="*/ 23464 w 28614"/>
                <a:gd name="connsiteY5" fmla="*/ 3038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464" y="30387"/>
                  </a:moveTo>
                  <a:cubicBezTo>
                    <a:pt x="28788" y="28885"/>
                    <a:pt x="31886" y="23352"/>
                    <a:pt x="30385" y="18030"/>
                  </a:cubicBezTo>
                  <a:cubicBezTo>
                    <a:pt x="28883" y="12706"/>
                    <a:pt x="23350" y="9607"/>
                    <a:pt x="18026" y="11110"/>
                  </a:cubicBezTo>
                  <a:cubicBezTo>
                    <a:pt x="13742" y="12317"/>
                    <a:pt x="10771" y="16207"/>
                    <a:pt x="10731" y="20658"/>
                  </a:cubicBezTo>
                  <a:cubicBezTo>
                    <a:pt x="11543" y="26848"/>
                    <a:pt x="17218" y="31207"/>
                    <a:pt x="23407" y="30395"/>
                  </a:cubicBezTo>
                  <a:cubicBezTo>
                    <a:pt x="23427" y="30392"/>
                    <a:pt x="23446" y="30390"/>
                    <a:pt x="23464" y="3038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6" name="Freeform: Shape 225">
              <a:extLst>
                <a:ext uri="{FF2B5EF4-FFF2-40B4-BE49-F238E27FC236}">
                  <a16:creationId xmlns:a16="http://schemas.microsoft.com/office/drawing/2014/main" id="{0573A6BE-9B7F-4D4E-9F3C-A176393E8B6E}"/>
                </a:ext>
              </a:extLst>
            </p:cNvPr>
            <p:cNvSpPr/>
            <p:nvPr/>
          </p:nvSpPr>
          <p:spPr>
            <a:xfrm>
              <a:off x="5379322" y="6158420"/>
              <a:ext cx="42922" cy="28615"/>
            </a:xfrm>
            <a:custGeom>
              <a:avLst/>
              <a:gdLst>
                <a:gd name="connsiteX0" fmla="*/ 23464 w 42922"/>
                <a:gd name="connsiteY0" fmla="*/ 30760 h 28614"/>
                <a:gd name="connsiteX1" fmla="*/ 33374 w 42922"/>
                <a:gd name="connsiteY1" fmla="*/ 20639 h 28614"/>
                <a:gd name="connsiteX2" fmla="*/ 23253 w 42922"/>
                <a:gd name="connsiteY2" fmla="*/ 10731 h 28614"/>
                <a:gd name="connsiteX3" fmla="*/ 20460 w 42922"/>
                <a:gd name="connsiteY3" fmla="*/ 11159 h 28614"/>
                <a:gd name="connsiteX4" fmla="*/ 10731 w 42922"/>
                <a:gd name="connsiteY4" fmla="*/ 20888 h 28614"/>
                <a:gd name="connsiteX5" fmla="*/ 23284 w 42922"/>
                <a:gd name="connsiteY5" fmla="*/ 30783 h 28614"/>
                <a:gd name="connsiteX6" fmla="*/ 23464 w 42922"/>
                <a:gd name="connsiteY6" fmla="*/ 3076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28614">
                  <a:moveTo>
                    <a:pt x="23464" y="30760"/>
                  </a:moveTo>
                  <a:cubicBezTo>
                    <a:pt x="28996" y="30702"/>
                    <a:pt x="33431" y="26170"/>
                    <a:pt x="33374" y="20639"/>
                  </a:cubicBezTo>
                  <a:cubicBezTo>
                    <a:pt x="33315" y="15109"/>
                    <a:pt x="28784" y="10673"/>
                    <a:pt x="23253" y="10731"/>
                  </a:cubicBezTo>
                  <a:cubicBezTo>
                    <a:pt x="22305" y="10741"/>
                    <a:pt x="21365" y="10884"/>
                    <a:pt x="20460" y="11159"/>
                  </a:cubicBezTo>
                  <a:cubicBezTo>
                    <a:pt x="15342" y="11730"/>
                    <a:pt x="11301" y="15769"/>
                    <a:pt x="10731" y="20888"/>
                  </a:cubicBezTo>
                  <a:cubicBezTo>
                    <a:pt x="11465" y="27088"/>
                    <a:pt x="17086" y="31517"/>
                    <a:pt x="23284" y="30783"/>
                  </a:cubicBezTo>
                  <a:cubicBezTo>
                    <a:pt x="23344" y="30776"/>
                    <a:pt x="23404" y="30769"/>
                    <a:pt x="23464" y="3076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7" name="Freeform: Shape 226">
              <a:extLst>
                <a:ext uri="{FF2B5EF4-FFF2-40B4-BE49-F238E27FC236}">
                  <a16:creationId xmlns:a16="http://schemas.microsoft.com/office/drawing/2014/main" id="{3485F677-81C4-468D-AFAD-A2FE3F87CFC3}"/>
                </a:ext>
              </a:extLst>
            </p:cNvPr>
            <p:cNvSpPr/>
            <p:nvPr/>
          </p:nvSpPr>
          <p:spPr>
            <a:xfrm>
              <a:off x="5223084" y="6208638"/>
              <a:ext cx="28615" cy="28615"/>
            </a:xfrm>
            <a:custGeom>
              <a:avLst/>
              <a:gdLst>
                <a:gd name="connsiteX0" fmla="*/ 10731 w 28614"/>
                <a:gd name="connsiteY0" fmla="*/ 19887 h 28614"/>
                <a:gd name="connsiteX1" fmla="*/ 19887 w 28614"/>
                <a:gd name="connsiteY1" fmla="*/ 29330 h 28614"/>
                <a:gd name="connsiteX2" fmla="*/ 29187 w 28614"/>
                <a:gd name="connsiteY2" fmla="*/ 20030 h 28614"/>
                <a:gd name="connsiteX3" fmla="*/ 19887 w 28614"/>
                <a:gd name="connsiteY3" fmla="*/ 10731 h 28614"/>
                <a:gd name="connsiteX4" fmla="*/ 10731 w 28614"/>
                <a:gd name="connsiteY4" fmla="*/ 19887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0731" y="19887"/>
                  </a:moveTo>
                  <a:cubicBezTo>
                    <a:pt x="10728" y="24992"/>
                    <a:pt x="14784" y="29176"/>
                    <a:pt x="19887" y="29330"/>
                  </a:cubicBezTo>
                  <a:cubicBezTo>
                    <a:pt x="25024" y="29330"/>
                    <a:pt x="29187" y="25167"/>
                    <a:pt x="29187" y="20030"/>
                  </a:cubicBezTo>
                  <a:cubicBezTo>
                    <a:pt x="29187" y="14894"/>
                    <a:pt x="25024" y="10731"/>
                    <a:pt x="19887" y="10731"/>
                  </a:cubicBezTo>
                  <a:cubicBezTo>
                    <a:pt x="14830" y="10731"/>
                    <a:pt x="10731" y="14830"/>
                    <a:pt x="10731" y="1988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8" name="Freeform: Shape 227">
              <a:extLst>
                <a:ext uri="{FF2B5EF4-FFF2-40B4-BE49-F238E27FC236}">
                  <a16:creationId xmlns:a16="http://schemas.microsoft.com/office/drawing/2014/main" id="{3CCC15E3-D109-43D9-9030-7A2C91664E33}"/>
                </a:ext>
              </a:extLst>
            </p:cNvPr>
            <p:cNvSpPr/>
            <p:nvPr/>
          </p:nvSpPr>
          <p:spPr>
            <a:xfrm>
              <a:off x="5536275" y="6155414"/>
              <a:ext cx="42922" cy="42922"/>
            </a:xfrm>
            <a:custGeom>
              <a:avLst/>
              <a:gdLst>
                <a:gd name="connsiteX0" fmla="*/ 23893 w 42922"/>
                <a:gd name="connsiteY0" fmla="*/ 37056 h 42922"/>
                <a:gd name="connsiteX1" fmla="*/ 37056 w 42922"/>
                <a:gd name="connsiteY1" fmla="*/ 23893 h 42922"/>
                <a:gd name="connsiteX2" fmla="*/ 23893 w 42922"/>
                <a:gd name="connsiteY2" fmla="*/ 10731 h 42922"/>
                <a:gd name="connsiteX3" fmla="*/ 10731 w 42922"/>
                <a:gd name="connsiteY3" fmla="*/ 23893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3"/>
                  </a:cubicBezTo>
                  <a:cubicBezTo>
                    <a:pt x="37056" y="16624"/>
                    <a:pt x="31163" y="10731"/>
                    <a:pt x="23893" y="10731"/>
                  </a:cubicBezTo>
                  <a:cubicBezTo>
                    <a:pt x="16624" y="10731"/>
                    <a:pt x="10731" y="16624"/>
                    <a:pt x="10731" y="23893"/>
                  </a:cubicBezTo>
                  <a:cubicBezTo>
                    <a:pt x="10731" y="31163"/>
                    <a:pt x="16624" y="37056"/>
                    <a:pt x="23893"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29" name="Freeform: Shape 228">
              <a:extLst>
                <a:ext uri="{FF2B5EF4-FFF2-40B4-BE49-F238E27FC236}">
                  <a16:creationId xmlns:a16="http://schemas.microsoft.com/office/drawing/2014/main" id="{BDDA29D8-D2A4-464E-90F1-A478DAE2EF6A}"/>
                </a:ext>
              </a:extLst>
            </p:cNvPr>
            <p:cNvSpPr/>
            <p:nvPr/>
          </p:nvSpPr>
          <p:spPr>
            <a:xfrm>
              <a:off x="5457727" y="6156559"/>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0" name="Freeform: Shape 229">
              <a:extLst>
                <a:ext uri="{FF2B5EF4-FFF2-40B4-BE49-F238E27FC236}">
                  <a16:creationId xmlns:a16="http://schemas.microsoft.com/office/drawing/2014/main" id="{408ABFB0-82A1-4FE5-8964-4E3C878BEEBC}"/>
                </a:ext>
              </a:extLst>
            </p:cNvPr>
            <p:cNvSpPr/>
            <p:nvPr/>
          </p:nvSpPr>
          <p:spPr>
            <a:xfrm>
              <a:off x="5536274" y="6254708"/>
              <a:ext cx="42922" cy="42922"/>
            </a:xfrm>
            <a:custGeom>
              <a:avLst/>
              <a:gdLst>
                <a:gd name="connsiteX0" fmla="*/ 23895 w 42922"/>
                <a:gd name="connsiteY0" fmla="*/ 37056 h 42922"/>
                <a:gd name="connsiteX1" fmla="*/ 37056 w 42922"/>
                <a:gd name="connsiteY1" fmla="*/ 23892 h 42922"/>
                <a:gd name="connsiteX2" fmla="*/ 23893 w 42922"/>
                <a:gd name="connsiteY2" fmla="*/ 10731 h 42922"/>
                <a:gd name="connsiteX3" fmla="*/ 10731 w 42922"/>
                <a:gd name="connsiteY3" fmla="*/ 23895 h 42922"/>
                <a:gd name="connsiteX4" fmla="*/ 10732 w 42922"/>
                <a:gd name="connsiteY4" fmla="*/ 24036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3"/>
                    <a:pt x="37056" y="23892"/>
                  </a:cubicBezTo>
                  <a:cubicBezTo>
                    <a:pt x="37056" y="16622"/>
                    <a:pt x="31163" y="10731"/>
                    <a:pt x="23893" y="10731"/>
                  </a:cubicBezTo>
                  <a:cubicBezTo>
                    <a:pt x="16624" y="10731"/>
                    <a:pt x="10731" y="16625"/>
                    <a:pt x="10731" y="23895"/>
                  </a:cubicBezTo>
                  <a:cubicBezTo>
                    <a:pt x="10731" y="23942"/>
                    <a:pt x="10732" y="23989"/>
                    <a:pt x="10732" y="24036"/>
                  </a:cubicBezTo>
                  <a:cubicBezTo>
                    <a:pt x="10811" y="31250"/>
                    <a:pt x="16681" y="37056"/>
                    <a:pt x="23895"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1" name="Freeform: Shape 230">
              <a:extLst>
                <a:ext uri="{FF2B5EF4-FFF2-40B4-BE49-F238E27FC236}">
                  <a16:creationId xmlns:a16="http://schemas.microsoft.com/office/drawing/2014/main" id="{215383B1-3B93-4B93-A4E0-DB65A493702A}"/>
                </a:ext>
              </a:extLst>
            </p:cNvPr>
            <p:cNvSpPr/>
            <p:nvPr/>
          </p:nvSpPr>
          <p:spPr>
            <a:xfrm>
              <a:off x="6037037" y="6167862"/>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232" name="Freeform: Shape 231">
              <a:extLst>
                <a:ext uri="{FF2B5EF4-FFF2-40B4-BE49-F238E27FC236}">
                  <a16:creationId xmlns:a16="http://schemas.microsoft.com/office/drawing/2014/main" id="{BFC7636F-F4C3-40B8-B216-9DCC18705A2B}"/>
                </a:ext>
              </a:extLst>
            </p:cNvPr>
            <p:cNvSpPr/>
            <p:nvPr/>
          </p:nvSpPr>
          <p:spPr>
            <a:xfrm>
              <a:off x="6015719" y="6107769"/>
              <a:ext cx="28615" cy="28615"/>
            </a:xfrm>
            <a:custGeom>
              <a:avLst/>
              <a:gdLst>
                <a:gd name="connsiteX0" fmla="*/ 21032 w 28614"/>
                <a:gd name="connsiteY0" fmla="*/ 10732 h 28614"/>
                <a:gd name="connsiteX1" fmla="*/ 10731 w 28614"/>
                <a:gd name="connsiteY1" fmla="*/ 20745 h 28614"/>
                <a:gd name="connsiteX2" fmla="*/ 10731 w 28614"/>
                <a:gd name="connsiteY2" fmla="*/ 20747 h 28614"/>
                <a:gd name="connsiteX3" fmla="*/ 10731 w 28614"/>
                <a:gd name="connsiteY3" fmla="*/ 20747 h 28614"/>
                <a:gd name="connsiteX4" fmla="*/ 21032 w 28614"/>
                <a:gd name="connsiteY4" fmla="*/ 31191 h 28614"/>
                <a:gd name="connsiteX5" fmla="*/ 31332 w 28614"/>
                <a:gd name="connsiteY5" fmla="*/ 21178 h 28614"/>
                <a:gd name="connsiteX6" fmla="*/ 31333 w 28614"/>
                <a:gd name="connsiteY6" fmla="*/ 21033 h 28614"/>
                <a:gd name="connsiteX7" fmla="*/ 31333 w 28614"/>
                <a:gd name="connsiteY7" fmla="*/ 21033 h 28614"/>
                <a:gd name="connsiteX8" fmla="*/ 21320 w 28614"/>
                <a:gd name="connsiteY8" fmla="*/ 10732 h 28614"/>
                <a:gd name="connsiteX9" fmla="*/ 21032 w 28614"/>
                <a:gd name="connsiteY9"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032" y="10732"/>
                  </a:moveTo>
                  <a:cubicBezTo>
                    <a:pt x="15422" y="10652"/>
                    <a:pt x="10811" y="15136"/>
                    <a:pt x="10731" y="20745"/>
                  </a:cubicBezTo>
                  <a:cubicBezTo>
                    <a:pt x="10731" y="20745"/>
                    <a:pt x="10731" y="20747"/>
                    <a:pt x="10731" y="20747"/>
                  </a:cubicBezTo>
                  <a:lnTo>
                    <a:pt x="10731" y="20747"/>
                  </a:lnTo>
                  <a:cubicBezTo>
                    <a:pt x="10731" y="26460"/>
                    <a:pt x="15319" y="31113"/>
                    <a:pt x="21032" y="31191"/>
                  </a:cubicBezTo>
                  <a:cubicBezTo>
                    <a:pt x="26642" y="31270"/>
                    <a:pt x="31253" y="26788"/>
                    <a:pt x="31332" y="21178"/>
                  </a:cubicBezTo>
                  <a:cubicBezTo>
                    <a:pt x="31333" y="21129"/>
                    <a:pt x="31333" y="21082"/>
                    <a:pt x="31333" y="21033"/>
                  </a:cubicBezTo>
                  <a:lnTo>
                    <a:pt x="31333" y="21033"/>
                  </a:lnTo>
                  <a:cubicBezTo>
                    <a:pt x="31414" y="15423"/>
                    <a:pt x="26930" y="10812"/>
                    <a:pt x="21320" y="10732"/>
                  </a:cubicBezTo>
                  <a:cubicBezTo>
                    <a:pt x="21224" y="10730"/>
                    <a:pt x="21128" y="10730"/>
                    <a:pt x="2103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3" name="Freeform: Shape 232">
              <a:extLst>
                <a:ext uri="{FF2B5EF4-FFF2-40B4-BE49-F238E27FC236}">
                  <a16:creationId xmlns:a16="http://schemas.microsoft.com/office/drawing/2014/main" id="{603ABAF0-DF7F-4C65-80CB-2B02DFC585CB}"/>
                </a:ext>
              </a:extLst>
            </p:cNvPr>
            <p:cNvSpPr/>
            <p:nvPr/>
          </p:nvSpPr>
          <p:spPr>
            <a:xfrm>
              <a:off x="5067314" y="6311365"/>
              <a:ext cx="28615" cy="28615"/>
            </a:xfrm>
            <a:custGeom>
              <a:avLst/>
              <a:gdLst>
                <a:gd name="connsiteX0" fmla="*/ 16129 w 28614"/>
                <a:gd name="connsiteY0" fmla="*/ 25325 h 28614"/>
                <a:gd name="connsiteX1" fmla="*/ 25326 w 28614"/>
                <a:gd name="connsiteY1" fmla="*/ 20214 h 28614"/>
                <a:gd name="connsiteX2" fmla="*/ 20216 w 28614"/>
                <a:gd name="connsiteY2" fmla="*/ 11017 h 28614"/>
                <a:gd name="connsiteX3" fmla="*/ 16129 w 28614"/>
                <a:gd name="connsiteY3" fmla="*/ 11017 h 28614"/>
                <a:gd name="connsiteX4" fmla="*/ 11019 w 28614"/>
                <a:gd name="connsiteY4" fmla="*/ 20214 h 28614"/>
                <a:gd name="connsiteX5" fmla="*/ 16129 w 28614"/>
                <a:gd name="connsiteY5"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6129" y="25325"/>
                  </a:moveTo>
                  <a:cubicBezTo>
                    <a:pt x="20080" y="26454"/>
                    <a:pt x="24198" y="24166"/>
                    <a:pt x="25326" y="20214"/>
                  </a:cubicBezTo>
                  <a:cubicBezTo>
                    <a:pt x="26455" y="16264"/>
                    <a:pt x="24167" y="12146"/>
                    <a:pt x="20216" y="11017"/>
                  </a:cubicBezTo>
                  <a:cubicBezTo>
                    <a:pt x="18880" y="10635"/>
                    <a:pt x="17464" y="10635"/>
                    <a:pt x="16129" y="11017"/>
                  </a:cubicBezTo>
                  <a:cubicBezTo>
                    <a:pt x="12178" y="12146"/>
                    <a:pt x="9890" y="16264"/>
                    <a:pt x="11019" y="20214"/>
                  </a:cubicBezTo>
                  <a:cubicBezTo>
                    <a:pt x="11725" y="22686"/>
                    <a:pt x="13657" y="24618"/>
                    <a:pt x="16129" y="253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4" name="Freeform: Shape 233">
              <a:extLst>
                <a:ext uri="{FF2B5EF4-FFF2-40B4-BE49-F238E27FC236}">
                  <a16:creationId xmlns:a16="http://schemas.microsoft.com/office/drawing/2014/main" id="{BB54789E-A054-49B2-A8C8-2E80D0312C38}"/>
                </a:ext>
              </a:extLst>
            </p:cNvPr>
            <p:cNvSpPr/>
            <p:nvPr/>
          </p:nvSpPr>
          <p:spPr>
            <a:xfrm>
              <a:off x="5935740" y="6356001"/>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4"/>
                    <a:pt x="15745" y="33327"/>
                    <a:pt x="22033" y="33483"/>
                  </a:cubicBezTo>
                  <a:lnTo>
                    <a:pt x="22033" y="33483"/>
                  </a:lnTo>
                  <a:cubicBezTo>
                    <a:pt x="28316" y="32778"/>
                    <a:pt x="32836" y="27114"/>
                    <a:pt x="32130" y="20831"/>
                  </a:cubicBezTo>
                  <a:cubicBezTo>
                    <a:pt x="31534" y="15522"/>
                    <a:pt x="27343" y="11331"/>
                    <a:pt x="22033"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5" name="Freeform: Shape 234">
              <a:extLst>
                <a:ext uri="{FF2B5EF4-FFF2-40B4-BE49-F238E27FC236}">
                  <a16:creationId xmlns:a16="http://schemas.microsoft.com/office/drawing/2014/main" id="{F95D8F1F-14B9-4D89-9241-1ADE6622C18C}"/>
                </a:ext>
              </a:extLst>
            </p:cNvPr>
            <p:cNvSpPr/>
            <p:nvPr/>
          </p:nvSpPr>
          <p:spPr>
            <a:xfrm>
              <a:off x="5935740" y="6256564"/>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5"/>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6" name="Freeform: Shape 235">
              <a:extLst>
                <a:ext uri="{FF2B5EF4-FFF2-40B4-BE49-F238E27FC236}">
                  <a16:creationId xmlns:a16="http://schemas.microsoft.com/office/drawing/2014/main" id="{90F26DA2-1F61-44D0-B0B8-C878D350795F}"/>
                </a:ext>
              </a:extLst>
            </p:cNvPr>
            <p:cNvSpPr/>
            <p:nvPr/>
          </p:nvSpPr>
          <p:spPr>
            <a:xfrm>
              <a:off x="6013620" y="6307050"/>
              <a:ext cx="42922" cy="28615"/>
            </a:xfrm>
            <a:custGeom>
              <a:avLst/>
              <a:gdLst>
                <a:gd name="connsiteX0" fmla="*/ 23989 w 42922"/>
                <a:gd name="connsiteY0" fmla="*/ 11184 h 28614"/>
                <a:gd name="connsiteX1" fmla="*/ 11184 w 42922"/>
                <a:gd name="connsiteY1" fmla="*/ 17980 h 28614"/>
                <a:gd name="connsiteX2" fmla="*/ 17980 w 42922"/>
                <a:gd name="connsiteY2" fmla="*/ 30785 h 28614"/>
                <a:gd name="connsiteX3" fmla="*/ 23560 w 42922"/>
                <a:gd name="connsiteY3" fmla="*/ 30785 h 28614"/>
                <a:gd name="connsiteX4" fmla="*/ 33718 w 42922"/>
                <a:gd name="connsiteY4" fmla="*/ 21056 h 28614"/>
                <a:gd name="connsiteX5" fmla="*/ 23989 w 42922"/>
                <a:gd name="connsiteY5" fmla="*/ 1118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989" y="11184"/>
                  </a:moveTo>
                  <a:cubicBezTo>
                    <a:pt x="18576" y="9524"/>
                    <a:pt x="12843" y="12567"/>
                    <a:pt x="11184" y="17980"/>
                  </a:cubicBezTo>
                  <a:cubicBezTo>
                    <a:pt x="9524" y="23392"/>
                    <a:pt x="12567" y="29125"/>
                    <a:pt x="17980" y="30785"/>
                  </a:cubicBezTo>
                  <a:cubicBezTo>
                    <a:pt x="19795" y="31356"/>
                    <a:pt x="21744" y="31356"/>
                    <a:pt x="23560" y="30785"/>
                  </a:cubicBezTo>
                  <a:cubicBezTo>
                    <a:pt x="29006" y="30789"/>
                    <a:pt x="33488" y="26497"/>
                    <a:pt x="33718" y="21056"/>
                  </a:cubicBezTo>
                  <a:cubicBezTo>
                    <a:pt x="33505" y="15749"/>
                    <a:pt x="29291" y="11474"/>
                    <a:pt x="23989" y="1118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7" name="Freeform: Shape 236">
              <a:extLst>
                <a:ext uri="{FF2B5EF4-FFF2-40B4-BE49-F238E27FC236}">
                  <a16:creationId xmlns:a16="http://schemas.microsoft.com/office/drawing/2014/main" id="{DA1C4C55-C728-437C-8B60-40FEAEBB85AE}"/>
                </a:ext>
              </a:extLst>
            </p:cNvPr>
            <p:cNvSpPr/>
            <p:nvPr/>
          </p:nvSpPr>
          <p:spPr>
            <a:xfrm>
              <a:off x="5854903" y="6105767"/>
              <a:ext cx="42922" cy="42922"/>
            </a:xfrm>
            <a:custGeom>
              <a:avLst/>
              <a:gdLst>
                <a:gd name="connsiteX0" fmla="*/ 24609 w 42922"/>
                <a:gd name="connsiteY0" fmla="*/ 10731 h 42922"/>
                <a:gd name="connsiteX1" fmla="*/ 22892 w 42922"/>
                <a:gd name="connsiteY1" fmla="*/ 10731 h 42922"/>
                <a:gd name="connsiteX2" fmla="*/ 10731 w 42922"/>
                <a:gd name="connsiteY2" fmla="*/ 22892 h 42922"/>
                <a:gd name="connsiteX3" fmla="*/ 22892 w 42922"/>
                <a:gd name="connsiteY3" fmla="*/ 35053 h 42922"/>
                <a:gd name="connsiteX4" fmla="*/ 35045 w 42922"/>
                <a:gd name="connsiteY4" fmla="*/ 23758 h 42922"/>
                <a:gd name="connsiteX5" fmla="*/ 35053 w 42922"/>
                <a:gd name="connsiteY5" fmla="*/ 23321 h 42922"/>
                <a:gd name="connsiteX6" fmla="*/ 35053 w 42922"/>
                <a:gd name="connsiteY6" fmla="*/ 23321 h 42922"/>
                <a:gd name="connsiteX7" fmla="*/ 35912 w 42922"/>
                <a:gd name="connsiteY7" fmla="*/ 24180 h 42922"/>
                <a:gd name="connsiteX8" fmla="*/ 25135 w 42922"/>
                <a:gd name="connsiteY8" fmla="*/ 10776 h 42922"/>
                <a:gd name="connsiteX9" fmla="*/ 24609 w 42922"/>
                <a:gd name="connsiteY9"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4609" y="10731"/>
                  </a:moveTo>
                  <a:lnTo>
                    <a:pt x="22892" y="10731"/>
                  </a:lnTo>
                  <a:cubicBezTo>
                    <a:pt x="16176" y="10731"/>
                    <a:pt x="10731" y="16176"/>
                    <a:pt x="10731" y="22892"/>
                  </a:cubicBezTo>
                  <a:cubicBezTo>
                    <a:pt x="10731" y="29608"/>
                    <a:pt x="16176" y="35053"/>
                    <a:pt x="22892" y="35053"/>
                  </a:cubicBezTo>
                  <a:cubicBezTo>
                    <a:pt x="29367" y="35291"/>
                    <a:pt x="34809" y="30233"/>
                    <a:pt x="35045" y="23758"/>
                  </a:cubicBezTo>
                  <a:cubicBezTo>
                    <a:pt x="35050" y="23613"/>
                    <a:pt x="35053" y="23467"/>
                    <a:pt x="35053" y="23321"/>
                  </a:cubicBezTo>
                  <a:lnTo>
                    <a:pt x="35053" y="23321"/>
                  </a:lnTo>
                  <a:lnTo>
                    <a:pt x="35912" y="24180"/>
                  </a:lnTo>
                  <a:cubicBezTo>
                    <a:pt x="36637" y="17502"/>
                    <a:pt x="31813" y="11502"/>
                    <a:pt x="25135" y="10776"/>
                  </a:cubicBezTo>
                  <a:cubicBezTo>
                    <a:pt x="24959" y="10758"/>
                    <a:pt x="24785" y="10742"/>
                    <a:pt x="2460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8" name="Freeform: Shape 237">
              <a:extLst>
                <a:ext uri="{FF2B5EF4-FFF2-40B4-BE49-F238E27FC236}">
                  <a16:creationId xmlns:a16="http://schemas.microsoft.com/office/drawing/2014/main" id="{E4B87CCE-9085-4310-BF98-20DCE2A99DF5}"/>
                </a:ext>
              </a:extLst>
            </p:cNvPr>
            <p:cNvSpPr/>
            <p:nvPr/>
          </p:nvSpPr>
          <p:spPr>
            <a:xfrm>
              <a:off x="5935130" y="6108112"/>
              <a:ext cx="42922" cy="28615"/>
            </a:xfrm>
            <a:custGeom>
              <a:avLst/>
              <a:gdLst>
                <a:gd name="connsiteX0" fmla="*/ 23645 w 42922"/>
                <a:gd name="connsiteY0" fmla="*/ 30419 h 28614"/>
                <a:gd name="connsiteX1" fmla="*/ 33374 w 42922"/>
                <a:gd name="connsiteY1" fmla="*/ 20547 h 28614"/>
                <a:gd name="connsiteX2" fmla="*/ 20640 w 42922"/>
                <a:gd name="connsiteY2" fmla="*/ 10818 h 28614"/>
                <a:gd name="connsiteX3" fmla="*/ 10731 w 42922"/>
                <a:gd name="connsiteY3" fmla="*/ 20939 h 28614"/>
                <a:gd name="connsiteX4" fmla="*/ 20852 w 42922"/>
                <a:gd name="connsiteY4" fmla="*/ 30847 h 28614"/>
                <a:gd name="connsiteX5" fmla="*/ 23645 w 42922"/>
                <a:gd name="connsiteY5" fmla="*/ 3041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645" y="30419"/>
                  </a:moveTo>
                  <a:cubicBezTo>
                    <a:pt x="28716" y="29644"/>
                    <a:pt x="32673" y="25628"/>
                    <a:pt x="33374" y="20547"/>
                  </a:cubicBezTo>
                  <a:cubicBezTo>
                    <a:pt x="32487" y="14378"/>
                    <a:pt x="26826" y="10054"/>
                    <a:pt x="20640" y="10818"/>
                  </a:cubicBezTo>
                  <a:cubicBezTo>
                    <a:pt x="15109" y="10877"/>
                    <a:pt x="10674" y="15408"/>
                    <a:pt x="10731" y="20939"/>
                  </a:cubicBezTo>
                  <a:cubicBezTo>
                    <a:pt x="10790" y="26469"/>
                    <a:pt x="15321" y="30906"/>
                    <a:pt x="20852" y="30847"/>
                  </a:cubicBezTo>
                  <a:cubicBezTo>
                    <a:pt x="21799" y="30837"/>
                    <a:pt x="22739" y="30694"/>
                    <a:pt x="23645" y="3041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39" name="Freeform: Shape 238">
              <a:extLst>
                <a:ext uri="{FF2B5EF4-FFF2-40B4-BE49-F238E27FC236}">
                  <a16:creationId xmlns:a16="http://schemas.microsoft.com/office/drawing/2014/main" id="{5A6325A4-8765-497F-B55E-73D712CC31A4}"/>
                </a:ext>
              </a:extLst>
            </p:cNvPr>
            <p:cNvSpPr/>
            <p:nvPr/>
          </p:nvSpPr>
          <p:spPr>
            <a:xfrm>
              <a:off x="6016577" y="6357150"/>
              <a:ext cx="28615" cy="28615"/>
            </a:xfrm>
            <a:custGeom>
              <a:avLst/>
              <a:gdLst>
                <a:gd name="connsiteX0" fmla="*/ 21175 w 28614"/>
                <a:gd name="connsiteY0" fmla="*/ 10731 h 28614"/>
                <a:gd name="connsiteX1" fmla="*/ 21175 w 28614"/>
                <a:gd name="connsiteY1" fmla="*/ 10731 h 28614"/>
                <a:gd name="connsiteX2" fmla="*/ 10731 w 28614"/>
                <a:gd name="connsiteY2" fmla="*/ 21175 h 28614"/>
                <a:gd name="connsiteX3" fmla="*/ 20889 w 28614"/>
                <a:gd name="connsiteY3" fmla="*/ 31333 h 28614"/>
                <a:gd name="connsiteX4" fmla="*/ 20889 w 28614"/>
                <a:gd name="connsiteY4" fmla="*/ 31333 h 28614"/>
                <a:gd name="connsiteX5" fmla="*/ 31190 w 28614"/>
                <a:gd name="connsiteY5" fmla="*/ 21032 h 28614"/>
                <a:gd name="connsiteX6" fmla="*/ 20889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175" y="10731"/>
                  </a:moveTo>
                  <a:lnTo>
                    <a:pt x="21175" y="10731"/>
                  </a:lnTo>
                  <a:cubicBezTo>
                    <a:pt x="15406" y="10731"/>
                    <a:pt x="10731" y="15406"/>
                    <a:pt x="10731" y="21175"/>
                  </a:cubicBezTo>
                  <a:cubicBezTo>
                    <a:pt x="10731" y="26785"/>
                    <a:pt x="15279" y="31333"/>
                    <a:pt x="20889" y="31333"/>
                  </a:cubicBezTo>
                  <a:lnTo>
                    <a:pt x="20889" y="31333"/>
                  </a:lnTo>
                  <a:cubicBezTo>
                    <a:pt x="26578" y="31333"/>
                    <a:pt x="31190" y="26721"/>
                    <a:pt x="31190" y="21032"/>
                  </a:cubicBezTo>
                  <a:cubicBezTo>
                    <a:pt x="31190" y="15343"/>
                    <a:pt x="26578" y="10731"/>
                    <a:pt x="2088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0" name="Freeform: Shape 239">
              <a:extLst>
                <a:ext uri="{FF2B5EF4-FFF2-40B4-BE49-F238E27FC236}">
                  <a16:creationId xmlns:a16="http://schemas.microsoft.com/office/drawing/2014/main" id="{2AFD4E17-7207-4E56-9BC3-D9A9989D3C9A}"/>
                </a:ext>
              </a:extLst>
            </p:cNvPr>
            <p:cNvSpPr/>
            <p:nvPr/>
          </p:nvSpPr>
          <p:spPr>
            <a:xfrm>
              <a:off x="5855761" y="6156416"/>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1" name="Freeform: Shape 240">
              <a:extLst>
                <a:ext uri="{FF2B5EF4-FFF2-40B4-BE49-F238E27FC236}">
                  <a16:creationId xmlns:a16="http://schemas.microsoft.com/office/drawing/2014/main" id="{3C3AF166-2106-4788-8951-7E320C24C5BC}"/>
                </a:ext>
              </a:extLst>
            </p:cNvPr>
            <p:cNvSpPr/>
            <p:nvPr/>
          </p:nvSpPr>
          <p:spPr>
            <a:xfrm>
              <a:off x="6037037" y="6317804"/>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solidFill>
              <a:srgbClr val="00BCEB">
                <a:alpha val="81000"/>
              </a:srgbClr>
            </a:solidFill>
            <a:ln w="9525" cap="flat">
              <a:noFill/>
              <a:prstDash val="solid"/>
              <a:miter/>
            </a:ln>
          </p:spPr>
          <p:txBody>
            <a:bodyPr rtlCol="0" anchor="ctr"/>
            <a:lstStyle/>
            <a:p>
              <a:endParaRPr lang="en-US" dirty="0"/>
            </a:p>
          </p:txBody>
        </p:sp>
        <p:sp>
          <p:nvSpPr>
            <p:cNvPr id="242" name="Freeform: Shape 241">
              <a:extLst>
                <a:ext uri="{FF2B5EF4-FFF2-40B4-BE49-F238E27FC236}">
                  <a16:creationId xmlns:a16="http://schemas.microsoft.com/office/drawing/2014/main" id="{E1CB1144-9C6C-42E0-AF65-F11656E60B64}"/>
                </a:ext>
              </a:extLst>
            </p:cNvPr>
            <p:cNvSpPr/>
            <p:nvPr/>
          </p:nvSpPr>
          <p:spPr>
            <a:xfrm>
              <a:off x="5935739" y="6156984"/>
              <a:ext cx="42922" cy="42922"/>
            </a:xfrm>
            <a:custGeom>
              <a:avLst/>
              <a:gdLst>
                <a:gd name="connsiteX0" fmla="*/ 22321 w 42922"/>
                <a:gd name="connsiteY0" fmla="*/ 10734 h 42922"/>
                <a:gd name="connsiteX1" fmla="*/ 10734 w 42922"/>
                <a:gd name="connsiteY1" fmla="*/ 21747 h 42922"/>
                <a:gd name="connsiteX2" fmla="*/ 10732 w 42922"/>
                <a:gd name="connsiteY2" fmla="*/ 21894 h 42922"/>
                <a:gd name="connsiteX3" fmla="*/ 22033 w 42922"/>
                <a:gd name="connsiteY3" fmla="*/ 33483 h 42922"/>
                <a:gd name="connsiteX4" fmla="*/ 22034 w 42922"/>
                <a:gd name="connsiteY4" fmla="*/ 33483 h 42922"/>
                <a:gd name="connsiteX5" fmla="*/ 22034 w 42922"/>
                <a:gd name="connsiteY5" fmla="*/ 33483 h 42922"/>
                <a:gd name="connsiteX6" fmla="*/ 33336 w 42922"/>
                <a:gd name="connsiteY6" fmla="*/ 22468 h 42922"/>
                <a:gd name="connsiteX7" fmla="*/ 33337 w 42922"/>
                <a:gd name="connsiteY7" fmla="*/ 22323 h 42922"/>
                <a:gd name="connsiteX8" fmla="*/ 22328 w 42922"/>
                <a:gd name="connsiteY8" fmla="*/ 10734 h 42922"/>
                <a:gd name="connsiteX9" fmla="*/ 22321 w 42922"/>
                <a:gd name="connsiteY9"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2321" y="10734"/>
                  </a:moveTo>
                  <a:cubicBezTo>
                    <a:pt x="16080" y="10576"/>
                    <a:pt x="10893" y="15506"/>
                    <a:pt x="10734" y="21747"/>
                  </a:cubicBezTo>
                  <a:cubicBezTo>
                    <a:pt x="10733" y="21795"/>
                    <a:pt x="10732" y="21845"/>
                    <a:pt x="10732" y="21894"/>
                  </a:cubicBezTo>
                  <a:cubicBezTo>
                    <a:pt x="10651" y="28215"/>
                    <a:pt x="15712" y="33403"/>
                    <a:pt x="22033" y="33483"/>
                  </a:cubicBezTo>
                  <a:cubicBezTo>
                    <a:pt x="22033" y="33483"/>
                    <a:pt x="22034" y="33483"/>
                    <a:pt x="22034" y="33483"/>
                  </a:cubicBezTo>
                  <a:lnTo>
                    <a:pt x="22034" y="33483"/>
                  </a:lnTo>
                  <a:cubicBezTo>
                    <a:pt x="28197" y="33562"/>
                    <a:pt x="33257" y="28630"/>
                    <a:pt x="33336" y="22468"/>
                  </a:cubicBezTo>
                  <a:cubicBezTo>
                    <a:pt x="33337" y="22419"/>
                    <a:pt x="33337" y="22372"/>
                    <a:pt x="33337" y="22323"/>
                  </a:cubicBezTo>
                  <a:cubicBezTo>
                    <a:pt x="33498" y="16082"/>
                    <a:pt x="28569" y="10895"/>
                    <a:pt x="22328" y="10734"/>
                  </a:cubicBezTo>
                  <a:cubicBezTo>
                    <a:pt x="22325" y="10734"/>
                    <a:pt x="22323" y="10734"/>
                    <a:pt x="22321" y="1073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3" name="Freeform: Shape 242">
              <a:extLst>
                <a:ext uri="{FF2B5EF4-FFF2-40B4-BE49-F238E27FC236}">
                  <a16:creationId xmlns:a16="http://schemas.microsoft.com/office/drawing/2014/main" id="{4DF06DA0-33DD-4E57-894E-AB1DABD4D6BA}"/>
                </a:ext>
              </a:extLst>
            </p:cNvPr>
            <p:cNvSpPr/>
            <p:nvPr/>
          </p:nvSpPr>
          <p:spPr>
            <a:xfrm>
              <a:off x="5938456" y="6208390"/>
              <a:ext cx="28615" cy="28615"/>
            </a:xfrm>
            <a:custGeom>
              <a:avLst/>
              <a:gdLst>
                <a:gd name="connsiteX0" fmla="*/ 18030 w 28614"/>
                <a:gd name="connsiteY0" fmla="*/ 10835 h 28614"/>
                <a:gd name="connsiteX1" fmla="*/ 11109 w 28614"/>
                <a:gd name="connsiteY1" fmla="*/ 23193 h 28614"/>
                <a:gd name="connsiteX2" fmla="*/ 23468 w 28614"/>
                <a:gd name="connsiteY2" fmla="*/ 30113 h 28614"/>
                <a:gd name="connsiteX3" fmla="*/ 30763 w 28614"/>
                <a:gd name="connsiteY3" fmla="*/ 20564 h 28614"/>
                <a:gd name="connsiteX4" fmla="*/ 18085 w 28614"/>
                <a:gd name="connsiteY4" fmla="*/ 10828 h 28614"/>
                <a:gd name="connsiteX5" fmla="*/ 18030 w 28614"/>
                <a:gd name="connsiteY5" fmla="*/ 108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030" y="10835"/>
                  </a:moveTo>
                  <a:cubicBezTo>
                    <a:pt x="12706" y="12338"/>
                    <a:pt x="9608" y="17870"/>
                    <a:pt x="11109" y="23193"/>
                  </a:cubicBezTo>
                  <a:cubicBezTo>
                    <a:pt x="12611" y="28516"/>
                    <a:pt x="18144" y="31615"/>
                    <a:pt x="23468" y="30113"/>
                  </a:cubicBezTo>
                  <a:cubicBezTo>
                    <a:pt x="27751" y="28906"/>
                    <a:pt x="30723" y="25015"/>
                    <a:pt x="30763" y="20564"/>
                  </a:cubicBezTo>
                  <a:cubicBezTo>
                    <a:pt x="29951" y="14375"/>
                    <a:pt x="24275" y="10015"/>
                    <a:pt x="18085" y="10828"/>
                  </a:cubicBezTo>
                  <a:cubicBezTo>
                    <a:pt x="18067" y="10830"/>
                    <a:pt x="18048" y="10832"/>
                    <a:pt x="18030" y="108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4" name="Freeform: Shape 243">
              <a:extLst>
                <a:ext uri="{FF2B5EF4-FFF2-40B4-BE49-F238E27FC236}">
                  <a16:creationId xmlns:a16="http://schemas.microsoft.com/office/drawing/2014/main" id="{2C3EF2FB-FE2E-4B87-A069-44E23787F518}"/>
                </a:ext>
              </a:extLst>
            </p:cNvPr>
            <p:cNvSpPr/>
            <p:nvPr/>
          </p:nvSpPr>
          <p:spPr>
            <a:xfrm>
              <a:off x="5935946" y="6307833"/>
              <a:ext cx="42922" cy="42922"/>
            </a:xfrm>
            <a:custGeom>
              <a:avLst/>
              <a:gdLst>
                <a:gd name="connsiteX0" fmla="*/ 20540 w 42922"/>
                <a:gd name="connsiteY0" fmla="*/ 10829 h 42922"/>
                <a:gd name="connsiteX1" fmla="*/ 10810 w 42922"/>
                <a:gd name="connsiteY1" fmla="*/ 20702 h 42922"/>
                <a:gd name="connsiteX2" fmla="*/ 20703 w 42922"/>
                <a:gd name="connsiteY2" fmla="*/ 33258 h 42922"/>
                <a:gd name="connsiteX3" fmla="*/ 33259 w 42922"/>
                <a:gd name="connsiteY3" fmla="*/ 23364 h 42922"/>
                <a:gd name="connsiteX4" fmla="*/ 23367 w 42922"/>
                <a:gd name="connsiteY4" fmla="*/ 10809 h 42922"/>
                <a:gd name="connsiteX5" fmla="*/ 20540 w 42922"/>
                <a:gd name="connsiteY5" fmla="*/ 1082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40" y="10829"/>
                  </a:moveTo>
                  <a:cubicBezTo>
                    <a:pt x="15446" y="11559"/>
                    <a:pt x="11466" y="15598"/>
                    <a:pt x="10810" y="20702"/>
                  </a:cubicBezTo>
                  <a:cubicBezTo>
                    <a:pt x="10075" y="26901"/>
                    <a:pt x="14505" y="32523"/>
                    <a:pt x="20703" y="33258"/>
                  </a:cubicBezTo>
                  <a:cubicBezTo>
                    <a:pt x="26902" y="33992"/>
                    <a:pt x="32523" y="29564"/>
                    <a:pt x="33259" y="23364"/>
                  </a:cubicBezTo>
                  <a:cubicBezTo>
                    <a:pt x="33994" y="17165"/>
                    <a:pt x="29565" y="11543"/>
                    <a:pt x="23367" y="10809"/>
                  </a:cubicBezTo>
                  <a:cubicBezTo>
                    <a:pt x="22427" y="10698"/>
                    <a:pt x="21477" y="10705"/>
                    <a:pt x="20540" y="10829"/>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5" name="Freeform: Shape 244">
              <a:extLst>
                <a:ext uri="{FF2B5EF4-FFF2-40B4-BE49-F238E27FC236}">
                  <a16:creationId xmlns:a16="http://schemas.microsoft.com/office/drawing/2014/main" id="{8716D51E-24D4-4EEF-B103-ED635C547EFF}"/>
                </a:ext>
              </a:extLst>
            </p:cNvPr>
            <p:cNvSpPr/>
            <p:nvPr/>
          </p:nvSpPr>
          <p:spPr>
            <a:xfrm>
              <a:off x="5775210" y="6254994"/>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6" name="Freeform: Shape 245">
              <a:extLst>
                <a:ext uri="{FF2B5EF4-FFF2-40B4-BE49-F238E27FC236}">
                  <a16:creationId xmlns:a16="http://schemas.microsoft.com/office/drawing/2014/main" id="{69747668-73E0-423A-B1BF-2E6B915DB7C4}"/>
                </a:ext>
              </a:extLst>
            </p:cNvPr>
            <p:cNvSpPr/>
            <p:nvPr/>
          </p:nvSpPr>
          <p:spPr>
            <a:xfrm>
              <a:off x="5775210" y="6205061"/>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7" name="Freeform: Shape 246">
              <a:extLst>
                <a:ext uri="{FF2B5EF4-FFF2-40B4-BE49-F238E27FC236}">
                  <a16:creationId xmlns:a16="http://schemas.microsoft.com/office/drawing/2014/main" id="{DD943AB6-9FAB-4554-B4AC-D67B6533FBB2}"/>
                </a:ext>
              </a:extLst>
            </p:cNvPr>
            <p:cNvSpPr/>
            <p:nvPr/>
          </p:nvSpPr>
          <p:spPr>
            <a:xfrm>
              <a:off x="5775210" y="6155414"/>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8" name="Freeform: Shape 247">
              <a:extLst>
                <a:ext uri="{FF2B5EF4-FFF2-40B4-BE49-F238E27FC236}">
                  <a16:creationId xmlns:a16="http://schemas.microsoft.com/office/drawing/2014/main" id="{55CD7136-9991-4528-9C1B-1F6579BB4233}"/>
                </a:ext>
              </a:extLst>
            </p:cNvPr>
            <p:cNvSpPr/>
            <p:nvPr/>
          </p:nvSpPr>
          <p:spPr>
            <a:xfrm>
              <a:off x="5775210" y="6354431"/>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49" name="Freeform: Shape 248">
              <a:extLst>
                <a:ext uri="{FF2B5EF4-FFF2-40B4-BE49-F238E27FC236}">
                  <a16:creationId xmlns:a16="http://schemas.microsoft.com/office/drawing/2014/main" id="{6E52F01A-515D-4125-B895-951E4E784F70}"/>
                </a:ext>
              </a:extLst>
            </p:cNvPr>
            <p:cNvSpPr/>
            <p:nvPr/>
          </p:nvSpPr>
          <p:spPr>
            <a:xfrm>
              <a:off x="5775210" y="6304641"/>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0" name="Freeform: Shape 249">
              <a:extLst>
                <a:ext uri="{FF2B5EF4-FFF2-40B4-BE49-F238E27FC236}">
                  <a16:creationId xmlns:a16="http://schemas.microsoft.com/office/drawing/2014/main" id="{CDB5F23C-FDFC-4ECA-8FC7-737294BA1B23}"/>
                </a:ext>
              </a:extLst>
            </p:cNvPr>
            <p:cNvSpPr/>
            <p:nvPr/>
          </p:nvSpPr>
          <p:spPr>
            <a:xfrm>
              <a:off x="5855761" y="6305643"/>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1" name="Freeform: Shape 250">
              <a:extLst>
                <a:ext uri="{FF2B5EF4-FFF2-40B4-BE49-F238E27FC236}">
                  <a16:creationId xmlns:a16="http://schemas.microsoft.com/office/drawing/2014/main" id="{644372A5-D721-4227-A090-AA9939E329AE}"/>
                </a:ext>
              </a:extLst>
            </p:cNvPr>
            <p:cNvSpPr/>
            <p:nvPr/>
          </p:nvSpPr>
          <p:spPr>
            <a:xfrm>
              <a:off x="5775210" y="6105624"/>
              <a:ext cx="42922" cy="42922"/>
            </a:xfrm>
            <a:custGeom>
              <a:avLst/>
              <a:gdLst>
                <a:gd name="connsiteX0" fmla="*/ 37056 w 42922"/>
                <a:gd name="connsiteY0" fmla="*/ 23894 h 42922"/>
                <a:gd name="connsiteX1" fmla="*/ 23893 w 42922"/>
                <a:gd name="connsiteY1" fmla="*/ 37056 h 42922"/>
                <a:gd name="connsiteX2" fmla="*/ 10731 w 42922"/>
                <a:gd name="connsiteY2" fmla="*/ 23894 h 42922"/>
                <a:gd name="connsiteX3" fmla="*/ 23893 w 42922"/>
                <a:gd name="connsiteY3" fmla="*/ 10731 h 42922"/>
                <a:gd name="connsiteX4" fmla="*/ 37056 w 42922"/>
                <a:gd name="connsiteY4" fmla="*/ 23894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4"/>
                  </a:moveTo>
                  <a:cubicBezTo>
                    <a:pt x="37056" y="31163"/>
                    <a:pt x="31163" y="37056"/>
                    <a:pt x="23893" y="37056"/>
                  </a:cubicBezTo>
                  <a:cubicBezTo>
                    <a:pt x="16624" y="37056"/>
                    <a:pt x="10731" y="31163"/>
                    <a:pt x="10731" y="23894"/>
                  </a:cubicBezTo>
                  <a:cubicBezTo>
                    <a:pt x="10731" y="16624"/>
                    <a:pt x="16624" y="10731"/>
                    <a:pt x="23893" y="10731"/>
                  </a:cubicBezTo>
                  <a:cubicBezTo>
                    <a:pt x="31163" y="10731"/>
                    <a:pt x="37056" y="16624"/>
                    <a:pt x="37056" y="2389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2" name="Freeform: Shape 251">
              <a:extLst>
                <a:ext uri="{FF2B5EF4-FFF2-40B4-BE49-F238E27FC236}">
                  <a16:creationId xmlns:a16="http://schemas.microsoft.com/office/drawing/2014/main" id="{92AA8D13-4161-4559-B896-80864C581F69}"/>
                </a:ext>
              </a:extLst>
            </p:cNvPr>
            <p:cNvSpPr/>
            <p:nvPr/>
          </p:nvSpPr>
          <p:spPr>
            <a:xfrm>
              <a:off x="5855761" y="6255996"/>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3" name="Freeform: Shape 252">
              <a:extLst>
                <a:ext uri="{FF2B5EF4-FFF2-40B4-BE49-F238E27FC236}">
                  <a16:creationId xmlns:a16="http://schemas.microsoft.com/office/drawing/2014/main" id="{AD21B6AB-2C07-462E-ABCD-CE855848C36A}"/>
                </a:ext>
              </a:extLst>
            </p:cNvPr>
            <p:cNvSpPr/>
            <p:nvPr/>
          </p:nvSpPr>
          <p:spPr>
            <a:xfrm>
              <a:off x="5855761" y="6206063"/>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3321 h 42922"/>
                <a:gd name="connsiteX4" fmla="*/ 35053 w 42922"/>
                <a:gd name="connsiteY4" fmla="*/ 23321 h 42922"/>
                <a:gd name="connsiteX5" fmla="*/ 23328 w 42922"/>
                <a:gd name="connsiteY5" fmla="*/ 10738 h 42922"/>
                <a:gd name="connsiteX6" fmla="*/ 22892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1"/>
                  </a:moveTo>
                  <a:cubicBezTo>
                    <a:pt x="16176" y="10731"/>
                    <a:pt x="10731" y="16176"/>
                    <a:pt x="10731" y="22892"/>
                  </a:cubicBezTo>
                  <a:cubicBezTo>
                    <a:pt x="10731" y="29608"/>
                    <a:pt x="16176" y="35053"/>
                    <a:pt x="22892" y="35053"/>
                  </a:cubicBezTo>
                  <a:cubicBezTo>
                    <a:pt x="29475" y="35133"/>
                    <a:pt x="34897" y="29903"/>
                    <a:pt x="35053" y="23321"/>
                  </a:cubicBezTo>
                  <a:lnTo>
                    <a:pt x="35053" y="23321"/>
                  </a:lnTo>
                  <a:cubicBezTo>
                    <a:pt x="35291" y="16610"/>
                    <a:pt x="30041" y="10975"/>
                    <a:pt x="23328" y="10738"/>
                  </a:cubicBezTo>
                  <a:cubicBezTo>
                    <a:pt x="23184" y="10733"/>
                    <a:pt x="2303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4" name="Freeform: Shape 253">
              <a:extLst>
                <a:ext uri="{FF2B5EF4-FFF2-40B4-BE49-F238E27FC236}">
                  <a16:creationId xmlns:a16="http://schemas.microsoft.com/office/drawing/2014/main" id="{2A783E36-9ED8-4A3A-8AFB-878A27BED736}"/>
                </a:ext>
              </a:extLst>
            </p:cNvPr>
            <p:cNvSpPr/>
            <p:nvPr/>
          </p:nvSpPr>
          <p:spPr>
            <a:xfrm>
              <a:off x="5856190" y="6355432"/>
              <a:ext cx="42922" cy="42922"/>
            </a:xfrm>
            <a:custGeom>
              <a:avLst/>
              <a:gdLst>
                <a:gd name="connsiteX0" fmla="*/ 22892 w 42922"/>
                <a:gd name="connsiteY0" fmla="*/ 10732 h 42922"/>
                <a:gd name="connsiteX1" fmla="*/ 22892 w 42922"/>
                <a:gd name="connsiteY1" fmla="*/ 10732 h 42922"/>
                <a:gd name="connsiteX2" fmla="*/ 10731 w 42922"/>
                <a:gd name="connsiteY2" fmla="*/ 22893 h 42922"/>
                <a:gd name="connsiteX3" fmla="*/ 22892 w 42922"/>
                <a:gd name="connsiteY3" fmla="*/ 35054 h 42922"/>
                <a:gd name="connsiteX4" fmla="*/ 35053 w 42922"/>
                <a:gd name="connsiteY4" fmla="*/ 22893 h 42922"/>
                <a:gd name="connsiteX5" fmla="*/ 23180 w 42922"/>
                <a:gd name="connsiteY5" fmla="*/ 10732 h 42922"/>
                <a:gd name="connsiteX6" fmla="*/ 22892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2"/>
                  </a:moveTo>
                  <a:lnTo>
                    <a:pt x="22892" y="10732"/>
                  </a:lnTo>
                  <a:cubicBezTo>
                    <a:pt x="16176" y="10732"/>
                    <a:pt x="10731" y="16177"/>
                    <a:pt x="10731" y="22893"/>
                  </a:cubicBezTo>
                  <a:cubicBezTo>
                    <a:pt x="10731" y="29609"/>
                    <a:pt x="16176" y="35054"/>
                    <a:pt x="22892" y="35054"/>
                  </a:cubicBezTo>
                  <a:cubicBezTo>
                    <a:pt x="29608" y="35054"/>
                    <a:pt x="35053" y="29609"/>
                    <a:pt x="35053" y="22893"/>
                  </a:cubicBezTo>
                  <a:cubicBezTo>
                    <a:pt x="35132" y="16256"/>
                    <a:pt x="29817" y="10812"/>
                    <a:pt x="23180" y="10732"/>
                  </a:cubicBezTo>
                  <a:cubicBezTo>
                    <a:pt x="23084" y="10730"/>
                    <a:pt x="22988" y="10730"/>
                    <a:pt x="2289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5" name="Freeform: Shape 254">
              <a:extLst>
                <a:ext uri="{FF2B5EF4-FFF2-40B4-BE49-F238E27FC236}">
                  <a16:creationId xmlns:a16="http://schemas.microsoft.com/office/drawing/2014/main" id="{79B0B29F-5980-4AF0-9DE6-7A6AA00B41A4}"/>
                </a:ext>
              </a:extLst>
            </p:cNvPr>
            <p:cNvSpPr/>
            <p:nvPr/>
          </p:nvSpPr>
          <p:spPr>
            <a:xfrm>
              <a:off x="6016434" y="6208062"/>
              <a:ext cx="28615" cy="28615"/>
            </a:xfrm>
            <a:custGeom>
              <a:avLst/>
              <a:gdLst>
                <a:gd name="connsiteX0" fmla="*/ 21175 w 28614"/>
                <a:gd name="connsiteY0" fmla="*/ 10735 h 28614"/>
                <a:gd name="connsiteX1" fmla="*/ 10733 w 28614"/>
                <a:gd name="connsiteY1" fmla="*/ 20603 h 28614"/>
                <a:gd name="connsiteX2" fmla="*/ 10731 w 28614"/>
                <a:gd name="connsiteY2" fmla="*/ 20750 h 28614"/>
                <a:gd name="connsiteX3" fmla="*/ 10731 w 28614"/>
                <a:gd name="connsiteY3" fmla="*/ 20750 h 28614"/>
                <a:gd name="connsiteX4" fmla="*/ 21175 w 28614"/>
                <a:gd name="connsiteY4" fmla="*/ 31194 h 28614"/>
                <a:gd name="connsiteX5" fmla="*/ 31333 w 28614"/>
                <a:gd name="connsiteY5" fmla="*/ 21036 h 28614"/>
                <a:gd name="connsiteX6" fmla="*/ 31333 w 28614"/>
                <a:gd name="connsiteY6" fmla="*/ 21036 h 28614"/>
                <a:gd name="connsiteX7" fmla="*/ 21320 w 28614"/>
                <a:gd name="connsiteY7" fmla="*/ 10736 h 28614"/>
                <a:gd name="connsiteX8" fmla="*/ 21175 w 28614"/>
                <a:gd name="connsiteY8"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175" y="10735"/>
                  </a:moveTo>
                  <a:cubicBezTo>
                    <a:pt x="15567" y="10576"/>
                    <a:pt x="10892" y="14994"/>
                    <a:pt x="10733" y="20603"/>
                  </a:cubicBezTo>
                  <a:cubicBezTo>
                    <a:pt x="10732" y="20651"/>
                    <a:pt x="10731" y="20700"/>
                    <a:pt x="10731" y="20750"/>
                  </a:cubicBezTo>
                  <a:lnTo>
                    <a:pt x="10731" y="20750"/>
                  </a:lnTo>
                  <a:cubicBezTo>
                    <a:pt x="10731" y="26519"/>
                    <a:pt x="15406" y="31194"/>
                    <a:pt x="21175" y="31194"/>
                  </a:cubicBezTo>
                  <a:cubicBezTo>
                    <a:pt x="26785" y="31194"/>
                    <a:pt x="31333" y="26646"/>
                    <a:pt x="31333" y="21036"/>
                  </a:cubicBezTo>
                  <a:lnTo>
                    <a:pt x="31333" y="21036"/>
                  </a:lnTo>
                  <a:cubicBezTo>
                    <a:pt x="31412" y="15426"/>
                    <a:pt x="26929" y="10815"/>
                    <a:pt x="21320" y="10736"/>
                  </a:cubicBezTo>
                  <a:cubicBezTo>
                    <a:pt x="21271" y="10735"/>
                    <a:pt x="21224" y="10735"/>
                    <a:pt x="21175" y="107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6" name="Freeform: Shape 255">
              <a:extLst>
                <a:ext uri="{FF2B5EF4-FFF2-40B4-BE49-F238E27FC236}">
                  <a16:creationId xmlns:a16="http://schemas.microsoft.com/office/drawing/2014/main" id="{22E1AB42-C628-483F-8EA0-1BFA238AD116}"/>
                </a:ext>
              </a:extLst>
            </p:cNvPr>
            <p:cNvSpPr/>
            <p:nvPr/>
          </p:nvSpPr>
          <p:spPr>
            <a:xfrm>
              <a:off x="6254612" y="6111774"/>
              <a:ext cx="28615" cy="28615"/>
            </a:xfrm>
            <a:custGeom>
              <a:avLst/>
              <a:gdLst>
                <a:gd name="connsiteX0" fmla="*/ 20216 w 28614"/>
                <a:gd name="connsiteY0" fmla="*/ 25326 h 28614"/>
                <a:gd name="connsiteX1" fmla="*/ 25326 w 28614"/>
                <a:gd name="connsiteY1" fmla="*/ 16129 h 28614"/>
                <a:gd name="connsiteX2" fmla="*/ 20216 w 28614"/>
                <a:gd name="connsiteY2" fmla="*/ 11019 h 28614"/>
                <a:gd name="connsiteX3" fmla="*/ 11019 w 28614"/>
                <a:gd name="connsiteY3" fmla="*/ 16129 h 28614"/>
                <a:gd name="connsiteX4" fmla="*/ 16128 w 28614"/>
                <a:gd name="connsiteY4" fmla="*/ 25326 h 28614"/>
                <a:gd name="connsiteX5" fmla="*/ 20216 w 28614"/>
                <a:gd name="connsiteY5" fmla="*/ 2532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216" y="25326"/>
                  </a:moveTo>
                  <a:cubicBezTo>
                    <a:pt x="24166" y="24197"/>
                    <a:pt x="26455" y="20080"/>
                    <a:pt x="25326" y="16129"/>
                  </a:cubicBezTo>
                  <a:cubicBezTo>
                    <a:pt x="24620" y="13657"/>
                    <a:pt x="22688" y="11726"/>
                    <a:pt x="20216" y="11019"/>
                  </a:cubicBezTo>
                  <a:cubicBezTo>
                    <a:pt x="16265" y="9890"/>
                    <a:pt x="12148" y="12178"/>
                    <a:pt x="11019" y="16129"/>
                  </a:cubicBezTo>
                  <a:cubicBezTo>
                    <a:pt x="9890" y="20080"/>
                    <a:pt x="12178" y="24197"/>
                    <a:pt x="16128" y="25326"/>
                  </a:cubicBezTo>
                  <a:cubicBezTo>
                    <a:pt x="17464" y="25708"/>
                    <a:pt x="18879" y="25708"/>
                    <a:pt x="20216" y="2532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7" name="Freeform: Shape 256">
              <a:extLst>
                <a:ext uri="{FF2B5EF4-FFF2-40B4-BE49-F238E27FC236}">
                  <a16:creationId xmlns:a16="http://schemas.microsoft.com/office/drawing/2014/main" id="{FDB8D5C0-FEA6-411D-A2AE-F9C99A7FA6EB}"/>
                </a:ext>
              </a:extLst>
            </p:cNvPr>
            <p:cNvSpPr/>
            <p:nvPr/>
          </p:nvSpPr>
          <p:spPr>
            <a:xfrm>
              <a:off x="6257658" y="6361156"/>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8" name="Freeform: Shape 257">
              <a:extLst>
                <a:ext uri="{FF2B5EF4-FFF2-40B4-BE49-F238E27FC236}">
                  <a16:creationId xmlns:a16="http://schemas.microsoft.com/office/drawing/2014/main" id="{BEB7B0CB-AF7A-4497-AA16-73FB4668A62A}"/>
                </a:ext>
              </a:extLst>
            </p:cNvPr>
            <p:cNvSpPr/>
            <p:nvPr/>
          </p:nvSpPr>
          <p:spPr>
            <a:xfrm>
              <a:off x="6177102" y="6159133"/>
              <a:ext cx="28615" cy="28615"/>
            </a:xfrm>
            <a:custGeom>
              <a:avLst/>
              <a:gdLst>
                <a:gd name="connsiteX0" fmla="*/ 19463 w 28614"/>
                <a:gd name="connsiteY0" fmla="*/ 10732 h 28614"/>
                <a:gd name="connsiteX1" fmla="*/ 10736 w 28614"/>
                <a:gd name="connsiteY1" fmla="*/ 19030 h 28614"/>
                <a:gd name="connsiteX2" fmla="*/ 18744 w 28614"/>
                <a:gd name="connsiteY2" fmla="*/ 27610 h 28614"/>
                <a:gd name="connsiteX3" fmla="*/ 19034 w 28614"/>
                <a:gd name="connsiteY3" fmla="*/ 27615 h 28614"/>
                <a:gd name="connsiteX4" fmla="*/ 19034 w 28614"/>
                <a:gd name="connsiteY4" fmla="*/ 27615 h 28614"/>
                <a:gd name="connsiteX5" fmla="*/ 27189 w 28614"/>
                <a:gd name="connsiteY5" fmla="*/ 19459 h 28614"/>
                <a:gd name="connsiteX6" fmla="*/ 19463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463" y="10732"/>
                  </a:moveTo>
                  <a:cubicBezTo>
                    <a:pt x="14776" y="10652"/>
                    <a:pt x="10892" y="14346"/>
                    <a:pt x="10736" y="19030"/>
                  </a:cubicBezTo>
                  <a:cubicBezTo>
                    <a:pt x="10578" y="23610"/>
                    <a:pt x="14162" y="27452"/>
                    <a:pt x="18744" y="27610"/>
                  </a:cubicBezTo>
                  <a:cubicBezTo>
                    <a:pt x="18839" y="27613"/>
                    <a:pt x="18937" y="27615"/>
                    <a:pt x="19034" y="27615"/>
                  </a:cubicBezTo>
                  <a:lnTo>
                    <a:pt x="19034" y="27615"/>
                  </a:lnTo>
                  <a:cubicBezTo>
                    <a:pt x="23538" y="27615"/>
                    <a:pt x="27189" y="23963"/>
                    <a:pt x="27189" y="19459"/>
                  </a:cubicBezTo>
                  <a:cubicBezTo>
                    <a:pt x="27358" y="14954"/>
                    <a:pt x="23956" y="11111"/>
                    <a:pt x="19463"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59" name="Freeform: Shape 258">
              <a:extLst>
                <a:ext uri="{FF2B5EF4-FFF2-40B4-BE49-F238E27FC236}">
                  <a16:creationId xmlns:a16="http://schemas.microsoft.com/office/drawing/2014/main" id="{8C3C0633-BD57-4AF5-B332-A3B5E996F42B}"/>
                </a:ext>
              </a:extLst>
            </p:cNvPr>
            <p:cNvSpPr/>
            <p:nvPr/>
          </p:nvSpPr>
          <p:spPr>
            <a:xfrm>
              <a:off x="6177393" y="6259430"/>
              <a:ext cx="28615" cy="28615"/>
            </a:xfrm>
            <a:custGeom>
              <a:avLst/>
              <a:gdLst>
                <a:gd name="connsiteX0" fmla="*/ 19172 w 28614"/>
                <a:gd name="connsiteY0" fmla="*/ 10731 h 28614"/>
                <a:gd name="connsiteX1" fmla="*/ 10731 w 28614"/>
                <a:gd name="connsiteY1" fmla="*/ 19172 h 28614"/>
                <a:gd name="connsiteX2" fmla="*/ 19172 w 28614"/>
                <a:gd name="connsiteY2" fmla="*/ 27613 h 28614"/>
                <a:gd name="connsiteX3" fmla="*/ 19172 w 28614"/>
                <a:gd name="connsiteY3" fmla="*/ 27613 h 28614"/>
                <a:gd name="connsiteX4" fmla="*/ 27327 w 28614"/>
                <a:gd name="connsiteY4" fmla="*/ 19458 h 28614"/>
                <a:gd name="connsiteX5" fmla="*/ 19182 w 28614"/>
                <a:gd name="connsiteY5" fmla="*/ 10731 h 28614"/>
                <a:gd name="connsiteX6" fmla="*/ 19172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172" y="10731"/>
                  </a:moveTo>
                  <a:cubicBezTo>
                    <a:pt x="14509" y="10731"/>
                    <a:pt x="10731" y="14511"/>
                    <a:pt x="10731" y="19172"/>
                  </a:cubicBezTo>
                  <a:cubicBezTo>
                    <a:pt x="10731" y="23833"/>
                    <a:pt x="14511" y="27613"/>
                    <a:pt x="19172" y="27613"/>
                  </a:cubicBezTo>
                  <a:lnTo>
                    <a:pt x="19172" y="27613"/>
                  </a:lnTo>
                  <a:cubicBezTo>
                    <a:pt x="23676" y="27613"/>
                    <a:pt x="27327" y="23962"/>
                    <a:pt x="27327" y="19458"/>
                  </a:cubicBezTo>
                  <a:cubicBezTo>
                    <a:pt x="27487" y="14798"/>
                    <a:pt x="23841" y="10892"/>
                    <a:pt x="19182" y="10731"/>
                  </a:cubicBezTo>
                  <a:cubicBezTo>
                    <a:pt x="19178" y="10731"/>
                    <a:pt x="19175" y="10731"/>
                    <a:pt x="1917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0" name="Freeform: Shape 259">
              <a:extLst>
                <a:ext uri="{FF2B5EF4-FFF2-40B4-BE49-F238E27FC236}">
                  <a16:creationId xmlns:a16="http://schemas.microsoft.com/office/drawing/2014/main" id="{A0386273-6B60-4A65-BC7E-7ACF928F93C6}"/>
                </a:ext>
              </a:extLst>
            </p:cNvPr>
            <p:cNvSpPr/>
            <p:nvPr/>
          </p:nvSpPr>
          <p:spPr>
            <a:xfrm>
              <a:off x="6177382" y="6309554"/>
              <a:ext cx="28615" cy="28615"/>
            </a:xfrm>
            <a:custGeom>
              <a:avLst/>
              <a:gdLst>
                <a:gd name="connsiteX0" fmla="*/ 17753 w 28614"/>
                <a:gd name="connsiteY0" fmla="*/ 10825 h 28614"/>
                <a:gd name="connsiteX1" fmla="*/ 10742 w 28614"/>
                <a:gd name="connsiteY1" fmla="*/ 17836 h 28614"/>
                <a:gd name="connsiteX2" fmla="*/ 18733 w 28614"/>
                <a:gd name="connsiteY2" fmla="*/ 26705 h 28614"/>
                <a:gd name="connsiteX3" fmla="*/ 27339 w 28614"/>
                <a:gd name="connsiteY3" fmla="*/ 20411 h 28614"/>
                <a:gd name="connsiteX4" fmla="*/ 27339 w 28614"/>
                <a:gd name="connsiteY4" fmla="*/ 17836 h 28614"/>
                <a:gd name="connsiteX5" fmla="*/ 17753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753" y="10825"/>
                  </a:moveTo>
                  <a:cubicBezTo>
                    <a:pt x="14145" y="11399"/>
                    <a:pt x="11316" y="14227"/>
                    <a:pt x="10742" y="17836"/>
                  </a:cubicBezTo>
                  <a:cubicBezTo>
                    <a:pt x="10499" y="22491"/>
                    <a:pt x="14077" y="26462"/>
                    <a:pt x="18733" y="26705"/>
                  </a:cubicBezTo>
                  <a:cubicBezTo>
                    <a:pt x="22731" y="26914"/>
                    <a:pt x="26326" y="24284"/>
                    <a:pt x="27339" y="20411"/>
                  </a:cubicBezTo>
                  <a:cubicBezTo>
                    <a:pt x="27483" y="19558"/>
                    <a:pt x="27483" y="18689"/>
                    <a:pt x="27339" y="17836"/>
                  </a:cubicBezTo>
                  <a:cubicBezTo>
                    <a:pt x="26605" y="13266"/>
                    <a:pt x="22330" y="10138"/>
                    <a:pt x="17753" y="108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1" name="Freeform: Shape 260">
              <a:extLst>
                <a:ext uri="{FF2B5EF4-FFF2-40B4-BE49-F238E27FC236}">
                  <a16:creationId xmlns:a16="http://schemas.microsoft.com/office/drawing/2014/main" id="{93ADD064-1DF8-4DC5-8C63-CB6304C46F9F}"/>
                </a:ext>
              </a:extLst>
            </p:cNvPr>
            <p:cNvSpPr/>
            <p:nvPr/>
          </p:nvSpPr>
          <p:spPr>
            <a:xfrm>
              <a:off x="6177382" y="6211119"/>
              <a:ext cx="28615" cy="28615"/>
            </a:xfrm>
            <a:custGeom>
              <a:avLst/>
              <a:gdLst>
                <a:gd name="connsiteX0" fmla="*/ 17753 w 28614"/>
                <a:gd name="connsiteY0" fmla="*/ 10825 h 28614"/>
                <a:gd name="connsiteX1" fmla="*/ 10742 w 28614"/>
                <a:gd name="connsiteY1" fmla="*/ 17835 h 28614"/>
                <a:gd name="connsiteX2" fmla="*/ 18733 w 28614"/>
                <a:gd name="connsiteY2" fmla="*/ 26705 h 28614"/>
                <a:gd name="connsiteX3" fmla="*/ 27339 w 28614"/>
                <a:gd name="connsiteY3" fmla="*/ 20411 h 28614"/>
                <a:gd name="connsiteX4" fmla="*/ 27339 w 28614"/>
                <a:gd name="connsiteY4" fmla="*/ 17835 h 28614"/>
                <a:gd name="connsiteX5" fmla="*/ 17753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753" y="10825"/>
                  </a:moveTo>
                  <a:cubicBezTo>
                    <a:pt x="14145" y="11399"/>
                    <a:pt x="11316" y="14227"/>
                    <a:pt x="10742" y="17835"/>
                  </a:cubicBezTo>
                  <a:cubicBezTo>
                    <a:pt x="10499" y="22491"/>
                    <a:pt x="14077" y="26463"/>
                    <a:pt x="18733" y="26705"/>
                  </a:cubicBezTo>
                  <a:cubicBezTo>
                    <a:pt x="22731" y="26914"/>
                    <a:pt x="26326" y="24284"/>
                    <a:pt x="27339" y="20411"/>
                  </a:cubicBezTo>
                  <a:cubicBezTo>
                    <a:pt x="27483" y="19558"/>
                    <a:pt x="27483" y="18688"/>
                    <a:pt x="27339" y="17835"/>
                  </a:cubicBezTo>
                  <a:cubicBezTo>
                    <a:pt x="26605" y="13266"/>
                    <a:pt x="22330" y="10139"/>
                    <a:pt x="17753" y="108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2" name="Freeform: Shape 261">
              <a:extLst>
                <a:ext uri="{FF2B5EF4-FFF2-40B4-BE49-F238E27FC236}">
                  <a16:creationId xmlns:a16="http://schemas.microsoft.com/office/drawing/2014/main" id="{3D7D1547-178B-4731-A81E-3E0877347CFF}"/>
                </a:ext>
              </a:extLst>
            </p:cNvPr>
            <p:cNvSpPr/>
            <p:nvPr/>
          </p:nvSpPr>
          <p:spPr>
            <a:xfrm>
              <a:off x="6257370" y="6160422"/>
              <a:ext cx="28615" cy="28615"/>
            </a:xfrm>
            <a:custGeom>
              <a:avLst/>
              <a:gdLst>
                <a:gd name="connsiteX0" fmla="*/ 18459 w 28614"/>
                <a:gd name="connsiteY0" fmla="*/ 10731 h 28614"/>
                <a:gd name="connsiteX1" fmla="*/ 11019 w 28614"/>
                <a:gd name="connsiteY1" fmla="*/ 18170 h 28614"/>
                <a:gd name="connsiteX2" fmla="*/ 16129 w 28614"/>
                <a:gd name="connsiteY2" fmla="*/ 27367 h 28614"/>
                <a:gd name="connsiteX3" fmla="*/ 25326 w 28614"/>
                <a:gd name="connsiteY3" fmla="*/ 22258 h 28614"/>
                <a:gd name="connsiteX4" fmla="*/ 25326 w 28614"/>
                <a:gd name="connsiteY4" fmla="*/ 18170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0"/>
                  </a:cubicBezTo>
                  <a:cubicBezTo>
                    <a:pt x="9890" y="22121"/>
                    <a:pt x="12178" y="26238"/>
                    <a:pt x="16129" y="27367"/>
                  </a:cubicBezTo>
                  <a:cubicBezTo>
                    <a:pt x="20080" y="28496"/>
                    <a:pt x="24197" y="26208"/>
                    <a:pt x="25326" y="22258"/>
                  </a:cubicBezTo>
                  <a:cubicBezTo>
                    <a:pt x="25708" y="20922"/>
                    <a:pt x="25708" y="19505"/>
                    <a:pt x="25326" y="18170"/>
                  </a:cubicBezTo>
                  <a:cubicBezTo>
                    <a:pt x="25338" y="14275"/>
                    <a:pt x="22343" y="11030"/>
                    <a:pt x="1845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3" name="Freeform: Shape 262">
              <a:extLst>
                <a:ext uri="{FF2B5EF4-FFF2-40B4-BE49-F238E27FC236}">
                  <a16:creationId xmlns:a16="http://schemas.microsoft.com/office/drawing/2014/main" id="{3060C9A3-1D9F-4185-8808-A584866509EB}"/>
                </a:ext>
              </a:extLst>
            </p:cNvPr>
            <p:cNvSpPr/>
            <p:nvPr/>
          </p:nvSpPr>
          <p:spPr>
            <a:xfrm>
              <a:off x="6257658" y="6210784"/>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4" name="Freeform: Shape 263">
              <a:extLst>
                <a:ext uri="{FF2B5EF4-FFF2-40B4-BE49-F238E27FC236}">
                  <a16:creationId xmlns:a16="http://schemas.microsoft.com/office/drawing/2014/main" id="{4ACB96FA-15DE-4943-B8CD-EE5E5DC412D5}"/>
                </a:ext>
              </a:extLst>
            </p:cNvPr>
            <p:cNvSpPr/>
            <p:nvPr/>
          </p:nvSpPr>
          <p:spPr>
            <a:xfrm>
              <a:off x="6257372" y="6260573"/>
              <a:ext cx="28615" cy="28615"/>
            </a:xfrm>
            <a:custGeom>
              <a:avLst/>
              <a:gdLst>
                <a:gd name="connsiteX0" fmla="*/ 18457 w 28614"/>
                <a:gd name="connsiteY0" fmla="*/ 10732 h 28614"/>
                <a:gd name="connsiteX1" fmla="*/ 10732 w 28614"/>
                <a:gd name="connsiteY1" fmla="*/ 18170 h 28614"/>
                <a:gd name="connsiteX2" fmla="*/ 18171 w 28614"/>
                <a:gd name="connsiteY2" fmla="*/ 25895 h 28614"/>
                <a:gd name="connsiteX3" fmla="*/ 25895 w 28614"/>
                <a:gd name="connsiteY3" fmla="*/ 18457 h 28614"/>
                <a:gd name="connsiteX4" fmla="*/ 25896 w 28614"/>
                <a:gd name="connsiteY4" fmla="*/ 18315 h 28614"/>
                <a:gd name="connsiteX5" fmla="*/ 18601 w 28614"/>
                <a:gd name="connsiteY5" fmla="*/ 10733 h 28614"/>
                <a:gd name="connsiteX6" fmla="*/ 18457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57" y="10732"/>
                  </a:moveTo>
                  <a:cubicBezTo>
                    <a:pt x="14269" y="10653"/>
                    <a:pt x="10811" y="13983"/>
                    <a:pt x="10732" y="18170"/>
                  </a:cubicBezTo>
                  <a:cubicBezTo>
                    <a:pt x="10653" y="22358"/>
                    <a:pt x="13983" y="25816"/>
                    <a:pt x="18171" y="25895"/>
                  </a:cubicBezTo>
                  <a:cubicBezTo>
                    <a:pt x="22358" y="25974"/>
                    <a:pt x="25816" y="22644"/>
                    <a:pt x="25895" y="18457"/>
                  </a:cubicBezTo>
                  <a:cubicBezTo>
                    <a:pt x="25896" y="18409"/>
                    <a:pt x="25896" y="18362"/>
                    <a:pt x="25896" y="18315"/>
                  </a:cubicBezTo>
                  <a:cubicBezTo>
                    <a:pt x="25975" y="14207"/>
                    <a:pt x="22709" y="10812"/>
                    <a:pt x="18601" y="10733"/>
                  </a:cubicBezTo>
                  <a:cubicBezTo>
                    <a:pt x="18552" y="10732"/>
                    <a:pt x="18505" y="10732"/>
                    <a:pt x="18457"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5" name="Freeform: Shape 264">
              <a:extLst>
                <a:ext uri="{FF2B5EF4-FFF2-40B4-BE49-F238E27FC236}">
                  <a16:creationId xmlns:a16="http://schemas.microsoft.com/office/drawing/2014/main" id="{170E7A60-6065-4CFA-8815-4C111484B483}"/>
                </a:ext>
              </a:extLst>
            </p:cNvPr>
            <p:cNvSpPr/>
            <p:nvPr/>
          </p:nvSpPr>
          <p:spPr>
            <a:xfrm>
              <a:off x="6257658" y="6309506"/>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6" name="Freeform: Shape 265">
              <a:extLst>
                <a:ext uri="{FF2B5EF4-FFF2-40B4-BE49-F238E27FC236}">
                  <a16:creationId xmlns:a16="http://schemas.microsoft.com/office/drawing/2014/main" id="{F42BB559-681C-47B0-AB98-783CEFB6E957}"/>
                </a:ext>
              </a:extLst>
            </p:cNvPr>
            <p:cNvSpPr/>
            <p:nvPr/>
          </p:nvSpPr>
          <p:spPr>
            <a:xfrm>
              <a:off x="6097414" y="6258714"/>
              <a:ext cx="28615" cy="28615"/>
            </a:xfrm>
            <a:custGeom>
              <a:avLst/>
              <a:gdLst>
                <a:gd name="connsiteX0" fmla="*/ 20030 w 28614"/>
                <a:gd name="connsiteY0" fmla="*/ 10731 h 28614"/>
                <a:gd name="connsiteX1" fmla="*/ 10731 w 28614"/>
                <a:gd name="connsiteY1" fmla="*/ 20030 h 28614"/>
                <a:gd name="connsiteX2" fmla="*/ 20030 w 28614"/>
                <a:gd name="connsiteY2" fmla="*/ 29330 h 28614"/>
                <a:gd name="connsiteX3" fmla="*/ 29330 w 28614"/>
                <a:gd name="connsiteY3" fmla="*/ 20173 h 28614"/>
                <a:gd name="connsiteX4" fmla="*/ 2003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10731"/>
                  </a:moveTo>
                  <a:cubicBezTo>
                    <a:pt x="14894" y="10731"/>
                    <a:pt x="10731" y="14894"/>
                    <a:pt x="10731" y="20030"/>
                  </a:cubicBezTo>
                  <a:cubicBezTo>
                    <a:pt x="10731" y="25167"/>
                    <a:pt x="14894" y="29330"/>
                    <a:pt x="20030" y="29330"/>
                  </a:cubicBezTo>
                  <a:cubicBezTo>
                    <a:pt x="25111" y="29332"/>
                    <a:pt x="29252" y="25254"/>
                    <a:pt x="29330" y="20173"/>
                  </a:cubicBezTo>
                  <a:cubicBezTo>
                    <a:pt x="29330" y="15014"/>
                    <a:pt x="25190" y="10809"/>
                    <a:pt x="20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7" name="Freeform: Shape 266">
              <a:extLst>
                <a:ext uri="{FF2B5EF4-FFF2-40B4-BE49-F238E27FC236}">
                  <a16:creationId xmlns:a16="http://schemas.microsoft.com/office/drawing/2014/main" id="{ED032F53-FD91-43B4-9FE3-2076C773FD2F}"/>
                </a:ext>
              </a:extLst>
            </p:cNvPr>
            <p:cNvSpPr/>
            <p:nvPr/>
          </p:nvSpPr>
          <p:spPr>
            <a:xfrm>
              <a:off x="6094510" y="6108699"/>
              <a:ext cx="28615" cy="28615"/>
            </a:xfrm>
            <a:custGeom>
              <a:avLst/>
              <a:gdLst>
                <a:gd name="connsiteX0" fmla="*/ 21790 w 28614"/>
                <a:gd name="connsiteY0" fmla="*/ 30404 h 28614"/>
                <a:gd name="connsiteX1" fmla="*/ 30947 w 28614"/>
                <a:gd name="connsiteY1" fmla="*/ 21248 h 28614"/>
                <a:gd name="connsiteX2" fmla="*/ 30947 w 28614"/>
                <a:gd name="connsiteY2" fmla="*/ 19960 h 28614"/>
                <a:gd name="connsiteX3" fmla="*/ 21790 w 28614"/>
                <a:gd name="connsiteY3" fmla="*/ 10803 h 28614"/>
                <a:gd name="connsiteX4" fmla="*/ 10803 w 28614"/>
                <a:gd name="connsiteY4" fmla="*/ 19418 h 28614"/>
                <a:gd name="connsiteX5" fmla="*/ 19418 w 28614"/>
                <a:gd name="connsiteY5" fmla="*/ 30404 h 28614"/>
                <a:gd name="connsiteX6" fmla="*/ 21790 w 28614"/>
                <a:gd name="connsiteY6" fmla="*/ 3040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790" y="30404"/>
                  </a:moveTo>
                  <a:cubicBezTo>
                    <a:pt x="26848" y="30404"/>
                    <a:pt x="30947" y="26305"/>
                    <a:pt x="30947" y="21248"/>
                  </a:cubicBezTo>
                  <a:lnTo>
                    <a:pt x="30947" y="19960"/>
                  </a:lnTo>
                  <a:cubicBezTo>
                    <a:pt x="30947" y="14902"/>
                    <a:pt x="26848" y="10803"/>
                    <a:pt x="21790" y="10803"/>
                  </a:cubicBezTo>
                  <a:cubicBezTo>
                    <a:pt x="16377" y="10148"/>
                    <a:pt x="11458" y="14005"/>
                    <a:pt x="10803" y="19418"/>
                  </a:cubicBezTo>
                  <a:cubicBezTo>
                    <a:pt x="10148" y="24830"/>
                    <a:pt x="14005" y="29749"/>
                    <a:pt x="19418" y="30404"/>
                  </a:cubicBezTo>
                  <a:cubicBezTo>
                    <a:pt x="20205" y="30500"/>
                    <a:pt x="21002" y="30500"/>
                    <a:pt x="21790" y="3040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8" name="Freeform: Shape 267">
              <a:extLst>
                <a:ext uri="{FF2B5EF4-FFF2-40B4-BE49-F238E27FC236}">
                  <a16:creationId xmlns:a16="http://schemas.microsoft.com/office/drawing/2014/main" id="{83414AAA-2640-46D3-95E7-2BF374E7BF10}"/>
                </a:ext>
              </a:extLst>
            </p:cNvPr>
            <p:cNvSpPr/>
            <p:nvPr/>
          </p:nvSpPr>
          <p:spPr>
            <a:xfrm>
              <a:off x="6096984" y="6358151"/>
              <a:ext cx="28615" cy="28615"/>
            </a:xfrm>
            <a:custGeom>
              <a:avLst/>
              <a:gdLst>
                <a:gd name="connsiteX0" fmla="*/ 20461 w 28614"/>
                <a:gd name="connsiteY0" fmla="*/ 10731 h 28614"/>
                <a:gd name="connsiteX1" fmla="*/ 20461 w 28614"/>
                <a:gd name="connsiteY1" fmla="*/ 10731 h 28614"/>
                <a:gd name="connsiteX2" fmla="*/ 10731 w 28614"/>
                <a:gd name="connsiteY2" fmla="*/ 20458 h 28614"/>
                <a:gd name="connsiteX3" fmla="*/ 10732 w 28614"/>
                <a:gd name="connsiteY3" fmla="*/ 20603 h 28614"/>
                <a:gd name="connsiteX4" fmla="*/ 20173 w 28614"/>
                <a:gd name="connsiteY4" fmla="*/ 30332 h 28614"/>
                <a:gd name="connsiteX5" fmla="*/ 20461 w 28614"/>
                <a:gd name="connsiteY5" fmla="*/ 30332 h 28614"/>
                <a:gd name="connsiteX6" fmla="*/ 29761 w 28614"/>
                <a:gd name="connsiteY6" fmla="*/ 21175 h 28614"/>
                <a:gd name="connsiteX7" fmla="*/ 29761 w 28614"/>
                <a:gd name="connsiteY7" fmla="*/ 20174 h 28614"/>
                <a:gd name="connsiteX8" fmla="*/ 20606 w 28614"/>
                <a:gd name="connsiteY8" fmla="*/ 10732 h 28614"/>
                <a:gd name="connsiteX9" fmla="*/ 20461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0461" y="10731"/>
                  </a:moveTo>
                  <a:lnTo>
                    <a:pt x="20461" y="10731"/>
                  </a:lnTo>
                  <a:cubicBezTo>
                    <a:pt x="15087" y="10731"/>
                    <a:pt x="10732" y="15086"/>
                    <a:pt x="10731" y="20458"/>
                  </a:cubicBezTo>
                  <a:cubicBezTo>
                    <a:pt x="10731" y="20507"/>
                    <a:pt x="10731" y="20554"/>
                    <a:pt x="10732" y="20603"/>
                  </a:cubicBezTo>
                  <a:cubicBezTo>
                    <a:pt x="10652" y="25897"/>
                    <a:pt x="14880" y="30252"/>
                    <a:pt x="20173" y="30332"/>
                  </a:cubicBezTo>
                  <a:cubicBezTo>
                    <a:pt x="20269" y="30333"/>
                    <a:pt x="20365" y="30333"/>
                    <a:pt x="20461" y="30332"/>
                  </a:cubicBezTo>
                  <a:cubicBezTo>
                    <a:pt x="25542" y="30332"/>
                    <a:pt x="29682" y="26256"/>
                    <a:pt x="29761" y="21175"/>
                  </a:cubicBezTo>
                  <a:lnTo>
                    <a:pt x="29761" y="20174"/>
                  </a:lnTo>
                  <a:cubicBezTo>
                    <a:pt x="29840" y="15039"/>
                    <a:pt x="25741" y="10811"/>
                    <a:pt x="20606" y="10732"/>
                  </a:cubicBezTo>
                  <a:cubicBezTo>
                    <a:pt x="20557" y="10731"/>
                    <a:pt x="20510" y="10731"/>
                    <a:pt x="2046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69" name="Freeform: Shape 268">
              <a:extLst>
                <a:ext uri="{FF2B5EF4-FFF2-40B4-BE49-F238E27FC236}">
                  <a16:creationId xmlns:a16="http://schemas.microsoft.com/office/drawing/2014/main" id="{A90825C4-3332-41E1-AA88-E0C7CDF30932}"/>
                </a:ext>
              </a:extLst>
            </p:cNvPr>
            <p:cNvSpPr/>
            <p:nvPr/>
          </p:nvSpPr>
          <p:spPr>
            <a:xfrm>
              <a:off x="5694659" y="6104623"/>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0" name="Freeform: Shape 269">
              <a:extLst>
                <a:ext uri="{FF2B5EF4-FFF2-40B4-BE49-F238E27FC236}">
                  <a16:creationId xmlns:a16="http://schemas.microsoft.com/office/drawing/2014/main" id="{58081D31-7C2E-48FF-B489-58BE3FF0DF7E}"/>
                </a:ext>
              </a:extLst>
            </p:cNvPr>
            <p:cNvSpPr/>
            <p:nvPr/>
          </p:nvSpPr>
          <p:spPr>
            <a:xfrm>
              <a:off x="6097271" y="6307787"/>
              <a:ext cx="28615" cy="28615"/>
            </a:xfrm>
            <a:custGeom>
              <a:avLst/>
              <a:gdLst>
                <a:gd name="connsiteX0" fmla="*/ 20174 w 28614"/>
                <a:gd name="connsiteY0" fmla="*/ 10732 h 28614"/>
                <a:gd name="connsiteX1" fmla="*/ 10731 w 28614"/>
                <a:gd name="connsiteY1" fmla="*/ 19889 h 28614"/>
                <a:gd name="connsiteX2" fmla="*/ 20174 w 28614"/>
                <a:gd name="connsiteY2" fmla="*/ 29332 h 28614"/>
                <a:gd name="connsiteX3" fmla="*/ 29473 w 28614"/>
                <a:gd name="connsiteY3" fmla="*/ 19889 h 28614"/>
                <a:gd name="connsiteX4" fmla="*/ 20318 w 28614"/>
                <a:gd name="connsiteY4" fmla="*/ 10731 h 28614"/>
                <a:gd name="connsiteX5" fmla="*/ 20174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174" y="10732"/>
                  </a:moveTo>
                  <a:cubicBezTo>
                    <a:pt x="15069" y="10729"/>
                    <a:pt x="10885" y="14785"/>
                    <a:pt x="10731" y="19889"/>
                  </a:cubicBezTo>
                  <a:cubicBezTo>
                    <a:pt x="10880" y="25041"/>
                    <a:pt x="15021" y="29183"/>
                    <a:pt x="20174" y="29332"/>
                  </a:cubicBezTo>
                  <a:cubicBezTo>
                    <a:pt x="25333" y="29253"/>
                    <a:pt x="29473" y="25048"/>
                    <a:pt x="29473" y="19889"/>
                  </a:cubicBezTo>
                  <a:cubicBezTo>
                    <a:pt x="29473" y="14831"/>
                    <a:pt x="25374" y="10732"/>
                    <a:pt x="20318" y="10731"/>
                  </a:cubicBezTo>
                  <a:cubicBezTo>
                    <a:pt x="20269" y="10731"/>
                    <a:pt x="20222" y="10731"/>
                    <a:pt x="20174"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1" name="Freeform: Shape 270">
              <a:extLst>
                <a:ext uri="{FF2B5EF4-FFF2-40B4-BE49-F238E27FC236}">
                  <a16:creationId xmlns:a16="http://schemas.microsoft.com/office/drawing/2014/main" id="{4EF38240-5DD1-413B-BECF-531705696E17}"/>
                </a:ext>
              </a:extLst>
            </p:cNvPr>
            <p:cNvSpPr/>
            <p:nvPr/>
          </p:nvSpPr>
          <p:spPr>
            <a:xfrm>
              <a:off x="6016577" y="6257713"/>
              <a:ext cx="28615" cy="28615"/>
            </a:xfrm>
            <a:custGeom>
              <a:avLst/>
              <a:gdLst>
                <a:gd name="connsiteX0" fmla="*/ 21175 w 28614"/>
                <a:gd name="connsiteY0" fmla="*/ 10731 h 28614"/>
                <a:gd name="connsiteX1" fmla="*/ 21175 w 28614"/>
                <a:gd name="connsiteY1" fmla="*/ 10731 h 28614"/>
                <a:gd name="connsiteX2" fmla="*/ 10731 w 28614"/>
                <a:gd name="connsiteY2" fmla="*/ 21175 h 28614"/>
                <a:gd name="connsiteX3" fmla="*/ 20889 w 28614"/>
                <a:gd name="connsiteY3" fmla="*/ 31333 h 28614"/>
                <a:gd name="connsiteX4" fmla="*/ 20889 w 28614"/>
                <a:gd name="connsiteY4" fmla="*/ 31333 h 28614"/>
                <a:gd name="connsiteX5" fmla="*/ 31190 w 28614"/>
                <a:gd name="connsiteY5" fmla="*/ 21032 h 28614"/>
                <a:gd name="connsiteX6" fmla="*/ 20889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175" y="10731"/>
                  </a:moveTo>
                  <a:lnTo>
                    <a:pt x="21175" y="10731"/>
                  </a:lnTo>
                  <a:cubicBezTo>
                    <a:pt x="15406" y="10731"/>
                    <a:pt x="10731" y="15406"/>
                    <a:pt x="10731" y="21175"/>
                  </a:cubicBezTo>
                  <a:cubicBezTo>
                    <a:pt x="10731" y="26785"/>
                    <a:pt x="15279" y="31333"/>
                    <a:pt x="20889" y="31333"/>
                  </a:cubicBezTo>
                  <a:lnTo>
                    <a:pt x="20889" y="31333"/>
                  </a:lnTo>
                  <a:cubicBezTo>
                    <a:pt x="26578" y="31333"/>
                    <a:pt x="31190" y="26721"/>
                    <a:pt x="31190" y="21032"/>
                  </a:cubicBezTo>
                  <a:cubicBezTo>
                    <a:pt x="31190" y="15343"/>
                    <a:pt x="26578" y="10731"/>
                    <a:pt x="2088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2" name="Freeform: Shape 271">
              <a:extLst>
                <a:ext uri="{FF2B5EF4-FFF2-40B4-BE49-F238E27FC236}">
                  <a16:creationId xmlns:a16="http://schemas.microsoft.com/office/drawing/2014/main" id="{F3359779-E520-44FE-A7C1-92B15B0EEB9E}"/>
                </a:ext>
              </a:extLst>
            </p:cNvPr>
            <p:cNvSpPr/>
            <p:nvPr/>
          </p:nvSpPr>
          <p:spPr>
            <a:xfrm>
              <a:off x="6177102" y="6359868"/>
              <a:ext cx="28615" cy="28615"/>
            </a:xfrm>
            <a:custGeom>
              <a:avLst/>
              <a:gdLst>
                <a:gd name="connsiteX0" fmla="*/ 19463 w 28614"/>
                <a:gd name="connsiteY0" fmla="*/ 10731 h 28614"/>
                <a:gd name="connsiteX1" fmla="*/ 10736 w 28614"/>
                <a:gd name="connsiteY1" fmla="*/ 19029 h 28614"/>
                <a:gd name="connsiteX2" fmla="*/ 18744 w 28614"/>
                <a:gd name="connsiteY2" fmla="*/ 27609 h 28614"/>
                <a:gd name="connsiteX3" fmla="*/ 19034 w 28614"/>
                <a:gd name="connsiteY3" fmla="*/ 27613 h 28614"/>
                <a:gd name="connsiteX4" fmla="*/ 19034 w 28614"/>
                <a:gd name="connsiteY4" fmla="*/ 27613 h 28614"/>
                <a:gd name="connsiteX5" fmla="*/ 27189 w 28614"/>
                <a:gd name="connsiteY5" fmla="*/ 19747 h 28614"/>
                <a:gd name="connsiteX6" fmla="*/ 27189 w 28614"/>
                <a:gd name="connsiteY6" fmla="*/ 19458 h 28614"/>
                <a:gd name="connsiteX7" fmla="*/ 19463 w 28614"/>
                <a:gd name="connsiteY7"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63" y="10731"/>
                  </a:moveTo>
                  <a:cubicBezTo>
                    <a:pt x="14806" y="10725"/>
                    <a:pt x="10965" y="14378"/>
                    <a:pt x="10736" y="19029"/>
                  </a:cubicBezTo>
                  <a:cubicBezTo>
                    <a:pt x="10578" y="23609"/>
                    <a:pt x="14162" y="27450"/>
                    <a:pt x="18744" y="27609"/>
                  </a:cubicBezTo>
                  <a:cubicBezTo>
                    <a:pt x="18839" y="27612"/>
                    <a:pt x="18937" y="27613"/>
                    <a:pt x="19034" y="27613"/>
                  </a:cubicBezTo>
                  <a:lnTo>
                    <a:pt x="19034" y="27613"/>
                  </a:lnTo>
                  <a:cubicBezTo>
                    <a:pt x="23458" y="27694"/>
                    <a:pt x="27109" y="24171"/>
                    <a:pt x="27189" y="19747"/>
                  </a:cubicBezTo>
                  <a:cubicBezTo>
                    <a:pt x="27191" y="19651"/>
                    <a:pt x="27191" y="19554"/>
                    <a:pt x="27189" y="19458"/>
                  </a:cubicBezTo>
                  <a:cubicBezTo>
                    <a:pt x="27358" y="14953"/>
                    <a:pt x="23956" y="11110"/>
                    <a:pt x="1946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3" name="Freeform: Shape 272">
              <a:extLst>
                <a:ext uri="{FF2B5EF4-FFF2-40B4-BE49-F238E27FC236}">
                  <a16:creationId xmlns:a16="http://schemas.microsoft.com/office/drawing/2014/main" id="{894EB6A3-0AC5-433D-8184-AC4C11418E4D}"/>
                </a:ext>
              </a:extLst>
            </p:cNvPr>
            <p:cNvSpPr/>
            <p:nvPr/>
          </p:nvSpPr>
          <p:spPr>
            <a:xfrm>
              <a:off x="6176443" y="6111825"/>
              <a:ext cx="28615" cy="28615"/>
            </a:xfrm>
            <a:custGeom>
              <a:avLst/>
              <a:gdLst>
                <a:gd name="connsiteX0" fmla="*/ 17976 w 28614"/>
                <a:gd name="connsiteY0" fmla="*/ 27422 h 28614"/>
                <a:gd name="connsiteX1" fmla="*/ 27562 w 28614"/>
                <a:gd name="connsiteY1" fmla="*/ 20411 h 28614"/>
                <a:gd name="connsiteX2" fmla="*/ 27562 w 28614"/>
                <a:gd name="connsiteY2" fmla="*/ 17836 h 28614"/>
                <a:gd name="connsiteX3" fmla="*/ 17976 w 28614"/>
                <a:gd name="connsiteY3" fmla="*/ 10825 h 28614"/>
                <a:gd name="connsiteX4" fmla="*/ 10822 w 28614"/>
                <a:gd name="connsiteY4" fmla="*/ 17836 h 28614"/>
                <a:gd name="connsiteX5" fmla="*/ 17943 w 28614"/>
                <a:gd name="connsiteY5" fmla="*/ 27418 h 28614"/>
                <a:gd name="connsiteX6" fmla="*/ 17976 w 28614"/>
                <a:gd name="connsiteY6" fmla="*/ 2742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7976" y="27422"/>
                  </a:moveTo>
                  <a:cubicBezTo>
                    <a:pt x="22553" y="28107"/>
                    <a:pt x="26828" y="24981"/>
                    <a:pt x="27562" y="20411"/>
                  </a:cubicBezTo>
                  <a:cubicBezTo>
                    <a:pt x="27706" y="19558"/>
                    <a:pt x="27706" y="18689"/>
                    <a:pt x="27562" y="17836"/>
                  </a:cubicBezTo>
                  <a:cubicBezTo>
                    <a:pt x="26828" y="13266"/>
                    <a:pt x="22553" y="10138"/>
                    <a:pt x="17976" y="10825"/>
                  </a:cubicBezTo>
                  <a:cubicBezTo>
                    <a:pt x="14313" y="11342"/>
                    <a:pt x="11413" y="14183"/>
                    <a:pt x="10822" y="17836"/>
                  </a:cubicBezTo>
                  <a:cubicBezTo>
                    <a:pt x="10142" y="22449"/>
                    <a:pt x="13331" y="26738"/>
                    <a:pt x="17943" y="27418"/>
                  </a:cubicBezTo>
                  <a:cubicBezTo>
                    <a:pt x="17954" y="27419"/>
                    <a:pt x="17964" y="27420"/>
                    <a:pt x="17976" y="2742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4" name="Freeform: Shape 273">
              <a:extLst>
                <a:ext uri="{FF2B5EF4-FFF2-40B4-BE49-F238E27FC236}">
                  <a16:creationId xmlns:a16="http://schemas.microsoft.com/office/drawing/2014/main" id="{0FCC20C6-135D-41D9-BC86-F13F422FAF22}"/>
                </a:ext>
              </a:extLst>
            </p:cNvPr>
            <p:cNvSpPr/>
            <p:nvPr/>
          </p:nvSpPr>
          <p:spPr>
            <a:xfrm>
              <a:off x="5222224" y="6258714"/>
              <a:ext cx="28615" cy="28615"/>
            </a:xfrm>
            <a:custGeom>
              <a:avLst/>
              <a:gdLst>
                <a:gd name="connsiteX0" fmla="*/ 20032 w 28614"/>
                <a:gd name="connsiteY0" fmla="*/ 29330 h 28614"/>
                <a:gd name="connsiteX1" fmla="*/ 29330 w 28614"/>
                <a:gd name="connsiteY1" fmla="*/ 20029 h 28614"/>
                <a:gd name="connsiteX2" fmla="*/ 20029 w 28614"/>
                <a:gd name="connsiteY2" fmla="*/ 10731 h 28614"/>
                <a:gd name="connsiteX3" fmla="*/ 10731 w 28614"/>
                <a:gd name="connsiteY3" fmla="*/ 20032 h 28614"/>
                <a:gd name="connsiteX4" fmla="*/ 10732 w 28614"/>
                <a:gd name="connsiteY4" fmla="*/ 20173 h 28614"/>
                <a:gd name="connsiteX5" fmla="*/ 20032 w 28614"/>
                <a:gd name="connsiteY5" fmla="*/ 293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2" y="29330"/>
                  </a:moveTo>
                  <a:cubicBezTo>
                    <a:pt x="25168" y="29330"/>
                    <a:pt x="29332" y="25165"/>
                    <a:pt x="29330" y="20029"/>
                  </a:cubicBezTo>
                  <a:cubicBezTo>
                    <a:pt x="29330" y="14893"/>
                    <a:pt x="25165" y="10731"/>
                    <a:pt x="20029" y="10731"/>
                  </a:cubicBezTo>
                  <a:cubicBezTo>
                    <a:pt x="14894" y="10731"/>
                    <a:pt x="10731" y="14896"/>
                    <a:pt x="10731" y="20032"/>
                  </a:cubicBezTo>
                  <a:cubicBezTo>
                    <a:pt x="10731" y="20079"/>
                    <a:pt x="10731" y="20126"/>
                    <a:pt x="10732" y="20173"/>
                  </a:cubicBezTo>
                  <a:cubicBezTo>
                    <a:pt x="10811" y="25254"/>
                    <a:pt x="14951" y="29330"/>
                    <a:pt x="20032" y="2933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5" name="Freeform: Shape 274">
              <a:extLst>
                <a:ext uri="{FF2B5EF4-FFF2-40B4-BE49-F238E27FC236}">
                  <a16:creationId xmlns:a16="http://schemas.microsoft.com/office/drawing/2014/main" id="{8CA039B6-869B-47AA-8CDA-97D9F50F39DD}"/>
                </a:ext>
              </a:extLst>
            </p:cNvPr>
            <p:cNvSpPr/>
            <p:nvPr/>
          </p:nvSpPr>
          <p:spPr>
            <a:xfrm>
              <a:off x="6097271" y="6209496"/>
              <a:ext cx="28615" cy="28615"/>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80" y="25040"/>
                    <a:pt x="15021" y="29181"/>
                    <a:pt x="20174" y="29330"/>
                  </a:cubicBezTo>
                  <a:cubicBezTo>
                    <a:pt x="25333" y="29252"/>
                    <a:pt x="29473" y="25047"/>
                    <a:pt x="29473" y="19887"/>
                  </a:cubicBezTo>
                  <a:cubicBezTo>
                    <a:pt x="29395" y="14807"/>
                    <a:pt x="25254" y="10731"/>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6" name="Freeform: Shape 275">
              <a:extLst>
                <a:ext uri="{FF2B5EF4-FFF2-40B4-BE49-F238E27FC236}">
                  <a16:creationId xmlns:a16="http://schemas.microsoft.com/office/drawing/2014/main" id="{2EA09CD1-BA6D-49E5-9F3B-7227FC2CD744}"/>
                </a:ext>
              </a:extLst>
            </p:cNvPr>
            <p:cNvSpPr/>
            <p:nvPr/>
          </p:nvSpPr>
          <p:spPr>
            <a:xfrm>
              <a:off x="6097271" y="6158419"/>
              <a:ext cx="28615" cy="28615"/>
            </a:xfrm>
            <a:custGeom>
              <a:avLst/>
              <a:gdLst>
                <a:gd name="connsiteX0" fmla="*/ 20174 w 28614"/>
                <a:gd name="connsiteY0" fmla="*/ 10731 h 28614"/>
                <a:gd name="connsiteX1" fmla="*/ 10731 w 28614"/>
                <a:gd name="connsiteY1" fmla="*/ 20173 h 28614"/>
                <a:gd name="connsiteX2" fmla="*/ 20174 w 28614"/>
                <a:gd name="connsiteY2" fmla="*/ 29330 h 28614"/>
                <a:gd name="connsiteX3" fmla="*/ 29473 w 28614"/>
                <a:gd name="connsiteY3" fmla="*/ 20173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21" y="10879"/>
                    <a:pt x="10880" y="15021"/>
                    <a:pt x="10731" y="20173"/>
                  </a:cubicBezTo>
                  <a:cubicBezTo>
                    <a:pt x="10885" y="25277"/>
                    <a:pt x="15069" y="29333"/>
                    <a:pt x="20174" y="29330"/>
                  </a:cubicBezTo>
                  <a:cubicBezTo>
                    <a:pt x="25254" y="29330"/>
                    <a:pt x="29395" y="25254"/>
                    <a:pt x="29473" y="20173"/>
                  </a:cubicBezTo>
                  <a:cubicBezTo>
                    <a:pt x="29473" y="15014"/>
                    <a:pt x="25333" y="10809"/>
                    <a:pt x="2017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7" name="Freeform: Shape 276">
              <a:extLst>
                <a:ext uri="{FF2B5EF4-FFF2-40B4-BE49-F238E27FC236}">
                  <a16:creationId xmlns:a16="http://schemas.microsoft.com/office/drawing/2014/main" id="{8DECAEF5-4D9B-46CB-BB1E-2193C714B5AD}"/>
                </a:ext>
              </a:extLst>
            </p:cNvPr>
            <p:cNvSpPr/>
            <p:nvPr/>
          </p:nvSpPr>
          <p:spPr>
            <a:xfrm>
              <a:off x="5223080" y="6107698"/>
              <a:ext cx="28615" cy="28615"/>
            </a:xfrm>
            <a:custGeom>
              <a:avLst/>
              <a:gdLst>
                <a:gd name="connsiteX0" fmla="*/ 19892 w 28614"/>
                <a:gd name="connsiteY0" fmla="*/ 10802 h 28614"/>
                <a:gd name="connsiteX1" fmla="*/ 10735 w 28614"/>
                <a:gd name="connsiteY1" fmla="*/ 19959 h 28614"/>
                <a:gd name="connsiteX2" fmla="*/ 10735 w 28614"/>
                <a:gd name="connsiteY2" fmla="*/ 20961 h 28614"/>
                <a:gd name="connsiteX3" fmla="*/ 19600 w 28614"/>
                <a:gd name="connsiteY3" fmla="*/ 30401 h 28614"/>
                <a:gd name="connsiteX4" fmla="*/ 19749 w 28614"/>
                <a:gd name="connsiteY4" fmla="*/ 30404 h 28614"/>
                <a:gd name="connsiteX5" fmla="*/ 19749 w 28614"/>
                <a:gd name="connsiteY5" fmla="*/ 30404 h 28614"/>
                <a:gd name="connsiteX6" fmla="*/ 30736 w 28614"/>
                <a:gd name="connsiteY6" fmla="*/ 21789 h 28614"/>
                <a:gd name="connsiteX7" fmla="*/ 22121 w 28614"/>
                <a:gd name="connsiteY7" fmla="*/ 10802 h 28614"/>
                <a:gd name="connsiteX8" fmla="*/ 19749 w 28614"/>
                <a:gd name="connsiteY8" fmla="*/ 1080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19892" y="10802"/>
                  </a:moveTo>
                  <a:cubicBezTo>
                    <a:pt x="14834" y="10802"/>
                    <a:pt x="10735" y="14902"/>
                    <a:pt x="10735" y="19959"/>
                  </a:cubicBezTo>
                  <a:lnTo>
                    <a:pt x="10735" y="20961"/>
                  </a:lnTo>
                  <a:cubicBezTo>
                    <a:pt x="10576" y="26016"/>
                    <a:pt x="14545" y="30242"/>
                    <a:pt x="19600" y="30401"/>
                  </a:cubicBezTo>
                  <a:cubicBezTo>
                    <a:pt x="19650" y="30402"/>
                    <a:pt x="19699" y="30402"/>
                    <a:pt x="19749" y="30404"/>
                  </a:cubicBezTo>
                  <a:lnTo>
                    <a:pt x="19749" y="30404"/>
                  </a:lnTo>
                  <a:cubicBezTo>
                    <a:pt x="25161" y="31059"/>
                    <a:pt x="30080" y="27202"/>
                    <a:pt x="30736" y="21789"/>
                  </a:cubicBezTo>
                  <a:cubicBezTo>
                    <a:pt x="31391" y="16377"/>
                    <a:pt x="27534" y="11458"/>
                    <a:pt x="22121" y="10802"/>
                  </a:cubicBezTo>
                  <a:cubicBezTo>
                    <a:pt x="21334" y="10707"/>
                    <a:pt x="20537" y="10707"/>
                    <a:pt x="19749" y="1080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8" name="Freeform: Shape 277">
              <a:extLst>
                <a:ext uri="{FF2B5EF4-FFF2-40B4-BE49-F238E27FC236}">
                  <a16:creationId xmlns:a16="http://schemas.microsoft.com/office/drawing/2014/main" id="{252B9FF4-9A0A-406E-ABFB-B7DBC774FDEB}"/>
                </a:ext>
              </a:extLst>
            </p:cNvPr>
            <p:cNvSpPr/>
            <p:nvPr/>
          </p:nvSpPr>
          <p:spPr>
            <a:xfrm>
              <a:off x="5222940" y="6357150"/>
              <a:ext cx="28615" cy="28615"/>
            </a:xfrm>
            <a:custGeom>
              <a:avLst/>
              <a:gdLst>
                <a:gd name="connsiteX0" fmla="*/ 19889 w 28614"/>
                <a:gd name="connsiteY0" fmla="*/ 10731 h 28614"/>
                <a:gd name="connsiteX1" fmla="*/ 10731 w 28614"/>
                <a:gd name="connsiteY1" fmla="*/ 19886 h 28614"/>
                <a:gd name="connsiteX2" fmla="*/ 10732 w 28614"/>
                <a:gd name="connsiteY2" fmla="*/ 20030 h 28614"/>
                <a:gd name="connsiteX3" fmla="*/ 10732 w 28614"/>
                <a:gd name="connsiteY3" fmla="*/ 20030 h 28614"/>
                <a:gd name="connsiteX4" fmla="*/ 10732 w 28614"/>
                <a:gd name="connsiteY4" fmla="*/ 21032 h 28614"/>
                <a:gd name="connsiteX5" fmla="*/ 19600 w 28614"/>
                <a:gd name="connsiteY5" fmla="*/ 30189 h 28614"/>
                <a:gd name="connsiteX6" fmla="*/ 19889 w 28614"/>
                <a:gd name="connsiteY6" fmla="*/ 30189 h 28614"/>
                <a:gd name="connsiteX7" fmla="*/ 29760 w 28614"/>
                <a:gd name="connsiteY7" fmla="*/ 20604 h 28614"/>
                <a:gd name="connsiteX8" fmla="*/ 29761 w 28614"/>
                <a:gd name="connsiteY8" fmla="*/ 20460 h 28614"/>
                <a:gd name="connsiteX9" fmla="*/ 19889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19889" y="10731"/>
                  </a:moveTo>
                  <a:cubicBezTo>
                    <a:pt x="14831" y="10731"/>
                    <a:pt x="10732" y="14830"/>
                    <a:pt x="10731" y="19886"/>
                  </a:cubicBezTo>
                  <a:cubicBezTo>
                    <a:pt x="10731" y="19935"/>
                    <a:pt x="10731" y="19982"/>
                    <a:pt x="10732" y="20030"/>
                  </a:cubicBezTo>
                  <a:lnTo>
                    <a:pt x="10732" y="20030"/>
                  </a:lnTo>
                  <a:lnTo>
                    <a:pt x="10732" y="21032"/>
                  </a:lnTo>
                  <a:cubicBezTo>
                    <a:pt x="10652" y="26010"/>
                    <a:pt x="14622" y="30109"/>
                    <a:pt x="19600" y="30189"/>
                  </a:cubicBezTo>
                  <a:cubicBezTo>
                    <a:pt x="19697" y="30190"/>
                    <a:pt x="19793" y="30190"/>
                    <a:pt x="19889" y="30189"/>
                  </a:cubicBezTo>
                  <a:cubicBezTo>
                    <a:pt x="25261" y="30267"/>
                    <a:pt x="29681" y="25977"/>
                    <a:pt x="29760" y="20604"/>
                  </a:cubicBezTo>
                  <a:cubicBezTo>
                    <a:pt x="29761" y="20556"/>
                    <a:pt x="29761" y="20508"/>
                    <a:pt x="29761" y="20460"/>
                  </a:cubicBezTo>
                  <a:cubicBezTo>
                    <a:pt x="29682" y="15063"/>
                    <a:pt x="25286" y="10731"/>
                    <a:pt x="19889"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79" name="Freeform: Shape 278">
              <a:extLst>
                <a:ext uri="{FF2B5EF4-FFF2-40B4-BE49-F238E27FC236}">
                  <a16:creationId xmlns:a16="http://schemas.microsoft.com/office/drawing/2014/main" id="{88A18833-3742-47EC-91B5-2FDE3DB39D19}"/>
                </a:ext>
              </a:extLst>
            </p:cNvPr>
            <p:cNvSpPr/>
            <p:nvPr/>
          </p:nvSpPr>
          <p:spPr>
            <a:xfrm>
              <a:off x="5144964" y="6109344"/>
              <a:ext cx="28615" cy="28615"/>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0" name="Freeform: Shape 279">
              <a:extLst>
                <a:ext uri="{FF2B5EF4-FFF2-40B4-BE49-F238E27FC236}">
                  <a16:creationId xmlns:a16="http://schemas.microsoft.com/office/drawing/2014/main" id="{E49E55FD-805B-4D81-AE50-061DD50C3F41}"/>
                </a:ext>
              </a:extLst>
            </p:cNvPr>
            <p:cNvSpPr/>
            <p:nvPr/>
          </p:nvSpPr>
          <p:spPr>
            <a:xfrm>
              <a:off x="5300773" y="6257855"/>
              <a:ext cx="28615" cy="28615"/>
            </a:xfrm>
            <a:custGeom>
              <a:avLst/>
              <a:gdLst>
                <a:gd name="connsiteX0" fmla="*/ 20890 w 28614"/>
                <a:gd name="connsiteY0" fmla="*/ 31191 h 28614"/>
                <a:gd name="connsiteX1" fmla="*/ 31334 w 28614"/>
                <a:gd name="connsiteY1" fmla="*/ 21176 h 28614"/>
                <a:gd name="connsiteX2" fmla="*/ 31334 w 28614"/>
                <a:gd name="connsiteY2" fmla="*/ 21176 h 28614"/>
                <a:gd name="connsiteX3" fmla="*/ 21178 w 28614"/>
                <a:gd name="connsiteY3" fmla="*/ 10732 h 28614"/>
                <a:gd name="connsiteX4" fmla="*/ 20890 w 28614"/>
                <a:gd name="connsiteY4" fmla="*/ 10732 h 28614"/>
                <a:gd name="connsiteX5" fmla="*/ 10732 w 28614"/>
                <a:gd name="connsiteY5" fmla="*/ 20890 h 28614"/>
                <a:gd name="connsiteX6" fmla="*/ 10732 w 28614"/>
                <a:gd name="connsiteY6" fmla="*/ 20890 h 28614"/>
                <a:gd name="connsiteX7" fmla="*/ 20745 w 28614"/>
                <a:gd name="connsiteY7" fmla="*/ 31190 h 28614"/>
                <a:gd name="connsiteX8" fmla="*/ 20890 w 28614"/>
                <a:gd name="connsiteY8" fmla="*/ 3119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890" y="31191"/>
                  </a:moveTo>
                  <a:cubicBezTo>
                    <a:pt x="26524" y="31271"/>
                    <a:pt x="31178" y="26809"/>
                    <a:pt x="31334" y="21176"/>
                  </a:cubicBezTo>
                  <a:lnTo>
                    <a:pt x="31334" y="21176"/>
                  </a:lnTo>
                  <a:cubicBezTo>
                    <a:pt x="31415" y="15488"/>
                    <a:pt x="26866" y="10812"/>
                    <a:pt x="21178" y="10732"/>
                  </a:cubicBezTo>
                  <a:cubicBezTo>
                    <a:pt x="21082" y="10730"/>
                    <a:pt x="20986" y="10730"/>
                    <a:pt x="20890" y="10732"/>
                  </a:cubicBezTo>
                  <a:cubicBezTo>
                    <a:pt x="15280" y="10732"/>
                    <a:pt x="10732" y="15280"/>
                    <a:pt x="10732" y="20890"/>
                  </a:cubicBezTo>
                  <a:lnTo>
                    <a:pt x="10732" y="20890"/>
                  </a:lnTo>
                  <a:cubicBezTo>
                    <a:pt x="10653" y="26500"/>
                    <a:pt x="15135" y="31111"/>
                    <a:pt x="20745" y="31190"/>
                  </a:cubicBezTo>
                  <a:cubicBezTo>
                    <a:pt x="20794" y="31191"/>
                    <a:pt x="20841" y="31191"/>
                    <a:pt x="20890" y="3119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1" name="Freeform: Shape 280">
              <a:extLst>
                <a:ext uri="{FF2B5EF4-FFF2-40B4-BE49-F238E27FC236}">
                  <a16:creationId xmlns:a16="http://schemas.microsoft.com/office/drawing/2014/main" id="{67999A73-24A2-4EAA-A43F-948DF287AA87}"/>
                </a:ext>
              </a:extLst>
            </p:cNvPr>
            <p:cNvSpPr/>
            <p:nvPr/>
          </p:nvSpPr>
          <p:spPr>
            <a:xfrm>
              <a:off x="5222226" y="6309362"/>
              <a:ext cx="28615" cy="28615"/>
            </a:xfrm>
            <a:custGeom>
              <a:avLst/>
              <a:gdLst>
                <a:gd name="connsiteX0" fmla="*/ 20030 w 28614"/>
                <a:gd name="connsiteY0" fmla="*/ 29331 h 28614"/>
                <a:gd name="connsiteX1" fmla="*/ 29473 w 28614"/>
                <a:gd name="connsiteY1" fmla="*/ 19889 h 28614"/>
                <a:gd name="connsiteX2" fmla="*/ 20030 w 28614"/>
                <a:gd name="connsiteY2" fmla="*/ 10732 h 28614"/>
                <a:gd name="connsiteX3" fmla="*/ 10732 w 28614"/>
                <a:gd name="connsiteY3" fmla="*/ 19744 h 28614"/>
                <a:gd name="connsiteX4" fmla="*/ 10731 w 28614"/>
                <a:gd name="connsiteY4" fmla="*/ 19889 h 28614"/>
                <a:gd name="connsiteX5" fmla="*/ 20030 w 28614"/>
                <a:gd name="connsiteY5" fmla="*/ 293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0" y="29331"/>
                  </a:moveTo>
                  <a:cubicBezTo>
                    <a:pt x="25183" y="29183"/>
                    <a:pt x="29325" y="25041"/>
                    <a:pt x="29473" y="19889"/>
                  </a:cubicBezTo>
                  <a:cubicBezTo>
                    <a:pt x="29319" y="14785"/>
                    <a:pt x="25135" y="10729"/>
                    <a:pt x="20030" y="10732"/>
                  </a:cubicBezTo>
                  <a:cubicBezTo>
                    <a:pt x="14974" y="10653"/>
                    <a:pt x="10811" y="14688"/>
                    <a:pt x="10732" y="19744"/>
                  </a:cubicBezTo>
                  <a:cubicBezTo>
                    <a:pt x="10731" y="19793"/>
                    <a:pt x="10731" y="19840"/>
                    <a:pt x="10731" y="19889"/>
                  </a:cubicBezTo>
                  <a:cubicBezTo>
                    <a:pt x="10731" y="25048"/>
                    <a:pt x="14871" y="29253"/>
                    <a:pt x="20030" y="293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2" name="Freeform: Shape 281">
              <a:extLst>
                <a:ext uri="{FF2B5EF4-FFF2-40B4-BE49-F238E27FC236}">
                  <a16:creationId xmlns:a16="http://schemas.microsoft.com/office/drawing/2014/main" id="{868D5830-7C04-4F74-88F3-987FFCC64E2B}"/>
                </a:ext>
              </a:extLst>
            </p:cNvPr>
            <p:cNvSpPr/>
            <p:nvPr/>
          </p:nvSpPr>
          <p:spPr>
            <a:xfrm>
              <a:off x="5300917" y="6307931"/>
              <a:ext cx="42922" cy="28615"/>
            </a:xfrm>
            <a:custGeom>
              <a:avLst/>
              <a:gdLst>
                <a:gd name="connsiteX0" fmla="*/ 26469 w 42922"/>
                <a:gd name="connsiteY0" fmla="*/ 11161 h 28614"/>
                <a:gd name="connsiteX1" fmla="*/ 20746 w 42922"/>
                <a:gd name="connsiteY1" fmla="*/ 11161 h 28614"/>
                <a:gd name="connsiteX2" fmla="*/ 10731 w 42922"/>
                <a:gd name="connsiteY2" fmla="*/ 20890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25" y="11159"/>
                    <a:pt x="10885" y="15470"/>
                    <a:pt x="10731" y="20890"/>
                  </a:cubicBezTo>
                  <a:cubicBezTo>
                    <a:pt x="10884" y="26332"/>
                    <a:pt x="15300" y="30688"/>
                    <a:pt x="20746" y="30762"/>
                  </a:cubicBezTo>
                  <a:cubicBezTo>
                    <a:pt x="26158" y="32343"/>
                    <a:pt x="31827" y="29236"/>
                    <a:pt x="33408" y="23823"/>
                  </a:cubicBezTo>
                  <a:cubicBezTo>
                    <a:pt x="34989" y="18410"/>
                    <a:pt x="31881" y="12742"/>
                    <a:pt x="26469" y="1116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3" name="Freeform: Shape 282">
              <a:extLst>
                <a:ext uri="{FF2B5EF4-FFF2-40B4-BE49-F238E27FC236}">
                  <a16:creationId xmlns:a16="http://schemas.microsoft.com/office/drawing/2014/main" id="{92DCD5E6-FDFE-4479-AAFA-1A81353FFA9E}"/>
                </a:ext>
              </a:extLst>
            </p:cNvPr>
            <p:cNvSpPr/>
            <p:nvPr/>
          </p:nvSpPr>
          <p:spPr>
            <a:xfrm>
              <a:off x="5694802" y="6154270"/>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4" name="Freeform: Shape 283">
              <a:extLst>
                <a:ext uri="{FF2B5EF4-FFF2-40B4-BE49-F238E27FC236}">
                  <a16:creationId xmlns:a16="http://schemas.microsoft.com/office/drawing/2014/main" id="{E5DF9163-0388-4C1F-9A15-B287B344837E}"/>
                </a:ext>
              </a:extLst>
            </p:cNvPr>
            <p:cNvSpPr/>
            <p:nvPr/>
          </p:nvSpPr>
          <p:spPr>
            <a:xfrm>
              <a:off x="5300774" y="6318520"/>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cubicBezTo>
                    <a:pt x="10731" y="10731"/>
                    <a:pt x="10731" y="10731"/>
                    <a:pt x="1073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5" name="Freeform: Shape 284">
              <a:extLst>
                <a:ext uri="{FF2B5EF4-FFF2-40B4-BE49-F238E27FC236}">
                  <a16:creationId xmlns:a16="http://schemas.microsoft.com/office/drawing/2014/main" id="{A8699D1D-39F8-41C5-BAF7-E6661E82833E}"/>
                </a:ext>
              </a:extLst>
            </p:cNvPr>
            <p:cNvSpPr/>
            <p:nvPr/>
          </p:nvSpPr>
          <p:spPr>
            <a:xfrm>
              <a:off x="5301346" y="6207635"/>
              <a:ext cx="28615" cy="28615"/>
            </a:xfrm>
            <a:custGeom>
              <a:avLst/>
              <a:gdLst>
                <a:gd name="connsiteX0" fmla="*/ 20889 w 28614"/>
                <a:gd name="connsiteY0" fmla="*/ 31335 h 28614"/>
                <a:gd name="connsiteX1" fmla="*/ 20889 w 28614"/>
                <a:gd name="connsiteY1" fmla="*/ 31335 h 28614"/>
                <a:gd name="connsiteX2" fmla="*/ 31333 w 28614"/>
                <a:gd name="connsiteY2" fmla="*/ 20890 h 28614"/>
                <a:gd name="connsiteX3" fmla="*/ 21177 w 28614"/>
                <a:gd name="connsiteY3" fmla="*/ 10731 h 28614"/>
                <a:gd name="connsiteX4" fmla="*/ 21032 w 28614"/>
                <a:gd name="connsiteY4" fmla="*/ 10732 h 28614"/>
                <a:gd name="connsiteX5" fmla="*/ 21032 w 28614"/>
                <a:gd name="connsiteY5" fmla="*/ 10732 h 28614"/>
                <a:gd name="connsiteX6" fmla="*/ 10731 w 28614"/>
                <a:gd name="connsiteY6" fmla="*/ 21033 h 28614"/>
                <a:gd name="connsiteX7" fmla="*/ 21032 w 28614"/>
                <a:gd name="connsiteY7" fmla="*/ 313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0889" y="31335"/>
                  </a:moveTo>
                  <a:lnTo>
                    <a:pt x="20889" y="31335"/>
                  </a:lnTo>
                  <a:cubicBezTo>
                    <a:pt x="26658" y="31335"/>
                    <a:pt x="31333" y="26659"/>
                    <a:pt x="31333" y="20890"/>
                  </a:cubicBezTo>
                  <a:cubicBezTo>
                    <a:pt x="31333" y="15280"/>
                    <a:pt x="26786" y="10732"/>
                    <a:pt x="21177" y="10731"/>
                  </a:cubicBezTo>
                  <a:cubicBezTo>
                    <a:pt x="21128" y="10731"/>
                    <a:pt x="21081" y="10731"/>
                    <a:pt x="21032" y="10732"/>
                  </a:cubicBezTo>
                  <a:lnTo>
                    <a:pt x="21032" y="10732"/>
                  </a:lnTo>
                  <a:cubicBezTo>
                    <a:pt x="15343" y="10732"/>
                    <a:pt x="10731" y="15345"/>
                    <a:pt x="10731" y="21033"/>
                  </a:cubicBezTo>
                  <a:cubicBezTo>
                    <a:pt x="10731" y="26722"/>
                    <a:pt x="15343" y="31335"/>
                    <a:pt x="21032" y="313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6" name="Freeform: Shape 285">
              <a:extLst>
                <a:ext uri="{FF2B5EF4-FFF2-40B4-BE49-F238E27FC236}">
                  <a16:creationId xmlns:a16="http://schemas.microsoft.com/office/drawing/2014/main" id="{51F82BD1-B2C8-482A-B6F4-CE7055693592}"/>
                </a:ext>
              </a:extLst>
            </p:cNvPr>
            <p:cNvSpPr/>
            <p:nvPr/>
          </p:nvSpPr>
          <p:spPr>
            <a:xfrm>
              <a:off x="5301346" y="6357150"/>
              <a:ext cx="28615" cy="28615"/>
            </a:xfrm>
            <a:custGeom>
              <a:avLst/>
              <a:gdLst>
                <a:gd name="connsiteX0" fmla="*/ 21032 w 28614"/>
                <a:gd name="connsiteY0" fmla="*/ 10731 h 28614"/>
                <a:gd name="connsiteX1" fmla="*/ 10731 w 28614"/>
                <a:gd name="connsiteY1" fmla="*/ 21032 h 28614"/>
                <a:gd name="connsiteX2" fmla="*/ 10731 w 28614"/>
                <a:gd name="connsiteY2" fmla="*/ 21032 h 28614"/>
                <a:gd name="connsiteX3" fmla="*/ 20888 w 28614"/>
                <a:gd name="connsiteY3" fmla="*/ 31192 h 28614"/>
                <a:gd name="connsiteX4" fmla="*/ 21032 w 28614"/>
                <a:gd name="connsiteY4" fmla="*/ 31190 h 28614"/>
                <a:gd name="connsiteX5" fmla="*/ 31333 w 28614"/>
                <a:gd name="connsiteY5" fmla="*/ 21177 h 28614"/>
                <a:gd name="connsiteX6" fmla="*/ 31333 w 28614"/>
                <a:gd name="connsiteY6" fmla="*/ 21175 h 28614"/>
                <a:gd name="connsiteX7" fmla="*/ 31333 w 28614"/>
                <a:gd name="connsiteY7" fmla="*/ 21175 h 28614"/>
                <a:gd name="connsiteX8" fmla="*/ 21032 w 28614"/>
                <a:gd name="connsiteY8"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032" y="10731"/>
                  </a:moveTo>
                  <a:cubicBezTo>
                    <a:pt x="15343" y="10731"/>
                    <a:pt x="10731" y="15343"/>
                    <a:pt x="10731" y="21032"/>
                  </a:cubicBezTo>
                  <a:lnTo>
                    <a:pt x="10731" y="21032"/>
                  </a:lnTo>
                  <a:cubicBezTo>
                    <a:pt x="10731" y="26642"/>
                    <a:pt x="15278" y="31190"/>
                    <a:pt x="20888" y="31192"/>
                  </a:cubicBezTo>
                  <a:cubicBezTo>
                    <a:pt x="20936" y="31192"/>
                    <a:pt x="20983" y="31190"/>
                    <a:pt x="21032" y="31190"/>
                  </a:cubicBezTo>
                  <a:cubicBezTo>
                    <a:pt x="26642" y="31270"/>
                    <a:pt x="31253" y="26786"/>
                    <a:pt x="31333" y="21177"/>
                  </a:cubicBezTo>
                  <a:cubicBezTo>
                    <a:pt x="31333" y="21177"/>
                    <a:pt x="31333" y="21175"/>
                    <a:pt x="31333" y="21175"/>
                  </a:cubicBezTo>
                  <a:lnTo>
                    <a:pt x="31333" y="21175"/>
                  </a:lnTo>
                  <a:cubicBezTo>
                    <a:pt x="31333" y="15462"/>
                    <a:pt x="26745" y="10809"/>
                    <a:pt x="2103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7" name="Freeform: Shape 286">
              <a:extLst>
                <a:ext uri="{FF2B5EF4-FFF2-40B4-BE49-F238E27FC236}">
                  <a16:creationId xmlns:a16="http://schemas.microsoft.com/office/drawing/2014/main" id="{AEE45793-2421-46FC-84D1-1230F607A382}"/>
                </a:ext>
              </a:extLst>
            </p:cNvPr>
            <p:cNvSpPr/>
            <p:nvPr/>
          </p:nvSpPr>
          <p:spPr>
            <a:xfrm>
              <a:off x="5143712" y="6158980"/>
              <a:ext cx="28615" cy="28615"/>
            </a:xfrm>
            <a:custGeom>
              <a:avLst/>
              <a:gdLst>
                <a:gd name="connsiteX0" fmla="*/ 20425 w 28614"/>
                <a:gd name="connsiteY0" fmla="*/ 28197 h 28614"/>
                <a:gd name="connsiteX1" fmla="*/ 27436 w 28614"/>
                <a:gd name="connsiteY1" fmla="*/ 21186 h 28614"/>
                <a:gd name="connsiteX2" fmla="*/ 21249 w 28614"/>
                <a:gd name="connsiteY2" fmla="*/ 10976 h 28614"/>
                <a:gd name="connsiteX3" fmla="*/ 11039 w 28614"/>
                <a:gd name="connsiteY3" fmla="*/ 17161 h 28614"/>
                <a:gd name="connsiteX4" fmla="*/ 10839 w 28614"/>
                <a:gd name="connsiteY4" fmla="*/ 18324 h 28614"/>
                <a:gd name="connsiteX5" fmla="*/ 10839 w 28614"/>
                <a:gd name="connsiteY5" fmla="*/ 20900 h 28614"/>
                <a:gd name="connsiteX6" fmla="*/ 20272 w 28614"/>
                <a:gd name="connsiteY6" fmla="*/ 28218 h 28614"/>
                <a:gd name="connsiteX7" fmla="*/ 20425 w 28614"/>
                <a:gd name="connsiteY7" fmla="*/ 2819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0425" y="28197"/>
                  </a:moveTo>
                  <a:cubicBezTo>
                    <a:pt x="24078" y="27711"/>
                    <a:pt x="26951" y="24839"/>
                    <a:pt x="27436" y="21186"/>
                  </a:cubicBezTo>
                  <a:cubicBezTo>
                    <a:pt x="28547" y="16658"/>
                    <a:pt x="25777" y="12086"/>
                    <a:pt x="21249" y="10976"/>
                  </a:cubicBezTo>
                  <a:cubicBezTo>
                    <a:pt x="16722" y="9864"/>
                    <a:pt x="12151" y="12634"/>
                    <a:pt x="11039" y="17161"/>
                  </a:cubicBezTo>
                  <a:cubicBezTo>
                    <a:pt x="10946" y="17545"/>
                    <a:pt x="10879" y="17932"/>
                    <a:pt x="10839" y="18324"/>
                  </a:cubicBezTo>
                  <a:cubicBezTo>
                    <a:pt x="10694" y="19177"/>
                    <a:pt x="10694" y="20047"/>
                    <a:pt x="10839" y="20900"/>
                  </a:cubicBezTo>
                  <a:cubicBezTo>
                    <a:pt x="11423" y="25525"/>
                    <a:pt x="15646" y="28802"/>
                    <a:pt x="20272" y="28218"/>
                  </a:cubicBezTo>
                  <a:cubicBezTo>
                    <a:pt x="20322" y="28211"/>
                    <a:pt x="20373" y="28204"/>
                    <a:pt x="20425" y="2819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8" name="Freeform: Shape 287">
              <a:extLst>
                <a:ext uri="{FF2B5EF4-FFF2-40B4-BE49-F238E27FC236}">
                  <a16:creationId xmlns:a16="http://schemas.microsoft.com/office/drawing/2014/main" id="{1B747ED0-81EA-4B5B-9419-403B43B26799}"/>
                </a:ext>
              </a:extLst>
            </p:cNvPr>
            <p:cNvSpPr/>
            <p:nvPr/>
          </p:nvSpPr>
          <p:spPr>
            <a:xfrm>
              <a:off x="5144285" y="6356912"/>
              <a:ext cx="28615" cy="28615"/>
            </a:xfrm>
            <a:custGeom>
              <a:avLst/>
              <a:gdLst>
                <a:gd name="connsiteX0" fmla="*/ 20425 w 28614"/>
                <a:gd name="connsiteY0" fmla="*/ 10825 h 28614"/>
                <a:gd name="connsiteX1" fmla="*/ 10839 w 28614"/>
                <a:gd name="connsiteY1" fmla="*/ 17836 h 28614"/>
                <a:gd name="connsiteX2" fmla="*/ 10839 w 28614"/>
                <a:gd name="connsiteY2" fmla="*/ 20411 h 28614"/>
                <a:gd name="connsiteX3" fmla="*/ 20305 w 28614"/>
                <a:gd name="connsiteY3" fmla="*/ 27683 h 28614"/>
                <a:gd name="connsiteX4" fmla="*/ 27579 w 28614"/>
                <a:gd name="connsiteY4" fmla="*/ 20411 h 28614"/>
                <a:gd name="connsiteX5" fmla="*/ 20425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425" y="10825"/>
                  </a:moveTo>
                  <a:cubicBezTo>
                    <a:pt x="15848" y="10140"/>
                    <a:pt x="11573" y="13266"/>
                    <a:pt x="10839" y="17836"/>
                  </a:cubicBezTo>
                  <a:cubicBezTo>
                    <a:pt x="10694" y="18688"/>
                    <a:pt x="10694" y="19558"/>
                    <a:pt x="10839" y="20411"/>
                  </a:cubicBezTo>
                  <a:cubicBezTo>
                    <a:pt x="11444" y="25034"/>
                    <a:pt x="15683" y="28290"/>
                    <a:pt x="20305" y="27683"/>
                  </a:cubicBezTo>
                  <a:cubicBezTo>
                    <a:pt x="24098" y="27187"/>
                    <a:pt x="27082" y="24202"/>
                    <a:pt x="27579" y="20411"/>
                  </a:cubicBezTo>
                  <a:cubicBezTo>
                    <a:pt x="28180" y="15807"/>
                    <a:pt x="25009" y="11560"/>
                    <a:pt x="20425" y="1082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89" name="Freeform: Shape 288">
              <a:extLst>
                <a:ext uri="{FF2B5EF4-FFF2-40B4-BE49-F238E27FC236}">
                  <a16:creationId xmlns:a16="http://schemas.microsoft.com/office/drawing/2014/main" id="{D929A351-745A-46CB-9AC7-A9C3AC879BEA}"/>
                </a:ext>
              </a:extLst>
            </p:cNvPr>
            <p:cNvSpPr/>
            <p:nvPr/>
          </p:nvSpPr>
          <p:spPr>
            <a:xfrm>
              <a:off x="5065843" y="6109343"/>
              <a:ext cx="28615" cy="28615"/>
            </a:xfrm>
            <a:custGeom>
              <a:avLst/>
              <a:gdLst>
                <a:gd name="connsiteX0" fmla="*/ 18459 w 28614"/>
                <a:gd name="connsiteY0" fmla="*/ 10732 h 28614"/>
                <a:gd name="connsiteX1" fmla="*/ 11019 w 28614"/>
                <a:gd name="connsiteY1" fmla="*/ 17883 h 28614"/>
                <a:gd name="connsiteX2" fmla="*/ 11019 w 28614"/>
                <a:gd name="connsiteY2" fmla="*/ 17886 h 28614"/>
                <a:gd name="connsiteX3" fmla="*/ 16129 w 28614"/>
                <a:gd name="connsiteY3" fmla="*/ 27083 h 28614"/>
                <a:gd name="connsiteX4" fmla="*/ 25326 w 28614"/>
                <a:gd name="connsiteY4" fmla="*/ 21973 h 28614"/>
                <a:gd name="connsiteX5" fmla="*/ 25326 w 28614"/>
                <a:gd name="connsiteY5" fmla="*/ 17886 h 28614"/>
                <a:gd name="connsiteX6" fmla="*/ 18602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59" y="10732"/>
                  </a:moveTo>
                  <a:cubicBezTo>
                    <a:pt x="14429" y="10652"/>
                    <a:pt x="11099" y="13854"/>
                    <a:pt x="11019" y="17883"/>
                  </a:cubicBezTo>
                  <a:cubicBezTo>
                    <a:pt x="11019" y="17884"/>
                    <a:pt x="11019" y="17884"/>
                    <a:pt x="11019" y="17886"/>
                  </a:cubicBezTo>
                  <a:cubicBezTo>
                    <a:pt x="9890" y="21836"/>
                    <a:pt x="12178" y="25954"/>
                    <a:pt x="16129" y="27083"/>
                  </a:cubicBezTo>
                  <a:cubicBezTo>
                    <a:pt x="20080" y="28212"/>
                    <a:pt x="24198" y="25924"/>
                    <a:pt x="25326" y="21973"/>
                  </a:cubicBezTo>
                  <a:cubicBezTo>
                    <a:pt x="25708" y="20637"/>
                    <a:pt x="25708" y="19222"/>
                    <a:pt x="25326" y="17886"/>
                  </a:cubicBezTo>
                  <a:cubicBezTo>
                    <a:pt x="25264" y="14124"/>
                    <a:pt x="22352" y="11027"/>
                    <a:pt x="1860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0" name="Freeform: Shape 289">
              <a:extLst>
                <a:ext uri="{FF2B5EF4-FFF2-40B4-BE49-F238E27FC236}">
                  <a16:creationId xmlns:a16="http://schemas.microsoft.com/office/drawing/2014/main" id="{70202FEC-EE8A-453C-9FE0-E01D72428D2B}"/>
                </a:ext>
              </a:extLst>
            </p:cNvPr>
            <p:cNvSpPr/>
            <p:nvPr/>
          </p:nvSpPr>
          <p:spPr>
            <a:xfrm>
              <a:off x="5065273" y="6161996"/>
              <a:ext cx="28615" cy="28615"/>
            </a:xfrm>
            <a:custGeom>
              <a:avLst/>
              <a:gdLst>
                <a:gd name="connsiteX0" fmla="*/ 25610 w 28614"/>
                <a:gd name="connsiteY0" fmla="*/ 18170 h 28614"/>
                <a:gd name="connsiteX1" fmla="*/ 18170 w 28614"/>
                <a:gd name="connsiteY1" fmla="*/ 25610 h 28614"/>
                <a:gd name="connsiteX2" fmla="*/ 10731 w 28614"/>
                <a:gd name="connsiteY2" fmla="*/ 18170 h 28614"/>
                <a:gd name="connsiteX3" fmla="*/ 18170 w 28614"/>
                <a:gd name="connsiteY3" fmla="*/ 10731 h 28614"/>
                <a:gd name="connsiteX4" fmla="*/ 25610 w 28614"/>
                <a:gd name="connsiteY4" fmla="*/ 1817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0"/>
                  </a:moveTo>
                  <a:cubicBezTo>
                    <a:pt x="25610" y="22279"/>
                    <a:pt x="22279" y="25610"/>
                    <a:pt x="18170" y="25610"/>
                  </a:cubicBezTo>
                  <a:cubicBezTo>
                    <a:pt x="14062" y="25610"/>
                    <a:pt x="10731" y="22279"/>
                    <a:pt x="10731" y="18170"/>
                  </a:cubicBezTo>
                  <a:cubicBezTo>
                    <a:pt x="10731" y="14062"/>
                    <a:pt x="14062" y="10731"/>
                    <a:pt x="18170" y="10731"/>
                  </a:cubicBezTo>
                  <a:cubicBezTo>
                    <a:pt x="22279" y="10731"/>
                    <a:pt x="25610" y="14062"/>
                    <a:pt x="25610" y="18170"/>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1" name="Freeform: Shape 290">
              <a:extLst>
                <a:ext uri="{FF2B5EF4-FFF2-40B4-BE49-F238E27FC236}">
                  <a16:creationId xmlns:a16="http://schemas.microsoft.com/office/drawing/2014/main" id="{DB74A00D-93E0-42E8-9918-4A9D963BF8E3}"/>
                </a:ext>
              </a:extLst>
            </p:cNvPr>
            <p:cNvSpPr/>
            <p:nvPr/>
          </p:nvSpPr>
          <p:spPr>
            <a:xfrm>
              <a:off x="5300774" y="6169435"/>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cubicBezTo>
                    <a:pt x="10731" y="10731"/>
                    <a:pt x="10731" y="10731"/>
                    <a:pt x="1073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2" name="Freeform: Shape 291">
              <a:extLst>
                <a:ext uri="{FF2B5EF4-FFF2-40B4-BE49-F238E27FC236}">
                  <a16:creationId xmlns:a16="http://schemas.microsoft.com/office/drawing/2014/main" id="{0B7CCC45-0560-4038-931D-8B41AA54D365}"/>
                </a:ext>
              </a:extLst>
            </p:cNvPr>
            <p:cNvSpPr/>
            <p:nvPr/>
          </p:nvSpPr>
          <p:spPr>
            <a:xfrm>
              <a:off x="5143712" y="6257578"/>
              <a:ext cx="28615" cy="28615"/>
            </a:xfrm>
            <a:custGeom>
              <a:avLst/>
              <a:gdLst>
                <a:gd name="connsiteX0" fmla="*/ 20425 w 28614"/>
                <a:gd name="connsiteY0" fmla="*/ 28321 h 28614"/>
                <a:gd name="connsiteX1" fmla="*/ 27436 w 28614"/>
                <a:gd name="connsiteY1" fmla="*/ 21310 h 28614"/>
                <a:gd name="connsiteX2" fmla="*/ 21405 w 28614"/>
                <a:gd name="connsiteY2" fmla="*/ 11007 h 28614"/>
                <a:gd name="connsiteX3" fmla="*/ 11102 w 28614"/>
                <a:gd name="connsiteY3" fmla="*/ 17038 h 28614"/>
                <a:gd name="connsiteX4" fmla="*/ 10839 w 28614"/>
                <a:gd name="connsiteY4" fmla="*/ 18735 h 28614"/>
                <a:gd name="connsiteX5" fmla="*/ 10839 w 28614"/>
                <a:gd name="connsiteY5" fmla="*/ 21310 h 28614"/>
                <a:gd name="connsiteX6" fmla="*/ 20425 w 28614"/>
                <a:gd name="connsiteY6" fmla="*/ 283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425" y="28321"/>
                  </a:moveTo>
                  <a:cubicBezTo>
                    <a:pt x="24078" y="27836"/>
                    <a:pt x="26951" y="24963"/>
                    <a:pt x="27436" y="21310"/>
                  </a:cubicBezTo>
                  <a:cubicBezTo>
                    <a:pt x="28616" y="16800"/>
                    <a:pt x="25915" y="12188"/>
                    <a:pt x="21405" y="11007"/>
                  </a:cubicBezTo>
                  <a:cubicBezTo>
                    <a:pt x="16894" y="9828"/>
                    <a:pt x="12283" y="12528"/>
                    <a:pt x="11102" y="17038"/>
                  </a:cubicBezTo>
                  <a:cubicBezTo>
                    <a:pt x="10958" y="17593"/>
                    <a:pt x="10869" y="18161"/>
                    <a:pt x="10839" y="18735"/>
                  </a:cubicBezTo>
                  <a:cubicBezTo>
                    <a:pt x="10694" y="19587"/>
                    <a:pt x="10694" y="20457"/>
                    <a:pt x="10839" y="21310"/>
                  </a:cubicBezTo>
                  <a:cubicBezTo>
                    <a:pt x="11573" y="25880"/>
                    <a:pt x="15848" y="29006"/>
                    <a:pt x="20425" y="2832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3" name="Freeform: Shape 292">
              <a:extLst>
                <a:ext uri="{FF2B5EF4-FFF2-40B4-BE49-F238E27FC236}">
                  <a16:creationId xmlns:a16="http://schemas.microsoft.com/office/drawing/2014/main" id="{1E9A9579-A3FB-4ED4-B59C-79987C7A8468}"/>
                </a:ext>
              </a:extLst>
            </p:cNvPr>
            <p:cNvSpPr/>
            <p:nvPr/>
          </p:nvSpPr>
          <p:spPr>
            <a:xfrm>
              <a:off x="5066168" y="6260574"/>
              <a:ext cx="28615" cy="28615"/>
            </a:xfrm>
            <a:custGeom>
              <a:avLst/>
              <a:gdLst>
                <a:gd name="connsiteX0" fmla="*/ 17275 w 28614"/>
                <a:gd name="connsiteY0" fmla="*/ 25754 h 28614"/>
                <a:gd name="connsiteX1" fmla="*/ 23748 w 28614"/>
                <a:gd name="connsiteY1" fmla="*/ 17203 h 28614"/>
                <a:gd name="connsiteX2" fmla="*/ 17275 w 28614"/>
                <a:gd name="connsiteY2" fmla="*/ 10731 h 28614"/>
                <a:gd name="connsiteX3" fmla="*/ 10803 w 28614"/>
                <a:gd name="connsiteY3" fmla="*/ 19281 h 28614"/>
                <a:gd name="connsiteX4" fmla="*/ 17275 w 28614"/>
                <a:gd name="connsiteY4" fmla="*/ 25754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7275" y="25754"/>
                  </a:moveTo>
                  <a:cubicBezTo>
                    <a:pt x="21424" y="25180"/>
                    <a:pt x="24321" y="21351"/>
                    <a:pt x="23748" y="17203"/>
                  </a:cubicBezTo>
                  <a:cubicBezTo>
                    <a:pt x="23282" y="13840"/>
                    <a:pt x="20638" y="11196"/>
                    <a:pt x="17275" y="10731"/>
                  </a:cubicBezTo>
                  <a:cubicBezTo>
                    <a:pt x="13127" y="11304"/>
                    <a:pt x="10229" y="15133"/>
                    <a:pt x="10803" y="19281"/>
                  </a:cubicBezTo>
                  <a:cubicBezTo>
                    <a:pt x="11268" y="22644"/>
                    <a:pt x="13912" y="25288"/>
                    <a:pt x="17275" y="2575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4" name="Freeform: Shape 293">
              <a:extLst>
                <a:ext uri="{FF2B5EF4-FFF2-40B4-BE49-F238E27FC236}">
                  <a16:creationId xmlns:a16="http://schemas.microsoft.com/office/drawing/2014/main" id="{0A676955-C420-4E01-89EA-C9CDA4E3E291}"/>
                </a:ext>
              </a:extLst>
            </p:cNvPr>
            <p:cNvSpPr/>
            <p:nvPr/>
          </p:nvSpPr>
          <p:spPr>
            <a:xfrm>
              <a:off x="5143535" y="6310221"/>
              <a:ext cx="28615" cy="28615"/>
            </a:xfrm>
            <a:custGeom>
              <a:avLst/>
              <a:gdLst>
                <a:gd name="connsiteX0" fmla="*/ 19172 w 28614"/>
                <a:gd name="connsiteY0" fmla="*/ 27613 h 28614"/>
                <a:gd name="connsiteX1" fmla="*/ 27613 w 28614"/>
                <a:gd name="connsiteY1" fmla="*/ 19172 h 28614"/>
                <a:gd name="connsiteX2" fmla="*/ 19172 w 28614"/>
                <a:gd name="connsiteY2" fmla="*/ 10731 h 28614"/>
                <a:gd name="connsiteX3" fmla="*/ 19172 w 28614"/>
                <a:gd name="connsiteY3" fmla="*/ 10731 h 28614"/>
                <a:gd name="connsiteX4" fmla="*/ 10731 w 28614"/>
                <a:gd name="connsiteY4" fmla="*/ 19172 h 28614"/>
                <a:gd name="connsiteX5" fmla="*/ 19172 w 28614"/>
                <a:gd name="connsiteY5" fmla="*/ 2761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172" y="27613"/>
                  </a:moveTo>
                  <a:cubicBezTo>
                    <a:pt x="23833" y="27613"/>
                    <a:pt x="27613" y="23833"/>
                    <a:pt x="27613" y="19172"/>
                  </a:cubicBezTo>
                  <a:cubicBezTo>
                    <a:pt x="27613" y="14511"/>
                    <a:pt x="23833" y="10731"/>
                    <a:pt x="19172" y="10731"/>
                  </a:cubicBezTo>
                  <a:lnTo>
                    <a:pt x="19172" y="10731"/>
                  </a:lnTo>
                  <a:cubicBezTo>
                    <a:pt x="14511" y="10731"/>
                    <a:pt x="10731" y="14511"/>
                    <a:pt x="10731" y="19172"/>
                  </a:cubicBezTo>
                  <a:cubicBezTo>
                    <a:pt x="10731" y="23833"/>
                    <a:pt x="14511" y="27613"/>
                    <a:pt x="19172" y="2761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5" name="Freeform: Shape 294">
              <a:extLst>
                <a:ext uri="{FF2B5EF4-FFF2-40B4-BE49-F238E27FC236}">
                  <a16:creationId xmlns:a16="http://schemas.microsoft.com/office/drawing/2014/main" id="{986C4532-D700-4CBF-A511-9861646BCDB4}"/>
                </a:ext>
              </a:extLst>
            </p:cNvPr>
            <p:cNvSpPr/>
            <p:nvPr/>
          </p:nvSpPr>
          <p:spPr>
            <a:xfrm>
              <a:off x="5066131" y="6210355"/>
              <a:ext cx="28615" cy="28615"/>
            </a:xfrm>
            <a:custGeom>
              <a:avLst/>
              <a:gdLst>
                <a:gd name="connsiteX0" fmla="*/ 25610 w 28614"/>
                <a:gd name="connsiteY0" fmla="*/ 18171 h 28614"/>
                <a:gd name="connsiteX1" fmla="*/ 18171 w 28614"/>
                <a:gd name="connsiteY1" fmla="*/ 25610 h 28614"/>
                <a:gd name="connsiteX2" fmla="*/ 10731 w 28614"/>
                <a:gd name="connsiteY2" fmla="*/ 18171 h 28614"/>
                <a:gd name="connsiteX3" fmla="*/ 18171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1" y="25610"/>
                  </a:cubicBezTo>
                  <a:cubicBezTo>
                    <a:pt x="14062" y="25610"/>
                    <a:pt x="10731" y="22279"/>
                    <a:pt x="10731" y="18171"/>
                  </a:cubicBezTo>
                  <a:cubicBezTo>
                    <a:pt x="10731" y="14062"/>
                    <a:pt x="14062" y="10731"/>
                    <a:pt x="18171" y="10731"/>
                  </a:cubicBezTo>
                  <a:cubicBezTo>
                    <a:pt x="22279" y="10731"/>
                    <a:pt x="25610" y="14062"/>
                    <a:pt x="25610" y="1817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6" name="Freeform: Shape 295">
              <a:extLst>
                <a:ext uri="{FF2B5EF4-FFF2-40B4-BE49-F238E27FC236}">
                  <a16:creationId xmlns:a16="http://schemas.microsoft.com/office/drawing/2014/main" id="{25A421D1-6280-4084-9FE8-6FA94E7196AB}"/>
                </a:ext>
              </a:extLst>
            </p:cNvPr>
            <p:cNvSpPr/>
            <p:nvPr/>
          </p:nvSpPr>
          <p:spPr>
            <a:xfrm>
              <a:off x="5065994" y="6359151"/>
              <a:ext cx="28615" cy="28615"/>
            </a:xfrm>
            <a:custGeom>
              <a:avLst/>
              <a:gdLst>
                <a:gd name="connsiteX0" fmla="*/ 18022 w 28614"/>
                <a:gd name="connsiteY0" fmla="*/ 10732 h 28614"/>
                <a:gd name="connsiteX1" fmla="*/ 10732 w 28614"/>
                <a:gd name="connsiteY1" fmla="*/ 18319 h 28614"/>
                <a:gd name="connsiteX2" fmla="*/ 18319 w 28614"/>
                <a:gd name="connsiteY2" fmla="*/ 25609 h 28614"/>
                <a:gd name="connsiteX3" fmla="*/ 25605 w 28614"/>
                <a:gd name="connsiteY3" fmla="*/ 18458 h 28614"/>
                <a:gd name="connsiteX4" fmla="*/ 18458 w 28614"/>
                <a:gd name="connsiteY4" fmla="*/ 10736 h 28614"/>
                <a:gd name="connsiteX5" fmla="*/ 18022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022" y="10732"/>
                  </a:moveTo>
                  <a:cubicBezTo>
                    <a:pt x="13914" y="10814"/>
                    <a:pt x="10650" y="14212"/>
                    <a:pt x="10732" y="18319"/>
                  </a:cubicBezTo>
                  <a:cubicBezTo>
                    <a:pt x="10814" y="22427"/>
                    <a:pt x="14211" y="25691"/>
                    <a:pt x="18319" y="25609"/>
                  </a:cubicBezTo>
                  <a:cubicBezTo>
                    <a:pt x="22258" y="25530"/>
                    <a:pt x="25453" y="22394"/>
                    <a:pt x="25605" y="18458"/>
                  </a:cubicBezTo>
                  <a:cubicBezTo>
                    <a:pt x="25764" y="14352"/>
                    <a:pt x="22564" y="10895"/>
                    <a:pt x="18458" y="10736"/>
                  </a:cubicBezTo>
                  <a:cubicBezTo>
                    <a:pt x="18313" y="10731"/>
                    <a:pt x="18167" y="10729"/>
                    <a:pt x="18022"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7" name="Freeform: Shape 296">
              <a:extLst>
                <a:ext uri="{FF2B5EF4-FFF2-40B4-BE49-F238E27FC236}">
                  <a16:creationId xmlns:a16="http://schemas.microsoft.com/office/drawing/2014/main" id="{3E19F834-903C-4782-A45C-E1C835AE69BC}"/>
                </a:ext>
              </a:extLst>
            </p:cNvPr>
            <p:cNvSpPr/>
            <p:nvPr/>
          </p:nvSpPr>
          <p:spPr>
            <a:xfrm>
              <a:off x="5144964" y="6209496"/>
              <a:ext cx="28615" cy="28615"/>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8" name="Freeform: Shape 297">
              <a:extLst>
                <a:ext uri="{FF2B5EF4-FFF2-40B4-BE49-F238E27FC236}">
                  <a16:creationId xmlns:a16="http://schemas.microsoft.com/office/drawing/2014/main" id="{D3C93F88-C866-48E1-9962-859AF4111B29}"/>
                </a:ext>
              </a:extLst>
            </p:cNvPr>
            <p:cNvSpPr/>
            <p:nvPr/>
          </p:nvSpPr>
          <p:spPr>
            <a:xfrm>
              <a:off x="5614394" y="6303497"/>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25038 w 42922"/>
                <a:gd name="connsiteY3" fmla="*/ 10731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lnTo>
                    <a:pt x="25038" y="10731"/>
                  </a:lnTo>
                  <a:cubicBezTo>
                    <a:pt x="17136" y="10731"/>
                    <a:pt x="10731" y="17136"/>
                    <a:pt x="10731" y="25038"/>
                  </a:cubicBezTo>
                  <a:cubicBezTo>
                    <a:pt x="10731" y="32940"/>
                    <a:pt x="17136" y="39346"/>
                    <a:pt x="25038" y="3934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299" name="Freeform: Shape 298">
              <a:extLst>
                <a:ext uri="{FF2B5EF4-FFF2-40B4-BE49-F238E27FC236}">
                  <a16:creationId xmlns:a16="http://schemas.microsoft.com/office/drawing/2014/main" id="{7492458E-9D86-4C7C-BF80-4D0E3CD5CBE5}"/>
                </a:ext>
              </a:extLst>
            </p:cNvPr>
            <p:cNvSpPr/>
            <p:nvPr/>
          </p:nvSpPr>
          <p:spPr>
            <a:xfrm>
              <a:off x="5536990" y="6106626"/>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0" name="Freeform: Shape 299">
              <a:extLst>
                <a:ext uri="{FF2B5EF4-FFF2-40B4-BE49-F238E27FC236}">
                  <a16:creationId xmlns:a16="http://schemas.microsoft.com/office/drawing/2014/main" id="{D44671BA-2036-447A-954D-01539CDC1A71}"/>
                </a:ext>
              </a:extLst>
            </p:cNvPr>
            <p:cNvSpPr/>
            <p:nvPr/>
          </p:nvSpPr>
          <p:spPr>
            <a:xfrm>
              <a:off x="5536992" y="6204775"/>
              <a:ext cx="42922" cy="42922"/>
            </a:xfrm>
            <a:custGeom>
              <a:avLst/>
              <a:gdLst>
                <a:gd name="connsiteX0" fmla="*/ 23892 w 42922"/>
                <a:gd name="connsiteY0" fmla="*/ 10731 h 42922"/>
                <a:gd name="connsiteX1" fmla="*/ 10731 w 42922"/>
                <a:gd name="connsiteY1" fmla="*/ 23893 h 42922"/>
                <a:gd name="connsiteX2" fmla="*/ 23894 w 42922"/>
                <a:gd name="connsiteY2" fmla="*/ 37056 h 42922"/>
                <a:gd name="connsiteX3" fmla="*/ 37056 w 42922"/>
                <a:gd name="connsiteY3" fmla="*/ 23892 h 42922"/>
                <a:gd name="connsiteX4" fmla="*/ 37055 w 42922"/>
                <a:gd name="connsiteY4" fmla="*/ 23750 h 42922"/>
                <a:gd name="connsiteX5" fmla="*/ 23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2" y="10731"/>
                  </a:moveTo>
                  <a:cubicBezTo>
                    <a:pt x="16622" y="10731"/>
                    <a:pt x="10729" y="16624"/>
                    <a:pt x="10731" y="23893"/>
                  </a:cubicBezTo>
                  <a:cubicBezTo>
                    <a:pt x="10731" y="31165"/>
                    <a:pt x="16624" y="37056"/>
                    <a:pt x="23894" y="37056"/>
                  </a:cubicBezTo>
                  <a:cubicBezTo>
                    <a:pt x="31163" y="37056"/>
                    <a:pt x="37056" y="31162"/>
                    <a:pt x="37056" y="23892"/>
                  </a:cubicBezTo>
                  <a:cubicBezTo>
                    <a:pt x="37056" y="23845"/>
                    <a:pt x="37055" y="23798"/>
                    <a:pt x="37055" y="23750"/>
                  </a:cubicBezTo>
                  <a:cubicBezTo>
                    <a:pt x="36976" y="16537"/>
                    <a:pt x="31106" y="10731"/>
                    <a:pt x="23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1" name="Freeform: Shape 300">
              <a:extLst>
                <a:ext uri="{FF2B5EF4-FFF2-40B4-BE49-F238E27FC236}">
                  <a16:creationId xmlns:a16="http://schemas.microsoft.com/office/drawing/2014/main" id="{D16BF568-1474-4E61-B047-1B1FD23F4010}"/>
                </a:ext>
              </a:extLst>
            </p:cNvPr>
            <p:cNvSpPr/>
            <p:nvPr/>
          </p:nvSpPr>
          <p:spPr>
            <a:xfrm>
              <a:off x="5300917" y="6158812"/>
              <a:ext cx="42922" cy="28615"/>
            </a:xfrm>
            <a:custGeom>
              <a:avLst/>
              <a:gdLst>
                <a:gd name="connsiteX0" fmla="*/ 26469 w 42922"/>
                <a:gd name="connsiteY0" fmla="*/ 11053 h 28614"/>
                <a:gd name="connsiteX1" fmla="*/ 20746 w 42922"/>
                <a:gd name="connsiteY1" fmla="*/ 11053 h 28614"/>
                <a:gd name="connsiteX2" fmla="*/ 10731 w 42922"/>
                <a:gd name="connsiteY2" fmla="*/ 20925 h 28614"/>
                <a:gd name="connsiteX3" fmla="*/ 20746 w 42922"/>
                <a:gd name="connsiteY3" fmla="*/ 30654 h 28614"/>
                <a:gd name="connsiteX4" fmla="*/ 33480 w 42922"/>
                <a:gd name="connsiteY4" fmla="*/ 23643 h 28614"/>
                <a:gd name="connsiteX5" fmla="*/ 26469 w 42922"/>
                <a:gd name="connsiteY5" fmla="*/ 1105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053"/>
                  </a:moveTo>
                  <a:cubicBezTo>
                    <a:pt x="24586" y="10623"/>
                    <a:pt x="22629" y="10623"/>
                    <a:pt x="20746" y="11053"/>
                  </a:cubicBezTo>
                  <a:cubicBezTo>
                    <a:pt x="15300" y="11127"/>
                    <a:pt x="10884" y="15482"/>
                    <a:pt x="10731" y="20925"/>
                  </a:cubicBezTo>
                  <a:cubicBezTo>
                    <a:pt x="10885" y="26344"/>
                    <a:pt x="15325" y="30657"/>
                    <a:pt x="20746" y="30654"/>
                  </a:cubicBezTo>
                  <a:cubicBezTo>
                    <a:pt x="26197" y="32221"/>
                    <a:pt x="31889" y="29087"/>
                    <a:pt x="33480" y="23643"/>
                  </a:cubicBezTo>
                  <a:cubicBezTo>
                    <a:pt x="34876" y="18248"/>
                    <a:pt x="31790" y="12706"/>
                    <a:pt x="26469" y="11053"/>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2" name="Freeform: Shape 301">
              <a:extLst>
                <a:ext uri="{FF2B5EF4-FFF2-40B4-BE49-F238E27FC236}">
                  <a16:creationId xmlns:a16="http://schemas.microsoft.com/office/drawing/2014/main" id="{3874CBE6-E44B-438E-A98D-2E1BB9756206}"/>
                </a:ext>
              </a:extLst>
            </p:cNvPr>
            <p:cNvSpPr/>
            <p:nvPr/>
          </p:nvSpPr>
          <p:spPr>
            <a:xfrm>
              <a:off x="5536847" y="6354431"/>
              <a:ext cx="42922" cy="42922"/>
            </a:xfrm>
            <a:custGeom>
              <a:avLst/>
              <a:gdLst>
                <a:gd name="connsiteX0" fmla="*/ 23894 w 42922"/>
                <a:gd name="connsiteY0" fmla="*/ 10731 h 42922"/>
                <a:gd name="connsiteX1" fmla="*/ 10731 w 42922"/>
                <a:gd name="connsiteY1" fmla="*/ 23894 h 42922"/>
                <a:gd name="connsiteX2" fmla="*/ 23894 w 42922"/>
                <a:gd name="connsiteY2" fmla="*/ 37056 h 42922"/>
                <a:gd name="connsiteX3" fmla="*/ 37056 w 42922"/>
                <a:gd name="connsiteY3" fmla="*/ 23894 h 42922"/>
                <a:gd name="connsiteX4" fmla="*/ 23894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4" y="10731"/>
                  </a:moveTo>
                  <a:cubicBezTo>
                    <a:pt x="16624" y="10731"/>
                    <a:pt x="10731" y="16624"/>
                    <a:pt x="10731" y="23894"/>
                  </a:cubicBezTo>
                  <a:cubicBezTo>
                    <a:pt x="10731" y="31163"/>
                    <a:pt x="16624" y="37056"/>
                    <a:pt x="23894" y="37056"/>
                  </a:cubicBezTo>
                  <a:cubicBezTo>
                    <a:pt x="31163" y="37056"/>
                    <a:pt x="37056" y="31163"/>
                    <a:pt x="37056" y="23894"/>
                  </a:cubicBezTo>
                  <a:cubicBezTo>
                    <a:pt x="37056" y="16624"/>
                    <a:pt x="31163" y="10731"/>
                    <a:pt x="23894"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3" name="Freeform: Shape 302">
              <a:extLst>
                <a:ext uri="{FF2B5EF4-FFF2-40B4-BE49-F238E27FC236}">
                  <a16:creationId xmlns:a16="http://schemas.microsoft.com/office/drawing/2014/main" id="{262D4EDF-B4AC-4591-AB97-D64B44C09D27}"/>
                </a:ext>
              </a:extLst>
            </p:cNvPr>
            <p:cNvSpPr/>
            <p:nvPr/>
          </p:nvSpPr>
          <p:spPr>
            <a:xfrm>
              <a:off x="5694659" y="6204060"/>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4" name="Freeform: Shape 303">
              <a:extLst>
                <a:ext uri="{FF2B5EF4-FFF2-40B4-BE49-F238E27FC236}">
                  <a16:creationId xmlns:a16="http://schemas.microsoft.com/office/drawing/2014/main" id="{BE2456D7-281A-4372-B984-EB95FCAF1A79}"/>
                </a:ext>
              </a:extLst>
            </p:cNvPr>
            <p:cNvSpPr/>
            <p:nvPr/>
          </p:nvSpPr>
          <p:spPr>
            <a:xfrm>
              <a:off x="5694659" y="6253993"/>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5" name="Freeform: Shape 304">
              <a:extLst>
                <a:ext uri="{FF2B5EF4-FFF2-40B4-BE49-F238E27FC236}">
                  <a16:creationId xmlns:a16="http://schemas.microsoft.com/office/drawing/2014/main" id="{3484DD71-C3C0-44F8-9C96-ECCB5AE136D2}"/>
                </a:ext>
              </a:extLst>
            </p:cNvPr>
            <p:cNvSpPr/>
            <p:nvPr/>
          </p:nvSpPr>
          <p:spPr>
            <a:xfrm>
              <a:off x="5536274" y="6304498"/>
              <a:ext cx="42922" cy="42922"/>
            </a:xfrm>
            <a:custGeom>
              <a:avLst/>
              <a:gdLst>
                <a:gd name="connsiteX0" fmla="*/ 23895 w 42922"/>
                <a:gd name="connsiteY0" fmla="*/ 37056 h 42922"/>
                <a:gd name="connsiteX1" fmla="*/ 37056 w 42922"/>
                <a:gd name="connsiteY1" fmla="*/ 23893 h 42922"/>
                <a:gd name="connsiteX2" fmla="*/ 23893 w 42922"/>
                <a:gd name="connsiteY2" fmla="*/ 10731 h 42922"/>
                <a:gd name="connsiteX3" fmla="*/ 10731 w 42922"/>
                <a:gd name="connsiteY3" fmla="*/ 23895 h 42922"/>
                <a:gd name="connsiteX4" fmla="*/ 10732 w 42922"/>
                <a:gd name="connsiteY4" fmla="*/ 24037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3"/>
                    <a:pt x="37056" y="23893"/>
                  </a:cubicBezTo>
                  <a:cubicBezTo>
                    <a:pt x="37056" y="16622"/>
                    <a:pt x="31163" y="10731"/>
                    <a:pt x="23893" y="10731"/>
                  </a:cubicBezTo>
                  <a:cubicBezTo>
                    <a:pt x="16624" y="10731"/>
                    <a:pt x="10731" y="16625"/>
                    <a:pt x="10731" y="23895"/>
                  </a:cubicBezTo>
                  <a:cubicBezTo>
                    <a:pt x="10731" y="23942"/>
                    <a:pt x="10732" y="23989"/>
                    <a:pt x="10732" y="24037"/>
                  </a:cubicBezTo>
                  <a:cubicBezTo>
                    <a:pt x="10811" y="31250"/>
                    <a:pt x="16681" y="37056"/>
                    <a:pt x="23895" y="37056"/>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6" name="Freeform: Shape 305">
              <a:extLst>
                <a:ext uri="{FF2B5EF4-FFF2-40B4-BE49-F238E27FC236}">
                  <a16:creationId xmlns:a16="http://schemas.microsoft.com/office/drawing/2014/main" id="{71D9632C-973B-4CA1-AE80-3552D68E218A}"/>
                </a:ext>
              </a:extLst>
            </p:cNvPr>
            <p:cNvSpPr/>
            <p:nvPr/>
          </p:nvSpPr>
          <p:spPr>
            <a:xfrm>
              <a:off x="5694802" y="6353287"/>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7" name="Freeform: Shape 306">
              <a:extLst>
                <a:ext uri="{FF2B5EF4-FFF2-40B4-BE49-F238E27FC236}">
                  <a16:creationId xmlns:a16="http://schemas.microsoft.com/office/drawing/2014/main" id="{3C6D4FB1-4E45-4822-AB26-8B4F9F9EDD7B}"/>
                </a:ext>
              </a:extLst>
            </p:cNvPr>
            <p:cNvSpPr/>
            <p:nvPr/>
          </p:nvSpPr>
          <p:spPr>
            <a:xfrm>
              <a:off x="5694659" y="6303640"/>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8" name="Freeform: Shape 307">
              <a:extLst>
                <a:ext uri="{FF2B5EF4-FFF2-40B4-BE49-F238E27FC236}">
                  <a16:creationId xmlns:a16="http://schemas.microsoft.com/office/drawing/2014/main" id="{DF3A849F-A518-4CD9-9D90-7412CBAA22B7}"/>
                </a:ext>
              </a:extLst>
            </p:cNvPr>
            <p:cNvSpPr/>
            <p:nvPr/>
          </p:nvSpPr>
          <p:spPr>
            <a:xfrm>
              <a:off x="5615109" y="6353430"/>
              <a:ext cx="42922" cy="42922"/>
            </a:xfrm>
            <a:custGeom>
              <a:avLst/>
              <a:gdLst>
                <a:gd name="connsiteX0" fmla="*/ 25038 w 42922"/>
                <a:gd name="connsiteY0" fmla="*/ 10731 h 42922"/>
                <a:gd name="connsiteX1" fmla="*/ 10731 w 42922"/>
                <a:gd name="connsiteY1" fmla="*/ 25038 h 42922"/>
                <a:gd name="connsiteX2" fmla="*/ 10731 w 42922"/>
                <a:gd name="connsiteY2" fmla="*/ 25038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lnTo>
                    <a:pt x="10731" y="25038"/>
                  </a:lnTo>
                  <a:cubicBezTo>
                    <a:pt x="10731" y="32940"/>
                    <a:pt x="17136" y="39346"/>
                    <a:pt x="25038" y="39346"/>
                  </a:cubicBezTo>
                  <a:cubicBezTo>
                    <a:pt x="32940" y="39346"/>
                    <a:pt x="39346" y="32940"/>
                    <a:pt x="39346" y="25038"/>
                  </a:cubicBezTo>
                  <a:cubicBezTo>
                    <a:pt x="39346" y="17136"/>
                    <a:pt x="32940" y="10731"/>
                    <a:pt x="25038"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09" name="Freeform: Shape 308">
              <a:extLst>
                <a:ext uri="{FF2B5EF4-FFF2-40B4-BE49-F238E27FC236}">
                  <a16:creationId xmlns:a16="http://schemas.microsoft.com/office/drawing/2014/main" id="{738AD8DD-8EE1-4448-87B8-C0FF44B8705F}"/>
                </a:ext>
              </a:extLst>
            </p:cNvPr>
            <p:cNvSpPr/>
            <p:nvPr/>
          </p:nvSpPr>
          <p:spPr>
            <a:xfrm>
              <a:off x="5379894" y="6357636"/>
              <a:ext cx="42922" cy="28615"/>
            </a:xfrm>
            <a:custGeom>
              <a:avLst/>
              <a:gdLst>
                <a:gd name="connsiteX0" fmla="*/ 20460 w 42922"/>
                <a:gd name="connsiteY0" fmla="*/ 10817 h 28614"/>
                <a:gd name="connsiteX1" fmla="*/ 10731 w 42922"/>
                <a:gd name="connsiteY1" fmla="*/ 20689 h 28614"/>
                <a:gd name="connsiteX2" fmla="*/ 23838 w 42922"/>
                <a:gd name="connsiteY2" fmla="*/ 30188 h 28614"/>
                <a:gd name="connsiteX3" fmla="*/ 33336 w 42922"/>
                <a:gd name="connsiteY3" fmla="*/ 20689 h 28614"/>
                <a:gd name="connsiteX4" fmla="*/ 20460 w 42922"/>
                <a:gd name="connsiteY4" fmla="*/ 10817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28614">
                  <a:moveTo>
                    <a:pt x="20460" y="10817"/>
                  </a:moveTo>
                  <a:cubicBezTo>
                    <a:pt x="15389" y="11592"/>
                    <a:pt x="11432" y="15609"/>
                    <a:pt x="10731" y="20689"/>
                  </a:cubicBezTo>
                  <a:cubicBezTo>
                    <a:pt x="11726" y="26931"/>
                    <a:pt x="17595" y="31184"/>
                    <a:pt x="23838" y="30188"/>
                  </a:cubicBezTo>
                  <a:cubicBezTo>
                    <a:pt x="28724" y="29408"/>
                    <a:pt x="32557" y="25575"/>
                    <a:pt x="33336" y="20689"/>
                  </a:cubicBezTo>
                  <a:cubicBezTo>
                    <a:pt x="32448" y="14441"/>
                    <a:pt x="26724" y="10053"/>
                    <a:pt x="20460" y="10817"/>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0" name="Freeform: Shape 309">
              <a:extLst>
                <a:ext uri="{FF2B5EF4-FFF2-40B4-BE49-F238E27FC236}">
                  <a16:creationId xmlns:a16="http://schemas.microsoft.com/office/drawing/2014/main" id="{0D0991DB-7E91-46F0-AE60-2AAE312A848D}"/>
                </a:ext>
              </a:extLst>
            </p:cNvPr>
            <p:cNvSpPr/>
            <p:nvPr/>
          </p:nvSpPr>
          <p:spPr>
            <a:xfrm>
              <a:off x="5380313" y="6306429"/>
              <a:ext cx="42922" cy="42922"/>
            </a:xfrm>
            <a:custGeom>
              <a:avLst/>
              <a:gdLst>
                <a:gd name="connsiteX0" fmla="*/ 20900 w 42922"/>
                <a:gd name="connsiteY0" fmla="*/ 33551 h 42922"/>
                <a:gd name="connsiteX1" fmla="*/ 33552 w 42922"/>
                <a:gd name="connsiteY1" fmla="*/ 23455 h 42922"/>
                <a:gd name="connsiteX2" fmla="*/ 23455 w 42922"/>
                <a:gd name="connsiteY2" fmla="*/ 10802 h 42922"/>
                <a:gd name="connsiteX3" fmla="*/ 20900 w 42922"/>
                <a:gd name="connsiteY3" fmla="*/ 10802 h 42922"/>
                <a:gd name="connsiteX4" fmla="*/ 20900 w 42922"/>
                <a:gd name="connsiteY4" fmla="*/ 10802 h 42922"/>
                <a:gd name="connsiteX5" fmla="*/ 10803 w 42922"/>
                <a:gd name="connsiteY5" fmla="*/ 23455 h 42922"/>
                <a:gd name="connsiteX6" fmla="*/ 20900 w 42922"/>
                <a:gd name="connsiteY6" fmla="*/ 3355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0900" y="33551"/>
                  </a:moveTo>
                  <a:cubicBezTo>
                    <a:pt x="27182" y="34257"/>
                    <a:pt x="32847" y="29737"/>
                    <a:pt x="33552" y="23455"/>
                  </a:cubicBezTo>
                  <a:cubicBezTo>
                    <a:pt x="34257" y="17172"/>
                    <a:pt x="29738" y="11508"/>
                    <a:pt x="23455" y="10802"/>
                  </a:cubicBezTo>
                  <a:cubicBezTo>
                    <a:pt x="22607" y="10707"/>
                    <a:pt x="21748" y="10707"/>
                    <a:pt x="20900" y="10802"/>
                  </a:cubicBezTo>
                  <a:lnTo>
                    <a:pt x="20900" y="10802"/>
                  </a:lnTo>
                  <a:cubicBezTo>
                    <a:pt x="14617" y="11508"/>
                    <a:pt x="10098" y="17172"/>
                    <a:pt x="10803" y="23455"/>
                  </a:cubicBezTo>
                  <a:cubicBezTo>
                    <a:pt x="11400" y="28764"/>
                    <a:pt x="15590" y="32955"/>
                    <a:pt x="20900" y="3355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1" name="Freeform: Shape 310">
              <a:extLst>
                <a:ext uri="{FF2B5EF4-FFF2-40B4-BE49-F238E27FC236}">
                  <a16:creationId xmlns:a16="http://schemas.microsoft.com/office/drawing/2014/main" id="{E630CB14-736E-42FC-A61C-2E5198E5A1BE}"/>
                </a:ext>
              </a:extLst>
            </p:cNvPr>
            <p:cNvSpPr/>
            <p:nvPr/>
          </p:nvSpPr>
          <p:spPr>
            <a:xfrm>
              <a:off x="5379891" y="6206635"/>
              <a:ext cx="42922" cy="42922"/>
            </a:xfrm>
            <a:custGeom>
              <a:avLst/>
              <a:gdLst>
                <a:gd name="connsiteX0" fmla="*/ 22180 w 42922"/>
                <a:gd name="connsiteY0" fmla="*/ 10731 h 42922"/>
                <a:gd name="connsiteX1" fmla="*/ 22180 w 42922"/>
                <a:gd name="connsiteY1" fmla="*/ 10731 h 42922"/>
                <a:gd name="connsiteX2" fmla="*/ 10734 w 42922"/>
                <a:gd name="connsiteY2" fmla="*/ 21890 h 42922"/>
                <a:gd name="connsiteX3" fmla="*/ 21891 w 42922"/>
                <a:gd name="connsiteY3" fmla="*/ 33618 h 42922"/>
                <a:gd name="connsiteX4" fmla="*/ 33619 w 42922"/>
                <a:gd name="connsiteY4" fmla="*/ 22463 h 42922"/>
                <a:gd name="connsiteX5" fmla="*/ 22463 w 42922"/>
                <a:gd name="connsiteY5" fmla="*/ 10735 h 42922"/>
                <a:gd name="connsiteX6" fmla="*/ 22180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180" y="10731"/>
                  </a:moveTo>
                  <a:lnTo>
                    <a:pt x="22180" y="10731"/>
                  </a:lnTo>
                  <a:cubicBezTo>
                    <a:pt x="15969" y="10729"/>
                    <a:pt x="10890" y="15681"/>
                    <a:pt x="10734" y="21890"/>
                  </a:cubicBezTo>
                  <a:cubicBezTo>
                    <a:pt x="10577" y="28210"/>
                    <a:pt x="15572" y="33461"/>
                    <a:pt x="21891" y="33618"/>
                  </a:cubicBezTo>
                  <a:cubicBezTo>
                    <a:pt x="28209" y="33777"/>
                    <a:pt x="33462" y="28782"/>
                    <a:pt x="33619" y="22463"/>
                  </a:cubicBezTo>
                  <a:cubicBezTo>
                    <a:pt x="33776" y="16143"/>
                    <a:pt x="28782" y="10892"/>
                    <a:pt x="22463" y="10735"/>
                  </a:cubicBezTo>
                  <a:cubicBezTo>
                    <a:pt x="22369" y="10732"/>
                    <a:pt x="22275" y="10731"/>
                    <a:pt x="22180"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2" name="Freeform: Shape 311">
              <a:extLst>
                <a:ext uri="{FF2B5EF4-FFF2-40B4-BE49-F238E27FC236}">
                  <a16:creationId xmlns:a16="http://schemas.microsoft.com/office/drawing/2014/main" id="{931DEAAD-95DE-4C14-9B91-F78416410A02}"/>
                </a:ext>
              </a:extLst>
            </p:cNvPr>
            <p:cNvSpPr/>
            <p:nvPr/>
          </p:nvSpPr>
          <p:spPr>
            <a:xfrm>
              <a:off x="5301632" y="6107766"/>
              <a:ext cx="28615" cy="28615"/>
            </a:xfrm>
            <a:custGeom>
              <a:avLst/>
              <a:gdLst>
                <a:gd name="connsiteX0" fmla="*/ 21032 w 28614"/>
                <a:gd name="connsiteY0" fmla="*/ 10735 h 28614"/>
                <a:gd name="connsiteX1" fmla="*/ 21032 w 28614"/>
                <a:gd name="connsiteY1" fmla="*/ 10735 h 28614"/>
                <a:gd name="connsiteX2" fmla="*/ 10731 w 28614"/>
                <a:gd name="connsiteY2" fmla="*/ 21036 h 28614"/>
                <a:gd name="connsiteX3" fmla="*/ 21032 w 28614"/>
                <a:gd name="connsiteY3" fmla="*/ 31338 h 28614"/>
                <a:gd name="connsiteX4" fmla="*/ 21032 w 28614"/>
                <a:gd name="connsiteY4" fmla="*/ 31338 h 28614"/>
                <a:gd name="connsiteX5" fmla="*/ 31476 w 28614"/>
                <a:gd name="connsiteY5" fmla="*/ 20893 h 28614"/>
                <a:gd name="connsiteX6" fmla="*/ 21322 w 28614"/>
                <a:gd name="connsiteY6" fmla="*/ 10731 h 28614"/>
                <a:gd name="connsiteX7" fmla="*/ 21032 w 28614"/>
                <a:gd name="connsiteY7"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032" y="10735"/>
                  </a:moveTo>
                  <a:lnTo>
                    <a:pt x="21032" y="10735"/>
                  </a:lnTo>
                  <a:cubicBezTo>
                    <a:pt x="15343" y="10735"/>
                    <a:pt x="10731" y="15348"/>
                    <a:pt x="10731" y="21036"/>
                  </a:cubicBezTo>
                  <a:cubicBezTo>
                    <a:pt x="10731" y="26725"/>
                    <a:pt x="15343" y="31338"/>
                    <a:pt x="21032" y="31338"/>
                  </a:cubicBezTo>
                  <a:lnTo>
                    <a:pt x="21032" y="31338"/>
                  </a:lnTo>
                  <a:cubicBezTo>
                    <a:pt x="26801" y="31338"/>
                    <a:pt x="31476" y="26662"/>
                    <a:pt x="31476" y="20893"/>
                  </a:cubicBezTo>
                  <a:cubicBezTo>
                    <a:pt x="31479" y="15283"/>
                    <a:pt x="26932" y="10733"/>
                    <a:pt x="21322" y="10731"/>
                  </a:cubicBezTo>
                  <a:cubicBezTo>
                    <a:pt x="21225" y="10731"/>
                    <a:pt x="21129" y="10732"/>
                    <a:pt x="21032" y="10735"/>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3" name="Freeform: Shape 312">
              <a:extLst>
                <a:ext uri="{FF2B5EF4-FFF2-40B4-BE49-F238E27FC236}">
                  <a16:creationId xmlns:a16="http://schemas.microsoft.com/office/drawing/2014/main" id="{3BD125C4-3999-451B-8E26-75B39274B96A}"/>
                </a:ext>
              </a:extLst>
            </p:cNvPr>
            <p:cNvSpPr/>
            <p:nvPr/>
          </p:nvSpPr>
          <p:spPr>
            <a:xfrm>
              <a:off x="5379752" y="6106768"/>
              <a:ext cx="42922" cy="42922"/>
            </a:xfrm>
            <a:custGeom>
              <a:avLst/>
              <a:gdLst>
                <a:gd name="connsiteX0" fmla="*/ 22319 w 42922"/>
                <a:gd name="connsiteY0" fmla="*/ 10732 h 42922"/>
                <a:gd name="connsiteX1" fmla="*/ 22319 w 42922"/>
                <a:gd name="connsiteY1" fmla="*/ 10732 h 42922"/>
                <a:gd name="connsiteX2" fmla="*/ 10732 w 42922"/>
                <a:gd name="connsiteY2" fmla="*/ 22034 h 42922"/>
                <a:gd name="connsiteX3" fmla="*/ 22034 w 42922"/>
                <a:gd name="connsiteY3" fmla="*/ 33622 h 42922"/>
                <a:gd name="connsiteX4" fmla="*/ 33622 w 42922"/>
                <a:gd name="connsiteY4" fmla="*/ 22321 h 42922"/>
                <a:gd name="connsiteX5" fmla="*/ 22321 w 42922"/>
                <a:gd name="connsiteY5" fmla="*/ 10732 h 42922"/>
                <a:gd name="connsiteX6" fmla="*/ 22319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19" y="10732"/>
                  </a:moveTo>
                  <a:lnTo>
                    <a:pt x="22319" y="10732"/>
                  </a:lnTo>
                  <a:cubicBezTo>
                    <a:pt x="15998" y="10653"/>
                    <a:pt x="10810" y="15713"/>
                    <a:pt x="10732" y="22034"/>
                  </a:cubicBezTo>
                  <a:cubicBezTo>
                    <a:pt x="10653" y="28356"/>
                    <a:pt x="15713" y="33543"/>
                    <a:pt x="22034" y="33622"/>
                  </a:cubicBezTo>
                  <a:cubicBezTo>
                    <a:pt x="28355" y="33701"/>
                    <a:pt x="33542" y="28640"/>
                    <a:pt x="33622" y="22321"/>
                  </a:cubicBezTo>
                  <a:cubicBezTo>
                    <a:pt x="33702" y="16000"/>
                    <a:pt x="28642" y="10812"/>
                    <a:pt x="22321" y="10732"/>
                  </a:cubicBezTo>
                  <a:cubicBezTo>
                    <a:pt x="22321" y="10732"/>
                    <a:pt x="22319" y="10732"/>
                    <a:pt x="22319" y="10732"/>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4" name="Freeform: Shape 313">
              <a:extLst>
                <a:ext uri="{FF2B5EF4-FFF2-40B4-BE49-F238E27FC236}">
                  <a16:creationId xmlns:a16="http://schemas.microsoft.com/office/drawing/2014/main" id="{C0BC0537-67B9-497A-8B13-43AC168D2411}"/>
                </a:ext>
              </a:extLst>
            </p:cNvPr>
            <p:cNvSpPr/>
            <p:nvPr/>
          </p:nvSpPr>
          <p:spPr>
            <a:xfrm>
              <a:off x="5458299" y="6355004"/>
              <a:ext cx="42922" cy="42922"/>
            </a:xfrm>
            <a:custGeom>
              <a:avLst/>
              <a:gdLst>
                <a:gd name="connsiteX0" fmla="*/ 22892 w 42922"/>
                <a:gd name="connsiteY0" fmla="*/ 11160 h 42922"/>
                <a:gd name="connsiteX1" fmla="*/ 10731 w 42922"/>
                <a:gd name="connsiteY1" fmla="*/ 22892 h 42922"/>
                <a:gd name="connsiteX2" fmla="*/ 10731 w 42922"/>
                <a:gd name="connsiteY2" fmla="*/ 22892 h 42922"/>
                <a:gd name="connsiteX3" fmla="*/ 22892 w 42922"/>
                <a:gd name="connsiteY3" fmla="*/ 35053 h 42922"/>
                <a:gd name="connsiteX4" fmla="*/ 35053 w 42922"/>
                <a:gd name="connsiteY4" fmla="*/ 22892 h 42922"/>
                <a:gd name="connsiteX5" fmla="*/ 22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2" y="11160"/>
                  </a:moveTo>
                  <a:cubicBezTo>
                    <a:pt x="16309" y="11080"/>
                    <a:pt x="10887" y="16311"/>
                    <a:pt x="10731" y="22892"/>
                  </a:cubicBezTo>
                  <a:lnTo>
                    <a:pt x="10731" y="22892"/>
                  </a:lnTo>
                  <a:cubicBezTo>
                    <a:pt x="10731" y="29608"/>
                    <a:pt x="16176" y="35053"/>
                    <a:pt x="22892" y="35053"/>
                  </a:cubicBezTo>
                  <a:cubicBezTo>
                    <a:pt x="29608" y="35053"/>
                    <a:pt x="35053" y="29608"/>
                    <a:pt x="35053" y="22892"/>
                  </a:cubicBezTo>
                  <a:cubicBezTo>
                    <a:pt x="35053" y="16176"/>
                    <a:pt x="29608" y="10731"/>
                    <a:pt x="22892"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5" name="Freeform: Shape 314">
              <a:extLst>
                <a:ext uri="{FF2B5EF4-FFF2-40B4-BE49-F238E27FC236}">
                  <a16:creationId xmlns:a16="http://schemas.microsoft.com/office/drawing/2014/main" id="{E1FB9383-2D22-4D39-ADE3-755B0C55AC16}"/>
                </a:ext>
              </a:extLst>
            </p:cNvPr>
            <p:cNvSpPr/>
            <p:nvPr/>
          </p:nvSpPr>
          <p:spPr>
            <a:xfrm>
              <a:off x="5458577" y="6205633"/>
              <a:ext cx="42922" cy="42922"/>
            </a:xfrm>
            <a:custGeom>
              <a:avLst/>
              <a:gdLst>
                <a:gd name="connsiteX0" fmla="*/ 22900 w 42922"/>
                <a:gd name="connsiteY0" fmla="*/ 10731 h 42922"/>
                <a:gd name="connsiteX1" fmla="*/ 10739 w 42922"/>
                <a:gd name="connsiteY1" fmla="*/ 22892 h 42922"/>
                <a:gd name="connsiteX2" fmla="*/ 22034 w 42922"/>
                <a:gd name="connsiteY2" fmla="*/ 35046 h 42922"/>
                <a:gd name="connsiteX3" fmla="*/ 22471 w 42922"/>
                <a:gd name="connsiteY3" fmla="*/ 35053 h 42922"/>
                <a:gd name="connsiteX4" fmla="*/ 22471 w 42922"/>
                <a:gd name="connsiteY4" fmla="*/ 35053 h 42922"/>
                <a:gd name="connsiteX5" fmla="*/ 34632 w 42922"/>
                <a:gd name="connsiteY5" fmla="*/ 22892 h 42922"/>
                <a:gd name="connsiteX6" fmla="*/ 22471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900" y="10731"/>
                  </a:moveTo>
                  <a:cubicBezTo>
                    <a:pt x="16184" y="10731"/>
                    <a:pt x="10739" y="16176"/>
                    <a:pt x="10739" y="22892"/>
                  </a:cubicBezTo>
                  <a:cubicBezTo>
                    <a:pt x="10501" y="29367"/>
                    <a:pt x="15559" y="34809"/>
                    <a:pt x="22034" y="35046"/>
                  </a:cubicBezTo>
                  <a:cubicBezTo>
                    <a:pt x="22179" y="35050"/>
                    <a:pt x="22325" y="35053"/>
                    <a:pt x="22471" y="35053"/>
                  </a:cubicBezTo>
                  <a:lnTo>
                    <a:pt x="22471" y="35053"/>
                  </a:lnTo>
                  <a:cubicBezTo>
                    <a:pt x="29187" y="35053"/>
                    <a:pt x="34632" y="29608"/>
                    <a:pt x="34632" y="22892"/>
                  </a:cubicBezTo>
                  <a:cubicBezTo>
                    <a:pt x="34632" y="16176"/>
                    <a:pt x="29187" y="10731"/>
                    <a:pt x="22471" y="10731"/>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6" name="Freeform: Shape 315">
              <a:extLst>
                <a:ext uri="{FF2B5EF4-FFF2-40B4-BE49-F238E27FC236}">
                  <a16:creationId xmlns:a16="http://schemas.microsoft.com/office/drawing/2014/main" id="{6FCDB31C-065D-4EF3-A9EF-3908FDBAF7EE}"/>
                </a:ext>
              </a:extLst>
            </p:cNvPr>
            <p:cNvSpPr/>
            <p:nvPr/>
          </p:nvSpPr>
          <p:spPr>
            <a:xfrm>
              <a:off x="5458585" y="6105910"/>
              <a:ext cx="42922" cy="42922"/>
            </a:xfrm>
            <a:custGeom>
              <a:avLst/>
              <a:gdLst>
                <a:gd name="connsiteX0" fmla="*/ 24753 w 42922"/>
                <a:gd name="connsiteY0" fmla="*/ 10731 h 42922"/>
                <a:gd name="connsiteX1" fmla="*/ 22893 w 42922"/>
                <a:gd name="connsiteY1" fmla="*/ 10731 h 42922"/>
                <a:gd name="connsiteX2" fmla="*/ 10732 w 42922"/>
                <a:gd name="connsiteY2" fmla="*/ 22892 h 42922"/>
                <a:gd name="connsiteX3" fmla="*/ 10732 w 42922"/>
                <a:gd name="connsiteY3" fmla="*/ 24752 h 42922"/>
                <a:gd name="connsiteX4" fmla="*/ 22464 w 42922"/>
                <a:gd name="connsiteY4" fmla="*/ 36913 h 42922"/>
                <a:gd name="connsiteX5" fmla="*/ 22464 w 42922"/>
                <a:gd name="connsiteY5" fmla="*/ 36913 h 42922"/>
                <a:gd name="connsiteX6" fmla="*/ 34841 w 42922"/>
                <a:gd name="connsiteY6" fmla="*/ 23009 h 42922"/>
                <a:gd name="connsiteX7" fmla="*/ 24324 w 42922"/>
                <a:gd name="connsiteY7" fmla="*/ 1087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4753" y="10731"/>
                  </a:moveTo>
                  <a:lnTo>
                    <a:pt x="22893" y="10731"/>
                  </a:lnTo>
                  <a:cubicBezTo>
                    <a:pt x="16177" y="10731"/>
                    <a:pt x="10732" y="16176"/>
                    <a:pt x="10732" y="22892"/>
                  </a:cubicBezTo>
                  <a:lnTo>
                    <a:pt x="10732" y="24752"/>
                  </a:lnTo>
                  <a:cubicBezTo>
                    <a:pt x="10651" y="31335"/>
                    <a:pt x="15882" y="36757"/>
                    <a:pt x="22464" y="36913"/>
                  </a:cubicBezTo>
                  <a:lnTo>
                    <a:pt x="22464" y="36913"/>
                  </a:lnTo>
                  <a:cubicBezTo>
                    <a:pt x="29720" y="36491"/>
                    <a:pt x="35263" y="30268"/>
                    <a:pt x="34841" y="23009"/>
                  </a:cubicBezTo>
                  <a:cubicBezTo>
                    <a:pt x="34495" y="17046"/>
                    <a:pt x="30177" y="12064"/>
                    <a:pt x="24324" y="10874"/>
                  </a:cubicBezTo>
                  <a:close/>
                </a:path>
              </a:pathLst>
            </a:custGeom>
            <a:solidFill>
              <a:srgbClr val="00BCEB">
                <a:alpha val="81000"/>
              </a:srgbClr>
            </a:solidFill>
            <a:ln w="9525" cap="flat">
              <a:noFill/>
              <a:prstDash val="solid"/>
              <a:miter/>
            </a:ln>
          </p:spPr>
          <p:txBody>
            <a:bodyPr rtlCol="0" anchor="ctr"/>
            <a:lstStyle/>
            <a:p>
              <a:endParaRPr lang="en-US" dirty="0"/>
            </a:p>
          </p:txBody>
        </p:sp>
        <p:sp>
          <p:nvSpPr>
            <p:cNvPr id="317" name="Freeform: Shape 316">
              <a:extLst>
                <a:ext uri="{FF2B5EF4-FFF2-40B4-BE49-F238E27FC236}">
                  <a16:creationId xmlns:a16="http://schemas.microsoft.com/office/drawing/2014/main" id="{6FAFEDF5-DA32-43DD-BBF2-28F65CE463F2}"/>
                </a:ext>
              </a:extLst>
            </p:cNvPr>
            <p:cNvSpPr/>
            <p:nvPr/>
          </p:nvSpPr>
          <p:spPr>
            <a:xfrm>
              <a:off x="5457727" y="6305643"/>
              <a:ext cx="42922" cy="42922"/>
            </a:xfrm>
            <a:custGeom>
              <a:avLst/>
              <a:gdLst>
                <a:gd name="connsiteX0" fmla="*/ 35053 w 42922"/>
                <a:gd name="connsiteY0" fmla="*/ 22892 h 42922"/>
                <a:gd name="connsiteX1" fmla="*/ 22892 w 42922"/>
                <a:gd name="connsiteY1" fmla="*/ 35053 h 42922"/>
                <a:gd name="connsiteX2" fmla="*/ 10731 w 42922"/>
                <a:gd name="connsiteY2" fmla="*/ 22892 h 42922"/>
                <a:gd name="connsiteX3" fmla="*/ 22892 w 42922"/>
                <a:gd name="connsiteY3" fmla="*/ 10731 h 42922"/>
                <a:gd name="connsiteX4" fmla="*/ 35053 w 42922"/>
                <a:gd name="connsiteY4" fmla="*/ 22892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5053" y="22892"/>
                  </a:moveTo>
                  <a:cubicBezTo>
                    <a:pt x="35053" y="29609"/>
                    <a:pt x="29609" y="35053"/>
                    <a:pt x="22892" y="35053"/>
                  </a:cubicBezTo>
                  <a:cubicBezTo>
                    <a:pt x="16175" y="35053"/>
                    <a:pt x="10731" y="29609"/>
                    <a:pt x="10731" y="22892"/>
                  </a:cubicBezTo>
                  <a:cubicBezTo>
                    <a:pt x="10731" y="16175"/>
                    <a:pt x="16175" y="10731"/>
                    <a:pt x="22892" y="10731"/>
                  </a:cubicBezTo>
                  <a:cubicBezTo>
                    <a:pt x="29609" y="10731"/>
                    <a:pt x="35053" y="16175"/>
                    <a:pt x="35053" y="22892"/>
                  </a:cubicBezTo>
                  <a:close/>
                </a:path>
              </a:pathLst>
            </a:custGeom>
            <a:solidFill>
              <a:srgbClr val="00BCEB">
                <a:alpha val="81000"/>
              </a:srgbClr>
            </a:solidFill>
            <a:ln w="9525" cap="flat">
              <a:noFill/>
              <a:prstDash val="solid"/>
              <a:miter/>
            </a:ln>
          </p:spPr>
          <p:txBody>
            <a:bodyPr rtlCol="0" anchor="ctr"/>
            <a:lstStyle/>
            <a:p>
              <a:endParaRPr lang="en-US" dirty="0"/>
            </a:p>
          </p:txBody>
        </p:sp>
      </p:grpSp>
      <p:sp>
        <p:nvSpPr>
          <p:cNvPr id="14" name="Rectangle 13">
            <a:extLst>
              <a:ext uri="{FF2B5EF4-FFF2-40B4-BE49-F238E27FC236}">
                <a16:creationId xmlns:a16="http://schemas.microsoft.com/office/drawing/2014/main" id="{E47CBF0F-FB11-47CB-BEAF-2E7C3799C256}"/>
              </a:ext>
            </a:extLst>
          </p:cNvPr>
          <p:cNvSpPr/>
          <p:nvPr/>
        </p:nvSpPr>
        <p:spPr>
          <a:xfrm>
            <a:off x="0" y="6099216"/>
            <a:ext cx="12192000" cy="18288"/>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8" name="Rectangle 397">
            <a:extLst>
              <a:ext uri="{FF2B5EF4-FFF2-40B4-BE49-F238E27FC236}">
                <a16:creationId xmlns:a16="http://schemas.microsoft.com/office/drawing/2014/main" id="{40DC1D4B-A0F1-4812-9D45-5CB95E143DF6}"/>
              </a:ext>
            </a:extLst>
          </p:cNvPr>
          <p:cNvSpPr/>
          <p:nvPr/>
        </p:nvSpPr>
        <p:spPr>
          <a:xfrm>
            <a:off x="496868" y="4120733"/>
            <a:ext cx="1710689" cy="1077218"/>
          </a:xfrm>
          <a:prstGeom prst="rect">
            <a:avLst/>
          </a:prstGeom>
        </p:spPr>
        <p:txBody>
          <a:bodyPr wrap="square" lIns="0" rIns="0">
            <a:spAutoFit/>
          </a:bodyPr>
          <a:lstStyle/>
          <a:p>
            <a:pPr algn="r"/>
            <a:r>
              <a:rPr lang="en-US" sz="1600" dirty="0">
                <a:solidFill>
                  <a:schemeClr val="bg1"/>
                </a:solidFill>
              </a:rPr>
              <a:t>New and unrestricted devices accessing company data</a:t>
            </a:r>
          </a:p>
        </p:txBody>
      </p:sp>
      <p:sp>
        <p:nvSpPr>
          <p:cNvPr id="399" name="Rectangle 398">
            <a:extLst>
              <a:ext uri="{FF2B5EF4-FFF2-40B4-BE49-F238E27FC236}">
                <a16:creationId xmlns:a16="http://schemas.microsoft.com/office/drawing/2014/main" id="{1C95F1A8-E9A9-4A17-9122-F4B60B66F4FC}"/>
              </a:ext>
            </a:extLst>
          </p:cNvPr>
          <p:cNvSpPr/>
          <p:nvPr/>
        </p:nvSpPr>
        <p:spPr>
          <a:xfrm>
            <a:off x="1255870" y="2671978"/>
            <a:ext cx="2071296" cy="830997"/>
          </a:xfrm>
          <a:prstGeom prst="rect">
            <a:avLst/>
          </a:prstGeom>
        </p:spPr>
        <p:txBody>
          <a:bodyPr wrap="square" lIns="0" rIns="0">
            <a:spAutoFit/>
          </a:bodyPr>
          <a:lstStyle/>
          <a:p>
            <a:pPr algn="r"/>
            <a:r>
              <a:rPr lang="en-US" sz="1600" dirty="0">
                <a:solidFill>
                  <a:schemeClr val="bg1"/>
                </a:solidFill>
              </a:rPr>
              <a:t>No awareness of how device posture could create risk</a:t>
            </a:r>
          </a:p>
        </p:txBody>
      </p:sp>
      <p:sp>
        <p:nvSpPr>
          <p:cNvPr id="400" name="Rectangle 399">
            <a:extLst>
              <a:ext uri="{FF2B5EF4-FFF2-40B4-BE49-F238E27FC236}">
                <a16:creationId xmlns:a16="http://schemas.microsoft.com/office/drawing/2014/main" id="{49EAF294-33A6-42B1-8383-5B0811246A79}"/>
              </a:ext>
            </a:extLst>
          </p:cNvPr>
          <p:cNvSpPr/>
          <p:nvPr/>
        </p:nvSpPr>
        <p:spPr>
          <a:xfrm>
            <a:off x="3955715" y="1657036"/>
            <a:ext cx="1862382" cy="830997"/>
          </a:xfrm>
          <a:prstGeom prst="rect">
            <a:avLst/>
          </a:prstGeom>
        </p:spPr>
        <p:txBody>
          <a:bodyPr wrap="square" lIns="0" rIns="0">
            <a:spAutoFit/>
          </a:bodyPr>
          <a:lstStyle/>
          <a:p>
            <a:pPr algn="r"/>
            <a:r>
              <a:rPr lang="en-US" sz="1600" dirty="0">
                <a:solidFill>
                  <a:schemeClr val="bg1"/>
                </a:solidFill>
              </a:rPr>
              <a:t>Use of more SaaS-based and unsanctioned apps</a:t>
            </a:r>
          </a:p>
        </p:txBody>
      </p:sp>
      <p:sp>
        <p:nvSpPr>
          <p:cNvPr id="401" name="Rectangle 400">
            <a:extLst>
              <a:ext uri="{FF2B5EF4-FFF2-40B4-BE49-F238E27FC236}">
                <a16:creationId xmlns:a16="http://schemas.microsoft.com/office/drawing/2014/main" id="{44933C20-973F-4E5D-B847-D6E74C40B60C}"/>
              </a:ext>
            </a:extLst>
          </p:cNvPr>
          <p:cNvSpPr/>
          <p:nvPr/>
        </p:nvSpPr>
        <p:spPr>
          <a:xfrm>
            <a:off x="6356329" y="1657036"/>
            <a:ext cx="1862382" cy="830997"/>
          </a:xfrm>
          <a:prstGeom prst="rect">
            <a:avLst/>
          </a:prstGeom>
        </p:spPr>
        <p:txBody>
          <a:bodyPr wrap="square" lIns="0" rIns="0">
            <a:spAutoFit/>
          </a:bodyPr>
          <a:lstStyle/>
          <a:p>
            <a:r>
              <a:rPr lang="en-US" sz="1600" dirty="0">
                <a:solidFill>
                  <a:schemeClr val="bg1"/>
                </a:solidFill>
              </a:rPr>
              <a:t>Bypassing the VPN to gain corporate access</a:t>
            </a:r>
          </a:p>
        </p:txBody>
      </p:sp>
      <p:sp>
        <p:nvSpPr>
          <p:cNvPr id="402" name="Rectangle 401">
            <a:extLst>
              <a:ext uri="{FF2B5EF4-FFF2-40B4-BE49-F238E27FC236}">
                <a16:creationId xmlns:a16="http://schemas.microsoft.com/office/drawing/2014/main" id="{12809904-0E05-4573-B555-24D67BAE70C5}"/>
              </a:ext>
            </a:extLst>
          </p:cNvPr>
          <p:cNvSpPr/>
          <p:nvPr/>
        </p:nvSpPr>
        <p:spPr>
          <a:xfrm>
            <a:off x="9929724" y="4120733"/>
            <a:ext cx="1862561" cy="1077218"/>
          </a:xfrm>
          <a:prstGeom prst="rect">
            <a:avLst/>
          </a:prstGeom>
        </p:spPr>
        <p:txBody>
          <a:bodyPr wrap="square" lIns="0" rIns="0">
            <a:spAutoFit/>
          </a:bodyPr>
          <a:lstStyle/>
          <a:p>
            <a:r>
              <a:rPr lang="en-US" sz="1600" dirty="0">
                <a:solidFill>
                  <a:schemeClr val="bg1"/>
                </a:solidFill>
              </a:rPr>
              <a:t>Working on consumer Wi-Fi without knowledge of risk</a:t>
            </a:r>
          </a:p>
        </p:txBody>
      </p:sp>
      <p:sp>
        <p:nvSpPr>
          <p:cNvPr id="403" name="Rectangle 402">
            <a:extLst>
              <a:ext uri="{FF2B5EF4-FFF2-40B4-BE49-F238E27FC236}">
                <a16:creationId xmlns:a16="http://schemas.microsoft.com/office/drawing/2014/main" id="{B56EA7CD-6847-465F-B8AA-358BC4BC39A8}"/>
              </a:ext>
            </a:extLst>
          </p:cNvPr>
          <p:cNvSpPr/>
          <p:nvPr/>
        </p:nvSpPr>
        <p:spPr>
          <a:xfrm>
            <a:off x="8798898" y="2612505"/>
            <a:ext cx="2123331" cy="830997"/>
          </a:xfrm>
          <a:prstGeom prst="rect">
            <a:avLst/>
          </a:prstGeom>
        </p:spPr>
        <p:txBody>
          <a:bodyPr wrap="square" lIns="0" rIns="0">
            <a:spAutoFit/>
          </a:bodyPr>
          <a:lstStyle/>
          <a:p>
            <a:r>
              <a:rPr lang="en-US" sz="1600" dirty="0">
                <a:solidFill>
                  <a:schemeClr val="bg1"/>
                </a:solidFill>
              </a:rPr>
              <a:t>Low awareness of how behavior exposes company to risk</a:t>
            </a:r>
          </a:p>
        </p:txBody>
      </p:sp>
      <p:sp>
        <p:nvSpPr>
          <p:cNvPr id="404" name="Oval 403">
            <a:extLst>
              <a:ext uri="{FF2B5EF4-FFF2-40B4-BE49-F238E27FC236}">
                <a16:creationId xmlns:a16="http://schemas.microsoft.com/office/drawing/2014/main" id="{1F0EF41C-F5CB-4708-A8F1-616CC0F6DF4E}"/>
              </a:ext>
            </a:extLst>
          </p:cNvPr>
          <p:cNvSpPr/>
          <p:nvPr/>
        </p:nvSpPr>
        <p:spPr>
          <a:xfrm>
            <a:off x="2284308" y="4621302"/>
            <a:ext cx="139891" cy="139891"/>
          </a:xfrm>
          <a:prstGeom prst="ellipse">
            <a:avLst/>
          </a:prstGeom>
          <a:solidFill>
            <a:schemeClr val="bg2"/>
          </a:solidFill>
          <a:ln w="15875" cap="rnd">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05" name="Oval 404">
            <a:extLst>
              <a:ext uri="{FF2B5EF4-FFF2-40B4-BE49-F238E27FC236}">
                <a16:creationId xmlns:a16="http://schemas.microsoft.com/office/drawing/2014/main" id="{C44F66FF-1212-4337-A717-DE0DE7016290}"/>
              </a:ext>
            </a:extLst>
          </p:cNvPr>
          <p:cNvSpPr/>
          <p:nvPr/>
        </p:nvSpPr>
        <p:spPr>
          <a:xfrm>
            <a:off x="3424768" y="3021862"/>
            <a:ext cx="139891" cy="139891"/>
          </a:xfrm>
          <a:prstGeom prst="ellipse">
            <a:avLst/>
          </a:prstGeom>
          <a:solidFill>
            <a:schemeClr val="bg2"/>
          </a:solidFill>
          <a:ln w="15875" cap="rnd">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06" name="Oval 405">
            <a:extLst>
              <a:ext uri="{FF2B5EF4-FFF2-40B4-BE49-F238E27FC236}">
                <a16:creationId xmlns:a16="http://schemas.microsoft.com/office/drawing/2014/main" id="{31B78227-555A-4563-BD03-690BB4EA46CE}"/>
              </a:ext>
            </a:extLst>
          </p:cNvPr>
          <p:cNvSpPr/>
          <p:nvPr/>
        </p:nvSpPr>
        <p:spPr>
          <a:xfrm>
            <a:off x="5034489" y="2479234"/>
            <a:ext cx="139891" cy="139891"/>
          </a:xfrm>
          <a:prstGeom prst="ellipse">
            <a:avLst/>
          </a:prstGeom>
          <a:solidFill>
            <a:schemeClr val="bg2"/>
          </a:solidFill>
          <a:ln w="15875" cap="rnd">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07" name="Oval 406">
            <a:extLst>
              <a:ext uri="{FF2B5EF4-FFF2-40B4-BE49-F238E27FC236}">
                <a16:creationId xmlns:a16="http://schemas.microsoft.com/office/drawing/2014/main" id="{6FE966B2-2341-4249-BA4B-2CF81A86434F}"/>
              </a:ext>
            </a:extLst>
          </p:cNvPr>
          <p:cNvSpPr/>
          <p:nvPr/>
        </p:nvSpPr>
        <p:spPr>
          <a:xfrm>
            <a:off x="6947676" y="2479234"/>
            <a:ext cx="139891" cy="139891"/>
          </a:xfrm>
          <a:prstGeom prst="ellipse">
            <a:avLst/>
          </a:prstGeom>
          <a:solidFill>
            <a:schemeClr val="bg2"/>
          </a:solidFill>
          <a:ln w="15875" cap="rnd">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08" name="Oval 407">
            <a:extLst>
              <a:ext uri="{FF2B5EF4-FFF2-40B4-BE49-F238E27FC236}">
                <a16:creationId xmlns:a16="http://schemas.microsoft.com/office/drawing/2014/main" id="{AEA1A8FE-33FF-4CD2-BF95-19F556856DDB}"/>
              </a:ext>
            </a:extLst>
          </p:cNvPr>
          <p:cNvSpPr/>
          <p:nvPr/>
        </p:nvSpPr>
        <p:spPr>
          <a:xfrm>
            <a:off x="8572589" y="3021862"/>
            <a:ext cx="139891" cy="139891"/>
          </a:xfrm>
          <a:prstGeom prst="ellipse">
            <a:avLst/>
          </a:prstGeom>
          <a:solidFill>
            <a:schemeClr val="bg2"/>
          </a:solidFill>
          <a:ln w="15875" cap="rnd">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09" name="Oval 408">
            <a:extLst>
              <a:ext uri="{FF2B5EF4-FFF2-40B4-BE49-F238E27FC236}">
                <a16:creationId xmlns:a16="http://schemas.microsoft.com/office/drawing/2014/main" id="{61954C06-DE2E-4DDF-A543-3EDF0DE582CE}"/>
              </a:ext>
            </a:extLst>
          </p:cNvPr>
          <p:cNvSpPr/>
          <p:nvPr/>
        </p:nvSpPr>
        <p:spPr>
          <a:xfrm>
            <a:off x="9726624" y="4621302"/>
            <a:ext cx="139891" cy="139891"/>
          </a:xfrm>
          <a:prstGeom prst="ellipse">
            <a:avLst/>
          </a:prstGeom>
          <a:solidFill>
            <a:schemeClr val="bg2"/>
          </a:solidFill>
          <a:ln w="15875" cap="rnd">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412" name="Group 411">
            <a:extLst>
              <a:ext uri="{FF2B5EF4-FFF2-40B4-BE49-F238E27FC236}">
                <a16:creationId xmlns:a16="http://schemas.microsoft.com/office/drawing/2014/main" id="{A9B5D3F1-F30C-4126-BE71-8839AF7BA5BD}"/>
              </a:ext>
            </a:extLst>
          </p:cNvPr>
          <p:cNvGrpSpPr/>
          <p:nvPr/>
        </p:nvGrpSpPr>
        <p:grpSpPr>
          <a:xfrm>
            <a:off x="6653147" y="5428359"/>
            <a:ext cx="922045" cy="349087"/>
            <a:chOff x="3440113" y="5662613"/>
            <a:chExt cx="769938" cy="292100"/>
          </a:xfrm>
          <a:solidFill>
            <a:schemeClr val="accent3"/>
          </a:solidFill>
        </p:grpSpPr>
        <p:sp>
          <p:nvSpPr>
            <p:cNvPr id="413" name="Freeform 84">
              <a:extLst>
                <a:ext uri="{FF2B5EF4-FFF2-40B4-BE49-F238E27FC236}">
                  <a16:creationId xmlns:a16="http://schemas.microsoft.com/office/drawing/2014/main" id="{1A1CBBE0-DAD3-466A-97E1-0D43CB889B14}"/>
                </a:ext>
              </a:extLst>
            </p:cNvPr>
            <p:cNvSpPr>
              <a:spLocks/>
            </p:cNvSpPr>
            <p:nvPr/>
          </p:nvSpPr>
          <p:spPr bwMode="auto">
            <a:xfrm>
              <a:off x="3440113" y="566261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4 h 46"/>
                <a:gd name="T46" fmla="*/ 355 w 358"/>
                <a:gd name="T47" fmla="*/ 41 h 46"/>
                <a:gd name="T48" fmla="*/ 342 w 358"/>
                <a:gd name="T49" fmla="*/ 36 h 46"/>
                <a:gd name="T50" fmla="*/ 327 w 358"/>
                <a:gd name="T51" fmla="*/ 14 h 46"/>
                <a:gd name="T52" fmla="*/ 305 w 358"/>
                <a:gd name="T53" fmla="*/ 1 h 46"/>
                <a:gd name="T54" fmla="*/ 288 w 358"/>
                <a:gd name="T55" fmla="*/ 8 h 46"/>
                <a:gd name="T56" fmla="*/ 273 w 358"/>
                <a:gd name="T57" fmla="*/ 30 h 46"/>
                <a:gd name="T58" fmla="*/ 254 w 358"/>
                <a:gd name="T59" fmla="*/ 41 h 46"/>
                <a:gd name="T60" fmla="*/ 241 w 358"/>
                <a:gd name="T61" fmla="*/ 36 h 46"/>
                <a:gd name="T62" fmla="*/ 226 w 358"/>
                <a:gd name="T63" fmla="*/ 14 h 46"/>
                <a:gd name="T64" fmla="*/ 204 w 358"/>
                <a:gd name="T65" fmla="*/ 1 h 46"/>
                <a:gd name="T66" fmla="*/ 187 w 358"/>
                <a:gd name="T67" fmla="*/ 8 h 46"/>
                <a:gd name="T68" fmla="*/ 172 w 358"/>
                <a:gd name="T69" fmla="*/ 30 h 46"/>
                <a:gd name="T70" fmla="*/ 154 w 358"/>
                <a:gd name="T71" fmla="*/ 41 h 46"/>
                <a:gd name="T72" fmla="*/ 140 w 358"/>
                <a:gd name="T73" fmla="*/ 36 h 46"/>
                <a:gd name="T74" fmla="*/ 126 w 358"/>
                <a:gd name="T75" fmla="*/ 14 h 46"/>
                <a:gd name="T76" fmla="*/ 103 w 358"/>
                <a:gd name="T77" fmla="*/ 1 h 46"/>
                <a:gd name="T78" fmla="*/ 87 w 358"/>
                <a:gd name="T79" fmla="*/ 8 h 46"/>
                <a:gd name="T80" fmla="*/ 72 w 358"/>
                <a:gd name="T81" fmla="*/ 30 h 46"/>
                <a:gd name="T82" fmla="*/ 53 w 358"/>
                <a:gd name="T83" fmla="*/ 41 h 46"/>
                <a:gd name="T84" fmla="*/ 40 w 358"/>
                <a:gd name="T85" fmla="*/ 36 h 46"/>
                <a:gd name="T86" fmla="*/ 25 w 358"/>
                <a:gd name="T87" fmla="*/ 14 h 46"/>
                <a:gd name="T88" fmla="*/ 3 w 358"/>
                <a:gd name="T89" fmla="*/ 1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5"/>
                    <a:pt x="31" y="32"/>
                  </a:cubicBezTo>
                  <a:cubicBezTo>
                    <a:pt x="36" y="40"/>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5"/>
                    <a:pt x="131" y="32"/>
                  </a:cubicBezTo>
                  <a:cubicBezTo>
                    <a:pt x="137" y="40"/>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5"/>
                    <a:pt x="232" y="32"/>
                  </a:cubicBezTo>
                  <a:cubicBezTo>
                    <a:pt x="237" y="40"/>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5"/>
                    <a:pt x="333" y="32"/>
                  </a:cubicBezTo>
                  <a:cubicBezTo>
                    <a:pt x="338" y="40"/>
                    <a:pt x="345" y="46"/>
                    <a:pt x="355" y="46"/>
                  </a:cubicBezTo>
                  <a:cubicBezTo>
                    <a:pt x="356" y="46"/>
                    <a:pt x="358" y="45"/>
                    <a:pt x="358" y="44"/>
                  </a:cubicBezTo>
                  <a:cubicBezTo>
                    <a:pt x="358" y="43"/>
                    <a:pt x="356" y="41"/>
                    <a:pt x="355" y="41"/>
                  </a:cubicBezTo>
                  <a:cubicBezTo>
                    <a:pt x="350" y="41"/>
                    <a:pt x="346" y="39"/>
                    <a:pt x="342" y="36"/>
                  </a:cubicBezTo>
                  <a:cubicBezTo>
                    <a:pt x="336" y="30"/>
                    <a:pt x="332" y="22"/>
                    <a:pt x="327" y="14"/>
                  </a:cubicBezTo>
                  <a:cubicBezTo>
                    <a:pt x="322" y="7"/>
                    <a:pt x="315" y="0"/>
                    <a:pt x="305" y="1"/>
                  </a:cubicBezTo>
                  <a:cubicBezTo>
                    <a:pt x="298" y="0"/>
                    <a:pt x="292" y="3"/>
                    <a:pt x="288" y="8"/>
                  </a:cubicBezTo>
                  <a:cubicBezTo>
                    <a:pt x="282" y="14"/>
                    <a:pt x="278" y="23"/>
                    <a:pt x="273" y="30"/>
                  </a:cubicBezTo>
                  <a:cubicBezTo>
                    <a:pt x="268" y="37"/>
                    <a:pt x="263" y="41"/>
                    <a:pt x="254" y="41"/>
                  </a:cubicBezTo>
                  <a:cubicBezTo>
                    <a:pt x="249" y="41"/>
                    <a:pt x="245" y="39"/>
                    <a:pt x="241" y="36"/>
                  </a:cubicBezTo>
                  <a:cubicBezTo>
                    <a:pt x="236" y="30"/>
                    <a:pt x="232" y="22"/>
                    <a:pt x="226" y="14"/>
                  </a:cubicBezTo>
                  <a:cubicBezTo>
                    <a:pt x="221" y="7"/>
                    <a:pt x="215" y="0"/>
                    <a:pt x="204" y="1"/>
                  </a:cubicBezTo>
                  <a:cubicBezTo>
                    <a:pt x="197" y="0"/>
                    <a:pt x="192" y="3"/>
                    <a:pt x="187" y="8"/>
                  </a:cubicBezTo>
                  <a:cubicBezTo>
                    <a:pt x="181" y="14"/>
                    <a:pt x="177" y="23"/>
                    <a:pt x="172" y="30"/>
                  </a:cubicBezTo>
                  <a:cubicBezTo>
                    <a:pt x="167" y="37"/>
                    <a:pt x="162" y="41"/>
                    <a:pt x="154" y="41"/>
                  </a:cubicBezTo>
                  <a:cubicBezTo>
                    <a:pt x="148" y="41"/>
                    <a:pt x="144" y="39"/>
                    <a:pt x="140" y="36"/>
                  </a:cubicBezTo>
                  <a:cubicBezTo>
                    <a:pt x="135" y="30"/>
                    <a:pt x="131" y="22"/>
                    <a:pt x="126" y="14"/>
                  </a:cubicBezTo>
                  <a:cubicBezTo>
                    <a:pt x="121" y="7"/>
                    <a:pt x="114" y="0"/>
                    <a:pt x="103" y="1"/>
                  </a:cubicBezTo>
                  <a:cubicBezTo>
                    <a:pt x="96" y="0"/>
                    <a:pt x="91" y="3"/>
                    <a:pt x="87" y="8"/>
                  </a:cubicBezTo>
                  <a:cubicBezTo>
                    <a:pt x="81" y="14"/>
                    <a:pt x="76" y="23"/>
                    <a:pt x="72" y="30"/>
                  </a:cubicBezTo>
                  <a:cubicBezTo>
                    <a:pt x="67" y="37"/>
                    <a:pt x="61" y="41"/>
                    <a:pt x="53" y="41"/>
                  </a:cubicBezTo>
                  <a:cubicBezTo>
                    <a:pt x="48" y="41"/>
                    <a:pt x="44" y="39"/>
                    <a:pt x="40" y="36"/>
                  </a:cubicBezTo>
                  <a:cubicBezTo>
                    <a:pt x="34" y="30"/>
                    <a:pt x="30" y="22"/>
                    <a:pt x="25" y="14"/>
                  </a:cubicBezTo>
                  <a:cubicBezTo>
                    <a:pt x="20" y="7"/>
                    <a:pt x="13" y="0"/>
                    <a:pt x="3" y="1"/>
                  </a:cubicBezTo>
                  <a:cubicBezTo>
                    <a:pt x="2" y="1"/>
                    <a:pt x="0" y="2"/>
                    <a:pt x="0" y="3"/>
                  </a:cubicBezTo>
                  <a:cubicBezTo>
                    <a:pt x="0" y="4"/>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4" name="Freeform 85">
              <a:extLst>
                <a:ext uri="{FF2B5EF4-FFF2-40B4-BE49-F238E27FC236}">
                  <a16:creationId xmlns:a16="http://schemas.microsoft.com/office/drawing/2014/main" id="{0224A298-CAD2-4EFE-8054-9670D26CAB48}"/>
                </a:ext>
              </a:extLst>
            </p:cNvPr>
            <p:cNvSpPr>
              <a:spLocks/>
            </p:cNvSpPr>
            <p:nvPr/>
          </p:nvSpPr>
          <p:spPr bwMode="auto">
            <a:xfrm>
              <a:off x="3440113" y="575786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4"/>
                    <a:pt x="31" y="32"/>
                  </a:cubicBezTo>
                  <a:cubicBezTo>
                    <a:pt x="36" y="39"/>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4"/>
                    <a:pt x="131" y="32"/>
                  </a:cubicBezTo>
                  <a:cubicBezTo>
                    <a:pt x="137" y="39"/>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4"/>
                    <a:pt x="232" y="32"/>
                  </a:cubicBezTo>
                  <a:cubicBezTo>
                    <a:pt x="237" y="39"/>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4"/>
                    <a:pt x="333" y="32"/>
                  </a:cubicBezTo>
                  <a:cubicBezTo>
                    <a:pt x="338" y="39"/>
                    <a:pt x="345" y="46"/>
                    <a:pt x="355" y="46"/>
                  </a:cubicBezTo>
                  <a:cubicBezTo>
                    <a:pt x="356" y="46"/>
                    <a:pt x="358" y="45"/>
                    <a:pt x="358" y="43"/>
                  </a:cubicBezTo>
                  <a:cubicBezTo>
                    <a:pt x="358" y="42"/>
                    <a:pt x="356" y="41"/>
                    <a:pt x="355" y="41"/>
                  </a:cubicBezTo>
                  <a:cubicBezTo>
                    <a:pt x="350" y="41"/>
                    <a:pt x="346" y="39"/>
                    <a:pt x="342" y="35"/>
                  </a:cubicBezTo>
                  <a:cubicBezTo>
                    <a:pt x="336" y="30"/>
                    <a:pt x="332" y="22"/>
                    <a:pt x="327" y="14"/>
                  </a:cubicBezTo>
                  <a:cubicBezTo>
                    <a:pt x="322" y="7"/>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2"/>
                    <a:pt x="226" y="14"/>
                  </a:cubicBezTo>
                  <a:cubicBezTo>
                    <a:pt x="221" y="7"/>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2"/>
                    <a:pt x="126" y="14"/>
                  </a:cubicBezTo>
                  <a:cubicBezTo>
                    <a:pt x="121" y="7"/>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2"/>
                    <a:pt x="25" y="14"/>
                  </a:cubicBezTo>
                  <a:cubicBezTo>
                    <a:pt x="20" y="7"/>
                    <a:pt x="13" y="0"/>
                    <a:pt x="3" y="0"/>
                  </a:cubicBezTo>
                  <a:cubicBezTo>
                    <a:pt x="2" y="0"/>
                    <a:pt x="0" y="1"/>
                    <a:pt x="0" y="3"/>
                  </a:cubicBezTo>
                  <a:cubicBezTo>
                    <a:pt x="0" y="4"/>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5" name="Freeform 86">
              <a:extLst>
                <a:ext uri="{FF2B5EF4-FFF2-40B4-BE49-F238E27FC236}">
                  <a16:creationId xmlns:a16="http://schemas.microsoft.com/office/drawing/2014/main" id="{02800FC3-C541-470A-8E4F-58E3CA77FA9A}"/>
                </a:ext>
              </a:extLst>
            </p:cNvPr>
            <p:cNvSpPr>
              <a:spLocks/>
            </p:cNvSpPr>
            <p:nvPr/>
          </p:nvSpPr>
          <p:spPr bwMode="auto">
            <a:xfrm>
              <a:off x="3440113" y="5853113"/>
              <a:ext cx="769938" cy="101600"/>
            </a:xfrm>
            <a:custGeom>
              <a:avLst/>
              <a:gdLst>
                <a:gd name="T0" fmla="*/ 3 w 358"/>
                <a:gd name="T1" fmla="*/ 5 h 46"/>
                <a:gd name="T2" fmla="*/ 16 w 358"/>
                <a:gd name="T3" fmla="*/ 10 h 46"/>
                <a:gd name="T4" fmla="*/ 31 w 358"/>
                <a:gd name="T5" fmla="*/ 32 h 46"/>
                <a:gd name="T6" fmla="*/ 53 w 358"/>
                <a:gd name="T7" fmla="*/ 45 h 46"/>
                <a:gd name="T8" fmla="*/ 70 w 358"/>
                <a:gd name="T9" fmla="*/ 38 h 46"/>
                <a:gd name="T10" fmla="*/ 85 w 358"/>
                <a:gd name="T11" fmla="*/ 16 h 46"/>
                <a:gd name="T12" fmla="*/ 103 w 358"/>
                <a:gd name="T13" fmla="*/ 5 h 46"/>
                <a:gd name="T14" fmla="*/ 117 w 358"/>
                <a:gd name="T15" fmla="*/ 10 h 46"/>
                <a:gd name="T16" fmla="*/ 131 w 358"/>
                <a:gd name="T17" fmla="*/ 32 h 46"/>
                <a:gd name="T18" fmla="*/ 154 w 358"/>
                <a:gd name="T19" fmla="*/ 45 h 46"/>
                <a:gd name="T20" fmla="*/ 170 w 358"/>
                <a:gd name="T21" fmla="*/ 38 h 46"/>
                <a:gd name="T22" fmla="*/ 186 w 358"/>
                <a:gd name="T23" fmla="*/ 16 h 46"/>
                <a:gd name="T24" fmla="*/ 204 w 358"/>
                <a:gd name="T25" fmla="*/ 5 h 46"/>
                <a:gd name="T26" fmla="*/ 217 w 358"/>
                <a:gd name="T27" fmla="*/ 10 h 46"/>
                <a:gd name="T28" fmla="*/ 232 w 358"/>
                <a:gd name="T29" fmla="*/ 32 h 46"/>
                <a:gd name="T30" fmla="*/ 254 w 358"/>
                <a:gd name="T31" fmla="*/ 45 h 46"/>
                <a:gd name="T32" fmla="*/ 271 w 358"/>
                <a:gd name="T33" fmla="*/ 38 h 46"/>
                <a:gd name="T34" fmla="*/ 286 w 358"/>
                <a:gd name="T35" fmla="*/ 16 h 46"/>
                <a:gd name="T36" fmla="*/ 305 w 358"/>
                <a:gd name="T37" fmla="*/ 5 h 46"/>
                <a:gd name="T38" fmla="*/ 318 w 358"/>
                <a:gd name="T39" fmla="*/ 10 h 46"/>
                <a:gd name="T40" fmla="*/ 333 w 358"/>
                <a:gd name="T41" fmla="*/ 32 h 46"/>
                <a:gd name="T42" fmla="*/ 355 w 358"/>
                <a:gd name="T43" fmla="*/ 45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2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0"/>
                  </a:cubicBezTo>
                  <a:cubicBezTo>
                    <a:pt x="22" y="16"/>
                    <a:pt x="26" y="24"/>
                    <a:pt x="31" y="32"/>
                  </a:cubicBezTo>
                  <a:cubicBezTo>
                    <a:pt x="36" y="39"/>
                    <a:pt x="43" y="46"/>
                    <a:pt x="53" y="45"/>
                  </a:cubicBezTo>
                  <a:cubicBezTo>
                    <a:pt x="60" y="46"/>
                    <a:pt x="66" y="43"/>
                    <a:pt x="70" y="38"/>
                  </a:cubicBezTo>
                  <a:cubicBezTo>
                    <a:pt x="76" y="32"/>
                    <a:pt x="80" y="23"/>
                    <a:pt x="85" y="16"/>
                  </a:cubicBezTo>
                  <a:cubicBezTo>
                    <a:pt x="90" y="9"/>
                    <a:pt x="95" y="5"/>
                    <a:pt x="103" y="5"/>
                  </a:cubicBezTo>
                  <a:cubicBezTo>
                    <a:pt x="109" y="5"/>
                    <a:pt x="113" y="7"/>
                    <a:pt x="117" y="10"/>
                  </a:cubicBezTo>
                  <a:cubicBezTo>
                    <a:pt x="122" y="16"/>
                    <a:pt x="126" y="24"/>
                    <a:pt x="131" y="32"/>
                  </a:cubicBezTo>
                  <a:cubicBezTo>
                    <a:pt x="137" y="39"/>
                    <a:pt x="143" y="46"/>
                    <a:pt x="154" y="45"/>
                  </a:cubicBezTo>
                  <a:cubicBezTo>
                    <a:pt x="161" y="46"/>
                    <a:pt x="166" y="43"/>
                    <a:pt x="170" y="38"/>
                  </a:cubicBezTo>
                  <a:cubicBezTo>
                    <a:pt x="177" y="32"/>
                    <a:pt x="181" y="23"/>
                    <a:pt x="186" y="16"/>
                  </a:cubicBezTo>
                  <a:cubicBezTo>
                    <a:pt x="191" y="9"/>
                    <a:pt x="196" y="5"/>
                    <a:pt x="204" y="5"/>
                  </a:cubicBezTo>
                  <a:cubicBezTo>
                    <a:pt x="210" y="5"/>
                    <a:pt x="214" y="7"/>
                    <a:pt x="217" y="10"/>
                  </a:cubicBezTo>
                  <a:cubicBezTo>
                    <a:pt x="223" y="16"/>
                    <a:pt x="227" y="24"/>
                    <a:pt x="232" y="32"/>
                  </a:cubicBezTo>
                  <a:cubicBezTo>
                    <a:pt x="237" y="39"/>
                    <a:pt x="244" y="46"/>
                    <a:pt x="254" y="45"/>
                  </a:cubicBezTo>
                  <a:cubicBezTo>
                    <a:pt x="261" y="46"/>
                    <a:pt x="267" y="43"/>
                    <a:pt x="271" y="38"/>
                  </a:cubicBezTo>
                  <a:cubicBezTo>
                    <a:pt x="277" y="32"/>
                    <a:pt x="281" y="23"/>
                    <a:pt x="286" y="16"/>
                  </a:cubicBezTo>
                  <a:cubicBezTo>
                    <a:pt x="291" y="9"/>
                    <a:pt x="296" y="5"/>
                    <a:pt x="305" y="5"/>
                  </a:cubicBezTo>
                  <a:cubicBezTo>
                    <a:pt x="310" y="5"/>
                    <a:pt x="314" y="7"/>
                    <a:pt x="318" y="10"/>
                  </a:cubicBezTo>
                  <a:cubicBezTo>
                    <a:pt x="324" y="16"/>
                    <a:pt x="328" y="24"/>
                    <a:pt x="333" y="32"/>
                  </a:cubicBezTo>
                  <a:cubicBezTo>
                    <a:pt x="338" y="39"/>
                    <a:pt x="345" y="46"/>
                    <a:pt x="355" y="45"/>
                  </a:cubicBezTo>
                  <a:cubicBezTo>
                    <a:pt x="356" y="45"/>
                    <a:pt x="358" y="44"/>
                    <a:pt x="358" y="43"/>
                  </a:cubicBezTo>
                  <a:cubicBezTo>
                    <a:pt x="358" y="42"/>
                    <a:pt x="356" y="41"/>
                    <a:pt x="355" y="41"/>
                  </a:cubicBezTo>
                  <a:cubicBezTo>
                    <a:pt x="350" y="41"/>
                    <a:pt x="346" y="39"/>
                    <a:pt x="342" y="35"/>
                  </a:cubicBezTo>
                  <a:cubicBezTo>
                    <a:pt x="336" y="30"/>
                    <a:pt x="332" y="21"/>
                    <a:pt x="327" y="14"/>
                  </a:cubicBezTo>
                  <a:cubicBezTo>
                    <a:pt x="322" y="6"/>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1"/>
                    <a:pt x="226" y="14"/>
                  </a:cubicBezTo>
                  <a:cubicBezTo>
                    <a:pt x="221" y="6"/>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1"/>
                    <a:pt x="126" y="14"/>
                  </a:cubicBezTo>
                  <a:cubicBezTo>
                    <a:pt x="121" y="6"/>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1"/>
                    <a:pt x="25" y="14"/>
                  </a:cubicBezTo>
                  <a:cubicBezTo>
                    <a:pt x="20" y="6"/>
                    <a:pt x="13" y="0"/>
                    <a:pt x="3" y="0"/>
                  </a:cubicBezTo>
                  <a:cubicBezTo>
                    <a:pt x="2" y="0"/>
                    <a:pt x="0" y="1"/>
                    <a:pt x="0" y="2"/>
                  </a:cubicBezTo>
                  <a:cubicBezTo>
                    <a:pt x="0" y="3"/>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14743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0A8E50D-C7BC-4B21-895D-295BD4943E4B}"/>
              </a:ext>
            </a:extLst>
          </p:cNvPr>
          <p:cNvGrpSpPr/>
          <p:nvPr/>
        </p:nvGrpSpPr>
        <p:grpSpPr>
          <a:xfrm>
            <a:off x="-8876" y="1760975"/>
            <a:ext cx="7478142" cy="4287405"/>
            <a:chOff x="-8876" y="1760975"/>
            <a:chExt cx="7478142" cy="4287405"/>
          </a:xfrm>
        </p:grpSpPr>
        <p:sp>
          <p:nvSpPr>
            <p:cNvPr id="9" name="Rectangle: Rounded Corners 21">
              <a:extLst>
                <a:ext uri="{FF2B5EF4-FFF2-40B4-BE49-F238E27FC236}">
                  <a16:creationId xmlns:a16="http://schemas.microsoft.com/office/drawing/2014/main" id="{82FDA855-2284-433A-AA52-6E8267F1C8FE}"/>
                </a:ext>
              </a:extLst>
            </p:cNvPr>
            <p:cNvSpPr/>
            <p:nvPr/>
          </p:nvSpPr>
          <p:spPr>
            <a:xfrm>
              <a:off x="-8876" y="1760975"/>
              <a:ext cx="787591" cy="216063"/>
            </a:xfrm>
            <a:custGeom>
              <a:avLst/>
              <a:gdLst>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8" fmla="*/ 0 w 2060294"/>
                <a:gd name="connsiteY8" fmla="*/ 216063 h 4604829"/>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8" fmla="*/ 91440 w 2060294"/>
                <a:gd name="connsiteY8" fmla="*/ 307503 h 4604829"/>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0" fmla="*/ 216063 w 2060294"/>
                <a:gd name="connsiteY0" fmla="*/ 0 h 4604829"/>
                <a:gd name="connsiteX1" fmla="*/ 1844231 w 2060294"/>
                <a:gd name="connsiteY1" fmla="*/ 0 h 4604829"/>
                <a:gd name="connsiteX2" fmla="*/ 2060294 w 2060294"/>
                <a:gd name="connsiteY2" fmla="*/ 216063 h 4604829"/>
                <a:gd name="connsiteX3" fmla="*/ 2060294 w 2060294"/>
                <a:gd name="connsiteY3" fmla="*/ 4388766 h 4604829"/>
                <a:gd name="connsiteX4" fmla="*/ 1844231 w 2060294"/>
                <a:gd name="connsiteY4" fmla="*/ 4604829 h 4604829"/>
                <a:gd name="connsiteX5" fmla="*/ 216063 w 2060294"/>
                <a:gd name="connsiteY5" fmla="*/ 4604829 h 4604829"/>
                <a:gd name="connsiteX6" fmla="*/ 0 w 2060294"/>
                <a:gd name="connsiteY6" fmla="*/ 4388766 h 4604829"/>
                <a:gd name="connsiteX0" fmla="*/ 225814 w 2070045"/>
                <a:gd name="connsiteY0" fmla="*/ 0 h 4604829"/>
                <a:gd name="connsiteX1" fmla="*/ 1853982 w 2070045"/>
                <a:gd name="connsiteY1" fmla="*/ 0 h 4604829"/>
                <a:gd name="connsiteX2" fmla="*/ 2070045 w 2070045"/>
                <a:gd name="connsiteY2" fmla="*/ 216063 h 4604829"/>
                <a:gd name="connsiteX3" fmla="*/ 2070045 w 2070045"/>
                <a:gd name="connsiteY3" fmla="*/ 4388766 h 4604829"/>
                <a:gd name="connsiteX4" fmla="*/ 1853982 w 2070045"/>
                <a:gd name="connsiteY4" fmla="*/ 4604829 h 4604829"/>
                <a:gd name="connsiteX5" fmla="*/ 225814 w 2070045"/>
                <a:gd name="connsiteY5" fmla="*/ 4604829 h 4604829"/>
                <a:gd name="connsiteX6" fmla="*/ 18114 w 2070045"/>
                <a:gd name="connsiteY6" fmla="*/ 4477778 h 4604829"/>
                <a:gd name="connsiteX7" fmla="*/ 9751 w 2070045"/>
                <a:gd name="connsiteY7" fmla="*/ 4388766 h 4604829"/>
                <a:gd name="connsiteX0" fmla="*/ 207700 w 2051931"/>
                <a:gd name="connsiteY0" fmla="*/ 0 h 4604829"/>
                <a:gd name="connsiteX1" fmla="*/ 1835868 w 2051931"/>
                <a:gd name="connsiteY1" fmla="*/ 0 h 4604829"/>
                <a:gd name="connsiteX2" fmla="*/ 2051931 w 2051931"/>
                <a:gd name="connsiteY2" fmla="*/ 216063 h 4604829"/>
                <a:gd name="connsiteX3" fmla="*/ 2051931 w 2051931"/>
                <a:gd name="connsiteY3" fmla="*/ 4388766 h 4604829"/>
                <a:gd name="connsiteX4" fmla="*/ 1835868 w 2051931"/>
                <a:gd name="connsiteY4" fmla="*/ 4604829 h 4604829"/>
                <a:gd name="connsiteX5" fmla="*/ 207700 w 2051931"/>
                <a:gd name="connsiteY5" fmla="*/ 4604829 h 4604829"/>
                <a:gd name="connsiteX6" fmla="*/ 0 w 2051931"/>
                <a:gd name="connsiteY6" fmla="*/ 4477778 h 4604829"/>
                <a:gd name="connsiteX0" fmla="*/ 0 w 1844231"/>
                <a:gd name="connsiteY0" fmla="*/ 0 h 4604829"/>
                <a:gd name="connsiteX1" fmla="*/ 1628168 w 1844231"/>
                <a:gd name="connsiteY1" fmla="*/ 0 h 4604829"/>
                <a:gd name="connsiteX2" fmla="*/ 1844231 w 1844231"/>
                <a:gd name="connsiteY2" fmla="*/ 216063 h 4604829"/>
                <a:gd name="connsiteX3" fmla="*/ 1844231 w 1844231"/>
                <a:gd name="connsiteY3" fmla="*/ 4388766 h 4604829"/>
                <a:gd name="connsiteX4" fmla="*/ 1628168 w 1844231"/>
                <a:gd name="connsiteY4" fmla="*/ 4604829 h 4604829"/>
                <a:gd name="connsiteX5" fmla="*/ 0 w 1844231"/>
                <a:gd name="connsiteY5" fmla="*/ 4604829 h 4604829"/>
                <a:gd name="connsiteX0" fmla="*/ 0 w 1844231"/>
                <a:gd name="connsiteY0" fmla="*/ 0 h 4604829"/>
                <a:gd name="connsiteX1" fmla="*/ 1628168 w 1844231"/>
                <a:gd name="connsiteY1" fmla="*/ 0 h 4604829"/>
                <a:gd name="connsiteX2" fmla="*/ 1844231 w 1844231"/>
                <a:gd name="connsiteY2" fmla="*/ 216063 h 4604829"/>
                <a:gd name="connsiteX3" fmla="*/ 1844231 w 1844231"/>
                <a:gd name="connsiteY3" fmla="*/ 4388766 h 4604829"/>
                <a:gd name="connsiteX4" fmla="*/ 1628168 w 1844231"/>
                <a:gd name="connsiteY4" fmla="*/ 4604829 h 4604829"/>
                <a:gd name="connsiteX0" fmla="*/ 0 w 1844231"/>
                <a:gd name="connsiteY0" fmla="*/ 0 h 4388766"/>
                <a:gd name="connsiteX1" fmla="*/ 1628168 w 1844231"/>
                <a:gd name="connsiteY1" fmla="*/ 0 h 4388766"/>
                <a:gd name="connsiteX2" fmla="*/ 1844231 w 1844231"/>
                <a:gd name="connsiteY2" fmla="*/ 216063 h 4388766"/>
                <a:gd name="connsiteX3" fmla="*/ 1844231 w 1844231"/>
                <a:gd name="connsiteY3" fmla="*/ 4388766 h 4388766"/>
                <a:gd name="connsiteX0" fmla="*/ 0 w 1844231"/>
                <a:gd name="connsiteY0" fmla="*/ 0 h 216063"/>
                <a:gd name="connsiteX1" fmla="*/ 1628168 w 1844231"/>
                <a:gd name="connsiteY1" fmla="*/ 0 h 216063"/>
                <a:gd name="connsiteX2" fmla="*/ 1844231 w 1844231"/>
                <a:gd name="connsiteY2" fmla="*/ 216063 h 216063"/>
                <a:gd name="connsiteX0" fmla="*/ 0 w 787591"/>
                <a:gd name="connsiteY0" fmla="*/ 0 h 216063"/>
                <a:gd name="connsiteX1" fmla="*/ 571528 w 787591"/>
                <a:gd name="connsiteY1" fmla="*/ 0 h 216063"/>
                <a:gd name="connsiteX2" fmla="*/ 787591 w 787591"/>
                <a:gd name="connsiteY2" fmla="*/ 216063 h 216063"/>
              </a:gdLst>
              <a:ahLst/>
              <a:cxnLst>
                <a:cxn ang="0">
                  <a:pos x="connsiteX0" y="connsiteY0"/>
                </a:cxn>
                <a:cxn ang="0">
                  <a:pos x="connsiteX1" y="connsiteY1"/>
                </a:cxn>
                <a:cxn ang="0">
                  <a:pos x="connsiteX2" y="connsiteY2"/>
                </a:cxn>
              </a:cxnLst>
              <a:rect l="l" t="t" r="r" b="b"/>
              <a:pathLst>
                <a:path w="787591" h="216063">
                  <a:moveTo>
                    <a:pt x="0" y="0"/>
                  </a:moveTo>
                  <a:lnTo>
                    <a:pt x="571528" y="0"/>
                  </a:lnTo>
                  <a:cubicBezTo>
                    <a:pt x="690856" y="0"/>
                    <a:pt x="787591" y="96735"/>
                    <a:pt x="787591" y="216063"/>
                  </a:cubicBezTo>
                </a:path>
              </a:pathLst>
            </a:custGeom>
            <a:noFill/>
            <a:ln w="63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Rounded Corners 21">
              <a:extLst>
                <a:ext uri="{FF2B5EF4-FFF2-40B4-BE49-F238E27FC236}">
                  <a16:creationId xmlns:a16="http://schemas.microsoft.com/office/drawing/2014/main" id="{3687B181-5AA8-45CD-A83D-FF420DC53CD4}"/>
                </a:ext>
              </a:extLst>
            </p:cNvPr>
            <p:cNvSpPr/>
            <p:nvPr/>
          </p:nvSpPr>
          <p:spPr>
            <a:xfrm flipH="1" flipV="1">
              <a:off x="778715" y="5832317"/>
              <a:ext cx="1844231" cy="216063"/>
            </a:xfrm>
            <a:custGeom>
              <a:avLst/>
              <a:gdLst>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8" fmla="*/ 0 w 2060294"/>
                <a:gd name="connsiteY8" fmla="*/ 216063 h 4604829"/>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8" fmla="*/ 91440 w 2060294"/>
                <a:gd name="connsiteY8" fmla="*/ 307503 h 4604829"/>
                <a:gd name="connsiteX0" fmla="*/ 0 w 2060294"/>
                <a:gd name="connsiteY0" fmla="*/ 216063 h 4604829"/>
                <a:gd name="connsiteX1" fmla="*/ 216063 w 2060294"/>
                <a:gd name="connsiteY1" fmla="*/ 0 h 4604829"/>
                <a:gd name="connsiteX2" fmla="*/ 1844231 w 2060294"/>
                <a:gd name="connsiteY2" fmla="*/ 0 h 4604829"/>
                <a:gd name="connsiteX3" fmla="*/ 2060294 w 2060294"/>
                <a:gd name="connsiteY3" fmla="*/ 216063 h 4604829"/>
                <a:gd name="connsiteX4" fmla="*/ 2060294 w 2060294"/>
                <a:gd name="connsiteY4" fmla="*/ 4388766 h 4604829"/>
                <a:gd name="connsiteX5" fmla="*/ 1844231 w 2060294"/>
                <a:gd name="connsiteY5" fmla="*/ 4604829 h 4604829"/>
                <a:gd name="connsiteX6" fmla="*/ 216063 w 2060294"/>
                <a:gd name="connsiteY6" fmla="*/ 4604829 h 4604829"/>
                <a:gd name="connsiteX7" fmla="*/ 0 w 2060294"/>
                <a:gd name="connsiteY7" fmla="*/ 4388766 h 4604829"/>
                <a:gd name="connsiteX0" fmla="*/ 216063 w 2060294"/>
                <a:gd name="connsiteY0" fmla="*/ 0 h 4604829"/>
                <a:gd name="connsiteX1" fmla="*/ 1844231 w 2060294"/>
                <a:gd name="connsiteY1" fmla="*/ 0 h 4604829"/>
                <a:gd name="connsiteX2" fmla="*/ 2060294 w 2060294"/>
                <a:gd name="connsiteY2" fmla="*/ 216063 h 4604829"/>
                <a:gd name="connsiteX3" fmla="*/ 2060294 w 2060294"/>
                <a:gd name="connsiteY3" fmla="*/ 4388766 h 4604829"/>
                <a:gd name="connsiteX4" fmla="*/ 1844231 w 2060294"/>
                <a:gd name="connsiteY4" fmla="*/ 4604829 h 4604829"/>
                <a:gd name="connsiteX5" fmla="*/ 216063 w 2060294"/>
                <a:gd name="connsiteY5" fmla="*/ 4604829 h 4604829"/>
                <a:gd name="connsiteX6" fmla="*/ 0 w 2060294"/>
                <a:gd name="connsiteY6" fmla="*/ 4388766 h 4604829"/>
                <a:gd name="connsiteX0" fmla="*/ 225814 w 2070045"/>
                <a:gd name="connsiteY0" fmla="*/ 0 h 4604829"/>
                <a:gd name="connsiteX1" fmla="*/ 1853982 w 2070045"/>
                <a:gd name="connsiteY1" fmla="*/ 0 h 4604829"/>
                <a:gd name="connsiteX2" fmla="*/ 2070045 w 2070045"/>
                <a:gd name="connsiteY2" fmla="*/ 216063 h 4604829"/>
                <a:gd name="connsiteX3" fmla="*/ 2070045 w 2070045"/>
                <a:gd name="connsiteY3" fmla="*/ 4388766 h 4604829"/>
                <a:gd name="connsiteX4" fmla="*/ 1853982 w 2070045"/>
                <a:gd name="connsiteY4" fmla="*/ 4604829 h 4604829"/>
                <a:gd name="connsiteX5" fmla="*/ 225814 w 2070045"/>
                <a:gd name="connsiteY5" fmla="*/ 4604829 h 4604829"/>
                <a:gd name="connsiteX6" fmla="*/ 18114 w 2070045"/>
                <a:gd name="connsiteY6" fmla="*/ 4477778 h 4604829"/>
                <a:gd name="connsiteX7" fmla="*/ 9751 w 2070045"/>
                <a:gd name="connsiteY7" fmla="*/ 4388766 h 4604829"/>
                <a:gd name="connsiteX0" fmla="*/ 207700 w 2051931"/>
                <a:gd name="connsiteY0" fmla="*/ 0 h 4604829"/>
                <a:gd name="connsiteX1" fmla="*/ 1835868 w 2051931"/>
                <a:gd name="connsiteY1" fmla="*/ 0 h 4604829"/>
                <a:gd name="connsiteX2" fmla="*/ 2051931 w 2051931"/>
                <a:gd name="connsiteY2" fmla="*/ 216063 h 4604829"/>
                <a:gd name="connsiteX3" fmla="*/ 2051931 w 2051931"/>
                <a:gd name="connsiteY3" fmla="*/ 4388766 h 4604829"/>
                <a:gd name="connsiteX4" fmla="*/ 1835868 w 2051931"/>
                <a:gd name="connsiteY4" fmla="*/ 4604829 h 4604829"/>
                <a:gd name="connsiteX5" fmla="*/ 207700 w 2051931"/>
                <a:gd name="connsiteY5" fmla="*/ 4604829 h 4604829"/>
                <a:gd name="connsiteX6" fmla="*/ 0 w 2051931"/>
                <a:gd name="connsiteY6" fmla="*/ 4477778 h 4604829"/>
                <a:gd name="connsiteX0" fmla="*/ 0 w 1844231"/>
                <a:gd name="connsiteY0" fmla="*/ 0 h 4604829"/>
                <a:gd name="connsiteX1" fmla="*/ 1628168 w 1844231"/>
                <a:gd name="connsiteY1" fmla="*/ 0 h 4604829"/>
                <a:gd name="connsiteX2" fmla="*/ 1844231 w 1844231"/>
                <a:gd name="connsiteY2" fmla="*/ 216063 h 4604829"/>
                <a:gd name="connsiteX3" fmla="*/ 1844231 w 1844231"/>
                <a:gd name="connsiteY3" fmla="*/ 4388766 h 4604829"/>
                <a:gd name="connsiteX4" fmla="*/ 1628168 w 1844231"/>
                <a:gd name="connsiteY4" fmla="*/ 4604829 h 4604829"/>
                <a:gd name="connsiteX5" fmla="*/ 0 w 1844231"/>
                <a:gd name="connsiteY5" fmla="*/ 4604829 h 4604829"/>
                <a:gd name="connsiteX0" fmla="*/ 0 w 1844231"/>
                <a:gd name="connsiteY0" fmla="*/ 0 h 4604829"/>
                <a:gd name="connsiteX1" fmla="*/ 1628168 w 1844231"/>
                <a:gd name="connsiteY1" fmla="*/ 0 h 4604829"/>
                <a:gd name="connsiteX2" fmla="*/ 1844231 w 1844231"/>
                <a:gd name="connsiteY2" fmla="*/ 216063 h 4604829"/>
                <a:gd name="connsiteX3" fmla="*/ 1844231 w 1844231"/>
                <a:gd name="connsiteY3" fmla="*/ 4388766 h 4604829"/>
                <a:gd name="connsiteX4" fmla="*/ 1628168 w 1844231"/>
                <a:gd name="connsiteY4" fmla="*/ 4604829 h 4604829"/>
                <a:gd name="connsiteX0" fmla="*/ 0 w 1844231"/>
                <a:gd name="connsiteY0" fmla="*/ 0 h 4388766"/>
                <a:gd name="connsiteX1" fmla="*/ 1628168 w 1844231"/>
                <a:gd name="connsiteY1" fmla="*/ 0 h 4388766"/>
                <a:gd name="connsiteX2" fmla="*/ 1844231 w 1844231"/>
                <a:gd name="connsiteY2" fmla="*/ 216063 h 4388766"/>
                <a:gd name="connsiteX3" fmla="*/ 1844231 w 1844231"/>
                <a:gd name="connsiteY3" fmla="*/ 4388766 h 4388766"/>
                <a:gd name="connsiteX0" fmla="*/ 0 w 1844231"/>
                <a:gd name="connsiteY0" fmla="*/ 0 h 216063"/>
                <a:gd name="connsiteX1" fmla="*/ 1628168 w 1844231"/>
                <a:gd name="connsiteY1" fmla="*/ 0 h 216063"/>
                <a:gd name="connsiteX2" fmla="*/ 1844231 w 1844231"/>
                <a:gd name="connsiteY2" fmla="*/ 216063 h 216063"/>
              </a:gdLst>
              <a:ahLst/>
              <a:cxnLst>
                <a:cxn ang="0">
                  <a:pos x="connsiteX0" y="connsiteY0"/>
                </a:cxn>
                <a:cxn ang="0">
                  <a:pos x="connsiteX1" y="connsiteY1"/>
                </a:cxn>
                <a:cxn ang="0">
                  <a:pos x="connsiteX2" y="connsiteY2"/>
                </a:cxn>
              </a:cxnLst>
              <a:rect l="l" t="t" r="r" b="b"/>
              <a:pathLst>
                <a:path w="1844231" h="216063">
                  <a:moveTo>
                    <a:pt x="0" y="0"/>
                  </a:moveTo>
                  <a:lnTo>
                    <a:pt x="1628168" y="0"/>
                  </a:lnTo>
                  <a:cubicBezTo>
                    <a:pt x="1747496" y="0"/>
                    <a:pt x="1844231" y="96735"/>
                    <a:pt x="1844231" y="216063"/>
                  </a:cubicBezTo>
                </a:path>
              </a:pathLst>
            </a:custGeom>
            <a:noFill/>
            <a:ln w="63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 name="Straight Connector 10">
              <a:extLst>
                <a:ext uri="{FF2B5EF4-FFF2-40B4-BE49-F238E27FC236}">
                  <a16:creationId xmlns:a16="http://schemas.microsoft.com/office/drawing/2014/main" id="{46E9DF0C-0B72-4C42-B96C-D6D3884B7423}"/>
                </a:ext>
              </a:extLst>
            </p:cNvPr>
            <p:cNvCxnSpPr>
              <a:cxnSpLocks/>
              <a:stCxn id="9" idx="2"/>
              <a:endCxn id="10" idx="2"/>
            </p:cNvCxnSpPr>
            <p:nvPr/>
          </p:nvCxnSpPr>
          <p:spPr>
            <a:xfrm>
              <a:off x="778715" y="1977038"/>
              <a:ext cx="0" cy="3855279"/>
            </a:xfrm>
            <a:prstGeom prst="line">
              <a:avLst/>
            </a:prstGeom>
            <a:noFill/>
            <a:ln w="63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4E3358BF-3CCF-4EB9-85D2-77530FCE9F24}"/>
                </a:ext>
              </a:extLst>
            </p:cNvPr>
            <p:cNvCxnSpPr>
              <a:cxnSpLocks/>
              <a:endCxn id="10" idx="0"/>
            </p:cNvCxnSpPr>
            <p:nvPr/>
          </p:nvCxnSpPr>
          <p:spPr>
            <a:xfrm flipH="1">
              <a:off x="2622946" y="6048380"/>
              <a:ext cx="4846320" cy="0"/>
            </a:xfrm>
            <a:prstGeom prst="line">
              <a:avLst/>
            </a:prstGeom>
            <a:noFill/>
            <a:ln w="63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16" name="Group 15">
            <a:extLst>
              <a:ext uri="{FF2B5EF4-FFF2-40B4-BE49-F238E27FC236}">
                <a16:creationId xmlns:a16="http://schemas.microsoft.com/office/drawing/2014/main" id="{DC4B92FE-C19B-4487-90D9-B70906455099}"/>
              </a:ext>
            </a:extLst>
          </p:cNvPr>
          <p:cNvGrpSpPr/>
          <p:nvPr/>
        </p:nvGrpSpPr>
        <p:grpSpPr>
          <a:xfrm>
            <a:off x="7366005" y="2670407"/>
            <a:ext cx="4825995" cy="4187594"/>
            <a:chOff x="7573710" y="2809055"/>
            <a:chExt cx="3733163" cy="3239326"/>
          </a:xfrm>
        </p:grpSpPr>
        <p:pic>
          <p:nvPicPr>
            <p:cNvPr id="30" name="Picture 29" descr="A picture containing dark, black, fireworks, sitting&#10;&#10;Description generated with very high confidence">
              <a:extLst>
                <a:ext uri="{FF2B5EF4-FFF2-40B4-BE49-F238E27FC236}">
                  <a16:creationId xmlns:a16="http://schemas.microsoft.com/office/drawing/2014/main" id="{F87052AA-D426-462F-BE49-E5948CB1AD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701885" y="2894396"/>
              <a:ext cx="1534072" cy="1471168"/>
            </a:xfrm>
            <a:prstGeom prst="rect">
              <a:avLst/>
            </a:prstGeom>
          </p:spPr>
        </p:pic>
        <p:sp>
          <p:nvSpPr>
            <p:cNvPr id="18" name="Freeform: Shape 17">
              <a:extLst>
                <a:ext uri="{FF2B5EF4-FFF2-40B4-BE49-F238E27FC236}">
                  <a16:creationId xmlns:a16="http://schemas.microsoft.com/office/drawing/2014/main" id="{EB0D39CA-969A-4657-910B-748C0FE3B59A}"/>
                </a:ext>
              </a:extLst>
            </p:cNvPr>
            <p:cNvSpPr>
              <a:spLocks/>
            </p:cNvSpPr>
            <p:nvPr/>
          </p:nvSpPr>
          <p:spPr bwMode="auto">
            <a:xfrm>
              <a:off x="8861722" y="3576576"/>
              <a:ext cx="2060534" cy="2090539"/>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bg2">
                <a:lumMod val="95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pic>
          <p:nvPicPr>
            <p:cNvPr id="17" name="Picture 16" descr="A person sitting in front of a computer&#10;&#10;Description automatically generated">
              <a:extLst>
                <a:ext uri="{FF2B5EF4-FFF2-40B4-BE49-F238E27FC236}">
                  <a16:creationId xmlns:a16="http://schemas.microsoft.com/office/drawing/2014/main" id="{060969AF-E115-4A00-ADE2-667E834AE6A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042032" y="3792783"/>
              <a:ext cx="3264841" cy="2255598"/>
            </a:xfrm>
            <a:prstGeom prst="rect">
              <a:avLst/>
            </a:prstGeom>
          </p:spPr>
        </p:pic>
        <p:grpSp>
          <p:nvGrpSpPr>
            <p:cNvPr id="19" name="Group 18">
              <a:extLst>
                <a:ext uri="{FF2B5EF4-FFF2-40B4-BE49-F238E27FC236}">
                  <a16:creationId xmlns:a16="http://schemas.microsoft.com/office/drawing/2014/main" id="{94A215E8-103D-4831-8C5B-AABC286A07C7}"/>
                </a:ext>
              </a:extLst>
            </p:cNvPr>
            <p:cNvGrpSpPr/>
            <p:nvPr/>
          </p:nvGrpSpPr>
          <p:grpSpPr>
            <a:xfrm>
              <a:off x="7573710" y="2809055"/>
              <a:ext cx="3134491" cy="3091551"/>
              <a:chOff x="682625" y="3200400"/>
              <a:chExt cx="927100" cy="914400"/>
            </a:xfrm>
          </p:grpSpPr>
          <p:sp>
            <p:nvSpPr>
              <p:cNvPr id="20" name="Freeform 36">
                <a:extLst>
                  <a:ext uri="{FF2B5EF4-FFF2-40B4-BE49-F238E27FC236}">
                    <a16:creationId xmlns:a16="http://schemas.microsoft.com/office/drawing/2014/main" id="{A2E2AD80-B5E0-4341-B34A-C62FEB622C8B}"/>
                  </a:ext>
                </a:extLst>
              </p:cNvPr>
              <p:cNvSpPr>
                <a:spLocks/>
              </p:cNvSpPr>
              <p:nvPr/>
            </p:nvSpPr>
            <p:spPr bwMode="auto">
              <a:xfrm>
                <a:off x="693738" y="3660775"/>
                <a:ext cx="517525" cy="454025"/>
              </a:xfrm>
              <a:custGeom>
                <a:avLst/>
                <a:gdLst>
                  <a:gd name="T0" fmla="*/ 244 w 326"/>
                  <a:gd name="T1" fmla="*/ 0 h 286"/>
                  <a:gd name="T2" fmla="*/ 81 w 326"/>
                  <a:gd name="T3" fmla="*/ 0 h 286"/>
                  <a:gd name="T4" fmla="*/ 0 w 326"/>
                  <a:gd name="T5" fmla="*/ 143 h 286"/>
                  <a:gd name="T6" fmla="*/ 81 w 326"/>
                  <a:gd name="T7" fmla="*/ 286 h 286"/>
                  <a:gd name="T8" fmla="*/ 244 w 326"/>
                  <a:gd name="T9" fmla="*/ 286 h 286"/>
                  <a:gd name="T10" fmla="*/ 326 w 326"/>
                  <a:gd name="T11" fmla="*/ 143 h 286"/>
                  <a:gd name="T12" fmla="*/ 244 w 326"/>
                  <a:gd name="T13" fmla="*/ 0 h 286"/>
                </a:gdLst>
                <a:ahLst/>
                <a:cxnLst>
                  <a:cxn ang="0">
                    <a:pos x="T0" y="T1"/>
                  </a:cxn>
                  <a:cxn ang="0">
                    <a:pos x="T2" y="T3"/>
                  </a:cxn>
                  <a:cxn ang="0">
                    <a:pos x="T4" y="T5"/>
                  </a:cxn>
                  <a:cxn ang="0">
                    <a:pos x="T6" y="T7"/>
                  </a:cxn>
                  <a:cxn ang="0">
                    <a:pos x="T8" y="T9"/>
                  </a:cxn>
                  <a:cxn ang="0">
                    <a:pos x="T10" y="T11"/>
                  </a:cxn>
                  <a:cxn ang="0">
                    <a:pos x="T12" y="T13"/>
                  </a:cxn>
                </a:cxnLst>
                <a:rect l="0" t="0" r="r" b="b"/>
                <a:pathLst>
                  <a:path w="326" h="286">
                    <a:moveTo>
                      <a:pt x="244" y="0"/>
                    </a:moveTo>
                    <a:lnTo>
                      <a:pt x="81" y="0"/>
                    </a:lnTo>
                    <a:lnTo>
                      <a:pt x="0" y="143"/>
                    </a:lnTo>
                    <a:lnTo>
                      <a:pt x="81" y="286"/>
                    </a:lnTo>
                    <a:lnTo>
                      <a:pt x="244" y="286"/>
                    </a:lnTo>
                    <a:lnTo>
                      <a:pt x="326" y="143"/>
                    </a:lnTo>
                    <a:lnTo>
                      <a:pt x="244" y="0"/>
                    </a:lnTo>
                    <a:close/>
                  </a:path>
                </a:pathLst>
              </a:custGeom>
              <a:solidFill>
                <a:srgbClr val="6CBD4B">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37">
                <a:extLst>
                  <a:ext uri="{FF2B5EF4-FFF2-40B4-BE49-F238E27FC236}">
                    <a16:creationId xmlns:a16="http://schemas.microsoft.com/office/drawing/2014/main" id="{81D40E43-7E96-4BAF-8696-1DEEDD784332}"/>
                  </a:ext>
                </a:extLst>
              </p:cNvPr>
              <p:cNvSpPr>
                <a:spLocks noEditPoints="1"/>
              </p:cNvSpPr>
              <p:nvPr/>
            </p:nvSpPr>
            <p:spPr bwMode="auto">
              <a:xfrm>
                <a:off x="682625" y="3200400"/>
                <a:ext cx="539750" cy="468313"/>
              </a:xfrm>
              <a:custGeom>
                <a:avLst/>
                <a:gdLst>
                  <a:gd name="T0" fmla="*/ 254 w 340"/>
                  <a:gd name="T1" fmla="*/ 295 h 295"/>
                  <a:gd name="T2" fmla="*/ 86 w 340"/>
                  <a:gd name="T3" fmla="*/ 295 h 295"/>
                  <a:gd name="T4" fmla="*/ 0 w 340"/>
                  <a:gd name="T5" fmla="*/ 148 h 295"/>
                  <a:gd name="T6" fmla="*/ 86 w 340"/>
                  <a:gd name="T7" fmla="*/ 0 h 295"/>
                  <a:gd name="T8" fmla="*/ 254 w 340"/>
                  <a:gd name="T9" fmla="*/ 0 h 295"/>
                  <a:gd name="T10" fmla="*/ 340 w 340"/>
                  <a:gd name="T11" fmla="*/ 148 h 295"/>
                  <a:gd name="T12" fmla="*/ 254 w 340"/>
                  <a:gd name="T13" fmla="*/ 295 h 295"/>
                  <a:gd name="T14" fmla="*/ 91 w 340"/>
                  <a:gd name="T15" fmla="*/ 286 h 295"/>
                  <a:gd name="T16" fmla="*/ 249 w 340"/>
                  <a:gd name="T17" fmla="*/ 286 h 295"/>
                  <a:gd name="T18" fmla="*/ 328 w 340"/>
                  <a:gd name="T19" fmla="*/ 148 h 295"/>
                  <a:gd name="T20" fmla="*/ 249 w 340"/>
                  <a:gd name="T21" fmla="*/ 10 h 295"/>
                  <a:gd name="T22" fmla="*/ 91 w 340"/>
                  <a:gd name="T23" fmla="*/ 10 h 295"/>
                  <a:gd name="T24" fmla="*/ 12 w 340"/>
                  <a:gd name="T25" fmla="*/ 148 h 295"/>
                  <a:gd name="T26" fmla="*/ 91 w 340"/>
                  <a:gd name="T27" fmla="*/ 28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0" h="295">
                    <a:moveTo>
                      <a:pt x="254" y="295"/>
                    </a:moveTo>
                    <a:lnTo>
                      <a:pt x="86" y="295"/>
                    </a:lnTo>
                    <a:lnTo>
                      <a:pt x="0" y="148"/>
                    </a:lnTo>
                    <a:lnTo>
                      <a:pt x="86" y="0"/>
                    </a:lnTo>
                    <a:lnTo>
                      <a:pt x="254" y="0"/>
                    </a:lnTo>
                    <a:lnTo>
                      <a:pt x="340" y="148"/>
                    </a:lnTo>
                    <a:lnTo>
                      <a:pt x="254" y="295"/>
                    </a:lnTo>
                    <a:close/>
                    <a:moveTo>
                      <a:pt x="91" y="286"/>
                    </a:moveTo>
                    <a:lnTo>
                      <a:pt x="249" y="286"/>
                    </a:lnTo>
                    <a:lnTo>
                      <a:pt x="328" y="148"/>
                    </a:lnTo>
                    <a:lnTo>
                      <a:pt x="249" y="10"/>
                    </a:lnTo>
                    <a:lnTo>
                      <a:pt x="91" y="10"/>
                    </a:lnTo>
                    <a:lnTo>
                      <a:pt x="12" y="148"/>
                    </a:lnTo>
                    <a:lnTo>
                      <a:pt x="91" y="286"/>
                    </a:lnTo>
                    <a:close/>
                  </a:path>
                </a:pathLst>
              </a:custGeom>
              <a:solidFill>
                <a:srgbClr val="6CBD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39">
                <a:extLst>
                  <a:ext uri="{FF2B5EF4-FFF2-40B4-BE49-F238E27FC236}">
                    <a16:creationId xmlns:a16="http://schemas.microsoft.com/office/drawing/2014/main" id="{F9B2FF0C-4E0E-47E5-80A6-E43CE7CA26EE}"/>
                  </a:ext>
                </a:extLst>
              </p:cNvPr>
              <p:cNvSpPr>
                <a:spLocks noEditPoints="1"/>
              </p:cNvSpPr>
              <p:nvPr/>
            </p:nvSpPr>
            <p:spPr bwMode="auto">
              <a:xfrm>
                <a:off x="1069975" y="3427413"/>
                <a:ext cx="539750" cy="468313"/>
              </a:xfrm>
              <a:custGeom>
                <a:avLst/>
                <a:gdLst>
                  <a:gd name="T0" fmla="*/ 254 w 340"/>
                  <a:gd name="T1" fmla="*/ 295 h 295"/>
                  <a:gd name="T2" fmla="*/ 86 w 340"/>
                  <a:gd name="T3" fmla="*/ 295 h 295"/>
                  <a:gd name="T4" fmla="*/ 0 w 340"/>
                  <a:gd name="T5" fmla="*/ 147 h 295"/>
                  <a:gd name="T6" fmla="*/ 86 w 340"/>
                  <a:gd name="T7" fmla="*/ 0 h 295"/>
                  <a:gd name="T8" fmla="*/ 254 w 340"/>
                  <a:gd name="T9" fmla="*/ 0 h 295"/>
                  <a:gd name="T10" fmla="*/ 340 w 340"/>
                  <a:gd name="T11" fmla="*/ 147 h 295"/>
                  <a:gd name="T12" fmla="*/ 254 w 340"/>
                  <a:gd name="T13" fmla="*/ 295 h 295"/>
                  <a:gd name="T14" fmla="*/ 91 w 340"/>
                  <a:gd name="T15" fmla="*/ 285 h 295"/>
                  <a:gd name="T16" fmla="*/ 249 w 340"/>
                  <a:gd name="T17" fmla="*/ 285 h 295"/>
                  <a:gd name="T18" fmla="*/ 328 w 340"/>
                  <a:gd name="T19" fmla="*/ 147 h 295"/>
                  <a:gd name="T20" fmla="*/ 249 w 340"/>
                  <a:gd name="T21" fmla="*/ 10 h 295"/>
                  <a:gd name="T22" fmla="*/ 91 w 340"/>
                  <a:gd name="T23" fmla="*/ 10 h 295"/>
                  <a:gd name="T24" fmla="*/ 12 w 340"/>
                  <a:gd name="T25" fmla="*/ 147 h 295"/>
                  <a:gd name="T26" fmla="*/ 91 w 340"/>
                  <a:gd name="T27" fmla="*/ 28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0" h="295">
                    <a:moveTo>
                      <a:pt x="254" y="295"/>
                    </a:moveTo>
                    <a:lnTo>
                      <a:pt x="86" y="295"/>
                    </a:lnTo>
                    <a:lnTo>
                      <a:pt x="0" y="147"/>
                    </a:lnTo>
                    <a:lnTo>
                      <a:pt x="86" y="0"/>
                    </a:lnTo>
                    <a:lnTo>
                      <a:pt x="254" y="0"/>
                    </a:lnTo>
                    <a:lnTo>
                      <a:pt x="340" y="147"/>
                    </a:lnTo>
                    <a:lnTo>
                      <a:pt x="254" y="295"/>
                    </a:lnTo>
                    <a:close/>
                    <a:moveTo>
                      <a:pt x="91" y="285"/>
                    </a:moveTo>
                    <a:lnTo>
                      <a:pt x="249" y="285"/>
                    </a:lnTo>
                    <a:lnTo>
                      <a:pt x="328" y="147"/>
                    </a:lnTo>
                    <a:lnTo>
                      <a:pt x="249" y="10"/>
                    </a:lnTo>
                    <a:lnTo>
                      <a:pt x="91" y="10"/>
                    </a:lnTo>
                    <a:lnTo>
                      <a:pt x="12" y="147"/>
                    </a:lnTo>
                    <a:lnTo>
                      <a:pt x="91" y="285"/>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41">
                <a:extLst>
                  <a:ext uri="{FF2B5EF4-FFF2-40B4-BE49-F238E27FC236}">
                    <a16:creationId xmlns:a16="http://schemas.microsoft.com/office/drawing/2014/main" id="{5EBC1983-A9F2-4A37-8B30-9CE0CC803D16}"/>
                  </a:ext>
                </a:extLst>
              </p:cNvPr>
              <p:cNvSpPr>
                <a:spLocks noEditPoints="1"/>
              </p:cNvSpPr>
              <p:nvPr/>
            </p:nvSpPr>
            <p:spPr bwMode="auto">
              <a:xfrm>
                <a:off x="682625" y="3200400"/>
                <a:ext cx="539750" cy="468313"/>
              </a:xfrm>
              <a:custGeom>
                <a:avLst/>
                <a:gdLst>
                  <a:gd name="T0" fmla="*/ 254 w 340"/>
                  <a:gd name="T1" fmla="*/ 295 h 295"/>
                  <a:gd name="T2" fmla="*/ 86 w 340"/>
                  <a:gd name="T3" fmla="*/ 295 h 295"/>
                  <a:gd name="T4" fmla="*/ 0 w 340"/>
                  <a:gd name="T5" fmla="*/ 148 h 295"/>
                  <a:gd name="T6" fmla="*/ 86 w 340"/>
                  <a:gd name="T7" fmla="*/ 0 h 295"/>
                  <a:gd name="T8" fmla="*/ 254 w 340"/>
                  <a:gd name="T9" fmla="*/ 0 h 295"/>
                  <a:gd name="T10" fmla="*/ 340 w 340"/>
                  <a:gd name="T11" fmla="*/ 148 h 295"/>
                  <a:gd name="T12" fmla="*/ 254 w 340"/>
                  <a:gd name="T13" fmla="*/ 295 h 295"/>
                  <a:gd name="T14" fmla="*/ 91 w 340"/>
                  <a:gd name="T15" fmla="*/ 286 h 295"/>
                  <a:gd name="T16" fmla="*/ 249 w 340"/>
                  <a:gd name="T17" fmla="*/ 286 h 295"/>
                  <a:gd name="T18" fmla="*/ 328 w 340"/>
                  <a:gd name="T19" fmla="*/ 148 h 295"/>
                  <a:gd name="T20" fmla="*/ 249 w 340"/>
                  <a:gd name="T21" fmla="*/ 10 h 295"/>
                  <a:gd name="T22" fmla="*/ 91 w 340"/>
                  <a:gd name="T23" fmla="*/ 10 h 295"/>
                  <a:gd name="T24" fmla="*/ 12 w 340"/>
                  <a:gd name="T25" fmla="*/ 148 h 295"/>
                  <a:gd name="T26" fmla="*/ 91 w 340"/>
                  <a:gd name="T27" fmla="*/ 28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0" h="295">
                    <a:moveTo>
                      <a:pt x="254" y="295"/>
                    </a:moveTo>
                    <a:lnTo>
                      <a:pt x="86" y="295"/>
                    </a:lnTo>
                    <a:lnTo>
                      <a:pt x="0" y="148"/>
                    </a:lnTo>
                    <a:lnTo>
                      <a:pt x="86" y="0"/>
                    </a:lnTo>
                    <a:lnTo>
                      <a:pt x="254" y="0"/>
                    </a:lnTo>
                    <a:lnTo>
                      <a:pt x="340" y="148"/>
                    </a:lnTo>
                    <a:lnTo>
                      <a:pt x="254" y="295"/>
                    </a:lnTo>
                    <a:close/>
                    <a:moveTo>
                      <a:pt x="91" y="286"/>
                    </a:moveTo>
                    <a:lnTo>
                      <a:pt x="249" y="286"/>
                    </a:lnTo>
                    <a:lnTo>
                      <a:pt x="328" y="148"/>
                    </a:lnTo>
                    <a:lnTo>
                      <a:pt x="249" y="10"/>
                    </a:lnTo>
                    <a:lnTo>
                      <a:pt x="91" y="10"/>
                    </a:lnTo>
                    <a:lnTo>
                      <a:pt x="12" y="148"/>
                    </a:lnTo>
                    <a:lnTo>
                      <a:pt x="91" y="286"/>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 name="Freeform 204">
              <a:extLst>
                <a:ext uri="{FF2B5EF4-FFF2-40B4-BE49-F238E27FC236}">
                  <a16:creationId xmlns:a16="http://schemas.microsoft.com/office/drawing/2014/main" id="{99C95FC8-8CF5-4CF6-BFAE-A708CF5FFE6F}"/>
                </a:ext>
              </a:extLst>
            </p:cNvPr>
            <p:cNvSpPr>
              <a:spLocks noEditPoints="1"/>
            </p:cNvSpPr>
            <p:nvPr/>
          </p:nvSpPr>
          <p:spPr bwMode="auto">
            <a:xfrm rot="1485494">
              <a:off x="10275626" y="4557300"/>
              <a:ext cx="385878" cy="456425"/>
            </a:xfrm>
            <a:custGeom>
              <a:avLst/>
              <a:gdLst>
                <a:gd name="T0" fmla="*/ 21 w 266"/>
                <a:gd name="T1" fmla="*/ 311 h 311"/>
                <a:gd name="T2" fmla="*/ 11 w 266"/>
                <a:gd name="T3" fmla="*/ 308 h 311"/>
                <a:gd name="T4" fmla="*/ 0 w 266"/>
                <a:gd name="T5" fmla="*/ 289 h 311"/>
                <a:gd name="T6" fmla="*/ 0 w 266"/>
                <a:gd name="T7" fmla="*/ 23 h 311"/>
                <a:gd name="T8" fmla="*/ 11 w 266"/>
                <a:gd name="T9" fmla="*/ 4 h 311"/>
                <a:gd name="T10" fmla="*/ 32 w 266"/>
                <a:gd name="T11" fmla="*/ 4 h 311"/>
                <a:gd name="T12" fmla="*/ 256 w 266"/>
                <a:gd name="T13" fmla="*/ 138 h 311"/>
                <a:gd name="T14" fmla="*/ 266 w 266"/>
                <a:gd name="T15" fmla="*/ 156 h 311"/>
                <a:gd name="T16" fmla="*/ 256 w 266"/>
                <a:gd name="T17" fmla="*/ 174 h 311"/>
                <a:gd name="T18" fmla="*/ 32 w 266"/>
                <a:gd name="T19" fmla="*/ 308 h 311"/>
                <a:gd name="T20" fmla="*/ 21 w 266"/>
                <a:gd name="T21" fmla="*/ 311 h 311"/>
                <a:gd name="T22" fmla="*/ 21 w 266"/>
                <a:gd name="T23" fmla="*/ 13 h 311"/>
                <a:gd name="T24" fmla="*/ 17 w 266"/>
                <a:gd name="T25" fmla="*/ 14 h 311"/>
                <a:gd name="T26" fmla="*/ 12 w 266"/>
                <a:gd name="T27" fmla="*/ 23 h 311"/>
                <a:gd name="T28" fmla="*/ 12 w 266"/>
                <a:gd name="T29" fmla="*/ 289 h 311"/>
                <a:gd name="T30" fmla="*/ 17 w 266"/>
                <a:gd name="T31" fmla="*/ 298 h 311"/>
                <a:gd name="T32" fmla="*/ 26 w 266"/>
                <a:gd name="T33" fmla="*/ 297 h 311"/>
                <a:gd name="T34" fmla="*/ 250 w 266"/>
                <a:gd name="T35" fmla="*/ 164 h 311"/>
                <a:gd name="T36" fmla="*/ 254 w 266"/>
                <a:gd name="T37" fmla="*/ 156 h 311"/>
                <a:gd name="T38" fmla="*/ 250 w 266"/>
                <a:gd name="T39" fmla="*/ 148 h 311"/>
                <a:gd name="T40" fmla="*/ 250 w 266"/>
                <a:gd name="T41" fmla="*/ 148 h 311"/>
                <a:gd name="T42" fmla="*/ 26 w 266"/>
                <a:gd name="T43" fmla="*/ 15 h 311"/>
                <a:gd name="T44" fmla="*/ 21 w 266"/>
                <a:gd name="T45" fmla="*/ 13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311">
                  <a:moveTo>
                    <a:pt x="21" y="311"/>
                  </a:moveTo>
                  <a:cubicBezTo>
                    <a:pt x="18" y="311"/>
                    <a:pt x="14" y="310"/>
                    <a:pt x="11" y="308"/>
                  </a:cubicBezTo>
                  <a:cubicBezTo>
                    <a:pt x="4" y="304"/>
                    <a:pt x="0" y="297"/>
                    <a:pt x="0" y="289"/>
                  </a:cubicBezTo>
                  <a:cubicBezTo>
                    <a:pt x="0" y="23"/>
                    <a:pt x="0" y="23"/>
                    <a:pt x="0" y="23"/>
                  </a:cubicBezTo>
                  <a:cubicBezTo>
                    <a:pt x="0" y="15"/>
                    <a:pt x="4" y="8"/>
                    <a:pt x="11" y="4"/>
                  </a:cubicBezTo>
                  <a:cubicBezTo>
                    <a:pt x="17" y="0"/>
                    <a:pt x="25" y="0"/>
                    <a:pt x="32" y="4"/>
                  </a:cubicBezTo>
                  <a:cubicBezTo>
                    <a:pt x="256" y="138"/>
                    <a:pt x="256" y="138"/>
                    <a:pt x="256" y="138"/>
                  </a:cubicBezTo>
                  <a:cubicBezTo>
                    <a:pt x="262" y="142"/>
                    <a:pt x="266" y="148"/>
                    <a:pt x="266" y="156"/>
                  </a:cubicBezTo>
                  <a:cubicBezTo>
                    <a:pt x="266" y="164"/>
                    <a:pt x="262" y="170"/>
                    <a:pt x="256" y="174"/>
                  </a:cubicBezTo>
                  <a:cubicBezTo>
                    <a:pt x="32" y="308"/>
                    <a:pt x="32" y="308"/>
                    <a:pt x="32" y="308"/>
                  </a:cubicBezTo>
                  <a:cubicBezTo>
                    <a:pt x="29" y="310"/>
                    <a:pt x="25" y="311"/>
                    <a:pt x="21" y="311"/>
                  </a:cubicBezTo>
                  <a:close/>
                  <a:moveTo>
                    <a:pt x="21" y="13"/>
                  </a:moveTo>
                  <a:cubicBezTo>
                    <a:pt x="20" y="13"/>
                    <a:pt x="18" y="14"/>
                    <a:pt x="17" y="14"/>
                  </a:cubicBezTo>
                  <a:cubicBezTo>
                    <a:pt x="14" y="16"/>
                    <a:pt x="12" y="19"/>
                    <a:pt x="12" y="23"/>
                  </a:cubicBezTo>
                  <a:cubicBezTo>
                    <a:pt x="12" y="289"/>
                    <a:pt x="12" y="289"/>
                    <a:pt x="12" y="289"/>
                  </a:cubicBezTo>
                  <a:cubicBezTo>
                    <a:pt x="12" y="293"/>
                    <a:pt x="14" y="296"/>
                    <a:pt x="17" y="298"/>
                  </a:cubicBezTo>
                  <a:cubicBezTo>
                    <a:pt x="20" y="299"/>
                    <a:pt x="23" y="299"/>
                    <a:pt x="26" y="297"/>
                  </a:cubicBezTo>
                  <a:cubicBezTo>
                    <a:pt x="250" y="164"/>
                    <a:pt x="250" y="164"/>
                    <a:pt x="250" y="164"/>
                  </a:cubicBezTo>
                  <a:cubicBezTo>
                    <a:pt x="252" y="162"/>
                    <a:pt x="254" y="159"/>
                    <a:pt x="254" y="156"/>
                  </a:cubicBezTo>
                  <a:cubicBezTo>
                    <a:pt x="254" y="153"/>
                    <a:pt x="252" y="150"/>
                    <a:pt x="250" y="148"/>
                  </a:cubicBezTo>
                  <a:cubicBezTo>
                    <a:pt x="250" y="148"/>
                    <a:pt x="250" y="148"/>
                    <a:pt x="250" y="148"/>
                  </a:cubicBezTo>
                  <a:cubicBezTo>
                    <a:pt x="26" y="15"/>
                    <a:pt x="26" y="15"/>
                    <a:pt x="26" y="15"/>
                  </a:cubicBezTo>
                  <a:cubicBezTo>
                    <a:pt x="25" y="14"/>
                    <a:pt x="23" y="13"/>
                    <a:pt x="21" y="1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3" name="Group 32">
              <a:extLst>
                <a:ext uri="{FF2B5EF4-FFF2-40B4-BE49-F238E27FC236}">
                  <a16:creationId xmlns:a16="http://schemas.microsoft.com/office/drawing/2014/main" id="{60F32795-E376-44FC-AFD1-6192952BFD85}"/>
                </a:ext>
              </a:extLst>
            </p:cNvPr>
            <p:cNvGrpSpPr/>
            <p:nvPr/>
          </p:nvGrpSpPr>
          <p:grpSpPr>
            <a:xfrm>
              <a:off x="8468420" y="3772009"/>
              <a:ext cx="1222538" cy="462854"/>
              <a:chOff x="4559301" y="5662613"/>
              <a:chExt cx="769938" cy="292100"/>
            </a:xfrm>
            <a:solidFill>
              <a:schemeClr val="accent1"/>
            </a:solidFill>
          </p:grpSpPr>
          <p:sp>
            <p:nvSpPr>
              <p:cNvPr id="34" name="Freeform 87">
                <a:extLst>
                  <a:ext uri="{FF2B5EF4-FFF2-40B4-BE49-F238E27FC236}">
                    <a16:creationId xmlns:a16="http://schemas.microsoft.com/office/drawing/2014/main" id="{6084BD81-6813-4544-90A9-57FC7E621886}"/>
                  </a:ext>
                </a:extLst>
              </p:cNvPr>
              <p:cNvSpPr>
                <a:spLocks/>
              </p:cNvSpPr>
              <p:nvPr/>
            </p:nvSpPr>
            <p:spPr bwMode="auto">
              <a:xfrm>
                <a:off x="4559301" y="566261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4 h 46"/>
                  <a:gd name="T46" fmla="*/ 355 w 358"/>
                  <a:gd name="T47" fmla="*/ 41 h 46"/>
                  <a:gd name="T48" fmla="*/ 342 w 358"/>
                  <a:gd name="T49" fmla="*/ 36 h 46"/>
                  <a:gd name="T50" fmla="*/ 327 w 358"/>
                  <a:gd name="T51" fmla="*/ 14 h 46"/>
                  <a:gd name="T52" fmla="*/ 305 w 358"/>
                  <a:gd name="T53" fmla="*/ 1 h 46"/>
                  <a:gd name="T54" fmla="*/ 288 w 358"/>
                  <a:gd name="T55" fmla="*/ 8 h 46"/>
                  <a:gd name="T56" fmla="*/ 273 w 358"/>
                  <a:gd name="T57" fmla="*/ 30 h 46"/>
                  <a:gd name="T58" fmla="*/ 254 w 358"/>
                  <a:gd name="T59" fmla="*/ 41 h 46"/>
                  <a:gd name="T60" fmla="*/ 241 w 358"/>
                  <a:gd name="T61" fmla="*/ 36 h 46"/>
                  <a:gd name="T62" fmla="*/ 226 w 358"/>
                  <a:gd name="T63" fmla="*/ 14 h 46"/>
                  <a:gd name="T64" fmla="*/ 204 w 358"/>
                  <a:gd name="T65" fmla="*/ 1 h 46"/>
                  <a:gd name="T66" fmla="*/ 187 w 358"/>
                  <a:gd name="T67" fmla="*/ 8 h 46"/>
                  <a:gd name="T68" fmla="*/ 172 w 358"/>
                  <a:gd name="T69" fmla="*/ 30 h 46"/>
                  <a:gd name="T70" fmla="*/ 154 w 358"/>
                  <a:gd name="T71" fmla="*/ 41 h 46"/>
                  <a:gd name="T72" fmla="*/ 140 w 358"/>
                  <a:gd name="T73" fmla="*/ 36 h 46"/>
                  <a:gd name="T74" fmla="*/ 126 w 358"/>
                  <a:gd name="T75" fmla="*/ 14 h 46"/>
                  <a:gd name="T76" fmla="*/ 103 w 358"/>
                  <a:gd name="T77" fmla="*/ 1 h 46"/>
                  <a:gd name="T78" fmla="*/ 87 w 358"/>
                  <a:gd name="T79" fmla="*/ 8 h 46"/>
                  <a:gd name="T80" fmla="*/ 72 w 358"/>
                  <a:gd name="T81" fmla="*/ 30 h 46"/>
                  <a:gd name="T82" fmla="*/ 53 w 358"/>
                  <a:gd name="T83" fmla="*/ 41 h 46"/>
                  <a:gd name="T84" fmla="*/ 40 w 358"/>
                  <a:gd name="T85" fmla="*/ 36 h 46"/>
                  <a:gd name="T86" fmla="*/ 25 w 358"/>
                  <a:gd name="T87" fmla="*/ 14 h 46"/>
                  <a:gd name="T88" fmla="*/ 3 w 358"/>
                  <a:gd name="T89" fmla="*/ 1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5"/>
                      <a:pt x="31" y="32"/>
                    </a:cubicBezTo>
                    <a:cubicBezTo>
                      <a:pt x="36" y="40"/>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5"/>
                      <a:pt x="131" y="32"/>
                    </a:cubicBezTo>
                    <a:cubicBezTo>
                      <a:pt x="137" y="40"/>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5"/>
                      <a:pt x="232" y="32"/>
                    </a:cubicBezTo>
                    <a:cubicBezTo>
                      <a:pt x="237" y="40"/>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5"/>
                      <a:pt x="333" y="32"/>
                    </a:cubicBezTo>
                    <a:cubicBezTo>
                      <a:pt x="338" y="40"/>
                      <a:pt x="345" y="46"/>
                      <a:pt x="355" y="46"/>
                    </a:cubicBezTo>
                    <a:cubicBezTo>
                      <a:pt x="356" y="46"/>
                      <a:pt x="358" y="45"/>
                      <a:pt x="358" y="44"/>
                    </a:cubicBezTo>
                    <a:cubicBezTo>
                      <a:pt x="358" y="43"/>
                      <a:pt x="356" y="41"/>
                      <a:pt x="355" y="41"/>
                    </a:cubicBezTo>
                    <a:cubicBezTo>
                      <a:pt x="350" y="41"/>
                      <a:pt x="346" y="39"/>
                      <a:pt x="342" y="36"/>
                    </a:cubicBezTo>
                    <a:cubicBezTo>
                      <a:pt x="336" y="30"/>
                      <a:pt x="332" y="22"/>
                      <a:pt x="327" y="14"/>
                    </a:cubicBezTo>
                    <a:cubicBezTo>
                      <a:pt x="322" y="7"/>
                      <a:pt x="315" y="0"/>
                      <a:pt x="305" y="1"/>
                    </a:cubicBezTo>
                    <a:cubicBezTo>
                      <a:pt x="298" y="0"/>
                      <a:pt x="292" y="3"/>
                      <a:pt x="288" y="8"/>
                    </a:cubicBezTo>
                    <a:cubicBezTo>
                      <a:pt x="282" y="14"/>
                      <a:pt x="278" y="23"/>
                      <a:pt x="273" y="30"/>
                    </a:cubicBezTo>
                    <a:cubicBezTo>
                      <a:pt x="268" y="37"/>
                      <a:pt x="263" y="41"/>
                      <a:pt x="254" y="41"/>
                    </a:cubicBezTo>
                    <a:cubicBezTo>
                      <a:pt x="249" y="41"/>
                      <a:pt x="245" y="39"/>
                      <a:pt x="241" y="36"/>
                    </a:cubicBezTo>
                    <a:cubicBezTo>
                      <a:pt x="236" y="30"/>
                      <a:pt x="232" y="22"/>
                      <a:pt x="226" y="14"/>
                    </a:cubicBezTo>
                    <a:cubicBezTo>
                      <a:pt x="221" y="7"/>
                      <a:pt x="215" y="0"/>
                      <a:pt x="204" y="1"/>
                    </a:cubicBezTo>
                    <a:cubicBezTo>
                      <a:pt x="197" y="0"/>
                      <a:pt x="192" y="3"/>
                      <a:pt x="187" y="8"/>
                    </a:cubicBezTo>
                    <a:cubicBezTo>
                      <a:pt x="181" y="14"/>
                      <a:pt x="177" y="23"/>
                      <a:pt x="172" y="30"/>
                    </a:cubicBezTo>
                    <a:cubicBezTo>
                      <a:pt x="167" y="37"/>
                      <a:pt x="162" y="41"/>
                      <a:pt x="154" y="41"/>
                    </a:cubicBezTo>
                    <a:cubicBezTo>
                      <a:pt x="148" y="41"/>
                      <a:pt x="144" y="39"/>
                      <a:pt x="140" y="36"/>
                    </a:cubicBezTo>
                    <a:cubicBezTo>
                      <a:pt x="135" y="30"/>
                      <a:pt x="131" y="22"/>
                      <a:pt x="126" y="14"/>
                    </a:cubicBezTo>
                    <a:cubicBezTo>
                      <a:pt x="121" y="7"/>
                      <a:pt x="114" y="0"/>
                      <a:pt x="103" y="1"/>
                    </a:cubicBezTo>
                    <a:cubicBezTo>
                      <a:pt x="96" y="0"/>
                      <a:pt x="91" y="3"/>
                      <a:pt x="87" y="8"/>
                    </a:cubicBezTo>
                    <a:cubicBezTo>
                      <a:pt x="81" y="14"/>
                      <a:pt x="76" y="23"/>
                      <a:pt x="72" y="30"/>
                    </a:cubicBezTo>
                    <a:cubicBezTo>
                      <a:pt x="67" y="37"/>
                      <a:pt x="61" y="41"/>
                      <a:pt x="53" y="41"/>
                    </a:cubicBezTo>
                    <a:cubicBezTo>
                      <a:pt x="48" y="41"/>
                      <a:pt x="44" y="39"/>
                      <a:pt x="40" y="36"/>
                    </a:cubicBezTo>
                    <a:cubicBezTo>
                      <a:pt x="34" y="30"/>
                      <a:pt x="30" y="22"/>
                      <a:pt x="25" y="14"/>
                    </a:cubicBezTo>
                    <a:cubicBezTo>
                      <a:pt x="20" y="7"/>
                      <a:pt x="13" y="0"/>
                      <a:pt x="3" y="1"/>
                    </a:cubicBezTo>
                    <a:cubicBezTo>
                      <a:pt x="2" y="1"/>
                      <a:pt x="0" y="2"/>
                      <a:pt x="0" y="3"/>
                    </a:cubicBezTo>
                    <a:cubicBezTo>
                      <a:pt x="0" y="4"/>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88">
                <a:extLst>
                  <a:ext uri="{FF2B5EF4-FFF2-40B4-BE49-F238E27FC236}">
                    <a16:creationId xmlns:a16="http://schemas.microsoft.com/office/drawing/2014/main" id="{C9518163-B4F5-48BC-B73B-944CD71CF998}"/>
                  </a:ext>
                </a:extLst>
              </p:cNvPr>
              <p:cNvSpPr>
                <a:spLocks/>
              </p:cNvSpPr>
              <p:nvPr/>
            </p:nvSpPr>
            <p:spPr bwMode="auto">
              <a:xfrm>
                <a:off x="4559301" y="575786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4"/>
                      <a:pt x="31" y="32"/>
                    </a:cubicBezTo>
                    <a:cubicBezTo>
                      <a:pt x="36" y="39"/>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4"/>
                      <a:pt x="131" y="32"/>
                    </a:cubicBezTo>
                    <a:cubicBezTo>
                      <a:pt x="137" y="39"/>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4"/>
                      <a:pt x="232" y="32"/>
                    </a:cubicBezTo>
                    <a:cubicBezTo>
                      <a:pt x="237" y="39"/>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4"/>
                      <a:pt x="333" y="32"/>
                    </a:cubicBezTo>
                    <a:cubicBezTo>
                      <a:pt x="338" y="39"/>
                      <a:pt x="345" y="46"/>
                      <a:pt x="355" y="46"/>
                    </a:cubicBezTo>
                    <a:cubicBezTo>
                      <a:pt x="356" y="46"/>
                      <a:pt x="358" y="45"/>
                      <a:pt x="358" y="43"/>
                    </a:cubicBezTo>
                    <a:cubicBezTo>
                      <a:pt x="358" y="42"/>
                      <a:pt x="356" y="41"/>
                      <a:pt x="355" y="41"/>
                    </a:cubicBezTo>
                    <a:cubicBezTo>
                      <a:pt x="350" y="41"/>
                      <a:pt x="346" y="39"/>
                      <a:pt x="342" y="35"/>
                    </a:cubicBezTo>
                    <a:cubicBezTo>
                      <a:pt x="336" y="30"/>
                      <a:pt x="332" y="22"/>
                      <a:pt x="327" y="14"/>
                    </a:cubicBezTo>
                    <a:cubicBezTo>
                      <a:pt x="322" y="7"/>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2"/>
                      <a:pt x="226" y="14"/>
                    </a:cubicBezTo>
                    <a:cubicBezTo>
                      <a:pt x="221" y="7"/>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2"/>
                      <a:pt x="126" y="14"/>
                    </a:cubicBezTo>
                    <a:cubicBezTo>
                      <a:pt x="121" y="7"/>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2"/>
                      <a:pt x="25" y="14"/>
                    </a:cubicBezTo>
                    <a:cubicBezTo>
                      <a:pt x="20" y="7"/>
                      <a:pt x="13" y="0"/>
                      <a:pt x="3" y="0"/>
                    </a:cubicBezTo>
                    <a:cubicBezTo>
                      <a:pt x="2" y="0"/>
                      <a:pt x="0" y="1"/>
                      <a:pt x="0" y="3"/>
                    </a:cubicBezTo>
                    <a:cubicBezTo>
                      <a:pt x="0" y="4"/>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89">
                <a:extLst>
                  <a:ext uri="{FF2B5EF4-FFF2-40B4-BE49-F238E27FC236}">
                    <a16:creationId xmlns:a16="http://schemas.microsoft.com/office/drawing/2014/main" id="{8817C11C-A343-4E99-85AD-5796B260A274}"/>
                  </a:ext>
                </a:extLst>
              </p:cNvPr>
              <p:cNvSpPr>
                <a:spLocks/>
              </p:cNvSpPr>
              <p:nvPr/>
            </p:nvSpPr>
            <p:spPr bwMode="auto">
              <a:xfrm>
                <a:off x="4559301" y="5853113"/>
                <a:ext cx="769938" cy="101600"/>
              </a:xfrm>
              <a:custGeom>
                <a:avLst/>
                <a:gdLst>
                  <a:gd name="T0" fmla="*/ 3 w 358"/>
                  <a:gd name="T1" fmla="*/ 5 h 46"/>
                  <a:gd name="T2" fmla="*/ 16 w 358"/>
                  <a:gd name="T3" fmla="*/ 10 h 46"/>
                  <a:gd name="T4" fmla="*/ 31 w 358"/>
                  <a:gd name="T5" fmla="*/ 32 h 46"/>
                  <a:gd name="T6" fmla="*/ 53 w 358"/>
                  <a:gd name="T7" fmla="*/ 45 h 46"/>
                  <a:gd name="T8" fmla="*/ 70 w 358"/>
                  <a:gd name="T9" fmla="*/ 38 h 46"/>
                  <a:gd name="T10" fmla="*/ 85 w 358"/>
                  <a:gd name="T11" fmla="*/ 16 h 46"/>
                  <a:gd name="T12" fmla="*/ 103 w 358"/>
                  <a:gd name="T13" fmla="*/ 5 h 46"/>
                  <a:gd name="T14" fmla="*/ 117 w 358"/>
                  <a:gd name="T15" fmla="*/ 10 h 46"/>
                  <a:gd name="T16" fmla="*/ 131 w 358"/>
                  <a:gd name="T17" fmla="*/ 32 h 46"/>
                  <a:gd name="T18" fmla="*/ 154 w 358"/>
                  <a:gd name="T19" fmla="*/ 45 h 46"/>
                  <a:gd name="T20" fmla="*/ 170 w 358"/>
                  <a:gd name="T21" fmla="*/ 38 h 46"/>
                  <a:gd name="T22" fmla="*/ 186 w 358"/>
                  <a:gd name="T23" fmla="*/ 16 h 46"/>
                  <a:gd name="T24" fmla="*/ 204 w 358"/>
                  <a:gd name="T25" fmla="*/ 5 h 46"/>
                  <a:gd name="T26" fmla="*/ 217 w 358"/>
                  <a:gd name="T27" fmla="*/ 10 h 46"/>
                  <a:gd name="T28" fmla="*/ 232 w 358"/>
                  <a:gd name="T29" fmla="*/ 32 h 46"/>
                  <a:gd name="T30" fmla="*/ 254 w 358"/>
                  <a:gd name="T31" fmla="*/ 45 h 46"/>
                  <a:gd name="T32" fmla="*/ 271 w 358"/>
                  <a:gd name="T33" fmla="*/ 38 h 46"/>
                  <a:gd name="T34" fmla="*/ 286 w 358"/>
                  <a:gd name="T35" fmla="*/ 16 h 46"/>
                  <a:gd name="T36" fmla="*/ 305 w 358"/>
                  <a:gd name="T37" fmla="*/ 5 h 46"/>
                  <a:gd name="T38" fmla="*/ 318 w 358"/>
                  <a:gd name="T39" fmla="*/ 10 h 46"/>
                  <a:gd name="T40" fmla="*/ 333 w 358"/>
                  <a:gd name="T41" fmla="*/ 32 h 46"/>
                  <a:gd name="T42" fmla="*/ 355 w 358"/>
                  <a:gd name="T43" fmla="*/ 45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2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0"/>
                    </a:cubicBezTo>
                    <a:cubicBezTo>
                      <a:pt x="22" y="16"/>
                      <a:pt x="26" y="24"/>
                      <a:pt x="31" y="32"/>
                    </a:cubicBezTo>
                    <a:cubicBezTo>
                      <a:pt x="36" y="39"/>
                      <a:pt x="43" y="46"/>
                      <a:pt x="53" y="45"/>
                    </a:cubicBezTo>
                    <a:cubicBezTo>
                      <a:pt x="60" y="46"/>
                      <a:pt x="66" y="43"/>
                      <a:pt x="70" y="38"/>
                    </a:cubicBezTo>
                    <a:cubicBezTo>
                      <a:pt x="76" y="32"/>
                      <a:pt x="80" y="23"/>
                      <a:pt x="85" y="16"/>
                    </a:cubicBezTo>
                    <a:cubicBezTo>
                      <a:pt x="90" y="9"/>
                      <a:pt x="95" y="5"/>
                      <a:pt x="103" y="5"/>
                    </a:cubicBezTo>
                    <a:cubicBezTo>
                      <a:pt x="109" y="5"/>
                      <a:pt x="113" y="7"/>
                      <a:pt x="117" y="10"/>
                    </a:cubicBezTo>
                    <a:cubicBezTo>
                      <a:pt x="122" y="16"/>
                      <a:pt x="126" y="24"/>
                      <a:pt x="131" y="32"/>
                    </a:cubicBezTo>
                    <a:cubicBezTo>
                      <a:pt x="137" y="39"/>
                      <a:pt x="143" y="46"/>
                      <a:pt x="154" y="45"/>
                    </a:cubicBezTo>
                    <a:cubicBezTo>
                      <a:pt x="161" y="46"/>
                      <a:pt x="166" y="43"/>
                      <a:pt x="170" y="38"/>
                    </a:cubicBezTo>
                    <a:cubicBezTo>
                      <a:pt x="177" y="32"/>
                      <a:pt x="181" y="23"/>
                      <a:pt x="186" y="16"/>
                    </a:cubicBezTo>
                    <a:cubicBezTo>
                      <a:pt x="191" y="9"/>
                      <a:pt x="196" y="5"/>
                      <a:pt x="204" y="5"/>
                    </a:cubicBezTo>
                    <a:cubicBezTo>
                      <a:pt x="210" y="5"/>
                      <a:pt x="214" y="7"/>
                      <a:pt x="217" y="10"/>
                    </a:cubicBezTo>
                    <a:cubicBezTo>
                      <a:pt x="223" y="16"/>
                      <a:pt x="227" y="24"/>
                      <a:pt x="232" y="32"/>
                    </a:cubicBezTo>
                    <a:cubicBezTo>
                      <a:pt x="237" y="39"/>
                      <a:pt x="244" y="46"/>
                      <a:pt x="254" y="45"/>
                    </a:cubicBezTo>
                    <a:cubicBezTo>
                      <a:pt x="261" y="46"/>
                      <a:pt x="267" y="43"/>
                      <a:pt x="271" y="38"/>
                    </a:cubicBezTo>
                    <a:cubicBezTo>
                      <a:pt x="277" y="32"/>
                      <a:pt x="281" y="23"/>
                      <a:pt x="286" y="16"/>
                    </a:cubicBezTo>
                    <a:cubicBezTo>
                      <a:pt x="291" y="9"/>
                      <a:pt x="296" y="5"/>
                      <a:pt x="305" y="5"/>
                    </a:cubicBezTo>
                    <a:cubicBezTo>
                      <a:pt x="310" y="5"/>
                      <a:pt x="314" y="7"/>
                      <a:pt x="318" y="10"/>
                    </a:cubicBezTo>
                    <a:cubicBezTo>
                      <a:pt x="324" y="16"/>
                      <a:pt x="328" y="24"/>
                      <a:pt x="333" y="32"/>
                    </a:cubicBezTo>
                    <a:cubicBezTo>
                      <a:pt x="338" y="39"/>
                      <a:pt x="345" y="46"/>
                      <a:pt x="355" y="45"/>
                    </a:cubicBezTo>
                    <a:cubicBezTo>
                      <a:pt x="356" y="45"/>
                      <a:pt x="358" y="44"/>
                      <a:pt x="358" y="43"/>
                    </a:cubicBezTo>
                    <a:cubicBezTo>
                      <a:pt x="358" y="42"/>
                      <a:pt x="356" y="41"/>
                      <a:pt x="355" y="41"/>
                    </a:cubicBezTo>
                    <a:cubicBezTo>
                      <a:pt x="350" y="41"/>
                      <a:pt x="346" y="39"/>
                      <a:pt x="342" y="35"/>
                    </a:cubicBezTo>
                    <a:cubicBezTo>
                      <a:pt x="336" y="30"/>
                      <a:pt x="332" y="21"/>
                      <a:pt x="327" y="14"/>
                    </a:cubicBezTo>
                    <a:cubicBezTo>
                      <a:pt x="322" y="6"/>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1"/>
                      <a:pt x="226" y="14"/>
                    </a:cubicBezTo>
                    <a:cubicBezTo>
                      <a:pt x="221" y="6"/>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1"/>
                      <a:pt x="126" y="14"/>
                    </a:cubicBezTo>
                    <a:cubicBezTo>
                      <a:pt x="121" y="6"/>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1"/>
                      <a:pt x="25" y="14"/>
                    </a:cubicBezTo>
                    <a:cubicBezTo>
                      <a:pt x="20" y="6"/>
                      <a:pt x="13" y="0"/>
                      <a:pt x="3" y="0"/>
                    </a:cubicBezTo>
                    <a:cubicBezTo>
                      <a:pt x="2" y="0"/>
                      <a:pt x="0" y="1"/>
                      <a:pt x="0" y="2"/>
                    </a:cubicBezTo>
                    <a:cubicBezTo>
                      <a:pt x="0" y="3"/>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id="{0FC3BDD7-7E87-4EBE-A772-8ECBBDB813CA}"/>
                </a:ext>
              </a:extLst>
            </p:cNvPr>
            <p:cNvGrpSpPr/>
            <p:nvPr/>
          </p:nvGrpSpPr>
          <p:grpSpPr>
            <a:xfrm>
              <a:off x="8991350" y="2969886"/>
              <a:ext cx="684286" cy="280435"/>
              <a:chOff x="6657076" y="1291161"/>
              <a:chExt cx="941857" cy="385993"/>
            </a:xfrm>
            <a:solidFill>
              <a:schemeClr val="tx2"/>
            </a:solidFill>
          </p:grpSpPr>
          <p:sp>
            <p:nvSpPr>
              <p:cNvPr id="40" name="Oval 39">
                <a:extLst>
                  <a:ext uri="{FF2B5EF4-FFF2-40B4-BE49-F238E27FC236}">
                    <a16:creationId xmlns:a16="http://schemas.microsoft.com/office/drawing/2014/main" id="{45244376-4733-444C-B97E-853400A4E5E1}"/>
                  </a:ext>
                </a:extLst>
              </p:cNvPr>
              <p:cNvSpPr/>
              <p:nvPr/>
            </p:nvSpPr>
            <p:spPr>
              <a:xfrm>
                <a:off x="6657076" y="1291161"/>
                <a:ext cx="381823" cy="385993"/>
              </a:xfrm>
              <a:prstGeom prst="ellipse">
                <a:avLst/>
              </a:prstGeom>
              <a:grp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41" name="Oval 40">
                <a:extLst>
                  <a:ext uri="{FF2B5EF4-FFF2-40B4-BE49-F238E27FC236}">
                    <a16:creationId xmlns:a16="http://schemas.microsoft.com/office/drawing/2014/main" id="{EAB20C2E-DFCF-48D6-BF4A-FCF60722568A}"/>
                  </a:ext>
                </a:extLst>
              </p:cNvPr>
              <p:cNvSpPr/>
              <p:nvPr/>
            </p:nvSpPr>
            <p:spPr>
              <a:xfrm>
                <a:off x="7511466" y="1439946"/>
                <a:ext cx="87467" cy="88423"/>
              </a:xfrm>
              <a:prstGeom prst="ellipse">
                <a:avLst/>
              </a:prstGeom>
              <a:grp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sp>
            <p:nvSpPr>
              <p:cNvPr id="42" name="Oval 41">
                <a:extLst>
                  <a:ext uri="{FF2B5EF4-FFF2-40B4-BE49-F238E27FC236}">
                    <a16:creationId xmlns:a16="http://schemas.microsoft.com/office/drawing/2014/main" id="{D0DC7871-F714-447F-98FF-E1BE463BDE29}"/>
                  </a:ext>
                </a:extLst>
              </p:cNvPr>
              <p:cNvSpPr/>
              <p:nvPr/>
            </p:nvSpPr>
            <p:spPr>
              <a:xfrm>
                <a:off x="7193259" y="1401352"/>
                <a:ext cx="163834" cy="165623"/>
              </a:xfrm>
              <a:prstGeom prst="ellipse">
                <a:avLst/>
              </a:prstGeom>
              <a:grp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grpSp>
        <p:sp>
          <p:nvSpPr>
            <p:cNvPr id="44" name="Freeform: Shape 43">
              <a:extLst>
                <a:ext uri="{FF2B5EF4-FFF2-40B4-BE49-F238E27FC236}">
                  <a16:creationId xmlns:a16="http://schemas.microsoft.com/office/drawing/2014/main" id="{259EE2DB-47F6-4D32-967A-7C61AB3F39A7}"/>
                </a:ext>
              </a:extLst>
            </p:cNvPr>
            <p:cNvSpPr>
              <a:spLocks noChangeAspect="1"/>
            </p:cNvSpPr>
            <p:nvPr/>
          </p:nvSpPr>
          <p:spPr>
            <a:xfrm rot="16200000">
              <a:off x="7798469" y="4935025"/>
              <a:ext cx="1413242" cy="274320"/>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gradFill flip="none" rotWithShape="1">
              <a:gsLst>
                <a:gs pos="0">
                  <a:srgbClr val="0D274D">
                    <a:alpha val="0"/>
                  </a:srgbClr>
                </a:gs>
                <a:gs pos="100000">
                  <a:srgbClr val="0D274D"/>
                </a:gs>
              </a:gsLst>
              <a:lin ang="0" scaled="1"/>
              <a:tileRect/>
            </a:gra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D274D"/>
                </a:solidFill>
                <a:effectLst/>
                <a:uLnTx/>
                <a:uFillTx/>
              </a:endParaRPr>
            </a:p>
          </p:txBody>
        </p:sp>
      </p:grpSp>
      <p:sp>
        <p:nvSpPr>
          <p:cNvPr id="46" name="Rectangle 45">
            <a:extLst>
              <a:ext uri="{FF2B5EF4-FFF2-40B4-BE49-F238E27FC236}">
                <a16:creationId xmlns:a16="http://schemas.microsoft.com/office/drawing/2014/main" id="{B5BCD8C9-9080-43DA-8A17-E54CC90A623D}"/>
              </a:ext>
            </a:extLst>
          </p:cNvPr>
          <p:cNvSpPr/>
          <p:nvPr/>
        </p:nvSpPr>
        <p:spPr>
          <a:xfrm>
            <a:off x="1040605" y="2326109"/>
            <a:ext cx="5846856" cy="3170099"/>
          </a:xfrm>
          <a:prstGeom prst="rect">
            <a:avLst/>
          </a:prstGeom>
        </p:spPr>
        <p:txBody>
          <a:bodyPr wrap="square">
            <a:spAutoFit/>
          </a:bodyPr>
          <a:lstStyle/>
          <a:p>
            <a:pPr>
              <a:spcBef>
                <a:spcPts val="1200"/>
              </a:spcBef>
              <a:spcAft>
                <a:spcPts val="1200"/>
              </a:spcAft>
            </a:pPr>
            <a:r>
              <a:rPr lang="en-US" sz="2400" dirty="0">
                <a:solidFill>
                  <a:schemeClr val="bg1"/>
                </a:solidFill>
              </a:rPr>
              <a:t>Work from any connection on any device</a:t>
            </a:r>
          </a:p>
          <a:p>
            <a:pPr>
              <a:spcBef>
                <a:spcPts val="1200"/>
              </a:spcBef>
              <a:spcAft>
                <a:spcPts val="1200"/>
              </a:spcAft>
            </a:pPr>
            <a:r>
              <a:rPr lang="en-US" sz="2400" dirty="0">
                <a:solidFill>
                  <a:schemeClr val="bg1"/>
                </a:solidFill>
              </a:rPr>
              <a:t>Verify identity and establish trust</a:t>
            </a:r>
          </a:p>
          <a:p>
            <a:pPr>
              <a:spcBef>
                <a:spcPts val="1200"/>
              </a:spcBef>
              <a:spcAft>
                <a:spcPts val="1200"/>
              </a:spcAft>
            </a:pPr>
            <a:r>
              <a:rPr lang="en-US" sz="2400" dirty="0">
                <a:solidFill>
                  <a:schemeClr val="bg1"/>
                </a:solidFill>
              </a:rPr>
              <a:t>Safe access to company apps and data</a:t>
            </a:r>
          </a:p>
          <a:p>
            <a:pPr>
              <a:spcBef>
                <a:spcPts val="1200"/>
              </a:spcBef>
              <a:spcAft>
                <a:spcPts val="1200"/>
              </a:spcAft>
            </a:pPr>
            <a:r>
              <a:rPr lang="en-US" sz="2400" dirty="0">
                <a:solidFill>
                  <a:schemeClr val="bg1"/>
                </a:solidFill>
              </a:rPr>
              <a:t>Protect data from threats</a:t>
            </a:r>
          </a:p>
          <a:p>
            <a:pPr>
              <a:spcBef>
                <a:spcPts val="1200"/>
              </a:spcBef>
              <a:spcAft>
                <a:spcPts val="1200"/>
              </a:spcAft>
            </a:pPr>
            <a:r>
              <a:rPr lang="en-US" sz="2400" dirty="0">
                <a:solidFill>
                  <a:schemeClr val="bg1"/>
                </a:solidFill>
              </a:rPr>
              <a:t>Make security frictionless</a:t>
            </a:r>
          </a:p>
        </p:txBody>
      </p:sp>
      <p:grpSp>
        <p:nvGrpSpPr>
          <p:cNvPr id="86" name="Group 85">
            <a:extLst>
              <a:ext uri="{FF2B5EF4-FFF2-40B4-BE49-F238E27FC236}">
                <a16:creationId xmlns:a16="http://schemas.microsoft.com/office/drawing/2014/main" id="{47060665-C21D-4E4E-8820-C1C4614BD928}"/>
              </a:ext>
            </a:extLst>
          </p:cNvPr>
          <p:cNvGrpSpPr/>
          <p:nvPr/>
        </p:nvGrpSpPr>
        <p:grpSpPr>
          <a:xfrm>
            <a:off x="632469" y="2449613"/>
            <a:ext cx="292492" cy="299314"/>
            <a:chOff x="571359" y="2208404"/>
            <a:chExt cx="414711" cy="424381"/>
          </a:xfrm>
        </p:grpSpPr>
        <p:grpSp>
          <p:nvGrpSpPr>
            <p:cNvPr id="66" name="Graphic 75">
              <a:extLst>
                <a:ext uri="{FF2B5EF4-FFF2-40B4-BE49-F238E27FC236}">
                  <a16:creationId xmlns:a16="http://schemas.microsoft.com/office/drawing/2014/main" id="{DF85749B-3178-47FD-8A76-362266264BEB}"/>
                </a:ext>
              </a:extLst>
            </p:cNvPr>
            <p:cNvGrpSpPr/>
            <p:nvPr/>
          </p:nvGrpSpPr>
          <p:grpSpPr>
            <a:xfrm>
              <a:off x="571359" y="2208404"/>
              <a:ext cx="414711" cy="424381"/>
              <a:chOff x="4820236" y="1931698"/>
              <a:chExt cx="926552" cy="948156"/>
            </a:xfrm>
            <a:solidFill>
              <a:srgbClr val="1E4471"/>
            </a:solidFill>
          </p:grpSpPr>
          <p:sp>
            <p:nvSpPr>
              <p:cNvPr id="67" name="Freeform: Shape 66">
                <a:extLst>
                  <a:ext uri="{FF2B5EF4-FFF2-40B4-BE49-F238E27FC236}">
                    <a16:creationId xmlns:a16="http://schemas.microsoft.com/office/drawing/2014/main" id="{4F35FD9C-FB7A-4BE4-A07C-3101525481ED}"/>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8" name="Freeform: Shape 67">
                <a:extLst>
                  <a:ext uri="{FF2B5EF4-FFF2-40B4-BE49-F238E27FC236}">
                    <a16:creationId xmlns:a16="http://schemas.microsoft.com/office/drawing/2014/main" id="{70FC2583-1829-4923-B30E-04648A167F3A}"/>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69" name="Freeform: Shape 68">
                <a:extLst>
                  <a:ext uri="{FF2B5EF4-FFF2-40B4-BE49-F238E27FC236}">
                    <a16:creationId xmlns:a16="http://schemas.microsoft.com/office/drawing/2014/main" id="{587D3501-E577-49A5-9CEC-54D10F00C8C9}"/>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0" name="Freeform: Shape 69">
                <a:extLst>
                  <a:ext uri="{FF2B5EF4-FFF2-40B4-BE49-F238E27FC236}">
                    <a16:creationId xmlns:a16="http://schemas.microsoft.com/office/drawing/2014/main" id="{899A7D68-7587-4CD7-A2ED-51261E8441EA}"/>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1" name="Freeform: Shape 70">
                <a:extLst>
                  <a:ext uri="{FF2B5EF4-FFF2-40B4-BE49-F238E27FC236}">
                    <a16:creationId xmlns:a16="http://schemas.microsoft.com/office/drawing/2014/main" id="{816CF39C-26D9-4440-9866-C760377AB8CA}"/>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2" name="Freeform: Shape 71">
                <a:extLst>
                  <a:ext uri="{FF2B5EF4-FFF2-40B4-BE49-F238E27FC236}">
                    <a16:creationId xmlns:a16="http://schemas.microsoft.com/office/drawing/2014/main" id="{7B5ED192-8AA4-41AD-A138-095A88495166}"/>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3" name="Freeform: Shape 72">
                <a:extLst>
                  <a:ext uri="{FF2B5EF4-FFF2-40B4-BE49-F238E27FC236}">
                    <a16:creationId xmlns:a16="http://schemas.microsoft.com/office/drawing/2014/main" id="{8BC357B4-1162-47F4-A149-0EC227BE0205}"/>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4" name="Freeform: Shape 73">
                <a:extLst>
                  <a:ext uri="{FF2B5EF4-FFF2-40B4-BE49-F238E27FC236}">
                    <a16:creationId xmlns:a16="http://schemas.microsoft.com/office/drawing/2014/main" id="{832DF88E-73E6-40B5-BDC6-2EAEED5157F3}"/>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5" name="Freeform: Shape 74">
                <a:extLst>
                  <a:ext uri="{FF2B5EF4-FFF2-40B4-BE49-F238E27FC236}">
                    <a16:creationId xmlns:a16="http://schemas.microsoft.com/office/drawing/2014/main" id="{DFF5E2B3-6B8D-46D7-8CD2-F374B71EDC78}"/>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6" name="Freeform: Shape 75">
                <a:extLst>
                  <a:ext uri="{FF2B5EF4-FFF2-40B4-BE49-F238E27FC236}">
                    <a16:creationId xmlns:a16="http://schemas.microsoft.com/office/drawing/2014/main" id="{B2E66A53-7227-4C9A-BD05-52CC82C27BB3}"/>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7" name="Freeform: Shape 76">
                <a:extLst>
                  <a:ext uri="{FF2B5EF4-FFF2-40B4-BE49-F238E27FC236}">
                    <a16:creationId xmlns:a16="http://schemas.microsoft.com/office/drawing/2014/main" id="{1153479A-347A-4F56-8280-23D3DFB8A042}"/>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8" name="Freeform: Shape 77">
                <a:extLst>
                  <a:ext uri="{FF2B5EF4-FFF2-40B4-BE49-F238E27FC236}">
                    <a16:creationId xmlns:a16="http://schemas.microsoft.com/office/drawing/2014/main" id="{30734878-1F20-40B4-9695-BBE9470DCF65}"/>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9" name="Freeform: Shape 78">
                <a:extLst>
                  <a:ext uri="{FF2B5EF4-FFF2-40B4-BE49-F238E27FC236}">
                    <a16:creationId xmlns:a16="http://schemas.microsoft.com/office/drawing/2014/main" id="{010DE0EE-D6A5-4AE0-9A28-1F66493B46CA}"/>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0" name="Freeform: Shape 79">
                <a:extLst>
                  <a:ext uri="{FF2B5EF4-FFF2-40B4-BE49-F238E27FC236}">
                    <a16:creationId xmlns:a16="http://schemas.microsoft.com/office/drawing/2014/main" id="{31CBF8EE-95C2-4135-AA5F-484A4BC04EAC}"/>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1" name="Freeform: Shape 80">
                <a:extLst>
                  <a:ext uri="{FF2B5EF4-FFF2-40B4-BE49-F238E27FC236}">
                    <a16:creationId xmlns:a16="http://schemas.microsoft.com/office/drawing/2014/main" id="{D804DB79-6048-4B0C-B4D2-8EC2C83FFA6D}"/>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2" name="Freeform: Shape 81">
                <a:extLst>
                  <a:ext uri="{FF2B5EF4-FFF2-40B4-BE49-F238E27FC236}">
                    <a16:creationId xmlns:a16="http://schemas.microsoft.com/office/drawing/2014/main" id="{5F08DD08-D165-415F-8BFE-FDDCD4CCE637}"/>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3" name="Freeform: Shape 82">
                <a:extLst>
                  <a:ext uri="{FF2B5EF4-FFF2-40B4-BE49-F238E27FC236}">
                    <a16:creationId xmlns:a16="http://schemas.microsoft.com/office/drawing/2014/main" id="{7E0F2C2A-9C4D-4BB3-969A-3E5AFF35384C}"/>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84" name="Freeform: Shape 83">
                <a:extLst>
                  <a:ext uri="{FF2B5EF4-FFF2-40B4-BE49-F238E27FC236}">
                    <a16:creationId xmlns:a16="http://schemas.microsoft.com/office/drawing/2014/main" id="{6E72231C-7B2F-4CC8-818E-33C11CB2D391}"/>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85" name="Oval 84">
              <a:extLst>
                <a:ext uri="{FF2B5EF4-FFF2-40B4-BE49-F238E27FC236}">
                  <a16:creationId xmlns:a16="http://schemas.microsoft.com/office/drawing/2014/main" id="{8D71269B-0A72-451C-A7E3-3A4827024904}"/>
                </a:ext>
              </a:extLst>
            </p:cNvPr>
            <p:cNvSpPr/>
            <p:nvPr/>
          </p:nvSpPr>
          <p:spPr>
            <a:xfrm>
              <a:off x="656150" y="2298030"/>
              <a:ext cx="245129" cy="24512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7" name="Group 86">
            <a:extLst>
              <a:ext uri="{FF2B5EF4-FFF2-40B4-BE49-F238E27FC236}">
                <a16:creationId xmlns:a16="http://schemas.microsoft.com/office/drawing/2014/main" id="{85869376-CC72-422A-AFA2-679400340D5A}"/>
              </a:ext>
            </a:extLst>
          </p:cNvPr>
          <p:cNvGrpSpPr/>
          <p:nvPr/>
        </p:nvGrpSpPr>
        <p:grpSpPr>
          <a:xfrm>
            <a:off x="632469" y="3453544"/>
            <a:ext cx="292492" cy="299314"/>
            <a:chOff x="571359" y="2208404"/>
            <a:chExt cx="414711" cy="424381"/>
          </a:xfrm>
        </p:grpSpPr>
        <p:grpSp>
          <p:nvGrpSpPr>
            <p:cNvPr id="88" name="Graphic 75">
              <a:extLst>
                <a:ext uri="{FF2B5EF4-FFF2-40B4-BE49-F238E27FC236}">
                  <a16:creationId xmlns:a16="http://schemas.microsoft.com/office/drawing/2014/main" id="{714C16FB-D7C3-4E39-B231-6855C78715CC}"/>
                </a:ext>
              </a:extLst>
            </p:cNvPr>
            <p:cNvGrpSpPr/>
            <p:nvPr/>
          </p:nvGrpSpPr>
          <p:grpSpPr>
            <a:xfrm>
              <a:off x="571359" y="2208404"/>
              <a:ext cx="414711" cy="424381"/>
              <a:chOff x="4820236" y="1931698"/>
              <a:chExt cx="926552" cy="948156"/>
            </a:xfrm>
            <a:solidFill>
              <a:srgbClr val="1E4471"/>
            </a:solidFill>
          </p:grpSpPr>
          <p:sp>
            <p:nvSpPr>
              <p:cNvPr id="90" name="Freeform: Shape 89">
                <a:extLst>
                  <a:ext uri="{FF2B5EF4-FFF2-40B4-BE49-F238E27FC236}">
                    <a16:creationId xmlns:a16="http://schemas.microsoft.com/office/drawing/2014/main" id="{8964D7EA-97BA-4AAA-A00E-FC62C1E710EA}"/>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1" name="Freeform: Shape 90">
                <a:extLst>
                  <a:ext uri="{FF2B5EF4-FFF2-40B4-BE49-F238E27FC236}">
                    <a16:creationId xmlns:a16="http://schemas.microsoft.com/office/drawing/2014/main" id="{58EFD1E2-D0A5-4024-AE6F-65D4EB526296}"/>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2" name="Freeform: Shape 91">
                <a:extLst>
                  <a:ext uri="{FF2B5EF4-FFF2-40B4-BE49-F238E27FC236}">
                    <a16:creationId xmlns:a16="http://schemas.microsoft.com/office/drawing/2014/main" id="{D2482DBE-CFB3-4107-8654-D27BC3458502}"/>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3" name="Freeform: Shape 92">
                <a:extLst>
                  <a:ext uri="{FF2B5EF4-FFF2-40B4-BE49-F238E27FC236}">
                    <a16:creationId xmlns:a16="http://schemas.microsoft.com/office/drawing/2014/main" id="{D32504FF-0FD3-4561-8C11-8655AD46D42F}"/>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4" name="Freeform: Shape 93">
                <a:extLst>
                  <a:ext uri="{FF2B5EF4-FFF2-40B4-BE49-F238E27FC236}">
                    <a16:creationId xmlns:a16="http://schemas.microsoft.com/office/drawing/2014/main" id="{3DBF22FB-E219-4CEC-A905-21013B534CBC}"/>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5" name="Freeform: Shape 94">
                <a:extLst>
                  <a:ext uri="{FF2B5EF4-FFF2-40B4-BE49-F238E27FC236}">
                    <a16:creationId xmlns:a16="http://schemas.microsoft.com/office/drawing/2014/main" id="{19159E79-7F2D-425D-B604-DE181E44349B}"/>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6" name="Freeform: Shape 95">
                <a:extLst>
                  <a:ext uri="{FF2B5EF4-FFF2-40B4-BE49-F238E27FC236}">
                    <a16:creationId xmlns:a16="http://schemas.microsoft.com/office/drawing/2014/main" id="{CD8C9BC9-92DE-40AD-957B-666CD26F46A3}"/>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7" name="Freeform: Shape 96">
                <a:extLst>
                  <a:ext uri="{FF2B5EF4-FFF2-40B4-BE49-F238E27FC236}">
                    <a16:creationId xmlns:a16="http://schemas.microsoft.com/office/drawing/2014/main" id="{F20EB847-D731-420B-8814-82B29360C857}"/>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8" name="Freeform: Shape 97">
                <a:extLst>
                  <a:ext uri="{FF2B5EF4-FFF2-40B4-BE49-F238E27FC236}">
                    <a16:creationId xmlns:a16="http://schemas.microsoft.com/office/drawing/2014/main" id="{9451EE71-C788-4836-BA58-C16EA66652FD}"/>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99" name="Freeform: Shape 98">
                <a:extLst>
                  <a:ext uri="{FF2B5EF4-FFF2-40B4-BE49-F238E27FC236}">
                    <a16:creationId xmlns:a16="http://schemas.microsoft.com/office/drawing/2014/main" id="{2EFE3C76-3A13-4348-890B-6B0F4D264ACC}"/>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0" name="Freeform: Shape 99">
                <a:extLst>
                  <a:ext uri="{FF2B5EF4-FFF2-40B4-BE49-F238E27FC236}">
                    <a16:creationId xmlns:a16="http://schemas.microsoft.com/office/drawing/2014/main" id="{E23371E6-0BB7-42FA-A94A-5CD65AACE37F}"/>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1" name="Freeform: Shape 100">
                <a:extLst>
                  <a:ext uri="{FF2B5EF4-FFF2-40B4-BE49-F238E27FC236}">
                    <a16:creationId xmlns:a16="http://schemas.microsoft.com/office/drawing/2014/main" id="{287DF5C6-5C52-4261-AA7F-AD35B7D325F7}"/>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2" name="Freeform: Shape 101">
                <a:extLst>
                  <a:ext uri="{FF2B5EF4-FFF2-40B4-BE49-F238E27FC236}">
                    <a16:creationId xmlns:a16="http://schemas.microsoft.com/office/drawing/2014/main" id="{89863305-73FC-48A4-8731-A6E39009875F}"/>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3" name="Freeform: Shape 102">
                <a:extLst>
                  <a:ext uri="{FF2B5EF4-FFF2-40B4-BE49-F238E27FC236}">
                    <a16:creationId xmlns:a16="http://schemas.microsoft.com/office/drawing/2014/main" id="{24ADCACB-BB1C-4351-8E72-C78CA07FEC3F}"/>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4" name="Freeform: Shape 103">
                <a:extLst>
                  <a:ext uri="{FF2B5EF4-FFF2-40B4-BE49-F238E27FC236}">
                    <a16:creationId xmlns:a16="http://schemas.microsoft.com/office/drawing/2014/main" id="{DCE915DD-289B-4980-9EA6-FA5C18C2B7C6}"/>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5" name="Freeform: Shape 104">
                <a:extLst>
                  <a:ext uri="{FF2B5EF4-FFF2-40B4-BE49-F238E27FC236}">
                    <a16:creationId xmlns:a16="http://schemas.microsoft.com/office/drawing/2014/main" id="{608D7C1A-697B-4EDC-A2E2-387138003094}"/>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6" name="Freeform: Shape 105">
                <a:extLst>
                  <a:ext uri="{FF2B5EF4-FFF2-40B4-BE49-F238E27FC236}">
                    <a16:creationId xmlns:a16="http://schemas.microsoft.com/office/drawing/2014/main" id="{C8A8F36F-E04D-4A9B-8B65-19706AA19775}"/>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07" name="Freeform: Shape 106">
                <a:extLst>
                  <a:ext uri="{FF2B5EF4-FFF2-40B4-BE49-F238E27FC236}">
                    <a16:creationId xmlns:a16="http://schemas.microsoft.com/office/drawing/2014/main" id="{713DB02A-CB8C-4B22-A7E2-DB5322240116}"/>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89" name="Oval 88">
              <a:extLst>
                <a:ext uri="{FF2B5EF4-FFF2-40B4-BE49-F238E27FC236}">
                  <a16:creationId xmlns:a16="http://schemas.microsoft.com/office/drawing/2014/main" id="{2C9F342E-F4FC-4A48-A6D0-CDE13CF47B9E}"/>
                </a:ext>
              </a:extLst>
            </p:cNvPr>
            <p:cNvSpPr/>
            <p:nvPr/>
          </p:nvSpPr>
          <p:spPr>
            <a:xfrm>
              <a:off x="656150" y="2298030"/>
              <a:ext cx="245129" cy="24512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08" name="Group 107">
            <a:extLst>
              <a:ext uri="{FF2B5EF4-FFF2-40B4-BE49-F238E27FC236}">
                <a16:creationId xmlns:a16="http://schemas.microsoft.com/office/drawing/2014/main" id="{09824C9F-6EF7-4E33-9005-100D6EF81F47}"/>
              </a:ext>
            </a:extLst>
          </p:cNvPr>
          <p:cNvGrpSpPr/>
          <p:nvPr/>
        </p:nvGrpSpPr>
        <p:grpSpPr>
          <a:xfrm>
            <a:off x="632469" y="4157518"/>
            <a:ext cx="292492" cy="299314"/>
            <a:chOff x="571359" y="2208404"/>
            <a:chExt cx="414711" cy="424381"/>
          </a:xfrm>
        </p:grpSpPr>
        <p:grpSp>
          <p:nvGrpSpPr>
            <p:cNvPr id="109" name="Graphic 75">
              <a:extLst>
                <a:ext uri="{FF2B5EF4-FFF2-40B4-BE49-F238E27FC236}">
                  <a16:creationId xmlns:a16="http://schemas.microsoft.com/office/drawing/2014/main" id="{2C775AFC-5900-4720-80D3-75C717808494}"/>
                </a:ext>
              </a:extLst>
            </p:cNvPr>
            <p:cNvGrpSpPr/>
            <p:nvPr/>
          </p:nvGrpSpPr>
          <p:grpSpPr>
            <a:xfrm>
              <a:off x="571359" y="2208404"/>
              <a:ext cx="414711" cy="424381"/>
              <a:chOff x="4820236" y="1931698"/>
              <a:chExt cx="926552" cy="948156"/>
            </a:xfrm>
            <a:solidFill>
              <a:srgbClr val="1E4471"/>
            </a:solidFill>
          </p:grpSpPr>
          <p:sp>
            <p:nvSpPr>
              <p:cNvPr id="111" name="Freeform: Shape 110">
                <a:extLst>
                  <a:ext uri="{FF2B5EF4-FFF2-40B4-BE49-F238E27FC236}">
                    <a16:creationId xmlns:a16="http://schemas.microsoft.com/office/drawing/2014/main" id="{08322604-319D-46A7-9FB4-9892B86FF5BE}"/>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2" name="Freeform: Shape 111">
                <a:extLst>
                  <a:ext uri="{FF2B5EF4-FFF2-40B4-BE49-F238E27FC236}">
                    <a16:creationId xmlns:a16="http://schemas.microsoft.com/office/drawing/2014/main" id="{614C28F4-53DA-4585-9A59-6B75038B723C}"/>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3" name="Freeform: Shape 112">
                <a:extLst>
                  <a:ext uri="{FF2B5EF4-FFF2-40B4-BE49-F238E27FC236}">
                    <a16:creationId xmlns:a16="http://schemas.microsoft.com/office/drawing/2014/main" id="{81A9F13E-4F5A-4BF1-9C0E-6BA469A0D0C3}"/>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4" name="Freeform: Shape 113">
                <a:extLst>
                  <a:ext uri="{FF2B5EF4-FFF2-40B4-BE49-F238E27FC236}">
                    <a16:creationId xmlns:a16="http://schemas.microsoft.com/office/drawing/2014/main" id="{A2A14E48-317A-4516-B026-B56885D29531}"/>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5" name="Freeform: Shape 114">
                <a:extLst>
                  <a:ext uri="{FF2B5EF4-FFF2-40B4-BE49-F238E27FC236}">
                    <a16:creationId xmlns:a16="http://schemas.microsoft.com/office/drawing/2014/main" id="{B60BEB36-1C13-4F79-91DE-B12284724812}"/>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6" name="Freeform: Shape 115">
                <a:extLst>
                  <a:ext uri="{FF2B5EF4-FFF2-40B4-BE49-F238E27FC236}">
                    <a16:creationId xmlns:a16="http://schemas.microsoft.com/office/drawing/2014/main" id="{9C4E7177-00A1-4FFD-955E-6429B412B601}"/>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7" name="Freeform: Shape 116">
                <a:extLst>
                  <a:ext uri="{FF2B5EF4-FFF2-40B4-BE49-F238E27FC236}">
                    <a16:creationId xmlns:a16="http://schemas.microsoft.com/office/drawing/2014/main" id="{252568C2-803B-489E-A9A9-517BD75F45BC}"/>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8" name="Freeform: Shape 117">
                <a:extLst>
                  <a:ext uri="{FF2B5EF4-FFF2-40B4-BE49-F238E27FC236}">
                    <a16:creationId xmlns:a16="http://schemas.microsoft.com/office/drawing/2014/main" id="{3BE2B9D5-370E-441A-A890-95DD661566DB}"/>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19" name="Freeform: Shape 118">
                <a:extLst>
                  <a:ext uri="{FF2B5EF4-FFF2-40B4-BE49-F238E27FC236}">
                    <a16:creationId xmlns:a16="http://schemas.microsoft.com/office/drawing/2014/main" id="{55052A51-D6D1-4C86-BFCC-F13FBCC06C1D}"/>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0" name="Freeform: Shape 119">
                <a:extLst>
                  <a:ext uri="{FF2B5EF4-FFF2-40B4-BE49-F238E27FC236}">
                    <a16:creationId xmlns:a16="http://schemas.microsoft.com/office/drawing/2014/main" id="{DA6BD37B-64DC-45E8-9497-49AF86E47F0D}"/>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1" name="Freeform: Shape 120">
                <a:extLst>
                  <a:ext uri="{FF2B5EF4-FFF2-40B4-BE49-F238E27FC236}">
                    <a16:creationId xmlns:a16="http://schemas.microsoft.com/office/drawing/2014/main" id="{30942D7E-D096-432A-AF5F-4E2C8C0E9010}"/>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2" name="Freeform: Shape 121">
                <a:extLst>
                  <a:ext uri="{FF2B5EF4-FFF2-40B4-BE49-F238E27FC236}">
                    <a16:creationId xmlns:a16="http://schemas.microsoft.com/office/drawing/2014/main" id="{1E684EA0-601D-4441-99B7-EEFD54F1631C}"/>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3" name="Freeform: Shape 122">
                <a:extLst>
                  <a:ext uri="{FF2B5EF4-FFF2-40B4-BE49-F238E27FC236}">
                    <a16:creationId xmlns:a16="http://schemas.microsoft.com/office/drawing/2014/main" id="{9BEACAF6-7AA2-4C29-8ACD-20C8CB007AAD}"/>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4" name="Freeform: Shape 123">
                <a:extLst>
                  <a:ext uri="{FF2B5EF4-FFF2-40B4-BE49-F238E27FC236}">
                    <a16:creationId xmlns:a16="http://schemas.microsoft.com/office/drawing/2014/main" id="{A87D9729-5034-401F-A3F1-A9BC376E08A1}"/>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5" name="Freeform: Shape 124">
                <a:extLst>
                  <a:ext uri="{FF2B5EF4-FFF2-40B4-BE49-F238E27FC236}">
                    <a16:creationId xmlns:a16="http://schemas.microsoft.com/office/drawing/2014/main" id="{08977067-5472-4FF6-9475-6D325713C796}"/>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6" name="Freeform: Shape 125">
                <a:extLst>
                  <a:ext uri="{FF2B5EF4-FFF2-40B4-BE49-F238E27FC236}">
                    <a16:creationId xmlns:a16="http://schemas.microsoft.com/office/drawing/2014/main" id="{490EA050-AD86-488E-A64D-1B03B532ABE0}"/>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7" name="Freeform: Shape 126">
                <a:extLst>
                  <a:ext uri="{FF2B5EF4-FFF2-40B4-BE49-F238E27FC236}">
                    <a16:creationId xmlns:a16="http://schemas.microsoft.com/office/drawing/2014/main" id="{2ED479F6-E4A3-4202-81F7-08FE813597CC}"/>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8" name="Freeform: Shape 127">
                <a:extLst>
                  <a:ext uri="{FF2B5EF4-FFF2-40B4-BE49-F238E27FC236}">
                    <a16:creationId xmlns:a16="http://schemas.microsoft.com/office/drawing/2014/main" id="{9439EC73-9471-47E1-A4FE-5ECB2D760685}"/>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110" name="Oval 109">
              <a:extLst>
                <a:ext uri="{FF2B5EF4-FFF2-40B4-BE49-F238E27FC236}">
                  <a16:creationId xmlns:a16="http://schemas.microsoft.com/office/drawing/2014/main" id="{7A78E0BB-D909-489A-97FF-E8A562EEFE98}"/>
                </a:ext>
              </a:extLst>
            </p:cNvPr>
            <p:cNvSpPr/>
            <p:nvPr/>
          </p:nvSpPr>
          <p:spPr>
            <a:xfrm>
              <a:off x="656150" y="2298030"/>
              <a:ext cx="245129" cy="24512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29" name="Group 128">
            <a:extLst>
              <a:ext uri="{FF2B5EF4-FFF2-40B4-BE49-F238E27FC236}">
                <a16:creationId xmlns:a16="http://schemas.microsoft.com/office/drawing/2014/main" id="{4AD90408-4902-4DFA-9FAF-28EA95AAC5F3}"/>
              </a:ext>
            </a:extLst>
          </p:cNvPr>
          <p:cNvGrpSpPr/>
          <p:nvPr/>
        </p:nvGrpSpPr>
        <p:grpSpPr>
          <a:xfrm>
            <a:off x="632469" y="5172271"/>
            <a:ext cx="292492" cy="299314"/>
            <a:chOff x="571359" y="2208404"/>
            <a:chExt cx="414711" cy="424381"/>
          </a:xfrm>
        </p:grpSpPr>
        <p:grpSp>
          <p:nvGrpSpPr>
            <p:cNvPr id="130" name="Graphic 75">
              <a:extLst>
                <a:ext uri="{FF2B5EF4-FFF2-40B4-BE49-F238E27FC236}">
                  <a16:creationId xmlns:a16="http://schemas.microsoft.com/office/drawing/2014/main" id="{6A688042-69AD-4198-8619-1BB2E14AB88F}"/>
                </a:ext>
              </a:extLst>
            </p:cNvPr>
            <p:cNvGrpSpPr/>
            <p:nvPr/>
          </p:nvGrpSpPr>
          <p:grpSpPr>
            <a:xfrm>
              <a:off x="571359" y="2208404"/>
              <a:ext cx="414711" cy="424381"/>
              <a:chOff x="4820236" y="1931698"/>
              <a:chExt cx="926552" cy="948156"/>
            </a:xfrm>
            <a:solidFill>
              <a:srgbClr val="1E4471"/>
            </a:solidFill>
          </p:grpSpPr>
          <p:sp>
            <p:nvSpPr>
              <p:cNvPr id="132" name="Freeform: Shape 131">
                <a:extLst>
                  <a:ext uri="{FF2B5EF4-FFF2-40B4-BE49-F238E27FC236}">
                    <a16:creationId xmlns:a16="http://schemas.microsoft.com/office/drawing/2014/main" id="{EE160C81-3487-473A-844C-7E201D36F0D7}"/>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3" name="Freeform: Shape 132">
                <a:extLst>
                  <a:ext uri="{FF2B5EF4-FFF2-40B4-BE49-F238E27FC236}">
                    <a16:creationId xmlns:a16="http://schemas.microsoft.com/office/drawing/2014/main" id="{4860A684-AFDE-42B3-BDB3-2E5CC98829C9}"/>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4" name="Freeform: Shape 133">
                <a:extLst>
                  <a:ext uri="{FF2B5EF4-FFF2-40B4-BE49-F238E27FC236}">
                    <a16:creationId xmlns:a16="http://schemas.microsoft.com/office/drawing/2014/main" id="{3213AF16-7B70-4F1B-9DF4-940568BCDEE2}"/>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5" name="Freeform: Shape 134">
                <a:extLst>
                  <a:ext uri="{FF2B5EF4-FFF2-40B4-BE49-F238E27FC236}">
                    <a16:creationId xmlns:a16="http://schemas.microsoft.com/office/drawing/2014/main" id="{B520277E-F6BA-48FA-BBF0-DF5C52858894}"/>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6" name="Freeform: Shape 135">
                <a:extLst>
                  <a:ext uri="{FF2B5EF4-FFF2-40B4-BE49-F238E27FC236}">
                    <a16:creationId xmlns:a16="http://schemas.microsoft.com/office/drawing/2014/main" id="{CCF82C96-327C-4B42-8A74-A73ABFF6EE7C}"/>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7" name="Freeform: Shape 136">
                <a:extLst>
                  <a:ext uri="{FF2B5EF4-FFF2-40B4-BE49-F238E27FC236}">
                    <a16:creationId xmlns:a16="http://schemas.microsoft.com/office/drawing/2014/main" id="{36636650-5B9B-48BE-975D-7B5844A3CF89}"/>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8" name="Freeform: Shape 137">
                <a:extLst>
                  <a:ext uri="{FF2B5EF4-FFF2-40B4-BE49-F238E27FC236}">
                    <a16:creationId xmlns:a16="http://schemas.microsoft.com/office/drawing/2014/main" id="{43E507B5-7D08-436A-AA60-F4FF4A537922}"/>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9" name="Freeform: Shape 138">
                <a:extLst>
                  <a:ext uri="{FF2B5EF4-FFF2-40B4-BE49-F238E27FC236}">
                    <a16:creationId xmlns:a16="http://schemas.microsoft.com/office/drawing/2014/main" id="{DCC6012F-D15E-4FB4-A2A0-3C22AE5016C6}"/>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0" name="Freeform: Shape 139">
                <a:extLst>
                  <a:ext uri="{FF2B5EF4-FFF2-40B4-BE49-F238E27FC236}">
                    <a16:creationId xmlns:a16="http://schemas.microsoft.com/office/drawing/2014/main" id="{FDC85BA5-E067-4F63-B044-886DF7F05527}"/>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1" name="Freeform: Shape 140">
                <a:extLst>
                  <a:ext uri="{FF2B5EF4-FFF2-40B4-BE49-F238E27FC236}">
                    <a16:creationId xmlns:a16="http://schemas.microsoft.com/office/drawing/2014/main" id="{91EF1D9D-4040-47AF-9D90-39CBE6E4034E}"/>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2" name="Freeform: Shape 141">
                <a:extLst>
                  <a:ext uri="{FF2B5EF4-FFF2-40B4-BE49-F238E27FC236}">
                    <a16:creationId xmlns:a16="http://schemas.microsoft.com/office/drawing/2014/main" id="{1E025B1C-CE65-45AC-9889-E88060BD4B35}"/>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3" name="Freeform: Shape 142">
                <a:extLst>
                  <a:ext uri="{FF2B5EF4-FFF2-40B4-BE49-F238E27FC236}">
                    <a16:creationId xmlns:a16="http://schemas.microsoft.com/office/drawing/2014/main" id="{7B4B2FB9-0B6F-4E77-9B76-239D6860E410}"/>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4" name="Freeform: Shape 143">
                <a:extLst>
                  <a:ext uri="{FF2B5EF4-FFF2-40B4-BE49-F238E27FC236}">
                    <a16:creationId xmlns:a16="http://schemas.microsoft.com/office/drawing/2014/main" id="{45E9B524-0B5C-420B-9E23-F02DF85C0F1D}"/>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5" name="Freeform: Shape 144">
                <a:extLst>
                  <a:ext uri="{FF2B5EF4-FFF2-40B4-BE49-F238E27FC236}">
                    <a16:creationId xmlns:a16="http://schemas.microsoft.com/office/drawing/2014/main" id="{BBF0A1E0-2F72-4B10-BC3D-C959A5C068BB}"/>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6" name="Freeform: Shape 145">
                <a:extLst>
                  <a:ext uri="{FF2B5EF4-FFF2-40B4-BE49-F238E27FC236}">
                    <a16:creationId xmlns:a16="http://schemas.microsoft.com/office/drawing/2014/main" id="{2313A5D0-DA37-454B-8EE2-1B525C273849}"/>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7" name="Freeform: Shape 146">
                <a:extLst>
                  <a:ext uri="{FF2B5EF4-FFF2-40B4-BE49-F238E27FC236}">
                    <a16:creationId xmlns:a16="http://schemas.microsoft.com/office/drawing/2014/main" id="{A4D14262-717A-4142-9414-6F460C88885D}"/>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8" name="Freeform: Shape 147">
                <a:extLst>
                  <a:ext uri="{FF2B5EF4-FFF2-40B4-BE49-F238E27FC236}">
                    <a16:creationId xmlns:a16="http://schemas.microsoft.com/office/drawing/2014/main" id="{A44388E3-32FF-4CA1-AA1E-9396A751F8B9}"/>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49" name="Freeform: Shape 148">
                <a:extLst>
                  <a:ext uri="{FF2B5EF4-FFF2-40B4-BE49-F238E27FC236}">
                    <a16:creationId xmlns:a16="http://schemas.microsoft.com/office/drawing/2014/main" id="{7A14B120-9D0A-421E-9F56-5BC66F764831}"/>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131" name="Oval 130">
              <a:extLst>
                <a:ext uri="{FF2B5EF4-FFF2-40B4-BE49-F238E27FC236}">
                  <a16:creationId xmlns:a16="http://schemas.microsoft.com/office/drawing/2014/main" id="{C8B8269F-7302-41F5-AE56-2FCC9171B091}"/>
                </a:ext>
              </a:extLst>
            </p:cNvPr>
            <p:cNvSpPr/>
            <p:nvPr/>
          </p:nvSpPr>
          <p:spPr>
            <a:xfrm>
              <a:off x="656150" y="2298030"/>
              <a:ext cx="245129" cy="24512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Footer Placeholder 1">
            <a:extLst>
              <a:ext uri="{FF2B5EF4-FFF2-40B4-BE49-F238E27FC236}">
                <a16:creationId xmlns:a16="http://schemas.microsoft.com/office/drawing/2014/main" id="{AC1E6CD6-9048-4285-9CB4-0A6C6C82215B}"/>
              </a:ext>
            </a:extLst>
          </p:cNvPr>
          <p:cNvSpPr>
            <a:spLocks noGrp="1"/>
          </p:cNvSpPr>
          <p:nvPr>
            <p:ph type="ftr" sz="quarter" idx="10"/>
          </p:nvPr>
        </p:nvSpPr>
        <p:spPr/>
        <p:txBody>
          <a:bodyPr/>
          <a:lstStyle/>
          <a:p>
            <a:r>
              <a:rPr lang="en-US" dirty="0"/>
              <a:t>© 2020 Cisco and/or its affiliates. All rights reserved. Cisco Confidential</a:t>
            </a:r>
          </a:p>
        </p:txBody>
      </p:sp>
      <p:sp>
        <p:nvSpPr>
          <p:cNvPr id="150" name="Title 1">
            <a:extLst>
              <a:ext uri="{FF2B5EF4-FFF2-40B4-BE49-F238E27FC236}">
                <a16:creationId xmlns:a16="http://schemas.microsoft.com/office/drawing/2014/main" id="{C184FB5F-CA82-43DD-B7F2-3CC5473FE4E6}"/>
              </a:ext>
            </a:extLst>
          </p:cNvPr>
          <p:cNvSpPr>
            <a:spLocks noGrp="1"/>
          </p:cNvSpPr>
          <p:nvPr>
            <p:ph type="title"/>
          </p:nvPr>
        </p:nvSpPr>
        <p:spPr>
          <a:xfrm>
            <a:off x="533400" y="481807"/>
            <a:ext cx="11127317" cy="787908"/>
          </a:xfrm>
        </p:spPr>
        <p:txBody>
          <a:bodyPr/>
          <a:lstStyle/>
          <a:p>
            <a:r>
              <a:rPr lang="en-US" sz="3200" dirty="0"/>
              <a:t>Regardless of what business you’re in, your IT and Security teams need to:</a:t>
            </a:r>
          </a:p>
        </p:txBody>
      </p:sp>
    </p:spTree>
    <p:extLst>
      <p:ext uri="{BB962C8B-B14F-4D97-AF65-F5344CB8AC3E}">
        <p14:creationId xmlns:p14="http://schemas.microsoft.com/office/powerpoint/2010/main" val="38072735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E77AC8E1-10AF-43E5-9711-1DAF2460EB47}"/>
              </a:ext>
            </a:extLst>
          </p:cNvPr>
          <p:cNvGrpSpPr/>
          <p:nvPr/>
        </p:nvGrpSpPr>
        <p:grpSpPr>
          <a:xfrm>
            <a:off x="7320641" y="2963805"/>
            <a:ext cx="2238198" cy="2141772"/>
            <a:chOff x="7888816" y="2963805"/>
            <a:chExt cx="2238198" cy="2141772"/>
          </a:xfrm>
        </p:grpSpPr>
        <p:sp>
          <p:nvSpPr>
            <p:cNvPr id="22" name="Rectangle 21">
              <a:extLst>
                <a:ext uri="{FF2B5EF4-FFF2-40B4-BE49-F238E27FC236}">
                  <a16:creationId xmlns:a16="http://schemas.microsoft.com/office/drawing/2014/main" id="{03615DE8-C681-4C61-A25C-8E432015C98D}"/>
                </a:ext>
              </a:extLst>
            </p:cNvPr>
            <p:cNvSpPr/>
            <p:nvPr/>
          </p:nvSpPr>
          <p:spPr>
            <a:xfrm>
              <a:off x="7888816" y="4828578"/>
              <a:ext cx="2238198" cy="276999"/>
            </a:xfrm>
            <a:prstGeom prst="rect">
              <a:avLst/>
            </a:prstGeom>
          </p:spPr>
          <p:txBody>
            <a:bodyPr wrap="square">
              <a:spAutoFit/>
            </a:bodyPr>
            <a:lstStyle/>
            <a:p>
              <a:pPr algn="ctr">
                <a:spcBef>
                  <a:spcPts val="1200"/>
                </a:spcBef>
                <a:spcAft>
                  <a:spcPts val="1200"/>
                </a:spcAft>
              </a:pPr>
              <a:r>
                <a:rPr lang="en-US" sz="1200" dirty="0">
                  <a:solidFill>
                    <a:schemeClr val="bg1"/>
                  </a:solidFill>
                </a:rPr>
                <a:t>Endpoint Security</a:t>
              </a:r>
            </a:p>
          </p:txBody>
        </p:sp>
        <p:grpSp>
          <p:nvGrpSpPr>
            <p:cNvPr id="9" name="Group 8">
              <a:extLst>
                <a:ext uri="{FF2B5EF4-FFF2-40B4-BE49-F238E27FC236}">
                  <a16:creationId xmlns:a16="http://schemas.microsoft.com/office/drawing/2014/main" id="{6EDDA1BF-C645-4F51-B739-F5997FE47CD2}"/>
                </a:ext>
              </a:extLst>
            </p:cNvPr>
            <p:cNvGrpSpPr/>
            <p:nvPr/>
          </p:nvGrpSpPr>
          <p:grpSpPr>
            <a:xfrm>
              <a:off x="8157510" y="2963805"/>
              <a:ext cx="1761987" cy="1737744"/>
              <a:chOff x="7921487" y="2441873"/>
              <a:chExt cx="2209800" cy="2209800"/>
            </a:xfrm>
          </p:grpSpPr>
          <p:sp>
            <p:nvSpPr>
              <p:cNvPr id="16" name="Oval 15">
                <a:extLst>
                  <a:ext uri="{FF2B5EF4-FFF2-40B4-BE49-F238E27FC236}">
                    <a16:creationId xmlns:a16="http://schemas.microsoft.com/office/drawing/2014/main" id="{AA1A1A1B-EEFF-48DB-B9D8-A33964EDFC80}"/>
                  </a:ext>
                </a:extLst>
              </p:cNvPr>
              <p:cNvSpPr/>
              <p:nvPr/>
            </p:nvSpPr>
            <p:spPr>
              <a:xfrm>
                <a:off x="7921487" y="2441873"/>
                <a:ext cx="2209800" cy="2209800"/>
              </a:xfrm>
              <a:prstGeom prst="ellipse">
                <a:avLst/>
              </a:prstGeom>
              <a:solidFill>
                <a:schemeClr val="tx2">
                  <a:lumMod val="75000"/>
                  <a:alpha val="7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4" name="Group 23">
                <a:extLst>
                  <a:ext uri="{FF2B5EF4-FFF2-40B4-BE49-F238E27FC236}">
                    <a16:creationId xmlns:a16="http://schemas.microsoft.com/office/drawing/2014/main" id="{E7E21F4F-CCEF-442E-A4DC-0188D1FC9989}"/>
                  </a:ext>
                </a:extLst>
              </p:cNvPr>
              <p:cNvGrpSpPr/>
              <p:nvPr/>
            </p:nvGrpSpPr>
            <p:grpSpPr>
              <a:xfrm>
                <a:off x="8553963" y="3000377"/>
                <a:ext cx="944848" cy="1092792"/>
                <a:chOff x="8473444" y="-2023109"/>
                <a:chExt cx="1070612" cy="1238248"/>
              </a:xfrm>
              <a:solidFill>
                <a:schemeClr val="bg2"/>
              </a:solidFill>
            </p:grpSpPr>
            <p:sp>
              <p:nvSpPr>
                <p:cNvPr id="25" name="Freeform: Shape 24">
                  <a:extLst>
                    <a:ext uri="{FF2B5EF4-FFF2-40B4-BE49-F238E27FC236}">
                      <a16:creationId xmlns:a16="http://schemas.microsoft.com/office/drawing/2014/main" id="{746BF768-6D02-4F5A-BA5B-4D2E9C01CB5C}"/>
                    </a:ext>
                  </a:extLst>
                </p:cNvPr>
                <p:cNvSpPr/>
                <p:nvPr/>
              </p:nvSpPr>
              <p:spPr>
                <a:xfrm>
                  <a:off x="8473444" y="-2023109"/>
                  <a:ext cx="1070612" cy="1238248"/>
                </a:xfrm>
                <a:custGeom>
                  <a:avLst/>
                  <a:gdLst>
                    <a:gd name="connsiteX0" fmla="*/ 533401 w 1070612"/>
                    <a:gd name="connsiteY0" fmla="*/ 1238248 h 1238248"/>
                    <a:gd name="connsiteX1" fmla="*/ 0 w 1070612"/>
                    <a:gd name="connsiteY1" fmla="*/ 929639 h 1238248"/>
                    <a:gd name="connsiteX2" fmla="*/ 0 w 1070612"/>
                    <a:gd name="connsiteY2" fmla="*/ 308610 h 1238248"/>
                    <a:gd name="connsiteX3" fmla="*/ 533401 w 1070612"/>
                    <a:gd name="connsiteY3" fmla="*/ 0 h 1238248"/>
                    <a:gd name="connsiteX4" fmla="*/ 1070612 w 1070612"/>
                    <a:gd name="connsiteY4" fmla="*/ 308610 h 1238248"/>
                    <a:gd name="connsiteX5" fmla="*/ 1070612 w 1070612"/>
                    <a:gd name="connsiteY5" fmla="*/ 925829 h 1238248"/>
                    <a:gd name="connsiteX6" fmla="*/ 533401 w 1070612"/>
                    <a:gd name="connsiteY6" fmla="*/ 1238248 h 1238248"/>
                    <a:gd name="connsiteX7" fmla="*/ 34290 w 1070612"/>
                    <a:gd name="connsiteY7" fmla="*/ 906779 h 1238248"/>
                    <a:gd name="connsiteX8" fmla="*/ 529591 w 1070612"/>
                    <a:gd name="connsiteY8" fmla="*/ 1192528 h 1238248"/>
                    <a:gd name="connsiteX9" fmla="*/ 1028702 w 1070612"/>
                    <a:gd name="connsiteY9" fmla="*/ 906779 h 1238248"/>
                    <a:gd name="connsiteX10" fmla="*/ 1028702 w 1070612"/>
                    <a:gd name="connsiteY10" fmla="*/ 331470 h 1238248"/>
                    <a:gd name="connsiteX11" fmla="*/ 529591 w 1070612"/>
                    <a:gd name="connsiteY11" fmla="*/ 45720 h 1238248"/>
                    <a:gd name="connsiteX12" fmla="*/ 34290 w 1070612"/>
                    <a:gd name="connsiteY12" fmla="*/ 331470 h 1238248"/>
                    <a:gd name="connsiteX13" fmla="*/ 34290 w 1070612"/>
                    <a:gd name="connsiteY13" fmla="*/ 906779 h 1238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0612" h="1238248">
                      <a:moveTo>
                        <a:pt x="533401" y="1238248"/>
                      </a:moveTo>
                      <a:lnTo>
                        <a:pt x="0" y="929639"/>
                      </a:lnTo>
                      <a:lnTo>
                        <a:pt x="0" y="308610"/>
                      </a:lnTo>
                      <a:lnTo>
                        <a:pt x="533401" y="0"/>
                      </a:lnTo>
                      <a:lnTo>
                        <a:pt x="1070612" y="308610"/>
                      </a:lnTo>
                      <a:lnTo>
                        <a:pt x="1070612" y="925829"/>
                      </a:lnTo>
                      <a:lnTo>
                        <a:pt x="533401" y="1238248"/>
                      </a:lnTo>
                      <a:close/>
                      <a:moveTo>
                        <a:pt x="34290" y="906779"/>
                      </a:moveTo>
                      <a:lnTo>
                        <a:pt x="529591" y="1192528"/>
                      </a:lnTo>
                      <a:lnTo>
                        <a:pt x="1028702" y="906779"/>
                      </a:lnTo>
                      <a:lnTo>
                        <a:pt x="1028702" y="331470"/>
                      </a:lnTo>
                      <a:lnTo>
                        <a:pt x="529591" y="45720"/>
                      </a:lnTo>
                      <a:lnTo>
                        <a:pt x="34290" y="331470"/>
                      </a:lnTo>
                      <a:lnTo>
                        <a:pt x="34290" y="906779"/>
                      </a:lnTo>
                      <a:close/>
                    </a:path>
                  </a:pathLst>
                </a:custGeom>
                <a:grpFill/>
                <a:ln w="38100" cap="flat">
                  <a:noFill/>
                  <a:prstDash val="solid"/>
                  <a:miter/>
                </a:ln>
              </p:spPr>
              <p:txBody>
                <a:bodyPr rtlCol="0" anchor="ctr"/>
                <a:lstStyle/>
                <a:p>
                  <a:endParaRPr lang="en-IN" dirty="0"/>
                </a:p>
              </p:txBody>
            </p:sp>
            <p:sp>
              <p:nvSpPr>
                <p:cNvPr id="26" name="Freeform: Shape 25">
                  <a:extLst>
                    <a:ext uri="{FF2B5EF4-FFF2-40B4-BE49-F238E27FC236}">
                      <a16:creationId xmlns:a16="http://schemas.microsoft.com/office/drawing/2014/main" id="{E72254FD-E01C-483E-B6FF-9C9A32C2B1EE}"/>
                    </a:ext>
                  </a:extLst>
                </p:cNvPr>
                <p:cNvSpPr/>
                <p:nvPr/>
              </p:nvSpPr>
              <p:spPr>
                <a:xfrm>
                  <a:off x="8763005" y="-1645919"/>
                  <a:ext cx="487681" cy="487679"/>
                </a:xfrm>
                <a:custGeom>
                  <a:avLst/>
                  <a:gdLst>
                    <a:gd name="connsiteX0" fmla="*/ 243840 w 487681"/>
                    <a:gd name="connsiteY0" fmla="*/ 487679 h 487679"/>
                    <a:gd name="connsiteX1" fmla="*/ 0 w 487681"/>
                    <a:gd name="connsiteY1" fmla="*/ 243840 h 487679"/>
                    <a:gd name="connsiteX2" fmla="*/ 243840 w 487681"/>
                    <a:gd name="connsiteY2" fmla="*/ 0 h 487679"/>
                    <a:gd name="connsiteX3" fmla="*/ 487681 w 487681"/>
                    <a:gd name="connsiteY3" fmla="*/ 243840 h 487679"/>
                    <a:gd name="connsiteX4" fmla="*/ 243840 w 487681"/>
                    <a:gd name="connsiteY4" fmla="*/ 487679 h 487679"/>
                    <a:gd name="connsiteX5" fmla="*/ 243840 w 487681"/>
                    <a:gd name="connsiteY5" fmla="*/ 38100 h 487679"/>
                    <a:gd name="connsiteX6" fmla="*/ 38100 w 487681"/>
                    <a:gd name="connsiteY6" fmla="*/ 243840 h 487679"/>
                    <a:gd name="connsiteX7" fmla="*/ 243840 w 487681"/>
                    <a:gd name="connsiteY7" fmla="*/ 449579 h 487679"/>
                    <a:gd name="connsiteX8" fmla="*/ 449581 w 487681"/>
                    <a:gd name="connsiteY8" fmla="*/ 243840 h 487679"/>
                    <a:gd name="connsiteX9" fmla="*/ 243840 w 487681"/>
                    <a:gd name="connsiteY9" fmla="*/ 38100 h 48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681" h="487679">
                      <a:moveTo>
                        <a:pt x="243840" y="487679"/>
                      </a:moveTo>
                      <a:cubicBezTo>
                        <a:pt x="110490" y="487679"/>
                        <a:pt x="0" y="377189"/>
                        <a:pt x="0" y="243840"/>
                      </a:cubicBezTo>
                      <a:cubicBezTo>
                        <a:pt x="0" y="110490"/>
                        <a:pt x="110490" y="0"/>
                        <a:pt x="243840" y="0"/>
                      </a:cubicBezTo>
                      <a:cubicBezTo>
                        <a:pt x="377191" y="0"/>
                        <a:pt x="487681" y="110490"/>
                        <a:pt x="487681" y="243840"/>
                      </a:cubicBezTo>
                      <a:cubicBezTo>
                        <a:pt x="487681" y="377189"/>
                        <a:pt x="377191" y="487679"/>
                        <a:pt x="243840" y="487679"/>
                      </a:cubicBezTo>
                      <a:close/>
                      <a:moveTo>
                        <a:pt x="243840" y="38100"/>
                      </a:moveTo>
                      <a:cubicBezTo>
                        <a:pt x="129540" y="38100"/>
                        <a:pt x="38100" y="129540"/>
                        <a:pt x="38100" y="243840"/>
                      </a:cubicBezTo>
                      <a:cubicBezTo>
                        <a:pt x="38100" y="358139"/>
                        <a:pt x="129540" y="449579"/>
                        <a:pt x="243840" y="449579"/>
                      </a:cubicBezTo>
                      <a:cubicBezTo>
                        <a:pt x="358141" y="449579"/>
                        <a:pt x="449581" y="358139"/>
                        <a:pt x="449581" y="243840"/>
                      </a:cubicBezTo>
                      <a:cubicBezTo>
                        <a:pt x="449581" y="129540"/>
                        <a:pt x="358141" y="38100"/>
                        <a:pt x="243840" y="38100"/>
                      </a:cubicBezTo>
                      <a:close/>
                    </a:path>
                  </a:pathLst>
                </a:custGeom>
                <a:grpFill/>
                <a:ln w="38100" cap="flat">
                  <a:noFill/>
                  <a:prstDash val="solid"/>
                  <a:miter/>
                </a:ln>
              </p:spPr>
              <p:txBody>
                <a:bodyPr rtlCol="0" anchor="ctr"/>
                <a:lstStyle/>
                <a:p>
                  <a:endParaRPr lang="en-IN" dirty="0"/>
                </a:p>
              </p:txBody>
            </p:sp>
          </p:grpSp>
        </p:grpSp>
      </p:grpSp>
      <p:grpSp>
        <p:nvGrpSpPr>
          <p:cNvPr id="13" name="Group 12">
            <a:extLst>
              <a:ext uri="{FF2B5EF4-FFF2-40B4-BE49-F238E27FC236}">
                <a16:creationId xmlns:a16="http://schemas.microsoft.com/office/drawing/2014/main" id="{58C70E39-B3CE-4E02-9F70-3DA7018EE1F4}"/>
              </a:ext>
            </a:extLst>
          </p:cNvPr>
          <p:cNvGrpSpPr/>
          <p:nvPr/>
        </p:nvGrpSpPr>
        <p:grpSpPr>
          <a:xfrm>
            <a:off x="4135731" y="2963805"/>
            <a:ext cx="1930002" cy="2141772"/>
            <a:chOff x="4135731" y="2963805"/>
            <a:chExt cx="1930002" cy="2141772"/>
          </a:xfrm>
        </p:grpSpPr>
        <p:sp>
          <p:nvSpPr>
            <p:cNvPr id="20" name="Rectangle 19">
              <a:extLst>
                <a:ext uri="{FF2B5EF4-FFF2-40B4-BE49-F238E27FC236}">
                  <a16:creationId xmlns:a16="http://schemas.microsoft.com/office/drawing/2014/main" id="{2919AD26-04C4-4440-864D-D1F347A1BE05}"/>
                </a:ext>
              </a:extLst>
            </p:cNvPr>
            <p:cNvSpPr/>
            <p:nvPr/>
          </p:nvSpPr>
          <p:spPr>
            <a:xfrm>
              <a:off x="4135731" y="4828578"/>
              <a:ext cx="1930002" cy="276999"/>
            </a:xfrm>
            <a:prstGeom prst="rect">
              <a:avLst/>
            </a:prstGeom>
          </p:spPr>
          <p:txBody>
            <a:bodyPr wrap="square">
              <a:spAutoFit/>
            </a:bodyPr>
            <a:lstStyle/>
            <a:p>
              <a:pPr algn="ctr">
                <a:spcBef>
                  <a:spcPts val="1200"/>
                </a:spcBef>
                <a:spcAft>
                  <a:spcPts val="1200"/>
                </a:spcAft>
              </a:pPr>
              <a:r>
                <a:rPr lang="en-US" sz="1200" dirty="0">
                  <a:solidFill>
                    <a:schemeClr val="bg1"/>
                  </a:solidFill>
                </a:rPr>
                <a:t>Virtual Private Network</a:t>
              </a:r>
            </a:p>
          </p:txBody>
        </p:sp>
        <p:grpSp>
          <p:nvGrpSpPr>
            <p:cNvPr id="7" name="Group 6">
              <a:extLst>
                <a:ext uri="{FF2B5EF4-FFF2-40B4-BE49-F238E27FC236}">
                  <a16:creationId xmlns:a16="http://schemas.microsoft.com/office/drawing/2014/main" id="{D25C643E-EA6D-496E-8850-5CCE12B75813}"/>
                </a:ext>
              </a:extLst>
            </p:cNvPr>
            <p:cNvGrpSpPr/>
            <p:nvPr/>
          </p:nvGrpSpPr>
          <p:grpSpPr>
            <a:xfrm>
              <a:off x="4250327" y="2963805"/>
              <a:ext cx="1761987" cy="1737744"/>
              <a:chOff x="4014304" y="2441873"/>
              <a:chExt cx="2209800" cy="2209800"/>
            </a:xfrm>
          </p:grpSpPr>
          <p:sp>
            <p:nvSpPr>
              <p:cNvPr id="14" name="Oval 13">
                <a:extLst>
                  <a:ext uri="{FF2B5EF4-FFF2-40B4-BE49-F238E27FC236}">
                    <a16:creationId xmlns:a16="http://schemas.microsoft.com/office/drawing/2014/main" id="{71512407-C9AA-45AA-810C-05D90E4FD70B}"/>
                  </a:ext>
                </a:extLst>
              </p:cNvPr>
              <p:cNvSpPr/>
              <p:nvPr/>
            </p:nvSpPr>
            <p:spPr>
              <a:xfrm>
                <a:off x="4014304" y="2441873"/>
                <a:ext cx="2209800" cy="2209800"/>
              </a:xfrm>
              <a:prstGeom prst="ellipse">
                <a:avLst/>
              </a:prstGeom>
              <a:solidFill>
                <a:schemeClr val="accent2">
                  <a:alpha val="7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1" name="Group 30">
                <a:extLst>
                  <a:ext uri="{FF2B5EF4-FFF2-40B4-BE49-F238E27FC236}">
                    <a16:creationId xmlns:a16="http://schemas.microsoft.com/office/drawing/2014/main" id="{6622368C-8262-4725-86AD-2DA4466B5E01}"/>
                  </a:ext>
                </a:extLst>
              </p:cNvPr>
              <p:cNvGrpSpPr/>
              <p:nvPr/>
            </p:nvGrpSpPr>
            <p:grpSpPr>
              <a:xfrm>
                <a:off x="4632890" y="2989445"/>
                <a:ext cx="972628" cy="1114656"/>
                <a:chOff x="4736130" y="-2038349"/>
                <a:chExt cx="1070499" cy="1226818"/>
              </a:xfrm>
              <a:solidFill>
                <a:schemeClr val="bg2"/>
              </a:solidFill>
            </p:grpSpPr>
            <p:sp>
              <p:nvSpPr>
                <p:cNvPr id="32" name="Freeform: Shape 31">
                  <a:extLst>
                    <a:ext uri="{FF2B5EF4-FFF2-40B4-BE49-F238E27FC236}">
                      <a16:creationId xmlns:a16="http://schemas.microsoft.com/office/drawing/2014/main" id="{F674A98A-3E36-4D48-8AD5-8FFCF7C7E53E}"/>
                    </a:ext>
                  </a:extLst>
                </p:cNvPr>
                <p:cNvSpPr/>
                <p:nvPr/>
              </p:nvSpPr>
              <p:spPr>
                <a:xfrm>
                  <a:off x="4964427" y="-2000249"/>
                  <a:ext cx="609601" cy="1188718"/>
                </a:xfrm>
                <a:custGeom>
                  <a:avLst/>
                  <a:gdLst>
                    <a:gd name="connsiteX0" fmla="*/ 304801 w 609601"/>
                    <a:gd name="connsiteY0" fmla="*/ 1188718 h 1188718"/>
                    <a:gd name="connsiteX1" fmla="*/ 0 w 609601"/>
                    <a:gd name="connsiteY1" fmla="*/ 594359 h 1188718"/>
                    <a:gd name="connsiteX2" fmla="*/ 304801 w 609601"/>
                    <a:gd name="connsiteY2" fmla="*/ 0 h 1188718"/>
                    <a:gd name="connsiteX3" fmla="*/ 609601 w 609601"/>
                    <a:gd name="connsiteY3" fmla="*/ 594359 h 1188718"/>
                    <a:gd name="connsiteX4" fmla="*/ 304801 w 609601"/>
                    <a:gd name="connsiteY4" fmla="*/ 1188718 h 1188718"/>
                    <a:gd name="connsiteX5" fmla="*/ 304801 w 609601"/>
                    <a:gd name="connsiteY5" fmla="*/ 41910 h 1188718"/>
                    <a:gd name="connsiteX6" fmla="*/ 38100 w 609601"/>
                    <a:gd name="connsiteY6" fmla="*/ 598169 h 1188718"/>
                    <a:gd name="connsiteX7" fmla="*/ 304801 w 609601"/>
                    <a:gd name="connsiteY7" fmla="*/ 1154428 h 1188718"/>
                    <a:gd name="connsiteX8" fmla="*/ 571501 w 609601"/>
                    <a:gd name="connsiteY8" fmla="*/ 598169 h 1188718"/>
                    <a:gd name="connsiteX9" fmla="*/ 304801 w 609601"/>
                    <a:gd name="connsiteY9" fmla="*/ 41910 h 118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1" h="1188718">
                      <a:moveTo>
                        <a:pt x="304801" y="1188718"/>
                      </a:moveTo>
                      <a:cubicBezTo>
                        <a:pt x="133350" y="1188718"/>
                        <a:pt x="0" y="929639"/>
                        <a:pt x="0" y="594359"/>
                      </a:cubicBezTo>
                      <a:cubicBezTo>
                        <a:pt x="0" y="259080"/>
                        <a:pt x="133350" y="0"/>
                        <a:pt x="304801" y="0"/>
                      </a:cubicBezTo>
                      <a:cubicBezTo>
                        <a:pt x="476251" y="0"/>
                        <a:pt x="609601" y="259080"/>
                        <a:pt x="609601" y="594359"/>
                      </a:cubicBezTo>
                      <a:cubicBezTo>
                        <a:pt x="609601" y="929639"/>
                        <a:pt x="476251" y="1188718"/>
                        <a:pt x="304801" y="1188718"/>
                      </a:cubicBezTo>
                      <a:close/>
                      <a:moveTo>
                        <a:pt x="304801" y="41910"/>
                      </a:moveTo>
                      <a:cubicBezTo>
                        <a:pt x="160020" y="41910"/>
                        <a:pt x="38100" y="297180"/>
                        <a:pt x="38100" y="598169"/>
                      </a:cubicBezTo>
                      <a:cubicBezTo>
                        <a:pt x="38100" y="899159"/>
                        <a:pt x="160020" y="1154428"/>
                        <a:pt x="304801" y="1154428"/>
                      </a:cubicBezTo>
                      <a:cubicBezTo>
                        <a:pt x="449581" y="1154428"/>
                        <a:pt x="571501" y="899159"/>
                        <a:pt x="571501" y="598169"/>
                      </a:cubicBezTo>
                      <a:cubicBezTo>
                        <a:pt x="571501" y="297180"/>
                        <a:pt x="449581" y="41910"/>
                        <a:pt x="304801" y="41910"/>
                      </a:cubicBezTo>
                      <a:close/>
                    </a:path>
                  </a:pathLst>
                </a:custGeom>
                <a:grpFill/>
                <a:ln w="38100" cap="flat">
                  <a:noFill/>
                  <a:prstDash val="solid"/>
                  <a:miter/>
                </a:ln>
              </p:spPr>
              <p:txBody>
                <a:bodyPr rtlCol="0" anchor="ctr"/>
                <a:lstStyle/>
                <a:p>
                  <a:endParaRPr lang="en-IN" dirty="0"/>
                </a:p>
              </p:txBody>
            </p:sp>
            <p:sp>
              <p:nvSpPr>
                <p:cNvPr id="33" name="Freeform: Shape 32">
                  <a:extLst>
                    <a:ext uri="{FF2B5EF4-FFF2-40B4-BE49-F238E27FC236}">
                      <a16:creationId xmlns:a16="http://schemas.microsoft.com/office/drawing/2014/main" id="{62DA539B-DC29-450E-BC33-A60A422B2E7A}"/>
                    </a:ext>
                  </a:extLst>
                </p:cNvPr>
                <p:cNvSpPr/>
                <p:nvPr/>
              </p:nvSpPr>
              <p:spPr>
                <a:xfrm>
                  <a:off x="4736130" y="-1803088"/>
                  <a:ext cx="1070499" cy="797247"/>
                </a:xfrm>
                <a:custGeom>
                  <a:avLst/>
                  <a:gdLst>
                    <a:gd name="connsiteX0" fmla="*/ 251157 w 1070499"/>
                    <a:gd name="connsiteY0" fmla="*/ 797248 h 797247"/>
                    <a:gd name="connsiteX1" fmla="*/ 22557 w 1070499"/>
                    <a:gd name="connsiteY1" fmla="*/ 694378 h 797247"/>
                    <a:gd name="connsiteX2" fmla="*/ 384507 w 1070499"/>
                    <a:gd name="connsiteY2" fmla="*/ 134309 h 797247"/>
                    <a:gd name="connsiteX3" fmla="*/ 384507 w 1070499"/>
                    <a:gd name="connsiteY3" fmla="*/ 134309 h 797247"/>
                    <a:gd name="connsiteX4" fmla="*/ 784558 w 1070499"/>
                    <a:gd name="connsiteY4" fmla="*/ 959 h 797247"/>
                    <a:gd name="connsiteX5" fmla="*/ 1047449 w 1070499"/>
                    <a:gd name="connsiteY5" fmla="*/ 103829 h 797247"/>
                    <a:gd name="connsiteX6" fmla="*/ 1001729 w 1070499"/>
                    <a:gd name="connsiteY6" fmla="*/ 381959 h 797247"/>
                    <a:gd name="connsiteX7" fmla="*/ 685498 w 1070499"/>
                    <a:gd name="connsiteY7" fmla="*/ 663898 h 797247"/>
                    <a:gd name="connsiteX8" fmla="*/ 285447 w 1070499"/>
                    <a:gd name="connsiteY8" fmla="*/ 797248 h 797247"/>
                    <a:gd name="connsiteX9" fmla="*/ 251157 w 1070499"/>
                    <a:gd name="connsiteY9" fmla="*/ 797248 h 797247"/>
                    <a:gd name="connsiteX10" fmla="*/ 399747 w 1070499"/>
                    <a:gd name="connsiteY10" fmla="*/ 168599 h 797247"/>
                    <a:gd name="connsiteX11" fmla="*/ 53037 w 1070499"/>
                    <a:gd name="connsiteY11" fmla="*/ 675328 h 797247"/>
                    <a:gd name="connsiteX12" fmla="*/ 281637 w 1070499"/>
                    <a:gd name="connsiteY12" fmla="*/ 755338 h 797247"/>
                    <a:gd name="connsiteX13" fmla="*/ 666448 w 1070499"/>
                    <a:gd name="connsiteY13" fmla="*/ 625798 h 797247"/>
                    <a:gd name="connsiteX14" fmla="*/ 971249 w 1070499"/>
                    <a:gd name="connsiteY14" fmla="*/ 355289 h 797247"/>
                    <a:gd name="connsiteX15" fmla="*/ 1016969 w 1070499"/>
                    <a:gd name="connsiteY15" fmla="*/ 115259 h 797247"/>
                    <a:gd name="connsiteX16" fmla="*/ 788368 w 1070499"/>
                    <a:gd name="connsiteY16" fmla="*/ 35249 h 797247"/>
                    <a:gd name="connsiteX17" fmla="*/ 399747 w 1070499"/>
                    <a:gd name="connsiteY17" fmla="*/ 168599 h 797247"/>
                    <a:gd name="connsiteX18" fmla="*/ 399747 w 1070499"/>
                    <a:gd name="connsiteY18" fmla="*/ 168599 h 79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0499" h="797247">
                      <a:moveTo>
                        <a:pt x="251157" y="797248"/>
                      </a:moveTo>
                      <a:cubicBezTo>
                        <a:pt x="140667" y="797248"/>
                        <a:pt x="60657" y="762958"/>
                        <a:pt x="22557" y="694378"/>
                      </a:cubicBezTo>
                      <a:cubicBezTo>
                        <a:pt x="-61264" y="545788"/>
                        <a:pt x="94947" y="301949"/>
                        <a:pt x="384507" y="134309"/>
                      </a:cubicBezTo>
                      <a:lnTo>
                        <a:pt x="384507" y="134309"/>
                      </a:lnTo>
                      <a:cubicBezTo>
                        <a:pt x="521668" y="54299"/>
                        <a:pt x="662638" y="8579"/>
                        <a:pt x="784558" y="959"/>
                      </a:cubicBezTo>
                      <a:cubicBezTo>
                        <a:pt x="910288" y="-6661"/>
                        <a:pt x="1005539" y="31439"/>
                        <a:pt x="1047449" y="103829"/>
                      </a:cubicBezTo>
                      <a:cubicBezTo>
                        <a:pt x="1089359" y="176219"/>
                        <a:pt x="1074119" y="275279"/>
                        <a:pt x="1001729" y="381959"/>
                      </a:cubicBezTo>
                      <a:cubicBezTo>
                        <a:pt x="933149" y="484828"/>
                        <a:pt x="822658" y="583888"/>
                        <a:pt x="685498" y="663898"/>
                      </a:cubicBezTo>
                      <a:cubicBezTo>
                        <a:pt x="548338" y="743908"/>
                        <a:pt x="407367" y="789628"/>
                        <a:pt x="285447" y="797248"/>
                      </a:cubicBezTo>
                      <a:cubicBezTo>
                        <a:pt x="274017" y="797248"/>
                        <a:pt x="262587" y="797248"/>
                        <a:pt x="251157" y="797248"/>
                      </a:cubicBezTo>
                      <a:close/>
                      <a:moveTo>
                        <a:pt x="399747" y="168599"/>
                      </a:moveTo>
                      <a:cubicBezTo>
                        <a:pt x="140667" y="320999"/>
                        <a:pt x="-19354" y="553408"/>
                        <a:pt x="53037" y="675328"/>
                      </a:cubicBezTo>
                      <a:cubicBezTo>
                        <a:pt x="87327" y="736288"/>
                        <a:pt x="167337" y="762958"/>
                        <a:pt x="281637" y="755338"/>
                      </a:cubicBezTo>
                      <a:cubicBezTo>
                        <a:pt x="399747" y="747718"/>
                        <a:pt x="536908" y="701998"/>
                        <a:pt x="666448" y="625798"/>
                      </a:cubicBezTo>
                      <a:cubicBezTo>
                        <a:pt x="795988" y="549598"/>
                        <a:pt x="906478" y="454349"/>
                        <a:pt x="971249" y="355289"/>
                      </a:cubicBezTo>
                      <a:cubicBezTo>
                        <a:pt x="1032209" y="260039"/>
                        <a:pt x="1051259" y="176219"/>
                        <a:pt x="1016969" y="115259"/>
                      </a:cubicBezTo>
                      <a:cubicBezTo>
                        <a:pt x="982679" y="54299"/>
                        <a:pt x="902668" y="27629"/>
                        <a:pt x="788368" y="35249"/>
                      </a:cubicBezTo>
                      <a:cubicBezTo>
                        <a:pt x="666448" y="46679"/>
                        <a:pt x="529288" y="92399"/>
                        <a:pt x="399747" y="168599"/>
                      </a:cubicBezTo>
                      <a:lnTo>
                        <a:pt x="399747" y="168599"/>
                      </a:lnTo>
                      <a:close/>
                    </a:path>
                  </a:pathLst>
                </a:custGeom>
                <a:grpFill/>
                <a:ln w="38100" cap="flat">
                  <a:noFill/>
                  <a:prstDash val="solid"/>
                  <a:miter/>
                </a:ln>
              </p:spPr>
              <p:txBody>
                <a:bodyPr rtlCol="0" anchor="ctr"/>
                <a:lstStyle/>
                <a:p>
                  <a:endParaRPr lang="en-IN" dirty="0"/>
                </a:p>
              </p:txBody>
            </p:sp>
            <p:sp>
              <p:nvSpPr>
                <p:cNvPr id="34" name="Freeform: Shape 33">
                  <a:extLst>
                    <a:ext uri="{FF2B5EF4-FFF2-40B4-BE49-F238E27FC236}">
                      <a16:creationId xmlns:a16="http://schemas.microsoft.com/office/drawing/2014/main" id="{78B7E1C3-7528-42B6-8F60-2274213E4B05}"/>
                    </a:ext>
                  </a:extLst>
                </p:cNvPr>
                <p:cNvSpPr/>
                <p:nvPr/>
              </p:nvSpPr>
              <p:spPr>
                <a:xfrm>
                  <a:off x="4736130" y="-1803088"/>
                  <a:ext cx="1070499" cy="797247"/>
                </a:xfrm>
                <a:custGeom>
                  <a:avLst/>
                  <a:gdLst>
                    <a:gd name="connsiteX0" fmla="*/ 818848 w 1070499"/>
                    <a:gd name="connsiteY0" fmla="*/ 797248 h 797247"/>
                    <a:gd name="connsiteX1" fmla="*/ 784558 w 1070499"/>
                    <a:gd name="connsiteY1" fmla="*/ 797248 h 797247"/>
                    <a:gd name="connsiteX2" fmla="*/ 384507 w 1070499"/>
                    <a:gd name="connsiteY2" fmla="*/ 663898 h 797247"/>
                    <a:gd name="connsiteX3" fmla="*/ 22557 w 1070499"/>
                    <a:gd name="connsiteY3" fmla="*/ 103829 h 797247"/>
                    <a:gd name="connsiteX4" fmla="*/ 285447 w 1070499"/>
                    <a:gd name="connsiteY4" fmla="*/ 959 h 797247"/>
                    <a:gd name="connsiteX5" fmla="*/ 685498 w 1070499"/>
                    <a:gd name="connsiteY5" fmla="*/ 134309 h 797247"/>
                    <a:gd name="connsiteX6" fmla="*/ 1001729 w 1070499"/>
                    <a:gd name="connsiteY6" fmla="*/ 416249 h 797247"/>
                    <a:gd name="connsiteX7" fmla="*/ 1047449 w 1070499"/>
                    <a:gd name="connsiteY7" fmla="*/ 694378 h 797247"/>
                    <a:gd name="connsiteX8" fmla="*/ 818848 w 1070499"/>
                    <a:gd name="connsiteY8" fmla="*/ 797248 h 797247"/>
                    <a:gd name="connsiteX9" fmla="*/ 251157 w 1070499"/>
                    <a:gd name="connsiteY9" fmla="*/ 39059 h 797247"/>
                    <a:gd name="connsiteX10" fmla="*/ 53037 w 1070499"/>
                    <a:gd name="connsiteY10" fmla="*/ 122879 h 797247"/>
                    <a:gd name="connsiteX11" fmla="*/ 399747 w 1070499"/>
                    <a:gd name="connsiteY11" fmla="*/ 629608 h 797247"/>
                    <a:gd name="connsiteX12" fmla="*/ 784558 w 1070499"/>
                    <a:gd name="connsiteY12" fmla="*/ 759148 h 797247"/>
                    <a:gd name="connsiteX13" fmla="*/ 1013159 w 1070499"/>
                    <a:gd name="connsiteY13" fmla="*/ 679138 h 797247"/>
                    <a:gd name="connsiteX14" fmla="*/ 967438 w 1070499"/>
                    <a:gd name="connsiteY14" fmla="*/ 439109 h 797247"/>
                    <a:gd name="connsiteX15" fmla="*/ 662638 w 1070499"/>
                    <a:gd name="connsiteY15" fmla="*/ 168599 h 797247"/>
                    <a:gd name="connsiteX16" fmla="*/ 277827 w 1070499"/>
                    <a:gd name="connsiteY16" fmla="*/ 39059 h 797247"/>
                    <a:gd name="connsiteX17" fmla="*/ 251157 w 1070499"/>
                    <a:gd name="connsiteY17" fmla="*/ 39059 h 79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0499" h="797247">
                      <a:moveTo>
                        <a:pt x="818848" y="797248"/>
                      </a:moveTo>
                      <a:cubicBezTo>
                        <a:pt x="807418" y="797248"/>
                        <a:pt x="795988" y="797248"/>
                        <a:pt x="784558" y="797248"/>
                      </a:cubicBezTo>
                      <a:cubicBezTo>
                        <a:pt x="662638" y="789628"/>
                        <a:pt x="517858" y="743908"/>
                        <a:pt x="384507" y="663898"/>
                      </a:cubicBezTo>
                      <a:cubicBezTo>
                        <a:pt x="94947" y="496258"/>
                        <a:pt x="-61264" y="252419"/>
                        <a:pt x="22557" y="103829"/>
                      </a:cubicBezTo>
                      <a:cubicBezTo>
                        <a:pt x="60657" y="31439"/>
                        <a:pt x="155907" y="-6661"/>
                        <a:pt x="285447" y="959"/>
                      </a:cubicBezTo>
                      <a:cubicBezTo>
                        <a:pt x="407367" y="8579"/>
                        <a:pt x="552148" y="54299"/>
                        <a:pt x="685498" y="134309"/>
                      </a:cubicBezTo>
                      <a:cubicBezTo>
                        <a:pt x="822658" y="214319"/>
                        <a:pt x="933149" y="313379"/>
                        <a:pt x="1001729" y="416249"/>
                      </a:cubicBezTo>
                      <a:cubicBezTo>
                        <a:pt x="1074119" y="522928"/>
                        <a:pt x="1089359" y="621988"/>
                        <a:pt x="1047449" y="694378"/>
                      </a:cubicBezTo>
                      <a:cubicBezTo>
                        <a:pt x="1009349" y="762958"/>
                        <a:pt x="929338" y="797248"/>
                        <a:pt x="818848" y="797248"/>
                      </a:cubicBezTo>
                      <a:close/>
                      <a:moveTo>
                        <a:pt x="251157" y="39059"/>
                      </a:moveTo>
                      <a:cubicBezTo>
                        <a:pt x="155907" y="39059"/>
                        <a:pt x="87327" y="69539"/>
                        <a:pt x="53037" y="122879"/>
                      </a:cubicBezTo>
                      <a:cubicBezTo>
                        <a:pt x="-19354" y="248609"/>
                        <a:pt x="140667" y="481018"/>
                        <a:pt x="399747" y="629608"/>
                      </a:cubicBezTo>
                      <a:cubicBezTo>
                        <a:pt x="529288" y="705808"/>
                        <a:pt x="666448" y="751528"/>
                        <a:pt x="784558" y="759148"/>
                      </a:cubicBezTo>
                      <a:cubicBezTo>
                        <a:pt x="898858" y="766768"/>
                        <a:pt x="978869" y="736288"/>
                        <a:pt x="1013159" y="679138"/>
                      </a:cubicBezTo>
                      <a:cubicBezTo>
                        <a:pt x="1047449" y="618178"/>
                        <a:pt x="1032209" y="534358"/>
                        <a:pt x="967438" y="439109"/>
                      </a:cubicBezTo>
                      <a:cubicBezTo>
                        <a:pt x="902668" y="340049"/>
                        <a:pt x="795988" y="244799"/>
                        <a:pt x="662638" y="168599"/>
                      </a:cubicBezTo>
                      <a:cubicBezTo>
                        <a:pt x="529288" y="92399"/>
                        <a:pt x="395937" y="46679"/>
                        <a:pt x="277827" y="39059"/>
                      </a:cubicBezTo>
                      <a:cubicBezTo>
                        <a:pt x="270207" y="39059"/>
                        <a:pt x="258777" y="39059"/>
                        <a:pt x="251157" y="39059"/>
                      </a:cubicBezTo>
                      <a:close/>
                    </a:path>
                  </a:pathLst>
                </a:custGeom>
                <a:grpFill/>
                <a:ln w="38100" cap="flat">
                  <a:noFill/>
                  <a:prstDash val="solid"/>
                  <a:miter/>
                </a:ln>
              </p:spPr>
              <p:txBody>
                <a:bodyPr rtlCol="0" anchor="ctr"/>
                <a:lstStyle/>
                <a:p>
                  <a:endParaRPr lang="en-IN" dirty="0"/>
                </a:p>
              </p:txBody>
            </p:sp>
            <p:sp>
              <p:nvSpPr>
                <p:cNvPr id="35" name="Freeform: Shape 34">
                  <a:extLst>
                    <a:ext uri="{FF2B5EF4-FFF2-40B4-BE49-F238E27FC236}">
                      <a16:creationId xmlns:a16="http://schemas.microsoft.com/office/drawing/2014/main" id="{249D9976-BC4C-448C-8728-D94E13E3A738}"/>
                    </a:ext>
                  </a:extLst>
                </p:cNvPr>
                <p:cNvSpPr/>
                <p:nvPr/>
              </p:nvSpPr>
              <p:spPr>
                <a:xfrm>
                  <a:off x="4777737" y="-1463039"/>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7" y="0"/>
                        <a:pt x="121920" y="27293"/>
                        <a:pt x="121920" y="60960"/>
                      </a:cubicBezTo>
                      <a:close/>
                    </a:path>
                  </a:pathLst>
                </a:custGeom>
                <a:grpFill/>
                <a:ln w="38100" cap="flat">
                  <a:noFill/>
                  <a:prstDash val="solid"/>
                  <a:miter/>
                </a:ln>
              </p:spPr>
              <p:txBody>
                <a:bodyPr rtlCol="0" anchor="ctr"/>
                <a:lstStyle/>
                <a:p>
                  <a:endParaRPr lang="en-IN" dirty="0"/>
                </a:p>
              </p:txBody>
            </p:sp>
            <p:sp>
              <p:nvSpPr>
                <p:cNvPr id="36" name="Freeform: Shape 35">
                  <a:extLst>
                    <a:ext uri="{FF2B5EF4-FFF2-40B4-BE49-F238E27FC236}">
                      <a16:creationId xmlns:a16="http://schemas.microsoft.com/office/drawing/2014/main" id="{095A572C-3963-4D8A-9B0F-61C893FA4DD3}"/>
                    </a:ext>
                  </a:extLst>
                </p:cNvPr>
                <p:cNvSpPr/>
                <p:nvPr/>
              </p:nvSpPr>
              <p:spPr>
                <a:xfrm>
                  <a:off x="5208268" y="-1146810"/>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8" y="0"/>
                        <a:pt x="121920" y="27293"/>
                        <a:pt x="121920" y="60960"/>
                      </a:cubicBezTo>
                      <a:close/>
                    </a:path>
                  </a:pathLst>
                </a:custGeom>
                <a:grpFill/>
                <a:ln w="38100" cap="flat">
                  <a:noFill/>
                  <a:prstDash val="solid"/>
                  <a:miter/>
                </a:ln>
              </p:spPr>
              <p:txBody>
                <a:bodyPr rtlCol="0" anchor="ctr"/>
                <a:lstStyle/>
                <a:p>
                  <a:endParaRPr lang="en-IN" dirty="0"/>
                </a:p>
              </p:txBody>
            </p:sp>
            <p:sp>
              <p:nvSpPr>
                <p:cNvPr id="37" name="Freeform: Shape 36">
                  <a:extLst>
                    <a:ext uri="{FF2B5EF4-FFF2-40B4-BE49-F238E27FC236}">
                      <a16:creationId xmlns:a16="http://schemas.microsoft.com/office/drawing/2014/main" id="{5088BF74-5AF1-4A9F-A13A-CFE7408F6D4F}"/>
                    </a:ext>
                  </a:extLst>
                </p:cNvPr>
                <p:cNvSpPr/>
                <p:nvPr/>
              </p:nvSpPr>
              <p:spPr>
                <a:xfrm>
                  <a:off x="5208268" y="-2038349"/>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8" y="0"/>
                        <a:pt x="121920" y="27293"/>
                        <a:pt x="121920" y="60960"/>
                      </a:cubicBezTo>
                      <a:close/>
                    </a:path>
                  </a:pathLst>
                </a:custGeom>
                <a:grpFill/>
                <a:ln w="38100" cap="flat">
                  <a:noFill/>
                  <a:prstDash val="solid"/>
                  <a:miter/>
                </a:ln>
              </p:spPr>
              <p:txBody>
                <a:bodyPr rtlCol="0" anchor="ctr"/>
                <a:lstStyle/>
                <a:p>
                  <a:endParaRPr lang="en-IN" dirty="0"/>
                </a:p>
              </p:txBody>
            </p:sp>
          </p:grpSp>
        </p:grpSp>
      </p:grpSp>
      <p:grpSp>
        <p:nvGrpSpPr>
          <p:cNvPr id="12" name="Group 11">
            <a:extLst>
              <a:ext uri="{FF2B5EF4-FFF2-40B4-BE49-F238E27FC236}">
                <a16:creationId xmlns:a16="http://schemas.microsoft.com/office/drawing/2014/main" id="{C37D3018-0400-4DCD-B8E5-F0788280EDAC}"/>
              </a:ext>
            </a:extLst>
          </p:cNvPr>
          <p:cNvGrpSpPr/>
          <p:nvPr/>
        </p:nvGrpSpPr>
        <p:grpSpPr>
          <a:xfrm>
            <a:off x="2607459" y="2963805"/>
            <a:ext cx="1761987" cy="2326438"/>
            <a:chOff x="2296736" y="2963805"/>
            <a:chExt cx="1761987" cy="2326438"/>
          </a:xfrm>
        </p:grpSpPr>
        <p:sp>
          <p:nvSpPr>
            <p:cNvPr id="19" name="Rectangle 18">
              <a:extLst>
                <a:ext uri="{FF2B5EF4-FFF2-40B4-BE49-F238E27FC236}">
                  <a16:creationId xmlns:a16="http://schemas.microsoft.com/office/drawing/2014/main" id="{BBA0DA21-15B7-4728-9D74-1075BD7BC6E9}"/>
                </a:ext>
              </a:extLst>
            </p:cNvPr>
            <p:cNvSpPr/>
            <p:nvPr/>
          </p:nvSpPr>
          <p:spPr>
            <a:xfrm>
              <a:off x="2490054" y="4828578"/>
              <a:ext cx="1314174" cy="461665"/>
            </a:xfrm>
            <a:prstGeom prst="rect">
              <a:avLst/>
            </a:prstGeom>
          </p:spPr>
          <p:txBody>
            <a:bodyPr wrap="square">
              <a:spAutoFit/>
            </a:bodyPr>
            <a:lstStyle/>
            <a:p>
              <a:pPr algn="ctr">
                <a:spcBef>
                  <a:spcPts val="1200"/>
                </a:spcBef>
                <a:spcAft>
                  <a:spcPts val="1200"/>
                </a:spcAft>
              </a:pPr>
              <a:r>
                <a:rPr lang="en-US" sz="1200" dirty="0">
                  <a:solidFill>
                    <a:schemeClr val="bg1"/>
                  </a:solidFill>
                </a:rPr>
                <a:t>Multi-factor Authentication</a:t>
              </a:r>
            </a:p>
          </p:txBody>
        </p:sp>
        <p:grpSp>
          <p:nvGrpSpPr>
            <p:cNvPr id="2" name="Group 1">
              <a:extLst>
                <a:ext uri="{FF2B5EF4-FFF2-40B4-BE49-F238E27FC236}">
                  <a16:creationId xmlns:a16="http://schemas.microsoft.com/office/drawing/2014/main" id="{5FA4156A-B007-458E-8785-E160B5829656}"/>
                </a:ext>
              </a:extLst>
            </p:cNvPr>
            <p:cNvGrpSpPr/>
            <p:nvPr/>
          </p:nvGrpSpPr>
          <p:grpSpPr>
            <a:xfrm>
              <a:off x="2296736" y="2963805"/>
              <a:ext cx="1761987" cy="1737744"/>
              <a:chOff x="2060713" y="2441873"/>
              <a:chExt cx="2209800" cy="2209800"/>
            </a:xfrm>
          </p:grpSpPr>
          <p:sp>
            <p:nvSpPr>
              <p:cNvPr id="4" name="Oval 3">
                <a:extLst>
                  <a:ext uri="{FF2B5EF4-FFF2-40B4-BE49-F238E27FC236}">
                    <a16:creationId xmlns:a16="http://schemas.microsoft.com/office/drawing/2014/main" id="{63D985E6-E93E-45C0-81B3-4EADECCA451B}"/>
                  </a:ext>
                </a:extLst>
              </p:cNvPr>
              <p:cNvSpPr/>
              <p:nvPr/>
            </p:nvSpPr>
            <p:spPr>
              <a:xfrm>
                <a:off x="2060713" y="2441873"/>
                <a:ext cx="2209800" cy="2209800"/>
              </a:xfrm>
              <a:prstGeom prst="ellipse">
                <a:avLst/>
              </a:prstGeom>
              <a:solidFill>
                <a:schemeClr val="accent1">
                  <a:alpha val="7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8" name="Graphic 33">
                <a:extLst>
                  <a:ext uri="{FF2B5EF4-FFF2-40B4-BE49-F238E27FC236}">
                    <a16:creationId xmlns:a16="http://schemas.microsoft.com/office/drawing/2014/main" id="{7BCEB00F-36E4-4226-A36F-59FCE4A0484C}"/>
                  </a:ext>
                </a:extLst>
              </p:cNvPr>
              <p:cNvGrpSpPr/>
              <p:nvPr/>
            </p:nvGrpSpPr>
            <p:grpSpPr>
              <a:xfrm>
                <a:off x="2718075" y="3065963"/>
                <a:ext cx="895076" cy="961620"/>
                <a:chOff x="2647943" y="-1912619"/>
                <a:chExt cx="1024892" cy="1101088"/>
              </a:xfrm>
              <a:solidFill>
                <a:schemeClr val="bg2"/>
              </a:solidFill>
            </p:grpSpPr>
            <p:sp>
              <p:nvSpPr>
                <p:cNvPr id="39" name="Freeform: Shape 38">
                  <a:extLst>
                    <a:ext uri="{FF2B5EF4-FFF2-40B4-BE49-F238E27FC236}">
                      <a16:creationId xmlns:a16="http://schemas.microsoft.com/office/drawing/2014/main" id="{F2EFC2F3-729C-495D-9DD6-827B05DA6AF5}"/>
                    </a:ext>
                  </a:extLst>
                </p:cNvPr>
                <p:cNvSpPr/>
                <p:nvPr/>
              </p:nvSpPr>
              <p:spPr>
                <a:xfrm>
                  <a:off x="3036563" y="-1523999"/>
                  <a:ext cx="270681" cy="712468"/>
                </a:xfrm>
                <a:custGeom>
                  <a:avLst/>
                  <a:gdLst>
                    <a:gd name="connsiteX0" fmla="*/ 198120 w 270681"/>
                    <a:gd name="connsiteY0" fmla="*/ 712469 h 712468"/>
                    <a:gd name="connsiteX1" fmla="*/ 163830 w 270681"/>
                    <a:gd name="connsiteY1" fmla="*/ 697229 h 712468"/>
                    <a:gd name="connsiteX2" fmla="*/ 213360 w 270681"/>
                    <a:gd name="connsiteY2" fmla="*/ 91440 h 712468"/>
                    <a:gd name="connsiteX3" fmla="*/ 129540 w 270681"/>
                    <a:gd name="connsiteY3" fmla="*/ 34290 h 712468"/>
                    <a:gd name="connsiteX4" fmla="*/ 38100 w 270681"/>
                    <a:gd name="connsiteY4" fmla="*/ 125730 h 712468"/>
                    <a:gd name="connsiteX5" fmla="*/ 41910 w 270681"/>
                    <a:gd name="connsiteY5" fmla="*/ 148590 h 712468"/>
                    <a:gd name="connsiteX6" fmla="*/ 38100 w 270681"/>
                    <a:gd name="connsiteY6" fmla="*/ 601979 h 712468"/>
                    <a:gd name="connsiteX7" fmla="*/ 0 w 270681"/>
                    <a:gd name="connsiteY7" fmla="*/ 590549 h 712468"/>
                    <a:gd name="connsiteX8" fmla="*/ 3810 w 270681"/>
                    <a:gd name="connsiteY8" fmla="*/ 160020 h 712468"/>
                    <a:gd name="connsiteX9" fmla="*/ 0 w 270681"/>
                    <a:gd name="connsiteY9" fmla="*/ 129540 h 712468"/>
                    <a:gd name="connsiteX10" fmla="*/ 129540 w 270681"/>
                    <a:gd name="connsiteY10" fmla="*/ 0 h 712468"/>
                    <a:gd name="connsiteX11" fmla="*/ 251460 w 270681"/>
                    <a:gd name="connsiteY11" fmla="*/ 83820 h 712468"/>
                    <a:gd name="connsiteX12" fmla="*/ 198120 w 270681"/>
                    <a:gd name="connsiteY12" fmla="*/ 712469 h 712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0681" h="712468">
                      <a:moveTo>
                        <a:pt x="198120" y="712469"/>
                      </a:moveTo>
                      <a:lnTo>
                        <a:pt x="163830" y="697229"/>
                      </a:lnTo>
                      <a:cubicBezTo>
                        <a:pt x="281941" y="396239"/>
                        <a:pt x="213360" y="95250"/>
                        <a:pt x="213360" y="91440"/>
                      </a:cubicBezTo>
                      <a:cubicBezTo>
                        <a:pt x="201930" y="57150"/>
                        <a:pt x="167640" y="34290"/>
                        <a:pt x="129540" y="34290"/>
                      </a:cubicBezTo>
                      <a:cubicBezTo>
                        <a:pt x="80010" y="34290"/>
                        <a:pt x="38100" y="76200"/>
                        <a:pt x="38100" y="125730"/>
                      </a:cubicBezTo>
                      <a:cubicBezTo>
                        <a:pt x="38100" y="133350"/>
                        <a:pt x="38100" y="140970"/>
                        <a:pt x="41910" y="148590"/>
                      </a:cubicBezTo>
                      <a:cubicBezTo>
                        <a:pt x="45720" y="156210"/>
                        <a:pt x="110490" y="388619"/>
                        <a:pt x="38100" y="601979"/>
                      </a:cubicBezTo>
                      <a:lnTo>
                        <a:pt x="0" y="590549"/>
                      </a:lnTo>
                      <a:cubicBezTo>
                        <a:pt x="68580" y="388619"/>
                        <a:pt x="3810" y="160020"/>
                        <a:pt x="3810" y="160020"/>
                      </a:cubicBezTo>
                      <a:cubicBezTo>
                        <a:pt x="0" y="148590"/>
                        <a:pt x="0" y="137160"/>
                        <a:pt x="0" y="129540"/>
                      </a:cubicBezTo>
                      <a:cubicBezTo>
                        <a:pt x="0" y="57150"/>
                        <a:pt x="57150" y="0"/>
                        <a:pt x="129540" y="0"/>
                      </a:cubicBezTo>
                      <a:cubicBezTo>
                        <a:pt x="182880" y="0"/>
                        <a:pt x="232410" y="34290"/>
                        <a:pt x="251460" y="83820"/>
                      </a:cubicBezTo>
                      <a:cubicBezTo>
                        <a:pt x="251460" y="99060"/>
                        <a:pt x="320041" y="400049"/>
                        <a:pt x="198120" y="712469"/>
                      </a:cubicBezTo>
                      <a:close/>
                    </a:path>
                  </a:pathLst>
                </a:custGeom>
                <a:grpFill/>
                <a:ln w="38100" cap="flat">
                  <a:noFill/>
                  <a:prstDash val="solid"/>
                  <a:miter/>
                </a:ln>
              </p:spPr>
              <p:txBody>
                <a:bodyPr rtlCol="0" anchor="ctr"/>
                <a:lstStyle/>
                <a:p>
                  <a:endParaRPr lang="en-IN" dirty="0"/>
                </a:p>
              </p:txBody>
            </p:sp>
            <p:sp>
              <p:nvSpPr>
                <p:cNvPr id="40" name="Freeform: Shape 39">
                  <a:extLst>
                    <a:ext uri="{FF2B5EF4-FFF2-40B4-BE49-F238E27FC236}">
                      <a16:creationId xmlns:a16="http://schemas.microsoft.com/office/drawing/2014/main" id="{4CD30EC8-9567-49BC-9B99-E139233C178A}"/>
                    </a:ext>
                  </a:extLst>
                </p:cNvPr>
                <p:cNvSpPr/>
                <p:nvPr/>
              </p:nvSpPr>
              <p:spPr>
                <a:xfrm>
                  <a:off x="2884163" y="-1661159"/>
                  <a:ext cx="575966" cy="788668"/>
                </a:xfrm>
                <a:custGeom>
                  <a:avLst/>
                  <a:gdLst>
                    <a:gd name="connsiteX0" fmla="*/ 30480 w 575966"/>
                    <a:gd name="connsiteY0" fmla="*/ 788669 h 788668"/>
                    <a:gd name="connsiteX1" fmla="*/ 0 w 575966"/>
                    <a:gd name="connsiteY1" fmla="*/ 769619 h 788668"/>
                    <a:gd name="connsiteX2" fmla="*/ 22860 w 575966"/>
                    <a:gd name="connsiteY2" fmla="*/ 293370 h 788668"/>
                    <a:gd name="connsiteX3" fmla="*/ 19050 w 575966"/>
                    <a:gd name="connsiteY3" fmla="*/ 228600 h 788668"/>
                    <a:gd name="connsiteX4" fmla="*/ 278131 w 575966"/>
                    <a:gd name="connsiteY4" fmla="*/ 0 h 788668"/>
                    <a:gd name="connsiteX5" fmla="*/ 514351 w 575966"/>
                    <a:gd name="connsiteY5" fmla="*/ 144780 h 788668"/>
                    <a:gd name="connsiteX6" fmla="*/ 552451 w 575966"/>
                    <a:gd name="connsiteY6" fmla="*/ 693419 h 788668"/>
                    <a:gd name="connsiteX7" fmla="*/ 514351 w 575966"/>
                    <a:gd name="connsiteY7" fmla="*/ 685799 h 788668"/>
                    <a:gd name="connsiteX8" fmla="*/ 480061 w 575966"/>
                    <a:gd name="connsiteY8" fmla="*/ 163830 h 788668"/>
                    <a:gd name="connsiteX9" fmla="*/ 278131 w 575966"/>
                    <a:gd name="connsiteY9" fmla="*/ 38100 h 788668"/>
                    <a:gd name="connsiteX10" fmla="*/ 57150 w 575966"/>
                    <a:gd name="connsiteY10" fmla="*/ 232410 h 788668"/>
                    <a:gd name="connsiteX11" fmla="*/ 60960 w 575966"/>
                    <a:gd name="connsiteY11" fmla="*/ 281940 h 788668"/>
                    <a:gd name="connsiteX12" fmla="*/ 30480 w 575966"/>
                    <a:gd name="connsiteY12" fmla="*/ 788669 h 788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966" h="788668">
                      <a:moveTo>
                        <a:pt x="30480" y="788669"/>
                      </a:moveTo>
                      <a:lnTo>
                        <a:pt x="0" y="769619"/>
                      </a:lnTo>
                      <a:cubicBezTo>
                        <a:pt x="91440" y="628649"/>
                        <a:pt x="30480" y="327660"/>
                        <a:pt x="22860" y="293370"/>
                      </a:cubicBezTo>
                      <a:cubicBezTo>
                        <a:pt x="19050" y="270510"/>
                        <a:pt x="15240" y="247650"/>
                        <a:pt x="19050" y="228600"/>
                      </a:cubicBezTo>
                      <a:cubicBezTo>
                        <a:pt x="38100" y="99060"/>
                        <a:pt x="148590" y="0"/>
                        <a:pt x="278131" y="0"/>
                      </a:cubicBezTo>
                      <a:cubicBezTo>
                        <a:pt x="377191" y="0"/>
                        <a:pt x="468631" y="57150"/>
                        <a:pt x="514351" y="144780"/>
                      </a:cubicBezTo>
                      <a:cubicBezTo>
                        <a:pt x="518161" y="152400"/>
                        <a:pt x="621031" y="358139"/>
                        <a:pt x="552451" y="693419"/>
                      </a:cubicBezTo>
                      <a:lnTo>
                        <a:pt x="514351" y="685799"/>
                      </a:lnTo>
                      <a:cubicBezTo>
                        <a:pt x="579121" y="365759"/>
                        <a:pt x="480061" y="163830"/>
                        <a:pt x="480061" y="163830"/>
                      </a:cubicBezTo>
                      <a:cubicBezTo>
                        <a:pt x="441961" y="87630"/>
                        <a:pt x="365761" y="38100"/>
                        <a:pt x="278131" y="38100"/>
                      </a:cubicBezTo>
                      <a:cubicBezTo>
                        <a:pt x="167640" y="38100"/>
                        <a:pt x="68580" y="121920"/>
                        <a:pt x="57150" y="232410"/>
                      </a:cubicBezTo>
                      <a:cubicBezTo>
                        <a:pt x="53340" y="247650"/>
                        <a:pt x="57150" y="262890"/>
                        <a:pt x="60960" y="281940"/>
                      </a:cubicBezTo>
                      <a:cubicBezTo>
                        <a:pt x="72390" y="342899"/>
                        <a:pt x="125730" y="640079"/>
                        <a:pt x="30480" y="788669"/>
                      </a:cubicBezTo>
                      <a:close/>
                    </a:path>
                  </a:pathLst>
                </a:custGeom>
                <a:grpFill/>
                <a:ln w="38100" cap="flat">
                  <a:noFill/>
                  <a:prstDash val="solid"/>
                  <a:miter/>
                </a:ln>
              </p:spPr>
              <p:txBody>
                <a:bodyPr rtlCol="0" anchor="ctr"/>
                <a:lstStyle/>
                <a:p>
                  <a:endParaRPr lang="en-IN" dirty="0"/>
                </a:p>
              </p:txBody>
            </p:sp>
            <p:sp>
              <p:nvSpPr>
                <p:cNvPr id="41" name="Freeform: Shape 40">
                  <a:extLst>
                    <a:ext uri="{FF2B5EF4-FFF2-40B4-BE49-F238E27FC236}">
                      <a16:creationId xmlns:a16="http://schemas.microsoft.com/office/drawing/2014/main" id="{82986A9A-04B1-44A3-90C4-1E2A714F5A40}"/>
                    </a:ext>
                  </a:extLst>
                </p:cNvPr>
                <p:cNvSpPr/>
                <p:nvPr/>
              </p:nvSpPr>
              <p:spPr>
                <a:xfrm>
                  <a:off x="2682233" y="-1798319"/>
                  <a:ext cx="904665" cy="895348"/>
                </a:xfrm>
                <a:custGeom>
                  <a:avLst/>
                  <a:gdLst>
                    <a:gd name="connsiteX0" fmla="*/ 857252 w 904665"/>
                    <a:gd name="connsiteY0" fmla="*/ 895349 h 895348"/>
                    <a:gd name="connsiteX1" fmla="*/ 819152 w 904665"/>
                    <a:gd name="connsiteY1" fmla="*/ 883919 h 895348"/>
                    <a:gd name="connsiteX2" fmla="*/ 815342 w 904665"/>
                    <a:gd name="connsiteY2" fmla="*/ 270510 h 895348"/>
                    <a:gd name="connsiteX3" fmla="*/ 480061 w 904665"/>
                    <a:gd name="connsiteY3" fmla="*/ 41910 h 895348"/>
                    <a:gd name="connsiteX4" fmla="*/ 133350 w 904665"/>
                    <a:gd name="connsiteY4" fmla="*/ 300990 h 895348"/>
                    <a:gd name="connsiteX5" fmla="*/ 125730 w 904665"/>
                    <a:gd name="connsiteY5" fmla="*/ 438149 h 895348"/>
                    <a:gd name="connsiteX6" fmla="*/ 19050 w 904665"/>
                    <a:gd name="connsiteY6" fmla="*/ 796289 h 895348"/>
                    <a:gd name="connsiteX7" fmla="*/ 0 w 904665"/>
                    <a:gd name="connsiteY7" fmla="*/ 761999 h 895348"/>
                    <a:gd name="connsiteX8" fmla="*/ 87630 w 904665"/>
                    <a:gd name="connsiteY8" fmla="*/ 438149 h 895348"/>
                    <a:gd name="connsiteX9" fmla="*/ 99060 w 904665"/>
                    <a:gd name="connsiteY9" fmla="*/ 285750 h 895348"/>
                    <a:gd name="connsiteX10" fmla="*/ 483871 w 904665"/>
                    <a:gd name="connsiteY10" fmla="*/ 0 h 895348"/>
                    <a:gd name="connsiteX11" fmla="*/ 857252 w 904665"/>
                    <a:gd name="connsiteY11" fmla="*/ 255270 h 895348"/>
                    <a:gd name="connsiteX12" fmla="*/ 857252 w 904665"/>
                    <a:gd name="connsiteY12" fmla="*/ 895349 h 89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4665" h="895348">
                      <a:moveTo>
                        <a:pt x="857252" y="895349"/>
                      </a:moveTo>
                      <a:lnTo>
                        <a:pt x="819152" y="883919"/>
                      </a:lnTo>
                      <a:cubicBezTo>
                        <a:pt x="922022" y="552449"/>
                        <a:pt x="815342" y="274320"/>
                        <a:pt x="815342" y="270510"/>
                      </a:cubicBezTo>
                      <a:cubicBezTo>
                        <a:pt x="762002" y="129540"/>
                        <a:pt x="628651" y="41910"/>
                        <a:pt x="480061" y="41910"/>
                      </a:cubicBezTo>
                      <a:cubicBezTo>
                        <a:pt x="320041" y="41910"/>
                        <a:pt x="179070" y="148590"/>
                        <a:pt x="133350" y="300990"/>
                      </a:cubicBezTo>
                      <a:cubicBezTo>
                        <a:pt x="121920" y="342899"/>
                        <a:pt x="118110" y="388619"/>
                        <a:pt x="125730" y="438149"/>
                      </a:cubicBezTo>
                      <a:cubicBezTo>
                        <a:pt x="137160" y="521969"/>
                        <a:pt x="144780" y="723899"/>
                        <a:pt x="19050" y="796289"/>
                      </a:cubicBezTo>
                      <a:lnTo>
                        <a:pt x="0" y="761999"/>
                      </a:lnTo>
                      <a:cubicBezTo>
                        <a:pt x="106680" y="701039"/>
                        <a:pt x="95250" y="514349"/>
                        <a:pt x="87630" y="438149"/>
                      </a:cubicBezTo>
                      <a:cubicBezTo>
                        <a:pt x="80010" y="380999"/>
                        <a:pt x="83820" y="331469"/>
                        <a:pt x="99060" y="285750"/>
                      </a:cubicBezTo>
                      <a:cubicBezTo>
                        <a:pt x="148590" y="118110"/>
                        <a:pt x="304801" y="0"/>
                        <a:pt x="483871" y="0"/>
                      </a:cubicBezTo>
                      <a:cubicBezTo>
                        <a:pt x="651511" y="0"/>
                        <a:pt x="796292" y="99060"/>
                        <a:pt x="857252" y="255270"/>
                      </a:cubicBezTo>
                      <a:cubicBezTo>
                        <a:pt x="857252" y="270510"/>
                        <a:pt x="963932" y="552449"/>
                        <a:pt x="857252" y="895349"/>
                      </a:cubicBezTo>
                      <a:close/>
                    </a:path>
                  </a:pathLst>
                </a:custGeom>
                <a:grpFill/>
                <a:ln w="38100" cap="flat">
                  <a:noFill/>
                  <a:prstDash val="solid"/>
                  <a:miter/>
                </a:ln>
              </p:spPr>
              <p:txBody>
                <a:bodyPr rtlCol="0" anchor="ctr"/>
                <a:lstStyle/>
                <a:p>
                  <a:endParaRPr lang="en-IN" dirty="0"/>
                </a:p>
              </p:txBody>
            </p:sp>
            <p:sp>
              <p:nvSpPr>
                <p:cNvPr id="42" name="Freeform: Shape 41">
                  <a:extLst>
                    <a:ext uri="{FF2B5EF4-FFF2-40B4-BE49-F238E27FC236}">
                      <a16:creationId xmlns:a16="http://schemas.microsoft.com/office/drawing/2014/main" id="{6BD3A19A-9DA8-481B-9E7F-09896840FEE1}"/>
                    </a:ext>
                  </a:extLst>
                </p:cNvPr>
                <p:cNvSpPr/>
                <p:nvPr/>
              </p:nvSpPr>
              <p:spPr>
                <a:xfrm>
                  <a:off x="2647943" y="-1912619"/>
                  <a:ext cx="1024892" cy="670558"/>
                </a:xfrm>
                <a:custGeom>
                  <a:avLst/>
                  <a:gdLst>
                    <a:gd name="connsiteX0" fmla="*/ 22860 w 1024892"/>
                    <a:gd name="connsiteY0" fmla="*/ 670559 h 670558"/>
                    <a:gd name="connsiteX1" fmla="*/ 0 w 1024892"/>
                    <a:gd name="connsiteY1" fmla="*/ 518159 h 670558"/>
                    <a:gd name="connsiteX2" fmla="*/ 514351 w 1024892"/>
                    <a:gd name="connsiteY2" fmla="*/ 0 h 670558"/>
                    <a:gd name="connsiteX3" fmla="*/ 1024892 w 1024892"/>
                    <a:gd name="connsiteY3" fmla="*/ 438149 h 670558"/>
                    <a:gd name="connsiteX4" fmla="*/ 986792 w 1024892"/>
                    <a:gd name="connsiteY4" fmla="*/ 441959 h 670558"/>
                    <a:gd name="connsiteX5" fmla="*/ 514351 w 1024892"/>
                    <a:gd name="connsiteY5" fmla="*/ 38100 h 670558"/>
                    <a:gd name="connsiteX6" fmla="*/ 38100 w 1024892"/>
                    <a:gd name="connsiteY6" fmla="*/ 514349 h 670558"/>
                    <a:gd name="connsiteX7" fmla="*/ 60960 w 1024892"/>
                    <a:gd name="connsiteY7" fmla="*/ 655319 h 670558"/>
                    <a:gd name="connsiteX8" fmla="*/ 22860 w 1024892"/>
                    <a:gd name="connsiteY8" fmla="*/ 670559 h 67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4892" h="670558">
                      <a:moveTo>
                        <a:pt x="22860" y="670559"/>
                      </a:moveTo>
                      <a:cubicBezTo>
                        <a:pt x="7620" y="621029"/>
                        <a:pt x="0" y="571499"/>
                        <a:pt x="0" y="518159"/>
                      </a:cubicBezTo>
                      <a:cubicBezTo>
                        <a:pt x="0" y="232410"/>
                        <a:pt x="232410" y="0"/>
                        <a:pt x="514351" y="0"/>
                      </a:cubicBezTo>
                      <a:cubicBezTo>
                        <a:pt x="769622" y="0"/>
                        <a:pt x="986792" y="190500"/>
                        <a:pt x="1024892" y="438149"/>
                      </a:cubicBezTo>
                      <a:lnTo>
                        <a:pt x="986792" y="441959"/>
                      </a:lnTo>
                      <a:cubicBezTo>
                        <a:pt x="952502" y="213360"/>
                        <a:pt x="750572" y="38100"/>
                        <a:pt x="514351" y="38100"/>
                      </a:cubicBezTo>
                      <a:cubicBezTo>
                        <a:pt x="251461" y="38100"/>
                        <a:pt x="38100" y="251460"/>
                        <a:pt x="38100" y="514349"/>
                      </a:cubicBezTo>
                      <a:cubicBezTo>
                        <a:pt x="38100" y="563879"/>
                        <a:pt x="45720" y="609599"/>
                        <a:pt x="60960" y="655319"/>
                      </a:cubicBezTo>
                      <a:lnTo>
                        <a:pt x="22860" y="670559"/>
                      </a:lnTo>
                      <a:close/>
                    </a:path>
                  </a:pathLst>
                </a:custGeom>
                <a:grpFill/>
                <a:ln w="38100" cap="flat">
                  <a:noFill/>
                  <a:prstDash val="solid"/>
                  <a:miter/>
                </a:ln>
              </p:spPr>
              <p:txBody>
                <a:bodyPr rtlCol="0" anchor="ctr"/>
                <a:lstStyle/>
                <a:p>
                  <a:endParaRPr lang="en-IN" dirty="0"/>
                </a:p>
              </p:txBody>
            </p:sp>
            <p:sp>
              <p:nvSpPr>
                <p:cNvPr id="43" name="Freeform: Shape 42">
                  <a:extLst>
                    <a:ext uri="{FF2B5EF4-FFF2-40B4-BE49-F238E27FC236}">
                      <a16:creationId xmlns:a16="http://schemas.microsoft.com/office/drawing/2014/main" id="{DABA2986-ED05-4E9D-BEB8-32EFE23CD352}"/>
                    </a:ext>
                  </a:extLst>
                </p:cNvPr>
                <p:cNvSpPr/>
                <p:nvPr/>
              </p:nvSpPr>
              <p:spPr>
                <a:xfrm>
                  <a:off x="3143244" y="-1421129"/>
                  <a:ext cx="63935" cy="339089"/>
                </a:xfrm>
                <a:custGeom>
                  <a:avLst/>
                  <a:gdLst>
                    <a:gd name="connsiteX0" fmla="*/ 49530 w 63935"/>
                    <a:gd name="connsiteY0" fmla="*/ 339089 h 339089"/>
                    <a:gd name="connsiteX1" fmla="*/ 11430 w 63935"/>
                    <a:gd name="connsiteY1" fmla="*/ 331469 h 339089"/>
                    <a:gd name="connsiteX2" fmla="*/ 0 w 63935"/>
                    <a:gd name="connsiteY2" fmla="*/ 11430 h 339089"/>
                    <a:gd name="connsiteX3" fmla="*/ 38100 w 63935"/>
                    <a:gd name="connsiteY3" fmla="*/ 0 h 339089"/>
                    <a:gd name="connsiteX4" fmla="*/ 49530 w 63935"/>
                    <a:gd name="connsiteY4" fmla="*/ 339089 h 3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35" h="339089">
                      <a:moveTo>
                        <a:pt x="49530" y="339089"/>
                      </a:moveTo>
                      <a:lnTo>
                        <a:pt x="11430" y="331469"/>
                      </a:lnTo>
                      <a:cubicBezTo>
                        <a:pt x="49530" y="179070"/>
                        <a:pt x="0" y="11430"/>
                        <a:pt x="0" y="11430"/>
                      </a:cubicBezTo>
                      <a:lnTo>
                        <a:pt x="38100" y="0"/>
                      </a:lnTo>
                      <a:cubicBezTo>
                        <a:pt x="38100" y="3810"/>
                        <a:pt x="87630" y="171450"/>
                        <a:pt x="49530" y="339089"/>
                      </a:cubicBezTo>
                      <a:close/>
                    </a:path>
                  </a:pathLst>
                </a:custGeom>
                <a:grpFill/>
                <a:ln w="38100" cap="flat">
                  <a:noFill/>
                  <a:prstDash val="solid"/>
                  <a:miter/>
                </a:ln>
              </p:spPr>
              <p:txBody>
                <a:bodyPr rtlCol="0" anchor="ctr"/>
                <a:lstStyle/>
                <a:p>
                  <a:endParaRPr lang="en-IN" dirty="0"/>
                </a:p>
              </p:txBody>
            </p:sp>
          </p:grpSp>
        </p:grpSp>
      </p:grpSp>
      <p:sp>
        <p:nvSpPr>
          <p:cNvPr id="48" name="Rectangle 46">
            <a:extLst>
              <a:ext uri="{FF2B5EF4-FFF2-40B4-BE49-F238E27FC236}">
                <a16:creationId xmlns:a16="http://schemas.microsoft.com/office/drawing/2014/main" id="{DA129184-28A7-4EEE-8218-A104C952C730}"/>
              </a:ext>
            </a:extLst>
          </p:cNvPr>
          <p:cNvSpPr/>
          <p:nvPr/>
        </p:nvSpPr>
        <p:spPr>
          <a:xfrm>
            <a:off x="4396503" y="1855768"/>
            <a:ext cx="1569694" cy="573809"/>
          </a:xfrm>
          <a:custGeom>
            <a:avLst/>
            <a:gdLst>
              <a:gd name="connsiteX0" fmla="*/ 0 w 2182091"/>
              <a:gd name="connsiteY0" fmla="*/ 0 h 457200"/>
              <a:gd name="connsiteX1" fmla="*/ 2182091 w 2182091"/>
              <a:gd name="connsiteY1" fmla="*/ 0 h 457200"/>
              <a:gd name="connsiteX2" fmla="*/ 2182091 w 2182091"/>
              <a:gd name="connsiteY2" fmla="*/ 457200 h 457200"/>
              <a:gd name="connsiteX3" fmla="*/ 0 w 2182091"/>
              <a:gd name="connsiteY3" fmla="*/ 457200 h 457200"/>
              <a:gd name="connsiteX4" fmla="*/ 0 w 2182091"/>
              <a:gd name="connsiteY4" fmla="*/ 0 h 457200"/>
              <a:gd name="connsiteX0" fmla="*/ 0 w 2182091"/>
              <a:gd name="connsiteY0" fmla="*/ 457200 h 548640"/>
              <a:gd name="connsiteX1" fmla="*/ 0 w 2182091"/>
              <a:gd name="connsiteY1" fmla="*/ 0 h 548640"/>
              <a:gd name="connsiteX2" fmla="*/ 2182091 w 2182091"/>
              <a:gd name="connsiteY2" fmla="*/ 0 h 548640"/>
              <a:gd name="connsiteX3" fmla="*/ 2182091 w 2182091"/>
              <a:gd name="connsiteY3" fmla="*/ 457200 h 548640"/>
              <a:gd name="connsiteX4" fmla="*/ 91440 w 2182091"/>
              <a:gd name="connsiteY4" fmla="*/ 548640 h 548640"/>
              <a:gd name="connsiteX0" fmla="*/ 0 w 2182091"/>
              <a:gd name="connsiteY0" fmla="*/ 457200 h 457200"/>
              <a:gd name="connsiteX1" fmla="*/ 0 w 2182091"/>
              <a:gd name="connsiteY1" fmla="*/ 0 h 457200"/>
              <a:gd name="connsiteX2" fmla="*/ 2182091 w 2182091"/>
              <a:gd name="connsiteY2" fmla="*/ 0 h 457200"/>
              <a:gd name="connsiteX3" fmla="*/ 2182091 w 218209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2182091" h="457200">
                <a:moveTo>
                  <a:pt x="0" y="457200"/>
                </a:moveTo>
                <a:lnTo>
                  <a:pt x="0" y="0"/>
                </a:lnTo>
                <a:lnTo>
                  <a:pt x="2182091" y="0"/>
                </a:lnTo>
                <a:lnTo>
                  <a:pt x="2182091" y="457200"/>
                </a:lnTo>
              </a:path>
            </a:pathLst>
          </a:custGeom>
          <a:noFill/>
          <a:ln w="952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5FFF060E-CC42-4CC1-8E51-21AF3AD744B3}"/>
              </a:ext>
            </a:extLst>
          </p:cNvPr>
          <p:cNvSpPr txBox="1"/>
          <p:nvPr/>
        </p:nvSpPr>
        <p:spPr>
          <a:xfrm>
            <a:off x="4469657" y="1639782"/>
            <a:ext cx="1423386" cy="1107996"/>
          </a:xfrm>
          <a:prstGeom prst="rect">
            <a:avLst/>
          </a:prstGeom>
          <a:solidFill>
            <a:schemeClr val="bg2"/>
          </a:solidFill>
        </p:spPr>
        <p:txBody>
          <a:bodyPr wrap="square" lIns="45720" tIns="0" rIns="45720" bIns="0" rtlCol="0">
            <a:spAutoFit/>
          </a:bodyPr>
          <a:lstStyle/>
          <a:p>
            <a:pPr algn="ctr"/>
            <a:r>
              <a:rPr lang="en-US" sz="2400" dirty="0">
                <a:solidFill>
                  <a:schemeClr val="bg1"/>
                </a:solidFill>
              </a:rPr>
              <a:t>Enable</a:t>
            </a:r>
            <a:br>
              <a:rPr lang="en-US" sz="2400" dirty="0">
                <a:solidFill>
                  <a:schemeClr val="bg1"/>
                </a:solidFill>
              </a:rPr>
            </a:br>
            <a:r>
              <a:rPr lang="en-US" sz="2400" dirty="0">
                <a:solidFill>
                  <a:schemeClr val="bg1"/>
                </a:solidFill>
              </a:rPr>
              <a:t>secure access</a:t>
            </a:r>
          </a:p>
        </p:txBody>
      </p:sp>
      <p:grpSp>
        <p:nvGrpSpPr>
          <p:cNvPr id="50" name="Group 49">
            <a:extLst>
              <a:ext uri="{FF2B5EF4-FFF2-40B4-BE49-F238E27FC236}">
                <a16:creationId xmlns:a16="http://schemas.microsoft.com/office/drawing/2014/main" id="{35BB7637-CEC4-4454-BFD6-6DFF606C5AD1}"/>
              </a:ext>
            </a:extLst>
          </p:cNvPr>
          <p:cNvGrpSpPr/>
          <p:nvPr/>
        </p:nvGrpSpPr>
        <p:grpSpPr>
          <a:xfrm>
            <a:off x="6216067" y="1639782"/>
            <a:ext cx="2720450" cy="1107996"/>
            <a:chOff x="6366987" y="1639782"/>
            <a:chExt cx="2720450" cy="1107996"/>
          </a:xfrm>
        </p:grpSpPr>
        <p:sp>
          <p:nvSpPr>
            <p:cNvPr id="47" name="Rectangle 46">
              <a:extLst>
                <a:ext uri="{FF2B5EF4-FFF2-40B4-BE49-F238E27FC236}">
                  <a16:creationId xmlns:a16="http://schemas.microsoft.com/office/drawing/2014/main" id="{B274364F-A202-4431-A561-6F14A2527C48}"/>
                </a:ext>
              </a:extLst>
            </p:cNvPr>
            <p:cNvSpPr/>
            <p:nvPr/>
          </p:nvSpPr>
          <p:spPr>
            <a:xfrm>
              <a:off x="6366987" y="1855769"/>
              <a:ext cx="2720450" cy="573808"/>
            </a:xfrm>
            <a:custGeom>
              <a:avLst/>
              <a:gdLst>
                <a:gd name="connsiteX0" fmla="*/ 0 w 2182091"/>
                <a:gd name="connsiteY0" fmla="*/ 0 h 457200"/>
                <a:gd name="connsiteX1" fmla="*/ 2182091 w 2182091"/>
                <a:gd name="connsiteY1" fmla="*/ 0 h 457200"/>
                <a:gd name="connsiteX2" fmla="*/ 2182091 w 2182091"/>
                <a:gd name="connsiteY2" fmla="*/ 457200 h 457200"/>
                <a:gd name="connsiteX3" fmla="*/ 0 w 2182091"/>
                <a:gd name="connsiteY3" fmla="*/ 457200 h 457200"/>
                <a:gd name="connsiteX4" fmla="*/ 0 w 2182091"/>
                <a:gd name="connsiteY4" fmla="*/ 0 h 457200"/>
                <a:gd name="connsiteX0" fmla="*/ 0 w 2182091"/>
                <a:gd name="connsiteY0" fmla="*/ 457200 h 548640"/>
                <a:gd name="connsiteX1" fmla="*/ 0 w 2182091"/>
                <a:gd name="connsiteY1" fmla="*/ 0 h 548640"/>
                <a:gd name="connsiteX2" fmla="*/ 2182091 w 2182091"/>
                <a:gd name="connsiteY2" fmla="*/ 0 h 548640"/>
                <a:gd name="connsiteX3" fmla="*/ 2182091 w 2182091"/>
                <a:gd name="connsiteY3" fmla="*/ 457200 h 548640"/>
                <a:gd name="connsiteX4" fmla="*/ 91440 w 2182091"/>
                <a:gd name="connsiteY4" fmla="*/ 548640 h 548640"/>
                <a:gd name="connsiteX0" fmla="*/ 0 w 2182091"/>
                <a:gd name="connsiteY0" fmla="*/ 457200 h 457200"/>
                <a:gd name="connsiteX1" fmla="*/ 0 w 2182091"/>
                <a:gd name="connsiteY1" fmla="*/ 0 h 457200"/>
                <a:gd name="connsiteX2" fmla="*/ 2182091 w 2182091"/>
                <a:gd name="connsiteY2" fmla="*/ 0 h 457200"/>
                <a:gd name="connsiteX3" fmla="*/ 2182091 w 218209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2182091" h="457200">
                  <a:moveTo>
                    <a:pt x="0" y="457200"/>
                  </a:moveTo>
                  <a:lnTo>
                    <a:pt x="0" y="0"/>
                  </a:lnTo>
                  <a:lnTo>
                    <a:pt x="2182091" y="0"/>
                  </a:lnTo>
                  <a:lnTo>
                    <a:pt x="2182091" y="457200"/>
                  </a:lnTo>
                </a:path>
              </a:pathLst>
            </a:custGeom>
            <a:noFill/>
            <a:ln w="952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a:extLst>
                <a:ext uri="{FF2B5EF4-FFF2-40B4-BE49-F238E27FC236}">
                  <a16:creationId xmlns:a16="http://schemas.microsoft.com/office/drawing/2014/main" id="{20772431-EB21-4E40-B171-59276812CB3F}"/>
                </a:ext>
              </a:extLst>
            </p:cNvPr>
            <p:cNvSpPr txBox="1"/>
            <p:nvPr/>
          </p:nvSpPr>
          <p:spPr>
            <a:xfrm>
              <a:off x="6980949" y="1639782"/>
              <a:ext cx="1397201" cy="1107996"/>
            </a:xfrm>
            <a:prstGeom prst="rect">
              <a:avLst/>
            </a:prstGeom>
            <a:solidFill>
              <a:schemeClr val="bg2"/>
            </a:solidFill>
          </p:spPr>
          <p:txBody>
            <a:bodyPr wrap="square" lIns="45720" tIns="0" rIns="45720" bIns="0" rtlCol="0">
              <a:spAutoFit/>
            </a:bodyPr>
            <a:lstStyle/>
            <a:p>
              <a:pPr algn="ctr"/>
              <a:r>
                <a:rPr lang="en-US" sz="2400" dirty="0">
                  <a:solidFill>
                    <a:schemeClr val="bg1"/>
                  </a:solidFill>
                </a:rPr>
                <a:t>Defend against threats</a:t>
              </a:r>
            </a:p>
          </p:txBody>
        </p:sp>
      </p:grpSp>
      <p:sp>
        <p:nvSpPr>
          <p:cNvPr id="49" name="Rectangle 46">
            <a:extLst>
              <a:ext uri="{FF2B5EF4-FFF2-40B4-BE49-F238E27FC236}">
                <a16:creationId xmlns:a16="http://schemas.microsoft.com/office/drawing/2014/main" id="{4C3BDAE8-47DC-4F8F-9FCD-E9D57F378D60}"/>
              </a:ext>
            </a:extLst>
          </p:cNvPr>
          <p:cNvSpPr/>
          <p:nvPr/>
        </p:nvSpPr>
        <p:spPr>
          <a:xfrm>
            <a:off x="2673734" y="1855768"/>
            <a:ext cx="1569694" cy="573809"/>
          </a:xfrm>
          <a:custGeom>
            <a:avLst/>
            <a:gdLst>
              <a:gd name="connsiteX0" fmla="*/ 0 w 2182091"/>
              <a:gd name="connsiteY0" fmla="*/ 0 h 457200"/>
              <a:gd name="connsiteX1" fmla="*/ 2182091 w 2182091"/>
              <a:gd name="connsiteY1" fmla="*/ 0 h 457200"/>
              <a:gd name="connsiteX2" fmla="*/ 2182091 w 2182091"/>
              <a:gd name="connsiteY2" fmla="*/ 457200 h 457200"/>
              <a:gd name="connsiteX3" fmla="*/ 0 w 2182091"/>
              <a:gd name="connsiteY3" fmla="*/ 457200 h 457200"/>
              <a:gd name="connsiteX4" fmla="*/ 0 w 2182091"/>
              <a:gd name="connsiteY4" fmla="*/ 0 h 457200"/>
              <a:gd name="connsiteX0" fmla="*/ 0 w 2182091"/>
              <a:gd name="connsiteY0" fmla="*/ 457200 h 548640"/>
              <a:gd name="connsiteX1" fmla="*/ 0 w 2182091"/>
              <a:gd name="connsiteY1" fmla="*/ 0 h 548640"/>
              <a:gd name="connsiteX2" fmla="*/ 2182091 w 2182091"/>
              <a:gd name="connsiteY2" fmla="*/ 0 h 548640"/>
              <a:gd name="connsiteX3" fmla="*/ 2182091 w 2182091"/>
              <a:gd name="connsiteY3" fmla="*/ 457200 h 548640"/>
              <a:gd name="connsiteX4" fmla="*/ 91440 w 2182091"/>
              <a:gd name="connsiteY4" fmla="*/ 548640 h 548640"/>
              <a:gd name="connsiteX0" fmla="*/ 0 w 2182091"/>
              <a:gd name="connsiteY0" fmla="*/ 457200 h 457200"/>
              <a:gd name="connsiteX1" fmla="*/ 0 w 2182091"/>
              <a:gd name="connsiteY1" fmla="*/ 0 h 457200"/>
              <a:gd name="connsiteX2" fmla="*/ 2182091 w 2182091"/>
              <a:gd name="connsiteY2" fmla="*/ 0 h 457200"/>
              <a:gd name="connsiteX3" fmla="*/ 2182091 w 2182091"/>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2182091" h="457200">
                <a:moveTo>
                  <a:pt x="0" y="457200"/>
                </a:moveTo>
                <a:lnTo>
                  <a:pt x="0" y="0"/>
                </a:lnTo>
                <a:lnTo>
                  <a:pt x="2182091" y="0"/>
                </a:lnTo>
                <a:lnTo>
                  <a:pt x="2182091" y="457200"/>
                </a:lnTo>
              </a:path>
            </a:pathLst>
          </a:custGeom>
          <a:noFill/>
          <a:ln w="952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ooter Placeholder 4">
            <a:extLst>
              <a:ext uri="{FF2B5EF4-FFF2-40B4-BE49-F238E27FC236}">
                <a16:creationId xmlns:a16="http://schemas.microsoft.com/office/drawing/2014/main" id="{FABF0987-6D3B-4837-91A5-77D81848A81E}"/>
              </a:ext>
            </a:extLst>
          </p:cNvPr>
          <p:cNvSpPr>
            <a:spLocks noGrp="1"/>
          </p:cNvSpPr>
          <p:nvPr>
            <p:ph type="ftr" sz="quarter" idx="10"/>
          </p:nvPr>
        </p:nvSpPr>
        <p:spPr/>
        <p:txBody>
          <a:bodyPr/>
          <a:lstStyle/>
          <a:p>
            <a:r>
              <a:rPr lang="en-US" dirty="0"/>
              <a:t>© 2020 Cisco and/or its affiliates. All rights reserved. Cisco Confidential</a:t>
            </a:r>
          </a:p>
        </p:txBody>
      </p:sp>
      <p:sp>
        <p:nvSpPr>
          <p:cNvPr id="51" name="Title 1">
            <a:extLst>
              <a:ext uri="{FF2B5EF4-FFF2-40B4-BE49-F238E27FC236}">
                <a16:creationId xmlns:a16="http://schemas.microsoft.com/office/drawing/2014/main" id="{6ECB946A-CE9B-40E6-B17D-7BED02A8BA7E}"/>
              </a:ext>
            </a:extLst>
          </p:cNvPr>
          <p:cNvSpPr>
            <a:spLocks noGrp="1"/>
          </p:cNvSpPr>
          <p:nvPr>
            <p:ph type="title"/>
          </p:nvPr>
        </p:nvSpPr>
        <p:spPr>
          <a:xfrm>
            <a:off x="533400" y="481807"/>
            <a:ext cx="11127317" cy="787908"/>
          </a:xfrm>
        </p:spPr>
        <p:txBody>
          <a:bodyPr/>
          <a:lstStyle/>
          <a:p>
            <a:r>
              <a:rPr lang="en-US" sz="3200" dirty="0"/>
              <a:t>We have a set of integrated solutions to secure your remote workers</a:t>
            </a:r>
          </a:p>
        </p:txBody>
      </p:sp>
      <p:sp>
        <p:nvSpPr>
          <p:cNvPr id="53" name="Rectangle: Rounded Corners 22">
            <a:extLst>
              <a:ext uri="{FF2B5EF4-FFF2-40B4-BE49-F238E27FC236}">
                <a16:creationId xmlns:a16="http://schemas.microsoft.com/office/drawing/2014/main" id="{D1438925-ABAF-4519-A79F-5139168026E1}"/>
              </a:ext>
            </a:extLst>
          </p:cNvPr>
          <p:cNvSpPr/>
          <p:nvPr/>
        </p:nvSpPr>
        <p:spPr>
          <a:xfrm>
            <a:off x="550174" y="1503950"/>
            <a:ext cx="11108426" cy="4499811"/>
          </a:xfrm>
          <a:prstGeom prst="roundRect">
            <a:avLst>
              <a:gd name="adj" fmla="val 4370"/>
            </a:avLst>
          </a:prstGeom>
          <a:ln w="19050" cap="rnd">
            <a:solidFill>
              <a:schemeClr val="accent2"/>
            </a:solidFill>
            <a:prstDash val="sysDot"/>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5" name="Rectangle 54">
            <a:extLst>
              <a:ext uri="{FF2B5EF4-FFF2-40B4-BE49-F238E27FC236}">
                <a16:creationId xmlns:a16="http://schemas.microsoft.com/office/drawing/2014/main" id="{D01E3038-C60B-454D-9DFF-51901BEC8F7F}"/>
              </a:ext>
            </a:extLst>
          </p:cNvPr>
          <p:cNvSpPr/>
          <p:nvPr/>
        </p:nvSpPr>
        <p:spPr>
          <a:xfrm>
            <a:off x="3538099" y="5756732"/>
            <a:ext cx="5384800" cy="523220"/>
          </a:xfrm>
          <a:prstGeom prst="rect">
            <a:avLst/>
          </a:prstGeom>
          <a:solidFill>
            <a:schemeClr val="bg2"/>
          </a:solidFill>
        </p:spPr>
        <p:txBody>
          <a:bodyPr wrap="square">
            <a:spAutoFit/>
          </a:bodyPr>
          <a:lstStyle/>
          <a:p>
            <a:pPr algn="ctr">
              <a:spcBef>
                <a:spcPts val="1200"/>
              </a:spcBef>
              <a:spcAft>
                <a:spcPts val="1200"/>
              </a:spcAft>
            </a:pPr>
            <a:r>
              <a:rPr lang="en-US" sz="2800" dirty="0">
                <a:solidFill>
                  <a:schemeClr val="accent1"/>
                </a:solidFill>
                <a:latin typeface="CiscoSansTT" panose="020B0503020201020303" pitchFamily="34" charset="0"/>
              </a:rPr>
              <a:t>Cisco</a:t>
            </a:r>
            <a:r>
              <a:rPr lang="en-US" sz="2800" dirty="0">
                <a:solidFill>
                  <a:schemeClr val="bg1"/>
                </a:solidFill>
              </a:rPr>
              <a:t> </a:t>
            </a:r>
            <a:r>
              <a:rPr lang="en-US" sz="2800" dirty="0">
                <a:solidFill>
                  <a:schemeClr val="bg1"/>
                </a:solidFill>
                <a:latin typeface="CiscoSansTT" panose="020B0503020201020303" pitchFamily="34" charset="0"/>
              </a:rPr>
              <a:t>Secure Remote Worker</a:t>
            </a:r>
          </a:p>
        </p:txBody>
      </p:sp>
      <p:sp>
        <p:nvSpPr>
          <p:cNvPr id="21" name="Rectangle 20">
            <a:extLst>
              <a:ext uri="{FF2B5EF4-FFF2-40B4-BE49-F238E27FC236}">
                <a16:creationId xmlns:a16="http://schemas.microsoft.com/office/drawing/2014/main" id="{A5C12923-BDB3-4A8A-9606-5FF500AA4748}"/>
              </a:ext>
            </a:extLst>
          </p:cNvPr>
          <p:cNvSpPr/>
          <p:nvPr/>
        </p:nvSpPr>
        <p:spPr>
          <a:xfrm>
            <a:off x="5944536" y="4828578"/>
            <a:ext cx="1651398" cy="276999"/>
          </a:xfrm>
          <a:prstGeom prst="rect">
            <a:avLst/>
          </a:prstGeom>
        </p:spPr>
        <p:txBody>
          <a:bodyPr wrap="square">
            <a:spAutoFit/>
          </a:bodyPr>
          <a:lstStyle/>
          <a:p>
            <a:pPr algn="ctr">
              <a:spcBef>
                <a:spcPts val="1200"/>
              </a:spcBef>
              <a:spcAft>
                <a:spcPts val="1200"/>
              </a:spcAft>
            </a:pPr>
            <a:r>
              <a:rPr lang="en-US" sz="1200" dirty="0">
                <a:solidFill>
                  <a:schemeClr val="bg1"/>
                </a:solidFill>
              </a:rPr>
              <a:t>DNS Security</a:t>
            </a:r>
          </a:p>
        </p:txBody>
      </p:sp>
      <p:sp>
        <p:nvSpPr>
          <p:cNvPr id="15" name="Oval 14">
            <a:extLst>
              <a:ext uri="{FF2B5EF4-FFF2-40B4-BE49-F238E27FC236}">
                <a16:creationId xmlns:a16="http://schemas.microsoft.com/office/drawing/2014/main" id="{F4499635-1C4D-44BF-A693-8DC375F678A4}"/>
              </a:ext>
            </a:extLst>
          </p:cNvPr>
          <p:cNvSpPr/>
          <p:nvPr/>
        </p:nvSpPr>
        <p:spPr>
          <a:xfrm>
            <a:off x="5919830" y="2963805"/>
            <a:ext cx="1761987" cy="1737744"/>
          </a:xfrm>
          <a:prstGeom prst="ellipse">
            <a:avLst/>
          </a:prstGeom>
          <a:solidFill>
            <a:schemeClr val="tx2">
              <a:alpha val="7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2" name="Group 51">
            <a:extLst>
              <a:ext uri="{FF2B5EF4-FFF2-40B4-BE49-F238E27FC236}">
                <a16:creationId xmlns:a16="http://schemas.microsoft.com/office/drawing/2014/main" id="{F74CF6EA-0D75-4612-9799-39E4364EA6F3}"/>
              </a:ext>
            </a:extLst>
          </p:cNvPr>
          <p:cNvGrpSpPr/>
          <p:nvPr/>
        </p:nvGrpSpPr>
        <p:grpSpPr>
          <a:xfrm>
            <a:off x="6330560" y="3409386"/>
            <a:ext cx="899461" cy="880919"/>
            <a:chOff x="6330560" y="3409386"/>
            <a:chExt cx="899461" cy="880919"/>
          </a:xfrm>
        </p:grpSpPr>
        <p:grpSp>
          <p:nvGrpSpPr>
            <p:cNvPr id="27" name="Group 26">
              <a:extLst>
                <a:ext uri="{FF2B5EF4-FFF2-40B4-BE49-F238E27FC236}">
                  <a16:creationId xmlns:a16="http://schemas.microsoft.com/office/drawing/2014/main" id="{A59433BA-0B04-4767-9DBA-C1AA327B4935}"/>
                </a:ext>
              </a:extLst>
            </p:cNvPr>
            <p:cNvGrpSpPr/>
            <p:nvPr/>
          </p:nvGrpSpPr>
          <p:grpSpPr>
            <a:xfrm>
              <a:off x="6371627" y="3409386"/>
              <a:ext cx="858394" cy="846581"/>
              <a:chOff x="6736081" y="-2000249"/>
              <a:chExt cx="1188722" cy="1188718"/>
            </a:xfrm>
            <a:solidFill>
              <a:schemeClr val="bg2"/>
            </a:solidFill>
          </p:grpSpPr>
          <p:sp>
            <p:nvSpPr>
              <p:cNvPr id="28" name="Freeform: Shape 27">
                <a:extLst>
                  <a:ext uri="{FF2B5EF4-FFF2-40B4-BE49-F238E27FC236}">
                    <a16:creationId xmlns:a16="http://schemas.microsoft.com/office/drawing/2014/main" id="{AE050F0C-FB69-456E-849D-4F3DD2F8B4F5}"/>
                  </a:ext>
                </a:extLst>
              </p:cNvPr>
              <p:cNvSpPr/>
              <p:nvPr/>
            </p:nvSpPr>
            <p:spPr>
              <a:xfrm>
                <a:off x="7139942" y="-1592579"/>
                <a:ext cx="381000" cy="380999"/>
              </a:xfrm>
              <a:custGeom>
                <a:avLst/>
                <a:gdLst>
                  <a:gd name="connsiteX0" fmla="*/ 190500 w 381000"/>
                  <a:gd name="connsiteY0" fmla="*/ 380999 h 380999"/>
                  <a:gd name="connsiteX1" fmla="*/ 0 w 381000"/>
                  <a:gd name="connsiteY1" fmla="*/ 190500 h 380999"/>
                  <a:gd name="connsiteX2" fmla="*/ 190500 w 381000"/>
                  <a:gd name="connsiteY2" fmla="*/ 0 h 380999"/>
                  <a:gd name="connsiteX3" fmla="*/ 381001 w 381000"/>
                  <a:gd name="connsiteY3" fmla="*/ 190500 h 380999"/>
                  <a:gd name="connsiteX4" fmla="*/ 190500 w 381000"/>
                  <a:gd name="connsiteY4" fmla="*/ 380999 h 380999"/>
                  <a:gd name="connsiteX5" fmla="*/ 190500 w 381000"/>
                  <a:gd name="connsiteY5" fmla="*/ 38100 h 380999"/>
                  <a:gd name="connsiteX6" fmla="*/ 38100 w 381000"/>
                  <a:gd name="connsiteY6" fmla="*/ 190500 h 380999"/>
                  <a:gd name="connsiteX7" fmla="*/ 190500 w 381000"/>
                  <a:gd name="connsiteY7" fmla="*/ 342900 h 380999"/>
                  <a:gd name="connsiteX8" fmla="*/ 342901 w 381000"/>
                  <a:gd name="connsiteY8" fmla="*/ 190500 h 380999"/>
                  <a:gd name="connsiteX9" fmla="*/ 190500 w 381000"/>
                  <a:gd name="connsiteY9" fmla="*/ 38100 h 38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380999">
                    <a:moveTo>
                      <a:pt x="190500" y="380999"/>
                    </a:moveTo>
                    <a:cubicBezTo>
                      <a:pt x="83820" y="380999"/>
                      <a:pt x="0" y="297180"/>
                      <a:pt x="0" y="190500"/>
                    </a:cubicBezTo>
                    <a:cubicBezTo>
                      <a:pt x="0" y="83820"/>
                      <a:pt x="83820" y="0"/>
                      <a:pt x="190500" y="0"/>
                    </a:cubicBezTo>
                    <a:cubicBezTo>
                      <a:pt x="297180" y="0"/>
                      <a:pt x="381001" y="83820"/>
                      <a:pt x="381001" y="190500"/>
                    </a:cubicBezTo>
                    <a:cubicBezTo>
                      <a:pt x="377191" y="293370"/>
                      <a:pt x="293370" y="380999"/>
                      <a:pt x="190500" y="380999"/>
                    </a:cubicBezTo>
                    <a:close/>
                    <a:moveTo>
                      <a:pt x="190500" y="38100"/>
                    </a:moveTo>
                    <a:cubicBezTo>
                      <a:pt x="106680" y="38100"/>
                      <a:pt x="38100" y="106680"/>
                      <a:pt x="38100" y="190500"/>
                    </a:cubicBezTo>
                    <a:cubicBezTo>
                      <a:pt x="38100" y="274320"/>
                      <a:pt x="106680" y="342900"/>
                      <a:pt x="190500" y="342900"/>
                    </a:cubicBezTo>
                    <a:cubicBezTo>
                      <a:pt x="274320" y="342900"/>
                      <a:pt x="342901" y="274320"/>
                      <a:pt x="342901" y="190500"/>
                    </a:cubicBezTo>
                    <a:cubicBezTo>
                      <a:pt x="339091" y="106680"/>
                      <a:pt x="274320" y="38100"/>
                      <a:pt x="190500" y="38100"/>
                    </a:cubicBezTo>
                    <a:close/>
                  </a:path>
                </a:pathLst>
              </a:custGeom>
              <a:grpFill/>
              <a:ln w="38100" cap="flat">
                <a:noFill/>
                <a:prstDash val="solid"/>
                <a:miter/>
              </a:ln>
            </p:spPr>
            <p:txBody>
              <a:bodyPr rtlCol="0" anchor="ctr"/>
              <a:lstStyle/>
              <a:p>
                <a:endParaRPr lang="en-IN" dirty="0"/>
              </a:p>
            </p:txBody>
          </p:sp>
          <p:sp>
            <p:nvSpPr>
              <p:cNvPr id="29" name="Freeform: Shape 28">
                <a:extLst>
                  <a:ext uri="{FF2B5EF4-FFF2-40B4-BE49-F238E27FC236}">
                    <a16:creationId xmlns:a16="http://schemas.microsoft.com/office/drawing/2014/main" id="{4987C4CB-9F33-4809-B3C4-D972CA3873D0}"/>
                  </a:ext>
                </a:extLst>
              </p:cNvPr>
              <p:cNvSpPr/>
              <p:nvPr/>
            </p:nvSpPr>
            <p:spPr>
              <a:xfrm>
                <a:off x="6926581" y="-1809749"/>
                <a:ext cx="807721" cy="811528"/>
              </a:xfrm>
              <a:custGeom>
                <a:avLst/>
                <a:gdLst>
                  <a:gd name="connsiteX0" fmla="*/ 403861 w 807721"/>
                  <a:gd name="connsiteY0" fmla="*/ 811529 h 811528"/>
                  <a:gd name="connsiteX1" fmla="*/ 0 w 807721"/>
                  <a:gd name="connsiteY1" fmla="*/ 407669 h 811528"/>
                  <a:gd name="connsiteX2" fmla="*/ 403861 w 807721"/>
                  <a:gd name="connsiteY2" fmla="*/ 0 h 811528"/>
                  <a:gd name="connsiteX3" fmla="*/ 807722 w 807721"/>
                  <a:gd name="connsiteY3" fmla="*/ 403859 h 811528"/>
                  <a:gd name="connsiteX4" fmla="*/ 403861 w 807721"/>
                  <a:gd name="connsiteY4" fmla="*/ 811529 h 811528"/>
                  <a:gd name="connsiteX5" fmla="*/ 403861 w 807721"/>
                  <a:gd name="connsiteY5" fmla="*/ 38100 h 811528"/>
                  <a:gd name="connsiteX6" fmla="*/ 38100 w 807721"/>
                  <a:gd name="connsiteY6" fmla="*/ 403859 h 811528"/>
                  <a:gd name="connsiteX7" fmla="*/ 403861 w 807721"/>
                  <a:gd name="connsiteY7" fmla="*/ 769619 h 811528"/>
                  <a:gd name="connsiteX8" fmla="*/ 769621 w 807721"/>
                  <a:gd name="connsiteY8" fmla="*/ 403859 h 811528"/>
                  <a:gd name="connsiteX9" fmla="*/ 403861 w 807721"/>
                  <a:gd name="connsiteY9" fmla="*/ 38100 h 81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721" h="811528">
                    <a:moveTo>
                      <a:pt x="403861" y="811529"/>
                    </a:moveTo>
                    <a:cubicBezTo>
                      <a:pt x="179070" y="811529"/>
                      <a:pt x="0" y="628649"/>
                      <a:pt x="0" y="407669"/>
                    </a:cubicBezTo>
                    <a:cubicBezTo>
                      <a:pt x="0" y="186690"/>
                      <a:pt x="179070" y="0"/>
                      <a:pt x="403861" y="0"/>
                    </a:cubicBezTo>
                    <a:cubicBezTo>
                      <a:pt x="628651" y="0"/>
                      <a:pt x="807722" y="182880"/>
                      <a:pt x="807722" y="403859"/>
                    </a:cubicBezTo>
                    <a:cubicBezTo>
                      <a:pt x="807722" y="624839"/>
                      <a:pt x="624841" y="811529"/>
                      <a:pt x="403861" y="811529"/>
                    </a:cubicBezTo>
                    <a:close/>
                    <a:moveTo>
                      <a:pt x="403861" y="38100"/>
                    </a:moveTo>
                    <a:cubicBezTo>
                      <a:pt x="201930" y="38100"/>
                      <a:pt x="38100" y="201930"/>
                      <a:pt x="38100" y="403859"/>
                    </a:cubicBezTo>
                    <a:cubicBezTo>
                      <a:pt x="38100" y="605789"/>
                      <a:pt x="201930" y="769619"/>
                      <a:pt x="403861" y="769619"/>
                    </a:cubicBezTo>
                    <a:cubicBezTo>
                      <a:pt x="605791" y="769619"/>
                      <a:pt x="769621" y="605789"/>
                      <a:pt x="769621" y="403859"/>
                    </a:cubicBezTo>
                    <a:cubicBezTo>
                      <a:pt x="769621" y="205740"/>
                      <a:pt x="605791" y="38100"/>
                      <a:pt x="403861" y="38100"/>
                    </a:cubicBezTo>
                    <a:close/>
                  </a:path>
                </a:pathLst>
              </a:custGeom>
              <a:grpFill/>
              <a:ln w="38100" cap="flat">
                <a:noFill/>
                <a:prstDash val="solid"/>
                <a:miter/>
              </a:ln>
            </p:spPr>
            <p:txBody>
              <a:bodyPr rtlCol="0" anchor="ctr"/>
              <a:lstStyle/>
              <a:p>
                <a:endParaRPr lang="en-IN" dirty="0"/>
              </a:p>
            </p:txBody>
          </p:sp>
          <p:sp>
            <p:nvSpPr>
              <p:cNvPr id="30" name="Freeform: Shape 29">
                <a:extLst>
                  <a:ext uri="{FF2B5EF4-FFF2-40B4-BE49-F238E27FC236}">
                    <a16:creationId xmlns:a16="http://schemas.microsoft.com/office/drawing/2014/main" id="{6D7E8390-42E4-464B-BC48-9C23E60C4D73}"/>
                  </a:ext>
                </a:extLst>
              </p:cNvPr>
              <p:cNvSpPr/>
              <p:nvPr/>
            </p:nvSpPr>
            <p:spPr>
              <a:xfrm>
                <a:off x="6736081" y="-2000249"/>
                <a:ext cx="1188722" cy="1188718"/>
              </a:xfrm>
              <a:custGeom>
                <a:avLst/>
                <a:gdLst>
                  <a:gd name="connsiteX0" fmla="*/ 594361 w 1188722"/>
                  <a:gd name="connsiteY0" fmla="*/ 1188718 h 1188718"/>
                  <a:gd name="connsiteX1" fmla="*/ 0 w 1188722"/>
                  <a:gd name="connsiteY1" fmla="*/ 594359 h 1188718"/>
                  <a:gd name="connsiteX2" fmla="*/ 594361 w 1188722"/>
                  <a:gd name="connsiteY2" fmla="*/ 0 h 1188718"/>
                  <a:gd name="connsiteX3" fmla="*/ 1188722 w 1188722"/>
                  <a:gd name="connsiteY3" fmla="*/ 594359 h 1188718"/>
                  <a:gd name="connsiteX4" fmla="*/ 594361 w 1188722"/>
                  <a:gd name="connsiteY4" fmla="*/ 1188718 h 1188718"/>
                  <a:gd name="connsiteX5" fmla="*/ 594361 w 1188722"/>
                  <a:gd name="connsiteY5" fmla="*/ 41910 h 1188718"/>
                  <a:gd name="connsiteX6" fmla="*/ 38100 w 1188722"/>
                  <a:gd name="connsiteY6" fmla="*/ 598169 h 1188718"/>
                  <a:gd name="connsiteX7" fmla="*/ 594361 w 1188722"/>
                  <a:gd name="connsiteY7" fmla="*/ 1154428 h 1188718"/>
                  <a:gd name="connsiteX8" fmla="*/ 1150622 w 1188722"/>
                  <a:gd name="connsiteY8" fmla="*/ 598169 h 1188718"/>
                  <a:gd name="connsiteX9" fmla="*/ 594361 w 1188722"/>
                  <a:gd name="connsiteY9" fmla="*/ 41910 h 118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8722" h="1188718">
                    <a:moveTo>
                      <a:pt x="594361" y="1188718"/>
                    </a:moveTo>
                    <a:cubicBezTo>
                      <a:pt x="266701" y="1188718"/>
                      <a:pt x="0" y="922019"/>
                      <a:pt x="0" y="594359"/>
                    </a:cubicBezTo>
                    <a:cubicBezTo>
                      <a:pt x="0" y="266700"/>
                      <a:pt x="266701" y="0"/>
                      <a:pt x="594361" y="0"/>
                    </a:cubicBezTo>
                    <a:cubicBezTo>
                      <a:pt x="922022" y="0"/>
                      <a:pt x="1188722" y="266700"/>
                      <a:pt x="1188722" y="594359"/>
                    </a:cubicBezTo>
                    <a:cubicBezTo>
                      <a:pt x="1188722" y="922019"/>
                      <a:pt x="918212" y="1188718"/>
                      <a:pt x="594361" y="1188718"/>
                    </a:cubicBezTo>
                    <a:close/>
                    <a:moveTo>
                      <a:pt x="594361" y="41910"/>
                    </a:moveTo>
                    <a:cubicBezTo>
                      <a:pt x="289561" y="41910"/>
                      <a:pt x="38100" y="289560"/>
                      <a:pt x="38100" y="598169"/>
                    </a:cubicBezTo>
                    <a:cubicBezTo>
                      <a:pt x="38100" y="906779"/>
                      <a:pt x="285751" y="1154428"/>
                      <a:pt x="594361" y="1154428"/>
                    </a:cubicBezTo>
                    <a:cubicBezTo>
                      <a:pt x="902972" y="1154428"/>
                      <a:pt x="1150622" y="906779"/>
                      <a:pt x="1150622" y="598169"/>
                    </a:cubicBezTo>
                    <a:cubicBezTo>
                      <a:pt x="1150622" y="289560"/>
                      <a:pt x="899162" y="41910"/>
                      <a:pt x="594361" y="41910"/>
                    </a:cubicBezTo>
                    <a:close/>
                  </a:path>
                </a:pathLst>
              </a:custGeom>
              <a:grpFill/>
              <a:ln w="38100" cap="flat">
                <a:noFill/>
                <a:prstDash val="solid"/>
                <a:miter/>
              </a:ln>
            </p:spPr>
            <p:txBody>
              <a:bodyPr rtlCol="0" anchor="ctr"/>
              <a:lstStyle/>
              <a:p>
                <a:endParaRPr lang="en-IN" dirty="0"/>
              </a:p>
            </p:txBody>
          </p:sp>
        </p:grpSp>
        <p:cxnSp>
          <p:nvCxnSpPr>
            <p:cNvPr id="6" name="Straight Connector 5">
              <a:extLst>
                <a:ext uri="{FF2B5EF4-FFF2-40B4-BE49-F238E27FC236}">
                  <a16:creationId xmlns:a16="http://schemas.microsoft.com/office/drawing/2014/main" id="{1147A1B8-F6BD-48A2-9A57-FA8120E8A8F9}"/>
                </a:ext>
              </a:extLst>
            </p:cNvPr>
            <p:cNvCxnSpPr>
              <a:cxnSpLocks/>
            </p:cNvCxnSpPr>
            <p:nvPr/>
          </p:nvCxnSpPr>
          <p:spPr>
            <a:xfrm flipV="1">
              <a:off x="6399434" y="3800584"/>
              <a:ext cx="819367" cy="1"/>
            </a:xfrm>
            <a:prstGeom prst="line">
              <a:avLst/>
            </a:prstGeom>
            <a:ln w="34925">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0CDFA97-4093-49B2-9BE3-5FC8C2C6B2E8}"/>
                </a:ext>
              </a:extLst>
            </p:cNvPr>
            <p:cNvSpPr/>
            <p:nvPr/>
          </p:nvSpPr>
          <p:spPr>
            <a:xfrm>
              <a:off x="6330560" y="3814529"/>
              <a:ext cx="899461" cy="475776"/>
            </a:xfrm>
            <a:prstGeom prst="rect">
              <a:avLst/>
            </a:prstGeom>
            <a:solidFill>
              <a:srgbClr val="3D7A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4" name="TextBox 53">
            <a:extLst>
              <a:ext uri="{FF2B5EF4-FFF2-40B4-BE49-F238E27FC236}">
                <a16:creationId xmlns:a16="http://schemas.microsoft.com/office/drawing/2014/main" id="{567F2AFE-60D6-4A7A-A5DB-6C92B1D186C3}"/>
              </a:ext>
            </a:extLst>
          </p:cNvPr>
          <p:cNvSpPr txBox="1"/>
          <p:nvPr/>
        </p:nvSpPr>
        <p:spPr>
          <a:xfrm>
            <a:off x="2853784" y="1639782"/>
            <a:ext cx="1262858" cy="1107996"/>
          </a:xfrm>
          <a:prstGeom prst="rect">
            <a:avLst/>
          </a:prstGeom>
          <a:solidFill>
            <a:schemeClr val="bg2"/>
          </a:solidFill>
        </p:spPr>
        <p:txBody>
          <a:bodyPr wrap="square" lIns="45720" tIns="0" rIns="45720" bIns="0" rtlCol="0">
            <a:spAutoFit/>
          </a:bodyPr>
          <a:lstStyle/>
          <a:p>
            <a:pPr algn="ctr"/>
            <a:r>
              <a:rPr lang="en-US" sz="2400" dirty="0">
                <a:solidFill>
                  <a:schemeClr val="bg1"/>
                </a:solidFill>
              </a:rPr>
              <a:t>Verify</a:t>
            </a:r>
            <a:br>
              <a:rPr lang="en-US" sz="2400" dirty="0">
                <a:solidFill>
                  <a:schemeClr val="bg1"/>
                </a:solidFill>
              </a:rPr>
            </a:br>
            <a:r>
              <a:rPr lang="en-US" sz="2400" dirty="0">
                <a:solidFill>
                  <a:schemeClr val="bg1"/>
                </a:solidFill>
              </a:rPr>
              <a:t>user identity</a:t>
            </a:r>
          </a:p>
        </p:txBody>
      </p:sp>
    </p:spTree>
    <p:extLst>
      <p:ext uri="{BB962C8B-B14F-4D97-AF65-F5344CB8AC3E}">
        <p14:creationId xmlns:p14="http://schemas.microsoft.com/office/powerpoint/2010/main" val="3282038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CE8A0C9-DE88-4E81-A1F0-1F4C20CE6227}"/>
              </a:ext>
            </a:extLst>
          </p:cNvPr>
          <p:cNvSpPr>
            <a:spLocks noGrp="1"/>
          </p:cNvSpPr>
          <p:nvPr>
            <p:ph type="ftr" sz="quarter" idx="10"/>
          </p:nvPr>
        </p:nvSpPr>
        <p:spPr/>
        <p:txBody>
          <a:bodyPr/>
          <a:lstStyle/>
          <a:p>
            <a:r>
              <a:rPr lang="en-US" dirty="0"/>
              <a:t>© 2020 Cisco and/or its affiliates. All rights reserved. Cisco Confidential</a:t>
            </a:r>
          </a:p>
        </p:txBody>
      </p:sp>
      <p:sp>
        <p:nvSpPr>
          <p:cNvPr id="71" name="Title 1">
            <a:extLst>
              <a:ext uri="{FF2B5EF4-FFF2-40B4-BE49-F238E27FC236}">
                <a16:creationId xmlns:a16="http://schemas.microsoft.com/office/drawing/2014/main" id="{B91A917A-A74C-4A6E-9F9D-808CD5865838}"/>
              </a:ext>
            </a:extLst>
          </p:cNvPr>
          <p:cNvSpPr>
            <a:spLocks noGrp="1"/>
          </p:cNvSpPr>
          <p:nvPr>
            <p:ph type="title"/>
          </p:nvPr>
        </p:nvSpPr>
        <p:spPr>
          <a:xfrm>
            <a:off x="533400" y="481807"/>
            <a:ext cx="11127317" cy="393954"/>
          </a:xfrm>
        </p:spPr>
        <p:txBody>
          <a:bodyPr/>
          <a:lstStyle/>
          <a:p>
            <a:r>
              <a:rPr lang="en-US" sz="3200" dirty="0"/>
              <a:t>That secures users wherever they work, on any device</a:t>
            </a:r>
          </a:p>
        </p:txBody>
      </p:sp>
      <p:sp>
        <p:nvSpPr>
          <p:cNvPr id="110" name="Google Shape;2115;p430">
            <a:extLst>
              <a:ext uri="{FF2B5EF4-FFF2-40B4-BE49-F238E27FC236}">
                <a16:creationId xmlns:a16="http://schemas.microsoft.com/office/drawing/2014/main" id="{F81A2063-2FB8-41A2-A60C-9541D929164B}"/>
              </a:ext>
            </a:extLst>
          </p:cNvPr>
          <p:cNvSpPr txBox="1"/>
          <p:nvPr/>
        </p:nvSpPr>
        <p:spPr>
          <a:xfrm>
            <a:off x="855126" y="5664229"/>
            <a:ext cx="2201958" cy="430887"/>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AMP</a:t>
            </a:r>
            <a:br>
              <a:rPr lang="en-US" sz="1400" dirty="0">
                <a:solidFill>
                  <a:schemeClr val="bg1"/>
                </a:solidFill>
              </a:rPr>
            </a:br>
            <a:r>
              <a:rPr lang="en-US" sz="1400" dirty="0">
                <a:solidFill>
                  <a:schemeClr val="bg1"/>
                </a:solidFill>
              </a:rPr>
              <a:t>for Endpoints</a:t>
            </a:r>
          </a:p>
        </p:txBody>
      </p:sp>
      <p:sp>
        <p:nvSpPr>
          <p:cNvPr id="112" name="Rectangle 111">
            <a:extLst>
              <a:ext uri="{FF2B5EF4-FFF2-40B4-BE49-F238E27FC236}">
                <a16:creationId xmlns:a16="http://schemas.microsoft.com/office/drawing/2014/main" id="{5FF62FBD-1782-419F-9BE6-E64AE66E424A}"/>
              </a:ext>
            </a:extLst>
          </p:cNvPr>
          <p:cNvSpPr/>
          <p:nvPr/>
        </p:nvSpPr>
        <p:spPr>
          <a:xfrm>
            <a:off x="7849357" y="5476837"/>
            <a:ext cx="1177814" cy="430887"/>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AnyConnect</a:t>
            </a:r>
          </a:p>
        </p:txBody>
      </p:sp>
      <p:grpSp>
        <p:nvGrpSpPr>
          <p:cNvPr id="114" name="Group 113">
            <a:extLst>
              <a:ext uri="{FF2B5EF4-FFF2-40B4-BE49-F238E27FC236}">
                <a16:creationId xmlns:a16="http://schemas.microsoft.com/office/drawing/2014/main" id="{A320F087-C90A-4D05-A363-23D4CF718D02}"/>
              </a:ext>
            </a:extLst>
          </p:cNvPr>
          <p:cNvGrpSpPr/>
          <p:nvPr/>
        </p:nvGrpSpPr>
        <p:grpSpPr>
          <a:xfrm>
            <a:off x="4449365" y="2890068"/>
            <a:ext cx="2908253" cy="2888993"/>
            <a:chOff x="4449365" y="3061518"/>
            <a:chExt cx="2908253" cy="2888993"/>
          </a:xfrm>
        </p:grpSpPr>
        <p:pic>
          <p:nvPicPr>
            <p:cNvPr id="120" name="Picture 119">
              <a:extLst>
                <a:ext uri="{FF2B5EF4-FFF2-40B4-BE49-F238E27FC236}">
                  <a16:creationId xmlns:a16="http://schemas.microsoft.com/office/drawing/2014/main" id="{91E286F0-BEFB-41F7-926F-A5477F6FFEAA}"/>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4566659" y="3291462"/>
              <a:ext cx="2790959" cy="2659049"/>
            </a:xfrm>
            <a:custGeom>
              <a:avLst/>
              <a:gdLst>
                <a:gd name="connsiteX0" fmla="*/ 566410 w 2790959"/>
                <a:gd name="connsiteY0" fmla="*/ 0 h 2659049"/>
                <a:gd name="connsiteX1" fmla="*/ 2126516 w 2790959"/>
                <a:gd name="connsiteY1" fmla="*/ 0 h 2659049"/>
                <a:gd name="connsiteX2" fmla="*/ 2154095 w 2790959"/>
                <a:gd name="connsiteY2" fmla="*/ 16754 h 2659049"/>
                <a:gd name="connsiteX3" fmla="*/ 2790959 w 2790959"/>
                <a:gd name="connsiteY3" fmla="*/ 1214553 h 2659049"/>
                <a:gd name="connsiteX4" fmla="*/ 1346463 w 2790959"/>
                <a:gd name="connsiteY4" fmla="*/ 2659049 h 2659049"/>
                <a:gd name="connsiteX5" fmla="*/ 15483 w 2790959"/>
                <a:gd name="connsiteY5" fmla="*/ 1776816 h 2659049"/>
                <a:gd name="connsiteX6" fmla="*/ 0 w 2790959"/>
                <a:gd name="connsiteY6" fmla="*/ 1734514 h 2659049"/>
                <a:gd name="connsiteX7" fmla="*/ 0 w 2790959"/>
                <a:gd name="connsiteY7" fmla="*/ 694592 h 2659049"/>
                <a:gd name="connsiteX8" fmla="*/ 15483 w 2790959"/>
                <a:gd name="connsiteY8" fmla="*/ 652290 h 2659049"/>
                <a:gd name="connsiteX9" fmla="*/ 538832 w 2790959"/>
                <a:gd name="connsiteY9" fmla="*/ 16754 h 265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0959" h="2659049">
                  <a:moveTo>
                    <a:pt x="566410" y="0"/>
                  </a:moveTo>
                  <a:lnTo>
                    <a:pt x="2126516" y="0"/>
                  </a:lnTo>
                  <a:lnTo>
                    <a:pt x="2154095" y="16754"/>
                  </a:lnTo>
                  <a:cubicBezTo>
                    <a:pt x="2538333" y="276341"/>
                    <a:pt x="2790959" y="715945"/>
                    <a:pt x="2790959" y="1214553"/>
                  </a:cubicBezTo>
                  <a:cubicBezTo>
                    <a:pt x="2790959" y="2012326"/>
                    <a:pt x="2144236" y="2659049"/>
                    <a:pt x="1346463" y="2659049"/>
                  </a:cubicBezTo>
                  <a:cubicBezTo>
                    <a:pt x="748134" y="2659049"/>
                    <a:pt x="234769" y="2295268"/>
                    <a:pt x="15483" y="1776816"/>
                  </a:cubicBezTo>
                  <a:lnTo>
                    <a:pt x="0" y="1734514"/>
                  </a:lnTo>
                  <a:lnTo>
                    <a:pt x="0" y="694592"/>
                  </a:lnTo>
                  <a:lnTo>
                    <a:pt x="15483" y="652290"/>
                  </a:lnTo>
                  <a:cubicBezTo>
                    <a:pt x="125126" y="393065"/>
                    <a:pt x="308289" y="172506"/>
                    <a:pt x="538832" y="16754"/>
                  </a:cubicBezTo>
                  <a:close/>
                </a:path>
              </a:pathLst>
            </a:custGeom>
          </p:spPr>
        </p:pic>
        <p:sp>
          <p:nvSpPr>
            <p:cNvPr id="121" name="Oval 120">
              <a:extLst>
                <a:ext uri="{FF2B5EF4-FFF2-40B4-BE49-F238E27FC236}">
                  <a16:creationId xmlns:a16="http://schemas.microsoft.com/office/drawing/2014/main" id="{30EAD333-99AA-4DD3-B568-B06D6174896F}"/>
                </a:ext>
              </a:extLst>
            </p:cNvPr>
            <p:cNvSpPr/>
            <p:nvPr/>
          </p:nvSpPr>
          <p:spPr>
            <a:xfrm>
              <a:off x="4468625" y="3061518"/>
              <a:ext cx="2888991" cy="2888991"/>
            </a:xfrm>
            <a:prstGeom prst="ellipse">
              <a:avLst/>
            </a:pr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2" name="Group 121">
              <a:extLst>
                <a:ext uri="{FF2B5EF4-FFF2-40B4-BE49-F238E27FC236}">
                  <a16:creationId xmlns:a16="http://schemas.microsoft.com/office/drawing/2014/main" id="{9435D1F1-15B2-4EAD-8ECE-62D1C2E0CDB3}"/>
                </a:ext>
              </a:extLst>
            </p:cNvPr>
            <p:cNvGrpSpPr/>
            <p:nvPr/>
          </p:nvGrpSpPr>
          <p:grpSpPr>
            <a:xfrm rot="20432285" flipH="1">
              <a:off x="4449365" y="3755498"/>
              <a:ext cx="1426045" cy="1500991"/>
              <a:chOff x="7770951" y="3977103"/>
              <a:chExt cx="1426045" cy="1500991"/>
            </a:xfrm>
          </p:grpSpPr>
          <p:sp>
            <p:nvSpPr>
              <p:cNvPr id="138" name="Freeform: Shape 137">
                <a:extLst>
                  <a:ext uri="{FF2B5EF4-FFF2-40B4-BE49-F238E27FC236}">
                    <a16:creationId xmlns:a16="http://schemas.microsoft.com/office/drawing/2014/main" id="{15341529-F13C-4237-863C-5C2EA5B14BF2}"/>
                  </a:ext>
                </a:extLst>
              </p:cNvPr>
              <p:cNvSpPr/>
              <p:nvPr/>
            </p:nvSpPr>
            <p:spPr>
              <a:xfrm rot="7966944">
                <a:off x="7979694" y="4047526"/>
                <a:ext cx="1287725" cy="1146879"/>
              </a:xfrm>
              <a:custGeom>
                <a:avLst/>
                <a:gdLst>
                  <a:gd name="connsiteX0" fmla="*/ 427744 w 915678"/>
                  <a:gd name="connsiteY0" fmla="*/ 436995 h 815526"/>
                  <a:gd name="connsiteX1" fmla="*/ 428460 w 915678"/>
                  <a:gd name="connsiteY1" fmla="*/ 424405 h 815526"/>
                  <a:gd name="connsiteX2" fmla="*/ 441050 w 915678"/>
                  <a:gd name="connsiteY2" fmla="*/ 425120 h 815526"/>
                  <a:gd name="connsiteX3" fmla="*/ 440335 w 915678"/>
                  <a:gd name="connsiteY3" fmla="*/ 437711 h 815526"/>
                  <a:gd name="connsiteX4" fmla="*/ 427744 w 915678"/>
                  <a:gd name="connsiteY4" fmla="*/ 436995 h 815526"/>
                  <a:gd name="connsiteX5" fmla="*/ 390688 w 915678"/>
                  <a:gd name="connsiteY5" fmla="*/ 469759 h 815526"/>
                  <a:gd name="connsiteX6" fmla="*/ 402423 w 915678"/>
                  <a:gd name="connsiteY6" fmla="*/ 469762 h 815526"/>
                  <a:gd name="connsiteX7" fmla="*/ 402427 w 915678"/>
                  <a:gd name="connsiteY7" fmla="*/ 458027 h 815526"/>
                  <a:gd name="connsiteX8" fmla="*/ 390691 w 915678"/>
                  <a:gd name="connsiteY8" fmla="*/ 458024 h 815526"/>
                  <a:gd name="connsiteX9" fmla="*/ 390688 w 915678"/>
                  <a:gd name="connsiteY9" fmla="*/ 458027 h 815526"/>
                  <a:gd name="connsiteX10" fmla="*/ 390688 w 915678"/>
                  <a:gd name="connsiteY10" fmla="*/ 469759 h 815526"/>
                  <a:gd name="connsiteX11" fmla="*/ 353774 w 915678"/>
                  <a:gd name="connsiteY11" fmla="*/ 502523 h 815526"/>
                  <a:gd name="connsiteX12" fmla="*/ 364648 w 915678"/>
                  <a:gd name="connsiteY12" fmla="*/ 502523 h 815526"/>
                  <a:gd name="connsiteX13" fmla="*/ 364648 w 915678"/>
                  <a:gd name="connsiteY13" fmla="*/ 491650 h 815526"/>
                  <a:gd name="connsiteX14" fmla="*/ 353774 w 915678"/>
                  <a:gd name="connsiteY14" fmla="*/ 491650 h 815526"/>
                  <a:gd name="connsiteX15" fmla="*/ 352896 w 915678"/>
                  <a:gd name="connsiteY15" fmla="*/ 502337 h 815526"/>
                  <a:gd name="connsiteX16" fmla="*/ 353059 w 915678"/>
                  <a:gd name="connsiteY16" fmla="*/ 502523 h 815526"/>
                  <a:gd name="connsiteX17" fmla="*/ 316146 w 915678"/>
                  <a:gd name="connsiteY17" fmla="*/ 535145 h 815526"/>
                  <a:gd name="connsiteX18" fmla="*/ 326059 w 915678"/>
                  <a:gd name="connsiteY18" fmla="*/ 535246 h 815526"/>
                  <a:gd name="connsiteX19" fmla="*/ 326161 w 915678"/>
                  <a:gd name="connsiteY19" fmla="*/ 535145 h 815526"/>
                  <a:gd name="connsiteX20" fmla="*/ 326161 w 915678"/>
                  <a:gd name="connsiteY20" fmla="*/ 525129 h 815526"/>
                  <a:gd name="connsiteX21" fmla="*/ 316217 w 915678"/>
                  <a:gd name="connsiteY21" fmla="*/ 524485 h 815526"/>
                  <a:gd name="connsiteX22" fmla="*/ 315573 w 915678"/>
                  <a:gd name="connsiteY22" fmla="*/ 534429 h 815526"/>
                  <a:gd name="connsiteX23" fmla="*/ 280377 w 915678"/>
                  <a:gd name="connsiteY23" fmla="*/ 567479 h 815526"/>
                  <a:gd name="connsiteX24" fmla="*/ 289534 w 915678"/>
                  <a:gd name="connsiteY24" fmla="*/ 568052 h 815526"/>
                  <a:gd name="connsiteX25" fmla="*/ 290106 w 915678"/>
                  <a:gd name="connsiteY25" fmla="*/ 558895 h 815526"/>
                  <a:gd name="connsiteX26" fmla="*/ 280949 w 915678"/>
                  <a:gd name="connsiteY26" fmla="*/ 558323 h 815526"/>
                  <a:gd name="connsiteX27" fmla="*/ 280377 w 915678"/>
                  <a:gd name="connsiteY27" fmla="*/ 567479 h 815526"/>
                  <a:gd name="connsiteX28" fmla="*/ 243464 w 915678"/>
                  <a:gd name="connsiteY28" fmla="*/ 600244 h 815526"/>
                  <a:gd name="connsiteX29" fmla="*/ 251759 w 915678"/>
                  <a:gd name="connsiteY29" fmla="*/ 600241 h 815526"/>
                  <a:gd name="connsiteX30" fmla="*/ 251758 w 915678"/>
                  <a:gd name="connsiteY30" fmla="*/ 591945 h 815526"/>
                  <a:gd name="connsiteX31" fmla="*/ 243464 w 915678"/>
                  <a:gd name="connsiteY31" fmla="*/ 591945 h 815526"/>
                  <a:gd name="connsiteX32" fmla="*/ 243461 w 915678"/>
                  <a:gd name="connsiteY32" fmla="*/ 600241 h 815526"/>
                  <a:gd name="connsiteX33" fmla="*/ 243464 w 915678"/>
                  <a:gd name="connsiteY33" fmla="*/ 600244 h 815526"/>
                  <a:gd name="connsiteX34" fmla="*/ 206551 w 915678"/>
                  <a:gd name="connsiteY34" fmla="*/ 633008 h 815526"/>
                  <a:gd name="connsiteX35" fmla="*/ 213833 w 915678"/>
                  <a:gd name="connsiteY35" fmla="*/ 633165 h 815526"/>
                  <a:gd name="connsiteX36" fmla="*/ 213990 w 915678"/>
                  <a:gd name="connsiteY36" fmla="*/ 633008 h 815526"/>
                  <a:gd name="connsiteX37" fmla="*/ 215134 w 915678"/>
                  <a:gd name="connsiteY37" fmla="*/ 625609 h 815526"/>
                  <a:gd name="connsiteX38" fmla="*/ 207735 w 915678"/>
                  <a:gd name="connsiteY38" fmla="*/ 624466 h 815526"/>
                  <a:gd name="connsiteX39" fmla="*/ 206980 w 915678"/>
                  <a:gd name="connsiteY39" fmla="*/ 625139 h 815526"/>
                  <a:gd name="connsiteX40" fmla="*/ 206980 w 915678"/>
                  <a:gd name="connsiteY40" fmla="*/ 632578 h 815526"/>
                  <a:gd name="connsiteX41" fmla="*/ 170209 w 915678"/>
                  <a:gd name="connsiteY41" fmla="*/ 666201 h 815526"/>
                  <a:gd name="connsiteX42" fmla="*/ 176885 w 915678"/>
                  <a:gd name="connsiteY42" fmla="*/ 666295 h 815526"/>
                  <a:gd name="connsiteX43" fmla="*/ 176981 w 915678"/>
                  <a:gd name="connsiteY43" fmla="*/ 659620 h 815526"/>
                  <a:gd name="connsiteX44" fmla="*/ 170304 w 915678"/>
                  <a:gd name="connsiteY44" fmla="*/ 659525 h 815526"/>
                  <a:gd name="connsiteX45" fmla="*/ 170209 w 915678"/>
                  <a:gd name="connsiteY45" fmla="*/ 659620 h 815526"/>
                  <a:gd name="connsiteX46" fmla="*/ 170209 w 915678"/>
                  <a:gd name="connsiteY46" fmla="*/ 666201 h 815526"/>
                  <a:gd name="connsiteX47" fmla="*/ 133296 w 915678"/>
                  <a:gd name="connsiteY47" fmla="*/ 698965 h 815526"/>
                  <a:gd name="connsiteX48" fmla="*/ 138962 w 915678"/>
                  <a:gd name="connsiteY48" fmla="*/ 699022 h 815526"/>
                  <a:gd name="connsiteX49" fmla="*/ 139019 w 915678"/>
                  <a:gd name="connsiteY49" fmla="*/ 698965 h 815526"/>
                  <a:gd name="connsiteX50" fmla="*/ 140228 w 915678"/>
                  <a:gd name="connsiteY50" fmla="*/ 693224 h 815526"/>
                  <a:gd name="connsiteX51" fmla="*/ 134485 w 915678"/>
                  <a:gd name="connsiteY51" fmla="*/ 692015 h 815526"/>
                  <a:gd name="connsiteX52" fmla="*/ 133582 w 915678"/>
                  <a:gd name="connsiteY52" fmla="*/ 692813 h 815526"/>
                  <a:gd name="connsiteX53" fmla="*/ 133582 w 915678"/>
                  <a:gd name="connsiteY53" fmla="*/ 698536 h 815526"/>
                  <a:gd name="connsiteX54" fmla="*/ 96669 w 915678"/>
                  <a:gd name="connsiteY54" fmla="*/ 731300 h 815526"/>
                  <a:gd name="connsiteX55" fmla="*/ 101525 w 915678"/>
                  <a:gd name="connsiteY55" fmla="*/ 731291 h 815526"/>
                  <a:gd name="connsiteX56" fmla="*/ 101516 w 915678"/>
                  <a:gd name="connsiteY56" fmla="*/ 726436 h 815526"/>
                  <a:gd name="connsiteX57" fmla="*/ 96669 w 915678"/>
                  <a:gd name="connsiteY57" fmla="*/ 726436 h 815526"/>
                  <a:gd name="connsiteX58" fmla="*/ 96660 w 915678"/>
                  <a:gd name="connsiteY58" fmla="*/ 731291 h 815526"/>
                  <a:gd name="connsiteX59" fmla="*/ 96669 w 915678"/>
                  <a:gd name="connsiteY59" fmla="*/ 731300 h 815526"/>
                  <a:gd name="connsiteX60" fmla="*/ 58611 w 915678"/>
                  <a:gd name="connsiteY60" fmla="*/ 764493 h 815526"/>
                  <a:gd name="connsiteX61" fmla="*/ 62760 w 915678"/>
                  <a:gd name="connsiteY61" fmla="*/ 764493 h 815526"/>
                  <a:gd name="connsiteX62" fmla="*/ 62760 w 915678"/>
                  <a:gd name="connsiteY62" fmla="*/ 760344 h 815526"/>
                  <a:gd name="connsiteX63" fmla="*/ 58919 w 915678"/>
                  <a:gd name="connsiteY63" fmla="*/ 760178 h 815526"/>
                  <a:gd name="connsiteX64" fmla="*/ 58754 w 915678"/>
                  <a:gd name="connsiteY64" fmla="*/ 760344 h 815526"/>
                  <a:gd name="connsiteX65" fmla="*/ 58754 w 915678"/>
                  <a:gd name="connsiteY65" fmla="*/ 764350 h 815526"/>
                  <a:gd name="connsiteX66" fmla="*/ 407428 w 915678"/>
                  <a:gd name="connsiteY66" fmla="*/ 413388 h 815526"/>
                  <a:gd name="connsiteX67" fmla="*/ 420018 w 915678"/>
                  <a:gd name="connsiteY67" fmla="*/ 414246 h 815526"/>
                  <a:gd name="connsiteX68" fmla="*/ 420064 w 915678"/>
                  <a:gd name="connsiteY68" fmla="*/ 401701 h 815526"/>
                  <a:gd name="connsiteX69" fmla="*/ 420018 w 915678"/>
                  <a:gd name="connsiteY69" fmla="*/ 401656 h 815526"/>
                  <a:gd name="connsiteX70" fmla="*/ 407511 w 915678"/>
                  <a:gd name="connsiteY70" fmla="*/ 400694 h 815526"/>
                  <a:gd name="connsiteX71" fmla="*/ 406548 w 915678"/>
                  <a:gd name="connsiteY71" fmla="*/ 413202 h 815526"/>
                  <a:gd name="connsiteX72" fmla="*/ 406712 w 915678"/>
                  <a:gd name="connsiteY72" fmla="*/ 413388 h 815526"/>
                  <a:gd name="connsiteX73" fmla="*/ 370514 w 915678"/>
                  <a:gd name="connsiteY73" fmla="*/ 446152 h 815526"/>
                  <a:gd name="connsiteX74" fmla="*/ 382249 w 915678"/>
                  <a:gd name="connsiteY74" fmla="*/ 446155 h 815526"/>
                  <a:gd name="connsiteX75" fmla="*/ 382254 w 915678"/>
                  <a:gd name="connsiteY75" fmla="*/ 434420 h 815526"/>
                  <a:gd name="connsiteX76" fmla="*/ 370517 w 915678"/>
                  <a:gd name="connsiteY76" fmla="*/ 434417 h 815526"/>
                  <a:gd name="connsiteX77" fmla="*/ 370514 w 915678"/>
                  <a:gd name="connsiteY77" fmla="*/ 434420 h 815526"/>
                  <a:gd name="connsiteX78" fmla="*/ 370514 w 915678"/>
                  <a:gd name="connsiteY78" fmla="*/ 446152 h 815526"/>
                  <a:gd name="connsiteX79" fmla="*/ 333458 w 915678"/>
                  <a:gd name="connsiteY79" fmla="*/ 478916 h 815526"/>
                  <a:gd name="connsiteX80" fmla="*/ 344332 w 915678"/>
                  <a:gd name="connsiteY80" fmla="*/ 478916 h 815526"/>
                  <a:gd name="connsiteX81" fmla="*/ 344332 w 915678"/>
                  <a:gd name="connsiteY81" fmla="*/ 468042 h 815526"/>
                  <a:gd name="connsiteX82" fmla="*/ 333511 w 915678"/>
                  <a:gd name="connsiteY82" fmla="*/ 466532 h 815526"/>
                  <a:gd name="connsiteX83" fmla="*/ 332000 w 915678"/>
                  <a:gd name="connsiteY83" fmla="*/ 477354 h 815526"/>
                  <a:gd name="connsiteX84" fmla="*/ 332742 w 915678"/>
                  <a:gd name="connsiteY84" fmla="*/ 478201 h 815526"/>
                  <a:gd name="connsiteX85" fmla="*/ 296545 w 915678"/>
                  <a:gd name="connsiteY85" fmla="*/ 511680 h 815526"/>
                  <a:gd name="connsiteX86" fmla="*/ 306458 w 915678"/>
                  <a:gd name="connsiteY86" fmla="*/ 511782 h 815526"/>
                  <a:gd name="connsiteX87" fmla="*/ 306560 w 915678"/>
                  <a:gd name="connsiteY87" fmla="*/ 511680 h 815526"/>
                  <a:gd name="connsiteX88" fmla="*/ 306661 w 915678"/>
                  <a:gd name="connsiteY88" fmla="*/ 501563 h 815526"/>
                  <a:gd name="connsiteX89" fmla="*/ 296545 w 915678"/>
                  <a:gd name="connsiteY89" fmla="*/ 501463 h 815526"/>
                  <a:gd name="connsiteX90" fmla="*/ 296443 w 915678"/>
                  <a:gd name="connsiteY90" fmla="*/ 511579 h 815526"/>
                  <a:gd name="connsiteX91" fmla="*/ 296545 w 915678"/>
                  <a:gd name="connsiteY91" fmla="*/ 511680 h 815526"/>
                  <a:gd name="connsiteX92" fmla="*/ 259631 w 915678"/>
                  <a:gd name="connsiteY92" fmla="*/ 544444 h 815526"/>
                  <a:gd name="connsiteX93" fmla="*/ 268788 w 915678"/>
                  <a:gd name="connsiteY93" fmla="*/ 544444 h 815526"/>
                  <a:gd name="connsiteX94" fmla="*/ 268788 w 915678"/>
                  <a:gd name="connsiteY94" fmla="*/ 535288 h 815526"/>
                  <a:gd name="connsiteX95" fmla="*/ 259631 w 915678"/>
                  <a:gd name="connsiteY95" fmla="*/ 534715 h 815526"/>
                  <a:gd name="connsiteX96" fmla="*/ 259059 w 915678"/>
                  <a:gd name="connsiteY96" fmla="*/ 543872 h 815526"/>
                  <a:gd name="connsiteX97" fmla="*/ 222003 w 915678"/>
                  <a:gd name="connsiteY97" fmla="*/ 576636 h 815526"/>
                  <a:gd name="connsiteX98" fmla="*/ 230298 w 915678"/>
                  <a:gd name="connsiteY98" fmla="*/ 576633 h 815526"/>
                  <a:gd name="connsiteX99" fmla="*/ 230297 w 915678"/>
                  <a:gd name="connsiteY99" fmla="*/ 568338 h 815526"/>
                  <a:gd name="connsiteX100" fmla="*/ 222003 w 915678"/>
                  <a:gd name="connsiteY100" fmla="*/ 568338 h 815526"/>
                  <a:gd name="connsiteX101" fmla="*/ 222000 w 915678"/>
                  <a:gd name="connsiteY101" fmla="*/ 576633 h 815526"/>
                  <a:gd name="connsiteX102" fmla="*/ 222003 w 915678"/>
                  <a:gd name="connsiteY102" fmla="*/ 576636 h 815526"/>
                  <a:gd name="connsiteX103" fmla="*/ 185662 w 915678"/>
                  <a:gd name="connsiteY103" fmla="*/ 610402 h 815526"/>
                  <a:gd name="connsiteX104" fmla="*/ 193147 w 915678"/>
                  <a:gd name="connsiteY104" fmla="*/ 610449 h 815526"/>
                  <a:gd name="connsiteX105" fmla="*/ 193194 w 915678"/>
                  <a:gd name="connsiteY105" fmla="*/ 602962 h 815526"/>
                  <a:gd name="connsiteX106" fmla="*/ 185707 w 915678"/>
                  <a:gd name="connsiteY106" fmla="*/ 602915 h 815526"/>
                  <a:gd name="connsiteX107" fmla="*/ 185662 w 915678"/>
                  <a:gd name="connsiteY107" fmla="*/ 602962 h 815526"/>
                  <a:gd name="connsiteX108" fmla="*/ 185662 w 915678"/>
                  <a:gd name="connsiteY108" fmla="*/ 610402 h 815526"/>
                  <a:gd name="connsiteX109" fmla="*/ 148748 w 915678"/>
                  <a:gd name="connsiteY109" fmla="*/ 642737 h 815526"/>
                  <a:gd name="connsiteX110" fmla="*/ 155330 w 915678"/>
                  <a:gd name="connsiteY110" fmla="*/ 642737 h 815526"/>
                  <a:gd name="connsiteX111" fmla="*/ 156128 w 915678"/>
                  <a:gd name="connsiteY111" fmla="*/ 636108 h 815526"/>
                  <a:gd name="connsiteX112" fmla="*/ 149498 w 915678"/>
                  <a:gd name="connsiteY112" fmla="*/ 635310 h 815526"/>
                  <a:gd name="connsiteX113" fmla="*/ 149034 w 915678"/>
                  <a:gd name="connsiteY113" fmla="*/ 635726 h 815526"/>
                  <a:gd name="connsiteX114" fmla="*/ 149034 w 915678"/>
                  <a:gd name="connsiteY114" fmla="*/ 642308 h 815526"/>
                  <a:gd name="connsiteX115" fmla="*/ 111978 w 915678"/>
                  <a:gd name="connsiteY115" fmla="*/ 675072 h 815526"/>
                  <a:gd name="connsiteX116" fmla="*/ 117844 w 915678"/>
                  <a:gd name="connsiteY116" fmla="*/ 675072 h 815526"/>
                  <a:gd name="connsiteX117" fmla="*/ 117844 w 915678"/>
                  <a:gd name="connsiteY117" fmla="*/ 669349 h 815526"/>
                  <a:gd name="connsiteX118" fmla="*/ 112178 w 915678"/>
                  <a:gd name="connsiteY118" fmla="*/ 669291 h 815526"/>
                  <a:gd name="connsiteX119" fmla="*/ 112121 w 915678"/>
                  <a:gd name="connsiteY119" fmla="*/ 669349 h 815526"/>
                  <a:gd name="connsiteX120" fmla="*/ 112064 w 915678"/>
                  <a:gd name="connsiteY120" fmla="*/ 675014 h 815526"/>
                  <a:gd name="connsiteX121" fmla="*/ 112121 w 915678"/>
                  <a:gd name="connsiteY121" fmla="*/ 675072 h 815526"/>
                  <a:gd name="connsiteX122" fmla="*/ 75208 w 915678"/>
                  <a:gd name="connsiteY122" fmla="*/ 707836 h 815526"/>
                  <a:gd name="connsiteX123" fmla="*/ 80064 w 915678"/>
                  <a:gd name="connsiteY123" fmla="*/ 707844 h 815526"/>
                  <a:gd name="connsiteX124" fmla="*/ 80072 w 915678"/>
                  <a:gd name="connsiteY124" fmla="*/ 707836 h 815526"/>
                  <a:gd name="connsiteX125" fmla="*/ 80064 w 915678"/>
                  <a:gd name="connsiteY125" fmla="*/ 702980 h 815526"/>
                  <a:gd name="connsiteX126" fmla="*/ 75208 w 915678"/>
                  <a:gd name="connsiteY126" fmla="*/ 702988 h 815526"/>
                  <a:gd name="connsiteX127" fmla="*/ 75208 w 915678"/>
                  <a:gd name="connsiteY127" fmla="*/ 707836 h 815526"/>
                  <a:gd name="connsiteX128" fmla="*/ 38295 w 915678"/>
                  <a:gd name="connsiteY128" fmla="*/ 740600 h 815526"/>
                  <a:gd name="connsiteX129" fmla="*/ 42136 w 915678"/>
                  <a:gd name="connsiteY129" fmla="*/ 740765 h 815526"/>
                  <a:gd name="connsiteX130" fmla="*/ 42301 w 915678"/>
                  <a:gd name="connsiteY130" fmla="*/ 740600 h 815526"/>
                  <a:gd name="connsiteX131" fmla="*/ 42301 w 915678"/>
                  <a:gd name="connsiteY131" fmla="*/ 736594 h 815526"/>
                  <a:gd name="connsiteX132" fmla="*/ 38151 w 915678"/>
                  <a:gd name="connsiteY132" fmla="*/ 736594 h 815526"/>
                  <a:gd name="connsiteX133" fmla="*/ 38151 w 915678"/>
                  <a:gd name="connsiteY133" fmla="*/ 740743 h 815526"/>
                  <a:gd name="connsiteX134" fmla="*/ 386539 w 915678"/>
                  <a:gd name="connsiteY134" fmla="*/ 389924 h 815526"/>
                  <a:gd name="connsiteX135" fmla="*/ 399059 w 915678"/>
                  <a:gd name="connsiteY135" fmla="*/ 390702 h 815526"/>
                  <a:gd name="connsiteX136" fmla="*/ 399837 w 915678"/>
                  <a:gd name="connsiteY136" fmla="*/ 378181 h 815526"/>
                  <a:gd name="connsiteX137" fmla="*/ 387397 w 915678"/>
                  <a:gd name="connsiteY137" fmla="*/ 377333 h 815526"/>
                  <a:gd name="connsiteX138" fmla="*/ 386539 w 915678"/>
                  <a:gd name="connsiteY138" fmla="*/ 389924 h 815526"/>
                  <a:gd name="connsiteX139" fmla="*/ 349625 w 915678"/>
                  <a:gd name="connsiteY139" fmla="*/ 422688 h 815526"/>
                  <a:gd name="connsiteX140" fmla="*/ 361340 w 915678"/>
                  <a:gd name="connsiteY140" fmla="*/ 423383 h 815526"/>
                  <a:gd name="connsiteX141" fmla="*/ 362036 w 915678"/>
                  <a:gd name="connsiteY141" fmla="*/ 411668 h 815526"/>
                  <a:gd name="connsiteX142" fmla="*/ 350341 w 915678"/>
                  <a:gd name="connsiteY142" fmla="*/ 410956 h 815526"/>
                  <a:gd name="connsiteX143" fmla="*/ 349608 w 915678"/>
                  <a:gd name="connsiteY143" fmla="*/ 422668 h 815526"/>
                  <a:gd name="connsiteX144" fmla="*/ 349625 w 915678"/>
                  <a:gd name="connsiteY144" fmla="*/ 422688 h 815526"/>
                  <a:gd name="connsiteX145" fmla="*/ 313284 w 915678"/>
                  <a:gd name="connsiteY145" fmla="*/ 455452 h 815526"/>
                  <a:gd name="connsiteX146" fmla="*/ 324211 w 915678"/>
                  <a:gd name="connsiteY146" fmla="*/ 455505 h 815526"/>
                  <a:gd name="connsiteX147" fmla="*/ 324262 w 915678"/>
                  <a:gd name="connsiteY147" fmla="*/ 444578 h 815526"/>
                  <a:gd name="connsiteX148" fmla="*/ 313337 w 915678"/>
                  <a:gd name="connsiteY148" fmla="*/ 444525 h 815526"/>
                  <a:gd name="connsiteX149" fmla="*/ 313284 w 915678"/>
                  <a:gd name="connsiteY149" fmla="*/ 444578 h 815526"/>
                  <a:gd name="connsiteX150" fmla="*/ 313284 w 915678"/>
                  <a:gd name="connsiteY150" fmla="*/ 455452 h 815526"/>
                  <a:gd name="connsiteX151" fmla="*/ 276228 w 915678"/>
                  <a:gd name="connsiteY151" fmla="*/ 488216 h 815526"/>
                  <a:gd name="connsiteX152" fmla="*/ 286243 w 915678"/>
                  <a:gd name="connsiteY152" fmla="*/ 488216 h 815526"/>
                  <a:gd name="connsiteX153" fmla="*/ 286142 w 915678"/>
                  <a:gd name="connsiteY153" fmla="*/ 478302 h 815526"/>
                  <a:gd name="connsiteX154" fmla="*/ 276228 w 915678"/>
                  <a:gd name="connsiteY154" fmla="*/ 478402 h 815526"/>
                  <a:gd name="connsiteX155" fmla="*/ 276228 w 915678"/>
                  <a:gd name="connsiteY155" fmla="*/ 488216 h 815526"/>
                  <a:gd name="connsiteX156" fmla="*/ 239315 w 915678"/>
                  <a:gd name="connsiteY156" fmla="*/ 520980 h 815526"/>
                  <a:gd name="connsiteX157" fmla="*/ 248622 w 915678"/>
                  <a:gd name="connsiteY157" fmla="*/ 521130 h 815526"/>
                  <a:gd name="connsiteX158" fmla="*/ 248770 w 915678"/>
                  <a:gd name="connsiteY158" fmla="*/ 511823 h 815526"/>
                  <a:gd name="connsiteX159" fmla="*/ 239465 w 915678"/>
                  <a:gd name="connsiteY159" fmla="*/ 511673 h 815526"/>
                  <a:gd name="connsiteX160" fmla="*/ 239315 w 915678"/>
                  <a:gd name="connsiteY160" fmla="*/ 511823 h 815526"/>
                  <a:gd name="connsiteX161" fmla="*/ 239263 w 915678"/>
                  <a:gd name="connsiteY161" fmla="*/ 520929 h 815526"/>
                  <a:gd name="connsiteX162" fmla="*/ 239315 w 915678"/>
                  <a:gd name="connsiteY162" fmla="*/ 520980 h 815526"/>
                  <a:gd name="connsiteX163" fmla="*/ 201829 w 915678"/>
                  <a:gd name="connsiteY163" fmla="*/ 553172 h 815526"/>
                  <a:gd name="connsiteX164" fmla="*/ 210123 w 915678"/>
                  <a:gd name="connsiteY164" fmla="*/ 553025 h 815526"/>
                  <a:gd name="connsiteX165" fmla="*/ 209977 w 915678"/>
                  <a:gd name="connsiteY165" fmla="*/ 544731 h 815526"/>
                  <a:gd name="connsiteX166" fmla="*/ 201829 w 915678"/>
                  <a:gd name="connsiteY166" fmla="*/ 544731 h 815526"/>
                  <a:gd name="connsiteX167" fmla="*/ 201829 w 915678"/>
                  <a:gd name="connsiteY167" fmla="*/ 553172 h 815526"/>
                  <a:gd name="connsiteX168" fmla="*/ 164773 w 915678"/>
                  <a:gd name="connsiteY168" fmla="*/ 585793 h 815526"/>
                  <a:gd name="connsiteX169" fmla="*/ 172260 w 915678"/>
                  <a:gd name="connsiteY169" fmla="*/ 585760 h 815526"/>
                  <a:gd name="connsiteX170" fmla="*/ 172785 w 915678"/>
                  <a:gd name="connsiteY170" fmla="*/ 578925 h 815526"/>
                  <a:gd name="connsiteX171" fmla="*/ 165392 w 915678"/>
                  <a:gd name="connsiteY171" fmla="*/ 577748 h 815526"/>
                  <a:gd name="connsiteX172" fmla="*/ 164215 w 915678"/>
                  <a:gd name="connsiteY172" fmla="*/ 585141 h 815526"/>
                  <a:gd name="connsiteX173" fmla="*/ 164773 w 915678"/>
                  <a:gd name="connsiteY173" fmla="*/ 585793 h 815526"/>
                  <a:gd name="connsiteX174" fmla="*/ 127287 w 915678"/>
                  <a:gd name="connsiteY174" fmla="*/ 619129 h 815526"/>
                  <a:gd name="connsiteX175" fmla="*/ 133936 w 915678"/>
                  <a:gd name="connsiteY175" fmla="*/ 618520 h 815526"/>
                  <a:gd name="connsiteX176" fmla="*/ 134298 w 915678"/>
                  <a:gd name="connsiteY176" fmla="*/ 612977 h 815526"/>
                  <a:gd name="connsiteX177" fmla="*/ 127716 w 915678"/>
                  <a:gd name="connsiteY177" fmla="*/ 612977 h 815526"/>
                  <a:gd name="connsiteX178" fmla="*/ 127609 w 915678"/>
                  <a:gd name="connsiteY178" fmla="*/ 619451 h 815526"/>
                  <a:gd name="connsiteX179" fmla="*/ 127716 w 915678"/>
                  <a:gd name="connsiteY179" fmla="*/ 619559 h 815526"/>
                  <a:gd name="connsiteX180" fmla="*/ 90946 w 915678"/>
                  <a:gd name="connsiteY180" fmla="*/ 651894 h 815526"/>
                  <a:gd name="connsiteX181" fmla="*/ 96612 w 915678"/>
                  <a:gd name="connsiteY181" fmla="*/ 651951 h 815526"/>
                  <a:gd name="connsiteX182" fmla="*/ 96669 w 915678"/>
                  <a:gd name="connsiteY182" fmla="*/ 651894 h 815526"/>
                  <a:gd name="connsiteX183" fmla="*/ 96726 w 915678"/>
                  <a:gd name="connsiteY183" fmla="*/ 646228 h 815526"/>
                  <a:gd name="connsiteX184" fmla="*/ 96669 w 915678"/>
                  <a:gd name="connsiteY184" fmla="*/ 646171 h 815526"/>
                  <a:gd name="connsiteX185" fmla="*/ 91003 w 915678"/>
                  <a:gd name="connsiteY185" fmla="*/ 646113 h 815526"/>
                  <a:gd name="connsiteX186" fmla="*/ 90946 w 915678"/>
                  <a:gd name="connsiteY186" fmla="*/ 646171 h 815526"/>
                  <a:gd name="connsiteX187" fmla="*/ 90889 w 915678"/>
                  <a:gd name="connsiteY187" fmla="*/ 651836 h 815526"/>
                  <a:gd name="connsiteX188" fmla="*/ 90946 w 915678"/>
                  <a:gd name="connsiteY188" fmla="*/ 651894 h 815526"/>
                  <a:gd name="connsiteX189" fmla="*/ 53890 w 915678"/>
                  <a:gd name="connsiteY189" fmla="*/ 684658 h 815526"/>
                  <a:gd name="connsiteX190" fmla="*/ 58746 w 915678"/>
                  <a:gd name="connsiteY190" fmla="*/ 684649 h 815526"/>
                  <a:gd name="connsiteX191" fmla="*/ 58737 w 915678"/>
                  <a:gd name="connsiteY191" fmla="*/ 679793 h 815526"/>
                  <a:gd name="connsiteX192" fmla="*/ 53890 w 915678"/>
                  <a:gd name="connsiteY192" fmla="*/ 679793 h 815526"/>
                  <a:gd name="connsiteX193" fmla="*/ 53881 w 915678"/>
                  <a:gd name="connsiteY193" fmla="*/ 684649 h 815526"/>
                  <a:gd name="connsiteX194" fmla="*/ 53890 w 915678"/>
                  <a:gd name="connsiteY194" fmla="*/ 684658 h 815526"/>
                  <a:gd name="connsiteX195" fmla="*/ 16976 w 915678"/>
                  <a:gd name="connsiteY195" fmla="*/ 717422 h 815526"/>
                  <a:gd name="connsiteX196" fmla="*/ 21023 w 915678"/>
                  <a:gd name="connsiteY196" fmla="*/ 717462 h 815526"/>
                  <a:gd name="connsiteX197" fmla="*/ 21064 w 915678"/>
                  <a:gd name="connsiteY197" fmla="*/ 713416 h 815526"/>
                  <a:gd name="connsiteX198" fmla="*/ 17016 w 915678"/>
                  <a:gd name="connsiteY198" fmla="*/ 713376 h 815526"/>
                  <a:gd name="connsiteX199" fmla="*/ 16976 w 915678"/>
                  <a:gd name="connsiteY199" fmla="*/ 713416 h 815526"/>
                  <a:gd name="connsiteX200" fmla="*/ 16812 w 915678"/>
                  <a:gd name="connsiteY200" fmla="*/ 717257 h 815526"/>
                  <a:gd name="connsiteX201" fmla="*/ 16976 w 915678"/>
                  <a:gd name="connsiteY201" fmla="*/ 717422 h 815526"/>
                  <a:gd name="connsiteX202" fmla="*/ 490840 w 915678"/>
                  <a:gd name="connsiteY202" fmla="*/ 507531 h 815526"/>
                  <a:gd name="connsiteX203" fmla="*/ 503385 w 915678"/>
                  <a:gd name="connsiteY203" fmla="*/ 507577 h 815526"/>
                  <a:gd name="connsiteX204" fmla="*/ 503431 w 915678"/>
                  <a:gd name="connsiteY204" fmla="*/ 507531 h 815526"/>
                  <a:gd name="connsiteX205" fmla="*/ 503385 w 915678"/>
                  <a:gd name="connsiteY205" fmla="*/ 494986 h 815526"/>
                  <a:gd name="connsiteX206" fmla="*/ 490840 w 915678"/>
                  <a:gd name="connsiteY206" fmla="*/ 495032 h 815526"/>
                  <a:gd name="connsiteX207" fmla="*/ 490840 w 915678"/>
                  <a:gd name="connsiteY207" fmla="*/ 507531 h 815526"/>
                  <a:gd name="connsiteX208" fmla="*/ 453927 w 915678"/>
                  <a:gd name="connsiteY208" fmla="*/ 540295 h 815526"/>
                  <a:gd name="connsiteX209" fmla="*/ 465523 w 915678"/>
                  <a:gd name="connsiteY209" fmla="*/ 542095 h 815526"/>
                  <a:gd name="connsiteX210" fmla="*/ 467323 w 915678"/>
                  <a:gd name="connsiteY210" fmla="*/ 530499 h 815526"/>
                  <a:gd name="connsiteX211" fmla="*/ 466231 w 915678"/>
                  <a:gd name="connsiteY211" fmla="*/ 529278 h 815526"/>
                  <a:gd name="connsiteX212" fmla="*/ 454635 w 915678"/>
                  <a:gd name="connsiteY212" fmla="*/ 527479 h 815526"/>
                  <a:gd name="connsiteX213" fmla="*/ 452835 w 915678"/>
                  <a:gd name="connsiteY213" fmla="*/ 539075 h 815526"/>
                  <a:gd name="connsiteX214" fmla="*/ 453927 w 915678"/>
                  <a:gd name="connsiteY214" fmla="*/ 540295 h 815526"/>
                  <a:gd name="connsiteX215" fmla="*/ 416870 w 915678"/>
                  <a:gd name="connsiteY215" fmla="*/ 573059 h 815526"/>
                  <a:gd name="connsiteX216" fmla="*/ 427744 w 915678"/>
                  <a:gd name="connsiteY216" fmla="*/ 573059 h 815526"/>
                  <a:gd name="connsiteX217" fmla="*/ 427744 w 915678"/>
                  <a:gd name="connsiteY217" fmla="*/ 562186 h 815526"/>
                  <a:gd name="connsiteX218" fmla="*/ 416870 w 915678"/>
                  <a:gd name="connsiteY218" fmla="*/ 562186 h 815526"/>
                  <a:gd name="connsiteX219" fmla="*/ 416870 w 915678"/>
                  <a:gd name="connsiteY219" fmla="*/ 573059 h 815526"/>
                  <a:gd name="connsiteX220" fmla="*/ 379957 w 915678"/>
                  <a:gd name="connsiteY220" fmla="*/ 605823 h 815526"/>
                  <a:gd name="connsiteX221" fmla="*/ 390074 w 915678"/>
                  <a:gd name="connsiteY221" fmla="*/ 605925 h 815526"/>
                  <a:gd name="connsiteX222" fmla="*/ 390174 w 915678"/>
                  <a:gd name="connsiteY222" fmla="*/ 595808 h 815526"/>
                  <a:gd name="connsiteX223" fmla="*/ 380059 w 915678"/>
                  <a:gd name="connsiteY223" fmla="*/ 595707 h 815526"/>
                  <a:gd name="connsiteX224" fmla="*/ 379957 w 915678"/>
                  <a:gd name="connsiteY224" fmla="*/ 595808 h 815526"/>
                  <a:gd name="connsiteX225" fmla="*/ 379957 w 915678"/>
                  <a:gd name="connsiteY225" fmla="*/ 605823 h 815526"/>
                  <a:gd name="connsiteX226" fmla="*/ 342901 w 915678"/>
                  <a:gd name="connsiteY226" fmla="*/ 639017 h 815526"/>
                  <a:gd name="connsiteX227" fmla="*/ 352058 w 915678"/>
                  <a:gd name="connsiteY227" fmla="*/ 639017 h 815526"/>
                  <a:gd name="connsiteX228" fmla="*/ 352630 w 915678"/>
                  <a:gd name="connsiteY228" fmla="*/ 629860 h 815526"/>
                  <a:gd name="connsiteX229" fmla="*/ 343473 w 915678"/>
                  <a:gd name="connsiteY229" fmla="*/ 629288 h 815526"/>
                  <a:gd name="connsiteX230" fmla="*/ 343473 w 915678"/>
                  <a:gd name="connsiteY230" fmla="*/ 638444 h 815526"/>
                  <a:gd name="connsiteX231" fmla="*/ 306560 w 915678"/>
                  <a:gd name="connsiteY231" fmla="*/ 671209 h 815526"/>
                  <a:gd name="connsiteX232" fmla="*/ 314930 w 915678"/>
                  <a:gd name="connsiteY232" fmla="*/ 671709 h 815526"/>
                  <a:gd name="connsiteX233" fmla="*/ 315430 w 915678"/>
                  <a:gd name="connsiteY233" fmla="*/ 663339 h 815526"/>
                  <a:gd name="connsiteX234" fmla="*/ 307340 w 915678"/>
                  <a:gd name="connsiteY234" fmla="*/ 663132 h 815526"/>
                  <a:gd name="connsiteX235" fmla="*/ 307132 w 915678"/>
                  <a:gd name="connsiteY235" fmla="*/ 663339 h 815526"/>
                  <a:gd name="connsiteX236" fmla="*/ 307129 w 915678"/>
                  <a:gd name="connsiteY236" fmla="*/ 671635 h 815526"/>
                  <a:gd name="connsiteX237" fmla="*/ 307132 w 915678"/>
                  <a:gd name="connsiteY237" fmla="*/ 671638 h 815526"/>
                  <a:gd name="connsiteX238" fmla="*/ 270219 w 915678"/>
                  <a:gd name="connsiteY238" fmla="*/ 704402 h 815526"/>
                  <a:gd name="connsiteX239" fmla="*/ 277659 w 915678"/>
                  <a:gd name="connsiteY239" fmla="*/ 704402 h 815526"/>
                  <a:gd name="connsiteX240" fmla="*/ 278159 w 915678"/>
                  <a:gd name="connsiteY240" fmla="*/ 696891 h 815526"/>
                  <a:gd name="connsiteX241" fmla="*/ 270648 w 915678"/>
                  <a:gd name="connsiteY241" fmla="*/ 696390 h 815526"/>
                  <a:gd name="connsiteX242" fmla="*/ 270648 w 915678"/>
                  <a:gd name="connsiteY242" fmla="*/ 703973 h 815526"/>
                  <a:gd name="connsiteX243" fmla="*/ 233592 w 915678"/>
                  <a:gd name="connsiteY243" fmla="*/ 736594 h 815526"/>
                  <a:gd name="connsiteX244" fmla="*/ 240269 w 915678"/>
                  <a:gd name="connsiteY244" fmla="*/ 736641 h 815526"/>
                  <a:gd name="connsiteX245" fmla="*/ 240316 w 915678"/>
                  <a:gd name="connsiteY245" fmla="*/ 736594 h 815526"/>
                  <a:gd name="connsiteX246" fmla="*/ 240269 w 915678"/>
                  <a:gd name="connsiteY246" fmla="*/ 729917 h 815526"/>
                  <a:gd name="connsiteX247" fmla="*/ 233592 w 915678"/>
                  <a:gd name="connsiteY247" fmla="*/ 729964 h 815526"/>
                  <a:gd name="connsiteX248" fmla="*/ 233592 w 915678"/>
                  <a:gd name="connsiteY248" fmla="*/ 736594 h 815526"/>
                  <a:gd name="connsiteX249" fmla="*/ 196678 w 915678"/>
                  <a:gd name="connsiteY249" fmla="*/ 769358 h 815526"/>
                  <a:gd name="connsiteX250" fmla="*/ 202344 w 915678"/>
                  <a:gd name="connsiteY250" fmla="*/ 769301 h 815526"/>
                  <a:gd name="connsiteX251" fmla="*/ 202285 w 915678"/>
                  <a:gd name="connsiteY251" fmla="*/ 763635 h 815526"/>
                  <a:gd name="connsiteX252" fmla="*/ 196678 w 915678"/>
                  <a:gd name="connsiteY252" fmla="*/ 763635 h 815526"/>
                  <a:gd name="connsiteX253" fmla="*/ 196678 w 915678"/>
                  <a:gd name="connsiteY253" fmla="*/ 769358 h 815526"/>
                  <a:gd name="connsiteX254" fmla="*/ 159765 w 915678"/>
                  <a:gd name="connsiteY254" fmla="*/ 802122 h 815526"/>
                  <a:gd name="connsiteX255" fmla="*/ 164621 w 915678"/>
                  <a:gd name="connsiteY255" fmla="*/ 802113 h 815526"/>
                  <a:gd name="connsiteX256" fmla="*/ 164612 w 915678"/>
                  <a:gd name="connsiteY256" fmla="*/ 797258 h 815526"/>
                  <a:gd name="connsiteX257" fmla="*/ 159765 w 915678"/>
                  <a:gd name="connsiteY257" fmla="*/ 797258 h 815526"/>
                  <a:gd name="connsiteX258" fmla="*/ 159756 w 915678"/>
                  <a:gd name="connsiteY258" fmla="*/ 802113 h 815526"/>
                  <a:gd name="connsiteX259" fmla="*/ 159765 w 915678"/>
                  <a:gd name="connsiteY259" fmla="*/ 802122 h 815526"/>
                  <a:gd name="connsiteX260" fmla="*/ 470667 w 915678"/>
                  <a:gd name="connsiteY260" fmla="*/ 483924 h 815526"/>
                  <a:gd name="connsiteX261" fmla="*/ 483174 w 915678"/>
                  <a:gd name="connsiteY261" fmla="*/ 484885 h 815526"/>
                  <a:gd name="connsiteX262" fmla="*/ 484137 w 915678"/>
                  <a:gd name="connsiteY262" fmla="*/ 472378 h 815526"/>
                  <a:gd name="connsiteX263" fmla="*/ 483973 w 915678"/>
                  <a:gd name="connsiteY263" fmla="*/ 472192 h 815526"/>
                  <a:gd name="connsiteX264" fmla="*/ 471442 w 915678"/>
                  <a:gd name="connsiteY264" fmla="*/ 471579 h 815526"/>
                  <a:gd name="connsiteX265" fmla="*/ 470667 w 915678"/>
                  <a:gd name="connsiteY265" fmla="*/ 483924 h 815526"/>
                  <a:gd name="connsiteX266" fmla="*/ 433753 w 915678"/>
                  <a:gd name="connsiteY266" fmla="*/ 516688 h 815526"/>
                  <a:gd name="connsiteX267" fmla="*/ 445458 w 915678"/>
                  <a:gd name="connsiteY267" fmla="*/ 517535 h 815526"/>
                  <a:gd name="connsiteX268" fmla="*/ 446305 w 915678"/>
                  <a:gd name="connsiteY268" fmla="*/ 505830 h 815526"/>
                  <a:gd name="connsiteX269" fmla="*/ 434600 w 915678"/>
                  <a:gd name="connsiteY269" fmla="*/ 504983 h 815526"/>
                  <a:gd name="connsiteX270" fmla="*/ 434469 w 915678"/>
                  <a:gd name="connsiteY270" fmla="*/ 505099 h 815526"/>
                  <a:gd name="connsiteX271" fmla="*/ 433680 w 915678"/>
                  <a:gd name="connsiteY271" fmla="*/ 516605 h 815526"/>
                  <a:gd name="connsiteX272" fmla="*/ 433753 w 915678"/>
                  <a:gd name="connsiteY272" fmla="*/ 516688 h 815526"/>
                  <a:gd name="connsiteX273" fmla="*/ 396840 w 915678"/>
                  <a:gd name="connsiteY273" fmla="*/ 549452 h 815526"/>
                  <a:gd name="connsiteX274" fmla="*/ 407359 w 915678"/>
                  <a:gd name="connsiteY274" fmla="*/ 549664 h 815526"/>
                  <a:gd name="connsiteX275" fmla="*/ 407571 w 915678"/>
                  <a:gd name="connsiteY275" fmla="*/ 549452 h 815526"/>
                  <a:gd name="connsiteX276" fmla="*/ 408449 w 915678"/>
                  <a:gd name="connsiteY276" fmla="*/ 538764 h 815526"/>
                  <a:gd name="connsiteX277" fmla="*/ 408286 w 915678"/>
                  <a:gd name="connsiteY277" fmla="*/ 538578 h 815526"/>
                  <a:gd name="connsiteX278" fmla="*/ 397412 w 915678"/>
                  <a:gd name="connsiteY278" fmla="*/ 537863 h 815526"/>
                  <a:gd name="connsiteX279" fmla="*/ 397412 w 915678"/>
                  <a:gd name="connsiteY279" fmla="*/ 548737 h 815526"/>
                  <a:gd name="connsiteX280" fmla="*/ 359068 w 915678"/>
                  <a:gd name="connsiteY280" fmla="*/ 581787 h 815526"/>
                  <a:gd name="connsiteX281" fmla="*/ 368982 w 915678"/>
                  <a:gd name="connsiteY281" fmla="*/ 581685 h 815526"/>
                  <a:gd name="connsiteX282" fmla="*/ 368882 w 915678"/>
                  <a:gd name="connsiteY282" fmla="*/ 571772 h 815526"/>
                  <a:gd name="connsiteX283" fmla="*/ 359068 w 915678"/>
                  <a:gd name="connsiteY283" fmla="*/ 571772 h 815526"/>
                  <a:gd name="connsiteX284" fmla="*/ 359068 w 915678"/>
                  <a:gd name="connsiteY284" fmla="*/ 581787 h 815526"/>
                  <a:gd name="connsiteX285" fmla="*/ 322155 w 915678"/>
                  <a:gd name="connsiteY285" fmla="*/ 614551 h 815526"/>
                  <a:gd name="connsiteX286" fmla="*/ 331260 w 915678"/>
                  <a:gd name="connsiteY286" fmla="*/ 614602 h 815526"/>
                  <a:gd name="connsiteX287" fmla="*/ 331312 w 915678"/>
                  <a:gd name="connsiteY287" fmla="*/ 614551 h 815526"/>
                  <a:gd name="connsiteX288" fmla="*/ 331884 w 915678"/>
                  <a:gd name="connsiteY288" fmla="*/ 605394 h 815526"/>
                  <a:gd name="connsiteX289" fmla="*/ 322727 w 915678"/>
                  <a:gd name="connsiteY289" fmla="*/ 604822 h 815526"/>
                  <a:gd name="connsiteX290" fmla="*/ 322676 w 915678"/>
                  <a:gd name="connsiteY290" fmla="*/ 613927 h 815526"/>
                  <a:gd name="connsiteX291" fmla="*/ 322727 w 915678"/>
                  <a:gd name="connsiteY291" fmla="*/ 613979 h 815526"/>
                  <a:gd name="connsiteX292" fmla="*/ 284669 w 915678"/>
                  <a:gd name="connsiteY292" fmla="*/ 647744 h 815526"/>
                  <a:gd name="connsiteX293" fmla="*/ 292965 w 915678"/>
                  <a:gd name="connsiteY293" fmla="*/ 647741 h 815526"/>
                  <a:gd name="connsiteX294" fmla="*/ 292963 w 915678"/>
                  <a:gd name="connsiteY294" fmla="*/ 639446 h 815526"/>
                  <a:gd name="connsiteX295" fmla="*/ 284669 w 915678"/>
                  <a:gd name="connsiteY295" fmla="*/ 639446 h 815526"/>
                  <a:gd name="connsiteX296" fmla="*/ 284666 w 915678"/>
                  <a:gd name="connsiteY296" fmla="*/ 647741 h 815526"/>
                  <a:gd name="connsiteX297" fmla="*/ 284669 w 915678"/>
                  <a:gd name="connsiteY297" fmla="*/ 647744 h 815526"/>
                  <a:gd name="connsiteX298" fmla="*/ 248185 w 915678"/>
                  <a:gd name="connsiteY298" fmla="*/ 680509 h 815526"/>
                  <a:gd name="connsiteX299" fmla="*/ 255667 w 915678"/>
                  <a:gd name="connsiteY299" fmla="*/ 680224 h 815526"/>
                  <a:gd name="connsiteX300" fmla="*/ 256054 w 915678"/>
                  <a:gd name="connsiteY300" fmla="*/ 673498 h 815526"/>
                  <a:gd name="connsiteX301" fmla="*/ 248656 w 915678"/>
                  <a:gd name="connsiteY301" fmla="*/ 672355 h 815526"/>
                  <a:gd name="connsiteX302" fmla="*/ 247513 w 915678"/>
                  <a:gd name="connsiteY302" fmla="*/ 679753 h 815526"/>
                  <a:gd name="connsiteX303" fmla="*/ 248185 w 915678"/>
                  <a:gd name="connsiteY303" fmla="*/ 680509 h 815526"/>
                  <a:gd name="connsiteX304" fmla="*/ 211272 w 915678"/>
                  <a:gd name="connsiteY304" fmla="*/ 713273 h 815526"/>
                  <a:gd name="connsiteX305" fmla="*/ 217746 w 915678"/>
                  <a:gd name="connsiteY305" fmla="*/ 713380 h 815526"/>
                  <a:gd name="connsiteX306" fmla="*/ 217853 w 915678"/>
                  <a:gd name="connsiteY306" fmla="*/ 713273 h 815526"/>
                  <a:gd name="connsiteX307" fmla="*/ 217853 w 915678"/>
                  <a:gd name="connsiteY307" fmla="*/ 706691 h 815526"/>
                  <a:gd name="connsiteX308" fmla="*/ 211339 w 915678"/>
                  <a:gd name="connsiteY308" fmla="*/ 705223 h 815526"/>
                  <a:gd name="connsiteX309" fmla="*/ 209871 w 915678"/>
                  <a:gd name="connsiteY309" fmla="*/ 711736 h 815526"/>
                  <a:gd name="connsiteX310" fmla="*/ 210843 w 915678"/>
                  <a:gd name="connsiteY310" fmla="*/ 712843 h 815526"/>
                  <a:gd name="connsiteX311" fmla="*/ 173786 w 915678"/>
                  <a:gd name="connsiteY311" fmla="*/ 745607 h 815526"/>
                  <a:gd name="connsiteX312" fmla="*/ 179652 w 915678"/>
                  <a:gd name="connsiteY312" fmla="*/ 745607 h 815526"/>
                  <a:gd name="connsiteX313" fmla="*/ 179652 w 915678"/>
                  <a:gd name="connsiteY313" fmla="*/ 739885 h 815526"/>
                  <a:gd name="connsiteX314" fmla="*/ 174196 w 915678"/>
                  <a:gd name="connsiteY314" fmla="*/ 739618 h 815526"/>
                  <a:gd name="connsiteX315" fmla="*/ 173929 w 915678"/>
                  <a:gd name="connsiteY315" fmla="*/ 739885 h 815526"/>
                  <a:gd name="connsiteX316" fmla="*/ 173872 w 915678"/>
                  <a:gd name="connsiteY316" fmla="*/ 745550 h 815526"/>
                  <a:gd name="connsiteX317" fmla="*/ 173929 w 915678"/>
                  <a:gd name="connsiteY317" fmla="*/ 745607 h 815526"/>
                  <a:gd name="connsiteX318" fmla="*/ 137302 w 915678"/>
                  <a:gd name="connsiteY318" fmla="*/ 778801 h 815526"/>
                  <a:gd name="connsiteX319" fmla="*/ 142158 w 915678"/>
                  <a:gd name="connsiteY319" fmla="*/ 778792 h 815526"/>
                  <a:gd name="connsiteX320" fmla="*/ 142150 w 915678"/>
                  <a:gd name="connsiteY320" fmla="*/ 773936 h 815526"/>
                  <a:gd name="connsiteX321" fmla="*/ 137302 w 915678"/>
                  <a:gd name="connsiteY321" fmla="*/ 773936 h 815526"/>
                  <a:gd name="connsiteX322" fmla="*/ 137294 w 915678"/>
                  <a:gd name="connsiteY322" fmla="*/ 778792 h 815526"/>
                  <a:gd name="connsiteX323" fmla="*/ 137302 w 915678"/>
                  <a:gd name="connsiteY323" fmla="*/ 778801 h 815526"/>
                  <a:gd name="connsiteX324" fmla="*/ 449205 w 915678"/>
                  <a:gd name="connsiteY324" fmla="*/ 460459 h 815526"/>
                  <a:gd name="connsiteX325" fmla="*/ 461547 w 915678"/>
                  <a:gd name="connsiteY325" fmla="*/ 460565 h 815526"/>
                  <a:gd name="connsiteX326" fmla="*/ 461653 w 915678"/>
                  <a:gd name="connsiteY326" fmla="*/ 460459 h 815526"/>
                  <a:gd name="connsiteX327" fmla="*/ 462511 w 915678"/>
                  <a:gd name="connsiteY327" fmla="*/ 448012 h 815526"/>
                  <a:gd name="connsiteX328" fmla="*/ 449921 w 915678"/>
                  <a:gd name="connsiteY328" fmla="*/ 447153 h 815526"/>
                  <a:gd name="connsiteX329" fmla="*/ 449875 w 915678"/>
                  <a:gd name="connsiteY329" fmla="*/ 459698 h 815526"/>
                  <a:gd name="connsiteX330" fmla="*/ 449921 w 915678"/>
                  <a:gd name="connsiteY330" fmla="*/ 459744 h 815526"/>
                  <a:gd name="connsiteX331" fmla="*/ 412864 w 915678"/>
                  <a:gd name="connsiteY331" fmla="*/ 492508 h 815526"/>
                  <a:gd name="connsiteX332" fmla="*/ 424512 w 915678"/>
                  <a:gd name="connsiteY332" fmla="*/ 493940 h 815526"/>
                  <a:gd name="connsiteX333" fmla="*/ 425944 w 915678"/>
                  <a:gd name="connsiteY333" fmla="*/ 482293 h 815526"/>
                  <a:gd name="connsiteX334" fmla="*/ 414297 w 915678"/>
                  <a:gd name="connsiteY334" fmla="*/ 480860 h 815526"/>
                  <a:gd name="connsiteX335" fmla="*/ 413437 w 915678"/>
                  <a:gd name="connsiteY335" fmla="*/ 481635 h 815526"/>
                  <a:gd name="connsiteX336" fmla="*/ 412704 w 915678"/>
                  <a:gd name="connsiteY336" fmla="*/ 493347 h 815526"/>
                  <a:gd name="connsiteX337" fmla="*/ 412721 w 915678"/>
                  <a:gd name="connsiteY337" fmla="*/ 493367 h 815526"/>
                  <a:gd name="connsiteX338" fmla="*/ 375236 w 915678"/>
                  <a:gd name="connsiteY338" fmla="*/ 525988 h 815526"/>
                  <a:gd name="connsiteX339" fmla="*/ 386109 w 915678"/>
                  <a:gd name="connsiteY339" fmla="*/ 525988 h 815526"/>
                  <a:gd name="connsiteX340" fmla="*/ 386109 w 915678"/>
                  <a:gd name="connsiteY340" fmla="*/ 515114 h 815526"/>
                  <a:gd name="connsiteX341" fmla="*/ 375386 w 915678"/>
                  <a:gd name="connsiteY341" fmla="*/ 514964 h 815526"/>
                  <a:gd name="connsiteX342" fmla="*/ 375236 w 915678"/>
                  <a:gd name="connsiteY342" fmla="*/ 515114 h 815526"/>
                  <a:gd name="connsiteX343" fmla="*/ 375236 w 915678"/>
                  <a:gd name="connsiteY343" fmla="*/ 525988 h 815526"/>
                  <a:gd name="connsiteX344" fmla="*/ 338179 w 915678"/>
                  <a:gd name="connsiteY344" fmla="*/ 558752 h 815526"/>
                  <a:gd name="connsiteX345" fmla="*/ 348195 w 915678"/>
                  <a:gd name="connsiteY345" fmla="*/ 558752 h 815526"/>
                  <a:gd name="connsiteX346" fmla="*/ 349027 w 915678"/>
                  <a:gd name="connsiteY346" fmla="*/ 548873 h 815526"/>
                  <a:gd name="connsiteX347" fmla="*/ 348910 w 915678"/>
                  <a:gd name="connsiteY347" fmla="*/ 548737 h 815526"/>
                  <a:gd name="connsiteX348" fmla="*/ 338895 w 915678"/>
                  <a:gd name="connsiteY348" fmla="*/ 548737 h 815526"/>
                  <a:gd name="connsiteX349" fmla="*/ 338793 w 915678"/>
                  <a:gd name="connsiteY349" fmla="*/ 558650 h 815526"/>
                  <a:gd name="connsiteX350" fmla="*/ 338895 w 915678"/>
                  <a:gd name="connsiteY350" fmla="*/ 558752 h 815526"/>
                  <a:gd name="connsiteX351" fmla="*/ 301981 w 915678"/>
                  <a:gd name="connsiteY351" fmla="*/ 591516 h 815526"/>
                  <a:gd name="connsiteX352" fmla="*/ 311138 w 915678"/>
                  <a:gd name="connsiteY352" fmla="*/ 591516 h 815526"/>
                  <a:gd name="connsiteX353" fmla="*/ 311710 w 915678"/>
                  <a:gd name="connsiteY353" fmla="*/ 582359 h 815526"/>
                  <a:gd name="connsiteX354" fmla="*/ 302554 w 915678"/>
                  <a:gd name="connsiteY354" fmla="*/ 581787 h 815526"/>
                  <a:gd name="connsiteX355" fmla="*/ 302554 w 915678"/>
                  <a:gd name="connsiteY355" fmla="*/ 590944 h 815526"/>
                  <a:gd name="connsiteX356" fmla="*/ 264353 w 915678"/>
                  <a:gd name="connsiteY356" fmla="*/ 624709 h 815526"/>
                  <a:gd name="connsiteX357" fmla="*/ 272648 w 915678"/>
                  <a:gd name="connsiteY357" fmla="*/ 624706 h 815526"/>
                  <a:gd name="connsiteX358" fmla="*/ 272647 w 915678"/>
                  <a:gd name="connsiteY358" fmla="*/ 616411 h 815526"/>
                  <a:gd name="connsiteX359" fmla="*/ 264353 w 915678"/>
                  <a:gd name="connsiteY359" fmla="*/ 616411 h 815526"/>
                  <a:gd name="connsiteX360" fmla="*/ 264350 w 915678"/>
                  <a:gd name="connsiteY360" fmla="*/ 624706 h 815526"/>
                  <a:gd name="connsiteX361" fmla="*/ 264353 w 915678"/>
                  <a:gd name="connsiteY361" fmla="*/ 624709 h 815526"/>
                  <a:gd name="connsiteX362" fmla="*/ 227439 w 915678"/>
                  <a:gd name="connsiteY362" fmla="*/ 657044 h 815526"/>
                  <a:gd name="connsiteX363" fmla="*/ 235022 w 915678"/>
                  <a:gd name="connsiteY363" fmla="*/ 657044 h 815526"/>
                  <a:gd name="connsiteX364" fmla="*/ 235022 w 915678"/>
                  <a:gd name="connsiteY364" fmla="*/ 649604 h 815526"/>
                  <a:gd name="connsiteX365" fmla="*/ 227511 w 915678"/>
                  <a:gd name="connsiteY365" fmla="*/ 649104 h 815526"/>
                  <a:gd name="connsiteX366" fmla="*/ 227010 w 915678"/>
                  <a:gd name="connsiteY366" fmla="*/ 656615 h 815526"/>
                  <a:gd name="connsiteX367" fmla="*/ 190097 w 915678"/>
                  <a:gd name="connsiteY367" fmla="*/ 689379 h 815526"/>
                  <a:gd name="connsiteX368" fmla="*/ 196678 w 915678"/>
                  <a:gd name="connsiteY368" fmla="*/ 689379 h 815526"/>
                  <a:gd name="connsiteX369" fmla="*/ 196786 w 915678"/>
                  <a:gd name="connsiteY369" fmla="*/ 682905 h 815526"/>
                  <a:gd name="connsiteX370" fmla="*/ 196678 w 915678"/>
                  <a:gd name="connsiteY370" fmla="*/ 682798 h 815526"/>
                  <a:gd name="connsiteX371" fmla="*/ 190097 w 915678"/>
                  <a:gd name="connsiteY371" fmla="*/ 682798 h 815526"/>
                  <a:gd name="connsiteX372" fmla="*/ 189990 w 915678"/>
                  <a:gd name="connsiteY372" fmla="*/ 689272 h 815526"/>
                  <a:gd name="connsiteX373" fmla="*/ 190097 w 915678"/>
                  <a:gd name="connsiteY373" fmla="*/ 689379 h 815526"/>
                  <a:gd name="connsiteX374" fmla="*/ 153184 w 915678"/>
                  <a:gd name="connsiteY374" fmla="*/ 722143 h 815526"/>
                  <a:gd name="connsiteX375" fmla="*/ 158907 w 915678"/>
                  <a:gd name="connsiteY375" fmla="*/ 722143 h 815526"/>
                  <a:gd name="connsiteX376" fmla="*/ 159173 w 915678"/>
                  <a:gd name="connsiteY376" fmla="*/ 716686 h 815526"/>
                  <a:gd name="connsiteX377" fmla="*/ 158907 w 915678"/>
                  <a:gd name="connsiteY377" fmla="*/ 716420 h 815526"/>
                  <a:gd name="connsiteX378" fmla="*/ 153241 w 915678"/>
                  <a:gd name="connsiteY378" fmla="*/ 716363 h 815526"/>
                  <a:gd name="connsiteX379" fmla="*/ 153184 w 915678"/>
                  <a:gd name="connsiteY379" fmla="*/ 716420 h 815526"/>
                  <a:gd name="connsiteX380" fmla="*/ 153184 w 915678"/>
                  <a:gd name="connsiteY380" fmla="*/ 722286 h 815526"/>
                  <a:gd name="connsiteX381" fmla="*/ 116127 w 915678"/>
                  <a:gd name="connsiteY381" fmla="*/ 755050 h 815526"/>
                  <a:gd name="connsiteX382" fmla="*/ 121185 w 915678"/>
                  <a:gd name="connsiteY382" fmla="*/ 755101 h 815526"/>
                  <a:gd name="connsiteX383" fmla="*/ 121236 w 915678"/>
                  <a:gd name="connsiteY383" fmla="*/ 750043 h 815526"/>
                  <a:gd name="connsiteX384" fmla="*/ 116177 w 915678"/>
                  <a:gd name="connsiteY384" fmla="*/ 749993 h 815526"/>
                  <a:gd name="connsiteX385" fmla="*/ 116127 w 915678"/>
                  <a:gd name="connsiteY385" fmla="*/ 750043 h 815526"/>
                  <a:gd name="connsiteX386" fmla="*/ 116127 w 915678"/>
                  <a:gd name="connsiteY386" fmla="*/ 755050 h 815526"/>
                  <a:gd name="connsiteX387" fmla="*/ 79214 w 915678"/>
                  <a:gd name="connsiteY387" fmla="*/ 787672 h 815526"/>
                  <a:gd name="connsiteX388" fmla="*/ 83055 w 915678"/>
                  <a:gd name="connsiteY388" fmla="*/ 787838 h 815526"/>
                  <a:gd name="connsiteX389" fmla="*/ 83220 w 915678"/>
                  <a:gd name="connsiteY389" fmla="*/ 787672 h 815526"/>
                  <a:gd name="connsiteX390" fmla="*/ 83385 w 915678"/>
                  <a:gd name="connsiteY390" fmla="*/ 783830 h 815526"/>
                  <a:gd name="connsiteX391" fmla="*/ 83220 w 915678"/>
                  <a:gd name="connsiteY391" fmla="*/ 783665 h 815526"/>
                  <a:gd name="connsiteX392" fmla="*/ 79214 w 915678"/>
                  <a:gd name="connsiteY392" fmla="*/ 783665 h 815526"/>
                  <a:gd name="connsiteX393" fmla="*/ 79049 w 915678"/>
                  <a:gd name="connsiteY393" fmla="*/ 787506 h 815526"/>
                  <a:gd name="connsiteX394" fmla="*/ 79214 w 915678"/>
                  <a:gd name="connsiteY394" fmla="*/ 787672 h 815526"/>
                  <a:gd name="connsiteX395" fmla="*/ 479823 w 915678"/>
                  <a:gd name="connsiteY395" fmla="*/ 391354 h 815526"/>
                  <a:gd name="connsiteX396" fmla="*/ 467233 w 915678"/>
                  <a:gd name="connsiteY396" fmla="*/ 390496 h 815526"/>
                  <a:gd name="connsiteX397" fmla="*/ 466374 w 915678"/>
                  <a:gd name="connsiteY397" fmla="*/ 403086 h 815526"/>
                  <a:gd name="connsiteX398" fmla="*/ 478965 w 915678"/>
                  <a:gd name="connsiteY398" fmla="*/ 403945 h 815526"/>
                  <a:gd name="connsiteX399" fmla="*/ 479823 w 915678"/>
                  <a:gd name="connsiteY399" fmla="*/ 391354 h 815526"/>
                  <a:gd name="connsiteX400" fmla="*/ 516737 w 915678"/>
                  <a:gd name="connsiteY400" fmla="*/ 358590 h 815526"/>
                  <a:gd name="connsiteX401" fmla="*/ 505032 w 915678"/>
                  <a:gd name="connsiteY401" fmla="*/ 357743 h 815526"/>
                  <a:gd name="connsiteX402" fmla="*/ 504185 w 915678"/>
                  <a:gd name="connsiteY402" fmla="*/ 369448 h 815526"/>
                  <a:gd name="connsiteX403" fmla="*/ 515890 w 915678"/>
                  <a:gd name="connsiteY403" fmla="*/ 370295 h 815526"/>
                  <a:gd name="connsiteX404" fmla="*/ 516021 w 915678"/>
                  <a:gd name="connsiteY404" fmla="*/ 370179 h 815526"/>
                  <a:gd name="connsiteX405" fmla="*/ 516810 w 915678"/>
                  <a:gd name="connsiteY405" fmla="*/ 358673 h 815526"/>
                  <a:gd name="connsiteX406" fmla="*/ 516737 w 915678"/>
                  <a:gd name="connsiteY406" fmla="*/ 358590 h 815526"/>
                  <a:gd name="connsiteX407" fmla="*/ 553650 w 915678"/>
                  <a:gd name="connsiteY407" fmla="*/ 325826 h 815526"/>
                  <a:gd name="connsiteX408" fmla="*/ 542848 w 915678"/>
                  <a:gd name="connsiteY408" fmla="*/ 325182 h 815526"/>
                  <a:gd name="connsiteX409" fmla="*/ 542204 w 915678"/>
                  <a:gd name="connsiteY409" fmla="*/ 335984 h 815526"/>
                  <a:gd name="connsiteX410" fmla="*/ 553078 w 915678"/>
                  <a:gd name="connsiteY410" fmla="*/ 335984 h 815526"/>
                  <a:gd name="connsiteX411" fmla="*/ 553078 w 915678"/>
                  <a:gd name="connsiteY411" fmla="*/ 325111 h 815526"/>
                  <a:gd name="connsiteX412" fmla="*/ 590134 w 915678"/>
                  <a:gd name="connsiteY412" fmla="*/ 292347 h 815526"/>
                  <a:gd name="connsiteX413" fmla="*/ 580426 w 915678"/>
                  <a:gd name="connsiteY413" fmla="*/ 292039 h 815526"/>
                  <a:gd name="connsiteX414" fmla="*/ 580119 w 915678"/>
                  <a:gd name="connsiteY414" fmla="*/ 292347 h 815526"/>
                  <a:gd name="connsiteX415" fmla="*/ 579286 w 915678"/>
                  <a:gd name="connsiteY415" fmla="*/ 302226 h 815526"/>
                  <a:gd name="connsiteX416" fmla="*/ 579403 w 915678"/>
                  <a:gd name="connsiteY416" fmla="*/ 302362 h 815526"/>
                  <a:gd name="connsiteX417" fmla="*/ 589419 w 915678"/>
                  <a:gd name="connsiteY417" fmla="*/ 302362 h 815526"/>
                  <a:gd name="connsiteX418" fmla="*/ 589520 w 915678"/>
                  <a:gd name="connsiteY418" fmla="*/ 292448 h 815526"/>
                  <a:gd name="connsiteX419" fmla="*/ 589419 w 915678"/>
                  <a:gd name="connsiteY419" fmla="*/ 292347 h 815526"/>
                  <a:gd name="connsiteX420" fmla="*/ 628049 w 915678"/>
                  <a:gd name="connsiteY420" fmla="*/ 260584 h 815526"/>
                  <a:gd name="connsiteX421" fmla="*/ 618944 w 915678"/>
                  <a:gd name="connsiteY421" fmla="*/ 260532 h 815526"/>
                  <a:gd name="connsiteX422" fmla="*/ 618892 w 915678"/>
                  <a:gd name="connsiteY422" fmla="*/ 260584 h 815526"/>
                  <a:gd name="connsiteX423" fmla="*/ 618320 w 915678"/>
                  <a:gd name="connsiteY423" fmla="*/ 269741 h 815526"/>
                  <a:gd name="connsiteX424" fmla="*/ 627477 w 915678"/>
                  <a:gd name="connsiteY424" fmla="*/ 270313 h 815526"/>
                  <a:gd name="connsiteX425" fmla="*/ 627528 w 915678"/>
                  <a:gd name="connsiteY425" fmla="*/ 261208 h 815526"/>
                  <a:gd name="connsiteX426" fmla="*/ 627477 w 915678"/>
                  <a:gd name="connsiteY426" fmla="*/ 261156 h 815526"/>
                  <a:gd name="connsiteX427" fmla="*/ 664390 w 915678"/>
                  <a:gd name="connsiteY427" fmla="*/ 228392 h 815526"/>
                  <a:gd name="connsiteX428" fmla="*/ 656094 w 915678"/>
                  <a:gd name="connsiteY428" fmla="*/ 228395 h 815526"/>
                  <a:gd name="connsiteX429" fmla="*/ 656096 w 915678"/>
                  <a:gd name="connsiteY429" fmla="*/ 236690 h 815526"/>
                  <a:gd name="connsiteX430" fmla="*/ 664390 w 915678"/>
                  <a:gd name="connsiteY430" fmla="*/ 236690 h 815526"/>
                  <a:gd name="connsiteX431" fmla="*/ 664393 w 915678"/>
                  <a:gd name="connsiteY431" fmla="*/ 228395 h 815526"/>
                  <a:gd name="connsiteX432" fmla="*/ 664390 w 915678"/>
                  <a:gd name="connsiteY432" fmla="*/ 228392 h 815526"/>
                  <a:gd name="connsiteX433" fmla="*/ 701303 w 915678"/>
                  <a:gd name="connsiteY433" fmla="*/ 195485 h 815526"/>
                  <a:gd name="connsiteX434" fmla="*/ 693792 w 915678"/>
                  <a:gd name="connsiteY434" fmla="*/ 194984 h 815526"/>
                  <a:gd name="connsiteX435" fmla="*/ 693291 w 915678"/>
                  <a:gd name="connsiteY435" fmla="*/ 202496 h 815526"/>
                  <a:gd name="connsiteX436" fmla="*/ 700802 w 915678"/>
                  <a:gd name="connsiteY436" fmla="*/ 202996 h 815526"/>
                  <a:gd name="connsiteX437" fmla="*/ 701303 w 915678"/>
                  <a:gd name="connsiteY437" fmla="*/ 195485 h 815526"/>
                  <a:gd name="connsiteX438" fmla="*/ 738216 w 915678"/>
                  <a:gd name="connsiteY438" fmla="*/ 162721 h 815526"/>
                  <a:gd name="connsiteX439" fmla="*/ 731635 w 915678"/>
                  <a:gd name="connsiteY439" fmla="*/ 162721 h 815526"/>
                  <a:gd name="connsiteX440" fmla="*/ 731541 w 915678"/>
                  <a:gd name="connsiteY440" fmla="*/ 169397 h 815526"/>
                  <a:gd name="connsiteX441" fmla="*/ 738216 w 915678"/>
                  <a:gd name="connsiteY441" fmla="*/ 169493 h 815526"/>
                  <a:gd name="connsiteX442" fmla="*/ 738311 w 915678"/>
                  <a:gd name="connsiteY442" fmla="*/ 162815 h 815526"/>
                  <a:gd name="connsiteX443" fmla="*/ 738216 w 915678"/>
                  <a:gd name="connsiteY443" fmla="*/ 162721 h 815526"/>
                  <a:gd name="connsiteX444" fmla="*/ 775130 w 915678"/>
                  <a:gd name="connsiteY444" fmla="*/ 129957 h 815526"/>
                  <a:gd name="connsiteX445" fmla="*/ 769464 w 915678"/>
                  <a:gd name="connsiteY445" fmla="*/ 130014 h 815526"/>
                  <a:gd name="connsiteX446" fmla="*/ 769523 w 915678"/>
                  <a:gd name="connsiteY446" fmla="*/ 135680 h 815526"/>
                  <a:gd name="connsiteX447" fmla="*/ 775130 w 915678"/>
                  <a:gd name="connsiteY447" fmla="*/ 135680 h 815526"/>
                  <a:gd name="connsiteX448" fmla="*/ 775396 w 915678"/>
                  <a:gd name="connsiteY448" fmla="*/ 130223 h 815526"/>
                  <a:gd name="connsiteX449" fmla="*/ 775130 w 915678"/>
                  <a:gd name="connsiteY449" fmla="*/ 129957 h 815526"/>
                  <a:gd name="connsiteX450" fmla="*/ 812186 w 915678"/>
                  <a:gd name="connsiteY450" fmla="*/ 97192 h 815526"/>
                  <a:gd name="connsiteX451" fmla="*/ 807330 w 915678"/>
                  <a:gd name="connsiteY451" fmla="*/ 97201 h 815526"/>
                  <a:gd name="connsiteX452" fmla="*/ 807339 w 915678"/>
                  <a:gd name="connsiteY452" fmla="*/ 102057 h 815526"/>
                  <a:gd name="connsiteX453" fmla="*/ 812186 w 915678"/>
                  <a:gd name="connsiteY453" fmla="*/ 102057 h 815526"/>
                  <a:gd name="connsiteX454" fmla="*/ 812195 w 915678"/>
                  <a:gd name="connsiteY454" fmla="*/ 97201 h 815526"/>
                  <a:gd name="connsiteX455" fmla="*/ 812186 w 915678"/>
                  <a:gd name="connsiteY455" fmla="*/ 97192 h 815526"/>
                  <a:gd name="connsiteX456" fmla="*/ 849099 w 915678"/>
                  <a:gd name="connsiteY456" fmla="*/ 64428 h 815526"/>
                  <a:gd name="connsiteX457" fmla="*/ 845022 w 915678"/>
                  <a:gd name="connsiteY457" fmla="*/ 64214 h 815526"/>
                  <a:gd name="connsiteX458" fmla="*/ 844807 w 915678"/>
                  <a:gd name="connsiteY458" fmla="*/ 68291 h 815526"/>
                  <a:gd name="connsiteX459" fmla="*/ 848813 w 915678"/>
                  <a:gd name="connsiteY459" fmla="*/ 68291 h 815526"/>
                  <a:gd name="connsiteX460" fmla="*/ 848813 w 915678"/>
                  <a:gd name="connsiteY460" fmla="*/ 64142 h 815526"/>
                  <a:gd name="connsiteX461" fmla="*/ 458648 w 915678"/>
                  <a:gd name="connsiteY461" fmla="*/ 368033 h 815526"/>
                  <a:gd name="connsiteX462" fmla="*/ 446058 w 915678"/>
                  <a:gd name="connsiteY462" fmla="*/ 367318 h 815526"/>
                  <a:gd name="connsiteX463" fmla="*/ 445281 w 915678"/>
                  <a:gd name="connsiteY463" fmla="*/ 379838 h 815526"/>
                  <a:gd name="connsiteX464" fmla="*/ 445342 w 915678"/>
                  <a:gd name="connsiteY464" fmla="*/ 379908 h 815526"/>
                  <a:gd name="connsiteX465" fmla="*/ 457933 w 915678"/>
                  <a:gd name="connsiteY465" fmla="*/ 380624 h 815526"/>
                  <a:gd name="connsiteX466" fmla="*/ 458648 w 915678"/>
                  <a:gd name="connsiteY466" fmla="*/ 368033 h 815526"/>
                  <a:gd name="connsiteX467" fmla="*/ 495562 w 915678"/>
                  <a:gd name="connsiteY467" fmla="*/ 335269 h 815526"/>
                  <a:gd name="connsiteX468" fmla="*/ 483847 w 915678"/>
                  <a:gd name="connsiteY468" fmla="*/ 334574 h 815526"/>
                  <a:gd name="connsiteX469" fmla="*/ 483151 w 915678"/>
                  <a:gd name="connsiteY469" fmla="*/ 346289 h 815526"/>
                  <a:gd name="connsiteX470" fmla="*/ 494846 w 915678"/>
                  <a:gd name="connsiteY470" fmla="*/ 347001 h 815526"/>
                  <a:gd name="connsiteX471" fmla="*/ 495579 w 915678"/>
                  <a:gd name="connsiteY471" fmla="*/ 335289 h 815526"/>
                  <a:gd name="connsiteX472" fmla="*/ 495562 w 915678"/>
                  <a:gd name="connsiteY472" fmla="*/ 335269 h 815526"/>
                  <a:gd name="connsiteX473" fmla="*/ 532618 w 915678"/>
                  <a:gd name="connsiteY473" fmla="*/ 302505 h 815526"/>
                  <a:gd name="connsiteX474" fmla="*/ 521744 w 915678"/>
                  <a:gd name="connsiteY474" fmla="*/ 302505 h 815526"/>
                  <a:gd name="connsiteX475" fmla="*/ 521594 w 915678"/>
                  <a:gd name="connsiteY475" fmla="*/ 313228 h 815526"/>
                  <a:gd name="connsiteX476" fmla="*/ 521744 w 915678"/>
                  <a:gd name="connsiteY476" fmla="*/ 313379 h 815526"/>
                  <a:gd name="connsiteX477" fmla="*/ 532618 w 915678"/>
                  <a:gd name="connsiteY477" fmla="*/ 313379 h 815526"/>
                  <a:gd name="connsiteX478" fmla="*/ 532618 w 915678"/>
                  <a:gd name="connsiteY478" fmla="*/ 302505 h 815526"/>
                  <a:gd name="connsiteX479" fmla="*/ 569531 w 915678"/>
                  <a:gd name="connsiteY479" fmla="*/ 269741 h 815526"/>
                  <a:gd name="connsiteX480" fmla="*/ 559516 w 915678"/>
                  <a:gd name="connsiteY480" fmla="*/ 269741 h 815526"/>
                  <a:gd name="connsiteX481" fmla="*/ 560253 w 915678"/>
                  <a:gd name="connsiteY481" fmla="*/ 279830 h 815526"/>
                  <a:gd name="connsiteX482" fmla="*/ 568959 w 915678"/>
                  <a:gd name="connsiteY482" fmla="*/ 280328 h 815526"/>
                  <a:gd name="connsiteX483" fmla="*/ 568959 w 915678"/>
                  <a:gd name="connsiteY483" fmla="*/ 270313 h 815526"/>
                  <a:gd name="connsiteX484" fmla="*/ 605872 w 915678"/>
                  <a:gd name="connsiteY484" fmla="*/ 237549 h 815526"/>
                  <a:gd name="connsiteX485" fmla="*/ 596716 w 915678"/>
                  <a:gd name="connsiteY485" fmla="*/ 237549 h 815526"/>
                  <a:gd name="connsiteX486" fmla="*/ 596716 w 915678"/>
                  <a:gd name="connsiteY486" fmla="*/ 246706 h 815526"/>
                  <a:gd name="connsiteX487" fmla="*/ 605872 w 915678"/>
                  <a:gd name="connsiteY487" fmla="*/ 246706 h 815526"/>
                  <a:gd name="connsiteX488" fmla="*/ 605924 w 915678"/>
                  <a:gd name="connsiteY488" fmla="*/ 237600 h 815526"/>
                  <a:gd name="connsiteX489" fmla="*/ 605872 w 915678"/>
                  <a:gd name="connsiteY489" fmla="*/ 237549 h 815526"/>
                  <a:gd name="connsiteX490" fmla="*/ 642929 w 915678"/>
                  <a:gd name="connsiteY490" fmla="*/ 204928 h 815526"/>
                  <a:gd name="connsiteX491" fmla="*/ 634633 w 915678"/>
                  <a:gd name="connsiteY491" fmla="*/ 204931 h 815526"/>
                  <a:gd name="connsiteX492" fmla="*/ 634635 w 915678"/>
                  <a:gd name="connsiteY492" fmla="*/ 213226 h 815526"/>
                  <a:gd name="connsiteX493" fmla="*/ 642929 w 915678"/>
                  <a:gd name="connsiteY493" fmla="*/ 213226 h 815526"/>
                  <a:gd name="connsiteX494" fmla="*/ 642932 w 915678"/>
                  <a:gd name="connsiteY494" fmla="*/ 204931 h 815526"/>
                  <a:gd name="connsiteX495" fmla="*/ 642929 w 915678"/>
                  <a:gd name="connsiteY495" fmla="*/ 204928 h 815526"/>
                  <a:gd name="connsiteX496" fmla="*/ 679842 w 915678"/>
                  <a:gd name="connsiteY496" fmla="*/ 172164 h 815526"/>
                  <a:gd name="connsiteX497" fmla="*/ 672402 w 915678"/>
                  <a:gd name="connsiteY497" fmla="*/ 172164 h 815526"/>
                  <a:gd name="connsiteX498" fmla="*/ 671901 w 915678"/>
                  <a:gd name="connsiteY498" fmla="*/ 179675 h 815526"/>
                  <a:gd name="connsiteX499" fmla="*/ 679413 w 915678"/>
                  <a:gd name="connsiteY499" fmla="*/ 180176 h 815526"/>
                  <a:gd name="connsiteX500" fmla="*/ 679413 w 915678"/>
                  <a:gd name="connsiteY500" fmla="*/ 172736 h 815526"/>
                  <a:gd name="connsiteX501" fmla="*/ 717328 w 915678"/>
                  <a:gd name="connsiteY501" fmla="*/ 138255 h 815526"/>
                  <a:gd name="connsiteX502" fmla="*/ 710853 w 915678"/>
                  <a:gd name="connsiteY502" fmla="*/ 138148 h 815526"/>
                  <a:gd name="connsiteX503" fmla="*/ 710746 w 915678"/>
                  <a:gd name="connsiteY503" fmla="*/ 138255 h 815526"/>
                  <a:gd name="connsiteX504" fmla="*/ 710746 w 915678"/>
                  <a:gd name="connsiteY504" fmla="*/ 144836 h 815526"/>
                  <a:gd name="connsiteX505" fmla="*/ 717471 w 915678"/>
                  <a:gd name="connsiteY505" fmla="*/ 144836 h 815526"/>
                  <a:gd name="connsiteX506" fmla="*/ 717471 w 915678"/>
                  <a:gd name="connsiteY506" fmla="*/ 138255 h 815526"/>
                  <a:gd name="connsiteX507" fmla="*/ 754527 w 915678"/>
                  <a:gd name="connsiteY507" fmla="*/ 105491 h 815526"/>
                  <a:gd name="connsiteX508" fmla="*/ 748661 w 915678"/>
                  <a:gd name="connsiteY508" fmla="*/ 105491 h 815526"/>
                  <a:gd name="connsiteX509" fmla="*/ 748661 w 915678"/>
                  <a:gd name="connsiteY509" fmla="*/ 111214 h 815526"/>
                  <a:gd name="connsiteX510" fmla="*/ 754384 w 915678"/>
                  <a:gd name="connsiteY510" fmla="*/ 111643 h 815526"/>
                  <a:gd name="connsiteX511" fmla="*/ 754813 w 915678"/>
                  <a:gd name="connsiteY511" fmla="*/ 105920 h 815526"/>
                  <a:gd name="connsiteX512" fmla="*/ 791726 w 915678"/>
                  <a:gd name="connsiteY512" fmla="*/ 73156 h 815526"/>
                  <a:gd name="connsiteX513" fmla="*/ 786871 w 915678"/>
                  <a:gd name="connsiteY513" fmla="*/ 73165 h 815526"/>
                  <a:gd name="connsiteX514" fmla="*/ 786879 w 915678"/>
                  <a:gd name="connsiteY514" fmla="*/ 78021 h 815526"/>
                  <a:gd name="connsiteX515" fmla="*/ 791726 w 915678"/>
                  <a:gd name="connsiteY515" fmla="*/ 78021 h 815526"/>
                  <a:gd name="connsiteX516" fmla="*/ 791735 w 915678"/>
                  <a:gd name="connsiteY516" fmla="*/ 73165 h 815526"/>
                  <a:gd name="connsiteX517" fmla="*/ 791726 w 915678"/>
                  <a:gd name="connsiteY517" fmla="*/ 73156 h 815526"/>
                  <a:gd name="connsiteX518" fmla="*/ 828354 w 915678"/>
                  <a:gd name="connsiteY518" fmla="*/ 40535 h 815526"/>
                  <a:gd name="connsiteX519" fmla="*/ 824312 w 915678"/>
                  <a:gd name="connsiteY519" fmla="*/ 40744 h 815526"/>
                  <a:gd name="connsiteX520" fmla="*/ 824061 w 915678"/>
                  <a:gd name="connsiteY520" fmla="*/ 44255 h 815526"/>
                  <a:gd name="connsiteX521" fmla="*/ 828210 w 915678"/>
                  <a:gd name="connsiteY521" fmla="*/ 44255 h 815526"/>
                  <a:gd name="connsiteX522" fmla="*/ 828375 w 915678"/>
                  <a:gd name="connsiteY522" fmla="*/ 40413 h 815526"/>
                  <a:gd name="connsiteX523" fmla="*/ 828210 w 915678"/>
                  <a:gd name="connsiteY523" fmla="*/ 40249 h 815526"/>
                  <a:gd name="connsiteX524" fmla="*/ 437759 w 915678"/>
                  <a:gd name="connsiteY524" fmla="*/ 344569 h 815526"/>
                  <a:gd name="connsiteX525" fmla="*/ 425229 w 915678"/>
                  <a:gd name="connsiteY525" fmla="*/ 343957 h 815526"/>
                  <a:gd name="connsiteX526" fmla="*/ 424453 w 915678"/>
                  <a:gd name="connsiteY526" fmla="*/ 356301 h 815526"/>
                  <a:gd name="connsiteX527" fmla="*/ 437044 w 915678"/>
                  <a:gd name="connsiteY527" fmla="*/ 357159 h 815526"/>
                  <a:gd name="connsiteX528" fmla="*/ 437821 w 915678"/>
                  <a:gd name="connsiteY528" fmla="*/ 344639 h 815526"/>
                  <a:gd name="connsiteX529" fmla="*/ 437759 w 915678"/>
                  <a:gd name="connsiteY529" fmla="*/ 344569 h 815526"/>
                  <a:gd name="connsiteX530" fmla="*/ 474816 w 915678"/>
                  <a:gd name="connsiteY530" fmla="*/ 311805 h 815526"/>
                  <a:gd name="connsiteX531" fmla="*/ 463081 w 915678"/>
                  <a:gd name="connsiteY531" fmla="*/ 311802 h 815526"/>
                  <a:gd name="connsiteX532" fmla="*/ 463076 w 915678"/>
                  <a:gd name="connsiteY532" fmla="*/ 323537 h 815526"/>
                  <a:gd name="connsiteX533" fmla="*/ 474813 w 915678"/>
                  <a:gd name="connsiteY533" fmla="*/ 323540 h 815526"/>
                  <a:gd name="connsiteX534" fmla="*/ 474816 w 915678"/>
                  <a:gd name="connsiteY534" fmla="*/ 323537 h 815526"/>
                  <a:gd name="connsiteX535" fmla="*/ 474816 w 915678"/>
                  <a:gd name="connsiteY535" fmla="*/ 311805 h 815526"/>
                  <a:gd name="connsiteX536" fmla="*/ 511729 w 915678"/>
                  <a:gd name="connsiteY536" fmla="*/ 279041 h 815526"/>
                  <a:gd name="connsiteX537" fmla="*/ 500802 w 915678"/>
                  <a:gd name="connsiteY537" fmla="*/ 278988 h 815526"/>
                  <a:gd name="connsiteX538" fmla="*/ 500751 w 915678"/>
                  <a:gd name="connsiteY538" fmla="*/ 289914 h 815526"/>
                  <a:gd name="connsiteX539" fmla="*/ 511676 w 915678"/>
                  <a:gd name="connsiteY539" fmla="*/ 289967 h 815526"/>
                  <a:gd name="connsiteX540" fmla="*/ 511729 w 915678"/>
                  <a:gd name="connsiteY540" fmla="*/ 289914 h 815526"/>
                  <a:gd name="connsiteX541" fmla="*/ 511879 w 915678"/>
                  <a:gd name="connsiteY541" fmla="*/ 279191 h 815526"/>
                  <a:gd name="connsiteX542" fmla="*/ 511729 w 915678"/>
                  <a:gd name="connsiteY542" fmla="*/ 279041 h 815526"/>
                  <a:gd name="connsiteX543" fmla="*/ 548642 w 915678"/>
                  <a:gd name="connsiteY543" fmla="*/ 246276 h 815526"/>
                  <a:gd name="connsiteX544" fmla="*/ 538526 w 915678"/>
                  <a:gd name="connsiteY544" fmla="*/ 246175 h 815526"/>
                  <a:gd name="connsiteX545" fmla="*/ 538425 w 915678"/>
                  <a:gd name="connsiteY545" fmla="*/ 256292 h 815526"/>
                  <a:gd name="connsiteX546" fmla="*/ 548541 w 915678"/>
                  <a:gd name="connsiteY546" fmla="*/ 256393 h 815526"/>
                  <a:gd name="connsiteX547" fmla="*/ 548642 w 915678"/>
                  <a:gd name="connsiteY547" fmla="*/ 256292 h 815526"/>
                  <a:gd name="connsiteX548" fmla="*/ 548642 w 915678"/>
                  <a:gd name="connsiteY548" fmla="*/ 246276 h 815526"/>
                  <a:gd name="connsiteX549" fmla="*/ 585126 w 915678"/>
                  <a:gd name="connsiteY549" fmla="*/ 213512 h 815526"/>
                  <a:gd name="connsiteX550" fmla="*/ 575970 w 915678"/>
                  <a:gd name="connsiteY550" fmla="*/ 213512 h 815526"/>
                  <a:gd name="connsiteX551" fmla="*/ 575397 w 915678"/>
                  <a:gd name="connsiteY551" fmla="*/ 222669 h 815526"/>
                  <a:gd name="connsiteX552" fmla="*/ 584554 w 915678"/>
                  <a:gd name="connsiteY552" fmla="*/ 223241 h 815526"/>
                  <a:gd name="connsiteX553" fmla="*/ 584554 w 915678"/>
                  <a:gd name="connsiteY553" fmla="*/ 214085 h 815526"/>
                  <a:gd name="connsiteX554" fmla="*/ 622612 w 915678"/>
                  <a:gd name="connsiteY554" fmla="*/ 181177 h 815526"/>
                  <a:gd name="connsiteX555" fmla="*/ 614317 w 915678"/>
                  <a:gd name="connsiteY555" fmla="*/ 181180 h 815526"/>
                  <a:gd name="connsiteX556" fmla="*/ 614318 w 915678"/>
                  <a:gd name="connsiteY556" fmla="*/ 189476 h 815526"/>
                  <a:gd name="connsiteX557" fmla="*/ 622612 w 915678"/>
                  <a:gd name="connsiteY557" fmla="*/ 189476 h 815526"/>
                  <a:gd name="connsiteX558" fmla="*/ 622615 w 915678"/>
                  <a:gd name="connsiteY558" fmla="*/ 181180 h 815526"/>
                  <a:gd name="connsiteX559" fmla="*/ 622612 w 915678"/>
                  <a:gd name="connsiteY559" fmla="*/ 181177 h 815526"/>
                  <a:gd name="connsiteX560" fmla="*/ 659525 w 915678"/>
                  <a:gd name="connsiteY560" fmla="*/ 148413 h 815526"/>
                  <a:gd name="connsiteX561" fmla="*/ 652085 w 915678"/>
                  <a:gd name="connsiteY561" fmla="*/ 148413 h 815526"/>
                  <a:gd name="connsiteX562" fmla="*/ 652085 w 915678"/>
                  <a:gd name="connsiteY562" fmla="*/ 155853 h 815526"/>
                  <a:gd name="connsiteX563" fmla="*/ 659567 w 915678"/>
                  <a:gd name="connsiteY563" fmla="*/ 155568 h 815526"/>
                  <a:gd name="connsiteX564" fmla="*/ 659955 w 915678"/>
                  <a:gd name="connsiteY564" fmla="*/ 148843 h 815526"/>
                  <a:gd name="connsiteX565" fmla="*/ 697011 w 915678"/>
                  <a:gd name="connsiteY565" fmla="*/ 116078 h 815526"/>
                  <a:gd name="connsiteX566" fmla="*/ 690382 w 915678"/>
                  <a:gd name="connsiteY566" fmla="*/ 115280 h 815526"/>
                  <a:gd name="connsiteX567" fmla="*/ 689584 w 915678"/>
                  <a:gd name="connsiteY567" fmla="*/ 121910 h 815526"/>
                  <a:gd name="connsiteX568" fmla="*/ 690000 w 915678"/>
                  <a:gd name="connsiteY568" fmla="*/ 122374 h 815526"/>
                  <a:gd name="connsiteX569" fmla="*/ 696678 w 915678"/>
                  <a:gd name="connsiteY569" fmla="*/ 122291 h 815526"/>
                  <a:gd name="connsiteX570" fmla="*/ 697011 w 915678"/>
                  <a:gd name="connsiteY570" fmla="*/ 116078 h 815526"/>
                  <a:gd name="connsiteX571" fmla="*/ 733924 w 915678"/>
                  <a:gd name="connsiteY571" fmla="*/ 83314 h 815526"/>
                  <a:gd name="connsiteX572" fmla="*/ 728077 w 915678"/>
                  <a:gd name="connsiteY572" fmla="*/ 83808 h 815526"/>
                  <a:gd name="connsiteX573" fmla="*/ 727772 w 915678"/>
                  <a:gd name="connsiteY573" fmla="*/ 88751 h 815526"/>
                  <a:gd name="connsiteX574" fmla="*/ 733638 w 915678"/>
                  <a:gd name="connsiteY574" fmla="*/ 88751 h 815526"/>
                  <a:gd name="connsiteX575" fmla="*/ 733638 w 915678"/>
                  <a:gd name="connsiteY575" fmla="*/ 83028 h 815526"/>
                  <a:gd name="connsiteX576" fmla="*/ 771124 w 915678"/>
                  <a:gd name="connsiteY576" fmla="*/ 49692 h 815526"/>
                  <a:gd name="connsiteX577" fmla="*/ 766268 w 915678"/>
                  <a:gd name="connsiteY577" fmla="*/ 49683 h 815526"/>
                  <a:gd name="connsiteX578" fmla="*/ 766259 w 915678"/>
                  <a:gd name="connsiteY578" fmla="*/ 49692 h 815526"/>
                  <a:gd name="connsiteX579" fmla="*/ 766268 w 915678"/>
                  <a:gd name="connsiteY579" fmla="*/ 54548 h 815526"/>
                  <a:gd name="connsiteX580" fmla="*/ 771124 w 915678"/>
                  <a:gd name="connsiteY580" fmla="*/ 54539 h 815526"/>
                  <a:gd name="connsiteX581" fmla="*/ 771124 w 915678"/>
                  <a:gd name="connsiteY581" fmla="*/ 49692 h 815526"/>
                  <a:gd name="connsiteX582" fmla="*/ 808180 w 915678"/>
                  <a:gd name="connsiteY582" fmla="*/ 16928 h 815526"/>
                  <a:gd name="connsiteX583" fmla="*/ 804031 w 915678"/>
                  <a:gd name="connsiteY583" fmla="*/ 16928 h 815526"/>
                  <a:gd name="connsiteX584" fmla="*/ 803865 w 915678"/>
                  <a:gd name="connsiteY584" fmla="*/ 20769 h 815526"/>
                  <a:gd name="connsiteX585" fmla="*/ 804031 w 915678"/>
                  <a:gd name="connsiteY585" fmla="*/ 20934 h 815526"/>
                  <a:gd name="connsiteX586" fmla="*/ 808037 w 915678"/>
                  <a:gd name="connsiteY586" fmla="*/ 20934 h 815526"/>
                  <a:gd name="connsiteX587" fmla="*/ 808037 w 915678"/>
                  <a:gd name="connsiteY587" fmla="*/ 16784 h 815526"/>
                  <a:gd name="connsiteX588" fmla="*/ 542204 w 915678"/>
                  <a:gd name="connsiteY588" fmla="*/ 462176 h 815526"/>
                  <a:gd name="connsiteX589" fmla="*/ 529659 w 915678"/>
                  <a:gd name="connsiteY589" fmla="*/ 462131 h 815526"/>
                  <a:gd name="connsiteX590" fmla="*/ 529613 w 915678"/>
                  <a:gd name="connsiteY590" fmla="*/ 462176 h 815526"/>
                  <a:gd name="connsiteX591" fmla="*/ 529508 w 915678"/>
                  <a:gd name="connsiteY591" fmla="*/ 474518 h 815526"/>
                  <a:gd name="connsiteX592" fmla="*/ 529613 w 915678"/>
                  <a:gd name="connsiteY592" fmla="*/ 474624 h 815526"/>
                  <a:gd name="connsiteX593" fmla="*/ 542061 w 915678"/>
                  <a:gd name="connsiteY593" fmla="*/ 475482 h 815526"/>
                  <a:gd name="connsiteX594" fmla="*/ 542919 w 915678"/>
                  <a:gd name="connsiteY594" fmla="*/ 462892 h 815526"/>
                  <a:gd name="connsiteX595" fmla="*/ 579833 w 915678"/>
                  <a:gd name="connsiteY595" fmla="*/ 430128 h 815526"/>
                  <a:gd name="connsiteX596" fmla="*/ 568098 w 915678"/>
                  <a:gd name="connsiteY596" fmla="*/ 430125 h 815526"/>
                  <a:gd name="connsiteX597" fmla="*/ 568093 w 915678"/>
                  <a:gd name="connsiteY597" fmla="*/ 441860 h 815526"/>
                  <a:gd name="connsiteX598" fmla="*/ 579830 w 915678"/>
                  <a:gd name="connsiteY598" fmla="*/ 441863 h 815526"/>
                  <a:gd name="connsiteX599" fmla="*/ 579833 w 915678"/>
                  <a:gd name="connsiteY599" fmla="*/ 441860 h 815526"/>
                  <a:gd name="connsiteX600" fmla="*/ 579833 w 915678"/>
                  <a:gd name="connsiteY600" fmla="*/ 430128 h 815526"/>
                  <a:gd name="connsiteX601" fmla="*/ 616746 w 915678"/>
                  <a:gd name="connsiteY601" fmla="*/ 397363 h 815526"/>
                  <a:gd name="connsiteX602" fmla="*/ 606022 w 915678"/>
                  <a:gd name="connsiteY602" fmla="*/ 397514 h 815526"/>
                  <a:gd name="connsiteX603" fmla="*/ 606174 w 915678"/>
                  <a:gd name="connsiteY603" fmla="*/ 408237 h 815526"/>
                  <a:gd name="connsiteX604" fmla="*/ 616746 w 915678"/>
                  <a:gd name="connsiteY604" fmla="*/ 408237 h 815526"/>
                  <a:gd name="connsiteX605" fmla="*/ 616746 w 915678"/>
                  <a:gd name="connsiteY605" fmla="*/ 397363 h 815526"/>
                  <a:gd name="connsiteX606" fmla="*/ 653802 w 915678"/>
                  <a:gd name="connsiteY606" fmla="*/ 364599 h 815526"/>
                  <a:gd name="connsiteX607" fmla="*/ 643787 w 915678"/>
                  <a:gd name="connsiteY607" fmla="*/ 364599 h 815526"/>
                  <a:gd name="connsiteX608" fmla="*/ 643479 w 915678"/>
                  <a:gd name="connsiteY608" fmla="*/ 374307 h 815526"/>
                  <a:gd name="connsiteX609" fmla="*/ 643787 w 915678"/>
                  <a:gd name="connsiteY609" fmla="*/ 374615 h 815526"/>
                  <a:gd name="connsiteX610" fmla="*/ 653728 w 915678"/>
                  <a:gd name="connsiteY610" fmla="*/ 376496 h 815526"/>
                  <a:gd name="connsiteX611" fmla="*/ 655609 w 915678"/>
                  <a:gd name="connsiteY611" fmla="*/ 366555 h 815526"/>
                  <a:gd name="connsiteX612" fmla="*/ 654375 w 915678"/>
                  <a:gd name="connsiteY612" fmla="*/ 365172 h 815526"/>
                  <a:gd name="connsiteX613" fmla="*/ 691288 w 915678"/>
                  <a:gd name="connsiteY613" fmla="*/ 332407 h 815526"/>
                  <a:gd name="connsiteX614" fmla="*/ 682131 w 915678"/>
                  <a:gd name="connsiteY614" fmla="*/ 331835 h 815526"/>
                  <a:gd name="connsiteX615" fmla="*/ 681559 w 915678"/>
                  <a:gd name="connsiteY615" fmla="*/ 340992 h 815526"/>
                  <a:gd name="connsiteX616" fmla="*/ 690716 w 915678"/>
                  <a:gd name="connsiteY616" fmla="*/ 341564 h 815526"/>
                  <a:gd name="connsiteX617" fmla="*/ 691288 w 915678"/>
                  <a:gd name="connsiteY617" fmla="*/ 332407 h 815526"/>
                  <a:gd name="connsiteX618" fmla="*/ 728201 w 915678"/>
                  <a:gd name="connsiteY618" fmla="*/ 299643 h 815526"/>
                  <a:gd name="connsiteX619" fmla="*/ 719906 w 915678"/>
                  <a:gd name="connsiteY619" fmla="*/ 299646 h 815526"/>
                  <a:gd name="connsiteX620" fmla="*/ 719907 w 915678"/>
                  <a:gd name="connsiteY620" fmla="*/ 307942 h 815526"/>
                  <a:gd name="connsiteX621" fmla="*/ 728201 w 915678"/>
                  <a:gd name="connsiteY621" fmla="*/ 307942 h 815526"/>
                  <a:gd name="connsiteX622" fmla="*/ 728204 w 915678"/>
                  <a:gd name="connsiteY622" fmla="*/ 299646 h 815526"/>
                  <a:gd name="connsiteX623" fmla="*/ 728201 w 915678"/>
                  <a:gd name="connsiteY623" fmla="*/ 299643 h 815526"/>
                  <a:gd name="connsiteX624" fmla="*/ 765258 w 915678"/>
                  <a:gd name="connsiteY624" fmla="*/ 266879 h 815526"/>
                  <a:gd name="connsiteX625" fmla="*/ 757818 w 915678"/>
                  <a:gd name="connsiteY625" fmla="*/ 266879 h 815526"/>
                  <a:gd name="connsiteX626" fmla="*/ 757660 w 915678"/>
                  <a:gd name="connsiteY626" fmla="*/ 274162 h 815526"/>
                  <a:gd name="connsiteX627" fmla="*/ 757818 w 915678"/>
                  <a:gd name="connsiteY627" fmla="*/ 274319 h 815526"/>
                  <a:gd name="connsiteX628" fmla="*/ 765258 w 915678"/>
                  <a:gd name="connsiteY628" fmla="*/ 274319 h 815526"/>
                  <a:gd name="connsiteX629" fmla="*/ 765258 w 915678"/>
                  <a:gd name="connsiteY629" fmla="*/ 266879 h 815526"/>
                  <a:gd name="connsiteX630" fmla="*/ 802171 w 915678"/>
                  <a:gd name="connsiteY630" fmla="*/ 234115 h 815526"/>
                  <a:gd name="connsiteX631" fmla="*/ 795589 w 915678"/>
                  <a:gd name="connsiteY631" fmla="*/ 234115 h 815526"/>
                  <a:gd name="connsiteX632" fmla="*/ 795482 w 915678"/>
                  <a:gd name="connsiteY632" fmla="*/ 240589 h 815526"/>
                  <a:gd name="connsiteX633" fmla="*/ 795589 w 915678"/>
                  <a:gd name="connsiteY633" fmla="*/ 240697 h 815526"/>
                  <a:gd name="connsiteX634" fmla="*/ 802171 w 915678"/>
                  <a:gd name="connsiteY634" fmla="*/ 240697 h 815526"/>
                  <a:gd name="connsiteX635" fmla="*/ 802278 w 915678"/>
                  <a:gd name="connsiteY635" fmla="*/ 234222 h 815526"/>
                  <a:gd name="connsiteX636" fmla="*/ 802171 w 915678"/>
                  <a:gd name="connsiteY636" fmla="*/ 234115 h 815526"/>
                  <a:gd name="connsiteX637" fmla="*/ 839084 w 915678"/>
                  <a:gd name="connsiteY637" fmla="*/ 201351 h 815526"/>
                  <a:gd name="connsiteX638" fmla="*/ 833418 w 915678"/>
                  <a:gd name="connsiteY638" fmla="*/ 201294 h 815526"/>
                  <a:gd name="connsiteX639" fmla="*/ 833361 w 915678"/>
                  <a:gd name="connsiteY639" fmla="*/ 201351 h 815526"/>
                  <a:gd name="connsiteX640" fmla="*/ 833095 w 915678"/>
                  <a:gd name="connsiteY640" fmla="*/ 206808 h 815526"/>
                  <a:gd name="connsiteX641" fmla="*/ 833361 w 915678"/>
                  <a:gd name="connsiteY641" fmla="*/ 207074 h 815526"/>
                  <a:gd name="connsiteX642" fmla="*/ 839027 w 915678"/>
                  <a:gd name="connsiteY642" fmla="*/ 207131 h 815526"/>
                  <a:gd name="connsiteX643" fmla="*/ 839084 w 915678"/>
                  <a:gd name="connsiteY643" fmla="*/ 207074 h 815526"/>
                  <a:gd name="connsiteX644" fmla="*/ 839084 w 915678"/>
                  <a:gd name="connsiteY644" fmla="*/ 201208 h 815526"/>
                  <a:gd name="connsiteX645" fmla="*/ 874710 w 915678"/>
                  <a:gd name="connsiteY645" fmla="*/ 166870 h 815526"/>
                  <a:gd name="connsiteX646" fmla="*/ 869854 w 915678"/>
                  <a:gd name="connsiteY646" fmla="*/ 166861 h 815526"/>
                  <a:gd name="connsiteX647" fmla="*/ 869845 w 915678"/>
                  <a:gd name="connsiteY647" fmla="*/ 166870 h 815526"/>
                  <a:gd name="connsiteX648" fmla="*/ 869845 w 915678"/>
                  <a:gd name="connsiteY648" fmla="*/ 171878 h 815526"/>
                  <a:gd name="connsiteX649" fmla="*/ 874701 w 915678"/>
                  <a:gd name="connsiteY649" fmla="*/ 171886 h 815526"/>
                  <a:gd name="connsiteX650" fmla="*/ 874710 w 915678"/>
                  <a:gd name="connsiteY650" fmla="*/ 171878 h 815526"/>
                  <a:gd name="connsiteX651" fmla="*/ 874710 w 915678"/>
                  <a:gd name="connsiteY651" fmla="*/ 166870 h 815526"/>
                  <a:gd name="connsiteX652" fmla="*/ 911623 w 915678"/>
                  <a:gd name="connsiteY652" fmla="*/ 134106 h 815526"/>
                  <a:gd name="connsiteX653" fmla="*/ 907782 w 915678"/>
                  <a:gd name="connsiteY653" fmla="*/ 133941 h 815526"/>
                  <a:gd name="connsiteX654" fmla="*/ 907617 w 915678"/>
                  <a:gd name="connsiteY654" fmla="*/ 134106 h 815526"/>
                  <a:gd name="connsiteX655" fmla="*/ 906836 w 915678"/>
                  <a:gd name="connsiteY655" fmla="*/ 138076 h 815526"/>
                  <a:gd name="connsiteX656" fmla="*/ 910808 w 915678"/>
                  <a:gd name="connsiteY656" fmla="*/ 138857 h 815526"/>
                  <a:gd name="connsiteX657" fmla="*/ 911337 w 915678"/>
                  <a:gd name="connsiteY657" fmla="*/ 138398 h 815526"/>
                  <a:gd name="connsiteX658" fmla="*/ 911440 w 915678"/>
                  <a:gd name="connsiteY658" fmla="*/ 134352 h 815526"/>
                  <a:gd name="connsiteX659" fmla="*/ 911337 w 915678"/>
                  <a:gd name="connsiteY659" fmla="*/ 134249 h 815526"/>
                  <a:gd name="connsiteX660" fmla="*/ 521172 w 915678"/>
                  <a:gd name="connsiteY660" fmla="*/ 438712 h 815526"/>
                  <a:gd name="connsiteX661" fmla="*/ 508581 w 915678"/>
                  <a:gd name="connsiteY661" fmla="*/ 437997 h 815526"/>
                  <a:gd name="connsiteX662" fmla="*/ 507866 w 915678"/>
                  <a:gd name="connsiteY662" fmla="*/ 450587 h 815526"/>
                  <a:gd name="connsiteX663" fmla="*/ 520411 w 915678"/>
                  <a:gd name="connsiteY663" fmla="*/ 450633 h 815526"/>
                  <a:gd name="connsiteX664" fmla="*/ 520457 w 915678"/>
                  <a:gd name="connsiteY664" fmla="*/ 450587 h 815526"/>
                  <a:gd name="connsiteX665" fmla="*/ 521172 w 915678"/>
                  <a:gd name="connsiteY665" fmla="*/ 437997 h 815526"/>
                  <a:gd name="connsiteX666" fmla="*/ 558085 w 915678"/>
                  <a:gd name="connsiteY666" fmla="*/ 405376 h 815526"/>
                  <a:gd name="connsiteX667" fmla="*/ 546552 w 915678"/>
                  <a:gd name="connsiteY667" fmla="*/ 405431 h 815526"/>
                  <a:gd name="connsiteX668" fmla="*/ 546608 w 915678"/>
                  <a:gd name="connsiteY668" fmla="*/ 416965 h 815526"/>
                  <a:gd name="connsiteX669" fmla="*/ 558085 w 915678"/>
                  <a:gd name="connsiteY669" fmla="*/ 416965 h 815526"/>
                  <a:gd name="connsiteX670" fmla="*/ 558347 w 915678"/>
                  <a:gd name="connsiteY670" fmla="*/ 405636 h 815526"/>
                  <a:gd name="connsiteX671" fmla="*/ 558085 w 915678"/>
                  <a:gd name="connsiteY671" fmla="*/ 405376 h 815526"/>
                  <a:gd name="connsiteX672" fmla="*/ 595142 w 915678"/>
                  <a:gd name="connsiteY672" fmla="*/ 372612 h 815526"/>
                  <a:gd name="connsiteX673" fmla="*/ 584454 w 915678"/>
                  <a:gd name="connsiteY673" fmla="*/ 371733 h 815526"/>
                  <a:gd name="connsiteX674" fmla="*/ 584268 w 915678"/>
                  <a:gd name="connsiteY674" fmla="*/ 371896 h 815526"/>
                  <a:gd name="connsiteX675" fmla="*/ 584268 w 915678"/>
                  <a:gd name="connsiteY675" fmla="*/ 382770 h 815526"/>
                  <a:gd name="connsiteX676" fmla="*/ 595195 w 915678"/>
                  <a:gd name="connsiteY676" fmla="*/ 382690 h 815526"/>
                  <a:gd name="connsiteX677" fmla="*/ 595857 w 915678"/>
                  <a:gd name="connsiteY677" fmla="*/ 372612 h 815526"/>
                  <a:gd name="connsiteX678" fmla="*/ 632770 w 915678"/>
                  <a:gd name="connsiteY678" fmla="*/ 339847 h 815526"/>
                  <a:gd name="connsiteX679" fmla="*/ 622891 w 915678"/>
                  <a:gd name="connsiteY679" fmla="*/ 339015 h 815526"/>
                  <a:gd name="connsiteX680" fmla="*/ 622755 w 915678"/>
                  <a:gd name="connsiteY680" fmla="*/ 339132 h 815526"/>
                  <a:gd name="connsiteX681" fmla="*/ 622755 w 915678"/>
                  <a:gd name="connsiteY681" fmla="*/ 349147 h 815526"/>
                  <a:gd name="connsiteX682" fmla="*/ 632669 w 915678"/>
                  <a:gd name="connsiteY682" fmla="*/ 349249 h 815526"/>
                  <a:gd name="connsiteX683" fmla="*/ 632770 w 915678"/>
                  <a:gd name="connsiteY683" fmla="*/ 349147 h 815526"/>
                  <a:gd name="connsiteX684" fmla="*/ 632770 w 915678"/>
                  <a:gd name="connsiteY684" fmla="*/ 339132 h 815526"/>
                  <a:gd name="connsiteX685" fmla="*/ 669684 w 915678"/>
                  <a:gd name="connsiteY685" fmla="*/ 306368 h 815526"/>
                  <a:gd name="connsiteX686" fmla="*/ 660578 w 915678"/>
                  <a:gd name="connsiteY686" fmla="*/ 306316 h 815526"/>
                  <a:gd name="connsiteX687" fmla="*/ 660527 w 915678"/>
                  <a:gd name="connsiteY687" fmla="*/ 306368 h 815526"/>
                  <a:gd name="connsiteX688" fmla="*/ 660377 w 915678"/>
                  <a:gd name="connsiteY688" fmla="*/ 315675 h 815526"/>
                  <a:gd name="connsiteX689" fmla="*/ 669684 w 915678"/>
                  <a:gd name="connsiteY689" fmla="*/ 315824 h 815526"/>
                  <a:gd name="connsiteX690" fmla="*/ 669834 w 915678"/>
                  <a:gd name="connsiteY690" fmla="*/ 306518 h 815526"/>
                  <a:gd name="connsiteX691" fmla="*/ 669684 w 915678"/>
                  <a:gd name="connsiteY691" fmla="*/ 306368 h 815526"/>
                  <a:gd name="connsiteX692" fmla="*/ 706740 w 915678"/>
                  <a:gd name="connsiteY692" fmla="*/ 273604 h 815526"/>
                  <a:gd name="connsiteX693" fmla="*/ 698445 w 915678"/>
                  <a:gd name="connsiteY693" fmla="*/ 273607 h 815526"/>
                  <a:gd name="connsiteX694" fmla="*/ 698446 w 915678"/>
                  <a:gd name="connsiteY694" fmla="*/ 281902 h 815526"/>
                  <a:gd name="connsiteX695" fmla="*/ 706740 w 915678"/>
                  <a:gd name="connsiteY695" fmla="*/ 281902 h 815526"/>
                  <a:gd name="connsiteX696" fmla="*/ 706743 w 915678"/>
                  <a:gd name="connsiteY696" fmla="*/ 273607 h 815526"/>
                  <a:gd name="connsiteX697" fmla="*/ 706740 w 915678"/>
                  <a:gd name="connsiteY697" fmla="*/ 273604 h 815526"/>
                  <a:gd name="connsiteX698" fmla="*/ 742509 w 915678"/>
                  <a:gd name="connsiteY698" fmla="*/ 242127 h 815526"/>
                  <a:gd name="connsiteX699" fmla="*/ 735110 w 915678"/>
                  <a:gd name="connsiteY699" fmla="*/ 240984 h 815526"/>
                  <a:gd name="connsiteX700" fmla="*/ 733967 w 915678"/>
                  <a:gd name="connsiteY700" fmla="*/ 248383 h 815526"/>
                  <a:gd name="connsiteX701" fmla="*/ 734640 w 915678"/>
                  <a:gd name="connsiteY701" fmla="*/ 249138 h 815526"/>
                  <a:gd name="connsiteX702" fmla="*/ 742080 w 915678"/>
                  <a:gd name="connsiteY702" fmla="*/ 249138 h 815526"/>
                  <a:gd name="connsiteX703" fmla="*/ 742080 w 915678"/>
                  <a:gd name="connsiteY703" fmla="*/ 241698 h 815526"/>
                  <a:gd name="connsiteX704" fmla="*/ 779851 w 915678"/>
                  <a:gd name="connsiteY704" fmla="*/ 209792 h 815526"/>
                  <a:gd name="connsiteX705" fmla="*/ 773377 w 915678"/>
                  <a:gd name="connsiteY705" fmla="*/ 209685 h 815526"/>
                  <a:gd name="connsiteX706" fmla="*/ 773270 w 915678"/>
                  <a:gd name="connsiteY706" fmla="*/ 209792 h 815526"/>
                  <a:gd name="connsiteX707" fmla="*/ 773270 w 915678"/>
                  <a:gd name="connsiteY707" fmla="*/ 216374 h 815526"/>
                  <a:gd name="connsiteX708" fmla="*/ 779744 w 915678"/>
                  <a:gd name="connsiteY708" fmla="*/ 216481 h 815526"/>
                  <a:gd name="connsiteX709" fmla="*/ 779851 w 915678"/>
                  <a:gd name="connsiteY709" fmla="*/ 216374 h 815526"/>
                  <a:gd name="connsiteX710" fmla="*/ 779851 w 915678"/>
                  <a:gd name="connsiteY710" fmla="*/ 209792 h 815526"/>
                  <a:gd name="connsiteX711" fmla="*/ 816908 w 915678"/>
                  <a:gd name="connsiteY711" fmla="*/ 177028 h 815526"/>
                  <a:gd name="connsiteX712" fmla="*/ 811242 w 915678"/>
                  <a:gd name="connsiteY712" fmla="*/ 176971 h 815526"/>
                  <a:gd name="connsiteX713" fmla="*/ 811185 w 915678"/>
                  <a:gd name="connsiteY713" fmla="*/ 177028 h 815526"/>
                  <a:gd name="connsiteX714" fmla="*/ 811127 w 915678"/>
                  <a:gd name="connsiteY714" fmla="*/ 182694 h 815526"/>
                  <a:gd name="connsiteX715" fmla="*/ 811185 w 915678"/>
                  <a:gd name="connsiteY715" fmla="*/ 182751 h 815526"/>
                  <a:gd name="connsiteX716" fmla="*/ 816850 w 915678"/>
                  <a:gd name="connsiteY716" fmla="*/ 182808 h 815526"/>
                  <a:gd name="connsiteX717" fmla="*/ 816908 w 915678"/>
                  <a:gd name="connsiteY717" fmla="*/ 182751 h 815526"/>
                  <a:gd name="connsiteX718" fmla="*/ 816965 w 915678"/>
                  <a:gd name="connsiteY718" fmla="*/ 177085 h 815526"/>
                  <a:gd name="connsiteX719" fmla="*/ 816908 w 915678"/>
                  <a:gd name="connsiteY719" fmla="*/ 177028 h 815526"/>
                  <a:gd name="connsiteX720" fmla="*/ 853821 w 915678"/>
                  <a:gd name="connsiteY720" fmla="*/ 144264 h 815526"/>
                  <a:gd name="connsiteX721" fmla="*/ 848965 w 915678"/>
                  <a:gd name="connsiteY721" fmla="*/ 144273 h 815526"/>
                  <a:gd name="connsiteX722" fmla="*/ 848974 w 915678"/>
                  <a:gd name="connsiteY722" fmla="*/ 149129 h 815526"/>
                  <a:gd name="connsiteX723" fmla="*/ 853821 w 915678"/>
                  <a:gd name="connsiteY723" fmla="*/ 149129 h 815526"/>
                  <a:gd name="connsiteX724" fmla="*/ 853830 w 915678"/>
                  <a:gd name="connsiteY724" fmla="*/ 144273 h 815526"/>
                  <a:gd name="connsiteX725" fmla="*/ 853821 w 915678"/>
                  <a:gd name="connsiteY725" fmla="*/ 144264 h 815526"/>
                  <a:gd name="connsiteX726" fmla="*/ 890734 w 915678"/>
                  <a:gd name="connsiteY726" fmla="*/ 111500 h 815526"/>
                  <a:gd name="connsiteX727" fmla="*/ 886728 w 915678"/>
                  <a:gd name="connsiteY727" fmla="*/ 111500 h 815526"/>
                  <a:gd name="connsiteX728" fmla="*/ 886728 w 915678"/>
                  <a:gd name="connsiteY728" fmla="*/ 115649 h 815526"/>
                  <a:gd name="connsiteX729" fmla="*/ 890877 w 915678"/>
                  <a:gd name="connsiteY729" fmla="*/ 115649 h 815526"/>
                  <a:gd name="connsiteX730" fmla="*/ 891043 w 915678"/>
                  <a:gd name="connsiteY730" fmla="*/ 111808 h 815526"/>
                  <a:gd name="connsiteX731" fmla="*/ 890877 w 915678"/>
                  <a:gd name="connsiteY731" fmla="*/ 111643 h 815526"/>
                  <a:gd name="connsiteX732" fmla="*/ 500283 w 915678"/>
                  <a:gd name="connsiteY732" fmla="*/ 415105 h 815526"/>
                  <a:gd name="connsiteX733" fmla="*/ 487969 w 915678"/>
                  <a:gd name="connsiteY733" fmla="*/ 414271 h 815526"/>
                  <a:gd name="connsiteX734" fmla="*/ 487836 w 915678"/>
                  <a:gd name="connsiteY734" fmla="*/ 414389 h 815526"/>
                  <a:gd name="connsiteX735" fmla="*/ 486907 w 915678"/>
                  <a:gd name="connsiteY735" fmla="*/ 426900 h 815526"/>
                  <a:gd name="connsiteX736" fmla="*/ 486977 w 915678"/>
                  <a:gd name="connsiteY736" fmla="*/ 426980 h 815526"/>
                  <a:gd name="connsiteX737" fmla="*/ 499568 w 915678"/>
                  <a:gd name="connsiteY737" fmla="*/ 426980 h 815526"/>
                  <a:gd name="connsiteX738" fmla="*/ 499613 w 915678"/>
                  <a:gd name="connsiteY738" fmla="*/ 414435 h 815526"/>
                  <a:gd name="connsiteX739" fmla="*/ 499568 w 915678"/>
                  <a:gd name="connsiteY739" fmla="*/ 414389 h 815526"/>
                  <a:gd name="connsiteX740" fmla="*/ 536624 w 915678"/>
                  <a:gd name="connsiteY740" fmla="*/ 381625 h 815526"/>
                  <a:gd name="connsiteX741" fmla="*/ 524889 w 915678"/>
                  <a:gd name="connsiteY741" fmla="*/ 381622 h 815526"/>
                  <a:gd name="connsiteX742" fmla="*/ 524885 w 915678"/>
                  <a:gd name="connsiteY742" fmla="*/ 393357 h 815526"/>
                  <a:gd name="connsiteX743" fmla="*/ 536621 w 915678"/>
                  <a:gd name="connsiteY743" fmla="*/ 393360 h 815526"/>
                  <a:gd name="connsiteX744" fmla="*/ 536624 w 915678"/>
                  <a:gd name="connsiteY744" fmla="*/ 393357 h 815526"/>
                  <a:gd name="connsiteX745" fmla="*/ 536624 w 915678"/>
                  <a:gd name="connsiteY745" fmla="*/ 381625 h 815526"/>
                  <a:gd name="connsiteX746" fmla="*/ 573537 w 915678"/>
                  <a:gd name="connsiteY746" fmla="*/ 348861 h 815526"/>
                  <a:gd name="connsiteX747" fmla="*/ 562664 w 915678"/>
                  <a:gd name="connsiteY747" fmla="*/ 348861 h 815526"/>
                  <a:gd name="connsiteX748" fmla="*/ 562657 w 915678"/>
                  <a:gd name="connsiteY748" fmla="*/ 359585 h 815526"/>
                  <a:gd name="connsiteX749" fmla="*/ 562664 w 915678"/>
                  <a:gd name="connsiteY749" fmla="*/ 359592 h 815526"/>
                  <a:gd name="connsiteX750" fmla="*/ 573144 w 915678"/>
                  <a:gd name="connsiteY750" fmla="*/ 360526 h 815526"/>
                  <a:gd name="connsiteX751" fmla="*/ 573394 w 915678"/>
                  <a:gd name="connsiteY751" fmla="*/ 360307 h 815526"/>
                  <a:gd name="connsiteX752" fmla="*/ 574273 w 915678"/>
                  <a:gd name="connsiteY752" fmla="*/ 349619 h 815526"/>
                  <a:gd name="connsiteX753" fmla="*/ 574110 w 915678"/>
                  <a:gd name="connsiteY753" fmla="*/ 349433 h 815526"/>
                  <a:gd name="connsiteX754" fmla="*/ 611023 w 915678"/>
                  <a:gd name="connsiteY754" fmla="*/ 316669 h 815526"/>
                  <a:gd name="connsiteX755" fmla="*/ 600906 w 915678"/>
                  <a:gd name="connsiteY755" fmla="*/ 316568 h 815526"/>
                  <a:gd name="connsiteX756" fmla="*/ 600806 w 915678"/>
                  <a:gd name="connsiteY756" fmla="*/ 326684 h 815526"/>
                  <a:gd name="connsiteX757" fmla="*/ 610921 w 915678"/>
                  <a:gd name="connsiteY757" fmla="*/ 326786 h 815526"/>
                  <a:gd name="connsiteX758" fmla="*/ 611023 w 915678"/>
                  <a:gd name="connsiteY758" fmla="*/ 326684 h 815526"/>
                  <a:gd name="connsiteX759" fmla="*/ 611125 w 915678"/>
                  <a:gd name="connsiteY759" fmla="*/ 316771 h 815526"/>
                  <a:gd name="connsiteX760" fmla="*/ 611023 w 915678"/>
                  <a:gd name="connsiteY760" fmla="*/ 316669 h 815526"/>
                  <a:gd name="connsiteX761" fmla="*/ 648079 w 915678"/>
                  <a:gd name="connsiteY761" fmla="*/ 283905 h 815526"/>
                  <a:gd name="connsiteX762" fmla="*/ 638923 w 915678"/>
                  <a:gd name="connsiteY762" fmla="*/ 283905 h 815526"/>
                  <a:gd name="connsiteX763" fmla="*/ 638350 w 915678"/>
                  <a:gd name="connsiteY763" fmla="*/ 293062 h 815526"/>
                  <a:gd name="connsiteX764" fmla="*/ 647507 w 915678"/>
                  <a:gd name="connsiteY764" fmla="*/ 293634 h 815526"/>
                  <a:gd name="connsiteX765" fmla="*/ 647507 w 915678"/>
                  <a:gd name="connsiteY765" fmla="*/ 284477 h 815526"/>
                  <a:gd name="connsiteX766" fmla="*/ 685279 w 915678"/>
                  <a:gd name="connsiteY766" fmla="*/ 251284 h 815526"/>
                  <a:gd name="connsiteX767" fmla="*/ 676909 w 915678"/>
                  <a:gd name="connsiteY767" fmla="*/ 250783 h 815526"/>
                  <a:gd name="connsiteX768" fmla="*/ 676408 w 915678"/>
                  <a:gd name="connsiteY768" fmla="*/ 259153 h 815526"/>
                  <a:gd name="connsiteX769" fmla="*/ 684850 w 915678"/>
                  <a:gd name="connsiteY769" fmla="*/ 259153 h 815526"/>
                  <a:gd name="connsiteX770" fmla="*/ 684852 w 915678"/>
                  <a:gd name="connsiteY770" fmla="*/ 250858 h 815526"/>
                  <a:gd name="connsiteX771" fmla="*/ 684850 w 915678"/>
                  <a:gd name="connsiteY771" fmla="*/ 250855 h 815526"/>
                  <a:gd name="connsiteX772" fmla="*/ 721763 w 915678"/>
                  <a:gd name="connsiteY772" fmla="*/ 218091 h 815526"/>
                  <a:gd name="connsiteX773" fmla="*/ 714365 w 915678"/>
                  <a:gd name="connsiteY773" fmla="*/ 216948 h 815526"/>
                  <a:gd name="connsiteX774" fmla="*/ 713221 w 915678"/>
                  <a:gd name="connsiteY774" fmla="*/ 224346 h 815526"/>
                  <a:gd name="connsiteX775" fmla="*/ 713894 w 915678"/>
                  <a:gd name="connsiteY775" fmla="*/ 225101 h 815526"/>
                  <a:gd name="connsiteX776" fmla="*/ 721292 w 915678"/>
                  <a:gd name="connsiteY776" fmla="*/ 226245 h 815526"/>
                  <a:gd name="connsiteX777" fmla="*/ 722435 w 915678"/>
                  <a:gd name="connsiteY777" fmla="*/ 218846 h 815526"/>
                  <a:gd name="connsiteX778" fmla="*/ 721763 w 915678"/>
                  <a:gd name="connsiteY778" fmla="*/ 218091 h 815526"/>
                  <a:gd name="connsiteX779" fmla="*/ 758819 w 915678"/>
                  <a:gd name="connsiteY779" fmla="*/ 185327 h 815526"/>
                  <a:gd name="connsiteX780" fmla="*/ 752238 w 915678"/>
                  <a:gd name="connsiteY780" fmla="*/ 185327 h 815526"/>
                  <a:gd name="connsiteX781" fmla="*/ 752131 w 915678"/>
                  <a:gd name="connsiteY781" fmla="*/ 191801 h 815526"/>
                  <a:gd name="connsiteX782" fmla="*/ 752238 w 915678"/>
                  <a:gd name="connsiteY782" fmla="*/ 191908 h 815526"/>
                  <a:gd name="connsiteX783" fmla="*/ 758819 w 915678"/>
                  <a:gd name="connsiteY783" fmla="*/ 191908 h 815526"/>
                  <a:gd name="connsiteX784" fmla="*/ 758819 w 915678"/>
                  <a:gd name="connsiteY784" fmla="*/ 185184 h 815526"/>
                  <a:gd name="connsiteX785" fmla="*/ 796019 w 915678"/>
                  <a:gd name="connsiteY785" fmla="*/ 152562 h 815526"/>
                  <a:gd name="connsiteX786" fmla="*/ 790296 w 915678"/>
                  <a:gd name="connsiteY786" fmla="*/ 152133 h 815526"/>
                  <a:gd name="connsiteX787" fmla="*/ 789866 w 915678"/>
                  <a:gd name="connsiteY787" fmla="*/ 157856 h 815526"/>
                  <a:gd name="connsiteX788" fmla="*/ 795733 w 915678"/>
                  <a:gd name="connsiteY788" fmla="*/ 157856 h 815526"/>
                  <a:gd name="connsiteX789" fmla="*/ 795790 w 915678"/>
                  <a:gd name="connsiteY789" fmla="*/ 152190 h 815526"/>
                  <a:gd name="connsiteX790" fmla="*/ 795733 w 915678"/>
                  <a:gd name="connsiteY790" fmla="*/ 152133 h 815526"/>
                  <a:gd name="connsiteX791" fmla="*/ 832646 w 915678"/>
                  <a:gd name="connsiteY791" fmla="*/ 119369 h 815526"/>
                  <a:gd name="connsiteX792" fmla="*/ 827790 w 915678"/>
                  <a:gd name="connsiteY792" fmla="*/ 119378 h 815526"/>
                  <a:gd name="connsiteX793" fmla="*/ 827798 w 915678"/>
                  <a:gd name="connsiteY793" fmla="*/ 124234 h 815526"/>
                  <a:gd name="connsiteX794" fmla="*/ 832646 w 915678"/>
                  <a:gd name="connsiteY794" fmla="*/ 124234 h 815526"/>
                  <a:gd name="connsiteX795" fmla="*/ 832654 w 915678"/>
                  <a:gd name="connsiteY795" fmla="*/ 119378 h 815526"/>
                  <a:gd name="connsiteX796" fmla="*/ 832646 w 915678"/>
                  <a:gd name="connsiteY796" fmla="*/ 119369 h 815526"/>
                  <a:gd name="connsiteX797" fmla="*/ 869702 w 915678"/>
                  <a:gd name="connsiteY797" fmla="*/ 86605 h 815526"/>
                  <a:gd name="connsiteX798" fmla="*/ 865553 w 915678"/>
                  <a:gd name="connsiteY798" fmla="*/ 86605 h 815526"/>
                  <a:gd name="connsiteX799" fmla="*/ 865338 w 915678"/>
                  <a:gd name="connsiteY799" fmla="*/ 90683 h 815526"/>
                  <a:gd name="connsiteX800" fmla="*/ 869416 w 915678"/>
                  <a:gd name="connsiteY800" fmla="*/ 90897 h 815526"/>
                  <a:gd name="connsiteX801" fmla="*/ 869416 w 915678"/>
                  <a:gd name="connsiteY801" fmla="*/ 86891 h 8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Lst>
                <a:rect l="l" t="t" r="r" b="b"/>
                <a:pathLst>
                  <a:path w="915678" h="815526">
                    <a:moveTo>
                      <a:pt x="427744" y="436995"/>
                    </a:moveTo>
                    <a:cubicBezTo>
                      <a:pt x="424465" y="433321"/>
                      <a:pt x="424785" y="427684"/>
                      <a:pt x="428460" y="424405"/>
                    </a:cubicBezTo>
                    <a:cubicBezTo>
                      <a:pt x="432134" y="421125"/>
                      <a:pt x="437771" y="421446"/>
                      <a:pt x="441050" y="425120"/>
                    </a:cubicBezTo>
                    <a:cubicBezTo>
                      <a:pt x="444329" y="428794"/>
                      <a:pt x="444009" y="434431"/>
                      <a:pt x="440335" y="437711"/>
                    </a:cubicBezTo>
                    <a:cubicBezTo>
                      <a:pt x="436661" y="440990"/>
                      <a:pt x="431023" y="440669"/>
                      <a:pt x="427744" y="436995"/>
                    </a:cubicBezTo>
                    <a:moveTo>
                      <a:pt x="390688" y="469759"/>
                    </a:moveTo>
                    <a:cubicBezTo>
                      <a:pt x="393927" y="473001"/>
                      <a:pt x="399182" y="473003"/>
                      <a:pt x="402423" y="469762"/>
                    </a:cubicBezTo>
                    <a:cubicBezTo>
                      <a:pt x="405665" y="466523"/>
                      <a:pt x="405666" y="461269"/>
                      <a:pt x="402427" y="458027"/>
                    </a:cubicBezTo>
                    <a:cubicBezTo>
                      <a:pt x="399188" y="454785"/>
                      <a:pt x="393933" y="454784"/>
                      <a:pt x="390691" y="458024"/>
                    </a:cubicBezTo>
                    <a:cubicBezTo>
                      <a:pt x="390691" y="458024"/>
                      <a:pt x="390689" y="458026"/>
                      <a:pt x="390688" y="458027"/>
                    </a:cubicBezTo>
                    <a:cubicBezTo>
                      <a:pt x="387450" y="461268"/>
                      <a:pt x="387450" y="466519"/>
                      <a:pt x="390688" y="469759"/>
                    </a:cubicBezTo>
                    <a:moveTo>
                      <a:pt x="353774" y="502523"/>
                    </a:moveTo>
                    <a:cubicBezTo>
                      <a:pt x="356786" y="505505"/>
                      <a:pt x="361636" y="505505"/>
                      <a:pt x="364648" y="502523"/>
                    </a:cubicBezTo>
                    <a:cubicBezTo>
                      <a:pt x="367555" y="499482"/>
                      <a:pt x="367555" y="494692"/>
                      <a:pt x="364648" y="491650"/>
                    </a:cubicBezTo>
                    <a:cubicBezTo>
                      <a:pt x="361636" y="488668"/>
                      <a:pt x="356786" y="488668"/>
                      <a:pt x="353774" y="491650"/>
                    </a:cubicBezTo>
                    <a:cubicBezTo>
                      <a:pt x="350581" y="494358"/>
                      <a:pt x="350188" y="499144"/>
                      <a:pt x="352896" y="502337"/>
                    </a:cubicBezTo>
                    <a:cubicBezTo>
                      <a:pt x="352949" y="502400"/>
                      <a:pt x="353003" y="502462"/>
                      <a:pt x="353059" y="502523"/>
                    </a:cubicBezTo>
                    <a:moveTo>
                      <a:pt x="316146" y="535145"/>
                    </a:moveTo>
                    <a:cubicBezTo>
                      <a:pt x="318856" y="537910"/>
                      <a:pt x="323294" y="537956"/>
                      <a:pt x="326059" y="535246"/>
                    </a:cubicBezTo>
                    <a:cubicBezTo>
                      <a:pt x="326094" y="535212"/>
                      <a:pt x="326128" y="535179"/>
                      <a:pt x="326161" y="535145"/>
                    </a:cubicBezTo>
                    <a:cubicBezTo>
                      <a:pt x="328888" y="532363"/>
                      <a:pt x="328888" y="527911"/>
                      <a:pt x="326161" y="525129"/>
                    </a:cubicBezTo>
                    <a:cubicBezTo>
                      <a:pt x="323593" y="522206"/>
                      <a:pt x="319140" y="521917"/>
                      <a:pt x="316217" y="524485"/>
                    </a:cubicBezTo>
                    <a:cubicBezTo>
                      <a:pt x="313294" y="527054"/>
                      <a:pt x="313005" y="531506"/>
                      <a:pt x="315573" y="534429"/>
                    </a:cubicBezTo>
                    <a:moveTo>
                      <a:pt x="280377" y="567479"/>
                    </a:moveTo>
                    <a:cubicBezTo>
                      <a:pt x="282748" y="570166"/>
                      <a:pt x="286847" y="570422"/>
                      <a:pt x="289534" y="568052"/>
                    </a:cubicBezTo>
                    <a:cubicBezTo>
                      <a:pt x="292221" y="565681"/>
                      <a:pt x="292477" y="561582"/>
                      <a:pt x="290106" y="558895"/>
                    </a:cubicBezTo>
                    <a:cubicBezTo>
                      <a:pt x="287735" y="556208"/>
                      <a:pt x="283636" y="555952"/>
                      <a:pt x="280949" y="558323"/>
                    </a:cubicBezTo>
                    <a:cubicBezTo>
                      <a:pt x="278262" y="560693"/>
                      <a:pt x="278006" y="564792"/>
                      <a:pt x="280377" y="567479"/>
                    </a:cubicBezTo>
                    <a:moveTo>
                      <a:pt x="243464" y="600244"/>
                    </a:moveTo>
                    <a:cubicBezTo>
                      <a:pt x="245756" y="602534"/>
                      <a:pt x="249470" y="602533"/>
                      <a:pt x="251759" y="600241"/>
                    </a:cubicBezTo>
                    <a:cubicBezTo>
                      <a:pt x="254050" y="597950"/>
                      <a:pt x="254048" y="594236"/>
                      <a:pt x="251758" y="591945"/>
                    </a:cubicBezTo>
                    <a:cubicBezTo>
                      <a:pt x="249467" y="589656"/>
                      <a:pt x="245754" y="589656"/>
                      <a:pt x="243464" y="591945"/>
                    </a:cubicBezTo>
                    <a:cubicBezTo>
                      <a:pt x="241172" y="594236"/>
                      <a:pt x="241172" y="597950"/>
                      <a:pt x="243461" y="600241"/>
                    </a:cubicBezTo>
                    <a:cubicBezTo>
                      <a:pt x="243462" y="600242"/>
                      <a:pt x="243462" y="600242"/>
                      <a:pt x="243464" y="600244"/>
                    </a:cubicBezTo>
                    <a:moveTo>
                      <a:pt x="206551" y="633008"/>
                    </a:moveTo>
                    <a:cubicBezTo>
                      <a:pt x="208518" y="635062"/>
                      <a:pt x="211778" y="635132"/>
                      <a:pt x="213833" y="633165"/>
                    </a:cubicBezTo>
                    <a:cubicBezTo>
                      <a:pt x="213886" y="633114"/>
                      <a:pt x="213939" y="633061"/>
                      <a:pt x="213990" y="633008"/>
                    </a:cubicBezTo>
                    <a:cubicBezTo>
                      <a:pt x="216350" y="631281"/>
                      <a:pt x="216860" y="627967"/>
                      <a:pt x="215134" y="625609"/>
                    </a:cubicBezTo>
                    <a:cubicBezTo>
                      <a:pt x="213407" y="623250"/>
                      <a:pt x="210094" y="622738"/>
                      <a:pt x="207735" y="624466"/>
                    </a:cubicBezTo>
                    <a:cubicBezTo>
                      <a:pt x="207462" y="624665"/>
                      <a:pt x="207210" y="624891"/>
                      <a:pt x="206980" y="625139"/>
                    </a:cubicBezTo>
                    <a:cubicBezTo>
                      <a:pt x="204944" y="627200"/>
                      <a:pt x="204944" y="630517"/>
                      <a:pt x="206980" y="632578"/>
                    </a:cubicBezTo>
                    <a:moveTo>
                      <a:pt x="170209" y="666201"/>
                    </a:moveTo>
                    <a:cubicBezTo>
                      <a:pt x="172027" y="668071"/>
                      <a:pt x="175015" y="668114"/>
                      <a:pt x="176885" y="666295"/>
                    </a:cubicBezTo>
                    <a:cubicBezTo>
                      <a:pt x="178755" y="664478"/>
                      <a:pt x="178798" y="661490"/>
                      <a:pt x="176981" y="659620"/>
                    </a:cubicBezTo>
                    <a:cubicBezTo>
                      <a:pt x="175164" y="657750"/>
                      <a:pt x="172174" y="657707"/>
                      <a:pt x="170304" y="659525"/>
                    </a:cubicBezTo>
                    <a:cubicBezTo>
                      <a:pt x="170272" y="659555"/>
                      <a:pt x="170241" y="659588"/>
                      <a:pt x="170209" y="659620"/>
                    </a:cubicBezTo>
                    <a:cubicBezTo>
                      <a:pt x="168428" y="661452"/>
                      <a:pt x="168428" y="664368"/>
                      <a:pt x="170209" y="666201"/>
                    </a:cubicBezTo>
                    <a:moveTo>
                      <a:pt x="133296" y="698965"/>
                    </a:moveTo>
                    <a:cubicBezTo>
                      <a:pt x="134844" y="700546"/>
                      <a:pt x="137381" y="700572"/>
                      <a:pt x="138962" y="699022"/>
                    </a:cubicBezTo>
                    <a:cubicBezTo>
                      <a:pt x="138981" y="699004"/>
                      <a:pt x="139001" y="698985"/>
                      <a:pt x="139019" y="698965"/>
                    </a:cubicBezTo>
                    <a:cubicBezTo>
                      <a:pt x="140939" y="697713"/>
                      <a:pt x="141480" y="695142"/>
                      <a:pt x="140228" y="693224"/>
                    </a:cubicBezTo>
                    <a:cubicBezTo>
                      <a:pt x="138976" y="691304"/>
                      <a:pt x="136405" y="690763"/>
                      <a:pt x="134485" y="692015"/>
                    </a:cubicBezTo>
                    <a:cubicBezTo>
                      <a:pt x="134147" y="692235"/>
                      <a:pt x="133843" y="692504"/>
                      <a:pt x="133582" y="692813"/>
                    </a:cubicBezTo>
                    <a:cubicBezTo>
                      <a:pt x="132056" y="694415"/>
                      <a:pt x="132056" y="696933"/>
                      <a:pt x="133582" y="698536"/>
                    </a:cubicBezTo>
                    <a:moveTo>
                      <a:pt x="96669" y="731300"/>
                    </a:moveTo>
                    <a:cubicBezTo>
                      <a:pt x="98013" y="732639"/>
                      <a:pt x="100186" y="732635"/>
                      <a:pt x="101525" y="731291"/>
                    </a:cubicBezTo>
                    <a:cubicBezTo>
                      <a:pt x="102864" y="729948"/>
                      <a:pt x="102860" y="727775"/>
                      <a:pt x="101516" y="726436"/>
                    </a:cubicBezTo>
                    <a:cubicBezTo>
                      <a:pt x="100177" y="725101"/>
                      <a:pt x="98010" y="725101"/>
                      <a:pt x="96669" y="726436"/>
                    </a:cubicBezTo>
                    <a:cubicBezTo>
                      <a:pt x="95326" y="727775"/>
                      <a:pt x="95321" y="729948"/>
                      <a:pt x="96660" y="731291"/>
                    </a:cubicBezTo>
                    <a:cubicBezTo>
                      <a:pt x="96663" y="731294"/>
                      <a:pt x="96666" y="731297"/>
                      <a:pt x="96669" y="731300"/>
                    </a:cubicBezTo>
                    <a:moveTo>
                      <a:pt x="58611" y="764493"/>
                    </a:moveTo>
                    <a:cubicBezTo>
                      <a:pt x="59799" y="765534"/>
                      <a:pt x="61573" y="765534"/>
                      <a:pt x="62760" y="764493"/>
                    </a:cubicBezTo>
                    <a:cubicBezTo>
                      <a:pt x="63869" y="763333"/>
                      <a:pt x="63869" y="761505"/>
                      <a:pt x="62760" y="760344"/>
                    </a:cubicBezTo>
                    <a:cubicBezTo>
                      <a:pt x="61746" y="759238"/>
                      <a:pt x="60026" y="759164"/>
                      <a:pt x="58919" y="760178"/>
                    </a:cubicBezTo>
                    <a:cubicBezTo>
                      <a:pt x="58862" y="760231"/>
                      <a:pt x="58807" y="760287"/>
                      <a:pt x="58754" y="760344"/>
                    </a:cubicBezTo>
                    <a:cubicBezTo>
                      <a:pt x="57664" y="761457"/>
                      <a:pt x="57664" y="763237"/>
                      <a:pt x="58754" y="764350"/>
                    </a:cubicBezTo>
                    <a:moveTo>
                      <a:pt x="407428" y="413388"/>
                    </a:moveTo>
                    <a:cubicBezTo>
                      <a:pt x="410691" y="417055"/>
                      <a:pt x="416288" y="417435"/>
                      <a:pt x="420018" y="414246"/>
                    </a:cubicBezTo>
                    <a:cubicBezTo>
                      <a:pt x="423495" y="410795"/>
                      <a:pt x="423515" y="405178"/>
                      <a:pt x="420064" y="401701"/>
                    </a:cubicBezTo>
                    <a:cubicBezTo>
                      <a:pt x="420048" y="401686"/>
                      <a:pt x="420034" y="401671"/>
                      <a:pt x="420018" y="401656"/>
                    </a:cubicBezTo>
                    <a:cubicBezTo>
                      <a:pt x="416830" y="397936"/>
                      <a:pt x="411229" y="397505"/>
                      <a:pt x="407511" y="400694"/>
                    </a:cubicBezTo>
                    <a:cubicBezTo>
                      <a:pt x="403791" y="403882"/>
                      <a:pt x="403360" y="409482"/>
                      <a:pt x="406548" y="413202"/>
                    </a:cubicBezTo>
                    <a:cubicBezTo>
                      <a:pt x="406602" y="413265"/>
                      <a:pt x="406656" y="413326"/>
                      <a:pt x="406712" y="413388"/>
                    </a:cubicBezTo>
                    <a:moveTo>
                      <a:pt x="370514" y="446152"/>
                    </a:moveTo>
                    <a:cubicBezTo>
                      <a:pt x="373753" y="449394"/>
                      <a:pt x="379009" y="449395"/>
                      <a:pt x="382249" y="446155"/>
                    </a:cubicBezTo>
                    <a:cubicBezTo>
                      <a:pt x="385491" y="442916"/>
                      <a:pt x="385493" y="437662"/>
                      <a:pt x="382254" y="434420"/>
                    </a:cubicBezTo>
                    <a:cubicBezTo>
                      <a:pt x="379014" y="431178"/>
                      <a:pt x="373759" y="431176"/>
                      <a:pt x="370517" y="434417"/>
                    </a:cubicBezTo>
                    <a:cubicBezTo>
                      <a:pt x="370517" y="434417"/>
                      <a:pt x="370516" y="434418"/>
                      <a:pt x="370514" y="434420"/>
                    </a:cubicBezTo>
                    <a:cubicBezTo>
                      <a:pt x="367276" y="437660"/>
                      <a:pt x="367276" y="442911"/>
                      <a:pt x="370514" y="446152"/>
                    </a:cubicBezTo>
                    <a:moveTo>
                      <a:pt x="333458" y="478916"/>
                    </a:moveTo>
                    <a:cubicBezTo>
                      <a:pt x="336500" y="481823"/>
                      <a:pt x="341290" y="481823"/>
                      <a:pt x="344332" y="478916"/>
                    </a:cubicBezTo>
                    <a:cubicBezTo>
                      <a:pt x="347313" y="475904"/>
                      <a:pt x="347313" y="471054"/>
                      <a:pt x="344332" y="468042"/>
                    </a:cubicBezTo>
                    <a:cubicBezTo>
                      <a:pt x="341760" y="464637"/>
                      <a:pt x="336916" y="463961"/>
                      <a:pt x="333511" y="466532"/>
                    </a:cubicBezTo>
                    <a:cubicBezTo>
                      <a:pt x="330104" y="469104"/>
                      <a:pt x="329429" y="473949"/>
                      <a:pt x="332000" y="477354"/>
                    </a:cubicBezTo>
                    <a:cubicBezTo>
                      <a:pt x="332226" y="477654"/>
                      <a:pt x="332475" y="477937"/>
                      <a:pt x="332742" y="478201"/>
                    </a:cubicBezTo>
                    <a:moveTo>
                      <a:pt x="296545" y="511680"/>
                    </a:moveTo>
                    <a:cubicBezTo>
                      <a:pt x="299254" y="514446"/>
                      <a:pt x="303693" y="514492"/>
                      <a:pt x="306458" y="511782"/>
                    </a:cubicBezTo>
                    <a:cubicBezTo>
                      <a:pt x="306493" y="511747"/>
                      <a:pt x="306527" y="511715"/>
                      <a:pt x="306560" y="511680"/>
                    </a:cubicBezTo>
                    <a:cubicBezTo>
                      <a:pt x="309381" y="508915"/>
                      <a:pt x="309427" y="504385"/>
                      <a:pt x="306661" y="501563"/>
                    </a:cubicBezTo>
                    <a:cubicBezTo>
                      <a:pt x="303896" y="498742"/>
                      <a:pt x="299366" y="498698"/>
                      <a:pt x="296545" y="501463"/>
                    </a:cubicBezTo>
                    <a:cubicBezTo>
                      <a:pt x="293723" y="504229"/>
                      <a:pt x="293677" y="508757"/>
                      <a:pt x="296443" y="511579"/>
                    </a:cubicBezTo>
                    <a:cubicBezTo>
                      <a:pt x="296477" y="511613"/>
                      <a:pt x="296510" y="511647"/>
                      <a:pt x="296545" y="511680"/>
                    </a:cubicBezTo>
                    <a:moveTo>
                      <a:pt x="259631" y="544444"/>
                    </a:moveTo>
                    <a:cubicBezTo>
                      <a:pt x="262184" y="546915"/>
                      <a:pt x="266236" y="546915"/>
                      <a:pt x="268788" y="544444"/>
                    </a:cubicBezTo>
                    <a:cubicBezTo>
                      <a:pt x="271187" y="541863"/>
                      <a:pt x="271187" y="537869"/>
                      <a:pt x="268788" y="535288"/>
                    </a:cubicBezTo>
                    <a:cubicBezTo>
                      <a:pt x="266417" y="532601"/>
                      <a:pt x="262318" y="532345"/>
                      <a:pt x="259631" y="534715"/>
                    </a:cubicBezTo>
                    <a:cubicBezTo>
                      <a:pt x="256944" y="537086"/>
                      <a:pt x="256688" y="541185"/>
                      <a:pt x="259059" y="543872"/>
                    </a:cubicBezTo>
                    <a:moveTo>
                      <a:pt x="222003" y="576636"/>
                    </a:moveTo>
                    <a:cubicBezTo>
                      <a:pt x="224295" y="578927"/>
                      <a:pt x="228009" y="578925"/>
                      <a:pt x="230298" y="576633"/>
                    </a:cubicBezTo>
                    <a:cubicBezTo>
                      <a:pt x="232589" y="574343"/>
                      <a:pt x="232587" y="570628"/>
                      <a:pt x="230297" y="568338"/>
                    </a:cubicBezTo>
                    <a:cubicBezTo>
                      <a:pt x="228006" y="566049"/>
                      <a:pt x="224293" y="566049"/>
                      <a:pt x="222003" y="568338"/>
                    </a:cubicBezTo>
                    <a:cubicBezTo>
                      <a:pt x="219711" y="570628"/>
                      <a:pt x="219711" y="574343"/>
                      <a:pt x="222000" y="576633"/>
                    </a:cubicBezTo>
                    <a:cubicBezTo>
                      <a:pt x="222001" y="576635"/>
                      <a:pt x="222001" y="576635"/>
                      <a:pt x="222003" y="576636"/>
                    </a:cubicBezTo>
                    <a:moveTo>
                      <a:pt x="185662" y="610402"/>
                    </a:moveTo>
                    <a:cubicBezTo>
                      <a:pt x="187716" y="612482"/>
                      <a:pt x="191068" y="612502"/>
                      <a:pt x="193147" y="610449"/>
                    </a:cubicBezTo>
                    <a:cubicBezTo>
                      <a:pt x="195228" y="608394"/>
                      <a:pt x="195249" y="605042"/>
                      <a:pt x="193194" y="602962"/>
                    </a:cubicBezTo>
                    <a:cubicBezTo>
                      <a:pt x="191140" y="600882"/>
                      <a:pt x="187788" y="600862"/>
                      <a:pt x="185707" y="602915"/>
                    </a:cubicBezTo>
                    <a:cubicBezTo>
                      <a:pt x="185693" y="602930"/>
                      <a:pt x="185677" y="602946"/>
                      <a:pt x="185662" y="602962"/>
                    </a:cubicBezTo>
                    <a:cubicBezTo>
                      <a:pt x="183626" y="605024"/>
                      <a:pt x="183626" y="608340"/>
                      <a:pt x="185662" y="610402"/>
                    </a:cubicBezTo>
                    <a:moveTo>
                      <a:pt x="148748" y="642737"/>
                    </a:moveTo>
                    <a:cubicBezTo>
                      <a:pt x="150581" y="644518"/>
                      <a:pt x="153497" y="644518"/>
                      <a:pt x="155330" y="642737"/>
                    </a:cubicBezTo>
                    <a:cubicBezTo>
                      <a:pt x="157381" y="641127"/>
                      <a:pt x="157738" y="638158"/>
                      <a:pt x="156128" y="636108"/>
                    </a:cubicBezTo>
                    <a:cubicBezTo>
                      <a:pt x="154517" y="634056"/>
                      <a:pt x="151550" y="633699"/>
                      <a:pt x="149498" y="635310"/>
                    </a:cubicBezTo>
                    <a:cubicBezTo>
                      <a:pt x="149335" y="635439"/>
                      <a:pt x="149180" y="635577"/>
                      <a:pt x="149034" y="635726"/>
                    </a:cubicBezTo>
                    <a:cubicBezTo>
                      <a:pt x="147253" y="637559"/>
                      <a:pt x="147253" y="640475"/>
                      <a:pt x="149034" y="642308"/>
                    </a:cubicBezTo>
                    <a:moveTo>
                      <a:pt x="111978" y="675072"/>
                    </a:moveTo>
                    <a:cubicBezTo>
                      <a:pt x="113598" y="676691"/>
                      <a:pt x="116225" y="676691"/>
                      <a:pt x="117844" y="675072"/>
                    </a:cubicBezTo>
                    <a:cubicBezTo>
                      <a:pt x="119371" y="673469"/>
                      <a:pt x="119371" y="670951"/>
                      <a:pt x="117844" y="669349"/>
                    </a:cubicBezTo>
                    <a:cubicBezTo>
                      <a:pt x="116296" y="667768"/>
                      <a:pt x="113759" y="667742"/>
                      <a:pt x="112178" y="669291"/>
                    </a:cubicBezTo>
                    <a:cubicBezTo>
                      <a:pt x="112160" y="669310"/>
                      <a:pt x="112140" y="669329"/>
                      <a:pt x="112121" y="669349"/>
                    </a:cubicBezTo>
                    <a:cubicBezTo>
                      <a:pt x="110540" y="670897"/>
                      <a:pt x="110514" y="673433"/>
                      <a:pt x="112064" y="675014"/>
                    </a:cubicBezTo>
                    <a:cubicBezTo>
                      <a:pt x="112082" y="675033"/>
                      <a:pt x="112101" y="675053"/>
                      <a:pt x="112121" y="675072"/>
                    </a:cubicBezTo>
                    <a:moveTo>
                      <a:pt x="75208" y="707836"/>
                    </a:moveTo>
                    <a:cubicBezTo>
                      <a:pt x="76547" y="709179"/>
                      <a:pt x="78720" y="709184"/>
                      <a:pt x="80064" y="707844"/>
                    </a:cubicBezTo>
                    <a:cubicBezTo>
                      <a:pt x="80067" y="707842"/>
                      <a:pt x="80070" y="707839"/>
                      <a:pt x="80072" y="707836"/>
                    </a:cubicBezTo>
                    <a:cubicBezTo>
                      <a:pt x="81412" y="706492"/>
                      <a:pt x="81407" y="704318"/>
                      <a:pt x="80064" y="702980"/>
                    </a:cubicBezTo>
                    <a:cubicBezTo>
                      <a:pt x="78720" y="701641"/>
                      <a:pt x="76547" y="701645"/>
                      <a:pt x="75208" y="702988"/>
                    </a:cubicBezTo>
                    <a:cubicBezTo>
                      <a:pt x="73873" y="704328"/>
                      <a:pt x="73873" y="706495"/>
                      <a:pt x="75208" y="707836"/>
                    </a:cubicBezTo>
                    <a:moveTo>
                      <a:pt x="38295" y="740600"/>
                    </a:moveTo>
                    <a:cubicBezTo>
                      <a:pt x="39309" y="741706"/>
                      <a:pt x="41029" y="741780"/>
                      <a:pt x="42136" y="740765"/>
                    </a:cubicBezTo>
                    <a:cubicBezTo>
                      <a:pt x="42193" y="740713"/>
                      <a:pt x="42248" y="740657"/>
                      <a:pt x="42301" y="740600"/>
                    </a:cubicBezTo>
                    <a:cubicBezTo>
                      <a:pt x="43391" y="739487"/>
                      <a:pt x="43391" y="737707"/>
                      <a:pt x="42301" y="736594"/>
                    </a:cubicBezTo>
                    <a:cubicBezTo>
                      <a:pt x="41113" y="735554"/>
                      <a:pt x="39339" y="735554"/>
                      <a:pt x="38151" y="736594"/>
                    </a:cubicBezTo>
                    <a:cubicBezTo>
                      <a:pt x="37043" y="737754"/>
                      <a:pt x="37043" y="739583"/>
                      <a:pt x="38151" y="740743"/>
                    </a:cubicBezTo>
                    <a:moveTo>
                      <a:pt x="386539" y="389924"/>
                    </a:moveTo>
                    <a:cubicBezTo>
                      <a:pt x="389781" y="393596"/>
                      <a:pt x="395386" y="393944"/>
                      <a:pt x="399059" y="390702"/>
                    </a:cubicBezTo>
                    <a:cubicBezTo>
                      <a:pt x="402732" y="387460"/>
                      <a:pt x="403081" y="381854"/>
                      <a:pt x="399837" y="378181"/>
                    </a:cubicBezTo>
                    <a:cubicBezTo>
                      <a:pt x="396622" y="374540"/>
                      <a:pt x="391077" y="374161"/>
                      <a:pt x="387397" y="377333"/>
                    </a:cubicBezTo>
                    <a:cubicBezTo>
                      <a:pt x="383730" y="380597"/>
                      <a:pt x="383349" y="386194"/>
                      <a:pt x="386539" y="389924"/>
                    </a:cubicBezTo>
                    <a:moveTo>
                      <a:pt x="349625" y="422688"/>
                    </a:moveTo>
                    <a:cubicBezTo>
                      <a:pt x="352669" y="426114"/>
                      <a:pt x="357914" y="426426"/>
                      <a:pt x="361340" y="423383"/>
                    </a:cubicBezTo>
                    <a:cubicBezTo>
                      <a:pt x="364767" y="420341"/>
                      <a:pt x="365079" y="415096"/>
                      <a:pt x="362036" y="411668"/>
                    </a:cubicBezTo>
                    <a:cubicBezTo>
                      <a:pt x="359000" y="408249"/>
                      <a:pt x="353770" y="407930"/>
                      <a:pt x="350341" y="410956"/>
                    </a:cubicBezTo>
                    <a:cubicBezTo>
                      <a:pt x="346904" y="413987"/>
                      <a:pt x="346576" y="419231"/>
                      <a:pt x="349608" y="422668"/>
                    </a:cubicBezTo>
                    <a:cubicBezTo>
                      <a:pt x="349614" y="422675"/>
                      <a:pt x="349620" y="422682"/>
                      <a:pt x="349625" y="422688"/>
                    </a:cubicBezTo>
                    <a:moveTo>
                      <a:pt x="313284" y="455452"/>
                    </a:moveTo>
                    <a:cubicBezTo>
                      <a:pt x="316287" y="458484"/>
                      <a:pt x="321179" y="458506"/>
                      <a:pt x="324211" y="455505"/>
                    </a:cubicBezTo>
                    <a:cubicBezTo>
                      <a:pt x="327243" y="452502"/>
                      <a:pt x="327266" y="447610"/>
                      <a:pt x="324262" y="444578"/>
                    </a:cubicBezTo>
                    <a:cubicBezTo>
                      <a:pt x="321261" y="441546"/>
                      <a:pt x="316369" y="441523"/>
                      <a:pt x="313337" y="444525"/>
                    </a:cubicBezTo>
                    <a:cubicBezTo>
                      <a:pt x="313319" y="444542"/>
                      <a:pt x="313301" y="444561"/>
                      <a:pt x="313284" y="444578"/>
                    </a:cubicBezTo>
                    <a:cubicBezTo>
                      <a:pt x="310303" y="447590"/>
                      <a:pt x="310303" y="452440"/>
                      <a:pt x="313284" y="455452"/>
                    </a:cubicBezTo>
                    <a:moveTo>
                      <a:pt x="276228" y="488216"/>
                    </a:moveTo>
                    <a:cubicBezTo>
                      <a:pt x="279009" y="490943"/>
                      <a:pt x="283462" y="490943"/>
                      <a:pt x="286243" y="488216"/>
                    </a:cubicBezTo>
                    <a:cubicBezTo>
                      <a:pt x="288953" y="485450"/>
                      <a:pt x="288907" y="481012"/>
                      <a:pt x="286142" y="478302"/>
                    </a:cubicBezTo>
                    <a:cubicBezTo>
                      <a:pt x="283376" y="475592"/>
                      <a:pt x="278938" y="475637"/>
                      <a:pt x="276228" y="478402"/>
                    </a:cubicBezTo>
                    <a:cubicBezTo>
                      <a:pt x="273557" y="481129"/>
                      <a:pt x="273557" y="485490"/>
                      <a:pt x="276228" y="488216"/>
                    </a:cubicBezTo>
                    <a:moveTo>
                      <a:pt x="239315" y="520980"/>
                    </a:moveTo>
                    <a:cubicBezTo>
                      <a:pt x="241843" y="523591"/>
                      <a:pt x="246009" y="523658"/>
                      <a:pt x="248622" y="521130"/>
                    </a:cubicBezTo>
                    <a:cubicBezTo>
                      <a:pt x="251233" y="518601"/>
                      <a:pt x="251299" y="514434"/>
                      <a:pt x="248770" y="511823"/>
                    </a:cubicBezTo>
                    <a:cubicBezTo>
                      <a:pt x="246242" y="509212"/>
                      <a:pt x="242076" y="509145"/>
                      <a:pt x="239465" y="511673"/>
                    </a:cubicBezTo>
                    <a:cubicBezTo>
                      <a:pt x="239413" y="511723"/>
                      <a:pt x="239363" y="511773"/>
                      <a:pt x="239315" y="511823"/>
                    </a:cubicBezTo>
                    <a:cubicBezTo>
                      <a:pt x="236786" y="514323"/>
                      <a:pt x="236764" y="518400"/>
                      <a:pt x="239263" y="520929"/>
                    </a:cubicBezTo>
                    <a:cubicBezTo>
                      <a:pt x="239280" y="520946"/>
                      <a:pt x="239297" y="520963"/>
                      <a:pt x="239315" y="520980"/>
                    </a:cubicBezTo>
                    <a:moveTo>
                      <a:pt x="201829" y="553172"/>
                    </a:moveTo>
                    <a:cubicBezTo>
                      <a:pt x="204160" y="555422"/>
                      <a:pt x="207874" y="555357"/>
                      <a:pt x="210123" y="553025"/>
                    </a:cubicBezTo>
                    <a:cubicBezTo>
                      <a:pt x="212374" y="550694"/>
                      <a:pt x="212308" y="546981"/>
                      <a:pt x="209977" y="544731"/>
                    </a:cubicBezTo>
                    <a:cubicBezTo>
                      <a:pt x="207704" y="542537"/>
                      <a:pt x="204102" y="542537"/>
                      <a:pt x="201829" y="544731"/>
                    </a:cubicBezTo>
                    <a:cubicBezTo>
                      <a:pt x="199520" y="547071"/>
                      <a:pt x="199520" y="550831"/>
                      <a:pt x="201829" y="553172"/>
                    </a:cubicBezTo>
                    <a:moveTo>
                      <a:pt x="164773" y="585793"/>
                    </a:moveTo>
                    <a:cubicBezTo>
                      <a:pt x="166849" y="587852"/>
                      <a:pt x="170201" y="587836"/>
                      <a:pt x="172260" y="585760"/>
                    </a:cubicBezTo>
                    <a:cubicBezTo>
                      <a:pt x="174085" y="583919"/>
                      <a:pt x="174307" y="581024"/>
                      <a:pt x="172785" y="578925"/>
                    </a:cubicBezTo>
                    <a:cubicBezTo>
                      <a:pt x="171068" y="576559"/>
                      <a:pt x="167759" y="576031"/>
                      <a:pt x="165392" y="577748"/>
                    </a:cubicBezTo>
                    <a:cubicBezTo>
                      <a:pt x="163024" y="579465"/>
                      <a:pt x="162498" y="582774"/>
                      <a:pt x="164215" y="585141"/>
                    </a:cubicBezTo>
                    <a:cubicBezTo>
                      <a:pt x="164382" y="585374"/>
                      <a:pt x="164569" y="585591"/>
                      <a:pt x="164773" y="585793"/>
                    </a:cubicBezTo>
                    <a:moveTo>
                      <a:pt x="127287" y="619129"/>
                    </a:moveTo>
                    <a:cubicBezTo>
                      <a:pt x="129292" y="620798"/>
                      <a:pt x="132269" y="620524"/>
                      <a:pt x="133936" y="618520"/>
                    </a:cubicBezTo>
                    <a:cubicBezTo>
                      <a:pt x="135245" y="616946"/>
                      <a:pt x="135391" y="614707"/>
                      <a:pt x="134298" y="612977"/>
                    </a:cubicBezTo>
                    <a:cubicBezTo>
                      <a:pt x="132465" y="611196"/>
                      <a:pt x="129549" y="611196"/>
                      <a:pt x="127716" y="612977"/>
                    </a:cubicBezTo>
                    <a:cubicBezTo>
                      <a:pt x="125899" y="614736"/>
                      <a:pt x="125851" y="617634"/>
                      <a:pt x="127609" y="619451"/>
                    </a:cubicBezTo>
                    <a:cubicBezTo>
                      <a:pt x="127643" y="619487"/>
                      <a:pt x="127681" y="619523"/>
                      <a:pt x="127716" y="619559"/>
                    </a:cubicBezTo>
                    <a:moveTo>
                      <a:pt x="90946" y="651894"/>
                    </a:moveTo>
                    <a:cubicBezTo>
                      <a:pt x="92494" y="653474"/>
                      <a:pt x="95031" y="653500"/>
                      <a:pt x="96612" y="651951"/>
                    </a:cubicBezTo>
                    <a:cubicBezTo>
                      <a:pt x="96630" y="651932"/>
                      <a:pt x="96650" y="651914"/>
                      <a:pt x="96669" y="651894"/>
                    </a:cubicBezTo>
                    <a:cubicBezTo>
                      <a:pt x="98250" y="650345"/>
                      <a:pt x="98276" y="647809"/>
                      <a:pt x="96726" y="646228"/>
                    </a:cubicBezTo>
                    <a:cubicBezTo>
                      <a:pt x="96708" y="646209"/>
                      <a:pt x="96689" y="646189"/>
                      <a:pt x="96669" y="646171"/>
                    </a:cubicBezTo>
                    <a:cubicBezTo>
                      <a:pt x="95121" y="644590"/>
                      <a:pt x="92584" y="644564"/>
                      <a:pt x="91003" y="646113"/>
                    </a:cubicBezTo>
                    <a:cubicBezTo>
                      <a:pt x="90985" y="646132"/>
                      <a:pt x="90965" y="646151"/>
                      <a:pt x="90946" y="646171"/>
                    </a:cubicBezTo>
                    <a:cubicBezTo>
                      <a:pt x="89365" y="647719"/>
                      <a:pt x="89339" y="650255"/>
                      <a:pt x="90889" y="651836"/>
                    </a:cubicBezTo>
                    <a:cubicBezTo>
                      <a:pt x="90907" y="651855"/>
                      <a:pt x="90926" y="651875"/>
                      <a:pt x="90946" y="651894"/>
                    </a:cubicBezTo>
                    <a:moveTo>
                      <a:pt x="53890" y="684658"/>
                    </a:moveTo>
                    <a:cubicBezTo>
                      <a:pt x="55233" y="685997"/>
                      <a:pt x="57406" y="685993"/>
                      <a:pt x="58746" y="684649"/>
                    </a:cubicBezTo>
                    <a:cubicBezTo>
                      <a:pt x="60085" y="683306"/>
                      <a:pt x="60081" y="681132"/>
                      <a:pt x="58737" y="679793"/>
                    </a:cubicBezTo>
                    <a:cubicBezTo>
                      <a:pt x="57398" y="678458"/>
                      <a:pt x="55230" y="678458"/>
                      <a:pt x="53890" y="679793"/>
                    </a:cubicBezTo>
                    <a:cubicBezTo>
                      <a:pt x="52546" y="681132"/>
                      <a:pt x="52542" y="683306"/>
                      <a:pt x="53881" y="684649"/>
                    </a:cubicBezTo>
                    <a:cubicBezTo>
                      <a:pt x="53884" y="684652"/>
                      <a:pt x="53887" y="684655"/>
                      <a:pt x="53890" y="684658"/>
                    </a:cubicBezTo>
                    <a:moveTo>
                      <a:pt x="16976" y="717422"/>
                    </a:moveTo>
                    <a:cubicBezTo>
                      <a:pt x="18082" y="718551"/>
                      <a:pt x="19894" y="718569"/>
                      <a:pt x="21023" y="717462"/>
                    </a:cubicBezTo>
                    <a:cubicBezTo>
                      <a:pt x="22151" y="716356"/>
                      <a:pt x="22170" y="714545"/>
                      <a:pt x="21064" y="713416"/>
                    </a:cubicBezTo>
                    <a:cubicBezTo>
                      <a:pt x="19957" y="712287"/>
                      <a:pt x="18145" y="712270"/>
                      <a:pt x="17016" y="713376"/>
                    </a:cubicBezTo>
                    <a:cubicBezTo>
                      <a:pt x="17004" y="713388"/>
                      <a:pt x="16989" y="713403"/>
                      <a:pt x="16976" y="713416"/>
                    </a:cubicBezTo>
                    <a:cubicBezTo>
                      <a:pt x="15870" y="714432"/>
                      <a:pt x="15796" y="716150"/>
                      <a:pt x="16812" y="717257"/>
                    </a:cubicBezTo>
                    <a:cubicBezTo>
                      <a:pt x="16863" y="717315"/>
                      <a:pt x="16919" y="717369"/>
                      <a:pt x="16976" y="717422"/>
                    </a:cubicBezTo>
                    <a:moveTo>
                      <a:pt x="490840" y="507531"/>
                    </a:moveTo>
                    <a:cubicBezTo>
                      <a:pt x="494291" y="511008"/>
                      <a:pt x="499908" y="511028"/>
                      <a:pt x="503385" y="507577"/>
                    </a:cubicBezTo>
                    <a:cubicBezTo>
                      <a:pt x="503401" y="507561"/>
                      <a:pt x="503415" y="507547"/>
                      <a:pt x="503431" y="507531"/>
                    </a:cubicBezTo>
                    <a:cubicBezTo>
                      <a:pt x="506882" y="504054"/>
                      <a:pt x="506862" y="498437"/>
                      <a:pt x="503385" y="494986"/>
                    </a:cubicBezTo>
                    <a:cubicBezTo>
                      <a:pt x="499908" y="491535"/>
                      <a:pt x="494291" y="491555"/>
                      <a:pt x="490840" y="495032"/>
                    </a:cubicBezTo>
                    <a:cubicBezTo>
                      <a:pt x="487406" y="498490"/>
                      <a:pt x="487406" y="504071"/>
                      <a:pt x="490840" y="507531"/>
                    </a:cubicBezTo>
                    <a:moveTo>
                      <a:pt x="453927" y="540295"/>
                    </a:moveTo>
                    <a:cubicBezTo>
                      <a:pt x="456632" y="543995"/>
                      <a:pt x="461825" y="544801"/>
                      <a:pt x="465523" y="542095"/>
                    </a:cubicBezTo>
                    <a:cubicBezTo>
                      <a:pt x="469223" y="539390"/>
                      <a:pt x="470028" y="534197"/>
                      <a:pt x="467323" y="530499"/>
                    </a:cubicBezTo>
                    <a:cubicBezTo>
                      <a:pt x="467001" y="530057"/>
                      <a:pt x="466635" y="529648"/>
                      <a:pt x="466231" y="529278"/>
                    </a:cubicBezTo>
                    <a:cubicBezTo>
                      <a:pt x="463526" y="525579"/>
                      <a:pt x="458334" y="524773"/>
                      <a:pt x="454635" y="527479"/>
                    </a:cubicBezTo>
                    <a:cubicBezTo>
                      <a:pt x="450935" y="530184"/>
                      <a:pt x="450130" y="535376"/>
                      <a:pt x="452835" y="539075"/>
                    </a:cubicBezTo>
                    <a:cubicBezTo>
                      <a:pt x="453157" y="539517"/>
                      <a:pt x="453523" y="539926"/>
                      <a:pt x="453927" y="540295"/>
                    </a:cubicBezTo>
                    <a:moveTo>
                      <a:pt x="416870" y="573059"/>
                    </a:moveTo>
                    <a:cubicBezTo>
                      <a:pt x="419882" y="576041"/>
                      <a:pt x="424732" y="576041"/>
                      <a:pt x="427744" y="573059"/>
                    </a:cubicBezTo>
                    <a:cubicBezTo>
                      <a:pt x="430651" y="570018"/>
                      <a:pt x="430651" y="565227"/>
                      <a:pt x="427744" y="562186"/>
                    </a:cubicBezTo>
                    <a:cubicBezTo>
                      <a:pt x="424732" y="559204"/>
                      <a:pt x="419882" y="559204"/>
                      <a:pt x="416870" y="562186"/>
                    </a:cubicBezTo>
                    <a:cubicBezTo>
                      <a:pt x="413963" y="565227"/>
                      <a:pt x="413963" y="570018"/>
                      <a:pt x="416870" y="573059"/>
                    </a:cubicBezTo>
                    <a:moveTo>
                      <a:pt x="379957" y="605823"/>
                    </a:moveTo>
                    <a:cubicBezTo>
                      <a:pt x="382723" y="608645"/>
                      <a:pt x="387253" y="608691"/>
                      <a:pt x="390074" y="605925"/>
                    </a:cubicBezTo>
                    <a:cubicBezTo>
                      <a:pt x="392895" y="603159"/>
                      <a:pt x="392940" y="598630"/>
                      <a:pt x="390174" y="595808"/>
                    </a:cubicBezTo>
                    <a:cubicBezTo>
                      <a:pt x="387409" y="592987"/>
                      <a:pt x="382880" y="592941"/>
                      <a:pt x="380059" y="595707"/>
                    </a:cubicBezTo>
                    <a:cubicBezTo>
                      <a:pt x="380024" y="595741"/>
                      <a:pt x="379990" y="595774"/>
                      <a:pt x="379957" y="595808"/>
                    </a:cubicBezTo>
                    <a:cubicBezTo>
                      <a:pt x="377230" y="598590"/>
                      <a:pt x="377230" y="603042"/>
                      <a:pt x="379957" y="605823"/>
                    </a:cubicBezTo>
                    <a:moveTo>
                      <a:pt x="342901" y="639017"/>
                    </a:moveTo>
                    <a:cubicBezTo>
                      <a:pt x="345482" y="641416"/>
                      <a:pt x="349476" y="641416"/>
                      <a:pt x="352058" y="639017"/>
                    </a:cubicBezTo>
                    <a:cubicBezTo>
                      <a:pt x="354745" y="636646"/>
                      <a:pt x="355001" y="632547"/>
                      <a:pt x="352630" y="629860"/>
                    </a:cubicBezTo>
                    <a:cubicBezTo>
                      <a:pt x="350259" y="627173"/>
                      <a:pt x="346160" y="626917"/>
                      <a:pt x="343473" y="629288"/>
                    </a:cubicBezTo>
                    <a:cubicBezTo>
                      <a:pt x="341074" y="631869"/>
                      <a:pt x="341074" y="635863"/>
                      <a:pt x="343473" y="638444"/>
                    </a:cubicBezTo>
                    <a:moveTo>
                      <a:pt x="306560" y="671209"/>
                    </a:moveTo>
                    <a:cubicBezTo>
                      <a:pt x="308733" y="673658"/>
                      <a:pt x="312480" y="673883"/>
                      <a:pt x="314930" y="671709"/>
                    </a:cubicBezTo>
                    <a:cubicBezTo>
                      <a:pt x="317379" y="669536"/>
                      <a:pt x="317604" y="665789"/>
                      <a:pt x="315430" y="663339"/>
                    </a:cubicBezTo>
                    <a:cubicBezTo>
                      <a:pt x="313253" y="661048"/>
                      <a:pt x="309632" y="660954"/>
                      <a:pt x="307340" y="663132"/>
                    </a:cubicBezTo>
                    <a:cubicBezTo>
                      <a:pt x="307268" y="663199"/>
                      <a:pt x="307199" y="663268"/>
                      <a:pt x="307132" y="663339"/>
                    </a:cubicBezTo>
                    <a:cubicBezTo>
                      <a:pt x="304840" y="665630"/>
                      <a:pt x="304840" y="669344"/>
                      <a:pt x="307129" y="671635"/>
                    </a:cubicBezTo>
                    <a:cubicBezTo>
                      <a:pt x="307131" y="671636"/>
                      <a:pt x="307131" y="671636"/>
                      <a:pt x="307132" y="671638"/>
                    </a:cubicBezTo>
                    <a:moveTo>
                      <a:pt x="270219" y="704402"/>
                    </a:moveTo>
                    <a:cubicBezTo>
                      <a:pt x="272280" y="706438"/>
                      <a:pt x="275597" y="706438"/>
                      <a:pt x="277659" y="704402"/>
                    </a:cubicBezTo>
                    <a:cubicBezTo>
                      <a:pt x="279871" y="702466"/>
                      <a:pt x="280095" y="699103"/>
                      <a:pt x="278159" y="696891"/>
                    </a:cubicBezTo>
                    <a:cubicBezTo>
                      <a:pt x="276224" y="694679"/>
                      <a:pt x="272860" y="694454"/>
                      <a:pt x="270648" y="696390"/>
                    </a:cubicBezTo>
                    <a:cubicBezTo>
                      <a:pt x="268595" y="698500"/>
                      <a:pt x="268595" y="701862"/>
                      <a:pt x="270648" y="703973"/>
                    </a:cubicBezTo>
                    <a:moveTo>
                      <a:pt x="233592" y="736594"/>
                    </a:moveTo>
                    <a:cubicBezTo>
                      <a:pt x="235423" y="738451"/>
                      <a:pt x="238412" y="738472"/>
                      <a:pt x="240269" y="736641"/>
                    </a:cubicBezTo>
                    <a:cubicBezTo>
                      <a:pt x="240285" y="736625"/>
                      <a:pt x="240300" y="736610"/>
                      <a:pt x="240316" y="736594"/>
                    </a:cubicBezTo>
                    <a:cubicBezTo>
                      <a:pt x="242148" y="734737"/>
                      <a:pt x="242126" y="731748"/>
                      <a:pt x="240269" y="729917"/>
                    </a:cubicBezTo>
                    <a:cubicBezTo>
                      <a:pt x="238412" y="728087"/>
                      <a:pt x="235423" y="728108"/>
                      <a:pt x="233592" y="729964"/>
                    </a:cubicBezTo>
                    <a:cubicBezTo>
                      <a:pt x="231779" y="731802"/>
                      <a:pt x="231779" y="734755"/>
                      <a:pt x="233592" y="736594"/>
                    </a:cubicBezTo>
                    <a:moveTo>
                      <a:pt x="196678" y="769358"/>
                    </a:moveTo>
                    <a:cubicBezTo>
                      <a:pt x="198259" y="770906"/>
                      <a:pt x="200795" y="770880"/>
                      <a:pt x="202344" y="769301"/>
                    </a:cubicBezTo>
                    <a:cubicBezTo>
                      <a:pt x="203892" y="767720"/>
                      <a:pt x="203866" y="765183"/>
                      <a:pt x="202285" y="763635"/>
                    </a:cubicBezTo>
                    <a:cubicBezTo>
                      <a:pt x="200729" y="762108"/>
                      <a:pt x="198236" y="762108"/>
                      <a:pt x="196678" y="763635"/>
                    </a:cubicBezTo>
                    <a:cubicBezTo>
                      <a:pt x="195152" y="765237"/>
                      <a:pt x="195152" y="767756"/>
                      <a:pt x="196678" y="769358"/>
                    </a:cubicBezTo>
                    <a:moveTo>
                      <a:pt x="159765" y="802122"/>
                    </a:moveTo>
                    <a:cubicBezTo>
                      <a:pt x="161108" y="803461"/>
                      <a:pt x="163282" y="803457"/>
                      <a:pt x="164621" y="802113"/>
                    </a:cubicBezTo>
                    <a:cubicBezTo>
                      <a:pt x="165960" y="800770"/>
                      <a:pt x="165956" y="798597"/>
                      <a:pt x="164612" y="797258"/>
                    </a:cubicBezTo>
                    <a:cubicBezTo>
                      <a:pt x="163273" y="795923"/>
                      <a:pt x="161106" y="795923"/>
                      <a:pt x="159765" y="797258"/>
                    </a:cubicBezTo>
                    <a:cubicBezTo>
                      <a:pt x="158422" y="798597"/>
                      <a:pt x="158417" y="800770"/>
                      <a:pt x="159756" y="802113"/>
                    </a:cubicBezTo>
                    <a:cubicBezTo>
                      <a:pt x="159759" y="802116"/>
                      <a:pt x="159762" y="802119"/>
                      <a:pt x="159765" y="802122"/>
                    </a:cubicBezTo>
                    <a:moveTo>
                      <a:pt x="470667" y="483924"/>
                    </a:moveTo>
                    <a:cubicBezTo>
                      <a:pt x="473856" y="487644"/>
                      <a:pt x="479456" y="488074"/>
                      <a:pt x="483174" y="484885"/>
                    </a:cubicBezTo>
                    <a:cubicBezTo>
                      <a:pt x="486894" y="481697"/>
                      <a:pt x="487325" y="476098"/>
                      <a:pt x="484137" y="472378"/>
                    </a:cubicBezTo>
                    <a:cubicBezTo>
                      <a:pt x="484083" y="472315"/>
                      <a:pt x="484028" y="472253"/>
                      <a:pt x="483973" y="472192"/>
                    </a:cubicBezTo>
                    <a:cubicBezTo>
                      <a:pt x="480682" y="468562"/>
                      <a:pt x="475072" y="468288"/>
                      <a:pt x="471442" y="471579"/>
                    </a:cubicBezTo>
                    <a:cubicBezTo>
                      <a:pt x="467885" y="474806"/>
                      <a:pt x="467540" y="480277"/>
                      <a:pt x="470667" y="483924"/>
                    </a:cubicBezTo>
                    <a:moveTo>
                      <a:pt x="433753" y="516688"/>
                    </a:moveTo>
                    <a:cubicBezTo>
                      <a:pt x="436752" y="520155"/>
                      <a:pt x="441992" y="520532"/>
                      <a:pt x="445458" y="517535"/>
                    </a:cubicBezTo>
                    <a:cubicBezTo>
                      <a:pt x="448925" y="514536"/>
                      <a:pt x="449304" y="509295"/>
                      <a:pt x="446305" y="505830"/>
                    </a:cubicBezTo>
                    <a:cubicBezTo>
                      <a:pt x="443306" y="502363"/>
                      <a:pt x="438066" y="501984"/>
                      <a:pt x="434600" y="504983"/>
                    </a:cubicBezTo>
                    <a:cubicBezTo>
                      <a:pt x="434556" y="505022"/>
                      <a:pt x="434512" y="505060"/>
                      <a:pt x="434469" y="505099"/>
                    </a:cubicBezTo>
                    <a:cubicBezTo>
                      <a:pt x="431073" y="508059"/>
                      <a:pt x="430720" y="513210"/>
                      <a:pt x="433680" y="516605"/>
                    </a:cubicBezTo>
                    <a:cubicBezTo>
                      <a:pt x="433705" y="516633"/>
                      <a:pt x="433729" y="516661"/>
                      <a:pt x="433753" y="516688"/>
                    </a:cubicBezTo>
                    <a:moveTo>
                      <a:pt x="396840" y="549452"/>
                    </a:moveTo>
                    <a:cubicBezTo>
                      <a:pt x="399687" y="552415"/>
                      <a:pt x="404396" y="552510"/>
                      <a:pt x="407359" y="549664"/>
                    </a:cubicBezTo>
                    <a:cubicBezTo>
                      <a:pt x="407432" y="549594"/>
                      <a:pt x="407502" y="549524"/>
                      <a:pt x="407571" y="549452"/>
                    </a:cubicBezTo>
                    <a:cubicBezTo>
                      <a:pt x="410764" y="546744"/>
                      <a:pt x="411157" y="541958"/>
                      <a:pt x="408449" y="538764"/>
                    </a:cubicBezTo>
                    <a:cubicBezTo>
                      <a:pt x="408396" y="538701"/>
                      <a:pt x="408342" y="538640"/>
                      <a:pt x="408286" y="538578"/>
                    </a:cubicBezTo>
                    <a:cubicBezTo>
                      <a:pt x="405440" y="535462"/>
                      <a:pt x="400643" y="535147"/>
                      <a:pt x="397412" y="537863"/>
                    </a:cubicBezTo>
                    <a:cubicBezTo>
                      <a:pt x="394431" y="540875"/>
                      <a:pt x="394431" y="545725"/>
                      <a:pt x="397412" y="548737"/>
                    </a:cubicBezTo>
                    <a:moveTo>
                      <a:pt x="359068" y="581787"/>
                    </a:moveTo>
                    <a:cubicBezTo>
                      <a:pt x="361834" y="584497"/>
                      <a:pt x="366272" y="584451"/>
                      <a:pt x="368982" y="581685"/>
                    </a:cubicBezTo>
                    <a:cubicBezTo>
                      <a:pt x="371692" y="578920"/>
                      <a:pt x="371647" y="574481"/>
                      <a:pt x="368882" y="571772"/>
                    </a:cubicBezTo>
                    <a:cubicBezTo>
                      <a:pt x="366155" y="569100"/>
                      <a:pt x="361794" y="569100"/>
                      <a:pt x="359068" y="571772"/>
                    </a:cubicBezTo>
                    <a:cubicBezTo>
                      <a:pt x="356341" y="574553"/>
                      <a:pt x="356341" y="579006"/>
                      <a:pt x="359068" y="581787"/>
                    </a:cubicBezTo>
                    <a:moveTo>
                      <a:pt x="322155" y="614551"/>
                    </a:moveTo>
                    <a:cubicBezTo>
                      <a:pt x="324654" y="617079"/>
                      <a:pt x="328732" y="617102"/>
                      <a:pt x="331260" y="614602"/>
                    </a:cubicBezTo>
                    <a:cubicBezTo>
                      <a:pt x="331277" y="614585"/>
                      <a:pt x="331295" y="614568"/>
                      <a:pt x="331312" y="614551"/>
                    </a:cubicBezTo>
                    <a:cubicBezTo>
                      <a:pt x="333999" y="612180"/>
                      <a:pt x="334255" y="608081"/>
                      <a:pt x="331884" y="605394"/>
                    </a:cubicBezTo>
                    <a:cubicBezTo>
                      <a:pt x="329513" y="602707"/>
                      <a:pt x="325414" y="602451"/>
                      <a:pt x="322727" y="604822"/>
                    </a:cubicBezTo>
                    <a:cubicBezTo>
                      <a:pt x="320199" y="607321"/>
                      <a:pt x="320176" y="611399"/>
                      <a:pt x="322676" y="613927"/>
                    </a:cubicBezTo>
                    <a:cubicBezTo>
                      <a:pt x="322693" y="613944"/>
                      <a:pt x="322710" y="613962"/>
                      <a:pt x="322727" y="613979"/>
                    </a:cubicBezTo>
                    <a:moveTo>
                      <a:pt x="284669" y="647744"/>
                    </a:moveTo>
                    <a:cubicBezTo>
                      <a:pt x="286961" y="650035"/>
                      <a:pt x="290676" y="650034"/>
                      <a:pt x="292965" y="647741"/>
                    </a:cubicBezTo>
                    <a:cubicBezTo>
                      <a:pt x="295255" y="645451"/>
                      <a:pt x="295254" y="641737"/>
                      <a:pt x="292963" y="639446"/>
                    </a:cubicBezTo>
                    <a:cubicBezTo>
                      <a:pt x="290673" y="637157"/>
                      <a:pt x="286960" y="637157"/>
                      <a:pt x="284669" y="639446"/>
                    </a:cubicBezTo>
                    <a:cubicBezTo>
                      <a:pt x="282377" y="641737"/>
                      <a:pt x="282377" y="645451"/>
                      <a:pt x="284666" y="647741"/>
                    </a:cubicBezTo>
                    <a:cubicBezTo>
                      <a:pt x="284668" y="647743"/>
                      <a:pt x="284668" y="647743"/>
                      <a:pt x="284669" y="647744"/>
                    </a:cubicBezTo>
                    <a:moveTo>
                      <a:pt x="248185" y="680509"/>
                    </a:moveTo>
                    <a:cubicBezTo>
                      <a:pt x="250330" y="682496"/>
                      <a:pt x="253679" y="682368"/>
                      <a:pt x="255667" y="680224"/>
                    </a:cubicBezTo>
                    <a:cubicBezTo>
                      <a:pt x="257389" y="678364"/>
                      <a:pt x="257552" y="675544"/>
                      <a:pt x="256054" y="673498"/>
                    </a:cubicBezTo>
                    <a:cubicBezTo>
                      <a:pt x="254327" y="671139"/>
                      <a:pt x="251014" y="670628"/>
                      <a:pt x="248656" y="672355"/>
                    </a:cubicBezTo>
                    <a:cubicBezTo>
                      <a:pt x="246297" y="674082"/>
                      <a:pt x="245784" y="677394"/>
                      <a:pt x="247513" y="679753"/>
                    </a:cubicBezTo>
                    <a:cubicBezTo>
                      <a:pt x="247712" y="680026"/>
                      <a:pt x="247938" y="680278"/>
                      <a:pt x="248185" y="680509"/>
                    </a:cubicBezTo>
                    <a:moveTo>
                      <a:pt x="211272" y="713273"/>
                    </a:moveTo>
                    <a:cubicBezTo>
                      <a:pt x="213030" y="715090"/>
                      <a:pt x="215929" y="715138"/>
                      <a:pt x="217746" y="713380"/>
                    </a:cubicBezTo>
                    <a:cubicBezTo>
                      <a:pt x="217782" y="713346"/>
                      <a:pt x="217818" y="713310"/>
                      <a:pt x="217853" y="713273"/>
                    </a:cubicBezTo>
                    <a:cubicBezTo>
                      <a:pt x="219635" y="711440"/>
                      <a:pt x="219635" y="708524"/>
                      <a:pt x="217853" y="706691"/>
                    </a:cubicBezTo>
                    <a:cubicBezTo>
                      <a:pt x="216460" y="704486"/>
                      <a:pt x="213544" y="703830"/>
                      <a:pt x="211339" y="705223"/>
                    </a:cubicBezTo>
                    <a:cubicBezTo>
                      <a:pt x="209136" y="706615"/>
                      <a:pt x="208478" y="709533"/>
                      <a:pt x="209871" y="711736"/>
                    </a:cubicBezTo>
                    <a:cubicBezTo>
                      <a:pt x="210135" y="712154"/>
                      <a:pt x="210464" y="712527"/>
                      <a:pt x="210843" y="712843"/>
                    </a:cubicBezTo>
                    <a:moveTo>
                      <a:pt x="173786" y="745607"/>
                    </a:moveTo>
                    <a:cubicBezTo>
                      <a:pt x="175406" y="747227"/>
                      <a:pt x="178033" y="747227"/>
                      <a:pt x="179652" y="745607"/>
                    </a:cubicBezTo>
                    <a:cubicBezTo>
                      <a:pt x="181179" y="744005"/>
                      <a:pt x="181179" y="741487"/>
                      <a:pt x="179652" y="739885"/>
                    </a:cubicBezTo>
                    <a:cubicBezTo>
                      <a:pt x="178219" y="738304"/>
                      <a:pt x="175777" y="738185"/>
                      <a:pt x="174196" y="739618"/>
                    </a:cubicBezTo>
                    <a:cubicBezTo>
                      <a:pt x="174103" y="739703"/>
                      <a:pt x="174014" y="739792"/>
                      <a:pt x="173929" y="739885"/>
                    </a:cubicBezTo>
                    <a:cubicBezTo>
                      <a:pt x="172348" y="741433"/>
                      <a:pt x="172323" y="743969"/>
                      <a:pt x="173872" y="745550"/>
                    </a:cubicBezTo>
                    <a:cubicBezTo>
                      <a:pt x="173891" y="745569"/>
                      <a:pt x="173909" y="745589"/>
                      <a:pt x="173929" y="745607"/>
                    </a:cubicBezTo>
                    <a:moveTo>
                      <a:pt x="137302" y="778801"/>
                    </a:moveTo>
                    <a:cubicBezTo>
                      <a:pt x="138646" y="780140"/>
                      <a:pt x="140819" y="780136"/>
                      <a:pt x="142158" y="778792"/>
                    </a:cubicBezTo>
                    <a:cubicBezTo>
                      <a:pt x="143497" y="777449"/>
                      <a:pt x="143493" y="775275"/>
                      <a:pt x="142150" y="773936"/>
                    </a:cubicBezTo>
                    <a:cubicBezTo>
                      <a:pt x="140810" y="772601"/>
                      <a:pt x="138643" y="772601"/>
                      <a:pt x="137302" y="773936"/>
                    </a:cubicBezTo>
                    <a:cubicBezTo>
                      <a:pt x="135959" y="775275"/>
                      <a:pt x="135955" y="777449"/>
                      <a:pt x="137294" y="778792"/>
                    </a:cubicBezTo>
                    <a:cubicBezTo>
                      <a:pt x="137297" y="778795"/>
                      <a:pt x="137299" y="778798"/>
                      <a:pt x="137302" y="778801"/>
                    </a:cubicBezTo>
                    <a:moveTo>
                      <a:pt x="449205" y="460459"/>
                    </a:moveTo>
                    <a:cubicBezTo>
                      <a:pt x="452585" y="463896"/>
                      <a:pt x="458110" y="463943"/>
                      <a:pt x="461547" y="460565"/>
                    </a:cubicBezTo>
                    <a:cubicBezTo>
                      <a:pt x="461583" y="460530"/>
                      <a:pt x="461619" y="460495"/>
                      <a:pt x="461653" y="460459"/>
                    </a:cubicBezTo>
                    <a:cubicBezTo>
                      <a:pt x="465301" y="457246"/>
                      <a:pt x="465685" y="451695"/>
                      <a:pt x="462511" y="448012"/>
                    </a:cubicBezTo>
                    <a:cubicBezTo>
                      <a:pt x="459248" y="444345"/>
                      <a:pt x="453651" y="443964"/>
                      <a:pt x="449921" y="447153"/>
                    </a:cubicBezTo>
                    <a:cubicBezTo>
                      <a:pt x="446444" y="450604"/>
                      <a:pt x="446424" y="456222"/>
                      <a:pt x="449875" y="459698"/>
                    </a:cubicBezTo>
                    <a:cubicBezTo>
                      <a:pt x="449891" y="459714"/>
                      <a:pt x="449905" y="459728"/>
                      <a:pt x="449921" y="459744"/>
                    </a:cubicBezTo>
                    <a:moveTo>
                      <a:pt x="412864" y="492508"/>
                    </a:moveTo>
                    <a:cubicBezTo>
                      <a:pt x="415686" y="496121"/>
                      <a:pt x="420901" y="496762"/>
                      <a:pt x="424512" y="493940"/>
                    </a:cubicBezTo>
                    <a:cubicBezTo>
                      <a:pt x="428125" y="491120"/>
                      <a:pt x="428766" y="485905"/>
                      <a:pt x="425944" y="482293"/>
                    </a:cubicBezTo>
                    <a:cubicBezTo>
                      <a:pt x="423124" y="478681"/>
                      <a:pt x="417909" y="478039"/>
                      <a:pt x="414297" y="480860"/>
                    </a:cubicBezTo>
                    <a:cubicBezTo>
                      <a:pt x="413992" y="481098"/>
                      <a:pt x="413706" y="481357"/>
                      <a:pt x="413437" y="481635"/>
                    </a:cubicBezTo>
                    <a:cubicBezTo>
                      <a:pt x="410000" y="484666"/>
                      <a:pt x="409672" y="489910"/>
                      <a:pt x="412704" y="493347"/>
                    </a:cubicBezTo>
                    <a:cubicBezTo>
                      <a:pt x="412710" y="493354"/>
                      <a:pt x="412716" y="493359"/>
                      <a:pt x="412721" y="493367"/>
                    </a:cubicBezTo>
                    <a:moveTo>
                      <a:pt x="375236" y="525988"/>
                    </a:moveTo>
                    <a:cubicBezTo>
                      <a:pt x="378277" y="528895"/>
                      <a:pt x="383068" y="528895"/>
                      <a:pt x="386109" y="525988"/>
                    </a:cubicBezTo>
                    <a:cubicBezTo>
                      <a:pt x="389091" y="522976"/>
                      <a:pt x="389091" y="518126"/>
                      <a:pt x="386109" y="515114"/>
                    </a:cubicBezTo>
                    <a:cubicBezTo>
                      <a:pt x="383191" y="512111"/>
                      <a:pt x="378389" y="512044"/>
                      <a:pt x="375386" y="514964"/>
                    </a:cubicBezTo>
                    <a:cubicBezTo>
                      <a:pt x="375336" y="515012"/>
                      <a:pt x="375286" y="515062"/>
                      <a:pt x="375236" y="515114"/>
                    </a:cubicBezTo>
                    <a:cubicBezTo>
                      <a:pt x="372254" y="518126"/>
                      <a:pt x="372254" y="522976"/>
                      <a:pt x="375236" y="525988"/>
                    </a:cubicBezTo>
                    <a:moveTo>
                      <a:pt x="338179" y="558752"/>
                    </a:moveTo>
                    <a:cubicBezTo>
                      <a:pt x="340961" y="561479"/>
                      <a:pt x="345413" y="561479"/>
                      <a:pt x="348195" y="558752"/>
                    </a:cubicBezTo>
                    <a:cubicBezTo>
                      <a:pt x="351153" y="556254"/>
                      <a:pt x="351525" y="551830"/>
                      <a:pt x="349027" y="548873"/>
                    </a:cubicBezTo>
                    <a:cubicBezTo>
                      <a:pt x="348989" y="548827"/>
                      <a:pt x="348950" y="548781"/>
                      <a:pt x="348910" y="548737"/>
                    </a:cubicBezTo>
                    <a:cubicBezTo>
                      <a:pt x="346129" y="546010"/>
                      <a:pt x="341676" y="546010"/>
                      <a:pt x="338895" y="548737"/>
                    </a:cubicBezTo>
                    <a:cubicBezTo>
                      <a:pt x="336129" y="551446"/>
                      <a:pt x="336083" y="555885"/>
                      <a:pt x="338793" y="558650"/>
                    </a:cubicBezTo>
                    <a:cubicBezTo>
                      <a:pt x="338827" y="558685"/>
                      <a:pt x="338860" y="558719"/>
                      <a:pt x="338895" y="558752"/>
                    </a:cubicBezTo>
                    <a:moveTo>
                      <a:pt x="301981" y="591516"/>
                    </a:moveTo>
                    <a:cubicBezTo>
                      <a:pt x="304534" y="593987"/>
                      <a:pt x="308586" y="593987"/>
                      <a:pt x="311138" y="591516"/>
                    </a:cubicBezTo>
                    <a:cubicBezTo>
                      <a:pt x="313825" y="589145"/>
                      <a:pt x="314081" y="585046"/>
                      <a:pt x="311710" y="582359"/>
                    </a:cubicBezTo>
                    <a:cubicBezTo>
                      <a:pt x="309340" y="579672"/>
                      <a:pt x="305241" y="579416"/>
                      <a:pt x="302554" y="581787"/>
                    </a:cubicBezTo>
                    <a:cubicBezTo>
                      <a:pt x="300083" y="584339"/>
                      <a:pt x="300083" y="588391"/>
                      <a:pt x="302554" y="590944"/>
                    </a:cubicBezTo>
                    <a:moveTo>
                      <a:pt x="264353" y="624709"/>
                    </a:moveTo>
                    <a:cubicBezTo>
                      <a:pt x="266645" y="627000"/>
                      <a:pt x="270359" y="626999"/>
                      <a:pt x="272648" y="624706"/>
                    </a:cubicBezTo>
                    <a:cubicBezTo>
                      <a:pt x="274939" y="622416"/>
                      <a:pt x="274937" y="618702"/>
                      <a:pt x="272647" y="616411"/>
                    </a:cubicBezTo>
                    <a:cubicBezTo>
                      <a:pt x="270356" y="614122"/>
                      <a:pt x="266643" y="614122"/>
                      <a:pt x="264353" y="616411"/>
                    </a:cubicBezTo>
                    <a:cubicBezTo>
                      <a:pt x="262061" y="618702"/>
                      <a:pt x="262061" y="622416"/>
                      <a:pt x="264350" y="624706"/>
                    </a:cubicBezTo>
                    <a:cubicBezTo>
                      <a:pt x="264351" y="624708"/>
                      <a:pt x="264351" y="624708"/>
                      <a:pt x="264353" y="624709"/>
                    </a:cubicBezTo>
                    <a:moveTo>
                      <a:pt x="227439" y="657044"/>
                    </a:moveTo>
                    <a:cubicBezTo>
                      <a:pt x="229578" y="659026"/>
                      <a:pt x="232883" y="659026"/>
                      <a:pt x="235022" y="657044"/>
                    </a:cubicBezTo>
                    <a:cubicBezTo>
                      <a:pt x="236985" y="654952"/>
                      <a:pt x="236985" y="651696"/>
                      <a:pt x="235022" y="649604"/>
                    </a:cubicBezTo>
                    <a:cubicBezTo>
                      <a:pt x="233087" y="647392"/>
                      <a:pt x="229723" y="647168"/>
                      <a:pt x="227511" y="649104"/>
                    </a:cubicBezTo>
                    <a:cubicBezTo>
                      <a:pt x="225299" y="651039"/>
                      <a:pt x="225074" y="654403"/>
                      <a:pt x="227010" y="656615"/>
                    </a:cubicBezTo>
                    <a:moveTo>
                      <a:pt x="190097" y="689379"/>
                    </a:moveTo>
                    <a:cubicBezTo>
                      <a:pt x="191930" y="691160"/>
                      <a:pt x="194846" y="691160"/>
                      <a:pt x="196678" y="689379"/>
                    </a:cubicBezTo>
                    <a:cubicBezTo>
                      <a:pt x="198495" y="687621"/>
                      <a:pt x="198544" y="684722"/>
                      <a:pt x="196786" y="682905"/>
                    </a:cubicBezTo>
                    <a:cubicBezTo>
                      <a:pt x="196751" y="682869"/>
                      <a:pt x="196714" y="682833"/>
                      <a:pt x="196678" y="682798"/>
                    </a:cubicBezTo>
                    <a:cubicBezTo>
                      <a:pt x="194846" y="681016"/>
                      <a:pt x="191930" y="681016"/>
                      <a:pt x="190097" y="682798"/>
                    </a:cubicBezTo>
                    <a:cubicBezTo>
                      <a:pt x="188280" y="684556"/>
                      <a:pt x="188231" y="687455"/>
                      <a:pt x="189990" y="689272"/>
                    </a:cubicBezTo>
                    <a:cubicBezTo>
                      <a:pt x="190024" y="689308"/>
                      <a:pt x="190061" y="689343"/>
                      <a:pt x="190097" y="689379"/>
                    </a:cubicBezTo>
                    <a:moveTo>
                      <a:pt x="153184" y="722143"/>
                    </a:moveTo>
                    <a:cubicBezTo>
                      <a:pt x="154786" y="723670"/>
                      <a:pt x="157304" y="723670"/>
                      <a:pt x="158907" y="722143"/>
                    </a:cubicBezTo>
                    <a:cubicBezTo>
                      <a:pt x="160488" y="720710"/>
                      <a:pt x="160606" y="718267"/>
                      <a:pt x="159173" y="716686"/>
                    </a:cubicBezTo>
                    <a:cubicBezTo>
                      <a:pt x="159088" y="716593"/>
                      <a:pt x="159000" y="716505"/>
                      <a:pt x="158907" y="716420"/>
                    </a:cubicBezTo>
                    <a:cubicBezTo>
                      <a:pt x="157359" y="714839"/>
                      <a:pt x="154822" y="714814"/>
                      <a:pt x="153241" y="716363"/>
                    </a:cubicBezTo>
                    <a:cubicBezTo>
                      <a:pt x="153222" y="716382"/>
                      <a:pt x="153202" y="716400"/>
                      <a:pt x="153184" y="716420"/>
                    </a:cubicBezTo>
                    <a:cubicBezTo>
                      <a:pt x="151564" y="718040"/>
                      <a:pt x="151564" y="720667"/>
                      <a:pt x="153184" y="722286"/>
                    </a:cubicBezTo>
                    <a:moveTo>
                      <a:pt x="116127" y="755050"/>
                    </a:moveTo>
                    <a:cubicBezTo>
                      <a:pt x="117509" y="756461"/>
                      <a:pt x="119774" y="756484"/>
                      <a:pt x="121185" y="755101"/>
                    </a:cubicBezTo>
                    <a:cubicBezTo>
                      <a:pt x="122596" y="753718"/>
                      <a:pt x="122619" y="751454"/>
                      <a:pt x="121236" y="750043"/>
                    </a:cubicBezTo>
                    <a:cubicBezTo>
                      <a:pt x="119853" y="748632"/>
                      <a:pt x="117588" y="748609"/>
                      <a:pt x="116177" y="749993"/>
                    </a:cubicBezTo>
                    <a:cubicBezTo>
                      <a:pt x="116160" y="750008"/>
                      <a:pt x="116144" y="750026"/>
                      <a:pt x="116127" y="750043"/>
                    </a:cubicBezTo>
                    <a:cubicBezTo>
                      <a:pt x="114764" y="751434"/>
                      <a:pt x="114764" y="753660"/>
                      <a:pt x="116127" y="755050"/>
                    </a:cubicBezTo>
                    <a:moveTo>
                      <a:pt x="79214" y="787672"/>
                    </a:moveTo>
                    <a:cubicBezTo>
                      <a:pt x="80228" y="788777"/>
                      <a:pt x="81948" y="788852"/>
                      <a:pt x="83055" y="787838"/>
                    </a:cubicBezTo>
                    <a:cubicBezTo>
                      <a:pt x="83113" y="787785"/>
                      <a:pt x="83167" y="787729"/>
                      <a:pt x="83220" y="787672"/>
                    </a:cubicBezTo>
                    <a:cubicBezTo>
                      <a:pt x="84326" y="786657"/>
                      <a:pt x="84400" y="784937"/>
                      <a:pt x="83385" y="783830"/>
                    </a:cubicBezTo>
                    <a:cubicBezTo>
                      <a:pt x="83333" y="783773"/>
                      <a:pt x="83277" y="783718"/>
                      <a:pt x="83220" y="783665"/>
                    </a:cubicBezTo>
                    <a:cubicBezTo>
                      <a:pt x="82107" y="782575"/>
                      <a:pt x="80327" y="782575"/>
                      <a:pt x="79214" y="783665"/>
                    </a:cubicBezTo>
                    <a:cubicBezTo>
                      <a:pt x="78108" y="784680"/>
                      <a:pt x="78034" y="786400"/>
                      <a:pt x="79049" y="787506"/>
                    </a:cubicBezTo>
                    <a:cubicBezTo>
                      <a:pt x="79101" y="787564"/>
                      <a:pt x="79157" y="787619"/>
                      <a:pt x="79214" y="787672"/>
                    </a:cubicBezTo>
                    <a:moveTo>
                      <a:pt x="479823" y="391354"/>
                    </a:moveTo>
                    <a:cubicBezTo>
                      <a:pt x="476584" y="387640"/>
                      <a:pt x="470947" y="387257"/>
                      <a:pt x="467233" y="390496"/>
                    </a:cubicBezTo>
                    <a:cubicBezTo>
                      <a:pt x="463519" y="393735"/>
                      <a:pt x="463135" y="399372"/>
                      <a:pt x="466374" y="403086"/>
                    </a:cubicBezTo>
                    <a:cubicBezTo>
                      <a:pt x="469614" y="406801"/>
                      <a:pt x="475251" y="407184"/>
                      <a:pt x="478965" y="403945"/>
                    </a:cubicBezTo>
                    <a:cubicBezTo>
                      <a:pt x="482679" y="400706"/>
                      <a:pt x="483063" y="395069"/>
                      <a:pt x="479823" y="391354"/>
                    </a:cubicBezTo>
                    <a:moveTo>
                      <a:pt x="516737" y="358590"/>
                    </a:moveTo>
                    <a:cubicBezTo>
                      <a:pt x="513738" y="355123"/>
                      <a:pt x="508497" y="354746"/>
                      <a:pt x="505032" y="357743"/>
                    </a:cubicBezTo>
                    <a:cubicBezTo>
                      <a:pt x="501565" y="360742"/>
                      <a:pt x="501186" y="365983"/>
                      <a:pt x="504185" y="369448"/>
                    </a:cubicBezTo>
                    <a:cubicBezTo>
                      <a:pt x="507184" y="372915"/>
                      <a:pt x="512424" y="373294"/>
                      <a:pt x="515890" y="370295"/>
                    </a:cubicBezTo>
                    <a:cubicBezTo>
                      <a:pt x="515934" y="370257"/>
                      <a:pt x="515978" y="370218"/>
                      <a:pt x="516021" y="370179"/>
                    </a:cubicBezTo>
                    <a:cubicBezTo>
                      <a:pt x="519416" y="367219"/>
                      <a:pt x="519770" y="362068"/>
                      <a:pt x="516810" y="358673"/>
                    </a:cubicBezTo>
                    <a:cubicBezTo>
                      <a:pt x="516785" y="358646"/>
                      <a:pt x="516761" y="358617"/>
                      <a:pt x="516737" y="358590"/>
                    </a:cubicBezTo>
                    <a:moveTo>
                      <a:pt x="553650" y="325826"/>
                    </a:moveTo>
                    <a:cubicBezTo>
                      <a:pt x="550844" y="322666"/>
                      <a:pt x="546008" y="322377"/>
                      <a:pt x="542848" y="325182"/>
                    </a:cubicBezTo>
                    <a:cubicBezTo>
                      <a:pt x="539687" y="327988"/>
                      <a:pt x="539398" y="332824"/>
                      <a:pt x="542204" y="335984"/>
                    </a:cubicBezTo>
                    <a:cubicBezTo>
                      <a:pt x="545246" y="338892"/>
                      <a:pt x="550036" y="338892"/>
                      <a:pt x="553078" y="335984"/>
                    </a:cubicBezTo>
                    <a:cubicBezTo>
                      <a:pt x="556059" y="332973"/>
                      <a:pt x="556059" y="328122"/>
                      <a:pt x="553078" y="325111"/>
                    </a:cubicBezTo>
                    <a:moveTo>
                      <a:pt x="590134" y="292347"/>
                    </a:moveTo>
                    <a:cubicBezTo>
                      <a:pt x="587539" y="289581"/>
                      <a:pt x="583192" y="289444"/>
                      <a:pt x="580426" y="292039"/>
                    </a:cubicBezTo>
                    <a:cubicBezTo>
                      <a:pt x="580321" y="292138"/>
                      <a:pt x="580218" y="292241"/>
                      <a:pt x="580119" y="292347"/>
                    </a:cubicBezTo>
                    <a:cubicBezTo>
                      <a:pt x="577160" y="294845"/>
                      <a:pt x="576788" y="299269"/>
                      <a:pt x="579286" y="302226"/>
                    </a:cubicBezTo>
                    <a:cubicBezTo>
                      <a:pt x="579325" y="302272"/>
                      <a:pt x="579363" y="302317"/>
                      <a:pt x="579403" y="302362"/>
                    </a:cubicBezTo>
                    <a:cubicBezTo>
                      <a:pt x="582185" y="305089"/>
                      <a:pt x="586637" y="305089"/>
                      <a:pt x="589419" y="302362"/>
                    </a:cubicBezTo>
                    <a:cubicBezTo>
                      <a:pt x="592184" y="299652"/>
                      <a:pt x="592230" y="295214"/>
                      <a:pt x="589520" y="292448"/>
                    </a:cubicBezTo>
                    <a:cubicBezTo>
                      <a:pt x="589486" y="292414"/>
                      <a:pt x="589453" y="292379"/>
                      <a:pt x="589419" y="292347"/>
                    </a:cubicBezTo>
                    <a:moveTo>
                      <a:pt x="628049" y="260584"/>
                    </a:moveTo>
                    <a:cubicBezTo>
                      <a:pt x="625549" y="258056"/>
                      <a:pt x="621472" y="258033"/>
                      <a:pt x="618944" y="260532"/>
                    </a:cubicBezTo>
                    <a:cubicBezTo>
                      <a:pt x="618926" y="260550"/>
                      <a:pt x="618909" y="260567"/>
                      <a:pt x="618892" y="260584"/>
                    </a:cubicBezTo>
                    <a:cubicBezTo>
                      <a:pt x="616205" y="262955"/>
                      <a:pt x="615949" y="267054"/>
                      <a:pt x="618320" y="269741"/>
                    </a:cubicBezTo>
                    <a:cubicBezTo>
                      <a:pt x="620691" y="272428"/>
                      <a:pt x="624790" y="272684"/>
                      <a:pt x="627477" y="270313"/>
                    </a:cubicBezTo>
                    <a:cubicBezTo>
                      <a:pt x="630005" y="267814"/>
                      <a:pt x="630028" y="263736"/>
                      <a:pt x="627528" y="261208"/>
                    </a:cubicBezTo>
                    <a:cubicBezTo>
                      <a:pt x="627511" y="261191"/>
                      <a:pt x="627494" y="261173"/>
                      <a:pt x="627477" y="261156"/>
                    </a:cubicBezTo>
                    <a:moveTo>
                      <a:pt x="664390" y="228392"/>
                    </a:moveTo>
                    <a:cubicBezTo>
                      <a:pt x="662098" y="226101"/>
                      <a:pt x="658384" y="226103"/>
                      <a:pt x="656094" y="228395"/>
                    </a:cubicBezTo>
                    <a:cubicBezTo>
                      <a:pt x="653804" y="230686"/>
                      <a:pt x="653805" y="234400"/>
                      <a:pt x="656096" y="236690"/>
                    </a:cubicBezTo>
                    <a:cubicBezTo>
                      <a:pt x="658386" y="238980"/>
                      <a:pt x="662099" y="238980"/>
                      <a:pt x="664390" y="236690"/>
                    </a:cubicBezTo>
                    <a:cubicBezTo>
                      <a:pt x="666682" y="234400"/>
                      <a:pt x="666682" y="230686"/>
                      <a:pt x="664393" y="228395"/>
                    </a:cubicBezTo>
                    <a:cubicBezTo>
                      <a:pt x="664391" y="228394"/>
                      <a:pt x="664391" y="228394"/>
                      <a:pt x="664390" y="228392"/>
                    </a:cubicBezTo>
                    <a:moveTo>
                      <a:pt x="701303" y="195485"/>
                    </a:moveTo>
                    <a:cubicBezTo>
                      <a:pt x="699367" y="193273"/>
                      <a:pt x="696004" y="193048"/>
                      <a:pt x="693792" y="194984"/>
                    </a:cubicBezTo>
                    <a:cubicBezTo>
                      <a:pt x="691580" y="196920"/>
                      <a:pt x="691355" y="200284"/>
                      <a:pt x="693291" y="202496"/>
                    </a:cubicBezTo>
                    <a:cubicBezTo>
                      <a:pt x="695227" y="204708"/>
                      <a:pt x="698590" y="204932"/>
                      <a:pt x="700802" y="202996"/>
                    </a:cubicBezTo>
                    <a:cubicBezTo>
                      <a:pt x="703014" y="201061"/>
                      <a:pt x="703239" y="197697"/>
                      <a:pt x="701303" y="195485"/>
                    </a:cubicBezTo>
                    <a:moveTo>
                      <a:pt x="738216" y="162721"/>
                    </a:moveTo>
                    <a:cubicBezTo>
                      <a:pt x="736384" y="160940"/>
                      <a:pt x="733468" y="160940"/>
                      <a:pt x="731635" y="162721"/>
                    </a:cubicBezTo>
                    <a:cubicBezTo>
                      <a:pt x="729765" y="164538"/>
                      <a:pt x="729722" y="167527"/>
                      <a:pt x="731541" y="169397"/>
                    </a:cubicBezTo>
                    <a:cubicBezTo>
                      <a:pt x="733358" y="171267"/>
                      <a:pt x="736347" y="171310"/>
                      <a:pt x="738216" y="169493"/>
                    </a:cubicBezTo>
                    <a:cubicBezTo>
                      <a:pt x="740086" y="167675"/>
                      <a:pt x="740129" y="164685"/>
                      <a:pt x="738311" y="162815"/>
                    </a:cubicBezTo>
                    <a:cubicBezTo>
                      <a:pt x="738281" y="162784"/>
                      <a:pt x="738248" y="162752"/>
                      <a:pt x="738216" y="162721"/>
                    </a:cubicBezTo>
                    <a:moveTo>
                      <a:pt x="775130" y="129957"/>
                    </a:moveTo>
                    <a:cubicBezTo>
                      <a:pt x="773549" y="128409"/>
                      <a:pt x="771013" y="128434"/>
                      <a:pt x="769464" y="130014"/>
                    </a:cubicBezTo>
                    <a:cubicBezTo>
                      <a:pt x="767916" y="131595"/>
                      <a:pt x="767942" y="134132"/>
                      <a:pt x="769523" y="135680"/>
                    </a:cubicBezTo>
                    <a:cubicBezTo>
                      <a:pt x="771079" y="137206"/>
                      <a:pt x="773572" y="137206"/>
                      <a:pt x="775130" y="135680"/>
                    </a:cubicBezTo>
                    <a:cubicBezTo>
                      <a:pt x="776711" y="134246"/>
                      <a:pt x="776830" y="131804"/>
                      <a:pt x="775396" y="130223"/>
                    </a:cubicBezTo>
                    <a:cubicBezTo>
                      <a:pt x="775312" y="130130"/>
                      <a:pt x="775223" y="130041"/>
                      <a:pt x="775130" y="129957"/>
                    </a:cubicBezTo>
                    <a:moveTo>
                      <a:pt x="812186" y="97192"/>
                    </a:moveTo>
                    <a:cubicBezTo>
                      <a:pt x="810843" y="95853"/>
                      <a:pt x="808669" y="95858"/>
                      <a:pt x="807330" y="97201"/>
                    </a:cubicBezTo>
                    <a:cubicBezTo>
                      <a:pt x="805991" y="98545"/>
                      <a:pt x="805995" y="100718"/>
                      <a:pt x="807339" y="102057"/>
                    </a:cubicBezTo>
                    <a:cubicBezTo>
                      <a:pt x="808678" y="103392"/>
                      <a:pt x="810846" y="103392"/>
                      <a:pt x="812186" y="102057"/>
                    </a:cubicBezTo>
                    <a:cubicBezTo>
                      <a:pt x="813530" y="100718"/>
                      <a:pt x="813534" y="98545"/>
                      <a:pt x="812195" y="97201"/>
                    </a:cubicBezTo>
                    <a:cubicBezTo>
                      <a:pt x="812192" y="97198"/>
                      <a:pt x="812189" y="97195"/>
                      <a:pt x="812186" y="97192"/>
                    </a:cubicBezTo>
                    <a:moveTo>
                      <a:pt x="849099" y="64428"/>
                    </a:moveTo>
                    <a:cubicBezTo>
                      <a:pt x="848032" y="63244"/>
                      <a:pt x="846207" y="63146"/>
                      <a:pt x="845022" y="64214"/>
                    </a:cubicBezTo>
                    <a:cubicBezTo>
                      <a:pt x="843837" y="65281"/>
                      <a:pt x="843740" y="67107"/>
                      <a:pt x="844807" y="68291"/>
                    </a:cubicBezTo>
                    <a:cubicBezTo>
                      <a:pt x="845920" y="69382"/>
                      <a:pt x="847700" y="69382"/>
                      <a:pt x="848813" y="68291"/>
                    </a:cubicBezTo>
                    <a:cubicBezTo>
                      <a:pt x="849922" y="67131"/>
                      <a:pt x="849922" y="65303"/>
                      <a:pt x="848813" y="64142"/>
                    </a:cubicBezTo>
                    <a:moveTo>
                      <a:pt x="458648" y="368033"/>
                    </a:moveTo>
                    <a:cubicBezTo>
                      <a:pt x="455345" y="364410"/>
                      <a:pt x="449750" y="364091"/>
                      <a:pt x="446058" y="367318"/>
                    </a:cubicBezTo>
                    <a:cubicBezTo>
                      <a:pt x="442385" y="370561"/>
                      <a:pt x="442037" y="376167"/>
                      <a:pt x="445281" y="379838"/>
                    </a:cubicBezTo>
                    <a:cubicBezTo>
                      <a:pt x="445301" y="379863"/>
                      <a:pt x="445321" y="379885"/>
                      <a:pt x="445342" y="379908"/>
                    </a:cubicBezTo>
                    <a:cubicBezTo>
                      <a:pt x="448622" y="383583"/>
                      <a:pt x="454259" y="383903"/>
                      <a:pt x="457933" y="380624"/>
                    </a:cubicBezTo>
                    <a:cubicBezTo>
                      <a:pt x="461607" y="377344"/>
                      <a:pt x="461928" y="371707"/>
                      <a:pt x="458648" y="368033"/>
                    </a:cubicBezTo>
                    <a:moveTo>
                      <a:pt x="495562" y="335269"/>
                    </a:moveTo>
                    <a:cubicBezTo>
                      <a:pt x="492518" y="331842"/>
                      <a:pt x="487273" y="331530"/>
                      <a:pt x="483847" y="334574"/>
                    </a:cubicBezTo>
                    <a:cubicBezTo>
                      <a:pt x="480420" y="337615"/>
                      <a:pt x="480108" y="342861"/>
                      <a:pt x="483151" y="346289"/>
                    </a:cubicBezTo>
                    <a:cubicBezTo>
                      <a:pt x="486187" y="349708"/>
                      <a:pt x="491417" y="350027"/>
                      <a:pt x="494846" y="347001"/>
                    </a:cubicBezTo>
                    <a:cubicBezTo>
                      <a:pt x="498283" y="343969"/>
                      <a:pt x="498610" y="338726"/>
                      <a:pt x="495579" y="335289"/>
                    </a:cubicBezTo>
                    <a:cubicBezTo>
                      <a:pt x="495573" y="335282"/>
                      <a:pt x="495567" y="335276"/>
                      <a:pt x="495562" y="335269"/>
                    </a:cubicBezTo>
                    <a:moveTo>
                      <a:pt x="532618" y="302505"/>
                    </a:moveTo>
                    <a:cubicBezTo>
                      <a:pt x="529606" y="299523"/>
                      <a:pt x="524756" y="299523"/>
                      <a:pt x="521744" y="302505"/>
                    </a:cubicBezTo>
                    <a:cubicBezTo>
                      <a:pt x="518741" y="305424"/>
                      <a:pt x="518674" y="310225"/>
                      <a:pt x="521594" y="313228"/>
                    </a:cubicBezTo>
                    <a:cubicBezTo>
                      <a:pt x="521643" y="313278"/>
                      <a:pt x="521693" y="313328"/>
                      <a:pt x="521744" y="313379"/>
                    </a:cubicBezTo>
                    <a:cubicBezTo>
                      <a:pt x="524756" y="316360"/>
                      <a:pt x="529606" y="316360"/>
                      <a:pt x="532618" y="313379"/>
                    </a:cubicBezTo>
                    <a:cubicBezTo>
                      <a:pt x="535525" y="310337"/>
                      <a:pt x="535525" y="305547"/>
                      <a:pt x="532618" y="302505"/>
                    </a:cubicBezTo>
                    <a:moveTo>
                      <a:pt x="569531" y="269741"/>
                    </a:moveTo>
                    <a:cubicBezTo>
                      <a:pt x="566750" y="267014"/>
                      <a:pt x="562297" y="267014"/>
                      <a:pt x="559516" y="269741"/>
                    </a:cubicBezTo>
                    <a:cubicBezTo>
                      <a:pt x="556934" y="272731"/>
                      <a:pt x="557263" y="277248"/>
                      <a:pt x="560253" y="279830"/>
                    </a:cubicBezTo>
                    <a:cubicBezTo>
                      <a:pt x="562707" y="281951"/>
                      <a:pt x="566279" y="282155"/>
                      <a:pt x="568959" y="280328"/>
                    </a:cubicBezTo>
                    <a:cubicBezTo>
                      <a:pt x="571686" y="277547"/>
                      <a:pt x="571686" y="273094"/>
                      <a:pt x="568959" y="270313"/>
                    </a:cubicBezTo>
                    <a:moveTo>
                      <a:pt x="605872" y="237549"/>
                    </a:moveTo>
                    <a:cubicBezTo>
                      <a:pt x="603320" y="235078"/>
                      <a:pt x="599268" y="235078"/>
                      <a:pt x="596716" y="237549"/>
                    </a:cubicBezTo>
                    <a:cubicBezTo>
                      <a:pt x="594316" y="240130"/>
                      <a:pt x="594316" y="244125"/>
                      <a:pt x="596716" y="246706"/>
                    </a:cubicBezTo>
                    <a:cubicBezTo>
                      <a:pt x="599268" y="249177"/>
                      <a:pt x="603320" y="249177"/>
                      <a:pt x="605872" y="246706"/>
                    </a:cubicBezTo>
                    <a:cubicBezTo>
                      <a:pt x="608400" y="244206"/>
                      <a:pt x="608423" y="240129"/>
                      <a:pt x="605924" y="237600"/>
                    </a:cubicBezTo>
                    <a:cubicBezTo>
                      <a:pt x="605907" y="237583"/>
                      <a:pt x="605889" y="237566"/>
                      <a:pt x="605872" y="237549"/>
                    </a:cubicBezTo>
                    <a:moveTo>
                      <a:pt x="642929" y="204928"/>
                    </a:moveTo>
                    <a:cubicBezTo>
                      <a:pt x="640637" y="202637"/>
                      <a:pt x="636922" y="202639"/>
                      <a:pt x="634633" y="204931"/>
                    </a:cubicBezTo>
                    <a:cubicBezTo>
                      <a:pt x="632343" y="207221"/>
                      <a:pt x="632344" y="210936"/>
                      <a:pt x="634635" y="213226"/>
                    </a:cubicBezTo>
                    <a:cubicBezTo>
                      <a:pt x="636925" y="215515"/>
                      <a:pt x="640638" y="215515"/>
                      <a:pt x="642929" y="213226"/>
                    </a:cubicBezTo>
                    <a:cubicBezTo>
                      <a:pt x="645221" y="210936"/>
                      <a:pt x="645221" y="207221"/>
                      <a:pt x="642932" y="204931"/>
                    </a:cubicBezTo>
                    <a:cubicBezTo>
                      <a:pt x="642930" y="204929"/>
                      <a:pt x="642930" y="204929"/>
                      <a:pt x="642929" y="204928"/>
                    </a:cubicBezTo>
                    <a:moveTo>
                      <a:pt x="679842" y="172164"/>
                    </a:moveTo>
                    <a:cubicBezTo>
                      <a:pt x="677780" y="170128"/>
                      <a:pt x="674464" y="170128"/>
                      <a:pt x="672402" y="172164"/>
                    </a:cubicBezTo>
                    <a:cubicBezTo>
                      <a:pt x="670190" y="174100"/>
                      <a:pt x="669965" y="177463"/>
                      <a:pt x="671901" y="179675"/>
                    </a:cubicBezTo>
                    <a:cubicBezTo>
                      <a:pt x="673837" y="181887"/>
                      <a:pt x="677201" y="182112"/>
                      <a:pt x="679413" y="180176"/>
                    </a:cubicBezTo>
                    <a:cubicBezTo>
                      <a:pt x="681449" y="178114"/>
                      <a:pt x="681449" y="174798"/>
                      <a:pt x="679413" y="172736"/>
                    </a:cubicBezTo>
                    <a:moveTo>
                      <a:pt x="717328" y="138255"/>
                    </a:moveTo>
                    <a:cubicBezTo>
                      <a:pt x="715569" y="136438"/>
                      <a:pt x="712670" y="136389"/>
                      <a:pt x="710853" y="138148"/>
                    </a:cubicBezTo>
                    <a:cubicBezTo>
                      <a:pt x="710818" y="138182"/>
                      <a:pt x="710782" y="138219"/>
                      <a:pt x="710746" y="138255"/>
                    </a:cubicBezTo>
                    <a:cubicBezTo>
                      <a:pt x="708965" y="140088"/>
                      <a:pt x="708965" y="143004"/>
                      <a:pt x="710746" y="144836"/>
                    </a:cubicBezTo>
                    <a:cubicBezTo>
                      <a:pt x="712626" y="146635"/>
                      <a:pt x="715591" y="146635"/>
                      <a:pt x="717471" y="144836"/>
                    </a:cubicBezTo>
                    <a:cubicBezTo>
                      <a:pt x="719252" y="143004"/>
                      <a:pt x="719252" y="140088"/>
                      <a:pt x="717471" y="138255"/>
                    </a:cubicBezTo>
                    <a:moveTo>
                      <a:pt x="754527" y="105491"/>
                    </a:moveTo>
                    <a:cubicBezTo>
                      <a:pt x="752877" y="103946"/>
                      <a:pt x="750311" y="103946"/>
                      <a:pt x="748661" y="105491"/>
                    </a:cubicBezTo>
                    <a:cubicBezTo>
                      <a:pt x="747134" y="107093"/>
                      <a:pt x="747134" y="109611"/>
                      <a:pt x="748661" y="111214"/>
                    </a:cubicBezTo>
                    <a:cubicBezTo>
                      <a:pt x="750123" y="112912"/>
                      <a:pt x="752686" y="113105"/>
                      <a:pt x="754384" y="111643"/>
                    </a:cubicBezTo>
                    <a:cubicBezTo>
                      <a:pt x="756082" y="110181"/>
                      <a:pt x="756275" y="107618"/>
                      <a:pt x="754813" y="105920"/>
                    </a:cubicBezTo>
                    <a:moveTo>
                      <a:pt x="791726" y="73156"/>
                    </a:moveTo>
                    <a:cubicBezTo>
                      <a:pt x="790383" y="71817"/>
                      <a:pt x="788210" y="71821"/>
                      <a:pt x="786871" y="73165"/>
                    </a:cubicBezTo>
                    <a:cubicBezTo>
                      <a:pt x="785531" y="74508"/>
                      <a:pt x="785536" y="76681"/>
                      <a:pt x="786879" y="78021"/>
                    </a:cubicBezTo>
                    <a:cubicBezTo>
                      <a:pt x="788218" y="79355"/>
                      <a:pt x="790386" y="79355"/>
                      <a:pt x="791726" y="78021"/>
                    </a:cubicBezTo>
                    <a:cubicBezTo>
                      <a:pt x="793070" y="76681"/>
                      <a:pt x="793074" y="74508"/>
                      <a:pt x="791735" y="73165"/>
                    </a:cubicBezTo>
                    <a:cubicBezTo>
                      <a:pt x="791732" y="73162"/>
                      <a:pt x="791729" y="73159"/>
                      <a:pt x="791726" y="73156"/>
                    </a:cubicBezTo>
                    <a:moveTo>
                      <a:pt x="828354" y="40535"/>
                    </a:moveTo>
                    <a:cubicBezTo>
                      <a:pt x="827180" y="39476"/>
                      <a:pt x="825370" y="39569"/>
                      <a:pt x="824312" y="40744"/>
                    </a:cubicBezTo>
                    <a:cubicBezTo>
                      <a:pt x="823433" y="41718"/>
                      <a:pt x="823330" y="43165"/>
                      <a:pt x="824061" y="44255"/>
                    </a:cubicBezTo>
                    <a:cubicBezTo>
                      <a:pt x="825222" y="45364"/>
                      <a:pt x="827050" y="45364"/>
                      <a:pt x="828210" y="44255"/>
                    </a:cubicBezTo>
                    <a:cubicBezTo>
                      <a:pt x="829316" y="43240"/>
                      <a:pt x="829391" y="41521"/>
                      <a:pt x="828375" y="40413"/>
                    </a:cubicBezTo>
                    <a:cubicBezTo>
                      <a:pt x="828324" y="40356"/>
                      <a:pt x="828268" y="40302"/>
                      <a:pt x="828210" y="40249"/>
                    </a:cubicBezTo>
                    <a:moveTo>
                      <a:pt x="437759" y="344569"/>
                    </a:moveTo>
                    <a:cubicBezTo>
                      <a:pt x="434469" y="340939"/>
                      <a:pt x="428859" y="340666"/>
                      <a:pt x="425229" y="343957"/>
                    </a:cubicBezTo>
                    <a:cubicBezTo>
                      <a:pt x="421672" y="347183"/>
                      <a:pt x="421327" y="352654"/>
                      <a:pt x="424453" y="356301"/>
                    </a:cubicBezTo>
                    <a:cubicBezTo>
                      <a:pt x="427717" y="359968"/>
                      <a:pt x="433314" y="360349"/>
                      <a:pt x="437044" y="357159"/>
                    </a:cubicBezTo>
                    <a:cubicBezTo>
                      <a:pt x="440717" y="353916"/>
                      <a:pt x="441064" y="348310"/>
                      <a:pt x="437821" y="344639"/>
                    </a:cubicBezTo>
                    <a:cubicBezTo>
                      <a:pt x="437801" y="344615"/>
                      <a:pt x="437781" y="344592"/>
                      <a:pt x="437759" y="344569"/>
                    </a:cubicBezTo>
                    <a:moveTo>
                      <a:pt x="474816" y="311805"/>
                    </a:moveTo>
                    <a:cubicBezTo>
                      <a:pt x="471577" y="308563"/>
                      <a:pt x="466321" y="308561"/>
                      <a:pt x="463081" y="311802"/>
                    </a:cubicBezTo>
                    <a:cubicBezTo>
                      <a:pt x="459839" y="315041"/>
                      <a:pt x="459837" y="320295"/>
                      <a:pt x="463076" y="323537"/>
                    </a:cubicBezTo>
                    <a:cubicBezTo>
                      <a:pt x="466316" y="326779"/>
                      <a:pt x="471571" y="326780"/>
                      <a:pt x="474813" y="323540"/>
                    </a:cubicBezTo>
                    <a:cubicBezTo>
                      <a:pt x="474813" y="323540"/>
                      <a:pt x="474814" y="323538"/>
                      <a:pt x="474816" y="323537"/>
                    </a:cubicBezTo>
                    <a:cubicBezTo>
                      <a:pt x="478054" y="320296"/>
                      <a:pt x="478054" y="315045"/>
                      <a:pt x="474816" y="311805"/>
                    </a:cubicBezTo>
                    <a:moveTo>
                      <a:pt x="511729" y="279041"/>
                    </a:moveTo>
                    <a:cubicBezTo>
                      <a:pt x="508726" y="276009"/>
                      <a:pt x="503834" y="275986"/>
                      <a:pt x="500802" y="278988"/>
                    </a:cubicBezTo>
                    <a:cubicBezTo>
                      <a:pt x="497771" y="281991"/>
                      <a:pt x="497748" y="286883"/>
                      <a:pt x="500751" y="289914"/>
                    </a:cubicBezTo>
                    <a:cubicBezTo>
                      <a:pt x="503753" y="292946"/>
                      <a:pt x="508644" y="292969"/>
                      <a:pt x="511676" y="289967"/>
                    </a:cubicBezTo>
                    <a:cubicBezTo>
                      <a:pt x="511695" y="289950"/>
                      <a:pt x="511712" y="289931"/>
                      <a:pt x="511729" y="289914"/>
                    </a:cubicBezTo>
                    <a:cubicBezTo>
                      <a:pt x="514732" y="286996"/>
                      <a:pt x="514799" y="282194"/>
                      <a:pt x="511879" y="279191"/>
                    </a:cubicBezTo>
                    <a:cubicBezTo>
                      <a:pt x="511831" y="279141"/>
                      <a:pt x="511781" y="279091"/>
                      <a:pt x="511729" y="279041"/>
                    </a:cubicBezTo>
                    <a:moveTo>
                      <a:pt x="548642" y="246276"/>
                    </a:moveTo>
                    <a:cubicBezTo>
                      <a:pt x="545877" y="243455"/>
                      <a:pt x="541347" y="243409"/>
                      <a:pt x="538526" y="246175"/>
                    </a:cubicBezTo>
                    <a:cubicBezTo>
                      <a:pt x="535704" y="248940"/>
                      <a:pt x="535660" y="253470"/>
                      <a:pt x="538425" y="256292"/>
                    </a:cubicBezTo>
                    <a:cubicBezTo>
                      <a:pt x="541191" y="259113"/>
                      <a:pt x="545719" y="259159"/>
                      <a:pt x="548541" y="256393"/>
                    </a:cubicBezTo>
                    <a:cubicBezTo>
                      <a:pt x="548575" y="256359"/>
                      <a:pt x="548609" y="256326"/>
                      <a:pt x="548642" y="256292"/>
                    </a:cubicBezTo>
                    <a:cubicBezTo>
                      <a:pt x="551369" y="253510"/>
                      <a:pt x="551369" y="249058"/>
                      <a:pt x="548642" y="246276"/>
                    </a:cubicBezTo>
                    <a:moveTo>
                      <a:pt x="585126" y="213512"/>
                    </a:moveTo>
                    <a:cubicBezTo>
                      <a:pt x="582574" y="211041"/>
                      <a:pt x="578522" y="211041"/>
                      <a:pt x="575970" y="213512"/>
                    </a:cubicBezTo>
                    <a:cubicBezTo>
                      <a:pt x="573283" y="215883"/>
                      <a:pt x="573027" y="219982"/>
                      <a:pt x="575397" y="222669"/>
                    </a:cubicBezTo>
                    <a:cubicBezTo>
                      <a:pt x="577768" y="225356"/>
                      <a:pt x="581867" y="225612"/>
                      <a:pt x="584554" y="223241"/>
                    </a:cubicBezTo>
                    <a:cubicBezTo>
                      <a:pt x="586954" y="220660"/>
                      <a:pt x="586954" y="216666"/>
                      <a:pt x="584554" y="214085"/>
                    </a:cubicBezTo>
                    <a:moveTo>
                      <a:pt x="622612" y="181177"/>
                    </a:moveTo>
                    <a:cubicBezTo>
                      <a:pt x="620320" y="178887"/>
                      <a:pt x="616606" y="178888"/>
                      <a:pt x="614317" y="181180"/>
                    </a:cubicBezTo>
                    <a:cubicBezTo>
                      <a:pt x="612026" y="183471"/>
                      <a:pt x="612027" y="187185"/>
                      <a:pt x="614318" y="189476"/>
                    </a:cubicBezTo>
                    <a:cubicBezTo>
                      <a:pt x="616609" y="191765"/>
                      <a:pt x="620321" y="191765"/>
                      <a:pt x="622612" y="189476"/>
                    </a:cubicBezTo>
                    <a:cubicBezTo>
                      <a:pt x="624904" y="187185"/>
                      <a:pt x="624904" y="183471"/>
                      <a:pt x="622615" y="181180"/>
                    </a:cubicBezTo>
                    <a:cubicBezTo>
                      <a:pt x="622613" y="181179"/>
                      <a:pt x="622613" y="181179"/>
                      <a:pt x="622612" y="181177"/>
                    </a:cubicBezTo>
                    <a:moveTo>
                      <a:pt x="659525" y="148413"/>
                    </a:moveTo>
                    <a:cubicBezTo>
                      <a:pt x="657464" y="146377"/>
                      <a:pt x="654147" y="146377"/>
                      <a:pt x="652085" y="148413"/>
                    </a:cubicBezTo>
                    <a:cubicBezTo>
                      <a:pt x="650122" y="150505"/>
                      <a:pt x="650122" y="153761"/>
                      <a:pt x="652085" y="155853"/>
                    </a:cubicBezTo>
                    <a:cubicBezTo>
                      <a:pt x="654230" y="157840"/>
                      <a:pt x="657580" y="157713"/>
                      <a:pt x="659567" y="155568"/>
                    </a:cubicBezTo>
                    <a:cubicBezTo>
                      <a:pt x="661289" y="153708"/>
                      <a:pt x="661453" y="150888"/>
                      <a:pt x="659955" y="148843"/>
                    </a:cubicBezTo>
                    <a:moveTo>
                      <a:pt x="697011" y="116078"/>
                    </a:moveTo>
                    <a:cubicBezTo>
                      <a:pt x="695401" y="114027"/>
                      <a:pt x="692433" y="113670"/>
                      <a:pt x="690382" y="115280"/>
                    </a:cubicBezTo>
                    <a:cubicBezTo>
                      <a:pt x="688331" y="116891"/>
                      <a:pt x="687973" y="119858"/>
                      <a:pt x="689584" y="121910"/>
                    </a:cubicBezTo>
                    <a:cubicBezTo>
                      <a:pt x="689713" y="122073"/>
                      <a:pt x="689851" y="122228"/>
                      <a:pt x="690000" y="122374"/>
                    </a:cubicBezTo>
                    <a:cubicBezTo>
                      <a:pt x="691867" y="124195"/>
                      <a:pt x="694856" y="124158"/>
                      <a:pt x="696678" y="122291"/>
                    </a:cubicBezTo>
                    <a:cubicBezTo>
                      <a:pt x="698330" y="120597"/>
                      <a:pt x="698473" y="117940"/>
                      <a:pt x="697011" y="116078"/>
                    </a:cubicBezTo>
                    <a:moveTo>
                      <a:pt x="733924" y="83314"/>
                    </a:moveTo>
                    <a:cubicBezTo>
                      <a:pt x="732173" y="81836"/>
                      <a:pt x="729556" y="82057"/>
                      <a:pt x="728077" y="83808"/>
                    </a:cubicBezTo>
                    <a:cubicBezTo>
                      <a:pt x="726895" y="85207"/>
                      <a:pt x="726771" y="87216"/>
                      <a:pt x="727772" y="88751"/>
                    </a:cubicBezTo>
                    <a:cubicBezTo>
                      <a:pt x="729392" y="90371"/>
                      <a:pt x="732018" y="90371"/>
                      <a:pt x="733638" y="88751"/>
                    </a:cubicBezTo>
                    <a:cubicBezTo>
                      <a:pt x="735165" y="87149"/>
                      <a:pt x="735165" y="84631"/>
                      <a:pt x="733638" y="83028"/>
                    </a:cubicBezTo>
                    <a:moveTo>
                      <a:pt x="771124" y="49692"/>
                    </a:moveTo>
                    <a:cubicBezTo>
                      <a:pt x="769784" y="48348"/>
                      <a:pt x="767611" y="48344"/>
                      <a:pt x="766268" y="49683"/>
                    </a:cubicBezTo>
                    <a:cubicBezTo>
                      <a:pt x="766265" y="49686"/>
                      <a:pt x="766262" y="49689"/>
                      <a:pt x="766259" y="49692"/>
                    </a:cubicBezTo>
                    <a:cubicBezTo>
                      <a:pt x="764920" y="51035"/>
                      <a:pt x="764924" y="53208"/>
                      <a:pt x="766268" y="54548"/>
                    </a:cubicBezTo>
                    <a:cubicBezTo>
                      <a:pt x="767611" y="55887"/>
                      <a:pt x="769784" y="55883"/>
                      <a:pt x="771124" y="54539"/>
                    </a:cubicBezTo>
                    <a:cubicBezTo>
                      <a:pt x="772459" y="53200"/>
                      <a:pt x="772459" y="51032"/>
                      <a:pt x="771124" y="49692"/>
                    </a:cubicBezTo>
                    <a:moveTo>
                      <a:pt x="808180" y="16928"/>
                    </a:moveTo>
                    <a:cubicBezTo>
                      <a:pt x="807020" y="15819"/>
                      <a:pt x="805191" y="15819"/>
                      <a:pt x="804031" y="16928"/>
                    </a:cubicBezTo>
                    <a:cubicBezTo>
                      <a:pt x="802925" y="17942"/>
                      <a:pt x="802850" y="19662"/>
                      <a:pt x="803865" y="20769"/>
                    </a:cubicBezTo>
                    <a:cubicBezTo>
                      <a:pt x="803918" y="20826"/>
                      <a:pt x="803974" y="20881"/>
                      <a:pt x="804031" y="20934"/>
                    </a:cubicBezTo>
                    <a:cubicBezTo>
                      <a:pt x="805144" y="22024"/>
                      <a:pt x="806924" y="22024"/>
                      <a:pt x="808037" y="20934"/>
                    </a:cubicBezTo>
                    <a:cubicBezTo>
                      <a:pt x="809077" y="19746"/>
                      <a:pt x="809077" y="17972"/>
                      <a:pt x="808037" y="16784"/>
                    </a:cubicBezTo>
                    <a:moveTo>
                      <a:pt x="542204" y="462176"/>
                    </a:moveTo>
                    <a:cubicBezTo>
                      <a:pt x="538753" y="458700"/>
                      <a:pt x="533136" y="458680"/>
                      <a:pt x="529659" y="462131"/>
                    </a:cubicBezTo>
                    <a:cubicBezTo>
                      <a:pt x="529643" y="462146"/>
                      <a:pt x="529629" y="462161"/>
                      <a:pt x="529613" y="462176"/>
                    </a:cubicBezTo>
                    <a:cubicBezTo>
                      <a:pt x="526177" y="465556"/>
                      <a:pt x="526130" y="471081"/>
                      <a:pt x="529508" y="474518"/>
                    </a:cubicBezTo>
                    <a:cubicBezTo>
                      <a:pt x="529543" y="474554"/>
                      <a:pt x="529578" y="474589"/>
                      <a:pt x="529613" y="474624"/>
                    </a:cubicBezTo>
                    <a:cubicBezTo>
                      <a:pt x="532827" y="478272"/>
                      <a:pt x="538378" y="478656"/>
                      <a:pt x="542061" y="475482"/>
                    </a:cubicBezTo>
                    <a:cubicBezTo>
                      <a:pt x="545728" y="472219"/>
                      <a:pt x="546109" y="466622"/>
                      <a:pt x="542919" y="462892"/>
                    </a:cubicBezTo>
                    <a:moveTo>
                      <a:pt x="579833" y="430128"/>
                    </a:moveTo>
                    <a:cubicBezTo>
                      <a:pt x="576593" y="426886"/>
                      <a:pt x="571338" y="426884"/>
                      <a:pt x="568098" y="430125"/>
                    </a:cubicBezTo>
                    <a:cubicBezTo>
                      <a:pt x="564856" y="433364"/>
                      <a:pt x="564854" y="438618"/>
                      <a:pt x="568093" y="441860"/>
                    </a:cubicBezTo>
                    <a:cubicBezTo>
                      <a:pt x="571333" y="445102"/>
                      <a:pt x="576588" y="445103"/>
                      <a:pt x="579830" y="441863"/>
                    </a:cubicBezTo>
                    <a:cubicBezTo>
                      <a:pt x="579830" y="441863"/>
                      <a:pt x="579831" y="441861"/>
                      <a:pt x="579833" y="441860"/>
                    </a:cubicBezTo>
                    <a:cubicBezTo>
                      <a:pt x="583070" y="438619"/>
                      <a:pt x="583070" y="433368"/>
                      <a:pt x="579833" y="430128"/>
                    </a:cubicBezTo>
                    <a:moveTo>
                      <a:pt x="616746" y="397363"/>
                    </a:moveTo>
                    <a:cubicBezTo>
                      <a:pt x="613743" y="394445"/>
                      <a:pt x="608943" y="394512"/>
                      <a:pt x="606022" y="397514"/>
                    </a:cubicBezTo>
                    <a:cubicBezTo>
                      <a:pt x="603104" y="400517"/>
                      <a:pt x="603171" y="405318"/>
                      <a:pt x="606174" y="408237"/>
                    </a:cubicBezTo>
                    <a:cubicBezTo>
                      <a:pt x="609117" y="411099"/>
                      <a:pt x="613803" y="411099"/>
                      <a:pt x="616746" y="408237"/>
                    </a:cubicBezTo>
                    <a:cubicBezTo>
                      <a:pt x="619728" y="405225"/>
                      <a:pt x="619728" y="400375"/>
                      <a:pt x="616746" y="397363"/>
                    </a:cubicBezTo>
                    <a:moveTo>
                      <a:pt x="653802" y="364599"/>
                    </a:moveTo>
                    <a:cubicBezTo>
                      <a:pt x="651021" y="361872"/>
                      <a:pt x="646568" y="361872"/>
                      <a:pt x="643787" y="364599"/>
                    </a:cubicBezTo>
                    <a:cubicBezTo>
                      <a:pt x="641021" y="367195"/>
                      <a:pt x="640884" y="371541"/>
                      <a:pt x="643479" y="374307"/>
                    </a:cubicBezTo>
                    <a:cubicBezTo>
                      <a:pt x="643578" y="374413"/>
                      <a:pt x="643681" y="374516"/>
                      <a:pt x="643787" y="374615"/>
                    </a:cubicBezTo>
                    <a:cubicBezTo>
                      <a:pt x="646012" y="377880"/>
                      <a:pt x="650463" y="378721"/>
                      <a:pt x="653728" y="376496"/>
                    </a:cubicBezTo>
                    <a:cubicBezTo>
                      <a:pt x="656991" y="374271"/>
                      <a:pt x="657834" y="369820"/>
                      <a:pt x="655609" y="366555"/>
                    </a:cubicBezTo>
                    <a:cubicBezTo>
                      <a:pt x="655259" y="366043"/>
                      <a:pt x="654844" y="365578"/>
                      <a:pt x="654375" y="365172"/>
                    </a:cubicBezTo>
                    <a:moveTo>
                      <a:pt x="691288" y="332407"/>
                    </a:moveTo>
                    <a:cubicBezTo>
                      <a:pt x="688917" y="329721"/>
                      <a:pt x="684818" y="329464"/>
                      <a:pt x="682131" y="331835"/>
                    </a:cubicBezTo>
                    <a:cubicBezTo>
                      <a:pt x="679444" y="334206"/>
                      <a:pt x="679188" y="338305"/>
                      <a:pt x="681559" y="340992"/>
                    </a:cubicBezTo>
                    <a:cubicBezTo>
                      <a:pt x="683930" y="343679"/>
                      <a:pt x="688029" y="343935"/>
                      <a:pt x="690716" y="341564"/>
                    </a:cubicBezTo>
                    <a:cubicBezTo>
                      <a:pt x="693403" y="339194"/>
                      <a:pt x="693659" y="335094"/>
                      <a:pt x="691288" y="332407"/>
                    </a:cubicBezTo>
                    <a:moveTo>
                      <a:pt x="728201" y="299643"/>
                    </a:moveTo>
                    <a:cubicBezTo>
                      <a:pt x="725909" y="297353"/>
                      <a:pt x="722195" y="297354"/>
                      <a:pt x="719906" y="299646"/>
                    </a:cubicBezTo>
                    <a:cubicBezTo>
                      <a:pt x="717615" y="301937"/>
                      <a:pt x="717617" y="305651"/>
                      <a:pt x="719907" y="307942"/>
                    </a:cubicBezTo>
                    <a:cubicBezTo>
                      <a:pt x="722198" y="310231"/>
                      <a:pt x="725911" y="310231"/>
                      <a:pt x="728201" y="307942"/>
                    </a:cubicBezTo>
                    <a:cubicBezTo>
                      <a:pt x="730493" y="305651"/>
                      <a:pt x="730493" y="301937"/>
                      <a:pt x="728204" y="299646"/>
                    </a:cubicBezTo>
                    <a:cubicBezTo>
                      <a:pt x="728203" y="299645"/>
                      <a:pt x="728203" y="299645"/>
                      <a:pt x="728201" y="299643"/>
                    </a:cubicBezTo>
                    <a:moveTo>
                      <a:pt x="765258" y="266879"/>
                    </a:moveTo>
                    <a:cubicBezTo>
                      <a:pt x="763166" y="264916"/>
                      <a:pt x="759910" y="264916"/>
                      <a:pt x="757818" y="266879"/>
                    </a:cubicBezTo>
                    <a:cubicBezTo>
                      <a:pt x="755763" y="268846"/>
                      <a:pt x="755693" y="272107"/>
                      <a:pt x="757660" y="274162"/>
                    </a:cubicBezTo>
                    <a:cubicBezTo>
                      <a:pt x="757712" y="274215"/>
                      <a:pt x="757765" y="274268"/>
                      <a:pt x="757818" y="274319"/>
                    </a:cubicBezTo>
                    <a:cubicBezTo>
                      <a:pt x="759879" y="276355"/>
                      <a:pt x="763196" y="276355"/>
                      <a:pt x="765258" y="274319"/>
                    </a:cubicBezTo>
                    <a:cubicBezTo>
                      <a:pt x="767294" y="272257"/>
                      <a:pt x="767294" y="268941"/>
                      <a:pt x="765258" y="266879"/>
                    </a:cubicBezTo>
                    <a:moveTo>
                      <a:pt x="802171" y="234115"/>
                    </a:moveTo>
                    <a:cubicBezTo>
                      <a:pt x="800338" y="232334"/>
                      <a:pt x="797422" y="232334"/>
                      <a:pt x="795589" y="234115"/>
                    </a:cubicBezTo>
                    <a:cubicBezTo>
                      <a:pt x="793772" y="235873"/>
                      <a:pt x="793724" y="238772"/>
                      <a:pt x="795482" y="240589"/>
                    </a:cubicBezTo>
                    <a:cubicBezTo>
                      <a:pt x="795517" y="240625"/>
                      <a:pt x="795554" y="240661"/>
                      <a:pt x="795589" y="240697"/>
                    </a:cubicBezTo>
                    <a:cubicBezTo>
                      <a:pt x="797422" y="242478"/>
                      <a:pt x="800338" y="242478"/>
                      <a:pt x="802171" y="240697"/>
                    </a:cubicBezTo>
                    <a:cubicBezTo>
                      <a:pt x="803988" y="238938"/>
                      <a:pt x="804037" y="236039"/>
                      <a:pt x="802278" y="234222"/>
                    </a:cubicBezTo>
                    <a:cubicBezTo>
                      <a:pt x="802242" y="234187"/>
                      <a:pt x="802207" y="234151"/>
                      <a:pt x="802171" y="234115"/>
                    </a:cubicBezTo>
                    <a:moveTo>
                      <a:pt x="839084" y="201351"/>
                    </a:moveTo>
                    <a:cubicBezTo>
                      <a:pt x="837536" y="199770"/>
                      <a:pt x="834999" y="199744"/>
                      <a:pt x="833418" y="201294"/>
                    </a:cubicBezTo>
                    <a:cubicBezTo>
                      <a:pt x="833400" y="201312"/>
                      <a:pt x="833380" y="201331"/>
                      <a:pt x="833361" y="201351"/>
                    </a:cubicBezTo>
                    <a:cubicBezTo>
                      <a:pt x="831780" y="202785"/>
                      <a:pt x="831662" y="205227"/>
                      <a:pt x="833095" y="206808"/>
                    </a:cubicBezTo>
                    <a:cubicBezTo>
                      <a:pt x="833180" y="206901"/>
                      <a:pt x="833268" y="206990"/>
                      <a:pt x="833361" y="207074"/>
                    </a:cubicBezTo>
                    <a:cubicBezTo>
                      <a:pt x="834909" y="208655"/>
                      <a:pt x="837446" y="208681"/>
                      <a:pt x="839027" y="207131"/>
                    </a:cubicBezTo>
                    <a:cubicBezTo>
                      <a:pt x="839046" y="207113"/>
                      <a:pt x="839066" y="207094"/>
                      <a:pt x="839084" y="207074"/>
                    </a:cubicBezTo>
                    <a:cubicBezTo>
                      <a:pt x="840704" y="205454"/>
                      <a:pt x="840704" y="202827"/>
                      <a:pt x="839084" y="201208"/>
                    </a:cubicBezTo>
                    <a:moveTo>
                      <a:pt x="874710" y="166870"/>
                    </a:moveTo>
                    <a:cubicBezTo>
                      <a:pt x="873371" y="165526"/>
                      <a:pt x="871197" y="165522"/>
                      <a:pt x="869854" y="166861"/>
                    </a:cubicBezTo>
                    <a:cubicBezTo>
                      <a:pt x="869851" y="166864"/>
                      <a:pt x="869848" y="166867"/>
                      <a:pt x="869845" y="166870"/>
                    </a:cubicBezTo>
                    <a:cubicBezTo>
                      <a:pt x="868482" y="168261"/>
                      <a:pt x="868482" y="170487"/>
                      <a:pt x="869845" y="171878"/>
                    </a:cubicBezTo>
                    <a:cubicBezTo>
                      <a:pt x="871184" y="173221"/>
                      <a:pt x="873358" y="173225"/>
                      <a:pt x="874701" y="171886"/>
                    </a:cubicBezTo>
                    <a:cubicBezTo>
                      <a:pt x="874704" y="171883"/>
                      <a:pt x="874707" y="171880"/>
                      <a:pt x="874710" y="171878"/>
                    </a:cubicBezTo>
                    <a:cubicBezTo>
                      <a:pt x="876073" y="170487"/>
                      <a:pt x="876073" y="168261"/>
                      <a:pt x="874710" y="166870"/>
                    </a:cubicBezTo>
                    <a:moveTo>
                      <a:pt x="911623" y="134106"/>
                    </a:moveTo>
                    <a:cubicBezTo>
                      <a:pt x="910609" y="133000"/>
                      <a:pt x="908889" y="132925"/>
                      <a:pt x="907782" y="133941"/>
                    </a:cubicBezTo>
                    <a:cubicBezTo>
                      <a:pt x="907724" y="133993"/>
                      <a:pt x="907670" y="134049"/>
                      <a:pt x="907617" y="134106"/>
                    </a:cubicBezTo>
                    <a:cubicBezTo>
                      <a:pt x="906305" y="134987"/>
                      <a:pt x="905956" y="136764"/>
                      <a:pt x="906836" y="138076"/>
                    </a:cubicBezTo>
                    <a:cubicBezTo>
                      <a:pt x="907717" y="139388"/>
                      <a:pt x="909496" y="139739"/>
                      <a:pt x="910808" y="138857"/>
                    </a:cubicBezTo>
                    <a:cubicBezTo>
                      <a:pt x="911002" y="138726"/>
                      <a:pt x="911180" y="138573"/>
                      <a:pt x="911337" y="138398"/>
                    </a:cubicBezTo>
                    <a:cubicBezTo>
                      <a:pt x="912483" y="137309"/>
                      <a:pt x="912529" y="135498"/>
                      <a:pt x="911440" y="134352"/>
                    </a:cubicBezTo>
                    <a:cubicBezTo>
                      <a:pt x="911407" y="134318"/>
                      <a:pt x="911373" y="134283"/>
                      <a:pt x="911337" y="134249"/>
                    </a:cubicBezTo>
                    <a:moveTo>
                      <a:pt x="521172" y="438712"/>
                    </a:moveTo>
                    <a:cubicBezTo>
                      <a:pt x="517893" y="435038"/>
                      <a:pt x="512256" y="434717"/>
                      <a:pt x="508581" y="437997"/>
                    </a:cubicBezTo>
                    <a:cubicBezTo>
                      <a:pt x="504907" y="441276"/>
                      <a:pt x="504587" y="446913"/>
                      <a:pt x="507866" y="450587"/>
                    </a:cubicBezTo>
                    <a:cubicBezTo>
                      <a:pt x="511317" y="454064"/>
                      <a:pt x="516934" y="454084"/>
                      <a:pt x="520411" y="450633"/>
                    </a:cubicBezTo>
                    <a:cubicBezTo>
                      <a:pt x="520427" y="450617"/>
                      <a:pt x="520441" y="450603"/>
                      <a:pt x="520457" y="450587"/>
                    </a:cubicBezTo>
                    <a:cubicBezTo>
                      <a:pt x="524079" y="447284"/>
                      <a:pt x="524398" y="441689"/>
                      <a:pt x="521172" y="437997"/>
                    </a:cubicBezTo>
                    <a:moveTo>
                      <a:pt x="558085" y="405376"/>
                    </a:moveTo>
                    <a:cubicBezTo>
                      <a:pt x="554885" y="402207"/>
                      <a:pt x="549721" y="402231"/>
                      <a:pt x="546552" y="405431"/>
                    </a:cubicBezTo>
                    <a:cubicBezTo>
                      <a:pt x="543383" y="408632"/>
                      <a:pt x="543407" y="413796"/>
                      <a:pt x="546608" y="416965"/>
                    </a:cubicBezTo>
                    <a:cubicBezTo>
                      <a:pt x="549787" y="420112"/>
                      <a:pt x="554908" y="420112"/>
                      <a:pt x="558085" y="416965"/>
                    </a:cubicBezTo>
                    <a:cubicBezTo>
                      <a:pt x="561286" y="413909"/>
                      <a:pt x="561402" y="408837"/>
                      <a:pt x="558347" y="405636"/>
                    </a:cubicBezTo>
                    <a:cubicBezTo>
                      <a:pt x="558261" y="405547"/>
                      <a:pt x="558174" y="405460"/>
                      <a:pt x="558085" y="405376"/>
                    </a:cubicBezTo>
                    <a:moveTo>
                      <a:pt x="595142" y="372612"/>
                    </a:moveTo>
                    <a:cubicBezTo>
                      <a:pt x="592433" y="369418"/>
                      <a:pt x="587647" y="369025"/>
                      <a:pt x="584454" y="371733"/>
                    </a:cubicBezTo>
                    <a:cubicBezTo>
                      <a:pt x="584391" y="371786"/>
                      <a:pt x="584330" y="371840"/>
                      <a:pt x="584268" y="371896"/>
                    </a:cubicBezTo>
                    <a:cubicBezTo>
                      <a:pt x="581361" y="374938"/>
                      <a:pt x="581361" y="379728"/>
                      <a:pt x="584268" y="382770"/>
                    </a:cubicBezTo>
                    <a:cubicBezTo>
                      <a:pt x="587307" y="385764"/>
                      <a:pt x="592199" y="385730"/>
                      <a:pt x="595195" y="382690"/>
                    </a:cubicBezTo>
                    <a:cubicBezTo>
                      <a:pt x="597884" y="379960"/>
                      <a:pt x="598166" y="375670"/>
                      <a:pt x="595857" y="372612"/>
                    </a:cubicBezTo>
                    <a:moveTo>
                      <a:pt x="632770" y="339847"/>
                    </a:moveTo>
                    <a:cubicBezTo>
                      <a:pt x="630272" y="336889"/>
                      <a:pt x="625848" y="336517"/>
                      <a:pt x="622891" y="339015"/>
                    </a:cubicBezTo>
                    <a:cubicBezTo>
                      <a:pt x="622845" y="339053"/>
                      <a:pt x="622799" y="339092"/>
                      <a:pt x="622755" y="339132"/>
                    </a:cubicBezTo>
                    <a:cubicBezTo>
                      <a:pt x="620028" y="341913"/>
                      <a:pt x="620028" y="346366"/>
                      <a:pt x="622755" y="349147"/>
                    </a:cubicBezTo>
                    <a:cubicBezTo>
                      <a:pt x="625465" y="351913"/>
                      <a:pt x="629903" y="351959"/>
                      <a:pt x="632669" y="349249"/>
                    </a:cubicBezTo>
                    <a:cubicBezTo>
                      <a:pt x="632703" y="349215"/>
                      <a:pt x="632737" y="349182"/>
                      <a:pt x="632770" y="349147"/>
                    </a:cubicBezTo>
                    <a:cubicBezTo>
                      <a:pt x="635497" y="346366"/>
                      <a:pt x="635497" y="341913"/>
                      <a:pt x="632770" y="339132"/>
                    </a:cubicBezTo>
                    <a:moveTo>
                      <a:pt x="669684" y="306368"/>
                    </a:moveTo>
                    <a:cubicBezTo>
                      <a:pt x="667184" y="303840"/>
                      <a:pt x="663106" y="303817"/>
                      <a:pt x="660578" y="306316"/>
                    </a:cubicBezTo>
                    <a:cubicBezTo>
                      <a:pt x="660561" y="306334"/>
                      <a:pt x="660544" y="306351"/>
                      <a:pt x="660527" y="306368"/>
                    </a:cubicBezTo>
                    <a:cubicBezTo>
                      <a:pt x="657916" y="308896"/>
                      <a:pt x="657849" y="313062"/>
                      <a:pt x="660377" y="315675"/>
                    </a:cubicBezTo>
                    <a:cubicBezTo>
                      <a:pt x="662906" y="318286"/>
                      <a:pt x="667073" y="318352"/>
                      <a:pt x="669684" y="315824"/>
                    </a:cubicBezTo>
                    <a:cubicBezTo>
                      <a:pt x="672295" y="313296"/>
                      <a:pt x="672362" y="309129"/>
                      <a:pt x="669834" y="306518"/>
                    </a:cubicBezTo>
                    <a:cubicBezTo>
                      <a:pt x="669784" y="306467"/>
                      <a:pt x="669734" y="306417"/>
                      <a:pt x="669684" y="306368"/>
                    </a:cubicBezTo>
                    <a:moveTo>
                      <a:pt x="706740" y="273604"/>
                    </a:moveTo>
                    <a:cubicBezTo>
                      <a:pt x="704448" y="271313"/>
                      <a:pt x="700734" y="271315"/>
                      <a:pt x="698445" y="273607"/>
                    </a:cubicBezTo>
                    <a:cubicBezTo>
                      <a:pt x="696154" y="275897"/>
                      <a:pt x="696155" y="279611"/>
                      <a:pt x="698446" y="281902"/>
                    </a:cubicBezTo>
                    <a:cubicBezTo>
                      <a:pt x="700737" y="284191"/>
                      <a:pt x="704449" y="284191"/>
                      <a:pt x="706740" y="281902"/>
                    </a:cubicBezTo>
                    <a:cubicBezTo>
                      <a:pt x="709032" y="279611"/>
                      <a:pt x="709032" y="275897"/>
                      <a:pt x="706743" y="273607"/>
                    </a:cubicBezTo>
                    <a:cubicBezTo>
                      <a:pt x="706741" y="273605"/>
                      <a:pt x="706741" y="273605"/>
                      <a:pt x="706740" y="273604"/>
                    </a:cubicBezTo>
                    <a:moveTo>
                      <a:pt x="742509" y="242127"/>
                    </a:moveTo>
                    <a:cubicBezTo>
                      <a:pt x="740782" y="239768"/>
                      <a:pt x="737468" y="239257"/>
                      <a:pt x="735110" y="240984"/>
                    </a:cubicBezTo>
                    <a:cubicBezTo>
                      <a:pt x="732751" y="242711"/>
                      <a:pt x="732239" y="246023"/>
                      <a:pt x="733967" y="248383"/>
                    </a:cubicBezTo>
                    <a:cubicBezTo>
                      <a:pt x="734166" y="248656"/>
                      <a:pt x="734392" y="248908"/>
                      <a:pt x="734640" y="249138"/>
                    </a:cubicBezTo>
                    <a:cubicBezTo>
                      <a:pt x="736701" y="251174"/>
                      <a:pt x="740018" y="251174"/>
                      <a:pt x="742080" y="249138"/>
                    </a:cubicBezTo>
                    <a:cubicBezTo>
                      <a:pt x="744115" y="247076"/>
                      <a:pt x="744115" y="243760"/>
                      <a:pt x="742080" y="241698"/>
                    </a:cubicBezTo>
                    <a:moveTo>
                      <a:pt x="779851" y="209792"/>
                    </a:moveTo>
                    <a:cubicBezTo>
                      <a:pt x="778093" y="207975"/>
                      <a:pt x="775194" y="207927"/>
                      <a:pt x="773377" y="209685"/>
                    </a:cubicBezTo>
                    <a:cubicBezTo>
                      <a:pt x="773341" y="209719"/>
                      <a:pt x="773306" y="209757"/>
                      <a:pt x="773270" y="209792"/>
                    </a:cubicBezTo>
                    <a:cubicBezTo>
                      <a:pt x="771489" y="211625"/>
                      <a:pt x="771489" y="214541"/>
                      <a:pt x="773270" y="216374"/>
                    </a:cubicBezTo>
                    <a:cubicBezTo>
                      <a:pt x="775028" y="218191"/>
                      <a:pt x="777927" y="218240"/>
                      <a:pt x="779744" y="216481"/>
                    </a:cubicBezTo>
                    <a:cubicBezTo>
                      <a:pt x="779780" y="216445"/>
                      <a:pt x="779815" y="216410"/>
                      <a:pt x="779851" y="216374"/>
                    </a:cubicBezTo>
                    <a:cubicBezTo>
                      <a:pt x="781633" y="214541"/>
                      <a:pt x="781633" y="211625"/>
                      <a:pt x="779851" y="209792"/>
                    </a:cubicBezTo>
                    <a:moveTo>
                      <a:pt x="816908" y="177028"/>
                    </a:moveTo>
                    <a:cubicBezTo>
                      <a:pt x="815360" y="175447"/>
                      <a:pt x="812823" y="175422"/>
                      <a:pt x="811242" y="176971"/>
                    </a:cubicBezTo>
                    <a:cubicBezTo>
                      <a:pt x="811223" y="176990"/>
                      <a:pt x="811203" y="177008"/>
                      <a:pt x="811185" y="177028"/>
                    </a:cubicBezTo>
                    <a:cubicBezTo>
                      <a:pt x="809604" y="178576"/>
                      <a:pt x="809578" y="181113"/>
                      <a:pt x="811127" y="182694"/>
                    </a:cubicBezTo>
                    <a:cubicBezTo>
                      <a:pt x="811146" y="182713"/>
                      <a:pt x="811165" y="182733"/>
                      <a:pt x="811185" y="182751"/>
                    </a:cubicBezTo>
                    <a:cubicBezTo>
                      <a:pt x="812733" y="184332"/>
                      <a:pt x="815269" y="184358"/>
                      <a:pt x="816850" y="182808"/>
                    </a:cubicBezTo>
                    <a:cubicBezTo>
                      <a:pt x="816869" y="182790"/>
                      <a:pt x="816889" y="182771"/>
                      <a:pt x="816908" y="182751"/>
                    </a:cubicBezTo>
                    <a:cubicBezTo>
                      <a:pt x="818489" y="181203"/>
                      <a:pt x="818514" y="178666"/>
                      <a:pt x="816965" y="177085"/>
                    </a:cubicBezTo>
                    <a:cubicBezTo>
                      <a:pt x="816946" y="177067"/>
                      <a:pt x="816928" y="177047"/>
                      <a:pt x="816908" y="177028"/>
                    </a:cubicBezTo>
                    <a:moveTo>
                      <a:pt x="853821" y="144264"/>
                    </a:moveTo>
                    <a:cubicBezTo>
                      <a:pt x="852477" y="142925"/>
                      <a:pt x="850303" y="142929"/>
                      <a:pt x="848965" y="144273"/>
                    </a:cubicBezTo>
                    <a:cubicBezTo>
                      <a:pt x="847626" y="145616"/>
                      <a:pt x="847630" y="147790"/>
                      <a:pt x="848974" y="149129"/>
                    </a:cubicBezTo>
                    <a:cubicBezTo>
                      <a:pt x="850313" y="150464"/>
                      <a:pt x="852480" y="150464"/>
                      <a:pt x="853821" y="149129"/>
                    </a:cubicBezTo>
                    <a:cubicBezTo>
                      <a:pt x="855164" y="147790"/>
                      <a:pt x="855169" y="145616"/>
                      <a:pt x="853830" y="144273"/>
                    </a:cubicBezTo>
                    <a:cubicBezTo>
                      <a:pt x="853827" y="144270"/>
                      <a:pt x="853824" y="144267"/>
                      <a:pt x="853821" y="144264"/>
                    </a:cubicBezTo>
                    <a:moveTo>
                      <a:pt x="890734" y="111500"/>
                    </a:moveTo>
                    <a:cubicBezTo>
                      <a:pt x="889621" y="110410"/>
                      <a:pt x="887841" y="110410"/>
                      <a:pt x="886728" y="111500"/>
                    </a:cubicBezTo>
                    <a:cubicBezTo>
                      <a:pt x="885688" y="112688"/>
                      <a:pt x="885688" y="114462"/>
                      <a:pt x="886728" y="115649"/>
                    </a:cubicBezTo>
                    <a:cubicBezTo>
                      <a:pt x="887888" y="116758"/>
                      <a:pt x="889717" y="116758"/>
                      <a:pt x="890877" y="115649"/>
                    </a:cubicBezTo>
                    <a:cubicBezTo>
                      <a:pt x="891983" y="114635"/>
                      <a:pt x="892058" y="112915"/>
                      <a:pt x="891043" y="111808"/>
                    </a:cubicBezTo>
                    <a:cubicBezTo>
                      <a:pt x="890990" y="111750"/>
                      <a:pt x="890935" y="111696"/>
                      <a:pt x="890877" y="111643"/>
                    </a:cubicBezTo>
                    <a:moveTo>
                      <a:pt x="500283" y="415105"/>
                    </a:moveTo>
                    <a:cubicBezTo>
                      <a:pt x="497113" y="411473"/>
                      <a:pt x="491600" y="411100"/>
                      <a:pt x="487969" y="414271"/>
                    </a:cubicBezTo>
                    <a:cubicBezTo>
                      <a:pt x="487924" y="414309"/>
                      <a:pt x="487880" y="414349"/>
                      <a:pt x="487836" y="414389"/>
                    </a:cubicBezTo>
                    <a:cubicBezTo>
                      <a:pt x="484124" y="417587"/>
                      <a:pt x="483709" y="423188"/>
                      <a:pt x="486907" y="426900"/>
                    </a:cubicBezTo>
                    <a:cubicBezTo>
                      <a:pt x="486930" y="426927"/>
                      <a:pt x="486954" y="426953"/>
                      <a:pt x="486977" y="426980"/>
                    </a:cubicBezTo>
                    <a:cubicBezTo>
                      <a:pt x="490478" y="430397"/>
                      <a:pt x="496067" y="430397"/>
                      <a:pt x="499568" y="426980"/>
                    </a:cubicBezTo>
                    <a:cubicBezTo>
                      <a:pt x="503044" y="423529"/>
                      <a:pt x="503064" y="417912"/>
                      <a:pt x="499613" y="414435"/>
                    </a:cubicBezTo>
                    <a:cubicBezTo>
                      <a:pt x="499598" y="414419"/>
                      <a:pt x="499583" y="414405"/>
                      <a:pt x="499568" y="414389"/>
                    </a:cubicBezTo>
                    <a:moveTo>
                      <a:pt x="536624" y="381625"/>
                    </a:moveTo>
                    <a:cubicBezTo>
                      <a:pt x="533385" y="378383"/>
                      <a:pt x="528130" y="378382"/>
                      <a:pt x="524889" y="381622"/>
                    </a:cubicBezTo>
                    <a:cubicBezTo>
                      <a:pt x="521647" y="384862"/>
                      <a:pt x="521646" y="390115"/>
                      <a:pt x="524885" y="393357"/>
                    </a:cubicBezTo>
                    <a:cubicBezTo>
                      <a:pt x="528124" y="396599"/>
                      <a:pt x="533379" y="396601"/>
                      <a:pt x="536621" y="393360"/>
                    </a:cubicBezTo>
                    <a:cubicBezTo>
                      <a:pt x="536621" y="393360"/>
                      <a:pt x="536623" y="393359"/>
                      <a:pt x="536624" y="393357"/>
                    </a:cubicBezTo>
                    <a:cubicBezTo>
                      <a:pt x="539862" y="390117"/>
                      <a:pt x="539862" y="384866"/>
                      <a:pt x="536624" y="381625"/>
                    </a:cubicBezTo>
                    <a:moveTo>
                      <a:pt x="573537" y="348861"/>
                    </a:moveTo>
                    <a:cubicBezTo>
                      <a:pt x="570526" y="345879"/>
                      <a:pt x="565675" y="345879"/>
                      <a:pt x="562664" y="348861"/>
                    </a:cubicBezTo>
                    <a:cubicBezTo>
                      <a:pt x="559701" y="351820"/>
                      <a:pt x="559698" y="356621"/>
                      <a:pt x="562657" y="359585"/>
                    </a:cubicBezTo>
                    <a:cubicBezTo>
                      <a:pt x="562659" y="359587"/>
                      <a:pt x="562661" y="359589"/>
                      <a:pt x="562664" y="359592"/>
                    </a:cubicBezTo>
                    <a:cubicBezTo>
                      <a:pt x="565299" y="362744"/>
                      <a:pt x="569992" y="363163"/>
                      <a:pt x="573144" y="360526"/>
                    </a:cubicBezTo>
                    <a:cubicBezTo>
                      <a:pt x="573228" y="360454"/>
                      <a:pt x="573313" y="360381"/>
                      <a:pt x="573394" y="360307"/>
                    </a:cubicBezTo>
                    <a:cubicBezTo>
                      <a:pt x="576588" y="357599"/>
                      <a:pt x="576981" y="352813"/>
                      <a:pt x="574273" y="349619"/>
                    </a:cubicBezTo>
                    <a:cubicBezTo>
                      <a:pt x="574220" y="349556"/>
                      <a:pt x="574165" y="349495"/>
                      <a:pt x="574110" y="349433"/>
                    </a:cubicBezTo>
                    <a:moveTo>
                      <a:pt x="611023" y="316669"/>
                    </a:moveTo>
                    <a:cubicBezTo>
                      <a:pt x="608257" y="313848"/>
                      <a:pt x="603728" y="313802"/>
                      <a:pt x="600906" y="316568"/>
                    </a:cubicBezTo>
                    <a:cubicBezTo>
                      <a:pt x="598085" y="319333"/>
                      <a:pt x="598040" y="323863"/>
                      <a:pt x="600806" y="326684"/>
                    </a:cubicBezTo>
                    <a:cubicBezTo>
                      <a:pt x="603572" y="329506"/>
                      <a:pt x="608100" y="329552"/>
                      <a:pt x="610921" y="326786"/>
                    </a:cubicBezTo>
                    <a:cubicBezTo>
                      <a:pt x="610956" y="326752"/>
                      <a:pt x="610990" y="326719"/>
                      <a:pt x="611023" y="326684"/>
                    </a:cubicBezTo>
                    <a:cubicBezTo>
                      <a:pt x="613789" y="323975"/>
                      <a:pt x="613834" y="319536"/>
                      <a:pt x="611125" y="316771"/>
                    </a:cubicBezTo>
                    <a:cubicBezTo>
                      <a:pt x="611090" y="316737"/>
                      <a:pt x="611057" y="316702"/>
                      <a:pt x="611023" y="316669"/>
                    </a:cubicBezTo>
                    <a:moveTo>
                      <a:pt x="648079" y="283905"/>
                    </a:moveTo>
                    <a:cubicBezTo>
                      <a:pt x="645498" y="281506"/>
                      <a:pt x="641504" y="281506"/>
                      <a:pt x="638923" y="283905"/>
                    </a:cubicBezTo>
                    <a:cubicBezTo>
                      <a:pt x="636236" y="286276"/>
                      <a:pt x="635979" y="290375"/>
                      <a:pt x="638350" y="293062"/>
                    </a:cubicBezTo>
                    <a:cubicBezTo>
                      <a:pt x="640721" y="295749"/>
                      <a:pt x="644820" y="296005"/>
                      <a:pt x="647507" y="293634"/>
                    </a:cubicBezTo>
                    <a:cubicBezTo>
                      <a:pt x="649978" y="291082"/>
                      <a:pt x="649978" y="287030"/>
                      <a:pt x="647507" y="284477"/>
                    </a:cubicBezTo>
                    <a:moveTo>
                      <a:pt x="685279" y="251284"/>
                    </a:moveTo>
                    <a:cubicBezTo>
                      <a:pt x="683105" y="248835"/>
                      <a:pt x="679358" y="248610"/>
                      <a:pt x="676909" y="250783"/>
                    </a:cubicBezTo>
                    <a:cubicBezTo>
                      <a:pt x="674459" y="252957"/>
                      <a:pt x="674235" y="256704"/>
                      <a:pt x="676408" y="259153"/>
                    </a:cubicBezTo>
                    <a:cubicBezTo>
                      <a:pt x="678749" y="261462"/>
                      <a:pt x="682509" y="261462"/>
                      <a:pt x="684850" y="259153"/>
                    </a:cubicBezTo>
                    <a:cubicBezTo>
                      <a:pt x="687142" y="256863"/>
                      <a:pt x="687142" y="253148"/>
                      <a:pt x="684852" y="250858"/>
                    </a:cubicBezTo>
                    <a:cubicBezTo>
                      <a:pt x="684851" y="250856"/>
                      <a:pt x="684851" y="250856"/>
                      <a:pt x="684850" y="250855"/>
                    </a:cubicBezTo>
                    <a:moveTo>
                      <a:pt x="721763" y="218091"/>
                    </a:moveTo>
                    <a:cubicBezTo>
                      <a:pt x="720036" y="215731"/>
                      <a:pt x="716722" y="215221"/>
                      <a:pt x="714365" y="216948"/>
                    </a:cubicBezTo>
                    <a:cubicBezTo>
                      <a:pt x="712005" y="218674"/>
                      <a:pt x="711493" y="221987"/>
                      <a:pt x="713221" y="224346"/>
                    </a:cubicBezTo>
                    <a:cubicBezTo>
                      <a:pt x="713420" y="224619"/>
                      <a:pt x="713646" y="224871"/>
                      <a:pt x="713894" y="225101"/>
                    </a:cubicBezTo>
                    <a:cubicBezTo>
                      <a:pt x="715621" y="227461"/>
                      <a:pt x="718934" y="227971"/>
                      <a:pt x="721292" y="226245"/>
                    </a:cubicBezTo>
                    <a:cubicBezTo>
                      <a:pt x="723651" y="224518"/>
                      <a:pt x="724164" y="221205"/>
                      <a:pt x="722435" y="218846"/>
                    </a:cubicBezTo>
                    <a:cubicBezTo>
                      <a:pt x="722236" y="218573"/>
                      <a:pt x="722010" y="218321"/>
                      <a:pt x="721763" y="218091"/>
                    </a:cubicBezTo>
                    <a:moveTo>
                      <a:pt x="758819" y="185327"/>
                    </a:moveTo>
                    <a:cubicBezTo>
                      <a:pt x="756986" y="183545"/>
                      <a:pt x="754071" y="183545"/>
                      <a:pt x="752238" y="185327"/>
                    </a:cubicBezTo>
                    <a:cubicBezTo>
                      <a:pt x="750421" y="187085"/>
                      <a:pt x="750372" y="189984"/>
                      <a:pt x="752131" y="191801"/>
                    </a:cubicBezTo>
                    <a:cubicBezTo>
                      <a:pt x="752165" y="191837"/>
                      <a:pt x="752202" y="191872"/>
                      <a:pt x="752238" y="191908"/>
                    </a:cubicBezTo>
                    <a:cubicBezTo>
                      <a:pt x="754071" y="193689"/>
                      <a:pt x="756986" y="193689"/>
                      <a:pt x="758819" y="191908"/>
                    </a:cubicBezTo>
                    <a:cubicBezTo>
                      <a:pt x="760618" y="190028"/>
                      <a:pt x="760618" y="187064"/>
                      <a:pt x="758819" y="185184"/>
                    </a:cubicBezTo>
                    <a:moveTo>
                      <a:pt x="796019" y="152562"/>
                    </a:moveTo>
                    <a:cubicBezTo>
                      <a:pt x="794557" y="150864"/>
                      <a:pt x="791994" y="150671"/>
                      <a:pt x="790296" y="152133"/>
                    </a:cubicBezTo>
                    <a:cubicBezTo>
                      <a:pt x="788597" y="153595"/>
                      <a:pt x="788404" y="156158"/>
                      <a:pt x="789866" y="157856"/>
                    </a:cubicBezTo>
                    <a:cubicBezTo>
                      <a:pt x="791516" y="159401"/>
                      <a:pt x="794083" y="159401"/>
                      <a:pt x="795733" y="157856"/>
                    </a:cubicBezTo>
                    <a:cubicBezTo>
                      <a:pt x="797313" y="156308"/>
                      <a:pt x="797339" y="153771"/>
                      <a:pt x="795790" y="152190"/>
                    </a:cubicBezTo>
                    <a:cubicBezTo>
                      <a:pt x="795771" y="152172"/>
                      <a:pt x="795753" y="152152"/>
                      <a:pt x="795733" y="152133"/>
                    </a:cubicBezTo>
                    <a:moveTo>
                      <a:pt x="832646" y="119369"/>
                    </a:moveTo>
                    <a:cubicBezTo>
                      <a:pt x="831302" y="118030"/>
                      <a:pt x="829129" y="118034"/>
                      <a:pt x="827790" y="119378"/>
                    </a:cubicBezTo>
                    <a:cubicBezTo>
                      <a:pt x="826451" y="120721"/>
                      <a:pt x="826455" y="122894"/>
                      <a:pt x="827798" y="124234"/>
                    </a:cubicBezTo>
                    <a:cubicBezTo>
                      <a:pt x="829138" y="125569"/>
                      <a:pt x="831305" y="125569"/>
                      <a:pt x="832646" y="124234"/>
                    </a:cubicBezTo>
                    <a:cubicBezTo>
                      <a:pt x="833989" y="122894"/>
                      <a:pt x="833994" y="120721"/>
                      <a:pt x="832654" y="119378"/>
                    </a:cubicBezTo>
                    <a:cubicBezTo>
                      <a:pt x="832652" y="119375"/>
                      <a:pt x="832649" y="119372"/>
                      <a:pt x="832646" y="119369"/>
                    </a:cubicBezTo>
                    <a:moveTo>
                      <a:pt x="869702" y="86605"/>
                    </a:moveTo>
                    <a:cubicBezTo>
                      <a:pt x="868542" y="85496"/>
                      <a:pt x="866713" y="85496"/>
                      <a:pt x="865553" y="86605"/>
                    </a:cubicBezTo>
                    <a:cubicBezTo>
                      <a:pt x="864368" y="87672"/>
                      <a:pt x="864271" y="89498"/>
                      <a:pt x="865338" y="90683"/>
                    </a:cubicBezTo>
                    <a:cubicBezTo>
                      <a:pt x="866406" y="91867"/>
                      <a:pt x="868231" y="91965"/>
                      <a:pt x="869416" y="90897"/>
                    </a:cubicBezTo>
                    <a:cubicBezTo>
                      <a:pt x="870506" y="89784"/>
                      <a:pt x="870506" y="88004"/>
                      <a:pt x="869416" y="86891"/>
                    </a:cubicBezTo>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39" name="Freeform: Shape 138">
                <a:extLst>
                  <a:ext uri="{FF2B5EF4-FFF2-40B4-BE49-F238E27FC236}">
                    <a16:creationId xmlns:a16="http://schemas.microsoft.com/office/drawing/2014/main" id="{14AFA2DE-34CF-4239-B377-861E7186CCCC}"/>
                  </a:ext>
                </a:extLst>
              </p:cNvPr>
              <p:cNvSpPr/>
              <p:nvPr/>
            </p:nvSpPr>
            <p:spPr>
              <a:xfrm rot="8043926">
                <a:off x="7720650" y="4421757"/>
                <a:ext cx="1106638" cy="1006035"/>
              </a:xfrm>
              <a:custGeom>
                <a:avLst/>
                <a:gdLst>
                  <a:gd name="connsiteX0" fmla="*/ 412818 w 786911"/>
                  <a:gd name="connsiteY0" fmla="*/ 383011 h 715374"/>
                  <a:gd name="connsiteX1" fmla="*/ 412818 w 786911"/>
                  <a:gd name="connsiteY1" fmla="*/ 394457 h 715374"/>
                  <a:gd name="connsiteX2" fmla="*/ 401515 w 786911"/>
                  <a:gd name="connsiteY2" fmla="*/ 394457 h 715374"/>
                  <a:gd name="connsiteX3" fmla="*/ 401515 w 786911"/>
                  <a:gd name="connsiteY3" fmla="*/ 383154 h 715374"/>
                  <a:gd name="connsiteX4" fmla="*/ 412961 w 786911"/>
                  <a:gd name="connsiteY4" fmla="*/ 383154 h 715374"/>
                  <a:gd name="connsiteX5" fmla="*/ 445439 w 786911"/>
                  <a:gd name="connsiteY5" fmla="*/ 352679 h 715374"/>
                  <a:gd name="connsiteX6" fmla="*/ 434918 w 786911"/>
                  <a:gd name="connsiteY6" fmla="*/ 352745 h 715374"/>
                  <a:gd name="connsiteX7" fmla="*/ 434984 w 786911"/>
                  <a:gd name="connsiteY7" fmla="*/ 363267 h 715374"/>
                  <a:gd name="connsiteX8" fmla="*/ 445439 w 786911"/>
                  <a:gd name="connsiteY8" fmla="*/ 363267 h 715374"/>
                  <a:gd name="connsiteX9" fmla="*/ 445505 w 786911"/>
                  <a:gd name="connsiteY9" fmla="*/ 352745 h 715374"/>
                  <a:gd name="connsiteX10" fmla="*/ 445439 w 786911"/>
                  <a:gd name="connsiteY10" fmla="*/ 352679 h 715374"/>
                  <a:gd name="connsiteX11" fmla="*/ 477917 w 786911"/>
                  <a:gd name="connsiteY11" fmla="*/ 322205 h 715374"/>
                  <a:gd name="connsiteX12" fmla="*/ 468019 w 786911"/>
                  <a:gd name="connsiteY12" fmla="*/ 322788 h 715374"/>
                  <a:gd name="connsiteX13" fmla="*/ 467759 w 786911"/>
                  <a:gd name="connsiteY13" fmla="*/ 331791 h 715374"/>
                  <a:gd name="connsiteX14" fmla="*/ 477631 w 786911"/>
                  <a:gd name="connsiteY14" fmla="*/ 331791 h 715374"/>
                  <a:gd name="connsiteX15" fmla="*/ 477793 w 786911"/>
                  <a:gd name="connsiteY15" fmla="*/ 322080 h 715374"/>
                  <a:gd name="connsiteX16" fmla="*/ 477631 w 786911"/>
                  <a:gd name="connsiteY16" fmla="*/ 321918 h 715374"/>
                  <a:gd name="connsiteX17" fmla="*/ 510252 w 786911"/>
                  <a:gd name="connsiteY17" fmla="*/ 291587 h 715374"/>
                  <a:gd name="connsiteX18" fmla="*/ 501147 w 786911"/>
                  <a:gd name="connsiteY18" fmla="*/ 291495 h 715374"/>
                  <a:gd name="connsiteX19" fmla="*/ 501057 w 786911"/>
                  <a:gd name="connsiteY19" fmla="*/ 300600 h 715374"/>
                  <a:gd name="connsiteX20" fmla="*/ 510161 w 786911"/>
                  <a:gd name="connsiteY20" fmla="*/ 300692 h 715374"/>
                  <a:gd name="connsiteX21" fmla="*/ 510252 w 786911"/>
                  <a:gd name="connsiteY21" fmla="*/ 300600 h 715374"/>
                  <a:gd name="connsiteX22" fmla="*/ 510364 w 786911"/>
                  <a:gd name="connsiteY22" fmla="*/ 291698 h 715374"/>
                  <a:gd name="connsiteX23" fmla="*/ 510252 w 786911"/>
                  <a:gd name="connsiteY23" fmla="*/ 291587 h 715374"/>
                  <a:gd name="connsiteX24" fmla="*/ 542873 w 786911"/>
                  <a:gd name="connsiteY24" fmla="*/ 261112 h 715374"/>
                  <a:gd name="connsiteX25" fmla="*/ 534575 w 786911"/>
                  <a:gd name="connsiteY25" fmla="*/ 261112 h 715374"/>
                  <a:gd name="connsiteX26" fmla="*/ 534289 w 786911"/>
                  <a:gd name="connsiteY26" fmla="*/ 269410 h 715374"/>
                  <a:gd name="connsiteX27" fmla="*/ 542587 w 786911"/>
                  <a:gd name="connsiteY27" fmla="*/ 269696 h 715374"/>
                  <a:gd name="connsiteX28" fmla="*/ 542587 w 786911"/>
                  <a:gd name="connsiteY28" fmla="*/ 261398 h 715374"/>
                  <a:gd name="connsiteX29" fmla="*/ 575065 w 786911"/>
                  <a:gd name="connsiteY29" fmla="*/ 230923 h 715374"/>
                  <a:gd name="connsiteX30" fmla="*/ 567625 w 786911"/>
                  <a:gd name="connsiteY30" fmla="*/ 230923 h 715374"/>
                  <a:gd name="connsiteX31" fmla="*/ 567625 w 786911"/>
                  <a:gd name="connsiteY31" fmla="*/ 238506 h 715374"/>
                  <a:gd name="connsiteX32" fmla="*/ 575065 w 786911"/>
                  <a:gd name="connsiteY32" fmla="*/ 238506 h 715374"/>
                  <a:gd name="connsiteX33" fmla="*/ 575065 w 786911"/>
                  <a:gd name="connsiteY33" fmla="*/ 230923 h 715374"/>
                  <a:gd name="connsiteX34" fmla="*/ 607543 w 786911"/>
                  <a:gd name="connsiteY34" fmla="*/ 200162 h 715374"/>
                  <a:gd name="connsiteX35" fmla="*/ 600819 w 786911"/>
                  <a:gd name="connsiteY35" fmla="*/ 200019 h 715374"/>
                  <a:gd name="connsiteX36" fmla="*/ 600676 w 786911"/>
                  <a:gd name="connsiteY36" fmla="*/ 206743 h 715374"/>
                  <a:gd name="connsiteX37" fmla="*/ 607400 w 786911"/>
                  <a:gd name="connsiteY37" fmla="*/ 206886 h 715374"/>
                  <a:gd name="connsiteX38" fmla="*/ 607543 w 786911"/>
                  <a:gd name="connsiteY38" fmla="*/ 200162 h 715374"/>
                  <a:gd name="connsiteX39" fmla="*/ 640164 w 786911"/>
                  <a:gd name="connsiteY39" fmla="*/ 169687 h 715374"/>
                  <a:gd name="connsiteX40" fmla="*/ 634298 w 786911"/>
                  <a:gd name="connsiteY40" fmla="*/ 169544 h 715374"/>
                  <a:gd name="connsiteX41" fmla="*/ 634155 w 786911"/>
                  <a:gd name="connsiteY41" fmla="*/ 169687 h 715374"/>
                  <a:gd name="connsiteX42" fmla="*/ 633951 w 786911"/>
                  <a:gd name="connsiteY42" fmla="*/ 175348 h 715374"/>
                  <a:gd name="connsiteX43" fmla="*/ 634155 w 786911"/>
                  <a:gd name="connsiteY43" fmla="*/ 175553 h 715374"/>
                  <a:gd name="connsiteX44" fmla="*/ 640021 w 786911"/>
                  <a:gd name="connsiteY44" fmla="*/ 175553 h 715374"/>
                  <a:gd name="connsiteX45" fmla="*/ 640021 w 786911"/>
                  <a:gd name="connsiteY45" fmla="*/ 169544 h 715374"/>
                  <a:gd name="connsiteX46" fmla="*/ 672499 w 786911"/>
                  <a:gd name="connsiteY46" fmla="*/ 139069 h 715374"/>
                  <a:gd name="connsiteX47" fmla="*/ 667253 w 786911"/>
                  <a:gd name="connsiteY47" fmla="*/ 139452 h 715374"/>
                  <a:gd name="connsiteX48" fmla="*/ 667062 w 786911"/>
                  <a:gd name="connsiteY48" fmla="*/ 144076 h 715374"/>
                  <a:gd name="connsiteX49" fmla="*/ 672356 w 786911"/>
                  <a:gd name="connsiteY49" fmla="*/ 144076 h 715374"/>
                  <a:gd name="connsiteX50" fmla="*/ 672449 w 786911"/>
                  <a:gd name="connsiteY50" fmla="*/ 139019 h 715374"/>
                  <a:gd name="connsiteX51" fmla="*/ 672356 w 786911"/>
                  <a:gd name="connsiteY51" fmla="*/ 138926 h 715374"/>
                  <a:gd name="connsiteX52" fmla="*/ 704834 w 786911"/>
                  <a:gd name="connsiteY52" fmla="*/ 108451 h 715374"/>
                  <a:gd name="connsiteX53" fmla="*/ 700383 w 786911"/>
                  <a:gd name="connsiteY53" fmla="*/ 108435 h 715374"/>
                  <a:gd name="connsiteX54" fmla="*/ 700367 w 786911"/>
                  <a:gd name="connsiteY54" fmla="*/ 112886 h 715374"/>
                  <a:gd name="connsiteX55" fmla="*/ 704818 w 786911"/>
                  <a:gd name="connsiteY55" fmla="*/ 112902 h 715374"/>
                  <a:gd name="connsiteX56" fmla="*/ 704834 w 786911"/>
                  <a:gd name="connsiteY56" fmla="*/ 112886 h 715374"/>
                  <a:gd name="connsiteX57" fmla="*/ 704834 w 786911"/>
                  <a:gd name="connsiteY57" fmla="*/ 108451 h 715374"/>
                  <a:gd name="connsiteX58" fmla="*/ 737312 w 786911"/>
                  <a:gd name="connsiteY58" fmla="*/ 77976 h 715374"/>
                  <a:gd name="connsiteX59" fmla="*/ 733735 w 786911"/>
                  <a:gd name="connsiteY59" fmla="*/ 77976 h 715374"/>
                  <a:gd name="connsiteX60" fmla="*/ 733664 w 786911"/>
                  <a:gd name="connsiteY60" fmla="*/ 81624 h 715374"/>
                  <a:gd name="connsiteX61" fmla="*/ 737312 w 786911"/>
                  <a:gd name="connsiteY61" fmla="*/ 81696 h 715374"/>
                  <a:gd name="connsiteX62" fmla="*/ 737452 w 786911"/>
                  <a:gd name="connsiteY62" fmla="*/ 78259 h 715374"/>
                  <a:gd name="connsiteX63" fmla="*/ 737312 w 786911"/>
                  <a:gd name="connsiteY63" fmla="*/ 78119 h 715374"/>
                  <a:gd name="connsiteX64" fmla="*/ 432133 w 786911"/>
                  <a:gd name="connsiteY64" fmla="*/ 403185 h 715374"/>
                  <a:gd name="connsiteX65" fmla="*/ 421546 w 786911"/>
                  <a:gd name="connsiteY65" fmla="*/ 403185 h 715374"/>
                  <a:gd name="connsiteX66" fmla="*/ 421546 w 786911"/>
                  <a:gd name="connsiteY66" fmla="*/ 414631 h 715374"/>
                  <a:gd name="connsiteX67" fmla="*/ 432992 w 786911"/>
                  <a:gd name="connsiteY67" fmla="*/ 414631 h 715374"/>
                  <a:gd name="connsiteX68" fmla="*/ 432992 w 786911"/>
                  <a:gd name="connsiteY68" fmla="*/ 403328 h 715374"/>
                  <a:gd name="connsiteX69" fmla="*/ 464468 w 786911"/>
                  <a:gd name="connsiteY69" fmla="*/ 373282 h 715374"/>
                  <a:gd name="connsiteX70" fmla="*/ 453947 w 786911"/>
                  <a:gd name="connsiteY70" fmla="*/ 373216 h 715374"/>
                  <a:gd name="connsiteX71" fmla="*/ 453881 w 786911"/>
                  <a:gd name="connsiteY71" fmla="*/ 373282 h 715374"/>
                  <a:gd name="connsiteX72" fmla="*/ 453755 w 786911"/>
                  <a:gd name="connsiteY72" fmla="*/ 383601 h 715374"/>
                  <a:gd name="connsiteX73" fmla="*/ 453881 w 786911"/>
                  <a:gd name="connsiteY73" fmla="*/ 383727 h 715374"/>
                  <a:gd name="connsiteX74" fmla="*/ 464403 w 786911"/>
                  <a:gd name="connsiteY74" fmla="*/ 383793 h 715374"/>
                  <a:gd name="connsiteX75" fmla="*/ 464468 w 786911"/>
                  <a:gd name="connsiteY75" fmla="*/ 383727 h 715374"/>
                  <a:gd name="connsiteX76" fmla="*/ 464468 w 786911"/>
                  <a:gd name="connsiteY76" fmla="*/ 373139 h 715374"/>
                  <a:gd name="connsiteX77" fmla="*/ 496946 w 786911"/>
                  <a:gd name="connsiteY77" fmla="*/ 342664 h 715374"/>
                  <a:gd name="connsiteX78" fmla="*/ 487236 w 786911"/>
                  <a:gd name="connsiteY78" fmla="*/ 342503 h 715374"/>
                  <a:gd name="connsiteX79" fmla="*/ 487074 w 786911"/>
                  <a:gd name="connsiteY79" fmla="*/ 342664 h 715374"/>
                  <a:gd name="connsiteX80" fmla="*/ 487074 w 786911"/>
                  <a:gd name="connsiteY80" fmla="*/ 352393 h 715374"/>
                  <a:gd name="connsiteX81" fmla="*/ 496785 w 786911"/>
                  <a:gd name="connsiteY81" fmla="*/ 352555 h 715374"/>
                  <a:gd name="connsiteX82" fmla="*/ 496946 w 786911"/>
                  <a:gd name="connsiteY82" fmla="*/ 352393 h 715374"/>
                  <a:gd name="connsiteX83" fmla="*/ 496946 w 786911"/>
                  <a:gd name="connsiteY83" fmla="*/ 342664 h 715374"/>
                  <a:gd name="connsiteX84" fmla="*/ 529424 w 786911"/>
                  <a:gd name="connsiteY84" fmla="*/ 312189 h 715374"/>
                  <a:gd name="connsiteX85" fmla="*/ 520319 w 786911"/>
                  <a:gd name="connsiteY85" fmla="*/ 312098 h 715374"/>
                  <a:gd name="connsiteX86" fmla="*/ 520229 w 786911"/>
                  <a:gd name="connsiteY86" fmla="*/ 321203 h 715374"/>
                  <a:gd name="connsiteX87" fmla="*/ 529333 w 786911"/>
                  <a:gd name="connsiteY87" fmla="*/ 321295 h 715374"/>
                  <a:gd name="connsiteX88" fmla="*/ 529424 w 786911"/>
                  <a:gd name="connsiteY88" fmla="*/ 321203 h 715374"/>
                  <a:gd name="connsiteX89" fmla="*/ 529536 w 786911"/>
                  <a:gd name="connsiteY89" fmla="*/ 312301 h 715374"/>
                  <a:gd name="connsiteX90" fmla="*/ 529424 w 786911"/>
                  <a:gd name="connsiteY90" fmla="*/ 312189 h 715374"/>
                  <a:gd name="connsiteX91" fmla="*/ 561902 w 786911"/>
                  <a:gd name="connsiteY91" fmla="*/ 281714 h 715374"/>
                  <a:gd name="connsiteX92" fmla="*/ 554016 w 786911"/>
                  <a:gd name="connsiteY92" fmla="*/ 281445 h 715374"/>
                  <a:gd name="connsiteX93" fmla="*/ 553747 w 786911"/>
                  <a:gd name="connsiteY93" fmla="*/ 281714 h 715374"/>
                  <a:gd name="connsiteX94" fmla="*/ 553540 w 786911"/>
                  <a:gd name="connsiteY94" fmla="*/ 289805 h 715374"/>
                  <a:gd name="connsiteX95" fmla="*/ 553747 w 786911"/>
                  <a:gd name="connsiteY95" fmla="*/ 290013 h 715374"/>
                  <a:gd name="connsiteX96" fmla="*/ 561902 w 786911"/>
                  <a:gd name="connsiteY96" fmla="*/ 290013 h 715374"/>
                  <a:gd name="connsiteX97" fmla="*/ 562110 w 786911"/>
                  <a:gd name="connsiteY97" fmla="*/ 281922 h 715374"/>
                  <a:gd name="connsiteX98" fmla="*/ 561902 w 786911"/>
                  <a:gd name="connsiteY98" fmla="*/ 281714 h 715374"/>
                  <a:gd name="connsiteX99" fmla="*/ 594523 w 786911"/>
                  <a:gd name="connsiteY99" fmla="*/ 251239 h 715374"/>
                  <a:gd name="connsiteX100" fmla="*/ 586940 w 786911"/>
                  <a:gd name="connsiteY100" fmla="*/ 251239 h 715374"/>
                  <a:gd name="connsiteX101" fmla="*/ 586940 w 786911"/>
                  <a:gd name="connsiteY101" fmla="*/ 258679 h 715374"/>
                  <a:gd name="connsiteX102" fmla="*/ 594523 w 786911"/>
                  <a:gd name="connsiteY102" fmla="*/ 258679 h 715374"/>
                  <a:gd name="connsiteX103" fmla="*/ 594523 w 786911"/>
                  <a:gd name="connsiteY103" fmla="*/ 251239 h 715374"/>
                  <a:gd name="connsiteX104" fmla="*/ 627001 w 786911"/>
                  <a:gd name="connsiteY104" fmla="*/ 220764 h 715374"/>
                  <a:gd name="connsiteX105" fmla="*/ 620324 w 786911"/>
                  <a:gd name="connsiteY105" fmla="*/ 220812 h 715374"/>
                  <a:gd name="connsiteX106" fmla="*/ 620371 w 786911"/>
                  <a:gd name="connsiteY106" fmla="*/ 227489 h 715374"/>
                  <a:gd name="connsiteX107" fmla="*/ 627001 w 786911"/>
                  <a:gd name="connsiteY107" fmla="*/ 227489 h 715374"/>
                  <a:gd name="connsiteX108" fmla="*/ 627049 w 786911"/>
                  <a:gd name="connsiteY108" fmla="*/ 220812 h 715374"/>
                  <a:gd name="connsiteX109" fmla="*/ 627001 w 786911"/>
                  <a:gd name="connsiteY109" fmla="*/ 220764 h 715374"/>
                  <a:gd name="connsiteX110" fmla="*/ 659479 w 786911"/>
                  <a:gd name="connsiteY110" fmla="*/ 190290 h 715374"/>
                  <a:gd name="connsiteX111" fmla="*/ 653470 w 786911"/>
                  <a:gd name="connsiteY111" fmla="*/ 190290 h 715374"/>
                  <a:gd name="connsiteX112" fmla="*/ 653470 w 786911"/>
                  <a:gd name="connsiteY112" fmla="*/ 196299 h 715374"/>
                  <a:gd name="connsiteX113" fmla="*/ 659479 w 786911"/>
                  <a:gd name="connsiteY113" fmla="*/ 196299 h 715374"/>
                  <a:gd name="connsiteX114" fmla="*/ 659479 w 786911"/>
                  <a:gd name="connsiteY114" fmla="*/ 190433 h 715374"/>
                  <a:gd name="connsiteX115" fmla="*/ 692243 w 786911"/>
                  <a:gd name="connsiteY115" fmla="*/ 159958 h 715374"/>
                  <a:gd name="connsiteX116" fmla="*/ 687186 w 786911"/>
                  <a:gd name="connsiteY116" fmla="*/ 159865 h 715374"/>
                  <a:gd name="connsiteX117" fmla="*/ 687093 w 786911"/>
                  <a:gd name="connsiteY117" fmla="*/ 159958 h 715374"/>
                  <a:gd name="connsiteX118" fmla="*/ 687093 w 786911"/>
                  <a:gd name="connsiteY118" fmla="*/ 165251 h 715374"/>
                  <a:gd name="connsiteX119" fmla="*/ 692150 w 786911"/>
                  <a:gd name="connsiteY119" fmla="*/ 165344 h 715374"/>
                  <a:gd name="connsiteX120" fmla="*/ 692243 w 786911"/>
                  <a:gd name="connsiteY120" fmla="*/ 165251 h 715374"/>
                  <a:gd name="connsiteX121" fmla="*/ 692336 w 786911"/>
                  <a:gd name="connsiteY121" fmla="*/ 160194 h 715374"/>
                  <a:gd name="connsiteX122" fmla="*/ 692243 w 786911"/>
                  <a:gd name="connsiteY122" fmla="*/ 160101 h 715374"/>
                  <a:gd name="connsiteX123" fmla="*/ 724864 w 786911"/>
                  <a:gd name="connsiteY123" fmla="*/ 129483 h 715374"/>
                  <a:gd name="connsiteX124" fmla="*/ 720429 w 786911"/>
                  <a:gd name="connsiteY124" fmla="*/ 129483 h 715374"/>
                  <a:gd name="connsiteX125" fmla="*/ 720176 w 786911"/>
                  <a:gd name="connsiteY125" fmla="*/ 133522 h 715374"/>
                  <a:gd name="connsiteX126" fmla="*/ 720429 w 786911"/>
                  <a:gd name="connsiteY126" fmla="*/ 133775 h 715374"/>
                  <a:gd name="connsiteX127" fmla="*/ 724674 w 786911"/>
                  <a:gd name="connsiteY127" fmla="*/ 133965 h 715374"/>
                  <a:gd name="connsiteX128" fmla="*/ 724864 w 786911"/>
                  <a:gd name="connsiteY128" fmla="*/ 133775 h 715374"/>
                  <a:gd name="connsiteX129" fmla="*/ 724864 w 786911"/>
                  <a:gd name="connsiteY129" fmla="*/ 129340 h 715374"/>
                  <a:gd name="connsiteX130" fmla="*/ 757343 w 786911"/>
                  <a:gd name="connsiteY130" fmla="*/ 98865 h 715374"/>
                  <a:gd name="connsiteX131" fmla="*/ 753623 w 786911"/>
                  <a:gd name="connsiteY131" fmla="*/ 98865 h 715374"/>
                  <a:gd name="connsiteX132" fmla="*/ 753551 w 786911"/>
                  <a:gd name="connsiteY132" fmla="*/ 102513 h 715374"/>
                  <a:gd name="connsiteX133" fmla="*/ 757199 w 786911"/>
                  <a:gd name="connsiteY133" fmla="*/ 102585 h 715374"/>
                  <a:gd name="connsiteX134" fmla="*/ 757199 w 786911"/>
                  <a:gd name="connsiteY134" fmla="*/ 98865 h 715374"/>
                  <a:gd name="connsiteX135" fmla="*/ 451592 w 786911"/>
                  <a:gd name="connsiteY135" fmla="*/ 424503 h 715374"/>
                  <a:gd name="connsiteX136" fmla="*/ 440260 w 786911"/>
                  <a:gd name="connsiteY136" fmla="*/ 424474 h 715374"/>
                  <a:gd name="connsiteX137" fmla="*/ 440233 w 786911"/>
                  <a:gd name="connsiteY137" fmla="*/ 435806 h 715374"/>
                  <a:gd name="connsiteX138" fmla="*/ 451563 w 786911"/>
                  <a:gd name="connsiteY138" fmla="*/ 435835 h 715374"/>
                  <a:gd name="connsiteX139" fmla="*/ 451592 w 786911"/>
                  <a:gd name="connsiteY139" fmla="*/ 435806 h 715374"/>
                  <a:gd name="connsiteX140" fmla="*/ 451592 w 786911"/>
                  <a:gd name="connsiteY140" fmla="*/ 424503 h 715374"/>
                  <a:gd name="connsiteX141" fmla="*/ 484070 w 786911"/>
                  <a:gd name="connsiteY141" fmla="*/ 394028 h 715374"/>
                  <a:gd name="connsiteX142" fmla="*/ 473754 w 786911"/>
                  <a:gd name="connsiteY142" fmla="*/ 393756 h 715374"/>
                  <a:gd name="connsiteX143" fmla="*/ 473482 w 786911"/>
                  <a:gd name="connsiteY143" fmla="*/ 394028 h 715374"/>
                  <a:gd name="connsiteX144" fmla="*/ 473196 w 786911"/>
                  <a:gd name="connsiteY144" fmla="*/ 404616 h 715374"/>
                  <a:gd name="connsiteX145" fmla="*/ 483783 w 786911"/>
                  <a:gd name="connsiteY145" fmla="*/ 404902 h 715374"/>
                  <a:gd name="connsiteX146" fmla="*/ 483909 w 786911"/>
                  <a:gd name="connsiteY146" fmla="*/ 394583 h 715374"/>
                  <a:gd name="connsiteX147" fmla="*/ 483783 w 786911"/>
                  <a:gd name="connsiteY147" fmla="*/ 394457 h 715374"/>
                  <a:gd name="connsiteX148" fmla="*/ 516261 w 786911"/>
                  <a:gd name="connsiteY148" fmla="*/ 363839 h 715374"/>
                  <a:gd name="connsiteX149" fmla="*/ 506532 w 786911"/>
                  <a:gd name="connsiteY149" fmla="*/ 363839 h 715374"/>
                  <a:gd name="connsiteX150" fmla="*/ 506371 w 786911"/>
                  <a:gd name="connsiteY150" fmla="*/ 373550 h 715374"/>
                  <a:gd name="connsiteX151" fmla="*/ 506532 w 786911"/>
                  <a:gd name="connsiteY151" fmla="*/ 373711 h 715374"/>
                  <a:gd name="connsiteX152" fmla="*/ 516261 w 786911"/>
                  <a:gd name="connsiteY152" fmla="*/ 373711 h 715374"/>
                  <a:gd name="connsiteX153" fmla="*/ 516423 w 786911"/>
                  <a:gd name="connsiteY153" fmla="*/ 364001 h 715374"/>
                  <a:gd name="connsiteX154" fmla="*/ 516261 w 786911"/>
                  <a:gd name="connsiteY154" fmla="*/ 363839 h 715374"/>
                  <a:gd name="connsiteX155" fmla="*/ 548883 w 786911"/>
                  <a:gd name="connsiteY155" fmla="*/ 333364 h 715374"/>
                  <a:gd name="connsiteX156" fmla="*/ 539726 w 786911"/>
                  <a:gd name="connsiteY156" fmla="*/ 333364 h 715374"/>
                  <a:gd name="connsiteX157" fmla="*/ 539726 w 786911"/>
                  <a:gd name="connsiteY157" fmla="*/ 342521 h 715374"/>
                  <a:gd name="connsiteX158" fmla="*/ 548883 w 786911"/>
                  <a:gd name="connsiteY158" fmla="*/ 342521 h 715374"/>
                  <a:gd name="connsiteX159" fmla="*/ 548883 w 786911"/>
                  <a:gd name="connsiteY159" fmla="*/ 333364 h 715374"/>
                  <a:gd name="connsiteX160" fmla="*/ 581647 w 786911"/>
                  <a:gd name="connsiteY160" fmla="*/ 303033 h 715374"/>
                  <a:gd name="connsiteX161" fmla="*/ 573348 w 786911"/>
                  <a:gd name="connsiteY161" fmla="*/ 302746 h 715374"/>
                  <a:gd name="connsiteX162" fmla="*/ 573062 w 786911"/>
                  <a:gd name="connsiteY162" fmla="*/ 311045 h 715374"/>
                  <a:gd name="connsiteX163" fmla="*/ 581153 w 786911"/>
                  <a:gd name="connsiteY163" fmla="*/ 311252 h 715374"/>
                  <a:gd name="connsiteX164" fmla="*/ 581360 w 786911"/>
                  <a:gd name="connsiteY164" fmla="*/ 311045 h 715374"/>
                  <a:gd name="connsiteX165" fmla="*/ 581363 w 786911"/>
                  <a:gd name="connsiteY165" fmla="*/ 302749 h 715374"/>
                  <a:gd name="connsiteX166" fmla="*/ 581360 w 786911"/>
                  <a:gd name="connsiteY166" fmla="*/ 302746 h 715374"/>
                  <a:gd name="connsiteX167" fmla="*/ 613839 w 786911"/>
                  <a:gd name="connsiteY167" fmla="*/ 272271 h 715374"/>
                  <a:gd name="connsiteX168" fmla="*/ 606353 w 786911"/>
                  <a:gd name="connsiteY168" fmla="*/ 272369 h 715374"/>
                  <a:gd name="connsiteX169" fmla="*/ 606450 w 786911"/>
                  <a:gd name="connsiteY169" fmla="*/ 279854 h 715374"/>
                  <a:gd name="connsiteX170" fmla="*/ 613839 w 786911"/>
                  <a:gd name="connsiteY170" fmla="*/ 279854 h 715374"/>
                  <a:gd name="connsiteX171" fmla="*/ 613839 w 786911"/>
                  <a:gd name="connsiteY171" fmla="*/ 272271 h 715374"/>
                  <a:gd name="connsiteX172" fmla="*/ 646316 w 786911"/>
                  <a:gd name="connsiteY172" fmla="*/ 241797 h 715374"/>
                  <a:gd name="connsiteX173" fmla="*/ 639639 w 786911"/>
                  <a:gd name="connsiteY173" fmla="*/ 241844 h 715374"/>
                  <a:gd name="connsiteX174" fmla="*/ 639686 w 786911"/>
                  <a:gd name="connsiteY174" fmla="*/ 248521 h 715374"/>
                  <a:gd name="connsiteX175" fmla="*/ 646316 w 786911"/>
                  <a:gd name="connsiteY175" fmla="*/ 248521 h 715374"/>
                  <a:gd name="connsiteX176" fmla="*/ 646364 w 786911"/>
                  <a:gd name="connsiteY176" fmla="*/ 241844 h 715374"/>
                  <a:gd name="connsiteX177" fmla="*/ 646316 w 786911"/>
                  <a:gd name="connsiteY177" fmla="*/ 241797 h 715374"/>
                  <a:gd name="connsiteX178" fmla="*/ 679081 w 786911"/>
                  <a:gd name="connsiteY178" fmla="*/ 211035 h 715374"/>
                  <a:gd name="connsiteX179" fmla="*/ 673011 w 786911"/>
                  <a:gd name="connsiteY179" fmla="*/ 211118 h 715374"/>
                  <a:gd name="connsiteX180" fmla="*/ 673094 w 786911"/>
                  <a:gd name="connsiteY180" fmla="*/ 217188 h 715374"/>
                  <a:gd name="connsiteX181" fmla="*/ 679081 w 786911"/>
                  <a:gd name="connsiteY181" fmla="*/ 217188 h 715374"/>
                  <a:gd name="connsiteX182" fmla="*/ 679081 w 786911"/>
                  <a:gd name="connsiteY182" fmla="*/ 211179 h 715374"/>
                  <a:gd name="connsiteX183" fmla="*/ 711559 w 786911"/>
                  <a:gd name="connsiteY183" fmla="*/ 180704 h 715374"/>
                  <a:gd name="connsiteX184" fmla="*/ 706501 w 786911"/>
                  <a:gd name="connsiteY184" fmla="*/ 180611 h 715374"/>
                  <a:gd name="connsiteX185" fmla="*/ 706408 w 786911"/>
                  <a:gd name="connsiteY185" fmla="*/ 180704 h 715374"/>
                  <a:gd name="connsiteX186" fmla="*/ 706315 w 786911"/>
                  <a:gd name="connsiteY186" fmla="*/ 185761 h 715374"/>
                  <a:gd name="connsiteX187" fmla="*/ 706408 w 786911"/>
                  <a:gd name="connsiteY187" fmla="*/ 185854 h 715374"/>
                  <a:gd name="connsiteX188" fmla="*/ 711466 w 786911"/>
                  <a:gd name="connsiteY188" fmla="*/ 185947 h 715374"/>
                  <a:gd name="connsiteX189" fmla="*/ 711559 w 786911"/>
                  <a:gd name="connsiteY189" fmla="*/ 185854 h 715374"/>
                  <a:gd name="connsiteX190" fmla="*/ 711559 w 786911"/>
                  <a:gd name="connsiteY190" fmla="*/ 180560 h 715374"/>
                  <a:gd name="connsiteX191" fmla="*/ 744037 w 786911"/>
                  <a:gd name="connsiteY191" fmla="*/ 150086 h 715374"/>
                  <a:gd name="connsiteX192" fmla="*/ 739601 w 786911"/>
                  <a:gd name="connsiteY192" fmla="*/ 150086 h 715374"/>
                  <a:gd name="connsiteX193" fmla="*/ 739601 w 786911"/>
                  <a:gd name="connsiteY193" fmla="*/ 154521 h 715374"/>
                  <a:gd name="connsiteX194" fmla="*/ 744037 w 786911"/>
                  <a:gd name="connsiteY194" fmla="*/ 154521 h 715374"/>
                  <a:gd name="connsiteX195" fmla="*/ 744227 w 786911"/>
                  <a:gd name="connsiteY195" fmla="*/ 150276 h 715374"/>
                  <a:gd name="connsiteX196" fmla="*/ 744037 w 786911"/>
                  <a:gd name="connsiteY196" fmla="*/ 150086 h 715374"/>
                  <a:gd name="connsiteX197" fmla="*/ 776658 w 786911"/>
                  <a:gd name="connsiteY197" fmla="*/ 119611 h 715374"/>
                  <a:gd name="connsiteX198" fmla="*/ 773016 w 786911"/>
                  <a:gd name="connsiteY198" fmla="*/ 119689 h 715374"/>
                  <a:gd name="connsiteX199" fmla="*/ 773095 w 786911"/>
                  <a:gd name="connsiteY199" fmla="*/ 123331 h 715374"/>
                  <a:gd name="connsiteX200" fmla="*/ 776658 w 786911"/>
                  <a:gd name="connsiteY200" fmla="*/ 123331 h 715374"/>
                  <a:gd name="connsiteX201" fmla="*/ 776658 w 786911"/>
                  <a:gd name="connsiteY201" fmla="*/ 119611 h 715374"/>
                  <a:gd name="connsiteX202" fmla="*/ 354587 w 786911"/>
                  <a:gd name="connsiteY202" fmla="*/ 320917 h 715374"/>
                  <a:gd name="connsiteX203" fmla="*/ 343284 w 786911"/>
                  <a:gd name="connsiteY203" fmla="*/ 320917 h 715374"/>
                  <a:gd name="connsiteX204" fmla="*/ 343526 w 786911"/>
                  <a:gd name="connsiteY204" fmla="*/ 332246 h 715374"/>
                  <a:gd name="connsiteX205" fmla="*/ 354158 w 786911"/>
                  <a:gd name="connsiteY205" fmla="*/ 332649 h 715374"/>
                  <a:gd name="connsiteX206" fmla="*/ 354158 w 786911"/>
                  <a:gd name="connsiteY206" fmla="*/ 321203 h 715374"/>
                  <a:gd name="connsiteX207" fmla="*/ 386636 w 786911"/>
                  <a:gd name="connsiteY207" fmla="*/ 290728 h 715374"/>
                  <a:gd name="connsiteX208" fmla="*/ 376114 w 786911"/>
                  <a:gd name="connsiteY208" fmla="*/ 290794 h 715374"/>
                  <a:gd name="connsiteX209" fmla="*/ 376180 w 786911"/>
                  <a:gd name="connsiteY209" fmla="*/ 301316 h 715374"/>
                  <a:gd name="connsiteX210" fmla="*/ 386636 w 786911"/>
                  <a:gd name="connsiteY210" fmla="*/ 301316 h 715374"/>
                  <a:gd name="connsiteX211" fmla="*/ 386702 w 786911"/>
                  <a:gd name="connsiteY211" fmla="*/ 290794 h 715374"/>
                  <a:gd name="connsiteX212" fmla="*/ 386636 w 786911"/>
                  <a:gd name="connsiteY212" fmla="*/ 290728 h 715374"/>
                  <a:gd name="connsiteX213" fmla="*/ 419543 w 786911"/>
                  <a:gd name="connsiteY213" fmla="*/ 260110 h 715374"/>
                  <a:gd name="connsiteX214" fmla="*/ 409814 w 786911"/>
                  <a:gd name="connsiteY214" fmla="*/ 260110 h 715374"/>
                  <a:gd name="connsiteX215" fmla="*/ 409652 w 786911"/>
                  <a:gd name="connsiteY215" fmla="*/ 269821 h 715374"/>
                  <a:gd name="connsiteX216" fmla="*/ 409814 w 786911"/>
                  <a:gd name="connsiteY216" fmla="*/ 269982 h 715374"/>
                  <a:gd name="connsiteX217" fmla="*/ 419543 w 786911"/>
                  <a:gd name="connsiteY217" fmla="*/ 269982 h 715374"/>
                  <a:gd name="connsiteX218" fmla="*/ 419705 w 786911"/>
                  <a:gd name="connsiteY218" fmla="*/ 260272 h 715374"/>
                  <a:gd name="connsiteX219" fmla="*/ 419543 w 786911"/>
                  <a:gd name="connsiteY219" fmla="*/ 260110 h 715374"/>
                  <a:gd name="connsiteX220" fmla="*/ 452164 w 786911"/>
                  <a:gd name="connsiteY220" fmla="*/ 229635 h 715374"/>
                  <a:gd name="connsiteX221" fmla="*/ 443060 w 786911"/>
                  <a:gd name="connsiteY221" fmla="*/ 229762 h 715374"/>
                  <a:gd name="connsiteX222" fmla="*/ 442721 w 786911"/>
                  <a:gd name="connsiteY222" fmla="*/ 238363 h 715374"/>
                  <a:gd name="connsiteX223" fmla="*/ 451878 w 786911"/>
                  <a:gd name="connsiteY223" fmla="*/ 238363 h 715374"/>
                  <a:gd name="connsiteX224" fmla="*/ 451989 w 786911"/>
                  <a:gd name="connsiteY224" fmla="*/ 229461 h 715374"/>
                  <a:gd name="connsiteX225" fmla="*/ 451878 w 786911"/>
                  <a:gd name="connsiteY225" fmla="*/ 229349 h 715374"/>
                  <a:gd name="connsiteX226" fmla="*/ 484356 w 786911"/>
                  <a:gd name="connsiteY226" fmla="*/ 198874 h 715374"/>
                  <a:gd name="connsiteX227" fmla="*/ 476057 w 786911"/>
                  <a:gd name="connsiteY227" fmla="*/ 198588 h 715374"/>
                  <a:gd name="connsiteX228" fmla="*/ 475771 w 786911"/>
                  <a:gd name="connsiteY228" fmla="*/ 206886 h 715374"/>
                  <a:gd name="connsiteX229" fmla="*/ 484070 w 786911"/>
                  <a:gd name="connsiteY229" fmla="*/ 207172 h 715374"/>
                  <a:gd name="connsiteX230" fmla="*/ 484356 w 786911"/>
                  <a:gd name="connsiteY230" fmla="*/ 198874 h 715374"/>
                  <a:gd name="connsiteX231" fmla="*/ 516834 w 786911"/>
                  <a:gd name="connsiteY231" fmla="*/ 168399 h 715374"/>
                  <a:gd name="connsiteX232" fmla="*/ 509394 w 786911"/>
                  <a:gd name="connsiteY232" fmla="*/ 168399 h 715374"/>
                  <a:gd name="connsiteX233" fmla="*/ 509149 w 786911"/>
                  <a:gd name="connsiteY233" fmla="*/ 176084 h 715374"/>
                  <a:gd name="connsiteX234" fmla="*/ 516834 w 786911"/>
                  <a:gd name="connsiteY234" fmla="*/ 176330 h 715374"/>
                  <a:gd name="connsiteX235" fmla="*/ 517078 w 786911"/>
                  <a:gd name="connsiteY235" fmla="*/ 168644 h 715374"/>
                  <a:gd name="connsiteX236" fmla="*/ 516834 w 786911"/>
                  <a:gd name="connsiteY236" fmla="*/ 168399 h 715374"/>
                  <a:gd name="connsiteX237" fmla="*/ 550313 w 786911"/>
                  <a:gd name="connsiteY237" fmla="*/ 138067 h 715374"/>
                  <a:gd name="connsiteX238" fmla="*/ 543446 w 786911"/>
                  <a:gd name="connsiteY238" fmla="*/ 138067 h 715374"/>
                  <a:gd name="connsiteX239" fmla="*/ 543303 w 786911"/>
                  <a:gd name="connsiteY239" fmla="*/ 144792 h 715374"/>
                  <a:gd name="connsiteX240" fmla="*/ 550027 w 786911"/>
                  <a:gd name="connsiteY240" fmla="*/ 144935 h 715374"/>
                  <a:gd name="connsiteX241" fmla="*/ 550027 w 786911"/>
                  <a:gd name="connsiteY241" fmla="*/ 138210 h 715374"/>
                  <a:gd name="connsiteX242" fmla="*/ 582505 w 786911"/>
                  <a:gd name="connsiteY242" fmla="*/ 107735 h 715374"/>
                  <a:gd name="connsiteX243" fmla="*/ 576496 w 786911"/>
                  <a:gd name="connsiteY243" fmla="*/ 107735 h 715374"/>
                  <a:gd name="connsiteX244" fmla="*/ 576281 w 786911"/>
                  <a:gd name="connsiteY244" fmla="*/ 113673 h 715374"/>
                  <a:gd name="connsiteX245" fmla="*/ 582219 w 786911"/>
                  <a:gd name="connsiteY245" fmla="*/ 113888 h 715374"/>
                  <a:gd name="connsiteX246" fmla="*/ 582219 w 786911"/>
                  <a:gd name="connsiteY246" fmla="*/ 107878 h 715374"/>
                  <a:gd name="connsiteX247" fmla="*/ 614697 w 786911"/>
                  <a:gd name="connsiteY247" fmla="*/ 77404 h 715374"/>
                  <a:gd name="connsiteX248" fmla="*/ 609639 w 786911"/>
                  <a:gd name="connsiteY248" fmla="*/ 77311 h 715374"/>
                  <a:gd name="connsiteX249" fmla="*/ 609546 w 786911"/>
                  <a:gd name="connsiteY249" fmla="*/ 77404 h 715374"/>
                  <a:gd name="connsiteX250" fmla="*/ 609403 w 786911"/>
                  <a:gd name="connsiteY250" fmla="*/ 82554 h 715374"/>
                  <a:gd name="connsiteX251" fmla="*/ 614554 w 786911"/>
                  <a:gd name="connsiteY251" fmla="*/ 82697 h 715374"/>
                  <a:gd name="connsiteX252" fmla="*/ 614647 w 786911"/>
                  <a:gd name="connsiteY252" fmla="*/ 77640 h 715374"/>
                  <a:gd name="connsiteX253" fmla="*/ 614554 w 786911"/>
                  <a:gd name="connsiteY253" fmla="*/ 77547 h 715374"/>
                  <a:gd name="connsiteX254" fmla="*/ 647032 w 786911"/>
                  <a:gd name="connsiteY254" fmla="*/ 47072 h 715374"/>
                  <a:gd name="connsiteX255" fmla="*/ 642596 w 786911"/>
                  <a:gd name="connsiteY255" fmla="*/ 47072 h 715374"/>
                  <a:gd name="connsiteX256" fmla="*/ 642596 w 786911"/>
                  <a:gd name="connsiteY256" fmla="*/ 51507 h 715374"/>
                  <a:gd name="connsiteX257" fmla="*/ 647032 w 786911"/>
                  <a:gd name="connsiteY257" fmla="*/ 51507 h 715374"/>
                  <a:gd name="connsiteX258" fmla="*/ 647222 w 786911"/>
                  <a:gd name="connsiteY258" fmla="*/ 47262 h 715374"/>
                  <a:gd name="connsiteX259" fmla="*/ 647032 w 786911"/>
                  <a:gd name="connsiteY259" fmla="*/ 47072 h 715374"/>
                  <a:gd name="connsiteX260" fmla="*/ 679796 w 786911"/>
                  <a:gd name="connsiteY260" fmla="*/ 16883 h 715374"/>
                  <a:gd name="connsiteX261" fmla="*/ 676155 w 786911"/>
                  <a:gd name="connsiteY261" fmla="*/ 16819 h 715374"/>
                  <a:gd name="connsiteX262" fmla="*/ 676090 w 786911"/>
                  <a:gd name="connsiteY262" fmla="*/ 20460 h 715374"/>
                  <a:gd name="connsiteX263" fmla="*/ 679732 w 786911"/>
                  <a:gd name="connsiteY263" fmla="*/ 20524 h 715374"/>
                  <a:gd name="connsiteX264" fmla="*/ 679796 w 786911"/>
                  <a:gd name="connsiteY264" fmla="*/ 20460 h 715374"/>
                  <a:gd name="connsiteX265" fmla="*/ 679796 w 786911"/>
                  <a:gd name="connsiteY265" fmla="*/ 16883 h 715374"/>
                  <a:gd name="connsiteX266" fmla="*/ 373902 w 786911"/>
                  <a:gd name="connsiteY266" fmla="*/ 341663 h 715374"/>
                  <a:gd name="connsiteX267" fmla="*/ 362599 w 786911"/>
                  <a:gd name="connsiteY267" fmla="*/ 341663 h 715374"/>
                  <a:gd name="connsiteX268" fmla="*/ 362241 w 786911"/>
                  <a:gd name="connsiteY268" fmla="*/ 353037 h 715374"/>
                  <a:gd name="connsiteX269" fmla="*/ 373616 w 786911"/>
                  <a:gd name="connsiteY269" fmla="*/ 353395 h 715374"/>
                  <a:gd name="connsiteX270" fmla="*/ 373616 w 786911"/>
                  <a:gd name="connsiteY270" fmla="*/ 342092 h 715374"/>
                  <a:gd name="connsiteX271" fmla="*/ 407238 w 786911"/>
                  <a:gd name="connsiteY271" fmla="*/ 311188 h 715374"/>
                  <a:gd name="connsiteX272" fmla="*/ 396651 w 786911"/>
                  <a:gd name="connsiteY272" fmla="*/ 310759 h 715374"/>
                  <a:gd name="connsiteX273" fmla="*/ 396222 w 786911"/>
                  <a:gd name="connsiteY273" fmla="*/ 321346 h 715374"/>
                  <a:gd name="connsiteX274" fmla="*/ 406537 w 786911"/>
                  <a:gd name="connsiteY274" fmla="*/ 321618 h 715374"/>
                  <a:gd name="connsiteX275" fmla="*/ 406809 w 786911"/>
                  <a:gd name="connsiteY275" fmla="*/ 321346 h 715374"/>
                  <a:gd name="connsiteX276" fmla="*/ 406809 w 786911"/>
                  <a:gd name="connsiteY276" fmla="*/ 310759 h 715374"/>
                  <a:gd name="connsiteX277" fmla="*/ 439287 w 786911"/>
                  <a:gd name="connsiteY277" fmla="*/ 280284 h 715374"/>
                  <a:gd name="connsiteX278" fmla="*/ 429577 w 786911"/>
                  <a:gd name="connsiteY278" fmla="*/ 280122 h 715374"/>
                  <a:gd name="connsiteX279" fmla="*/ 429415 w 786911"/>
                  <a:gd name="connsiteY279" fmla="*/ 280284 h 715374"/>
                  <a:gd name="connsiteX280" fmla="*/ 429415 w 786911"/>
                  <a:gd name="connsiteY280" fmla="*/ 290013 h 715374"/>
                  <a:gd name="connsiteX281" fmla="*/ 439126 w 786911"/>
                  <a:gd name="connsiteY281" fmla="*/ 290174 h 715374"/>
                  <a:gd name="connsiteX282" fmla="*/ 439287 w 786911"/>
                  <a:gd name="connsiteY282" fmla="*/ 290013 h 715374"/>
                  <a:gd name="connsiteX283" fmla="*/ 439287 w 786911"/>
                  <a:gd name="connsiteY283" fmla="*/ 280284 h 715374"/>
                  <a:gd name="connsiteX284" fmla="*/ 471765 w 786911"/>
                  <a:gd name="connsiteY284" fmla="*/ 249809 h 715374"/>
                  <a:gd name="connsiteX285" fmla="*/ 462660 w 786911"/>
                  <a:gd name="connsiteY285" fmla="*/ 249717 h 715374"/>
                  <a:gd name="connsiteX286" fmla="*/ 462570 w 786911"/>
                  <a:gd name="connsiteY286" fmla="*/ 258822 h 715374"/>
                  <a:gd name="connsiteX287" fmla="*/ 471674 w 786911"/>
                  <a:gd name="connsiteY287" fmla="*/ 258914 h 715374"/>
                  <a:gd name="connsiteX288" fmla="*/ 471765 w 786911"/>
                  <a:gd name="connsiteY288" fmla="*/ 258822 h 715374"/>
                  <a:gd name="connsiteX289" fmla="*/ 471877 w 786911"/>
                  <a:gd name="connsiteY289" fmla="*/ 249920 h 715374"/>
                  <a:gd name="connsiteX290" fmla="*/ 471765 w 786911"/>
                  <a:gd name="connsiteY290" fmla="*/ 249809 h 715374"/>
                  <a:gd name="connsiteX291" fmla="*/ 504386 w 786911"/>
                  <a:gd name="connsiteY291" fmla="*/ 219334 h 715374"/>
                  <a:gd name="connsiteX292" fmla="*/ 496088 w 786911"/>
                  <a:gd name="connsiteY292" fmla="*/ 219048 h 715374"/>
                  <a:gd name="connsiteX293" fmla="*/ 495802 w 786911"/>
                  <a:gd name="connsiteY293" fmla="*/ 227346 h 715374"/>
                  <a:gd name="connsiteX294" fmla="*/ 504100 w 786911"/>
                  <a:gd name="connsiteY294" fmla="*/ 227632 h 715374"/>
                  <a:gd name="connsiteX295" fmla="*/ 504386 w 786911"/>
                  <a:gd name="connsiteY295" fmla="*/ 219334 h 715374"/>
                  <a:gd name="connsiteX296" fmla="*/ 536006 w 786911"/>
                  <a:gd name="connsiteY296" fmla="*/ 189288 h 715374"/>
                  <a:gd name="connsiteX297" fmla="*/ 528520 w 786911"/>
                  <a:gd name="connsiteY297" fmla="*/ 189241 h 715374"/>
                  <a:gd name="connsiteX298" fmla="*/ 528473 w 786911"/>
                  <a:gd name="connsiteY298" fmla="*/ 196728 h 715374"/>
                  <a:gd name="connsiteX299" fmla="*/ 535959 w 786911"/>
                  <a:gd name="connsiteY299" fmla="*/ 196774 h 715374"/>
                  <a:gd name="connsiteX300" fmla="*/ 536006 w 786911"/>
                  <a:gd name="connsiteY300" fmla="*/ 196728 h 715374"/>
                  <a:gd name="connsiteX301" fmla="*/ 536006 w 786911"/>
                  <a:gd name="connsiteY301" fmla="*/ 189288 h 715374"/>
                  <a:gd name="connsiteX302" fmla="*/ 568484 w 786911"/>
                  <a:gd name="connsiteY302" fmla="*/ 158813 h 715374"/>
                  <a:gd name="connsiteX303" fmla="*/ 561806 w 786911"/>
                  <a:gd name="connsiteY303" fmla="*/ 158860 h 715374"/>
                  <a:gd name="connsiteX304" fmla="*/ 561854 w 786911"/>
                  <a:gd name="connsiteY304" fmla="*/ 165538 h 715374"/>
                  <a:gd name="connsiteX305" fmla="*/ 568484 w 786911"/>
                  <a:gd name="connsiteY305" fmla="*/ 165538 h 715374"/>
                  <a:gd name="connsiteX306" fmla="*/ 568531 w 786911"/>
                  <a:gd name="connsiteY306" fmla="*/ 158860 h 715374"/>
                  <a:gd name="connsiteX307" fmla="*/ 568484 w 786911"/>
                  <a:gd name="connsiteY307" fmla="*/ 158813 h 715374"/>
                  <a:gd name="connsiteX308" fmla="*/ 600962 w 786911"/>
                  <a:gd name="connsiteY308" fmla="*/ 128338 h 715374"/>
                  <a:gd name="connsiteX309" fmla="*/ 595096 w 786911"/>
                  <a:gd name="connsiteY309" fmla="*/ 128338 h 715374"/>
                  <a:gd name="connsiteX310" fmla="*/ 595096 w 786911"/>
                  <a:gd name="connsiteY310" fmla="*/ 134347 h 715374"/>
                  <a:gd name="connsiteX311" fmla="*/ 600962 w 786911"/>
                  <a:gd name="connsiteY311" fmla="*/ 134490 h 715374"/>
                  <a:gd name="connsiteX312" fmla="*/ 601105 w 786911"/>
                  <a:gd name="connsiteY312" fmla="*/ 134347 h 715374"/>
                  <a:gd name="connsiteX313" fmla="*/ 601309 w 786911"/>
                  <a:gd name="connsiteY313" fmla="*/ 128686 h 715374"/>
                  <a:gd name="connsiteX314" fmla="*/ 601105 w 786911"/>
                  <a:gd name="connsiteY314" fmla="*/ 128481 h 715374"/>
                  <a:gd name="connsiteX315" fmla="*/ 633726 w 786911"/>
                  <a:gd name="connsiteY315" fmla="*/ 98006 h 715374"/>
                  <a:gd name="connsiteX316" fmla="*/ 628466 w 786911"/>
                  <a:gd name="connsiteY316" fmla="*/ 97898 h 715374"/>
                  <a:gd name="connsiteX317" fmla="*/ 628358 w 786911"/>
                  <a:gd name="connsiteY317" fmla="*/ 103157 h 715374"/>
                  <a:gd name="connsiteX318" fmla="*/ 633617 w 786911"/>
                  <a:gd name="connsiteY318" fmla="*/ 103266 h 715374"/>
                  <a:gd name="connsiteX319" fmla="*/ 633726 w 786911"/>
                  <a:gd name="connsiteY319" fmla="*/ 103157 h 715374"/>
                  <a:gd name="connsiteX320" fmla="*/ 633726 w 786911"/>
                  <a:gd name="connsiteY320" fmla="*/ 98006 h 715374"/>
                  <a:gd name="connsiteX321" fmla="*/ 666204 w 786911"/>
                  <a:gd name="connsiteY321" fmla="*/ 67531 h 715374"/>
                  <a:gd name="connsiteX322" fmla="*/ 661959 w 786911"/>
                  <a:gd name="connsiteY322" fmla="*/ 67341 h 715374"/>
                  <a:gd name="connsiteX323" fmla="*/ 661769 w 786911"/>
                  <a:gd name="connsiteY323" fmla="*/ 67531 h 715374"/>
                  <a:gd name="connsiteX324" fmla="*/ 661769 w 786911"/>
                  <a:gd name="connsiteY324" fmla="*/ 71967 h 715374"/>
                  <a:gd name="connsiteX325" fmla="*/ 666204 w 786911"/>
                  <a:gd name="connsiteY325" fmla="*/ 71967 h 715374"/>
                  <a:gd name="connsiteX326" fmla="*/ 666204 w 786911"/>
                  <a:gd name="connsiteY326" fmla="*/ 67531 h 715374"/>
                  <a:gd name="connsiteX327" fmla="*/ 699111 w 786911"/>
                  <a:gd name="connsiteY327" fmla="*/ 36913 h 715374"/>
                  <a:gd name="connsiteX328" fmla="*/ 695470 w 786911"/>
                  <a:gd name="connsiteY328" fmla="*/ 36849 h 715374"/>
                  <a:gd name="connsiteX329" fmla="*/ 695405 w 786911"/>
                  <a:gd name="connsiteY329" fmla="*/ 40490 h 715374"/>
                  <a:gd name="connsiteX330" fmla="*/ 699047 w 786911"/>
                  <a:gd name="connsiteY330" fmla="*/ 40555 h 715374"/>
                  <a:gd name="connsiteX331" fmla="*/ 699111 w 786911"/>
                  <a:gd name="connsiteY331" fmla="*/ 40490 h 715374"/>
                  <a:gd name="connsiteX332" fmla="*/ 699251 w 786911"/>
                  <a:gd name="connsiteY332" fmla="*/ 37054 h 715374"/>
                  <a:gd name="connsiteX333" fmla="*/ 699111 w 786911"/>
                  <a:gd name="connsiteY333" fmla="*/ 36913 h 715374"/>
                  <a:gd name="connsiteX334" fmla="*/ 392931 w 786911"/>
                  <a:gd name="connsiteY334" fmla="*/ 362409 h 715374"/>
                  <a:gd name="connsiteX335" fmla="*/ 381599 w 786911"/>
                  <a:gd name="connsiteY335" fmla="*/ 362380 h 715374"/>
                  <a:gd name="connsiteX336" fmla="*/ 381572 w 786911"/>
                  <a:gd name="connsiteY336" fmla="*/ 373711 h 715374"/>
                  <a:gd name="connsiteX337" fmla="*/ 392902 w 786911"/>
                  <a:gd name="connsiteY337" fmla="*/ 373740 h 715374"/>
                  <a:gd name="connsiteX338" fmla="*/ 392931 w 786911"/>
                  <a:gd name="connsiteY338" fmla="*/ 373711 h 715374"/>
                  <a:gd name="connsiteX339" fmla="*/ 392931 w 786911"/>
                  <a:gd name="connsiteY339" fmla="*/ 362409 h 715374"/>
                  <a:gd name="connsiteX340" fmla="*/ 425838 w 786911"/>
                  <a:gd name="connsiteY340" fmla="*/ 331647 h 715374"/>
                  <a:gd name="connsiteX341" fmla="*/ 415322 w 786911"/>
                  <a:gd name="connsiteY341" fmla="*/ 331290 h 715374"/>
                  <a:gd name="connsiteX342" fmla="*/ 414965 w 786911"/>
                  <a:gd name="connsiteY342" fmla="*/ 341806 h 715374"/>
                  <a:gd name="connsiteX343" fmla="*/ 425552 w 786911"/>
                  <a:gd name="connsiteY343" fmla="*/ 341806 h 715374"/>
                  <a:gd name="connsiteX344" fmla="*/ 425618 w 786911"/>
                  <a:gd name="connsiteY344" fmla="*/ 331284 h 715374"/>
                  <a:gd name="connsiteX345" fmla="*/ 425552 w 786911"/>
                  <a:gd name="connsiteY345" fmla="*/ 331218 h 715374"/>
                  <a:gd name="connsiteX346" fmla="*/ 458173 w 786911"/>
                  <a:gd name="connsiteY346" fmla="*/ 300743 h 715374"/>
                  <a:gd name="connsiteX347" fmla="*/ 448461 w 786911"/>
                  <a:gd name="connsiteY347" fmla="*/ 300761 h 715374"/>
                  <a:gd name="connsiteX348" fmla="*/ 448478 w 786911"/>
                  <a:gd name="connsiteY348" fmla="*/ 310472 h 715374"/>
                  <a:gd name="connsiteX349" fmla="*/ 458173 w 786911"/>
                  <a:gd name="connsiteY349" fmla="*/ 310472 h 715374"/>
                  <a:gd name="connsiteX350" fmla="*/ 458190 w 786911"/>
                  <a:gd name="connsiteY350" fmla="*/ 300761 h 715374"/>
                  <a:gd name="connsiteX351" fmla="*/ 458173 w 786911"/>
                  <a:gd name="connsiteY351" fmla="*/ 300743 h 715374"/>
                  <a:gd name="connsiteX352" fmla="*/ 490651 w 786911"/>
                  <a:gd name="connsiteY352" fmla="*/ 270268 h 715374"/>
                  <a:gd name="connsiteX353" fmla="*/ 481677 w 786911"/>
                  <a:gd name="connsiteY353" fmla="*/ 268727 h 715374"/>
                  <a:gd name="connsiteX354" fmla="*/ 480137 w 786911"/>
                  <a:gd name="connsiteY354" fmla="*/ 277701 h 715374"/>
                  <a:gd name="connsiteX355" fmla="*/ 481351 w 786911"/>
                  <a:gd name="connsiteY355" fmla="*/ 278996 h 715374"/>
                  <a:gd name="connsiteX356" fmla="*/ 490405 w 786911"/>
                  <a:gd name="connsiteY356" fmla="*/ 278027 h 715374"/>
                  <a:gd name="connsiteX357" fmla="*/ 490651 w 786911"/>
                  <a:gd name="connsiteY357" fmla="*/ 270268 h 715374"/>
                  <a:gd name="connsiteX358" fmla="*/ 523129 w 786911"/>
                  <a:gd name="connsiteY358" fmla="*/ 239650 h 715374"/>
                  <a:gd name="connsiteX359" fmla="*/ 514831 w 786911"/>
                  <a:gd name="connsiteY359" fmla="*/ 239364 h 715374"/>
                  <a:gd name="connsiteX360" fmla="*/ 514545 w 786911"/>
                  <a:gd name="connsiteY360" fmla="*/ 247663 h 715374"/>
                  <a:gd name="connsiteX361" fmla="*/ 522843 w 786911"/>
                  <a:gd name="connsiteY361" fmla="*/ 247949 h 715374"/>
                  <a:gd name="connsiteX362" fmla="*/ 523129 w 786911"/>
                  <a:gd name="connsiteY362" fmla="*/ 239650 h 715374"/>
                  <a:gd name="connsiteX363" fmla="*/ 555607 w 786911"/>
                  <a:gd name="connsiteY363" fmla="*/ 209175 h 715374"/>
                  <a:gd name="connsiteX364" fmla="*/ 548096 w 786911"/>
                  <a:gd name="connsiteY364" fmla="*/ 208961 h 715374"/>
                  <a:gd name="connsiteX365" fmla="*/ 547881 w 786911"/>
                  <a:gd name="connsiteY365" fmla="*/ 216472 h 715374"/>
                  <a:gd name="connsiteX366" fmla="*/ 555392 w 786911"/>
                  <a:gd name="connsiteY366" fmla="*/ 216687 h 715374"/>
                  <a:gd name="connsiteX367" fmla="*/ 555607 w 786911"/>
                  <a:gd name="connsiteY367" fmla="*/ 209175 h 715374"/>
                  <a:gd name="connsiteX368" fmla="*/ 588228 w 786911"/>
                  <a:gd name="connsiteY368" fmla="*/ 178701 h 715374"/>
                  <a:gd name="connsiteX369" fmla="*/ 581350 w 786911"/>
                  <a:gd name="connsiteY369" fmla="*/ 178547 h 715374"/>
                  <a:gd name="connsiteX370" fmla="*/ 581197 w 786911"/>
                  <a:gd name="connsiteY370" fmla="*/ 185425 h 715374"/>
                  <a:gd name="connsiteX371" fmla="*/ 588075 w 786911"/>
                  <a:gd name="connsiteY371" fmla="*/ 185578 h 715374"/>
                  <a:gd name="connsiteX372" fmla="*/ 588228 w 786911"/>
                  <a:gd name="connsiteY372" fmla="*/ 185425 h 715374"/>
                  <a:gd name="connsiteX373" fmla="*/ 588275 w 786911"/>
                  <a:gd name="connsiteY373" fmla="*/ 178748 h 715374"/>
                  <a:gd name="connsiteX374" fmla="*/ 588228 w 786911"/>
                  <a:gd name="connsiteY374" fmla="*/ 178701 h 715374"/>
                  <a:gd name="connsiteX375" fmla="*/ 620706 w 786911"/>
                  <a:gd name="connsiteY375" fmla="*/ 148226 h 715374"/>
                  <a:gd name="connsiteX376" fmla="*/ 614637 w 786911"/>
                  <a:gd name="connsiteY376" fmla="*/ 148165 h 715374"/>
                  <a:gd name="connsiteX377" fmla="*/ 614575 w 786911"/>
                  <a:gd name="connsiteY377" fmla="*/ 154235 h 715374"/>
                  <a:gd name="connsiteX378" fmla="*/ 620646 w 786911"/>
                  <a:gd name="connsiteY378" fmla="*/ 154295 h 715374"/>
                  <a:gd name="connsiteX379" fmla="*/ 620706 w 786911"/>
                  <a:gd name="connsiteY379" fmla="*/ 154235 h 715374"/>
                  <a:gd name="connsiteX380" fmla="*/ 620706 w 786911"/>
                  <a:gd name="connsiteY380" fmla="*/ 148226 h 715374"/>
                  <a:gd name="connsiteX381" fmla="*/ 653184 w 786911"/>
                  <a:gd name="connsiteY381" fmla="*/ 117751 h 715374"/>
                  <a:gd name="connsiteX382" fmla="*/ 648132 w 786911"/>
                  <a:gd name="connsiteY382" fmla="*/ 117991 h 715374"/>
                  <a:gd name="connsiteX383" fmla="*/ 648372 w 786911"/>
                  <a:gd name="connsiteY383" fmla="*/ 123044 h 715374"/>
                  <a:gd name="connsiteX384" fmla="*/ 653184 w 786911"/>
                  <a:gd name="connsiteY384" fmla="*/ 123044 h 715374"/>
                  <a:gd name="connsiteX385" fmla="*/ 653184 w 786911"/>
                  <a:gd name="connsiteY385" fmla="*/ 117751 h 715374"/>
                  <a:gd name="connsiteX386" fmla="*/ 686091 w 786911"/>
                  <a:gd name="connsiteY386" fmla="*/ 88420 h 715374"/>
                  <a:gd name="connsiteX387" fmla="*/ 681656 w 786911"/>
                  <a:gd name="connsiteY387" fmla="*/ 88420 h 715374"/>
                  <a:gd name="connsiteX388" fmla="*/ 681466 w 786911"/>
                  <a:gd name="connsiteY388" fmla="*/ 92665 h 715374"/>
                  <a:gd name="connsiteX389" fmla="*/ 681656 w 786911"/>
                  <a:gd name="connsiteY389" fmla="*/ 92856 h 715374"/>
                  <a:gd name="connsiteX390" fmla="*/ 686091 w 786911"/>
                  <a:gd name="connsiteY390" fmla="*/ 92856 h 715374"/>
                  <a:gd name="connsiteX391" fmla="*/ 686091 w 786911"/>
                  <a:gd name="connsiteY391" fmla="*/ 88420 h 715374"/>
                  <a:gd name="connsiteX392" fmla="*/ 718569 w 786911"/>
                  <a:gd name="connsiteY392" fmla="*/ 57945 h 715374"/>
                  <a:gd name="connsiteX393" fmla="*/ 714849 w 786911"/>
                  <a:gd name="connsiteY393" fmla="*/ 57945 h 715374"/>
                  <a:gd name="connsiteX394" fmla="*/ 714849 w 786911"/>
                  <a:gd name="connsiteY394" fmla="*/ 61665 h 715374"/>
                  <a:gd name="connsiteX395" fmla="*/ 718569 w 786911"/>
                  <a:gd name="connsiteY395" fmla="*/ 61808 h 715374"/>
                  <a:gd name="connsiteX396" fmla="*/ 718712 w 786911"/>
                  <a:gd name="connsiteY396" fmla="*/ 58088 h 715374"/>
                  <a:gd name="connsiteX397" fmla="*/ 367750 w 786911"/>
                  <a:gd name="connsiteY397" fmla="*/ 425218 h 715374"/>
                  <a:gd name="connsiteX398" fmla="*/ 379081 w 786911"/>
                  <a:gd name="connsiteY398" fmla="*/ 425247 h 715374"/>
                  <a:gd name="connsiteX399" fmla="*/ 379109 w 786911"/>
                  <a:gd name="connsiteY399" fmla="*/ 413915 h 715374"/>
                  <a:gd name="connsiteX400" fmla="*/ 367778 w 786911"/>
                  <a:gd name="connsiteY400" fmla="*/ 413887 h 715374"/>
                  <a:gd name="connsiteX401" fmla="*/ 367750 w 786911"/>
                  <a:gd name="connsiteY401" fmla="*/ 413915 h 715374"/>
                  <a:gd name="connsiteX402" fmla="*/ 367750 w 786911"/>
                  <a:gd name="connsiteY402" fmla="*/ 425218 h 715374"/>
                  <a:gd name="connsiteX403" fmla="*/ 335701 w 786911"/>
                  <a:gd name="connsiteY403" fmla="*/ 455693 h 715374"/>
                  <a:gd name="connsiteX404" fmla="*/ 346217 w 786911"/>
                  <a:gd name="connsiteY404" fmla="*/ 456051 h 715374"/>
                  <a:gd name="connsiteX405" fmla="*/ 346575 w 786911"/>
                  <a:gd name="connsiteY405" fmla="*/ 445535 h 715374"/>
                  <a:gd name="connsiteX406" fmla="*/ 335987 w 786911"/>
                  <a:gd name="connsiteY406" fmla="*/ 445535 h 715374"/>
                  <a:gd name="connsiteX407" fmla="*/ 335921 w 786911"/>
                  <a:gd name="connsiteY407" fmla="*/ 456057 h 715374"/>
                  <a:gd name="connsiteX408" fmla="*/ 335987 w 786911"/>
                  <a:gd name="connsiteY408" fmla="*/ 456123 h 715374"/>
                  <a:gd name="connsiteX409" fmla="*/ 302651 w 786911"/>
                  <a:gd name="connsiteY409" fmla="*/ 486168 h 715374"/>
                  <a:gd name="connsiteX410" fmla="*/ 312523 w 786911"/>
                  <a:gd name="connsiteY410" fmla="*/ 486168 h 715374"/>
                  <a:gd name="connsiteX411" fmla="*/ 312523 w 786911"/>
                  <a:gd name="connsiteY411" fmla="*/ 476296 h 715374"/>
                  <a:gd name="connsiteX412" fmla="*/ 302794 w 786911"/>
                  <a:gd name="connsiteY412" fmla="*/ 476296 h 715374"/>
                  <a:gd name="connsiteX413" fmla="*/ 302777 w 786911"/>
                  <a:gd name="connsiteY413" fmla="*/ 486008 h 715374"/>
                  <a:gd name="connsiteX414" fmla="*/ 302794 w 786911"/>
                  <a:gd name="connsiteY414" fmla="*/ 486025 h 715374"/>
                  <a:gd name="connsiteX415" fmla="*/ 270316 w 786911"/>
                  <a:gd name="connsiteY415" fmla="*/ 516500 h 715374"/>
                  <a:gd name="connsiteX416" fmla="*/ 279290 w 786911"/>
                  <a:gd name="connsiteY416" fmla="*/ 518041 h 715374"/>
                  <a:gd name="connsiteX417" fmla="*/ 280830 w 786911"/>
                  <a:gd name="connsiteY417" fmla="*/ 509067 h 715374"/>
                  <a:gd name="connsiteX418" fmla="*/ 279616 w 786911"/>
                  <a:gd name="connsiteY418" fmla="*/ 507773 h 715374"/>
                  <a:gd name="connsiteX419" fmla="*/ 270642 w 786911"/>
                  <a:gd name="connsiteY419" fmla="*/ 506232 h 715374"/>
                  <a:gd name="connsiteX420" fmla="*/ 269101 w 786911"/>
                  <a:gd name="connsiteY420" fmla="*/ 515205 h 715374"/>
                  <a:gd name="connsiteX421" fmla="*/ 270316 w 786911"/>
                  <a:gd name="connsiteY421" fmla="*/ 516500 h 715374"/>
                  <a:gd name="connsiteX422" fmla="*/ 237838 w 786911"/>
                  <a:gd name="connsiteY422" fmla="*/ 547118 h 715374"/>
                  <a:gd name="connsiteX423" fmla="*/ 246136 w 786911"/>
                  <a:gd name="connsiteY423" fmla="*/ 547404 h 715374"/>
                  <a:gd name="connsiteX424" fmla="*/ 246422 w 786911"/>
                  <a:gd name="connsiteY424" fmla="*/ 539106 h 715374"/>
                  <a:gd name="connsiteX425" fmla="*/ 238124 w 786911"/>
                  <a:gd name="connsiteY425" fmla="*/ 538820 h 715374"/>
                  <a:gd name="connsiteX426" fmla="*/ 237838 w 786911"/>
                  <a:gd name="connsiteY426" fmla="*/ 547118 h 715374"/>
                  <a:gd name="connsiteX427" fmla="*/ 205217 w 786911"/>
                  <a:gd name="connsiteY427" fmla="*/ 577736 h 715374"/>
                  <a:gd name="connsiteX428" fmla="*/ 212728 w 786911"/>
                  <a:gd name="connsiteY428" fmla="*/ 577951 h 715374"/>
                  <a:gd name="connsiteX429" fmla="*/ 212943 w 786911"/>
                  <a:gd name="connsiteY429" fmla="*/ 570439 h 715374"/>
                  <a:gd name="connsiteX430" fmla="*/ 205431 w 786911"/>
                  <a:gd name="connsiteY430" fmla="*/ 570225 h 715374"/>
                  <a:gd name="connsiteX431" fmla="*/ 205217 w 786911"/>
                  <a:gd name="connsiteY431" fmla="*/ 577736 h 715374"/>
                  <a:gd name="connsiteX432" fmla="*/ 172596 w 786911"/>
                  <a:gd name="connsiteY432" fmla="*/ 608211 h 715374"/>
                  <a:gd name="connsiteX433" fmla="*/ 179473 w 786911"/>
                  <a:gd name="connsiteY433" fmla="*/ 608364 h 715374"/>
                  <a:gd name="connsiteX434" fmla="*/ 179626 w 786911"/>
                  <a:gd name="connsiteY434" fmla="*/ 601487 h 715374"/>
                  <a:gd name="connsiteX435" fmla="*/ 172749 w 786911"/>
                  <a:gd name="connsiteY435" fmla="*/ 601333 h 715374"/>
                  <a:gd name="connsiteX436" fmla="*/ 172596 w 786911"/>
                  <a:gd name="connsiteY436" fmla="*/ 601487 h 715374"/>
                  <a:gd name="connsiteX437" fmla="*/ 172549 w 786911"/>
                  <a:gd name="connsiteY437" fmla="*/ 608164 h 715374"/>
                  <a:gd name="connsiteX438" fmla="*/ 172596 w 786911"/>
                  <a:gd name="connsiteY438" fmla="*/ 608211 h 715374"/>
                  <a:gd name="connsiteX439" fmla="*/ 140118 w 786911"/>
                  <a:gd name="connsiteY439" fmla="*/ 638686 h 715374"/>
                  <a:gd name="connsiteX440" fmla="*/ 146187 w 786911"/>
                  <a:gd name="connsiteY440" fmla="*/ 638746 h 715374"/>
                  <a:gd name="connsiteX441" fmla="*/ 146249 w 786911"/>
                  <a:gd name="connsiteY441" fmla="*/ 632677 h 715374"/>
                  <a:gd name="connsiteX442" fmla="*/ 140178 w 786911"/>
                  <a:gd name="connsiteY442" fmla="*/ 632617 h 715374"/>
                  <a:gd name="connsiteX443" fmla="*/ 140118 w 786911"/>
                  <a:gd name="connsiteY443" fmla="*/ 632677 h 715374"/>
                  <a:gd name="connsiteX444" fmla="*/ 140118 w 786911"/>
                  <a:gd name="connsiteY444" fmla="*/ 638686 h 715374"/>
                  <a:gd name="connsiteX445" fmla="*/ 107640 w 786911"/>
                  <a:gd name="connsiteY445" fmla="*/ 669161 h 715374"/>
                  <a:gd name="connsiteX446" fmla="*/ 112693 w 786911"/>
                  <a:gd name="connsiteY446" fmla="*/ 668921 h 715374"/>
                  <a:gd name="connsiteX447" fmla="*/ 112451 w 786911"/>
                  <a:gd name="connsiteY447" fmla="*/ 663867 h 715374"/>
                  <a:gd name="connsiteX448" fmla="*/ 107640 w 786911"/>
                  <a:gd name="connsiteY448" fmla="*/ 663867 h 715374"/>
                  <a:gd name="connsiteX449" fmla="*/ 107640 w 786911"/>
                  <a:gd name="connsiteY449" fmla="*/ 669161 h 715374"/>
                  <a:gd name="connsiteX450" fmla="*/ 387208 w 786911"/>
                  <a:gd name="connsiteY450" fmla="*/ 446107 h 715374"/>
                  <a:gd name="connsiteX451" fmla="*/ 398511 w 786911"/>
                  <a:gd name="connsiteY451" fmla="*/ 446107 h 715374"/>
                  <a:gd name="connsiteX452" fmla="*/ 398511 w 786911"/>
                  <a:gd name="connsiteY452" fmla="*/ 434661 h 715374"/>
                  <a:gd name="connsiteX453" fmla="*/ 387208 w 786911"/>
                  <a:gd name="connsiteY453" fmla="*/ 434661 h 715374"/>
                  <a:gd name="connsiteX454" fmla="*/ 387032 w 786911"/>
                  <a:gd name="connsiteY454" fmla="*/ 445788 h 715374"/>
                  <a:gd name="connsiteX455" fmla="*/ 387208 w 786911"/>
                  <a:gd name="connsiteY455" fmla="*/ 445964 h 715374"/>
                  <a:gd name="connsiteX456" fmla="*/ 354587 w 786911"/>
                  <a:gd name="connsiteY456" fmla="*/ 476439 h 715374"/>
                  <a:gd name="connsiteX457" fmla="*/ 365109 w 786911"/>
                  <a:gd name="connsiteY457" fmla="*/ 476505 h 715374"/>
                  <a:gd name="connsiteX458" fmla="*/ 365174 w 786911"/>
                  <a:gd name="connsiteY458" fmla="*/ 476439 h 715374"/>
                  <a:gd name="connsiteX459" fmla="*/ 365174 w 786911"/>
                  <a:gd name="connsiteY459" fmla="*/ 465852 h 715374"/>
                  <a:gd name="connsiteX460" fmla="*/ 354478 w 786911"/>
                  <a:gd name="connsiteY460" fmla="*/ 466616 h 715374"/>
                  <a:gd name="connsiteX461" fmla="*/ 354158 w 786911"/>
                  <a:gd name="connsiteY461" fmla="*/ 476153 h 715374"/>
                  <a:gd name="connsiteX462" fmla="*/ 321680 w 786911"/>
                  <a:gd name="connsiteY462" fmla="*/ 506628 h 715374"/>
                  <a:gd name="connsiteX463" fmla="*/ 331390 w 786911"/>
                  <a:gd name="connsiteY463" fmla="*/ 506790 h 715374"/>
                  <a:gd name="connsiteX464" fmla="*/ 331552 w 786911"/>
                  <a:gd name="connsiteY464" fmla="*/ 506628 h 715374"/>
                  <a:gd name="connsiteX465" fmla="*/ 330968 w 786911"/>
                  <a:gd name="connsiteY465" fmla="*/ 496730 h 715374"/>
                  <a:gd name="connsiteX466" fmla="*/ 321966 w 786911"/>
                  <a:gd name="connsiteY466" fmla="*/ 496470 h 715374"/>
                  <a:gd name="connsiteX467" fmla="*/ 321966 w 786911"/>
                  <a:gd name="connsiteY467" fmla="*/ 506342 h 715374"/>
                  <a:gd name="connsiteX468" fmla="*/ 289488 w 786911"/>
                  <a:gd name="connsiteY468" fmla="*/ 536817 h 715374"/>
                  <a:gd name="connsiteX469" fmla="*/ 298593 w 786911"/>
                  <a:gd name="connsiteY469" fmla="*/ 536908 h 715374"/>
                  <a:gd name="connsiteX470" fmla="*/ 298683 w 786911"/>
                  <a:gd name="connsiteY470" fmla="*/ 527803 h 715374"/>
                  <a:gd name="connsiteX471" fmla="*/ 289579 w 786911"/>
                  <a:gd name="connsiteY471" fmla="*/ 527711 h 715374"/>
                  <a:gd name="connsiteX472" fmla="*/ 289488 w 786911"/>
                  <a:gd name="connsiteY472" fmla="*/ 527803 h 715374"/>
                  <a:gd name="connsiteX473" fmla="*/ 289376 w 786911"/>
                  <a:gd name="connsiteY473" fmla="*/ 536705 h 715374"/>
                  <a:gd name="connsiteX474" fmla="*/ 289488 w 786911"/>
                  <a:gd name="connsiteY474" fmla="*/ 536817 h 715374"/>
                  <a:gd name="connsiteX475" fmla="*/ 257010 w 786911"/>
                  <a:gd name="connsiteY475" fmla="*/ 567864 h 715374"/>
                  <a:gd name="connsiteX476" fmla="*/ 265305 w 786911"/>
                  <a:gd name="connsiteY476" fmla="*/ 567867 h 715374"/>
                  <a:gd name="connsiteX477" fmla="*/ 265308 w 786911"/>
                  <a:gd name="connsiteY477" fmla="*/ 567864 h 715374"/>
                  <a:gd name="connsiteX478" fmla="*/ 265516 w 786911"/>
                  <a:gd name="connsiteY478" fmla="*/ 559773 h 715374"/>
                  <a:gd name="connsiteX479" fmla="*/ 265308 w 786911"/>
                  <a:gd name="connsiteY479" fmla="*/ 559566 h 715374"/>
                  <a:gd name="connsiteX480" fmla="*/ 257010 w 786911"/>
                  <a:gd name="connsiteY480" fmla="*/ 559279 h 715374"/>
                  <a:gd name="connsiteX481" fmla="*/ 256724 w 786911"/>
                  <a:gd name="connsiteY481" fmla="*/ 567578 h 715374"/>
                  <a:gd name="connsiteX482" fmla="*/ 224246 w 786911"/>
                  <a:gd name="connsiteY482" fmla="*/ 598053 h 715374"/>
                  <a:gd name="connsiteX483" fmla="*/ 231731 w 786911"/>
                  <a:gd name="connsiteY483" fmla="*/ 598100 h 715374"/>
                  <a:gd name="connsiteX484" fmla="*/ 231779 w 786911"/>
                  <a:gd name="connsiteY484" fmla="*/ 590613 h 715374"/>
                  <a:gd name="connsiteX485" fmla="*/ 224292 w 786911"/>
                  <a:gd name="connsiteY485" fmla="*/ 590567 h 715374"/>
                  <a:gd name="connsiteX486" fmla="*/ 224246 w 786911"/>
                  <a:gd name="connsiteY486" fmla="*/ 590613 h 715374"/>
                  <a:gd name="connsiteX487" fmla="*/ 224246 w 786911"/>
                  <a:gd name="connsiteY487" fmla="*/ 598053 h 715374"/>
                  <a:gd name="connsiteX488" fmla="*/ 192626 w 786911"/>
                  <a:gd name="connsiteY488" fmla="*/ 628814 h 715374"/>
                  <a:gd name="connsiteX489" fmla="*/ 199304 w 786911"/>
                  <a:gd name="connsiteY489" fmla="*/ 628767 h 715374"/>
                  <a:gd name="connsiteX490" fmla="*/ 199256 w 786911"/>
                  <a:gd name="connsiteY490" fmla="*/ 622089 h 715374"/>
                  <a:gd name="connsiteX491" fmla="*/ 192626 w 786911"/>
                  <a:gd name="connsiteY491" fmla="*/ 622089 h 715374"/>
                  <a:gd name="connsiteX492" fmla="*/ 192579 w 786911"/>
                  <a:gd name="connsiteY492" fmla="*/ 628767 h 715374"/>
                  <a:gd name="connsiteX493" fmla="*/ 192626 w 786911"/>
                  <a:gd name="connsiteY493" fmla="*/ 628814 h 715374"/>
                  <a:gd name="connsiteX494" fmla="*/ 159576 w 786911"/>
                  <a:gd name="connsiteY494" fmla="*/ 659289 h 715374"/>
                  <a:gd name="connsiteX495" fmla="*/ 165442 w 786911"/>
                  <a:gd name="connsiteY495" fmla="*/ 659289 h 715374"/>
                  <a:gd name="connsiteX496" fmla="*/ 165442 w 786911"/>
                  <a:gd name="connsiteY496" fmla="*/ 653280 h 715374"/>
                  <a:gd name="connsiteX497" fmla="*/ 159576 w 786911"/>
                  <a:gd name="connsiteY497" fmla="*/ 653137 h 715374"/>
                  <a:gd name="connsiteX498" fmla="*/ 159433 w 786911"/>
                  <a:gd name="connsiteY498" fmla="*/ 653280 h 715374"/>
                  <a:gd name="connsiteX499" fmla="*/ 159228 w 786911"/>
                  <a:gd name="connsiteY499" fmla="*/ 658941 h 715374"/>
                  <a:gd name="connsiteX500" fmla="*/ 159433 w 786911"/>
                  <a:gd name="connsiteY500" fmla="*/ 659146 h 715374"/>
                  <a:gd name="connsiteX501" fmla="*/ 126955 w 786911"/>
                  <a:gd name="connsiteY501" fmla="*/ 689334 h 715374"/>
                  <a:gd name="connsiteX502" fmla="*/ 132214 w 786911"/>
                  <a:gd name="connsiteY502" fmla="*/ 689443 h 715374"/>
                  <a:gd name="connsiteX503" fmla="*/ 132323 w 786911"/>
                  <a:gd name="connsiteY503" fmla="*/ 684184 h 715374"/>
                  <a:gd name="connsiteX504" fmla="*/ 127064 w 786911"/>
                  <a:gd name="connsiteY504" fmla="*/ 684075 h 715374"/>
                  <a:gd name="connsiteX505" fmla="*/ 126955 w 786911"/>
                  <a:gd name="connsiteY505" fmla="*/ 684184 h 715374"/>
                  <a:gd name="connsiteX506" fmla="*/ 126955 w 786911"/>
                  <a:gd name="connsiteY506" fmla="*/ 689334 h 715374"/>
                  <a:gd name="connsiteX507" fmla="*/ 407238 w 786911"/>
                  <a:gd name="connsiteY507" fmla="*/ 466710 h 715374"/>
                  <a:gd name="connsiteX508" fmla="*/ 418541 w 786911"/>
                  <a:gd name="connsiteY508" fmla="*/ 466710 h 715374"/>
                  <a:gd name="connsiteX509" fmla="*/ 418300 w 786911"/>
                  <a:gd name="connsiteY509" fmla="*/ 455381 h 715374"/>
                  <a:gd name="connsiteX510" fmla="*/ 407668 w 786911"/>
                  <a:gd name="connsiteY510" fmla="*/ 454978 h 715374"/>
                  <a:gd name="connsiteX511" fmla="*/ 407668 w 786911"/>
                  <a:gd name="connsiteY511" fmla="*/ 466424 h 715374"/>
                  <a:gd name="connsiteX512" fmla="*/ 375190 w 786911"/>
                  <a:gd name="connsiteY512" fmla="*/ 496899 h 715374"/>
                  <a:gd name="connsiteX513" fmla="*/ 385711 w 786911"/>
                  <a:gd name="connsiteY513" fmla="*/ 496833 h 715374"/>
                  <a:gd name="connsiteX514" fmla="*/ 385646 w 786911"/>
                  <a:gd name="connsiteY514" fmla="*/ 486311 h 715374"/>
                  <a:gd name="connsiteX515" fmla="*/ 375190 w 786911"/>
                  <a:gd name="connsiteY515" fmla="*/ 486311 h 715374"/>
                  <a:gd name="connsiteX516" fmla="*/ 375124 w 786911"/>
                  <a:gd name="connsiteY516" fmla="*/ 496833 h 715374"/>
                  <a:gd name="connsiteX517" fmla="*/ 375190 w 786911"/>
                  <a:gd name="connsiteY517" fmla="*/ 496899 h 715374"/>
                  <a:gd name="connsiteX518" fmla="*/ 341567 w 786911"/>
                  <a:gd name="connsiteY518" fmla="*/ 527660 h 715374"/>
                  <a:gd name="connsiteX519" fmla="*/ 351296 w 786911"/>
                  <a:gd name="connsiteY519" fmla="*/ 527660 h 715374"/>
                  <a:gd name="connsiteX520" fmla="*/ 351458 w 786911"/>
                  <a:gd name="connsiteY520" fmla="*/ 517949 h 715374"/>
                  <a:gd name="connsiteX521" fmla="*/ 351296 w 786911"/>
                  <a:gd name="connsiteY521" fmla="*/ 517788 h 715374"/>
                  <a:gd name="connsiteX522" fmla="*/ 341567 w 786911"/>
                  <a:gd name="connsiteY522" fmla="*/ 517788 h 715374"/>
                  <a:gd name="connsiteX523" fmla="*/ 341405 w 786911"/>
                  <a:gd name="connsiteY523" fmla="*/ 527498 h 715374"/>
                  <a:gd name="connsiteX524" fmla="*/ 341567 w 786911"/>
                  <a:gd name="connsiteY524" fmla="*/ 527660 h 715374"/>
                  <a:gd name="connsiteX525" fmla="*/ 308946 w 786911"/>
                  <a:gd name="connsiteY525" fmla="*/ 558135 h 715374"/>
                  <a:gd name="connsiteX526" fmla="*/ 317848 w 786911"/>
                  <a:gd name="connsiteY526" fmla="*/ 558246 h 715374"/>
                  <a:gd name="connsiteX527" fmla="*/ 317960 w 786911"/>
                  <a:gd name="connsiteY527" fmla="*/ 558135 h 715374"/>
                  <a:gd name="connsiteX528" fmla="*/ 319501 w 786911"/>
                  <a:gd name="connsiteY528" fmla="*/ 549161 h 715374"/>
                  <a:gd name="connsiteX529" fmla="*/ 310527 w 786911"/>
                  <a:gd name="connsiteY529" fmla="*/ 547620 h 715374"/>
                  <a:gd name="connsiteX530" fmla="*/ 309232 w 786911"/>
                  <a:gd name="connsiteY530" fmla="*/ 548835 h 715374"/>
                  <a:gd name="connsiteX531" fmla="*/ 309121 w 786911"/>
                  <a:gd name="connsiteY531" fmla="*/ 557737 h 715374"/>
                  <a:gd name="connsiteX532" fmla="*/ 309232 w 786911"/>
                  <a:gd name="connsiteY532" fmla="*/ 557849 h 715374"/>
                  <a:gd name="connsiteX533" fmla="*/ 276468 w 786911"/>
                  <a:gd name="connsiteY533" fmla="*/ 589182 h 715374"/>
                  <a:gd name="connsiteX534" fmla="*/ 284766 w 786911"/>
                  <a:gd name="connsiteY534" fmla="*/ 589468 h 715374"/>
                  <a:gd name="connsiteX535" fmla="*/ 285053 w 786911"/>
                  <a:gd name="connsiteY535" fmla="*/ 581170 h 715374"/>
                  <a:gd name="connsiteX536" fmla="*/ 276754 w 786911"/>
                  <a:gd name="connsiteY536" fmla="*/ 580884 h 715374"/>
                  <a:gd name="connsiteX537" fmla="*/ 276468 w 786911"/>
                  <a:gd name="connsiteY537" fmla="*/ 589182 h 715374"/>
                  <a:gd name="connsiteX538" fmla="*/ 243990 w 786911"/>
                  <a:gd name="connsiteY538" fmla="*/ 619657 h 715374"/>
                  <a:gd name="connsiteX539" fmla="*/ 251430 w 786911"/>
                  <a:gd name="connsiteY539" fmla="*/ 619657 h 715374"/>
                  <a:gd name="connsiteX540" fmla="*/ 251675 w 786911"/>
                  <a:gd name="connsiteY540" fmla="*/ 611973 h 715374"/>
                  <a:gd name="connsiteX541" fmla="*/ 243990 w 786911"/>
                  <a:gd name="connsiteY541" fmla="*/ 611726 h 715374"/>
                  <a:gd name="connsiteX542" fmla="*/ 243745 w 786911"/>
                  <a:gd name="connsiteY542" fmla="*/ 619412 h 715374"/>
                  <a:gd name="connsiteX543" fmla="*/ 243990 w 786911"/>
                  <a:gd name="connsiteY543" fmla="*/ 619657 h 715374"/>
                  <a:gd name="connsiteX544" fmla="*/ 211369 w 786911"/>
                  <a:gd name="connsiteY544" fmla="*/ 650132 h 715374"/>
                  <a:gd name="connsiteX545" fmla="*/ 218237 w 786911"/>
                  <a:gd name="connsiteY545" fmla="*/ 650132 h 715374"/>
                  <a:gd name="connsiteX546" fmla="*/ 218380 w 786911"/>
                  <a:gd name="connsiteY546" fmla="*/ 643407 h 715374"/>
                  <a:gd name="connsiteX547" fmla="*/ 211655 w 786911"/>
                  <a:gd name="connsiteY547" fmla="*/ 643264 h 715374"/>
                  <a:gd name="connsiteX548" fmla="*/ 211655 w 786911"/>
                  <a:gd name="connsiteY548" fmla="*/ 649989 h 715374"/>
                  <a:gd name="connsiteX549" fmla="*/ 178319 w 786911"/>
                  <a:gd name="connsiteY549" fmla="*/ 680035 h 715374"/>
                  <a:gd name="connsiteX550" fmla="*/ 184328 w 786911"/>
                  <a:gd name="connsiteY550" fmla="*/ 680035 h 715374"/>
                  <a:gd name="connsiteX551" fmla="*/ 184328 w 786911"/>
                  <a:gd name="connsiteY551" fmla="*/ 674169 h 715374"/>
                  <a:gd name="connsiteX552" fmla="*/ 178319 w 786911"/>
                  <a:gd name="connsiteY552" fmla="*/ 674169 h 715374"/>
                  <a:gd name="connsiteX553" fmla="*/ 178319 w 786911"/>
                  <a:gd name="connsiteY553" fmla="*/ 680178 h 715374"/>
                  <a:gd name="connsiteX554" fmla="*/ 145841 w 786911"/>
                  <a:gd name="connsiteY554" fmla="*/ 710653 h 715374"/>
                  <a:gd name="connsiteX555" fmla="*/ 150898 w 786911"/>
                  <a:gd name="connsiteY555" fmla="*/ 710746 h 715374"/>
                  <a:gd name="connsiteX556" fmla="*/ 150991 w 786911"/>
                  <a:gd name="connsiteY556" fmla="*/ 710653 h 715374"/>
                  <a:gd name="connsiteX557" fmla="*/ 151135 w 786911"/>
                  <a:gd name="connsiteY557" fmla="*/ 705502 h 715374"/>
                  <a:gd name="connsiteX558" fmla="*/ 145984 w 786911"/>
                  <a:gd name="connsiteY558" fmla="*/ 705359 h 715374"/>
                  <a:gd name="connsiteX559" fmla="*/ 145891 w 786911"/>
                  <a:gd name="connsiteY559" fmla="*/ 710417 h 715374"/>
                  <a:gd name="connsiteX560" fmla="*/ 145984 w 786911"/>
                  <a:gd name="connsiteY560" fmla="*/ 710510 h 715374"/>
                  <a:gd name="connsiteX561" fmla="*/ 309518 w 786911"/>
                  <a:gd name="connsiteY561" fmla="*/ 363124 h 715374"/>
                  <a:gd name="connsiteX562" fmla="*/ 320850 w 786911"/>
                  <a:gd name="connsiteY562" fmla="*/ 363153 h 715374"/>
                  <a:gd name="connsiteX563" fmla="*/ 320877 w 786911"/>
                  <a:gd name="connsiteY563" fmla="*/ 351821 h 715374"/>
                  <a:gd name="connsiteX564" fmla="*/ 309547 w 786911"/>
                  <a:gd name="connsiteY564" fmla="*/ 351792 h 715374"/>
                  <a:gd name="connsiteX565" fmla="*/ 309518 w 786911"/>
                  <a:gd name="connsiteY565" fmla="*/ 351821 h 715374"/>
                  <a:gd name="connsiteX566" fmla="*/ 309518 w 786911"/>
                  <a:gd name="connsiteY566" fmla="*/ 363124 h 715374"/>
                  <a:gd name="connsiteX567" fmla="*/ 277040 w 786911"/>
                  <a:gd name="connsiteY567" fmla="*/ 393599 h 715374"/>
                  <a:gd name="connsiteX568" fmla="*/ 287356 w 786911"/>
                  <a:gd name="connsiteY568" fmla="*/ 393871 h 715374"/>
                  <a:gd name="connsiteX569" fmla="*/ 287628 w 786911"/>
                  <a:gd name="connsiteY569" fmla="*/ 393599 h 715374"/>
                  <a:gd name="connsiteX570" fmla="*/ 287914 w 786911"/>
                  <a:gd name="connsiteY570" fmla="*/ 383011 h 715374"/>
                  <a:gd name="connsiteX571" fmla="*/ 277327 w 786911"/>
                  <a:gd name="connsiteY571" fmla="*/ 382725 h 715374"/>
                  <a:gd name="connsiteX572" fmla="*/ 277201 w 786911"/>
                  <a:gd name="connsiteY572" fmla="*/ 393044 h 715374"/>
                  <a:gd name="connsiteX573" fmla="*/ 277327 w 786911"/>
                  <a:gd name="connsiteY573" fmla="*/ 393170 h 715374"/>
                  <a:gd name="connsiteX574" fmla="*/ 244849 w 786911"/>
                  <a:gd name="connsiteY574" fmla="*/ 423788 h 715374"/>
                  <a:gd name="connsiteX575" fmla="*/ 254578 w 786911"/>
                  <a:gd name="connsiteY575" fmla="*/ 423788 h 715374"/>
                  <a:gd name="connsiteX576" fmla="*/ 254739 w 786911"/>
                  <a:gd name="connsiteY576" fmla="*/ 414077 h 715374"/>
                  <a:gd name="connsiteX577" fmla="*/ 254578 w 786911"/>
                  <a:gd name="connsiteY577" fmla="*/ 413915 h 715374"/>
                  <a:gd name="connsiteX578" fmla="*/ 244849 w 786911"/>
                  <a:gd name="connsiteY578" fmla="*/ 413915 h 715374"/>
                  <a:gd name="connsiteX579" fmla="*/ 244687 w 786911"/>
                  <a:gd name="connsiteY579" fmla="*/ 423626 h 715374"/>
                  <a:gd name="connsiteX580" fmla="*/ 244849 w 786911"/>
                  <a:gd name="connsiteY580" fmla="*/ 423788 h 715374"/>
                  <a:gd name="connsiteX581" fmla="*/ 211941 w 786911"/>
                  <a:gd name="connsiteY581" fmla="*/ 454692 h 715374"/>
                  <a:gd name="connsiteX582" fmla="*/ 220816 w 786911"/>
                  <a:gd name="connsiteY582" fmla="*/ 456726 h 715374"/>
                  <a:gd name="connsiteX583" fmla="*/ 222851 w 786911"/>
                  <a:gd name="connsiteY583" fmla="*/ 447851 h 715374"/>
                  <a:gd name="connsiteX584" fmla="*/ 221241 w 786911"/>
                  <a:gd name="connsiteY584" fmla="*/ 446107 h 715374"/>
                  <a:gd name="connsiteX585" fmla="*/ 212084 w 786911"/>
                  <a:gd name="connsiteY585" fmla="*/ 445821 h 715374"/>
                  <a:gd name="connsiteX586" fmla="*/ 211798 w 786911"/>
                  <a:gd name="connsiteY586" fmla="*/ 454978 h 715374"/>
                  <a:gd name="connsiteX587" fmla="*/ 179320 w 786911"/>
                  <a:gd name="connsiteY587" fmla="*/ 485453 h 715374"/>
                  <a:gd name="connsiteX588" fmla="*/ 187619 w 786911"/>
                  <a:gd name="connsiteY588" fmla="*/ 485739 h 715374"/>
                  <a:gd name="connsiteX589" fmla="*/ 187905 w 786911"/>
                  <a:gd name="connsiteY589" fmla="*/ 477441 h 715374"/>
                  <a:gd name="connsiteX590" fmla="*/ 179814 w 786911"/>
                  <a:gd name="connsiteY590" fmla="*/ 477233 h 715374"/>
                  <a:gd name="connsiteX591" fmla="*/ 179606 w 786911"/>
                  <a:gd name="connsiteY591" fmla="*/ 477441 h 715374"/>
                  <a:gd name="connsiteX592" fmla="*/ 179604 w 786911"/>
                  <a:gd name="connsiteY592" fmla="*/ 485736 h 715374"/>
                  <a:gd name="connsiteX593" fmla="*/ 179606 w 786911"/>
                  <a:gd name="connsiteY593" fmla="*/ 485739 h 715374"/>
                  <a:gd name="connsiteX594" fmla="*/ 147128 w 786911"/>
                  <a:gd name="connsiteY594" fmla="*/ 516214 h 715374"/>
                  <a:gd name="connsiteX595" fmla="*/ 154640 w 786911"/>
                  <a:gd name="connsiteY595" fmla="*/ 516429 h 715374"/>
                  <a:gd name="connsiteX596" fmla="*/ 154855 w 786911"/>
                  <a:gd name="connsiteY596" fmla="*/ 508917 h 715374"/>
                  <a:gd name="connsiteX597" fmla="*/ 147272 w 786911"/>
                  <a:gd name="connsiteY597" fmla="*/ 508917 h 715374"/>
                  <a:gd name="connsiteX598" fmla="*/ 147272 w 786911"/>
                  <a:gd name="connsiteY598" fmla="*/ 516500 h 715374"/>
                  <a:gd name="connsiteX599" fmla="*/ 114507 w 786911"/>
                  <a:gd name="connsiteY599" fmla="*/ 546260 h 715374"/>
                  <a:gd name="connsiteX600" fmla="*/ 121185 w 786911"/>
                  <a:gd name="connsiteY600" fmla="*/ 546212 h 715374"/>
                  <a:gd name="connsiteX601" fmla="*/ 121137 w 786911"/>
                  <a:gd name="connsiteY601" fmla="*/ 539535 h 715374"/>
                  <a:gd name="connsiteX602" fmla="*/ 114507 w 786911"/>
                  <a:gd name="connsiteY602" fmla="*/ 539535 h 715374"/>
                  <a:gd name="connsiteX603" fmla="*/ 114460 w 786911"/>
                  <a:gd name="connsiteY603" fmla="*/ 546212 h 715374"/>
                  <a:gd name="connsiteX604" fmla="*/ 114507 w 786911"/>
                  <a:gd name="connsiteY604" fmla="*/ 546260 h 715374"/>
                  <a:gd name="connsiteX605" fmla="*/ 81886 w 786911"/>
                  <a:gd name="connsiteY605" fmla="*/ 576735 h 715374"/>
                  <a:gd name="connsiteX606" fmla="*/ 87956 w 786911"/>
                  <a:gd name="connsiteY606" fmla="*/ 576795 h 715374"/>
                  <a:gd name="connsiteX607" fmla="*/ 88017 w 786911"/>
                  <a:gd name="connsiteY607" fmla="*/ 570725 h 715374"/>
                  <a:gd name="connsiteX608" fmla="*/ 81946 w 786911"/>
                  <a:gd name="connsiteY608" fmla="*/ 570665 h 715374"/>
                  <a:gd name="connsiteX609" fmla="*/ 81886 w 786911"/>
                  <a:gd name="connsiteY609" fmla="*/ 570725 h 715374"/>
                  <a:gd name="connsiteX610" fmla="*/ 81886 w 786911"/>
                  <a:gd name="connsiteY610" fmla="*/ 576735 h 715374"/>
                  <a:gd name="connsiteX611" fmla="*/ 49551 w 786911"/>
                  <a:gd name="connsiteY611" fmla="*/ 607066 h 715374"/>
                  <a:gd name="connsiteX612" fmla="*/ 54609 w 786911"/>
                  <a:gd name="connsiteY612" fmla="*/ 607159 h 715374"/>
                  <a:gd name="connsiteX613" fmla="*/ 54702 w 786911"/>
                  <a:gd name="connsiteY613" fmla="*/ 607066 h 715374"/>
                  <a:gd name="connsiteX614" fmla="*/ 54795 w 786911"/>
                  <a:gd name="connsiteY614" fmla="*/ 602009 h 715374"/>
                  <a:gd name="connsiteX615" fmla="*/ 54702 w 786911"/>
                  <a:gd name="connsiteY615" fmla="*/ 601916 h 715374"/>
                  <a:gd name="connsiteX616" fmla="*/ 49644 w 786911"/>
                  <a:gd name="connsiteY616" fmla="*/ 601823 h 715374"/>
                  <a:gd name="connsiteX617" fmla="*/ 49551 w 786911"/>
                  <a:gd name="connsiteY617" fmla="*/ 601916 h 715374"/>
                  <a:gd name="connsiteX618" fmla="*/ 49551 w 786911"/>
                  <a:gd name="connsiteY618" fmla="*/ 607210 h 715374"/>
                  <a:gd name="connsiteX619" fmla="*/ 17073 w 786911"/>
                  <a:gd name="connsiteY619" fmla="*/ 637684 h 715374"/>
                  <a:gd name="connsiteX620" fmla="*/ 21509 w 786911"/>
                  <a:gd name="connsiteY620" fmla="*/ 637684 h 715374"/>
                  <a:gd name="connsiteX621" fmla="*/ 21509 w 786911"/>
                  <a:gd name="connsiteY621" fmla="*/ 633249 h 715374"/>
                  <a:gd name="connsiteX622" fmla="*/ 17073 w 786911"/>
                  <a:gd name="connsiteY622" fmla="*/ 633249 h 715374"/>
                  <a:gd name="connsiteX623" fmla="*/ 16883 w 786911"/>
                  <a:gd name="connsiteY623" fmla="*/ 637494 h 715374"/>
                  <a:gd name="connsiteX624" fmla="*/ 17073 w 786911"/>
                  <a:gd name="connsiteY624" fmla="*/ 637684 h 715374"/>
                  <a:gd name="connsiteX625" fmla="*/ 328977 w 786911"/>
                  <a:gd name="connsiteY625" fmla="*/ 383870 h 715374"/>
                  <a:gd name="connsiteX626" fmla="*/ 340279 w 786911"/>
                  <a:gd name="connsiteY626" fmla="*/ 383870 h 715374"/>
                  <a:gd name="connsiteX627" fmla="*/ 340279 w 786911"/>
                  <a:gd name="connsiteY627" fmla="*/ 372424 h 715374"/>
                  <a:gd name="connsiteX628" fmla="*/ 328833 w 786911"/>
                  <a:gd name="connsiteY628" fmla="*/ 372424 h 715374"/>
                  <a:gd name="connsiteX629" fmla="*/ 328833 w 786911"/>
                  <a:gd name="connsiteY629" fmla="*/ 383727 h 715374"/>
                  <a:gd name="connsiteX630" fmla="*/ 296212 w 786911"/>
                  <a:gd name="connsiteY630" fmla="*/ 414202 h 715374"/>
                  <a:gd name="connsiteX631" fmla="*/ 306734 w 786911"/>
                  <a:gd name="connsiteY631" fmla="*/ 414267 h 715374"/>
                  <a:gd name="connsiteX632" fmla="*/ 306800 w 786911"/>
                  <a:gd name="connsiteY632" fmla="*/ 414202 h 715374"/>
                  <a:gd name="connsiteX633" fmla="*/ 307158 w 786911"/>
                  <a:gd name="connsiteY633" fmla="*/ 403686 h 715374"/>
                  <a:gd name="connsiteX634" fmla="*/ 296642 w 786911"/>
                  <a:gd name="connsiteY634" fmla="*/ 403328 h 715374"/>
                  <a:gd name="connsiteX635" fmla="*/ 296642 w 786911"/>
                  <a:gd name="connsiteY635" fmla="*/ 413915 h 715374"/>
                  <a:gd name="connsiteX636" fmla="*/ 264164 w 786911"/>
                  <a:gd name="connsiteY636" fmla="*/ 444820 h 715374"/>
                  <a:gd name="connsiteX637" fmla="*/ 273874 w 786911"/>
                  <a:gd name="connsiteY637" fmla="*/ 444981 h 715374"/>
                  <a:gd name="connsiteX638" fmla="*/ 274036 w 786911"/>
                  <a:gd name="connsiteY638" fmla="*/ 444820 h 715374"/>
                  <a:gd name="connsiteX639" fmla="*/ 274036 w 786911"/>
                  <a:gd name="connsiteY639" fmla="*/ 435091 h 715374"/>
                  <a:gd name="connsiteX640" fmla="*/ 264325 w 786911"/>
                  <a:gd name="connsiteY640" fmla="*/ 434929 h 715374"/>
                  <a:gd name="connsiteX641" fmla="*/ 264164 w 786911"/>
                  <a:gd name="connsiteY641" fmla="*/ 435091 h 715374"/>
                  <a:gd name="connsiteX642" fmla="*/ 264164 w 786911"/>
                  <a:gd name="connsiteY642" fmla="*/ 444820 h 715374"/>
                  <a:gd name="connsiteX643" fmla="*/ 231400 w 786911"/>
                  <a:gd name="connsiteY643" fmla="*/ 474722 h 715374"/>
                  <a:gd name="connsiteX644" fmla="*/ 240505 w 786911"/>
                  <a:gd name="connsiteY644" fmla="*/ 474814 h 715374"/>
                  <a:gd name="connsiteX645" fmla="*/ 240595 w 786911"/>
                  <a:gd name="connsiteY645" fmla="*/ 465709 h 715374"/>
                  <a:gd name="connsiteX646" fmla="*/ 231491 w 786911"/>
                  <a:gd name="connsiteY646" fmla="*/ 465617 h 715374"/>
                  <a:gd name="connsiteX647" fmla="*/ 231400 w 786911"/>
                  <a:gd name="connsiteY647" fmla="*/ 465709 h 715374"/>
                  <a:gd name="connsiteX648" fmla="*/ 231288 w 786911"/>
                  <a:gd name="connsiteY648" fmla="*/ 474611 h 715374"/>
                  <a:gd name="connsiteX649" fmla="*/ 231400 w 786911"/>
                  <a:gd name="connsiteY649" fmla="*/ 474722 h 715374"/>
                  <a:gd name="connsiteX650" fmla="*/ 198922 w 786911"/>
                  <a:gd name="connsiteY650" fmla="*/ 505197 h 715374"/>
                  <a:gd name="connsiteX651" fmla="*/ 206808 w 786911"/>
                  <a:gd name="connsiteY651" fmla="*/ 505466 h 715374"/>
                  <a:gd name="connsiteX652" fmla="*/ 207077 w 786911"/>
                  <a:gd name="connsiteY652" fmla="*/ 505197 h 715374"/>
                  <a:gd name="connsiteX653" fmla="*/ 207284 w 786911"/>
                  <a:gd name="connsiteY653" fmla="*/ 497106 h 715374"/>
                  <a:gd name="connsiteX654" fmla="*/ 207077 w 786911"/>
                  <a:gd name="connsiteY654" fmla="*/ 496899 h 715374"/>
                  <a:gd name="connsiteX655" fmla="*/ 198922 w 786911"/>
                  <a:gd name="connsiteY655" fmla="*/ 496899 h 715374"/>
                  <a:gd name="connsiteX656" fmla="*/ 198714 w 786911"/>
                  <a:gd name="connsiteY656" fmla="*/ 504990 h 715374"/>
                  <a:gd name="connsiteX657" fmla="*/ 198922 w 786911"/>
                  <a:gd name="connsiteY657" fmla="*/ 505197 h 715374"/>
                  <a:gd name="connsiteX658" fmla="*/ 166300 w 786911"/>
                  <a:gd name="connsiteY658" fmla="*/ 536244 h 715374"/>
                  <a:gd name="connsiteX659" fmla="*/ 173883 w 786911"/>
                  <a:gd name="connsiteY659" fmla="*/ 536244 h 715374"/>
                  <a:gd name="connsiteX660" fmla="*/ 173883 w 786911"/>
                  <a:gd name="connsiteY660" fmla="*/ 528805 h 715374"/>
                  <a:gd name="connsiteX661" fmla="*/ 166300 w 786911"/>
                  <a:gd name="connsiteY661" fmla="*/ 528805 h 715374"/>
                  <a:gd name="connsiteX662" fmla="*/ 166300 w 786911"/>
                  <a:gd name="connsiteY662" fmla="*/ 536244 h 715374"/>
                  <a:gd name="connsiteX663" fmla="*/ 133822 w 786911"/>
                  <a:gd name="connsiteY663" fmla="*/ 566719 h 715374"/>
                  <a:gd name="connsiteX664" fmla="*/ 140500 w 786911"/>
                  <a:gd name="connsiteY664" fmla="*/ 566672 h 715374"/>
                  <a:gd name="connsiteX665" fmla="*/ 140453 w 786911"/>
                  <a:gd name="connsiteY665" fmla="*/ 559995 h 715374"/>
                  <a:gd name="connsiteX666" fmla="*/ 133822 w 786911"/>
                  <a:gd name="connsiteY666" fmla="*/ 559995 h 715374"/>
                  <a:gd name="connsiteX667" fmla="*/ 133775 w 786911"/>
                  <a:gd name="connsiteY667" fmla="*/ 566672 h 715374"/>
                  <a:gd name="connsiteX668" fmla="*/ 133822 w 786911"/>
                  <a:gd name="connsiteY668" fmla="*/ 566719 h 715374"/>
                  <a:gd name="connsiteX669" fmla="*/ 101345 w 786911"/>
                  <a:gd name="connsiteY669" fmla="*/ 597194 h 715374"/>
                  <a:gd name="connsiteX670" fmla="*/ 107354 w 786911"/>
                  <a:gd name="connsiteY670" fmla="*/ 597194 h 715374"/>
                  <a:gd name="connsiteX671" fmla="*/ 107354 w 786911"/>
                  <a:gd name="connsiteY671" fmla="*/ 591185 h 715374"/>
                  <a:gd name="connsiteX672" fmla="*/ 101345 w 786911"/>
                  <a:gd name="connsiteY672" fmla="*/ 591185 h 715374"/>
                  <a:gd name="connsiteX673" fmla="*/ 101345 w 786911"/>
                  <a:gd name="connsiteY673" fmla="*/ 597051 h 715374"/>
                  <a:gd name="connsiteX674" fmla="*/ 68867 w 786911"/>
                  <a:gd name="connsiteY674" fmla="*/ 627526 h 715374"/>
                  <a:gd name="connsiteX675" fmla="*/ 73924 w 786911"/>
                  <a:gd name="connsiteY675" fmla="*/ 627619 h 715374"/>
                  <a:gd name="connsiteX676" fmla="*/ 74017 w 786911"/>
                  <a:gd name="connsiteY676" fmla="*/ 627526 h 715374"/>
                  <a:gd name="connsiteX677" fmla="*/ 74017 w 786911"/>
                  <a:gd name="connsiteY677" fmla="*/ 622232 h 715374"/>
                  <a:gd name="connsiteX678" fmla="*/ 68960 w 786911"/>
                  <a:gd name="connsiteY678" fmla="*/ 622139 h 715374"/>
                  <a:gd name="connsiteX679" fmla="*/ 68867 w 786911"/>
                  <a:gd name="connsiteY679" fmla="*/ 622232 h 715374"/>
                  <a:gd name="connsiteX680" fmla="*/ 68774 w 786911"/>
                  <a:gd name="connsiteY680" fmla="*/ 627290 h 715374"/>
                  <a:gd name="connsiteX681" fmla="*/ 68867 w 786911"/>
                  <a:gd name="connsiteY681" fmla="*/ 627383 h 715374"/>
                  <a:gd name="connsiteX682" fmla="*/ 36245 w 786911"/>
                  <a:gd name="connsiteY682" fmla="*/ 658001 h 715374"/>
                  <a:gd name="connsiteX683" fmla="*/ 40681 w 786911"/>
                  <a:gd name="connsiteY683" fmla="*/ 658001 h 715374"/>
                  <a:gd name="connsiteX684" fmla="*/ 40724 w 786911"/>
                  <a:gd name="connsiteY684" fmla="*/ 653752 h 715374"/>
                  <a:gd name="connsiteX685" fmla="*/ 40681 w 786911"/>
                  <a:gd name="connsiteY685" fmla="*/ 653709 h 715374"/>
                  <a:gd name="connsiteX686" fmla="*/ 36436 w 786911"/>
                  <a:gd name="connsiteY686" fmla="*/ 653519 h 715374"/>
                  <a:gd name="connsiteX687" fmla="*/ 36245 w 786911"/>
                  <a:gd name="connsiteY687" fmla="*/ 653709 h 715374"/>
                  <a:gd name="connsiteX688" fmla="*/ 36245 w 786911"/>
                  <a:gd name="connsiteY688" fmla="*/ 658144 h 715374"/>
                  <a:gd name="connsiteX689" fmla="*/ 348292 w 786911"/>
                  <a:gd name="connsiteY689" fmla="*/ 404616 h 715374"/>
                  <a:gd name="connsiteX690" fmla="*/ 359738 w 786911"/>
                  <a:gd name="connsiteY690" fmla="*/ 404616 h 715374"/>
                  <a:gd name="connsiteX691" fmla="*/ 359738 w 786911"/>
                  <a:gd name="connsiteY691" fmla="*/ 393313 h 715374"/>
                  <a:gd name="connsiteX692" fmla="*/ 348435 w 786911"/>
                  <a:gd name="connsiteY692" fmla="*/ 393313 h 715374"/>
                  <a:gd name="connsiteX693" fmla="*/ 348435 w 786911"/>
                  <a:gd name="connsiteY693" fmla="*/ 404759 h 715374"/>
                  <a:gd name="connsiteX694" fmla="*/ 315957 w 786911"/>
                  <a:gd name="connsiteY694" fmla="*/ 435234 h 715374"/>
                  <a:gd name="connsiteX695" fmla="*/ 326478 w 786911"/>
                  <a:gd name="connsiteY695" fmla="*/ 435168 h 715374"/>
                  <a:gd name="connsiteX696" fmla="*/ 326413 w 786911"/>
                  <a:gd name="connsiteY696" fmla="*/ 424646 h 715374"/>
                  <a:gd name="connsiteX697" fmla="*/ 315957 w 786911"/>
                  <a:gd name="connsiteY697" fmla="*/ 424646 h 715374"/>
                  <a:gd name="connsiteX698" fmla="*/ 315891 w 786911"/>
                  <a:gd name="connsiteY698" fmla="*/ 435168 h 715374"/>
                  <a:gd name="connsiteX699" fmla="*/ 315957 w 786911"/>
                  <a:gd name="connsiteY699" fmla="*/ 435234 h 715374"/>
                  <a:gd name="connsiteX700" fmla="*/ 283479 w 786911"/>
                  <a:gd name="connsiteY700" fmla="*/ 465709 h 715374"/>
                  <a:gd name="connsiteX701" fmla="*/ 293377 w 786911"/>
                  <a:gd name="connsiteY701" fmla="*/ 465125 h 715374"/>
                  <a:gd name="connsiteX702" fmla="*/ 293637 w 786911"/>
                  <a:gd name="connsiteY702" fmla="*/ 456123 h 715374"/>
                  <a:gd name="connsiteX703" fmla="*/ 283765 w 786911"/>
                  <a:gd name="connsiteY703" fmla="*/ 456123 h 715374"/>
                  <a:gd name="connsiteX704" fmla="*/ 283603 w 786911"/>
                  <a:gd name="connsiteY704" fmla="*/ 465833 h 715374"/>
                  <a:gd name="connsiteX705" fmla="*/ 283765 w 786911"/>
                  <a:gd name="connsiteY705" fmla="*/ 465995 h 715374"/>
                  <a:gd name="connsiteX706" fmla="*/ 251287 w 786911"/>
                  <a:gd name="connsiteY706" fmla="*/ 496470 h 715374"/>
                  <a:gd name="connsiteX707" fmla="*/ 260392 w 786911"/>
                  <a:gd name="connsiteY707" fmla="*/ 496561 h 715374"/>
                  <a:gd name="connsiteX708" fmla="*/ 260482 w 786911"/>
                  <a:gd name="connsiteY708" fmla="*/ 487456 h 715374"/>
                  <a:gd name="connsiteX709" fmla="*/ 251378 w 786911"/>
                  <a:gd name="connsiteY709" fmla="*/ 487364 h 715374"/>
                  <a:gd name="connsiteX710" fmla="*/ 251287 w 786911"/>
                  <a:gd name="connsiteY710" fmla="*/ 487456 h 715374"/>
                  <a:gd name="connsiteX711" fmla="*/ 251175 w 786911"/>
                  <a:gd name="connsiteY711" fmla="*/ 496358 h 715374"/>
                  <a:gd name="connsiteX712" fmla="*/ 251287 w 786911"/>
                  <a:gd name="connsiteY712" fmla="*/ 496470 h 715374"/>
                  <a:gd name="connsiteX713" fmla="*/ 218666 w 786911"/>
                  <a:gd name="connsiteY713" fmla="*/ 526945 h 715374"/>
                  <a:gd name="connsiteX714" fmla="*/ 226964 w 786911"/>
                  <a:gd name="connsiteY714" fmla="*/ 526945 h 715374"/>
                  <a:gd name="connsiteX715" fmla="*/ 227250 w 786911"/>
                  <a:gd name="connsiteY715" fmla="*/ 518646 h 715374"/>
                  <a:gd name="connsiteX716" fmla="*/ 218952 w 786911"/>
                  <a:gd name="connsiteY716" fmla="*/ 518360 h 715374"/>
                  <a:gd name="connsiteX717" fmla="*/ 218952 w 786911"/>
                  <a:gd name="connsiteY717" fmla="*/ 526658 h 715374"/>
                  <a:gd name="connsiteX718" fmla="*/ 186474 w 786911"/>
                  <a:gd name="connsiteY718" fmla="*/ 557133 h 715374"/>
                  <a:gd name="connsiteX719" fmla="*/ 193914 w 786911"/>
                  <a:gd name="connsiteY719" fmla="*/ 557133 h 715374"/>
                  <a:gd name="connsiteX720" fmla="*/ 193914 w 786911"/>
                  <a:gd name="connsiteY720" fmla="*/ 549550 h 715374"/>
                  <a:gd name="connsiteX721" fmla="*/ 186474 w 786911"/>
                  <a:gd name="connsiteY721" fmla="*/ 549550 h 715374"/>
                  <a:gd name="connsiteX722" fmla="*/ 186474 w 786911"/>
                  <a:gd name="connsiteY722" fmla="*/ 557133 h 715374"/>
                  <a:gd name="connsiteX723" fmla="*/ 153996 w 786911"/>
                  <a:gd name="connsiteY723" fmla="*/ 587608 h 715374"/>
                  <a:gd name="connsiteX724" fmla="*/ 160673 w 786911"/>
                  <a:gd name="connsiteY724" fmla="*/ 587561 h 715374"/>
                  <a:gd name="connsiteX725" fmla="*/ 160626 w 786911"/>
                  <a:gd name="connsiteY725" fmla="*/ 580884 h 715374"/>
                  <a:gd name="connsiteX726" fmla="*/ 153996 w 786911"/>
                  <a:gd name="connsiteY726" fmla="*/ 580884 h 715374"/>
                  <a:gd name="connsiteX727" fmla="*/ 153949 w 786911"/>
                  <a:gd name="connsiteY727" fmla="*/ 587561 h 715374"/>
                  <a:gd name="connsiteX728" fmla="*/ 153996 w 786911"/>
                  <a:gd name="connsiteY728" fmla="*/ 587608 h 715374"/>
                  <a:gd name="connsiteX729" fmla="*/ 121089 w 786911"/>
                  <a:gd name="connsiteY729" fmla="*/ 617797 h 715374"/>
                  <a:gd name="connsiteX730" fmla="*/ 126955 w 786911"/>
                  <a:gd name="connsiteY730" fmla="*/ 617940 h 715374"/>
                  <a:gd name="connsiteX731" fmla="*/ 127098 w 786911"/>
                  <a:gd name="connsiteY731" fmla="*/ 617797 h 715374"/>
                  <a:gd name="connsiteX732" fmla="*/ 127303 w 786911"/>
                  <a:gd name="connsiteY732" fmla="*/ 612136 h 715374"/>
                  <a:gd name="connsiteX733" fmla="*/ 127098 w 786911"/>
                  <a:gd name="connsiteY733" fmla="*/ 611931 h 715374"/>
                  <a:gd name="connsiteX734" fmla="*/ 121232 w 786911"/>
                  <a:gd name="connsiteY734" fmla="*/ 611931 h 715374"/>
                  <a:gd name="connsiteX735" fmla="*/ 121089 w 786911"/>
                  <a:gd name="connsiteY735" fmla="*/ 617797 h 715374"/>
                  <a:gd name="connsiteX736" fmla="*/ 88182 w 786911"/>
                  <a:gd name="connsiteY736" fmla="*/ 648415 h 715374"/>
                  <a:gd name="connsiteX737" fmla="*/ 93428 w 786911"/>
                  <a:gd name="connsiteY737" fmla="*/ 648032 h 715374"/>
                  <a:gd name="connsiteX738" fmla="*/ 93619 w 786911"/>
                  <a:gd name="connsiteY738" fmla="*/ 643407 h 715374"/>
                  <a:gd name="connsiteX739" fmla="*/ 88325 w 786911"/>
                  <a:gd name="connsiteY739" fmla="*/ 643407 h 715374"/>
                  <a:gd name="connsiteX740" fmla="*/ 88232 w 786911"/>
                  <a:gd name="connsiteY740" fmla="*/ 648465 h 715374"/>
                  <a:gd name="connsiteX741" fmla="*/ 88325 w 786911"/>
                  <a:gd name="connsiteY741" fmla="*/ 648558 h 7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Lst>
                <a:rect l="l" t="t" r="r" b="b"/>
                <a:pathLst>
                  <a:path w="786911" h="715374">
                    <a:moveTo>
                      <a:pt x="412818" y="383011"/>
                    </a:moveTo>
                    <a:cubicBezTo>
                      <a:pt x="415946" y="386186"/>
                      <a:pt x="415946" y="391282"/>
                      <a:pt x="412818" y="394457"/>
                    </a:cubicBezTo>
                    <a:cubicBezTo>
                      <a:pt x="409692" y="397568"/>
                      <a:pt x="404642" y="397568"/>
                      <a:pt x="401515" y="394457"/>
                    </a:cubicBezTo>
                    <a:cubicBezTo>
                      <a:pt x="398405" y="391331"/>
                      <a:pt x="398405" y="386281"/>
                      <a:pt x="401515" y="383154"/>
                    </a:cubicBezTo>
                    <a:cubicBezTo>
                      <a:pt x="404720" y="380103"/>
                      <a:pt x="409757" y="380103"/>
                      <a:pt x="412961" y="383154"/>
                    </a:cubicBezTo>
                    <a:moveTo>
                      <a:pt x="445439" y="352679"/>
                    </a:moveTo>
                    <a:cubicBezTo>
                      <a:pt x="442516" y="349792"/>
                      <a:pt x="437805" y="349822"/>
                      <a:pt x="434918" y="352745"/>
                    </a:cubicBezTo>
                    <a:cubicBezTo>
                      <a:pt x="432031" y="355670"/>
                      <a:pt x="432061" y="360380"/>
                      <a:pt x="434984" y="363267"/>
                    </a:cubicBezTo>
                    <a:cubicBezTo>
                      <a:pt x="437882" y="366128"/>
                      <a:pt x="442542" y="366128"/>
                      <a:pt x="445439" y="363267"/>
                    </a:cubicBezTo>
                    <a:cubicBezTo>
                      <a:pt x="448362" y="360380"/>
                      <a:pt x="448393" y="355670"/>
                      <a:pt x="445505" y="352745"/>
                    </a:cubicBezTo>
                    <a:cubicBezTo>
                      <a:pt x="445484" y="352724"/>
                      <a:pt x="445461" y="352701"/>
                      <a:pt x="445439" y="352679"/>
                    </a:cubicBezTo>
                    <a:moveTo>
                      <a:pt x="477917" y="322205"/>
                    </a:moveTo>
                    <a:cubicBezTo>
                      <a:pt x="475023" y="319632"/>
                      <a:pt x="470592" y="319894"/>
                      <a:pt x="468019" y="322788"/>
                    </a:cubicBezTo>
                    <a:cubicBezTo>
                      <a:pt x="465762" y="325329"/>
                      <a:pt x="465652" y="329124"/>
                      <a:pt x="467759" y="331791"/>
                    </a:cubicBezTo>
                    <a:cubicBezTo>
                      <a:pt x="470522" y="334425"/>
                      <a:pt x="474868" y="334425"/>
                      <a:pt x="477631" y="331791"/>
                    </a:cubicBezTo>
                    <a:cubicBezTo>
                      <a:pt x="480357" y="329154"/>
                      <a:pt x="480430" y="324806"/>
                      <a:pt x="477793" y="322080"/>
                    </a:cubicBezTo>
                    <a:cubicBezTo>
                      <a:pt x="477740" y="322024"/>
                      <a:pt x="477686" y="321971"/>
                      <a:pt x="477631" y="321918"/>
                    </a:cubicBezTo>
                    <a:moveTo>
                      <a:pt x="510252" y="291587"/>
                    </a:moveTo>
                    <a:cubicBezTo>
                      <a:pt x="507763" y="289047"/>
                      <a:pt x="503687" y="289007"/>
                      <a:pt x="501147" y="291495"/>
                    </a:cubicBezTo>
                    <a:cubicBezTo>
                      <a:pt x="498607" y="293984"/>
                      <a:pt x="498567" y="298061"/>
                      <a:pt x="501057" y="300600"/>
                    </a:cubicBezTo>
                    <a:cubicBezTo>
                      <a:pt x="503545" y="303140"/>
                      <a:pt x="507621" y="303180"/>
                      <a:pt x="510161" y="300692"/>
                    </a:cubicBezTo>
                    <a:cubicBezTo>
                      <a:pt x="510192" y="300662"/>
                      <a:pt x="510222" y="300630"/>
                      <a:pt x="510252" y="300600"/>
                    </a:cubicBezTo>
                    <a:cubicBezTo>
                      <a:pt x="512742" y="298172"/>
                      <a:pt x="512792" y="294188"/>
                      <a:pt x="510364" y="291698"/>
                    </a:cubicBezTo>
                    <a:cubicBezTo>
                      <a:pt x="510327" y="291661"/>
                      <a:pt x="510289" y="291624"/>
                      <a:pt x="510252" y="291587"/>
                    </a:cubicBezTo>
                    <a:moveTo>
                      <a:pt x="542873" y="261112"/>
                    </a:moveTo>
                    <a:cubicBezTo>
                      <a:pt x="540551" y="258895"/>
                      <a:pt x="536897" y="258895"/>
                      <a:pt x="534575" y="261112"/>
                    </a:cubicBezTo>
                    <a:cubicBezTo>
                      <a:pt x="532204" y="263324"/>
                      <a:pt x="532077" y="267039"/>
                      <a:pt x="534289" y="269410"/>
                    </a:cubicBezTo>
                    <a:cubicBezTo>
                      <a:pt x="536501" y="271781"/>
                      <a:pt x="540216" y="271908"/>
                      <a:pt x="542587" y="269696"/>
                    </a:cubicBezTo>
                    <a:cubicBezTo>
                      <a:pt x="544803" y="267374"/>
                      <a:pt x="544803" y="263720"/>
                      <a:pt x="542587" y="261398"/>
                    </a:cubicBezTo>
                    <a:moveTo>
                      <a:pt x="575065" y="230923"/>
                    </a:moveTo>
                    <a:cubicBezTo>
                      <a:pt x="573003" y="228887"/>
                      <a:pt x="569687" y="228887"/>
                      <a:pt x="567625" y="230923"/>
                    </a:cubicBezTo>
                    <a:cubicBezTo>
                      <a:pt x="565572" y="233033"/>
                      <a:pt x="565572" y="236395"/>
                      <a:pt x="567625" y="238506"/>
                    </a:cubicBezTo>
                    <a:cubicBezTo>
                      <a:pt x="569687" y="240542"/>
                      <a:pt x="573003" y="240542"/>
                      <a:pt x="575065" y="238506"/>
                    </a:cubicBezTo>
                    <a:cubicBezTo>
                      <a:pt x="577118" y="236395"/>
                      <a:pt x="577118" y="233033"/>
                      <a:pt x="575065" y="230923"/>
                    </a:cubicBezTo>
                    <a:moveTo>
                      <a:pt x="607543" y="200162"/>
                    </a:moveTo>
                    <a:cubicBezTo>
                      <a:pt x="605726" y="198266"/>
                      <a:pt x="602716" y="198202"/>
                      <a:pt x="600819" y="200019"/>
                    </a:cubicBezTo>
                    <a:cubicBezTo>
                      <a:pt x="598923" y="201836"/>
                      <a:pt x="598859" y="204847"/>
                      <a:pt x="600676" y="206743"/>
                    </a:cubicBezTo>
                    <a:cubicBezTo>
                      <a:pt x="602493" y="208640"/>
                      <a:pt x="605503" y="208703"/>
                      <a:pt x="607400" y="206886"/>
                    </a:cubicBezTo>
                    <a:cubicBezTo>
                      <a:pt x="609296" y="205069"/>
                      <a:pt x="609360" y="202059"/>
                      <a:pt x="607543" y="200162"/>
                    </a:cubicBezTo>
                    <a:moveTo>
                      <a:pt x="640164" y="169687"/>
                    </a:moveTo>
                    <a:cubicBezTo>
                      <a:pt x="638583" y="168027"/>
                      <a:pt x="635958" y="167963"/>
                      <a:pt x="634298" y="169544"/>
                    </a:cubicBezTo>
                    <a:cubicBezTo>
                      <a:pt x="634250" y="169591"/>
                      <a:pt x="634201" y="169638"/>
                      <a:pt x="634155" y="169687"/>
                    </a:cubicBezTo>
                    <a:cubicBezTo>
                      <a:pt x="632536" y="171193"/>
                      <a:pt x="632444" y="173729"/>
                      <a:pt x="633951" y="175348"/>
                    </a:cubicBezTo>
                    <a:cubicBezTo>
                      <a:pt x="634016" y="175420"/>
                      <a:pt x="634085" y="175487"/>
                      <a:pt x="634155" y="175553"/>
                    </a:cubicBezTo>
                    <a:cubicBezTo>
                      <a:pt x="635775" y="177172"/>
                      <a:pt x="638402" y="177172"/>
                      <a:pt x="640021" y="175553"/>
                    </a:cubicBezTo>
                    <a:cubicBezTo>
                      <a:pt x="641657" y="173883"/>
                      <a:pt x="641657" y="171213"/>
                      <a:pt x="640021" y="169544"/>
                    </a:cubicBezTo>
                    <a:moveTo>
                      <a:pt x="672499" y="139069"/>
                    </a:moveTo>
                    <a:cubicBezTo>
                      <a:pt x="670944" y="137725"/>
                      <a:pt x="668596" y="137897"/>
                      <a:pt x="667253" y="139452"/>
                    </a:cubicBezTo>
                    <a:cubicBezTo>
                      <a:pt x="666121" y="140761"/>
                      <a:pt x="666042" y="142679"/>
                      <a:pt x="667062" y="144076"/>
                    </a:cubicBezTo>
                    <a:cubicBezTo>
                      <a:pt x="668550" y="145476"/>
                      <a:pt x="670870" y="145476"/>
                      <a:pt x="672356" y="144076"/>
                    </a:cubicBezTo>
                    <a:cubicBezTo>
                      <a:pt x="673778" y="142706"/>
                      <a:pt x="673820" y="140441"/>
                      <a:pt x="672449" y="139019"/>
                    </a:cubicBezTo>
                    <a:cubicBezTo>
                      <a:pt x="672419" y="138987"/>
                      <a:pt x="672388" y="138956"/>
                      <a:pt x="672356" y="138926"/>
                    </a:cubicBezTo>
                    <a:moveTo>
                      <a:pt x="704834" y="108451"/>
                    </a:moveTo>
                    <a:cubicBezTo>
                      <a:pt x="703609" y="107217"/>
                      <a:pt x="701616" y="107210"/>
                      <a:pt x="700383" y="108435"/>
                    </a:cubicBezTo>
                    <a:cubicBezTo>
                      <a:pt x="699148" y="109660"/>
                      <a:pt x="699141" y="111653"/>
                      <a:pt x="700367" y="112886"/>
                    </a:cubicBezTo>
                    <a:cubicBezTo>
                      <a:pt x="701592" y="114119"/>
                      <a:pt x="703585" y="114127"/>
                      <a:pt x="704818" y="112902"/>
                    </a:cubicBezTo>
                    <a:cubicBezTo>
                      <a:pt x="704824" y="112898"/>
                      <a:pt x="704828" y="112892"/>
                      <a:pt x="704834" y="112886"/>
                    </a:cubicBezTo>
                    <a:cubicBezTo>
                      <a:pt x="706053" y="111659"/>
                      <a:pt x="706053" y="109678"/>
                      <a:pt x="704834" y="108451"/>
                    </a:cubicBezTo>
                    <a:moveTo>
                      <a:pt x="737312" y="77976"/>
                    </a:moveTo>
                    <a:cubicBezTo>
                      <a:pt x="736315" y="77013"/>
                      <a:pt x="734732" y="77013"/>
                      <a:pt x="733735" y="77976"/>
                    </a:cubicBezTo>
                    <a:cubicBezTo>
                      <a:pt x="732708" y="78963"/>
                      <a:pt x="732676" y="80597"/>
                      <a:pt x="733664" y="81624"/>
                    </a:cubicBezTo>
                    <a:cubicBezTo>
                      <a:pt x="734651" y="82652"/>
                      <a:pt x="736285" y="82683"/>
                      <a:pt x="737312" y="81696"/>
                    </a:cubicBezTo>
                    <a:cubicBezTo>
                      <a:pt x="738299" y="80786"/>
                      <a:pt x="738362" y="79246"/>
                      <a:pt x="737452" y="78259"/>
                    </a:cubicBezTo>
                    <a:cubicBezTo>
                      <a:pt x="737408" y="78210"/>
                      <a:pt x="737361" y="78163"/>
                      <a:pt x="737312" y="78119"/>
                    </a:cubicBezTo>
                    <a:moveTo>
                      <a:pt x="432133" y="403185"/>
                    </a:moveTo>
                    <a:cubicBezTo>
                      <a:pt x="429107" y="400521"/>
                      <a:pt x="424572" y="400521"/>
                      <a:pt x="421546" y="403185"/>
                    </a:cubicBezTo>
                    <a:cubicBezTo>
                      <a:pt x="418418" y="406360"/>
                      <a:pt x="418418" y="411456"/>
                      <a:pt x="421546" y="414631"/>
                    </a:cubicBezTo>
                    <a:cubicBezTo>
                      <a:pt x="424751" y="417683"/>
                      <a:pt x="429787" y="417683"/>
                      <a:pt x="432992" y="414631"/>
                    </a:cubicBezTo>
                    <a:cubicBezTo>
                      <a:pt x="436102" y="411505"/>
                      <a:pt x="436102" y="406454"/>
                      <a:pt x="432992" y="403328"/>
                    </a:cubicBezTo>
                    <a:moveTo>
                      <a:pt x="464468" y="373282"/>
                    </a:moveTo>
                    <a:cubicBezTo>
                      <a:pt x="461581" y="370359"/>
                      <a:pt x="456871" y="370329"/>
                      <a:pt x="453947" y="373216"/>
                    </a:cubicBezTo>
                    <a:cubicBezTo>
                      <a:pt x="453925" y="373238"/>
                      <a:pt x="453902" y="373259"/>
                      <a:pt x="453881" y="373282"/>
                    </a:cubicBezTo>
                    <a:cubicBezTo>
                      <a:pt x="450996" y="376097"/>
                      <a:pt x="450941" y="380716"/>
                      <a:pt x="453755" y="383601"/>
                    </a:cubicBezTo>
                    <a:cubicBezTo>
                      <a:pt x="453796" y="383644"/>
                      <a:pt x="453838" y="383685"/>
                      <a:pt x="453881" y="383727"/>
                    </a:cubicBezTo>
                    <a:cubicBezTo>
                      <a:pt x="456768" y="386650"/>
                      <a:pt x="461478" y="386680"/>
                      <a:pt x="464403" y="383793"/>
                    </a:cubicBezTo>
                    <a:cubicBezTo>
                      <a:pt x="464424" y="383771"/>
                      <a:pt x="464447" y="383750"/>
                      <a:pt x="464468" y="383727"/>
                    </a:cubicBezTo>
                    <a:cubicBezTo>
                      <a:pt x="467340" y="380782"/>
                      <a:pt x="467340" y="376084"/>
                      <a:pt x="464468" y="373139"/>
                    </a:cubicBezTo>
                    <a:moveTo>
                      <a:pt x="496946" y="342664"/>
                    </a:moveTo>
                    <a:cubicBezTo>
                      <a:pt x="494310" y="339939"/>
                      <a:pt x="489961" y="339866"/>
                      <a:pt x="487236" y="342503"/>
                    </a:cubicBezTo>
                    <a:cubicBezTo>
                      <a:pt x="487180" y="342556"/>
                      <a:pt x="487127" y="342610"/>
                      <a:pt x="487074" y="342664"/>
                    </a:cubicBezTo>
                    <a:cubicBezTo>
                      <a:pt x="484457" y="345380"/>
                      <a:pt x="484457" y="349678"/>
                      <a:pt x="487074" y="352393"/>
                    </a:cubicBezTo>
                    <a:cubicBezTo>
                      <a:pt x="489711" y="355119"/>
                      <a:pt x="494059" y="355192"/>
                      <a:pt x="496785" y="352555"/>
                    </a:cubicBezTo>
                    <a:cubicBezTo>
                      <a:pt x="496841" y="352502"/>
                      <a:pt x="496893" y="352448"/>
                      <a:pt x="496946" y="352393"/>
                    </a:cubicBezTo>
                    <a:cubicBezTo>
                      <a:pt x="499563" y="349678"/>
                      <a:pt x="499563" y="345380"/>
                      <a:pt x="496946" y="342664"/>
                    </a:cubicBezTo>
                    <a:moveTo>
                      <a:pt x="529424" y="312189"/>
                    </a:moveTo>
                    <a:cubicBezTo>
                      <a:pt x="526935" y="309650"/>
                      <a:pt x="522859" y="309610"/>
                      <a:pt x="520319" y="312098"/>
                    </a:cubicBezTo>
                    <a:cubicBezTo>
                      <a:pt x="517781" y="314587"/>
                      <a:pt x="517739" y="318663"/>
                      <a:pt x="520229" y="321203"/>
                    </a:cubicBezTo>
                    <a:cubicBezTo>
                      <a:pt x="522717" y="323743"/>
                      <a:pt x="526793" y="323783"/>
                      <a:pt x="529333" y="321295"/>
                    </a:cubicBezTo>
                    <a:cubicBezTo>
                      <a:pt x="529364" y="321265"/>
                      <a:pt x="529394" y="321233"/>
                      <a:pt x="529424" y="321203"/>
                    </a:cubicBezTo>
                    <a:cubicBezTo>
                      <a:pt x="531914" y="318775"/>
                      <a:pt x="531964" y="314790"/>
                      <a:pt x="529536" y="312301"/>
                    </a:cubicBezTo>
                    <a:cubicBezTo>
                      <a:pt x="529499" y="312264"/>
                      <a:pt x="529462" y="312227"/>
                      <a:pt x="529424" y="312189"/>
                    </a:cubicBezTo>
                    <a:moveTo>
                      <a:pt x="561902" y="281714"/>
                    </a:moveTo>
                    <a:cubicBezTo>
                      <a:pt x="559799" y="279462"/>
                      <a:pt x="556268" y="279342"/>
                      <a:pt x="554016" y="281445"/>
                    </a:cubicBezTo>
                    <a:cubicBezTo>
                      <a:pt x="553923" y="281533"/>
                      <a:pt x="553833" y="281621"/>
                      <a:pt x="553747" y="281714"/>
                    </a:cubicBezTo>
                    <a:cubicBezTo>
                      <a:pt x="551455" y="283892"/>
                      <a:pt x="551362" y="287513"/>
                      <a:pt x="553540" y="289805"/>
                    </a:cubicBezTo>
                    <a:cubicBezTo>
                      <a:pt x="553607" y="289877"/>
                      <a:pt x="553676" y="289945"/>
                      <a:pt x="553747" y="290013"/>
                    </a:cubicBezTo>
                    <a:cubicBezTo>
                      <a:pt x="556021" y="292212"/>
                      <a:pt x="559629" y="292212"/>
                      <a:pt x="561902" y="290013"/>
                    </a:cubicBezTo>
                    <a:cubicBezTo>
                      <a:pt x="564194" y="287835"/>
                      <a:pt x="564287" y="284214"/>
                      <a:pt x="562110" y="281922"/>
                    </a:cubicBezTo>
                    <a:cubicBezTo>
                      <a:pt x="562043" y="281850"/>
                      <a:pt x="561974" y="281782"/>
                      <a:pt x="561902" y="281714"/>
                    </a:cubicBezTo>
                    <a:moveTo>
                      <a:pt x="594523" y="251239"/>
                    </a:moveTo>
                    <a:cubicBezTo>
                      <a:pt x="592413" y="249186"/>
                      <a:pt x="589051" y="249186"/>
                      <a:pt x="586940" y="251239"/>
                    </a:cubicBezTo>
                    <a:cubicBezTo>
                      <a:pt x="584904" y="253301"/>
                      <a:pt x="584904" y="256618"/>
                      <a:pt x="586940" y="258679"/>
                    </a:cubicBezTo>
                    <a:cubicBezTo>
                      <a:pt x="589051" y="260732"/>
                      <a:pt x="592413" y="260732"/>
                      <a:pt x="594523" y="258679"/>
                    </a:cubicBezTo>
                    <a:cubicBezTo>
                      <a:pt x="596559" y="256618"/>
                      <a:pt x="596559" y="253301"/>
                      <a:pt x="594523" y="251239"/>
                    </a:cubicBezTo>
                    <a:moveTo>
                      <a:pt x="627001" y="220764"/>
                    </a:moveTo>
                    <a:cubicBezTo>
                      <a:pt x="625144" y="218933"/>
                      <a:pt x="622155" y="218955"/>
                      <a:pt x="620324" y="220812"/>
                    </a:cubicBezTo>
                    <a:cubicBezTo>
                      <a:pt x="618494" y="222669"/>
                      <a:pt x="618516" y="225658"/>
                      <a:pt x="620371" y="227489"/>
                    </a:cubicBezTo>
                    <a:cubicBezTo>
                      <a:pt x="622210" y="229302"/>
                      <a:pt x="625163" y="229302"/>
                      <a:pt x="627001" y="227489"/>
                    </a:cubicBezTo>
                    <a:cubicBezTo>
                      <a:pt x="628858" y="225658"/>
                      <a:pt x="628880" y="222669"/>
                      <a:pt x="627049" y="220812"/>
                    </a:cubicBezTo>
                    <a:cubicBezTo>
                      <a:pt x="627033" y="220796"/>
                      <a:pt x="627017" y="220780"/>
                      <a:pt x="627001" y="220764"/>
                    </a:cubicBezTo>
                    <a:moveTo>
                      <a:pt x="659479" y="190290"/>
                    </a:moveTo>
                    <a:cubicBezTo>
                      <a:pt x="657810" y="188654"/>
                      <a:pt x="655140" y="188654"/>
                      <a:pt x="653470" y="190290"/>
                    </a:cubicBezTo>
                    <a:cubicBezTo>
                      <a:pt x="651906" y="191988"/>
                      <a:pt x="651906" y="194600"/>
                      <a:pt x="653470" y="196299"/>
                    </a:cubicBezTo>
                    <a:cubicBezTo>
                      <a:pt x="655140" y="197934"/>
                      <a:pt x="657810" y="197934"/>
                      <a:pt x="659479" y="196299"/>
                    </a:cubicBezTo>
                    <a:cubicBezTo>
                      <a:pt x="661099" y="194679"/>
                      <a:pt x="661099" y="192052"/>
                      <a:pt x="659479" y="190433"/>
                    </a:cubicBezTo>
                    <a:moveTo>
                      <a:pt x="692243" y="159958"/>
                    </a:moveTo>
                    <a:cubicBezTo>
                      <a:pt x="690873" y="158536"/>
                      <a:pt x="688608" y="158494"/>
                      <a:pt x="687186" y="159865"/>
                    </a:cubicBezTo>
                    <a:cubicBezTo>
                      <a:pt x="687154" y="159895"/>
                      <a:pt x="687123" y="159926"/>
                      <a:pt x="687093" y="159958"/>
                    </a:cubicBezTo>
                    <a:cubicBezTo>
                      <a:pt x="685693" y="161446"/>
                      <a:pt x="685693" y="163763"/>
                      <a:pt x="687093" y="165251"/>
                    </a:cubicBezTo>
                    <a:cubicBezTo>
                      <a:pt x="688463" y="166674"/>
                      <a:pt x="690728" y="166715"/>
                      <a:pt x="692150" y="165344"/>
                    </a:cubicBezTo>
                    <a:cubicBezTo>
                      <a:pt x="692182" y="165314"/>
                      <a:pt x="692213" y="165283"/>
                      <a:pt x="692243" y="165251"/>
                    </a:cubicBezTo>
                    <a:cubicBezTo>
                      <a:pt x="693666" y="163881"/>
                      <a:pt x="693707" y="161616"/>
                      <a:pt x="692336" y="160194"/>
                    </a:cubicBezTo>
                    <a:cubicBezTo>
                      <a:pt x="692306" y="160162"/>
                      <a:pt x="692275" y="160131"/>
                      <a:pt x="692243" y="160101"/>
                    </a:cubicBezTo>
                    <a:moveTo>
                      <a:pt x="724864" y="129483"/>
                    </a:moveTo>
                    <a:cubicBezTo>
                      <a:pt x="723637" y="128264"/>
                      <a:pt x="721657" y="128264"/>
                      <a:pt x="720429" y="129483"/>
                    </a:cubicBezTo>
                    <a:cubicBezTo>
                      <a:pt x="719245" y="130529"/>
                      <a:pt x="719130" y="132336"/>
                      <a:pt x="720176" y="133522"/>
                    </a:cubicBezTo>
                    <a:cubicBezTo>
                      <a:pt x="720255" y="133612"/>
                      <a:pt x="720339" y="133696"/>
                      <a:pt x="720429" y="133775"/>
                    </a:cubicBezTo>
                    <a:cubicBezTo>
                      <a:pt x="721549" y="135000"/>
                      <a:pt x="723449" y="135086"/>
                      <a:pt x="724674" y="133965"/>
                    </a:cubicBezTo>
                    <a:cubicBezTo>
                      <a:pt x="724740" y="133905"/>
                      <a:pt x="724804" y="133841"/>
                      <a:pt x="724864" y="133775"/>
                    </a:cubicBezTo>
                    <a:cubicBezTo>
                      <a:pt x="726084" y="132547"/>
                      <a:pt x="726084" y="130567"/>
                      <a:pt x="724864" y="129340"/>
                    </a:cubicBezTo>
                    <a:moveTo>
                      <a:pt x="757343" y="98865"/>
                    </a:moveTo>
                    <a:cubicBezTo>
                      <a:pt x="756297" y="97883"/>
                      <a:pt x="754668" y="97883"/>
                      <a:pt x="753623" y="98865"/>
                    </a:cubicBezTo>
                    <a:cubicBezTo>
                      <a:pt x="752595" y="99852"/>
                      <a:pt x="752564" y="101486"/>
                      <a:pt x="753551" y="102513"/>
                    </a:cubicBezTo>
                    <a:cubicBezTo>
                      <a:pt x="754538" y="103540"/>
                      <a:pt x="756172" y="103572"/>
                      <a:pt x="757199" y="102585"/>
                    </a:cubicBezTo>
                    <a:cubicBezTo>
                      <a:pt x="758181" y="101539"/>
                      <a:pt x="758181" y="99911"/>
                      <a:pt x="757199" y="98865"/>
                    </a:cubicBezTo>
                    <a:moveTo>
                      <a:pt x="451592" y="424503"/>
                    </a:moveTo>
                    <a:cubicBezTo>
                      <a:pt x="448470" y="421367"/>
                      <a:pt x="443398" y="421354"/>
                      <a:pt x="440260" y="424474"/>
                    </a:cubicBezTo>
                    <a:cubicBezTo>
                      <a:pt x="437124" y="427596"/>
                      <a:pt x="437111" y="432670"/>
                      <a:pt x="440233" y="435806"/>
                    </a:cubicBezTo>
                    <a:cubicBezTo>
                      <a:pt x="443353" y="438942"/>
                      <a:pt x="448427" y="438955"/>
                      <a:pt x="451563" y="435835"/>
                    </a:cubicBezTo>
                    <a:cubicBezTo>
                      <a:pt x="451573" y="435825"/>
                      <a:pt x="451582" y="435816"/>
                      <a:pt x="451592" y="435806"/>
                    </a:cubicBezTo>
                    <a:cubicBezTo>
                      <a:pt x="454702" y="432680"/>
                      <a:pt x="454702" y="427629"/>
                      <a:pt x="451592" y="424503"/>
                    </a:cubicBezTo>
                    <a:moveTo>
                      <a:pt x="484070" y="394028"/>
                    </a:moveTo>
                    <a:cubicBezTo>
                      <a:pt x="481297" y="391105"/>
                      <a:pt x="476677" y="390982"/>
                      <a:pt x="473754" y="393756"/>
                    </a:cubicBezTo>
                    <a:cubicBezTo>
                      <a:pt x="473661" y="393845"/>
                      <a:pt x="473571" y="393935"/>
                      <a:pt x="473482" y="394028"/>
                    </a:cubicBezTo>
                    <a:cubicBezTo>
                      <a:pt x="470479" y="396872"/>
                      <a:pt x="470352" y="401612"/>
                      <a:pt x="473196" y="404616"/>
                    </a:cubicBezTo>
                    <a:cubicBezTo>
                      <a:pt x="476040" y="407619"/>
                      <a:pt x="480780" y="407746"/>
                      <a:pt x="483783" y="404902"/>
                    </a:cubicBezTo>
                    <a:cubicBezTo>
                      <a:pt x="486668" y="402088"/>
                      <a:pt x="486724" y="397468"/>
                      <a:pt x="483909" y="394583"/>
                    </a:cubicBezTo>
                    <a:cubicBezTo>
                      <a:pt x="483868" y="394540"/>
                      <a:pt x="483826" y="394499"/>
                      <a:pt x="483783" y="394457"/>
                    </a:cubicBezTo>
                    <a:moveTo>
                      <a:pt x="516261" y="363839"/>
                    </a:moveTo>
                    <a:cubicBezTo>
                      <a:pt x="513546" y="361222"/>
                      <a:pt x="509248" y="361222"/>
                      <a:pt x="506532" y="363839"/>
                    </a:cubicBezTo>
                    <a:cubicBezTo>
                      <a:pt x="503807" y="366476"/>
                      <a:pt x="503734" y="370824"/>
                      <a:pt x="506371" y="373550"/>
                    </a:cubicBezTo>
                    <a:cubicBezTo>
                      <a:pt x="506424" y="373604"/>
                      <a:pt x="506478" y="373658"/>
                      <a:pt x="506532" y="373711"/>
                    </a:cubicBezTo>
                    <a:cubicBezTo>
                      <a:pt x="509248" y="376328"/>
                      <a:pt x="513546" y="376328"/>
                      <a:pt x="516261" y="373711"/>
                    </a:cubicBezTo>
                    <a:cubicBezTo>
                      <a:pt x="518987" y="371075"/>
                      <a:pt x="519060" y="366727"/>
                      <a:pt x="516423" y="364001"/>
                    </a:cubicBezTo>
                    <a:cubicBezTo>
                      <a:pt x="516370" y="363947"/>
                      <a:pt x="516316" y="363892"/>
                      <a:pt x="516261" y="363839"/>
                    </a:cubicBezTo>
                    <a:moveTo>
                      <a:pt x="548883" y="333364"/>
                    </a:moveTo>
                    <a:cubicBezTo>
                      <a:pt x="546330" y="330893"/>
                      <a:pt x="542278" y="330893"/>
                      <a:pt x="539726" y="333364"/>
                    </a:cubicBezTo>
                    <a:cubicBezTo>
                      <a:pt x="537326" y="335945"/>
                      <a:pt x="537326" y="339940"/>
                      <a:pt x="539726" y="342521"/>
                    </a:cubicBezTo>
                    <a:cubicBezTo>
                      <a:pt x="542278" y="344992"/>
                      <a:pt x="546330" y="344992"/>
                      <a:pt x="548883" y="342521"/>
                    </a:cubicBezTo>
                    <a:cubicBezTo>
                      <a:pt x="551282" y="339940"/>
                      <a:pt x="551282" y="335945"/>
                      <a:pt x="548883" y="333364"/>
                    </a:cubicBezTo>
                    <a:moveTo>
                      <a:pt x="581647" y="303033"/>
                    </a:moveTo>
                    <a:cubicBezTo>
                      <a:pt x="579435" y="300662"/>
                      <a:pt x="575719" y="300534"/>
                      <a:pt x="573348" y="302746"/>
                    </a:cubicBezTo>
                    <a:cubicBezTo>
                      <a:pt x="570978" y="304958"/>
                      <a:pt x="570850" y="308674"/>
                      <a:pt x="573062" y="311045"/>
                    </a:cubicBezTo>
                    <a:cubicBezTo>
                      <a:pt x="575240" y="313337"/>
                      <a:pt x="578861" y="313430"/>
                      <a:pt x="581153" y="311252"/>
                    </a:cubicBezTo>
                    <a:cubicBezTo>
                      <a:pt x="581225" y="311185"/>
                      <a:pt x="581293" y="311116"/>
                      <a:pt x="581360" y="311045"/>
                    </a:cubicBezTo>
                    <a:cubicBezTo>
                      <a:pt x="583653" y="308754"/>
                      <a:pt x="583653" y="305040"/>
                      <a:pt x="581363" y="302749"/>
                    </a:cubicBezTo>
                    <a:cubicBezTo>
                      <a:pt x="581362" y="302748"/>
                      <a:pt x="581362" y="302748"/>
                      <a:pt x="581360" y="302746"/>
                    </a:cubicBezTo>
                    <a:moveTo>
                      <a:pt x="613839" y="272271"/>
                    </a:moveTo>
                    <a:cubicBezTo>
                      <a:pt x="611744" y="270231"/>
                      <a:pt x="608393" y="270274"/>
                      <a:pt x="606353" y="272369"/>
                    </a:cubicBezTo>
                    <a:cubicBezTo>
                      <a:pt x="604313" y="274462"/>
                      <a:pt x="604355" y="277814"/>
                      <a:pt x="606450" y="279854"/>
                    </a:cubicBezTo>
                    <a:cubicBezTo>
                      <a:pt x="608505" y="281857"/>
                      <a:pt x="611783" y="281857"/>
                      <a:pt x="613839" y="279854"/>
                    </a:cubicBezTo>
                    <a:cubicBezTo>
                      <a:pt x="615892" y="277744"/>
                      <a:pt x="615892" y="274382"/>
                      <a:pt x="613839" y="272271"/>
                    </a:cubicBezTo>
                    <a:moveTo>
                      <a:pt x="646316" y="241797"/>
                    </a:moveTo>
                    <a:cubicBezTo>
                      <a:pt x="644459" y="239965"/>
                      <a:pt x="641471" y="239987"/>
                      <a:pt x="639639" y="241844"/>
                    </a:cubicBezTo>
                    <a:cubicBezTo>
                      <a:pt x="637809" y="243701"/>
                      <a:pt x="637831" y="246690"/>
                      <a:pt x="639686" y="248521"/>
                    </a:cubicBezTo>
                    <a:cubicBezTo>
                      <a:pt x="641525" y="250334"/>
                      <a:pt x="644478" y="250334"/>
                      <a:pt x="646316" y="248521"/>
                    </a:cubicBezTo>
                    <a:cubicBezTo>
                      <a:pt x="648174" y="246690"/>
                      <a:pt x="648195" y="243701"/>
                      <a:pt x="646364" y="241844"/>
                    </a:cubicBezTo>
                    <a:cubicBezTo>
                      <a:pt x="646348" y="241828"/>
                      <a:pt x="646332" y="241812"/>
                      <a:pt x="646316" y="241797"/>
                    </a:cubicBezTo>
                    <a:moveTo>
                      <a:pt x="679081" y="211035"/>
                    </a:moveTo>
                    <a:cubicBezTo>
                      <a:pt x="677382" y="209381"/>
                      <a:pt x="674664" y="209419"/>
                      <a:pt x="673011" y="211118"/>
                    </a:cubicBezTo>
                    <a:cubicBezTo>
                      <a:pt x="671357" y="212817"/>
                      <a:pt x="671395" y="215534"/>
                      <a:pt x="673094" y="217188"/>
                    </a:cubicBezTo>
                    <a:cubicBezTo>
                      <a:pt x="674760" y="218809"/>
                      <a:pt x="677414" y="218809"/>
                      <a:pt x="679081" y="217188"/>
                    </a:cubicBezTo>
                    <a:cubicBezTo>
                      <a:pt x="680716" y="215518"/>
                      <a:pt x="680716" y="212848"/>
                      <a:pt x="679081" y="211179"/>
                    </a:cubicBezTo>
                    <a:moveTo>
                      <a:pt x="711559" y="180704"/>
                    </a:moveTo>
                    <a:cubicBezTo>
                      <a:pt x="710188" y="179281"/>
                      <a:pt x="707923" y="179240"/>
                      <a:pt x="706501" y="180611"/>
                    </a:cubicBezTo>
                    <a:cubicBezTo>
                      <a:pt x="706469" y="180641"/>
                      <a:pt x="706438" y="180672"/>
                      <a:pt x="706408" y="180704"/>
                    </a:cubicBezTo>
                    <a:cubicBezTo>
                      <a:pt x="704986" y="182074"/>
                      <a:pt x="704944" y="184339"/>
                      <a:pt x="706315" y="185761"/>
                    </a:cubicBezTo>
                    <a:cubicBezTo>
                      <a:pt x="706345" y="185793"/>
                      <a:pt x="706376" y="185824"/>
                      <a:pt x="706408" y="185854"/>
                    </a:cubicBezTo>
                    <a:cubicBezTo>
                      <a:pt x="707779" y="187276"/>
                      <a:pt x="710043" y="187318"/>
                      <a:pt x="711466" y="185947"/>
                    </a:cubicBezTo>
                    <a:cubicBezTo>
                      <a:pt x="711497" y="185917"/>
                      <a:pt x="711529" y="185886"/>
                      <a:pt x="711559" y="185854"/>
                    </a:cubicBezTo>
                    <a:cubicBezTo>
                      <a:pt x="712958" y="184368"/>
                      <a:pt x="712958" y="182048"/>
                      <a:pt x="711559" y="180560"/>
                    </a:cubicBezTo>
                    <a:moveTo>
                      <a:pt x="744037" y="150086"/>
                    </a:moveTo>
                    <a:cubicBezTo>
                      <a:pt x="742809" y="148867"/>
                      <a:pt x="740829" y="148867"/>
                      <a:pt x="739601" y="150086"/>
                    </a:cubicBezTo>
                    <a:cubicBezTo>
                      <a:pt x="738455" y="151342"/>
                      <a:pt x="738455" y="153265"/>
                      <a:pt x="739601" y="154521"/>
                    </a:cubicBezTo>
                    <a:cubicBezTo>
                      <a:pt x="740829" y="155740"/>
                      <a:pt x="742809" y="155740"/>
                      <a:pt x="744037" y="154521"/>
                    </a:cubicBezTo>
                    <a:cubicBezTo>
                      <a:pt x="745261" y="153402"/>
                      <a:pt x="745347" y="151501"/>
                      <a:pt x="744227" y="150276"/>
                    </a:cubicBezTo>
                    <a:cubicBezTo>
                      <a:pt x="744167" y="150210"/>
                      <a:pt x="744102" y="150146"/>
                      <a:pt x="744037" y="150086"/>
                    </a:cubicBezTo>
                    <a:moveTo>
                      <a:pt x="776658" y="119611"/>
                    </a:moveTo>
                    <a:cubicBezTo>
                      <a:pt x="775630" y="118626"/>
                      <a:pt x="774001" y="118662"/>
                      <a:pt x="773016" y="119689"/>
                    </a:cubicBezTo>
                    <a:cubicBezTo>
                      <a:pt x="772032" y="120717"/>
                      <a:pt x="772068" y="122346"/>
                      <a:pt x="773095" y="123331"/>
                    </a:cubicBezTo>
                    <a:cubicBezTo>
                      <a:pt x="774091" y="124285"/>
                      <a:pt x="775662" y="124285"/>
                      <a:pt x="776658" y="123331"/>
                    </a:cubicBezTo>
                    <a:cubicBezTo>
                      <a:pt x="777573" y="122260"/>
                      <a:pt x="777573" y="120681"/>
                      <a:pt x="776658" y="119611"/>
                    </a:cubicBezTo>
                    <a:moveTo>
                      <a:pt x="354587" y="320917"/>
                    </a:moveTo>
                    <a:cubicBezTo>
                      <a:pt x="351461" y="317806"/>
                      <a:pt x="346410" y="317806"/>
                      <a:pt x="343284" y="320917"/>
                    </a:cubicBezTo>
                    <a:cubicBezTo>
                      <a:pt x="340222" y="324112"/>
                      <a:pt x="340331" y="329184"/>
                      <a:pt x="343526" y="332246"/>
                    </a:cubicBezTo>
                    <a:cubicBezTo>
                      <a:pt x="346456" y="335053"/>
                      <a:pt x="351023" y="335227"/>
                      <a:pt x="354158" y="332649"/>
                    </a:cubicBezTo>
                    <a:cubicBezTo>
                      <a:pt x="357285" y="329474"/>
                      <a:pt x="357285" y="324378"/>
                      <a:pt x="354158" y="321203"/>
                    </a:cubicBezTo>
                    <a:moveTo>
                      <a:pt x="386636" y="290728"/>
                    </a:moveTo>
                    <a:cubicBezTo>
                      <a:pt x="383713" y="287841"/>
                      <a:pt x="379001" y="287871"/>
                      <a:pt x="376114" y="290794"/>
                    </a:cubicBezTo>
                    <a:cubicBezTo>
                      <a:pt x="373227" y="293718"/>
                      <a:pt x="373257" y="298428"/>
                      <a:pt x="376180" y="301316"/>
                    </a:cubicBezTo>
                    <a:cubicBezTo>
                      <a:pt x="379078" y="304177"/>
                      <a:pt x="383738" y="304177"/>
                      <a:pt x="386636" y="301316"/>
                    </a:cubicBezTo>
                    <a:cubicBezTo>
                      <a:pt x="389559" y="298428"/>
                      <a:pt x="389589" y="293718"/>
                      <a:pt x="386702" y="290794"/>
                    </a:cubicBezTo>
                    <a:cubicBezTo>
                      <a:pt x="386680" y="290772"/>
                      <a:pt x="386659" y="290750"/>
                      <a:pt x="386636" y="290728"/>
                    </a:cubicBezTo>
                    <a:moveTo>
                      <a:pt x="419543" y="260110"/>
                    </a:moveTo>
                    <a:cubicBezTo>
                      <a:pt x="416827" y="257493"/>
                      <a:pt x="412529" y="257493"/>
                      <a:pt x="409814" y="260110"/>
                    </a:cubicBezTo>
                    <a:cubicBezTo>
                      <a:pt x="407088" y="262747"/>
                      <a:pt x="407015" y="267095"/>
                      <a:pt x="409652" y="269821"/>
                    </a:cubicBezTo>
                    <a:cubicBezTo>
                      <a:pt x="409705" y="269875"/>
                      <a:pt x="409759" y="269929"/>
                      <a:pt x="409814" y="269982"/>
                    </a:cubicBezTo>
                    <a:cubicBezTo>
                      <a:pt x="412529" y="272599"/>
                      <a:pt x="416827" y="272599"/>
                      <a:pt x="419543" y="269982"/>
                    </a:cubicBezTo>
                    <a:cubicBezTo>
                      <a:pt x="422268" y="267345"/>
                      <a:pt x="422341" y="262997"/>
                      <a:pt x="419705" y="260272"/>
                    </a:cubicBezTo>
                    <a:cubicBezTo>
                      <a:pt x="419652" y="260217"/>
                      <a:pt x="419597" y="260163"/>
                      <a:pt x="419543" y="260110"/>
                    </a:cubicBezTo>
                    <a:moveTo>
                      <a:pt x="452164" y="229635"/>
                    </a:moveTo>
                    <a:cubicBezTo>
                      <a:pt x="449614" y="227156"/>
                      <a:pt x="445538" y="227213"/>
                      <a:pt x="443060" y="229762"/>
                    </a:cubicBezTo>
                    <a:cubicBezTo>
                      <a:pt x="440765" y="232122"/>
                      <a:pt x="440619" y="235830"/>
                      <a:pt x="442721" y="238363"/>
                    </a:cubicBezTo>
                    <a:cubicBezTo>
                      <a:pt x="445273" y="240834"/>
                      <a:pt x="449325" y="240834"/>
                      <a:pt x="451878" y="238363"/>
                    </a:cubicBezTo>
                    <a:cubicBezTo>
                      <a:pt x="454367" y="235935"/>
                      <a:pt x="454417" y="231950"/>
                      <a:pt x="451989" y="229461"/>
                    </a:cubicBezTo>
                    <a:cubicBezTo>
                      <a:pt x="451952" y="229423"/>
                      <a:pt x="451915" y="229386"/>
                      <a:pt x="451878" y="229349"/>
                    </a:cubicBezTo>
                    <a:moveTo>
                      <a:pt x="484356" y="198874"/>
                    </a:moveTo>
                    <a:cubicBezTo>
                      <a:pt x="482144" y="196503"/>
                      <a:pt x="478428" y="196376"/>
                      <a:pt x="476057" y="198588"/>
                    </a:cubicBezTo>
                    <a:cubicBezTo>
                      <a:pt x="473687" y="200800"/>
                      <a:pt x="473559" y="204515"/>
                      <a:pt x="475771" y="206886"/>
                    </a:cubicBezTo>
                    <a:cubicBezTo>
                      <a:pt x="477983" y="209257"/>
                      <a:pt x="481699" y="209384"/>
                      <a:pt x="484070" y="207172"/>
                    </a:cubicBezTo>
                    <a:cubicBezTo>
                      <a:pt x="486440" y="204960"/>
                      <a:pt x="486568" y="201245"/>
                      <a:pt x="484356" y="198874"/>
                    </a:cubicBezTo>
                    <a:moveTo>
                      <a:pt x="516834" y="168399"/>
                    </a:moveTo>
                    <a:cubicBezTo>
                      <a:pt x="514772" y="166363"/>
                      <a:pt x="511456" y="166363"/>
                      <a:pt x="509394" y="168399"/>
                    </a:cubicBezTo>
                    <a:cubicBezTo>
                      <a:pt x="507205" y="170454"/>
                      <a:pt x="507095" y="173895"/>
                      <a:pt x="509149" y="176084"/>
                    </a:cubicBezTo>
                    <a:cubicBezTo>
                      <a:pt x="511204" y="178274"/>
                      <a:pt x="514645" y="178383"/>
                      <a:pt x="516834" y="176330"/>
                    </a:cubicBezTo>
                    <a:cubicBezTo>
                      <a:pt x="519024" y="174275"/>
                      <a:pt x="519133" y="170834"/>
                      <a:pt x="517078" y="168644"/>
                    </a:cubicBezTo>
                    <a:cubicBezTo>
                      <a:pt x="517000" y="168559"/>
                      <a:pt x="516918" y="168478"/>
                      <a:pt x="516834" y="168399"/>
                    </a:cubicBezTo>
                    <a:moveTo>
                      <a:pt x="550313" y="138067"/>
                    </a:moveTo>
                    <a:cubicBezTo>
                      <a:pt x="548415" y="136176"/>
                      <a:pt x="545344" y="136176"/>
                      <a:pt x="543446" y="138067"/>
                    </a:cubicBezTo>
                    <a:cubicBezTo>
                      <a:pt x="541550" y="139884"/>
                      <a:pt x="541486" y="142896"/>
                      <a:pt x="543303" y="144792"/>
                    </a:cubicBezTo>
                    <a:cubicBezTo>
                      <a:pt x="545120" y="146689"/>
                      <a:pt x="548130" y="146752"/>
                      <a:pt x="550027" y="144935"/>
                    </a:cubicBezTo>
                    <a:cubicBezTo>
                      <a:pt x="551826" y="143055"/>
                      <a:pt x="551826" y="140090"/>
                      <a:pt x="550027" y="138210"/>
                    </a:cubicBezTo>
                    <a:moveTo>
                      <a:pt x="582505" y="107735"/>
                    </a:moveTo>
                    <a:cubicBezTo>
                      <a:pt x="580835" y="106100"/>
                      <a:pt x="578166" y="106100"/>
                      <a:pt x="576496" y="107735"/>
                    </a:cubicBezTo>
                    <a:cubicBezTo>
                      <a:pt x="574798" y="109316"/>
                      <a:pt x="574700" y="111975"/>
                      <a:pt x="576281" y="113673"/>
                    </a:cubicBezTo>
                    <a:cubicBezTo>
                      <a:pt x="577862" y="115371"/>
                      <a:pt x="580521" y="115469"/>
                      <a:pt x="582219" y="113888"/>
                    </a:cubicBezTo>
                    <a:cubicBezTo>
                      <a:pt x="583854" y="112218"/>
                      <a:pt x="583854" y="109548"/>
                      <a:pt x="582219" y="107878"/>
                    </a:cubicBezTo>
                    <a:moveTo>
                      <a:pt x="614697" y="77404"/>
                    </a:moveTo>
                    <a:cubicBezTo>
                      <a:pt x="613326" y="75981"/>
                      <a:pt x="611061" y="75940"/>
                      <a:pt x="609639" y="77311"/>
                    </a:cubicBezTo>
                    <a:cubicBezTo>
                      <a:pt x="609608" y="77341"/>
                      <a:pt x="609576" y="77372"/>
                      <a:pt x="609546" y="77404"/>
                    </a:cubicBezTo>
                    <a:cubicBezTo>
                      <a:pt x="608084" y="78786"/>
                      <a:pt x="608020" y="81092"/>
                      <a:pt x="609403" y="82554"/>
                    </a:cubicBezTo>
                    <a:cubicBezTo>
                      <a:pt x="610785" y="84016"/>
                      <a:pt x="613092" y="84079"/>
                      <a:pt x="614554" y="82697"/>
                    </a:cubicBezTo>
                    <a:cubicBezTo>
                      <a:pt x="615976" y="81327"/>
                      <a:pt x="616018" y="79062"/>
                      <a:pt x="614647" y="77640"/>
                    </a:cubicBezTo>
                    <a:cubicBezTo>
                      <a:pt x="614617" y="77608"/>
                      <a:pt x="614585" y="77577"/>
                      <a:pt x="614554" y="77547"/>
                    </a:cubicBezTo>
                    <a:moveTo>
                      <a:pt x="647032" y="47072"/>
                    </a:moveTo>
                    <a:cubicBezTo>
                      <a:pt x="645804" y="45853"/>
                      <a:pt x="643824" y="45853"/>
                      <a:pt x="642596" y="47072"/>
                    </a:cubicBezTo>
                    <a:cubicBezTo>
                      <a:pt x="641451" y="48328"/>
                      <a:pt x="641451" y="50251"/>
                      <a:pt x="642596" y="51507"/>
                    </a:cubicBezTo>
                    <a:cubicBezTo>
                      <a:pt x="643824" y="52726"/>
                      <a:pt x="645804" y="52726"/>
                      <a:pt x="647032" y="51507"/>
                    </a:cubicBezTo>
                    <a:cubicBezTo>
                      <a:pt x="648257" y="50387"/>
                      <a:pt x="648342" y="48487"/>
                      <a:pt x="647222" y="47262"/>
                    </a:cubicBezTo>
                    <a:cubicBezTo>
                      <a:pt x="647162" y="47196"/>
                      <a:pt x="647098" y="47132"/>
                      <a:pt x="647032" y="47072"/>
                    </a:cubicBezTo>
                    <a:moveTo>
                      <a:pt x="679796" y="16883"/>
                    </a:moveTo>
                    <a:cubicBezTo>
                      <a:pt x="678809" y="15860"/>
                      <a:pt x="677178" y="15830"/>
                      <a:pt x="676155" y="16819"/>
                    </a:cubicBezTo>
                    <a:cubicBezTo>
                      <a:pt x="675132" y="17806"/>
                      <a:pt x="675102" y="19437"/>
                      <a:pt x="676090" y="20460"/>
                    </a:cubicBezTo>
                    <a:cubicBezTo>
                      <a:pt x="677078" y="21483"/>
                      <a:pt x="678709" y="21513"/>
                      <a:pt x="679732" y="20524"/>
                    </a:cubicBezTo>
                    <a:cubicBezTo>
                      <a:pt x="679753" y="20503"/>
                      <a:pt x="679775" y="20481"/>
                      <a:pt x="679796" y="20460"/>
                    </a:cubicBezTo>
                    <a:cubicBezTo>
                      <a:pt x="680759" y="19463"/>
                      <a:pt x="680759" y="17880"/>
                      <a:pt x="679796" y="16883"/>
                    </a:cubicBezTo>
                    <a:moveTo>
                      <a:pt x="373902" y="341663"/>
                    </a:moveTo>
                    <a:cubicBezTo>
                      <a:pt x="370776" y="338552"/>
                      <a:pt x="365725" y="338552"/>
                      <a:pt x="362599" y="341663"/>
                    </a:cubicBezTo>
                    <a:cubicBezTo>
                      <a:pt x="359360" y="344704"/>
                      <a:pt x="359200" y="349798"/>
                      <a:pt x="362241" y="353037"/>
                    </a:cubicBezTo>
                    <a:cubicBezTo>
                      <a:pt x="365283" y="356276"/>
                      <a:pt x="370377" y="356437"/>
                      <a:pt x="373616" y="353395"/>
                    </a:cubicBezTo>
                    <a:cubicBezTo>
                      <a:pt x="376726" y="350269"/>
                      <a:pt x="376726" y="345218"/>
                      <a:pt x="373616" y="342092"/>
                    </a:cubicBezTo>
                    <a:moveTo>
                      <a:pt x="407238" y="311188"/>
                    </a:moveTo>
                    <a:cubicBezTo>
                      <a:pt x="404433" y="308146"/>
                      <a:pt x="399693" y="307953"/>
                      <a:pt x="396651" y="310759"/>
                    </a:cubicBezTo>
                    <a:cubicBezTo>
                      <a:pt x="393609" y="313564"/>
                      <a:pt x="393416" y="318304"/>
                      <a:pt x="396222" y="321346"/>
                    </a:cubicBezTo>
                    <a:cubicBezTo>
                      <a:pt x="398996" y="324269"/>
                      <a:pt x="403614" y="324392"/>
                      <a:pt x="406537" y="321618"/>
                    </a:cubicBezTo>
                    <a:cubicBezTo>
                      <a:pt x="406630" y="321529"/>
                      <a:pt x="406721" y="321439"/>
                      <a:pt x="406809" y="321346"/>
                    </a:cubicBezTo>
                    <a:cubicBezTo>
                      <a:pt x="409681" y="318402"/>
                      <a:pt x="409681" y="313703"/>
                      <a:pt x="406809" y="310759"/>
                    </a:cubicBezTo>
                    <a:moveTo>
                      <a:pt x="439287" y="280284"/>
                    </a:moveTo>
                    <a:cubicBezTo>
                      <a:pt x="436650" y="277558"/>
                      <a:pt x="432302" y="277485"/>
                      <a:pt x="429577" y="280122"/>
                    </a:cubicBezTo>
                    <a:cubicBezTo>
                      <a:pt x="429521" y="280175"/>
                      <a:pt x="429468" y="280229"/>
                      <a:pt x="429415" y="280284"/>
                    </a:cubicBezTo>
                    <a:cubicBezTo>
                      <a:pt x="426798" y="282999"/>
                      <a:pt x="426798" y="287297"/>
                      <a:pt x="429415" y="290013"/>
                    </a:cubicBezTo>
                    <a:cubicBezTo>
                      <a:pt x="432052" y="292738"/>
                      <a:pt x="436400" y="292811"/>
                      <a:pt x="439126" y="290174"/>
                    </a:cubicBezTo>
                    <a:cubicBezTo>
                      <a:pt x="439181" y="290121"/>
                      <a:pt x="439234" y="290067"/>
                      <a:pt x="439287" y="290013"/>
                    </a:cubicBezTo>
                    <a:cubicBezTo>
                      <a:pt x="441904" y="287297"/>
                      <a:pt x="441904" y="282999"/>
                      <a:pt x="439287" y="280284"/>
                    </a:cubicBezTo>
                    <a:moveTo>
                      <a:pt x="471765" y="249809"/>
                    </a:moveTo>
                    <a:cubicBezTo>
                      <a:pt x="469276" y="247269"/>
                      <a:pt x="465200" y="247229"/>
                      <a:pt x="462660" y="249717"/>
                    </a:cubicBezTo>
                    <a:cubicBezTo>
                      <a:pt x="460122" y="252207"/>
                      <a:pt x="460080" y="256283"/>
                      <a:pt x="462570" y="258822"/>
                    </a:cubicBezTo>
                    <a:cubicBezTo>
                      <a:pt x="465058" y="261362"/>
                      <a:pt x="469134" y="261402"/>
                      <a:pt x="471674" y="258914"/>
                    </a:cubicBezTo>
                    <a:cubicBezTo>
                      <a:pt x="471705" y="258884"/>
                      <a:pt x="471735" y="258852"/>
                      <a:pt x="471765" y="258822"/>
                    </a:cubicBezTo>
                    <a:cubicBezTo>
                      <a:pt x="474255" y="256394"/>
                      <a:pt x="474305" y="252410"/>
                      <a:pt x="471877" y="249920"/>
                    </a:cubicBezTo>
                    <a:cubicBezTo>
                      <a:pt x="471840" y="249883"/>
                      <a:pt x="471802" y="249846"/>
                      <a:pt x="471765" y="249809"/>
                    </a:cubicBezTo>
                    <a:moveTo>
                      <a:pt x="504386" y="219334"/>
                    </a:moveTo>
                    <a:cubicBezTo>
                      <a:pt x="502174" y="216963"/>
                      <a:pt x="498459" y="216836"/>
                      <a:pt x="496088" y="219048"/>
                    </a:cubicBezTo>
                    <a:cubicBezTo>
                      <a:pt x="493717" y="221260"/>
                      <a:pt x="493590" y="224975"/>
                      <a:pt x="495802" y="227346"/>
                    </a:cubicBezTo>
                    <a:cubicBezTo>
                      <a:pt x="498014" y="229717"/>
                      <a:pt x="501729" y="229844"/>
                      <a:pt x="504100" y="227632"/>
                    </a:cubicBezTo>
                    <a:cubicBezTo>
                      <a:pt x="506471" y="225420"/>
                      <a:pt x="506598" y="221704"/>
                      <a:pt x="504386" y="219334"/>
                    </a:cubicBezTo>
                    <a:moveTo>
                      <a:pt x="536006" y="189288"/>
                    </a:moveTo>
                    <a:cubicBezTo>
                      <a:pt x="533951" y="187208"/>
                      <a:pt x="530599" y="187188"/>
                      <a:pt x="528520" y="189241"/>
                    </a:cubicBezTo>
                    <a:cubicBezTo>
                      <a:pt x="526440" y="191295"/>
                      <a:pt x="526418" y="194648"/>
                      <a:pt x="528473" y="196728"/>
                    </a:cubicBezTo>
                    <a:cubicBezTo>
                      <a:pt x="530528" y="198808"/>
                      <a:pt x="533880" y="198828"/>
                      <a:pt x="535959" y="196774"/>
                    </a:cubicBezTo>
                    <a:cubicBezTo>
                      <a:pt x="535974" y="196759"/>
                      <a:pt x="535990" y="196744"/>
                      <a:pt x="536006" y="196728"/>
                    </a:cubicBezTo>
                    <a:cubicBezTo>
                      <a:pt x="538042" y="194666"/>
                      <a:pt x="538042" y="191350"/>
                      <a:pt x="536006" y="189288"/>
                    </a:cubicBezTo>
                    <a:moveTo>
                      <a:pt x="568484" y="158813"/>
                    </a:moveTo>
                    <a:cubicBezTo>
                      <a:pt x="566627" y="156982"/>
                      <a:pt x="563638" y="157003"/>
                      <a:pt x="561806" y="158860"/>
                    </a:cubicBezTo>
                    <a:cubicBezTo>
                      <a:pt x="559977" y="160717"/>
                      <a:pt x="559997" y="163706"/>
                      <a:pt x="561854" y="165538"/>
                    </a:cubicBezTo>
                    <a:cubicBezTo>
                      <a:pt x="563692" y="167350"/>
                      <a:pt x="566645" y="167350"/>
                      <a:pt x="568484" y="165538"/>
                    </a:cubicBezTo>
                    <a:cubicBezTo>
                      <a:pt x="570341" y="163706"/>
                      <a:pt x="570362" y="160717"/>
                      <a:pt x="568531" y="158860"/>
                    </a:cubicBezTo>
                    <a:cubicBezTo>
                      <a:pt x="568515" y="158845"/>
                      <a:pt x="568500" y="158829"/>
                      <a:pt x="568484" y="158813"/>
                    </a:cubicBezTo>
                    <a:moveTo>
                      <a:pt x="600962" y="128338"/>
                    </a:moveTo>
                    <a:cubicBezTo>
                      <a:pt x="599342" y="126719"/>
                      <a:pt x="596715" y="126719"/>
                      <a:pt x="595096" y="128338"/>
                    </a:cubicBezTo>
                    <a:cubicBezTo>
                      <a:pt x="593460" y="130008"/>
                      <a:pt x="593460" y="132678"/>
                      <a:pt x="595096" y="134347"/>
                    </a:cubicBezTo>
                    <a:cubicBezTo>
                      <a:pt x="596677" y="136007"/>
                      <a:pt x="599302" y="136071"/>
                      <a:pt x="600962" y="134490"/>
                    </a:cubicBezTo>
                    <a:cubicBezTo>
                      <a:pt x="601010" y="134443"/>
                      <a:pt x="601059" y="134396"/>
                      <a:pt x="601105" y="134347"/>
                    </a:cubicBezTo>
                    <a:cubicBezTo>
                      <a:pt x="602724" y="132841"/>
                      <a:pt x="602816" y="130305"/>
                      <a:pt x="601309" y="128686"/>
                    </a:cubicBezTo>
                    <a:cubicBezTo>
                      <a:pt x="601244" y="128614"/>
                      <a:pt x="601175" y="128547"/>
                      <a:pt x="601105" y="128481"/>
                    </a:cubicBezTo>
                    <a:moveTo>
                      <a:pt x="633726" y="98006"/>
                    </a:moveTo>
                    <a:cubicBezTo>
                      <a:pt x="632304" y="96524"/>
                      <a:pt x="629949" y="96475"/>
                      <a:pt x="628466" y="97898"/>
                    </a:cubicBezTo>
                    <a:cubicBezTo>
                      <a:pt x="626984" y="99320"/>
                      <a:pt x="626936" y="101675"/>
                      <a:pt x="628358" y="103157"/>
                    </a:cubicBezTo>
                    <a:cubicBezTo>
                      <a:pt x="629780" y="104639"/>
                      <a:pt x="632135" y="104688"/>
                      <a:pt x="633617" y="103266"/>
                    </a:cubicBezTo>
                    <a:cubicBezTo>
                      <a:pt x="633654" y="103230"/>
                      <a:pt x="633690" y="103194"/>
                      <a:pt x="633726" y="103157"/>
                    </a:cubicBezTo>
                    <a:cubicBezTo>
                      <a:pt x="635107" y="101718"/>
                      <a:pt x="635107" y="99446"/>
                      <a:pt x="633726" y="98006"/>
                    </a:cubicBezTo>
                    <a:moveTo>
                      <a:pt x="666204" y="67531"/>
                    </a:moveTo>
                    <a:cubicBezTo>
                      <a:pt x="665084" y="66307"/>
                      <a:pt x="663184" y="66221"/>
                      <a:pt x="661959" y="67341"/>
                    </a:cubicBezTo>
                    <a:cubicBezTo>
                      <a:pt x="661893" y="67401"/>
                      <a:pt x="661829" y="67466"/>
                      <a:pt x="661769" y="67531"/>
                    </a:cubicBezTo>
                    <a:cubicBezTo>
                      <a:pt x="660550" y="68759"/>
                      <a:pt x="660550" y="70739"/>
                      <a:pt x="661769" y="71967"/>
                    </a:cubicBezTo>
                    <a:cubicBezTo>
                      <a:pt x="663025" y="73113"/>
                      <a:pt x="664948" y="73113"/>
                      <a:pt x="666204" y="71967"/>
                    </a:cubicBezTo>
                    <a:cubicBezTo>
                      <a:pt x="667423" y="70739"/>
                      <a:pt x="667423" y="68759"/>
                      <a:pt x="666204" y="67531"/>
                    </a:cubicBezTo>
                    <a:moveTo>
                      <a:pt x="699111" y="36913"/>
                    </a:moveTo>
                    <a:cubicBezTo>
                      <a:pt x="698124" y="35890"/>
                      <a:pt x="696493" y="35860"/>
                      <a:pt x="695470" y="36849"/>
                    </a:cubicBezTo>
                    <a:cubicBezTo>
                      <a:pt x="694447" y="37836"/>
                      <a:pt x="694417" y="39467"/>
                      <a:pt x="695405" y="40490"/>
                    </a:cubicBezTo>
                    <a:cubicBezTo>
                      <a:pt x="696393" y="41513"/>
                      <a:pt x="698024" y="41543"/>
                      <a:pt x="699047" y="40555"/>
                    </a:cubicBezTo>
                    <a:cubicBezTo>
                      <a:pt x="699068" y="40533"/>
                      <a:pt x="699090" y="40512"/>
                      <a:pt x="699111" y="40490"/>
                    </a:cubicBezTo>
                    <a:cubicBezTo>
                      <a:pt x="700098" y="39580"/>
                      <a:pt x="700161" y="38041"/>
                      <a:pt x="699251" y="37054"/>
                    </a:cubicBezTo>
                    <a:cubicBezTo>
                      <a:pt x="699207" y="37005"/>
                      <a:pt x="699160" y="36958"/>
                      <a:pt x="699111" y="36913"/>
                    </a:cubicBezTo>
                    <a:moveTo>
                      <a:pt x="392931" y="362409"/>
                    </a:moveTo>
                    <a:cubicBezTo>
                      <a:pt x="389809" y="359272"/>
                      <a:pt x="384737" y="359259"/>
                      <a:pt x="381599" y="362380"/>
                    </a:cubicBezTo>
                    <a:cubicBezTo>
                      <a:pt x="378463" y="365502"/>
                      <a:pt x="378450" y="370575"/>
                      <a:pt x="381572" y="373711"/>
                    </a:cubicBezTo>
                    <a:cubicBezTo>
                      <a:pt x="384693" y="376848"/>
                      <a:pt x="389766" y="376861"/>
                      <a:pt x="392902" y="373740"/>
                    </a:cubicBezTo>
                    <a:cubicBezTo>
                      <a:pt x="392912" y="373730"/>
                      <a:pt x="392921" y="373721"/>
                      <a:pt x="392931" y="373711"/>
                    </a:cubicBezTo>
                    <a:cubicBezTo>
                      <a:pt x="396041" y="370585"/>
                      <a:pt x="396041" y="365535"/>
                      <a:pt x="392931" y="362409"/>
                    </a:cubicBezTo>
                    <a:moveTo>
                      <a:pt x="425838" y="331647"/>
                    </a:moveTo>
                    <a:cubicBezTo>
                      <a:pt x="423032" y="328644"/>
                      <a:pt x="418325" y="328484"/>
                      <a:pt x="415322" y="331290"/>
                    </a:cubicBezTo>
                    <a:cubicBezTo>
                      <a:pt x="412319" y="334095"/>
                      <a:pt x="412159" y="338803"/>
                      <a:pt x="414965" y="341806"/>
                    </a:cubicBezTo>
                    <a:cubicBezTo>
                      <a:pt x="417909" y="344677"/>
                      <a:pt x="422608" y="344677"/>
                      <a:pt x="425552" y="341806"/>
                    </a:cubicBezTo>
                    <a:cubicBezTo>
                      <a:pt x="428475" y="338919"/>
                      <a:pt x="428505" y="334209"/>
                      <a:pt x="425618" y="331284"/>
                    </a:cubicBezTo>
                    <a:cubicBezTo>
                      <a:pt x="425596" y="331263"/>
                      <a:pt x="425574" y="331240"/>
                      <a:pt x="425552" y="331218"/>
                    </a:cubicBezTo>
                    <a:moveTo>
                      <a:pt x="458173" y="300743"/>
                    </a:moveTo>
                    <a:cubicBezTo>
                      <a:pt x="455486" y="298066"/>
                      <a:pt x="451138" y="298074"/>
                      <a:pt x="448461" y="300761"/>
                    </a:cubicBezTo>
                    <a:cubicBezTo>
                      <a:pt x="445784" y="303447"/>
                      <a:pt x="445791" y="307795"/>
                      <a:pt x="448478" y="310472"/>
                    </a:cubicBezTo>
                    <a:cubicBezTo>
                      <a:pt x="451158" y="313144"/>
                      <a:pt x="455493" y="313144"/>
                      <a:pt x="458173" y="310472"/>
                    </a:cubicBezTo>
                    <a:cubicBezTo>
                      <a:pt x="460860" y="307795"/>
                      <a:pt x="460867" y="303447"/>
                      <a:pt x="458190" y="300761"/>
                    </a:cubicBezTo>
                    <a:cubicBezTo>
                      <a:pt x="458185" y="300755"/>
                      <a:pt x="458179" y="300749"/>
                      <a:pt x="458173" y="300743"/>
                    </a:cubicBezTo>
                    <a:moveTo>
                      <a:pt x="490651" y="270268"/>
                    </a:moveTo>
                    <a:cubicBezTo>
                      <a:pt x="488598" y="267365"/>
                      <a:pt x="484580" y="266674"/>
                      <a:pt x="481677" y="268727"/>
                    </a:cubicBezTo>
                    <a:cubicBezTo>
                      <a:pt x="478773" y="270781"/>
                      <a:pt x="478083" y="274798"/>
                      <a:pt x="480137" y="277701"/>
                    </a:cubicBezTo>
                    <a:cubicBezTo>
                      <a:pt x="480480" y="278188"/>
                      <a:pt x="480889" y="278623"/>
                      <a:pt x="481351" y="278996"/>
                    </a:cubicBezTo>
                    <a:cubicBezTo>
                      <a:pt x="484118" y="281228"/>
                      <a:pt x="488173" y="280794"/>
                      <a:pt x="490405" y="278027"/>
                    </a:cubicBezTo>
                    <a:cubicBezTo>
                      <a:pt x="492212" y="275787"/>
                      <a:pt x="492312" y="272619"/>
                      <a:pt x="490651" y="270268"/>
                    </a:cubicBezTo>
                    <a:moveTo>
                      <a:pt x="523129" y="239650"/>
                    </a:moveTo>
                    <a:cubicBezTo>
                      <a:pt x="520917" y="237280"/>
                      <a:pt x="517201" y="237152"/>
                      <a:pt x="514831" y="239364"/>
                    </a:cubicBezTo>
                    <a:cubicBezTo>
                      <a:pt x="512460" y="241576"/>
                      <a:pt x="512333" y="245292"/>
                      <a:pt x="514545" y="247663"/>
                    </a:cubicBezTo>
                    <a:cubicBezTo>
                      <a:pt x="516757" y="250033"/>
                      <a:pt x="520472" y="250161"/>
                      <a:pt x="522843" y="247949"/>
                    </a:cubicBezTo>
                    <a:cubicBezTo>
                      <a:pt x="525214" y="245737"/>
                      <a:pt x="525341" y="242021"/>
                      <a:pt x="523129" y="239650"/>
                    </a:cubicBezTo>
                    <a:moveTo>
                      <a:pt x="555607" y="209175"/>
                    </a:moveTo>
                    <a:cubicBezTo>
                      <a:pt x="553593" y="207042"/>
                      <a:pt x="550229" y="206946"/>
                      <a:pt x="548096" y="208961"/>
                    </a:cubicBezTo>
                    <a:cubicBezTo>
                      <a:pt x="545962" y="210975"/>
                      <a:pt x="545867" y="214339"/>
                      <a:pt x="547881" y="216472"/>
                    </a:cubicBezTo>
                    <a:cubicBezTo>
                      <a:pt x="549896" y="218605"/>
                      <a:pt x="553259" y="218701"/>
                      <a:pt x="555392" y="216687"/>
                    </a:cubicBezTo>
                    <a:cubicBezTo>
                      <a:pt x="557526" y="214672"/>
                      <a:pt x="557622" y="211309"/>
                      <a:pt x="555607" y="209175"/>
                    </a:cubicBezTo>
                    <a:moveTo>
                      <a:pt x="588228" y="178701"/>
                    </a:moveTo>
                    <a:cubicBezTo>
                      <a:pt x="586371" y="176759"/>
                      <a:pt x="583292" y="176690"/>
                      <a:pt x="581350" y="178547"/>
                    </a:cubicBezTo>
                    <a:cubicBezTo>
                      <a:pt x="579409" y="180405"/>
                      <a:pt x="579340" y="183483"/>
                      <a:pt x="581197" y="185425"/>
                    </a:cubicBezTo>
                    <a:cubicBezTo>
                      <a:pt x="583054" y="187367"/>
                      <a:pt x="586133" y="187435"/>
                      <a:pt x="588075" y="185578"/>
                    </a:cubicBezTo>
                    <a:cubicBezTo>
                      <a:pt x="588126" y="185528"/>
                      <a:pt x="588178" y="185477"/>
                      <a:pt x="588228" y="185425"/>
                    </a:cubicBezTo>
                    <a:cubicBezTo>
                      <a:pt x="590085" y="183595"/>
                      <a:pt x="590107" y="180605"/>
                      <a:pt x="588275" y="178748"/>
                    </a:cubicBezTo>
                    <a:cubicBezTo>
                      <a:pt x="588260" y="178732"/>
                      <a:pt x="588244" y="178716"/>
                      <a:pt x="588228" y="178701"/>
                    </a:cubicBezTo>
                    <a:moveTo>
                      <a:pt x="620706" y="148226"/>
                    </a:moveTo>
                    <a:cubicBezTo>
                      <a:pt x="619046" y="146533"/>
                      <a:pt x="616329" y="146506"/>
                      <a:pt x="614637" y="148165"/>
                    </a:cubicBezTo>
                    <a:cubicBezTo>
                      <a:pt x="612943" y="149824"/>
                      <a:pt x="612916" y="152542"/>
                      <a:pt x="614575" y="154235"/>
                    </a:cubicBezTo>
                    <a:cubicBezTo>
                      <a:pt x="616235" y="155927"/>
                      <a:pt x="618952" y="155954"/>
                      <a:pt x="620646" y="154295"/>
                    </a:cubicBezTo>
                    <a:cubicBezTo>
                      <a:pt x="620666" y="154275"/>
                      <a:pt x="620686" y="154255"/>
                      <a:pt x="620706" y="154235"/>
                    </a:cubicBezTo>
                    <a:cubicBezTo>
                      <a:pt x="622341" y="152565"/>
                      <a:pt x="622341" y="149895"/>
                      <a:pt x="620706" y="148226"/>
                    </a:cubicBezTo>
                    <a:moveTo>
                      <a:pt x="653184" y="117751"/>
                    </a:moveTo>
                    <a:cubicBezTo>
                      <a:pt x="651722" y="116421"/>
                      <a:pt x="649460" y="116530"/>
                      <a:pt x="648132" y="117991"/>
                    </a:cubicBezTo>
                    <a:cubicBezTo>
                      <a:pt x="646803" y="119453"/>
                      <a:pt x="646910" y="121715"/>
                      <a:pt x="648372" y="123044"/>
                    </a:cubicBezTo>
                    <a:cubicBezTo>
                      <a:pt x="649737" y="124285"/>
                      <a:pt x="651821" y="124285"/>
                      <a:pt x="653184" y="123044"/>
                    </a:cubicBezTo>
                    <a:cubicBezTo>
                      <a:pt x="654583" y="121558"/>
                      <a:pt x="654583" y="119239"/>
                      <a:pt x="653184" y="117751"/>
                    </a:cubicBezTo>
                    <a:moveTo>
                      <a:pt x="686091" y="88420"/>
                    </a:moveTo>
                    <a:cubicBezTo>
                      <a:pt x="684864" y="87201"/>
                      <a:pt x="682884" y="87201"/>
                      <a:pt x="681656" y="88420"/>
                    </a:cubicBezTo>
                    <a:cubicBezTo>
                      <a:pt x="680431" y="89541"/>
                      <a:pt x="680345" y="91441"/>
                      <a:pt x="681466" y="92665"/>
                    </a:cubicBezTo>
                    <a:cubicBezTo>
                      <a:pt x="681526" y="92731"/>
                      <a:pt x="681590" y="92796"/>
                      <a:pt x="681656" y="92856"/>
                    </a:cubicBezTo>
                    <a:cubicBezTo>
                      <a:pt x="682884" y="94075"/>
                      <a:pt x="684864" y="94075"/>
                      <a:pt x="686091" y="92856"/>
                    </a:cubicBezTo>
                    <a:cubicBezTo>
                      <a:pt x="687237" y="91599"/>
                      <a:pt x="687237" y="89676"/>
                      <a:pt x="686091" y="88420"/>
                    </a:cubicBezTo>
                    <a:moveTo>
                      <a:pt x="718569" y="57945"/>
                    </a:moveTo>
                    <a:cubicBezTo>
                      <a:pt x="717523" y="56964"/>
                      <a:pt x="715895" y="56964"/>
                      <a:pt x="714849" y="57945"/>
                    </a:cubicBezTo>
                    <a:cubicBezTo>
                      <a:pt x="713934" y="59016"/>
                      <a:pt x="713934" y="60595"/>
                      <a:pt x="714849" y="61665"/>
                    </a:cubicBezTo>
                    <a:cubicBezTo>
                      <a:pt x="715837" y="62733"/>
                      <a:pt x="717502" y="62796"/>
                      <a:pt x="718569" y="61808"/>
                    </a:cubicBezTo>
                    <a:cubicBezTo>
                      <a:pt x="719637" y="60821"/>
                      <a:pt x="719699" y="59156"/>
                      <a:pt x="718712" y="58088"/>
                    </a:cubicBezTo>
                    <a:moveTo>
                      <a:pt x="367750" y="425218"/>
                    </a:moveTo>
                    <a:cubicBezTo>
                      <a:pt x="370872" y="428355"/>
                      <a:pt x="375944" y="428367"/>
                      <a:pt x="379081" y="425247"/>
                    </a:cubicBezTo>
                    <a:cubicBezTo>
                      <a:pt x="382218" y="422125"/>
                      <a:pt x="382230" y="417052"/>
                      <a:pt x="379109" y="413915"/>
                    </a:cubicBezTo>
                    <a:cubicBezTo>
                      <a:pt x="375988" y="410779"/>
                      <a:pt x="370915" y="410766"/>
                      <a:pt x="367778" y="413887"/>
                    </a:cubicBezTo>
                    <a:cubicBezTo>
                      <a:pt x="367768" y="413897"/>
                      <a:pt x="367760" y="413905"/>
                      <a:pt x="367750" y="413915"/>
                    </a:cubicBezTo>
                    <a:cubicBezTo>
                      <a:pt x="364639" y="417042"/>
                      <a:pt x="364639" y="422092"/>
                      <a:pt x="367750" y="425218"/>
                    </a:cubicBezTo>
                    <a:moveTo>
                      <a:pt x="335701" y="455693"/>
                    </a:moveTo>
                    <a:cubicBezTo>
                      <a:pt x="338507" y="458696"/>
                      <a:pt x="343214" y="458857"/>
                      <a:pt x="346217" y="456051"/>
                    </a:cubicBezTo>
                    <a:cubicBezTo>
                      <a:pt x="349220" y="453245"/>
                      <a:pt x="349380" y="448538"/>
                      <a:pt x="346575" y="445535"/>
                    </a:cubicBezTo>
                    <a:cubicBezTo>
                      <a:pt x="343630" y="442663"/>
                      <a:pt x="338932" y="442663"/>
                      <a:pt x="335987" y="445535"/>
                    </a:cubicBezTo>
                    <a:cubicBezTo>
                      <a:pt x="333064" y="448422"/>
                      <a:pt x="333034" y="453132"/>
                      <a:pt x="335921" y="456057"/>
                    </a:cubicBezTo>
                    <a:cubicBezTo>
                      <a:pt x="335943" y="456078"/>
                      <a:pt x="335964" y="456101"/>
                      <a:pt x="335987" y="456123"/>
                    </a:cubicBezTo>
                    <a:moveTo>
                      <a:pt x="302651" y="486168"/>
                    </a:moveTo>
                    <a:cubicBezTo>
                      <a:pt x="305384" y="488878"/>
                      <a:pt x="309790" y="488878"/>
                      <a:pt x="312523" y="486168"/>
                    </a:cubicBezTo>
                    <a:cubicBezTo>
                      <a:pt x="315157" y="483404"/>
                      <a:pt x="315157" y="479060"/>
                      <a:pt x="312523" y="476296"/>
                    </a:cubicBezTo>
                    <a:cubicBezTo>
                      <a:pt x="309807" y="473679"/>
                      <a:pt x="305509" y="473679"/>
                      <a:pt x="302794" y="476296"/>
                    </a:cubicBezTo>
                    <a:cubicBezTo>
                      <a:pt x="300107" y="478973"/>
                      <a:pt x="300100" y="483321"/>
                      <a:pt x="302777" y="486008"/>
                    </a:cubicBezTo>
                    <a:cubicBezTo>
                      <a:pt x="302782" y="486014"/>
                      <a:pt x="302788" y="486019"/>
                      <a:pt x="302794" y="486025"/>
                    </a:cubicBezTo>
                    <a:moveTo>
                      <a:pt x="270316" y="516500"/>
                    </a:moveTo>
                    <a:cubicBezTo>
                      <a:pt x="272369" y="519403"/>
                      <a:pt x="276387" y="520094"/>
                      <a:pt x="279290" y="518041"/>
                    </a:cubicBezTo>
                    <a:cubicBezTo>
                      <a:pt x="282194" y="515988"/>
                      <a:pt x="282884" y="511970"/>
                      <a:pt x="280830" y="509067"/>
                    </a:cubicBezTo>
                    <a:cubicBezTo>
                      <a:pt x="280487" y="508581"/>
                      <a:pt x="280079" y="508146"/>
                      <a:pt x="279616" y="507773"/>
                    </a:cubicBezTo>
                    <a:cubicBezTo>
                      <a:pt x="277563" y="504870"/>
                      <a:pt x="273545" y="504179"/>
                      <a:pt x="270642" y="506232"/>
                    </a:cubicBezTo>
                    <a:cubicBezTo>
                      <a:pt x="267738" y="508285"/>
                      <a:pt x="267048" y="512302"/>
                      <a:pt x="269101" y="515205"/>
                    </a:cubicBezTo>
                    <a:cubicBezTo>
                      <a:pt x="269445" y="515690"/>
                      <a:pt x="269852" y="516127"/>
                      <a:pt x="270316" y="516500"/>
                    </a:cubicBezTo>
                    <a:moveTo>
                      <a:pt x="237838" y="547118"/>
                    </a:moveTo>
                    <a:cubicBezTo>
                      <a:pt x="240050" y="549489"/>
                      <a:pt x="243765" y="549616"/>
                      <a:pt x="246136" y="547404"/>
                    </a:cubicBezTo>
                    <a:cubicBezTo>
                      <a:pt x="248507" y="545192"/>
                      <a:pt x="248634" y="541477"/>
                      <a:pt x="246422" y="539106"/>
                    </a:cubicBezTo>
                    <a:cubicBezTo>
                      <a:pt x="244210" y="536735"/>
                      <a:pt x="240495" y="536608"/>
                      <a:pt x="238124" y="538820"/>
                    </a:cubicBezTo>
                    <a:cubicBezTo>
                      <a:pt x="235753" y="541032"/>
                      <a:pt x="235626" y="544747"/>
                      <a:pt x="237838" y="547118"/>
                    </a:cubicBezTo>
                    <a:moveTo>
                      <a:pt x="205217" y="577736"/>
                    </a:moveTo>
                    <a:cubicBezTo>
                      <a:pt x="207231" y="579869"/>
                      <a:pt x="210595" y="579965"/>
                      <a:pt x="212728" y="577951"/>
                    </a:cubicBezTo>
                    <a:cubicBezTo>
                      <a:pt x="214862" y="575936"/>
                      <a:pt x="214957" y="572573"/>
                      <a:pt x="212943" y="570439"/>
                    </a:cubicBezTo>
                    <a:cubicBezTo>
                      <a:pt x="210928" y="568306"/>
                      <a:pt x="207565" y="568210"/>
                      <a:pt x="205431" y="570225"/>
                    </a:cubicBezTo>
                    <a:cubicBezTo>
                      <a:pt x="203298" y="572239"/>
                      <a:pt x="203202" y="575603"/>
                      <a:pt x="205217" y="577736"/>
                    </a:cubicBezTo>
                    <a:moveTo>
                      <a:pt x="172596" y="608211"/>
                    </a:moveTo>
                    <a:cubicBezTo>
                      <a:pt x="174453" y="610153"/>
                      <a:pt x="177532" y="610221"/>
                      <a:pt x="179473" y="608364"/>
                    </a:cubicBezTo>
                    <a:cubicBezTo>
                      <a:pt x="181415" y="606507"/>
                      <a:pt x="181484" y="603428"/>
                      <a:pt x="179626" y="601487"/>
                    </a:cubicBezTo>
                    <a:cubicBezTo>
                      <a:pt x="177769" y="599545"/>
                      <a:pt x="174690" y="599476"/>
                      <a:pt x="172749" y="601333"/>
                    </a:cubicBezTo>
                    <a:cubicBezTo>
                      <a:pt x="172697" y="601384"/>
                      <a:pt x="172646" y="601435"/>
                      <a:pt x="172596" y="601487"/>
                    </a:cubicBezTo>
                    <a:cubicBezTo>
                      <a:pt x="170739" y="603318"/>
                      <a:pt x="170717" y="606307"/>
                      <a:pt x="172549" y="608164"/>
                    </a:cubicBezTo>
                    <a:cubicBezTo>
                      <a:pt x="172564" y="608180"/>
                      <a:pt x="172580" y="608195"/>
                      <a:pt x="172596" y="608211"/>
                    </a:cubicBezTo>
                    <a:moveTo>
                      <a:pt x="140118" y="638686"/>
                    </a:moveTo>
                    <a:cubicBezTo>
                      <a:pt x="141777" y="640379"/>
                      <a:pt x="144494" y="640406"/>
                      <a:pt x="146187" y="638746"/>
                    </a:cubicBezTo>
                    <a:cubicBezTo>
                      <a:pt x="147881" y="637088"/>
                      <a:pt x="147908" y="634369"/>
                      <a:pt x="146249" y="632677"/>
                    </a:cubicBezTo>
                    <a:cubicBezTo>
                      <a:pt x="144589" y="630984"/>
                      <a:pt x="141872" y="630957"/>
                      <a:pt x="140178" y="632617"/>
                    </a:cubicBezTo>
                    <a:cubicBezTo>
                      <a:pt x="140158" y="632637"/>
                      <a:pt x="140138" y="632657"/>
                      <a:pt x="140118" y="632677"/>
                    </a:cubicBezTo>
                    <a:cubicBezTo>
                      <a:pt x="138482" y="634347"/>
                      <a:pt x="138482" y="637016"/>
                      <a:pt x="140118" y="638686"/>
                    </a:cubicBezTo>
                    <a:moveTo>
                      <a:pt x="107640" y="669161"/>
                    </a:moveTo>
                    <a:cubicBezTo>
                      <a:pt x="109102" y="670490"/>
                      <a:pt x="111364" y="670381"/>
                      <a:pt x="112693" y="668921"/>
                    </a:cubicBezTo>
                    <a:cubicBezTo>
                      <a:pt x="114021" y="667458"/>
                      <a:pt x="113914" y="665196"/>
                      <a:pt x="112451" y="663867"/>
                    </a:cubicBezTo>
                    <a:cubicBezTo>
                      <a:pt x="111088" y="662627"/>
                      <a:pt x="109005" y="662627"/>
                      <a:pt x="107640" y="663867"/>
                    </a:cubicBezTo>
                    <a:cubicBezTo>
                      <a:pt x="106241" y="665355"/>
                      <a:pt x="106241" y="667674"/>
                      <a:pt x="107640" y="669161"/>
                    </a:cubicBezTo>
                    <a:moveTo>
                      <a:pt x="387208" y="446107"/>
                    </a:moveTo>
                    <a:cubicBezTo>
                      <a:pt x="390334" y="449218"/>
                      <a:pt x="395385" y="449218"/>
                      <a:pt x="398511" y="446107"/>
                    </a:cubicBezTo>
                    <a:cubicBezTo>
                      <a:pt x="401638" y="442932"/>
                      <a:pt x="401638" y="437836"/>
                      <a:pt x="398511" y="434661"/>
                    </a:cubicBezTo>
                    <a:cubicBezTo>
                      <a:pt x="395385" y="431551"/>
                      <a:pt x="390334" y="431551"/>
                      <a:pt x="387208" y="434661"/>
                    </a:cubicBezTo>
                    <a:cubicBezTo>
                      <a:pt x="384086" y="437686"/>
                      <a:pt x="384007" y="442668"/>
                      <a:pt x="387032" y="445788"/>
                    </a:cubicBezTo>
                    <a:cubicBezTo>
                      <a:pt x="387089" y="445848"/>
                      <a:pt x="387148" y="445907"/>
                      <a:pt x="387208" y="445964"/>
                    </a:cubicBezTo>
                    <a:moveTo>
                      <a:pt x="354587" y="476439"/>
                    </a:moveTo>
                    <a:cubicBezTo>
                      <a:pt x="357474" y="479362"/>
                      <a:pt x="362184" y="479392"/>
                      <a:pt x="365109" y="476505"/>
                    </a:cubicBezTo>
                    <a:cubicBezTo>
                      <a:pt x="365130" y="476484"/>
                      <a:pt x="365153" y="476462"/>
                      <a:pt x="365174" y="476439"/>
                    </a:cubicBezTo>
                    <a:cubicBezTo>
                      <a:pt x="368046" y="473495"/>
                      <a:pt x="368046" y="468796"/>
                      <a:pt x="365174" y="465852"/>
                    </a:cubicBezTo>
                    <a:cubicBezTo>
                      <a:pt x="362010" y="463109"/>
                      <a:pt x="357221" y="463451"/>
                      <a:pt x="354478" y="466616"/>
                    </a:cubicBezTo>
                    <a:cubicBezTo>
                      <a:pt x="352133" y="469320"/>
                      <a:pt x="352000" y="473297"/>
                      <a:pt x="354158" y="476153"/>
                    </a:cubicBezTo>
                    <a:moveTo>
                      <a:pt x="321680" y="506628"/>
                    </a:moveTo>
                    <a:cubicBezTo>
                      <a:pt x="324317" y="509354"/>
                      <a:pt x="328665" y="509426"/>
                      <a:pt x="331390" y="506790"/>
                    </a:cubicBezTo>
                    <a:cubicBezTo>
                      <a:pt x="331445" y="506737"/>
                      <a:pt x="331499" y="506682"/>
                      <a:pt x="331552" y="506628"/>
                    </a:cubicBezTo>
                    <a:cubicBezTo>
                      <a:pt x="334124" y="503734"/>
                      <a:pt x="333863" y="499302"/>
                      <a:pt x="330968" y="496730"/>
                    </a:cubicBezTo>
                    <a:cubicBezTo>
                      <a:pt x="328427" y="494472"/>
                      <a:pt x="324633" y="494364"/>
                      <a:pt x="321966" y="496470"/>
                    </a:cubicBezTo>
                    <a:cubicBezTo>
                      <a:pt x="319332" y="499234"/>
                      <a:pt x="319332" y="503578"/>
                      <a:pt x="321966" y="506342"/>
                    </a:cubicBezTo>
                    <a:moveTo>
                      <a:pt x="289488" y="536817"/>
                    </a:moveTo>
                    <a:cubicBezTo>
                      <a:pt x="291977" y="539356"/>
                      <a:pt x="296054" y="539396"/>
                      <a:pt x="298593" y="536908"/>
                    </a:cubicBezTo>
                    <a:cubicBezTo>
                      <a:pt x="301133" y="534419"/>
                      <a:pt x="301173" y="530343"/>
                      <a:pt x="298683" y="527803"/>
                    </a:cubicBezTo>
                    <a:cubicBezTo>
                      <a:pt x="296195" y="525263"/>
                      <a:pt x="292118" y="525223"/>
                      <a:pt x="289579" y="527711"/>
                    </a:cubicBezTo>
                    <a:cubicBezTo>
                      <a:pt x="289548" y="527742"/>
                      <a:pt x="289518" y="527773"/>
                      <a:pt x="289488" y="527803"/>
                    </a:cubicBezTo>
                    <a:cubicBezTo>
                      <a:pt x="286998" y="530231"/>
                      <a:pt x="286948" y="534216"/>
                      <a:pt x="289376" y="536705"/>
                    </a:cubicBezTo>
                    <a:cubicBezTo>
                      <a:pt x="289414" y="536742"/>
                      <a:pt x="289451" y="536780"/>
                      <a:pt x="289488" y="536817"/>
                    </a:cubicBezTo>
                    <a:moveTo>
                      <a:pt x="257010" y="567864"/>
                    </a:moveTo>
                    <a:cubicBezTo>
                      <a:pt x="259301" y="570156"/>
                      <a:pt x="263015" y="570156"/>
                      <a:pt x="265305" y="567867"/>
                    </a:cubicBezTo>
                    <a:cubicBezTo>
                      <a:pt x="265307" y="567865"/>
                      <a:pt x="265307" y="567865"/>
                      <a:pt x="265308" y="567864"/>
                    </a:cubicBezTo>
                    <a:cubicBezTo>
                      <a:pt x="267600" y="565686"/>
                      <a:pt x="267693" y="562065"/>
                      <a:pt x="265516" y="559773"/>
                    </a:cubicBezTo>
                    <a:cubicBezTo>
                      <a:pt x="265448" y="559702"/>
                      <a:pt x="265380" y="559633"/>
                      <a:pt x="265308" y="559566"/>
                    </a:cubicBezTo>
                    <a:cubicBezTo>
                      <a:pt x="263096" y="557195"/>
                      <a:pt x="259381" y="557068"/>
                      <a:pt x="257010" y="559279"/>
                    </a:cubicBezTo>
                    <a:cubicBezTo>
                      <a:pt x="254639" y="561491"/>
                      <a:pt x="254512" y="565207"/>
                      <a:pt x="256724" y="567578"/>
                    </a:cubicBezTo>
                    <a:moveTo>
                      <a:pt x="224246" y="598053"/>
                    </a:moveTo>
                    <a:cubicBezTo>
                      <a:pt x="226300" y="600133"/>
                      <a:pt x="229653" y="600153"/>
                      <a:pt x="231731" y="598100"/>
                    </a:cubicBezTo>
                    <a:cubicBezTo>
                      <a:pt x="233812" y="596045"/>
                      <a:pt x="233833" y="592693"/>
                      <a:pt x="231779" y="590613"/>
                    </a:cubicBezTo>
                    <a:cubicBezTo>
                      <a:pt x="229724" y="588533"/>
                      <a:pt x="226372" y="588513"/>
                      <a:pt x="224292" y="590567"/>
                    </a:cubicBezTo>
                    <a:cubicBezTo>
                      <a:pt x="224277" y="590581"/>
                      <a:pt x="224262" y="590597"/>
                      <a:pt x="224246" y="590613"/>
                    </a:cubicBezTo>
                    <a:cubicBezTo>
                      <a:pt x="222210" y="592675"/>
                      <a:pt x="222210" y="595991"/>
                      <a:pt x="224246" y="598053"/>
                    </a:cubicBezTo>
                    <a:moveTo>
                      <a:pt x="192626" y="628814"/>
                    </a:moveTo>
                    <a:cubicBezTo>
                      <a:pt x="194483" y="630644"/>
                      <a:pt x="197472" y="630624"/>
                      <a:pt x="199304" y="628767"/>
                    </a:cubicBezTo>
                    <a:cubicBezTo>
                      <a:pt x="201133" y="626910"/>
                      <a:pt x="201112" y="623919"/>
                      <a:pt x="199256" y="622089"/>
                    </a:cubicBezTo>
                    <a:cubicBezTo>
                      <a:pt x="197418" y="620277"/>
                      <a:pt x="194465" y="620277"/>
                      <a:pt x="192626" y="622089"/>
                    </a:cubicBezTo>
                    <a:cubicBezTo>
                      <a:pt x="190769" y="623919"/>
                      <a:pt x="190748" y="626910"/>
                      <a:pt x="192579" y="628767"/>
                    </a:cubicBezTo>
                    <a:cubicBezTo>
                      <a:pt x="192595" y="628782"/>
                      <a:pt x="192611" y="628798"/>
                      <a:pt x="192626" y="628814"/>
                    </a:cubicBezTo>
                    <a:moveTo>
                      <a:pt x="159576" y="659289"/>
                    </a:moveTo>
                    <a:cubicBezTo>
                      <a:pt x="161196" y="660908"/>
                      <a:pt x="163822" y="660908"/>
                      <a:pt x="165442" y="659289"/>
                    </a:cubicBezTo>
                    <a:cubicBezTo>
                      <a:pt x="167077" y="657619"/>
                      <a:pt x="167077" y="654949"/>
                      <a:pt x="165442" y="653280"/>
                    </a:cubicBezTo>
                    <a:cubicBezTo>
                      <a:pt x="163861" y="651620"/>
                      <a:pt x="161236" y="651556"/>
                      <a:pt x="159576" y="653137"/>
                    </a:cubicBezTo>
                    <a:cubicBezTo>
                      <a:pt x="159527" y="653184"/>
                      <a:pt x="159480" y="653231"/>
                      <a:pt x="159433" y="653280"/>
                    </a:cubicBezTo>
                    <a:cubicBezTo>
                      <a:pt x="157813" y="654786"/>
                      <a:pt x="157722" y="657321"/>
                      <a:pt x="159228" y="658941"/>
                    </a:cubicBezTo>
                    <a:cubicBezTo>
                      <a:pt x="159294" y="659013"/>
                      <a:pt x="159363" y="659080"/>
                      <a:pt x="159433" y="659146"/>
                    </a:cubicBezTo>
                    <a:moveTo>
                      <a:pt x="126955" y="689334"/>
                    </a:moveTo>
                    <a:cubicBezTo>
                      <a:pt x="128377" y="690817"/>
                      <a:pt x="130732" y="690865"/>
                      <a:pt x="132214" y="689443"/>
                    </a:cubicBezTo>
                    <a:cubicBezTo>
                      <a:pt x="133697" y="688021"/>
                      <a:pt x="133745" y="685666"/>
                      <a:pt x="132323" y="684184"/>
                    </a:cubicBezTo>
                    <a:cubicBezTo>
                      <a:pt x="130901" y="682702"/>
                      <a:pt x="128546" y="682653"/>
                      <a:pt x="127064" y="684075"/>
                    </a:cubicBezTo>
                    <a:cubicBezTo>
                      <a:pt x="127026" y="684111"/>
                      <a:pt x="126991" y="684147"/>
                      <a:pt x="126955" y="684184"/>
                    </a:cubicBezTo>
                    <a:cubicBezTo>
                      <a:pt x="125574" y="685623"/>
                      <a:pt x="125574" y="687895"/>
                      <a:pt x="126955" y="689334"/>
                    </a:cubicBezTo>
                    <a:moveTo>
                      <a:pt x="407238" y="466710"/>
                    </a:moveTo>
                    <a:cubicBezTo>
                      <a:pt x="410365" y="469820"/>
                      <a:pt x="415415" y="469820"/>
                      <a:pt x="418541" y="466710"/>
                    </a:cubicBezTo>
                    <a:cubicBezTo>
                      <a:pt x="421603" y="463515"/>
                      <a:pt x="421494" y="458443"/>
                      <a:pt x="418300" y="455381"/>
                    </a:cubicBezTo>
                    <a:cubicBezTo>
                      <a:pt x="415369" y="452574"/>
                      <a:pt x="410802" y="452400"/>
                      <a:pt x="407668" y="454978"/>
                    </a:cubicBezTo>
                    <a:cubicBezTo>
                      <a:pt x="404540" y="458153"/>
                      <a:pt x="404540" y="463249"/>
                      <a:pt x="407668" y="466424"/>
                    </a:cubicBezTo>
                    <a:moveTo>
                      <a:pt x="375190" y="496899"/>
                    </a:moveTo>
                    <a:cubicBezTo>
                      <a:pt x="378113" y="499786"/>
                      <a:pt x="382824" y="499756"/>
                      <a:pt x="385711" y="496833"/>
                    </a:cubicBezTo>
                    <a:cubicBezTo>
                      <a:pt x="388599" y="493909"/>
                      <a:pt x="388569" y="489199"/>
                      <a:pt x="385646" y="486311"/>
                    </a:cubicBezTo>
                    <a:cubicBezTo>
                      <a:pt x="382747" y="483450"/>
                      <a:pt x="378087" y="483450"/>
                      <a:pt x="375190" y="486311"/>
                    </a:cubicBezTo>
                    <a:cubicBezTo>
                      <a:pt x="372267" y="489199"/>
                      <a:pt x="372237" y="493909"/>
                      <a:pt x="375124" y="496833"/>
                    </a:cubicBezTo>
                    <a:cubicBezTo>
                      <a:pt x="375145" y="496855"/>
                      <a:pt x="375167" y="496877"/>
                      <a:pt x="375190" y="496899"/>
                    </a:cubicBezTo>
                    <a:moveTo>
                      <a:pt x="341567" y="527660"/>
                    </a:moveTo>
                    <a:cubicBezTo>
                      <a:pt x="344283" y="530277"/>
                      <a:pt x="348581" y="530277"/>
                      <a:pt x="351296" y="527660"/>
                    </a:cubicBezTo>
                    <a:cubicBezTo>
                      <a:pt x="354022" y="525023"/>
                      <a:pt x="354095" y="520675"/>
                      <a:pt x="351458" y="517949"/>
                    </a:cubicBezTo>
                    <a:cubicBezTo>
                      <a:pt x="351405" y="517895"/>
                      <a:pt x="351351" y="517841"/>
                      <a:pt x="351296" y="517788"/>
                    </a:cubicBezTo>
                    <a:cubicBezTo>
                      <a:pt x="348581" y="515171"/>
                      <a:pt x="344283" y="515171"/>
                      <a:pt x="341567" y="517788"/>
                    </a:cubicBezTo>
                    <a:cubicBezTo>
                      <a:pt x="338842" y="520425"/>
                      <a:pt x="338769" y="524773"/>
                      <a:pt x="341405" y="527498"/>
                    </a:cubicBezTo>
                    <a:cubicBezTo>
                      <a:pt x="341458" y="527553"/>
                      <a:pt x="341513" y="527607"/>
                      <a:pt x="341567" y="527660"/>
                    </a:cubicBezTo>
                    <a:moveTo>
                      <a:pt x="308946" y="558135"/>
                    </a:moveTo>
                    <a:cubicBezTo>
                      <a:pt x="311374" y="560624"/>
                      <a:pt x="315359" y="560674"/>
                      <a:pt x="317848" y="558246"/>
                    </a:cubicBezTo>
                    <a:cubicBezTo>
                      <a:pt x="317885" y="558209"/>
                      <a:pt x="317923" y="558172"/>
                      <a:pt x="317960" y="558135"/>
                    </a:cubicBezTo>
                    <a:cubicBezTo>
                      <a:pt x="320863" y="556082"/>
                      <a:pt x="321554" y="552064"/>
                      <a:pt x="319501" y="549161"/>
                    </a:cubicBezTo>
                    <a:cubicBezTo>
                      <a:pt x="317448" y="546257"/>
                      <a:pt x="313430" y="545567"/>
                      <a:pt x="310527" y="547620"/>
                    </a:cubicBezTo>
                    <a:cubicBezTo>
                      <a:pt x="310041" y="547964"/>
                      <a:pt x="309606" y="548373"/>
                      <a:pt x="309232" y="548835"/>
                    </a:cubicBezTo>
                    <a:cubicBezTo>
                      <a:pt x="306743" y="551263"/>
                      <a:pt x="306693" y="555248"/>
                      <a:pt x="309121" y="557737"/>
                    </a:cubicBezTo>
                    <a:cubicBezTo>
                      <a:pt x="309158" y="557774"/>
                      <a:pt x="309195" y="557812"/>
                      <a:pt x="309232" y="557849"/>
                    </a:cubicBezTo>
                    <a:moveTo>
                      <a:pt x="276468" y="589182"/>
                    </a:moveTo>
                    <a:cubicBezTo>
                      <a:pt x="278680" y="591553"/>
                      <a:pt x="282396" y="591680"/>
                      <a:pt x="284766" y="589468"/>
                    </a:cubicBezTo>
                    <a:cubicBezTo>
                      <a:pt x="287137" y="587256"/>
                      <a:pt x="287265" y="583541"/>
                      <a:pt x="285053" y="581170"/>
                    </a:cubicBezTo>
                    <a:cubicBezTo>
                      <a:pt x="282841" y="578799"/>
                      <a:pt x="279125" y="578672"/>
                      <a:pt x="276754" y="580884"/>
                    </a:cubicBezTo>
                    <a:cubicBezTo>
                      <a:pt x="274383" y="583096"/>
                      <a:pt x="274256" y="586811"/>
                      <a:pt x="276468" y="589182"/>
                    </a:cubicBezTo>
                    <a:moveTo>
                      <a:pt x="243990" y="619657"/>
                    </a:moveTo>
                    <a:cubicBezTo>
                      <a:pt x="246052" y="621693"/>
                      <a:pt x="249368" y="621693"/>
                      <a:pt x="251430" y="619657"/>
                    </a:cubicBezTo>
                    <a:cubicBezTo>
                      <a:pt x="253620" y="617602"/>
                      <a:pt x="253729" y="614162"/>
                      <a:pt x="251675" y="611973"/>
                    </a:cubicBezTo>
                    <a:cubicBezTo>
                      <a:pt x="249620" y="609782"/>
                      <a:pt x="246181" y="609673"/>
                      <a:pt x="243990" y="611726"/>
                    </a:cubicBezTo>
                    <a:cubicBezTo>
                      <a:pt x="241800" y="613781"/>
                      <a:pt x="241691" y="617222"/>
                      <a:pt x="243745" y="619412"/>
                    </a:cubicBezTo>
                    <a:cubicBezTo>
                      <a:pt x="243824" y="619497"/>
                      <a:pt x="243906" y="619578"/>
                      <a:pt x="243990" y="619657"/>
                    </a:cubicBezTo>
                    <a:moveTo>
                      <a:pt x="211369" y="650132"/>
                    </a:moveTo>
                    <a:cubicBezTo>
                      <a:pt x="213268" y="652023"/>
                      <a:pt x="216338" y="652023"/>
                      <a:pt x="218237" y="650132"/>
                    </a:cubicBezTo>
                    <a:cubicBezTo>
                      <a:pt x="220134" y="648315"/>
                      <a:pt x="220197" y="645305"/>
                      <a:pt x="218380" y="643407"/>
                    </a:cubicBezTo>
                    <a:cubicBezTo>
                      <a:pt x="216563" y="641512"/>
                      <a:pt x="213551" y="641447"/>
                      <a:pt x="211655" y="643264"/>
                    </a:cubicBezTo>
                    <a:cubicBezTo>
                      <a:pt x="209857" y="645144"/>
                      <a:pt x="209857" y="648109"/>
                      <a:pt x="211655" y="649989"/>
                    </a:cubicBezTo>
                    <a:moveTo>
                      <a:pt x="178319" y="680035"/>
                    </a:moveTo>
                    <a:cubicBezTo>
                      <a:pt x="179988" y="681670"/>
                      <a:pt x="182658" y="681670"/>
                      <a:pt x="184328" y="680035"/>
                    </a:cubicBezTo>
                    <a:cubicBezTo>
                      <a:pt x="185948" y="678415"/>
                      <a:pt x="185948" y="675788"/>
                      <a:pt x="184328" y="674169"/>
                    </a:cubicBezTo>
                    <a:cubicBezTo>
                      <a:pt x="182658" y="672533"/>
                      <a:pt x="179987" y="672533"/>
                      <a:pt x="178319" y="674169"/>
                    </a:cubicBezTo>
                    <a:cubicBezTo>
                      <a:pt x="176755" y="675867"/>
                      <a:pt x="176755" y="678479"/>
                      <a:pt x="178319" y="680178"/>
                    </a:cubicBezTo>
                    <a:moveTo>
                      <a:pt x="145841" y="710653"/>
                    </a:moveTo>
                    <a:cubicBezTo>
                      <a:pt x="147211" y="712075"/>
                      <a:pt x="149476" y="712116"/>
                      <a:pt x="150898" y="710746"/>
                    </a:cubicBezTo>
                    <a:cubicBezTo>
                      <a:pt x="150930" y="710716"/>
                      <a:pt x="150961" y="710684"/>
                      <a:pt x="150991" y="710653"/>
                    </a:cubicBezTo>
                    <a:cubicBezTo>
                      <a:pt x="152454" y="709269"/>
                      <a:pt x="152518" y="706964"/>
                      <a:pt x="151135" y="705502"/>
                    </a:cubicBezTo>
                    <a:cubicBezTo>
                      <a:pt x="149751" y="704040"/>
                      <a:pt x="147446" y="703975"/>
                      <a:pt x="145984" y="705359"/>
                    </a:cubicBezTo>
                    <a:cubicBezTo>
                      <a:pt x="144562" y="706729"/>
                      <a:pt x="144520" y="708994"/>
                      <a:pt x="145891" y="710417"/>
                    </a:cubicBezTo>
                    <a:cubicBezTo>
                      <a:pt x="145921" y="710448"/>
                      <a:pt x="145952" y="710479"/>
                      <a:pt x="145984" y="710510"/>
                    </a:cubicBezTo>
                    <a:moveTo>
                      <a:pt x="309518" y="363124"/>
                    </a:moveTo>
                    <a:cubicBezTo>
                      <a:pt x="312639" y="366260"/>
                      <a:pt x="317712" y="366273"/>
                      <a:pt x="320850" y="363153"/>
                    </a:cubicBezTo>
                    <a:cubicBezTo>
                      <a:pt x="323986" y="360031"/>
                      <a:pt x="323999" y="354957"/>
                      <a:pt x="320877" y="351821"/>
                    </a:cubicBezTo>
                    <a:cubicBezTo>
                      <a:pt x="317757" y="348685"/>
                      <a:pt x="312683" y="348672"/>
                      <a:pt x="309547" y="351792"/>
                    </a:cubicBezTo>
                    <a:cubicBezTo>
                      <a:pt x="309537" y="351802"/>
                      <a:pt x="309528" y="351811"/>
                      <a:pt x="309518" y="351821"/>
                    </a:cubicBezTo>
                    <a:cubicBezTo>
                      <a:pt x="306408" y="354947"/>
                      <a:pt x="306408" y="359998"/>
                      <a:pt x="309518" y="363124"/>
                    </a:cubicBezTo>
                    <a:moveTo>
                      <a:pt x="277040" y="393599"/>
                    </a:moveTo>
                    <a:cubicBezTo>
                      <a:pt x="279815" y="396522"/>
                      <a:pt x="284433" y="396645"/>
                      <a:pt x="287356" y="393871"/>
                    </a:cubicBezTo>
                    <a:cubicBezTo>
                      <a:pt x="287449" y="393782"/>
                      <a:pt x="287539" y="393692"/>
                      <a:pt x="287628" y="393599"/>
                    </a:cubicBezTo>
                    <a:cubicBezTo>
                      <a:pt x="290631" y="390755"/>
                      <a:pt x="290758" y="386014"/>
                      <a:pt x="287914" y="383011"/>
                    </a:cubicBezTo>
                    <a:cubicBezTo>
                      <a:pt x="285070" y="380008"/>
                      <a:pt x="280330" y="379881"/>
                      <a:pt x="277327" y="382725"/>
                    </a:cubicBezTo>
                    <a:cubicBezTo>
                      <a:pt x="274442" y="385539"/>
                      <a:pt x="274386" y="390159"/>
                      <a:pt x="277201" y="393044"/>
                    </a:cubicBezTo>
                    <a:cubicBezTo>
                      <a:pt x="277242" y="393087"/>
                      <a:pt x="277284" y="393128"/>
                      <a:pt x="277327" y="393170"/>
                    </a:cubicBezTo>
                    <a:moveTo>
                      <a:pt x="244849" y="423788"/>
                    </a:moveTo>
                    <a:cubicBezTo>
                      <a:pt x="247564" y="426404"/>
                      <a:pt x="251862" y="426404"/>
                      <a:pt x="254578" y="423788"/>
                    </a:cubicBezTo>
                    <a:cubicBezTo>
                      <a:pt x="257303" y="421151"/>
                      <a:pt x="257376" y="416803"/>
                      <a:pt x="254739" y="414077"/>
                    </a:cubicBezTo>
                    <a:cubicBezTo>
                      <a:pt x="254686" y="414023"/>
                      <a:pt x="254632" y="413968"/>
                      <a:pt x="254578" y="413915"/>
                    </a:cubicBezTo>
                    <a:cubicBezTo>
                      <a:pt x="251862" y="411299"/>
                      <a:pt x="247564" y="411299"/>
                      <a:pt x="244849" y="413915"/>
                    </a:cubicBezTo>
                    <a:cubicBezTo>
                      <a:pt x="242123" y="416552"/>
                      <a:pt x="242050" y="420900"/>
                      <a:pt x="244687" y="423626"/>
                    </a:cubicBezTo>
                    <a:cubicBezTo>
                      <a:pt x="244740" y="423680"/>
                      <a:pt x="244794" y="423735"/>
                      <a:pt x="244849" y="423788"/>
                    </a:cubicBezTo>
                    <a:moveTo>
                      <a:pt x="211941" y="454692"/>
                    </a:moveTo>
                    <a:cubicBezTo>
                      <a:pt x="213830" y="457705"/>
                      <a:pt x="217805" y="458615"/>
                      <a:pt x="220816" y="456726"/>
                    </a:cubicBezTo>
                    <a:cubicBezTo>
                      <a:pt x="223829" y="454836"/>
                      <a:pt x="224739" y="450863"/>
                      <a:pt x="222851" y="447851"/>
                    </a:cubicBezTo>
                    <a:cubicBezTo>
                      <a:pt x="222427" y="447175"/>
                      <a:pt x="221881" y="446584"/>
                      <a:pt x="221241" y="446107"/>
                    </a:cubicBezTo>
                    <a:cubicBezTo>
                      <a:pt x="218792" y="443499"/>
                      <a:pt x="214693" y="443372"/>
                      <a:pt x="212084" y="445821"/>
                    </a:cubicBezTo>
                    <a:cubicBezTo>
                      <a:pt x="209476" y="448271"/>
                      <a:pt x="209349" y="452370"/>
                      <a:pt x="211798" y="454978"/>
                    </a:cubicBezTo>
                    <a:moveTo>
                      <a:pt x="179320" y="485453"/>
                    </a:moveTo>
                    <a:cubicBezTo>
                      <a:pt x="181532" y="487824"/>
                      <a:pt x="185248" y="487951"/>
                      <a:pt x="187619" y="485739"/>
                    </a:cubicBezTo>
                    <a:cubicBezTo>
                      <a:pt x="189989" y="483527"/>
                      <a:pt x="190117" y="479811"/>
                      <a:pt x="187905" y="477441"/>
                    </a:cubicBezTo>
                    <a:cubicBezTo>
                      <a:pt x="185727" y="475149"/>
                      <a:pt x="182106" y="475056"/>
                      <a:pt x="179814" y="477233"/>
                    </a:cubicBezTo>
                    <a:cubicBezTo>
                      <a:pt x="179742" y="477300"/>
                      <a:pt x="179674" y="477369"/>
                      <a:pt x="179606" y="477441"/>
                    </a:cubicBezTo>
                    <a:cubicBezTo>
                      <a:pt x="177314" y="479731"/>
                      <a:pt x="177314" y="483446"/>
                      <a:pt x="179604" y="485736"/>
                    </a:cubicBezTo>
                    <a:cubicBezTo>
                      <a:pt x="179605" y="485738"/>
                      <a:pt x="179605" y="485738"/>
                      <a:pt x="179606" y="485739"/>
                    </a:cubicBezTo>
                    <a:moveTo>
                      <a:pt x="147128" y="516214"/>
                    </a:moveTo>
                    <a:cubicBezTo>
                      <a:pt x="149143" y="518347"/>
                      <a:pt x="152507" y="518443"/>
                      <a:pt x="154640" y="516429"/>
                    </a:cubicBezTo>
                    <a:cubicBezTo>
                      <a:pt x="156773" y="514414"/>
                      <a:pt x="156869" y="511050"/>
                      <a:pt x="154855" y="508917"/>
                    </a:cubicBezTo>
                    <a:cubicBezTo>
                      <a:pt x="152744" y="506864"/>
                      <a:pt x="149382" y="506864"/>
                      <a:pt x="147272" y="508917"/>
                    </a:cubicBezTo>
                    <a:cubicBezTo>
                      <a:pt x="145290" y="511056"/>
                      <a:pt x="145290" y="514361"/>
                      <a:pt x="147272" y="516500"/>
                    </a:cubicBezTo>
                    <a:moveTo>
                      <a:pt x="114507" y="546260"/>
                    </a:moveTo>
                    <a:cubicBezTo>
                      <a:pt x="116365" y="548091"/>
                      <a:pt x="119353" y="548070"/>
                      <a:pt x="121185" y="546212"/>
                    </a:cubicBezTo>
                    <a:cubicBezTo>
                      <a:pt x="123015" y="544355"/>
                      <a:pt x="122993" y="541367"/>
                      <a:pt x="121137" y="539535"/>
                    </a:cubicBezTo>
                    <a:cubicBezTo>
                      <a:pt x="119299" y="537722"/>
                      <a:pt x="116346" y="537722"/>
                      <a:pt x="114507" y="539535"/>
                    </a:cubicBezTo>
                    <a:cubicBezTo>
                      <a:pt x="112650" y="541367"/>
                      <a:pt x="112629" y="544355"/>
                      <a:pt x="114460" y="546212"/>
                    </a:cubicBezTo>
                    <a:cubicBezTo>
                      <a:pt x="114476" y="546228"/>
                      <a:pt x="114492" y="546244"/>
                      <a:pt x="114507" y="546260"/>
                    </a:cubicBezTo>
                    <a:moveTo>
                      <a:pt x="81886" y="576735"/>
                    </a:moveTo>
                    <a:cubicBezTo>
                      <a:pt x="83546" y="578427"/>
                      <a:pt x="86263" y="578454"/>
                      <a:pt x="87956" y="576795"/>
                    </a:cubicBezTo>
                    <a:cubicBezTo>
                      <a:pt x="89650" y="575137"/>
                      <a:pt x="89677" y="572418"/>
                      <a:pt x="88017" y="570725"/>
                    </a:cubicBezTo>
                    <a:cubicBezTo>
                      <a:pt x="86357" y="569033"/>
                      <a:pt x="83640" y="569006"/>
                      <a:pt x="81946" y="570665"/>
                    </a:cubicBezTo>
                    <a:cubicBezTo>
                      <a:pt x="81926" y="570685"/>
                      <a:pt x="81906" y="570705"/>
                      <a:pt x="81886" y="570725"/>
                    </a:cubicBezTo>
                    <a:cubicBezTo>
                      <a:pt x="80251" y="572394"/>
                      <a:pt x="80251" y="575065"/>
                      <a:pt x="81886" y="576735"/>
                    </a:cubicBezTo>
                    <a:moveTo>
                      <a:pt x="49551" y="607066"/>
                    </a:moveTo>
                    <a:cubicBezTo>
                      <a:pt x="50922" y="608489"/>
                      <a:pt x="53187" y="608530"/>
                      <a:pt x="54609" y="607159"/>
                    </a:cubicBezTo>
                    <a:cubicBezTo>
                      <a:pt x="54641" y="607129"/>
                      <a:pt x="54672" y="607098"/>
                      <a:pt x="54702" y="607066"/>
                    </a:cubicBezTo>
                    <a:cubicBezTo>
                      <a:pt x="56124" y="605696"/>
                      <a:pt x="56166" y="603431"/>
                      <a:pt x="54795" y="602009"/>
                    </a:cubicBezTo>
                    <a:cubicBezTo>
                      <a:pt x="54765" y="601977"/>
                      <a:pt x="54734" y="601946"/>
                      <a:pt x="54702" y="601916"/>
                    </a:cubicBezTo>
                    <a:cubicBezTo>
                      <a:pt x="53331" y="600494"/>
                      <a:pt x="51067" y="600452"/>
                      <a:pt x="49644" y="601823"/>
                    </a:cubicBezTo>
                    <a:cubicBezTo>
                      <a:pt x="49613" y="601853"/>
                      <a:pt x="49582" y="601884"/>
                      <a:pt x="49551" y="601916"/>
                    </a:cubicBezTo>
                    <a:cubicBezTo>
                      <a:pt x="48152" y="603402"/>
                      <a:pt x="48152" y="605723"/>
                      <a:pt x="49551" y="607210"/>
                    </a:cubicBezTo>
                    <a:moveTo>
                      <a:pt x="17073" y="637684"/>
                    </a:moveTo>
                    <a:cubicBezTo>
                      <a:pt x="18301" y="638903"/>
                      <a:pt x="20281" y="638903"/>
                      <a:pt x="21509" y="637684"/>
                    </a:cubicBezTo>
                    <a:cubicBezTo>
                      <a:pt x="22655" y="636428"/>
                      <a:pt x="22655" y="634505"/>
                      <a:pt x="21509" y="633249"/>
                    </a:cubicBezTo>
                    <a:cubicBezTo>
                      <a:pt x="20281" y="632030"/>
                      <a:pt x="18301" y="632030"/>
                      <a:pt x="17073" y="633249"/>
                    </a:cubicBezTo>
                    <a:cubicBezTo>
                      <a:pt x="15849" y="634369"/>
                      <a:pt x="15763" y="636269"/>
                      <a:pt x="16883" y="637494"/>
                    </a:cubicBezTo>
                    <a:cubicBezTo>
                      <a:pt x="16943" y="637560"/>
                      <a:pt x="17008" y="637624"/>
                      <a:pt x="17073" y="637684"/>
                    </a:cubicBezTo>
                    <a:moveTo>
                      <a:pt x="328977" y="383870"/>
                    </a:moveTo>
                    <a:cubicBezTo>
                      <a:pt x="332103" y="386980"/>
                      <a:pt x="337153" y="386980"/>
                      <a:pt x="340279" y="383870"/>
                    </a:cubicBezTo>
                    <a:cubicBezTo>
                      <a:pt x="343407" y="380695"/>
                      <a:pt x="343407" y="375599"/>
                      <a:pt x="340279" y="372424"/>
                    </a:cubicBezTo>
                    <a:cubicBezTo>
                      <a:pt x="337075" y="369372"/>
                      <a:pt x="332038" y="369372"/>
                      <a:pt x="328833" y="372424"/>
                    </a:cubicBezTo>
                    <a:cubicBezTo>
                      <a:pt x="325723" y="375550"/>
                      <a:pt x="325723" y="380601"/>
                      <a:pt x="328833" y="383727"/>
                    </a:cubicBezTo>
                    <a:moveTo>
                      <a:pt x="296212" y="414202"/>
                    </a:moveTo>
                    <a:cubicBezTo>
                      <a:pt x="299100" y="417125"/>
                      <a:pt x="303810" y="417155"/>
                      <a:pt x="306734" y="414267"/>
                    </a:cubicBezTo>
                    <a:cubicBezTo>
                      <a:pt x="306756" y="414246"/>
                      <a:pt x="306778" y="414225"/>
                      <a:pt x="306800" y="414202"/>
                    </a:cubicBezTo>
                    <a:cubicBezTo>
                      <a:pt x="309803" y="411396"/>
                      <a:pt x="309963" y="406689"/>
                      <a:pt x="307158" y="403686"/>
                    </a:cubicBezTo>
                    <a:cubicBezTo>
                      <a:pt x="304352" y="400682"/>
                      <a:pt x="299645" y="400522"/>
                      <a:pt x="296642" y="403328"/>
                    </a:cubicBezTo>
                    <a:cubicBezTo>
                      <a:pt x="293770" y="406272"/>
                      <a:pt x="293770" y="410971"/>
                      <a:pt x="296642" y="413915"/>
                    </a:cubicBezTo>
                    <a:moveTo>
                      <a:pt x="264164" y="444820"/>
                    </a:moveTo>
                    <a:cubicBezTo>
                      <a:pt x="266801" y="447545"/>
                      <a:pt x="271149" y="447618"/>
                      <a:pt x="273874" y="444981"/>
                    </a:cubicBezTo>
                    <a:cubicBezTo>
                      <a:pt x="273928" y="444928"/>
                      <a:pt x="273983" y="444874"/>
                      <a:pt x="274036" y="444820"/>
                    </a:cubicBezTo>
                    <a:cubicBezTo>
                      <a:pt x="276653" y="442104"/>
                      <a:pt x="276653" y="437806"/>
                      <a:pt x="274036" y="435091"/>
                    </a:cubicBezTo>
                    <a:cubicBezTo>
                      <a:pt x="271399" y="432365"/>
                      <a:pt x="267051" y="432292"/>
                      <a:pt x="264325" y="434929"/>
                    </a:cubicBezTo>
                    <a:cubicBezTo>
                      <a:pt x="264271" y="434982"/>
                      <a:pt x="264217" y="435036"/>
                      <a:pt x="264164" y="435091"/>
                    </a:cubicBezTo>
                    <a:cubicBezTo>
                      <a:pt x="261547" y="437806"/>
                      <a:pt x="261547" y="442104"/>
                      <a:pt x="264164" y="444820"/>
                    </a:cubicBezTo>
                    <a:moveTo>
                      <a:pt x="231400" y="474722"/>
                    </a:moveTo>
                    <a:cubicBezTo>
                      <a:pt x="233889" y="477262"/>
                      <a:pt x="237965" y="477302"/>
                      <a:pt x="240505" y="474814"/>
                    </a:cubicBezTo>
                    <a:cubicBezTo>
                      <a:pt x="243043" y="472324"/>
                      <a:pt x="243084" y="468248"/>
                      <a:pt x="240595" y="465709"/>
                    </a:cubicBezTo>
                    <a:cubicBezTo>
                      <a:pt x="238107" y="463169"/>
                      <a:pt x="234029" y="463129"/>
                      <a:pt x="231491" y="465617"/>
                    </a:cubicBezTo>
                    <a:cubicBezTo>
                      <a:pt x="231460" y="465647"/>
                      <a:pt x="231430" y="465679"/>
                      <a:pt x="231400" y="465709"/>
                    </a:cubicBezTo>
                    <a:cubicBezTo>
                      <a:pt x="228910" y="468137"/>
                      <a:pt x="228860" y="472121"/>
                      <a:pt x="231288" y="474611"/>
                    </a:cubicBezTo>
                    <a:cubicBezTo>
                      <a:pt x="231325" y="474648"/>
                      <a:pt x="231362" y="474685"/>
                      <a:pt x="231400" y="474722"/>
                    </a:cubicBezTo>
                    <a:moveTo>
                      <a:pt x="198922" y="505197"/>
                    </a:moveTo>
                    <a:cubicBezTo>
                      <a:pt x="201025" y="507449"/>
                      <a:pt x="204556" y="507569"/>
                      <a:pt x="206808" y="505466"/>
                    </a:cubicBezTo>
                    <a:cubicBezTo>
                      <a:pt x="206901" y="505379"/>
                      <a:pt x="206991" y="505290"/>
                      <a:pt x="207077" y="505197"/>
                    </a:cubicBezTo>
                    <a:cubicBezTo>
                      <a:pt x="209369" y="503020"/>
                      <a:pt x="209462" y="499398"/>
                      <a:pt x="207284" y="497106"/>
                    </a:cubicBezTo>
                    <a:cubicBezTo>
                      <a:pt x="207217" y="497035"/>
                      <a:pt x="207148" y="496966"/>
                      <a:pt x="207077" y="496899"/>
                    </a:cubicBezTo>
                    <a:cubicBezTo>
                      <a:pt x="204803" y="494700"/>
                      <a:pt x="201195" y="494700"/>
                      <a:pt x="198922" y="496899"/>
                    </a:cubicBezTo>
                    <a:cubicBezTo>
                      <a:pt x="196629" y="499076"/>
                      <a:pt x="196536" y="502698"/>
                      <a:pt x="198714" y="504990"/>
                    </a:cubicBezTo>
                    <a:cubicBezTo>
                      <a:pt x="198781" y="505061"/>
                      <a:pt x="198850" y="505130"/>
                      <a:pt x="198922" y="505197"/>
                    </a:cubicBezTo>
                    <a:moveTo>
                      <a:pt x="166300" y="536244"/>
                    </a:moveTo>
                    <a:cubicBezTo>
                      <a:pt x="168411" y="538298"/>
                      <a:pt x="171773" y="538298"/>
                      <a:pt x="173883" y="536244"/>
                    </a:cubicBezTo>
                    <a:cubicBezTo>
                      <a:pt x="175919" y="534183"/>
                      <a:pt x="175919" y="530866"/>
                      <a:pt x="173883" y="528805"/>
                    </a:cubicBezTo>
                    <a:cubicBezTo>
                      <a:pt x="171773" y="526751"/>
                      <a:pt x="168411" y="526751"/>
                      <a:pt x="166300" y="528805"/>
                    </a:cubicBezTo>
                    <a:cubicBezTo>
                      <a:pt x="164265" y="530866"/>
                      <a:pt x="164265" y="534183"/>
                      <a:pt x="166300" y="536244"/>
                    </a:cubicBezTo>
                    <a:moveTo>
                      <a:pt x="133822" y="566719"/>
                    </a:moveTo>
                    <a:cubicBezTo>
                      <a:pt x="135680" y="568551"/>
                      <a:pt x="138668" y="568529"/>
                      <a:pt x="140500" y="566672"/>
                    </a:cubicBezTo>
                    <a:cubicBezTo>
                      <a:pt x="142330" y="564815"/>
                      <a:pt x="142308" y="561826"/>
                      <a:pt x="140453" y="559995"/>
                    </a:cubicBezTo>
                    <a:cubicBezTo>
                      <a:pt x="138614" y="558182"/>
                      <a:pt x="135661" y="558182"/>
                      <a:pt x="133822" y="559995"/>
                    </a:cubicBezTo>
                    <a:cubicBezTo>
                      <a:pt x="131965" y="561826"/>
                      <a:pt x="131944" y="564815"/>
                      <a:pt x="133775" y="566672"/>
                    </a:cubicBezTo>
                    <a:cubicBezTo>
                      <a:pt x="133791" y="566688"/>
                      <a:pt x="133807" y="566704"/>
                      <a:pt x="133822" y="566719"/>
                    </a:cubicBezTo>
                    <a:moveTo>
                      <a:pt x="101345" y="597194"/>
                    </a:moveTo>
                    <a:cubicBezTo>
                      <a:pt x="103014" y="598830"/>
                      <a:pt x="105684" y="598830"/>
                      <a:pt x="107354" y="597194"/>
                    </a:cubicBezTo>
                    <a:cubicBezTo>
                      <a:pt x="108917" y="595496"/>
                      <a:pt x="108917" y="592883"/>
                      <a:pt x="107354" y="591185"/>
                    </a:cubicBezTo>
                    <a:cubicBezTo>
                      <a:pt x="105684" y="589550"/>
                      <a:pt x="103013" y="589550"/>
                      <a:pt x="101345" y="591185"/>
                    </a:cubicBezTo>
                    <a:cubicBezTo>
                      <a:pt x="99725" y="592805"/>
                      <a:pt x="99725" y="595432"/>
                      <a:pt x="101345" y="597051"/>
                    </a:cubicBezTo>
                    <a:moveTo>
                      <a:pt x="68867" y="627526"/>
                    </a:moveTo>
                    <a:cubicBezTo>
                      <a:pt x="70237" y="628948"/>
                      <a:pt x="72502" y="628990"/>
                      <a:pt x="73924" y="627619"/>
                    </a:cubicBezTo>
                    <a:cubicBezTo>
                      <a:pt x="73956" y="627589"/>
                      <a:pt x="73987" y="627558"/>
                      <a:pt x="74017" y="627526"/>
                    </a:cubicBezTo>
                    <a:cubicBezTo>
                      <a:pt x="75417" y="626038"/>
                      <a:pt x="75417" y="623719"/>
                      <a:pt x="74017" y="622232"/>
                    </a:cubicBezTo>
                    <a:cubicBezTo>
                      <a:pt x="72647" y="620810"/>
                      <a:pt x="70382" y="620769"/>
                      <a:pt x="68960" y="622139"/>
                    </a:cubicBezTo>
                    <a:cubicBezTo>
                      <a:pt x="68928" y="622169"/>
                      <a:pt x="68897" y="622201"/>
                      <a:pt x="68867" y="622232"/>
                    </a:cubicBezTo>
                    <a:cubicBezTo>
                      <a:pt x="67444" y="623603"/>
                      <a:pt x="67403" y="625868"/>
                      <a:pt x="68774" y="627290"/>
                    </a:cubicBezTo>
                    <a:cubicBezTo>
                      <a:pt x="68804" y="627322"/>
                      <a:pt x="68835" y="627353"/>
                      <a:pt x="68867" y="627383"/>
                    </a:cubicBezTo>
                    <a:moveTo>
                      <a:pt x="36245" y="658001"/>
                    </a:moveTo>
                    <a:cubicBezTo>
                      <a:pt x="37473" y="659220"/>
                      <a:pt x="39453" y="659220"/>
                      <a:pt x="40681" y="658001"/>
                    </a:cubicBezTo>
                    <a:cubicBezTo>
                      <a:pt x="41865" y="656839"/>
                      <a:pt x="41885" y="654938"/>
                      <a:pt x="40724" y="653752"/>
                    </a:cubicBezTo>
                    <a:cubicBezTo>
                      <a:pt x="40709" y="653737"/>
                      <a:pt x="40695" y="653723"/>
                      <a:pt x="40681" y="653709"/>
                    </a:cubicBezTo>
                    <a:cubicBezTo>
                      <a:pt x="39562" y="652484"/>
                      <a:pt x="37660" y="652398"/>
                      <a:pt x="36436" y="653519"/>
                    </a:cubicBezTo>
                    <a:cubicBezTo>
                      <a:pt x="36370" y="653579"/>
                      <a:pt x="36306" y="653643"/>
                      <a:pt x="36245" y="653709"/>
                    </a:cubicBezTo>
                    <a:cubicBezTo>
                      <a:pt x="35026" y="654936"/>
                      <a:pt x="35026" y="656917"/>
                      <a:pt x="36245" y="658144"/>
                    </a:cubicBezTo>
                    <a:moveTo>
                      <a:pt x="348292" y="404616"/>
                    </a:moveTo>
                    <a:cubicBezTo>
                      <a:pt x="351497" y="407667"/>
                      <a:pt x="356533" y="407667"/>
                      <a:pt x="359738" y="404616"/>
                    </a:cubicBezTo>
                    <a:cubicBezTo>
                      <a:pt x="362848" y="401489"/>
                      <a:pt x="362848" y="396439"/>
                      <a:pt x="359738" y="393313"/>
                    </a:cubicBezTo>
                    <a:cubicBezTo>
                      <a:pt x="356611" y="390202"/>
                      <a:pt x="351561" y="390202"/>
                      <a:pt x="348435" y="393313"/>
                    </a:cubicBezTo>
                    <a:cubicBezTo>
                      <a:pt x="345307" y="396488"/>
                      <a:pt x="345307" y="401584"/>
                      <a:pt x="348435" y="404759"/>
                    </a:cubicBezTo>
                    <a:moveTo>
                      <a:pt x="315957" y="435234"/>
                    </a:moveTo>
                    <a:cubicBezTo>
                      <a:pt x="318880" y="438121"/>
                      <a:pt x="323591" y="438091"/>
                      <a:pt x="326478" y="435168"/>
                    </a:cubicBezTo>
                    <a:cubicBezTo>
                      <a:pt x="329366" y="432243"/>
                      <a:pt x="329336" y="427533"/>
                      <a:pt x="326413" y="424646"/>
                    </a:cubicBezTo>
                    <a:cubicBezTo>
                      <a:pt x="323514" y="421785"/>
                      <a:pt x="318854" y="421785"/>
                      <a:pt x="315957" y="424646"/>
                    </a:cubicBezTo>
                    <a:cubicBezTo>
                      <a:pt x="313034" y="427533"/>
                      <a:pt x="313004" y="432243"/>
                      <a:pt x="315891" y="435168"/>
                    </a:cubicBezTo>
                    <a:cubicBezTo>
                      <a:pt x="315912" y="435189"/>
                      <a:pt x="315934" y="435212"/>
                      <a:pt x="315957" y="435234"/>
                    </a:cubicBezTo>
                    <a:moveTo>
                      <a:pt x="283479" y="465709"/>
                    </a:moveTo>
                    <a:cubicBezTo>
                      <a:pt x="286373" y="468281"/>
                      <a:pt x="290804" y="468019"/>
                      <a:pt x="293377" y="465125"/>
                    </a:cubicBezTo>
                    <a:cubicBezTo>
                      <a:pt x="295634" y="462584"/>
                      <a:pt x="295743" y="458789"/>
                      <a:pt x="293637" y="456123"/>
                    </a:cubicBezTo>
                    <a:cubicBezTo>
                      <a:pt x="290873" y="453489"/>
                      <a:pt x="286528" y="453489"/>
                      <a:pt x="283765" y="456123"/>
                    </a:cubicBezTo>
                    <a:cubicBezTo>
                      <a:pt x="281039" y="458759"/>
                      <a:pt x="280966" y="463107"/>
                      <a:pt x="283603" y="465833"/>
                    </a:cubicBezTo>
                    <a:cubicBezTo>
                      <a:pt x="283656" y="465887"/>
                      <a:pt x="283711" y="465942"/>
                      <a:pt x="283765" y="465995"/>
                    </a:cubicBezTo>
                    <a:moveTo>
                      <a:pt x="251287" y="496470"/>
                    </a:moveTo>
                    <a:cubicBezTo>
                      <a:pt x="253776" y="499009"/>
                      <a:pt x="257853" y="499049"/>
                      <a:pt x="260392" y="496561"/>
                    </a:cubicBezTo>
                    <a:cubicBezTo>
                      <a:pt x="262930" y="494072"/>
                      <a:pt x="262972" y="489996"/>
                      <a:pt x="260482" y="487456"/>
                    </a:cubicBezTo>
                    <a:cubicBezTo>
                      <a:pt x="257994" y="484916"/>
                      <a:pt x="253917" y="484876"/>
                      <a:pt x="251378" y="487364"/>
                    </a:cubicBezTo>
                    <a:cubicBezTo>
                      <a:pt x="251347" y="487394"/>
                      <a:pt x="251317" y="487426"/>
                      <a:pt x="251287" y="487456"/>
                    </a:cubicBezTo>
                    <a:cubicBezTo>
                      <a:pt x="248797" y="489884"/>
                      <a:pt x="248747" y="493869"/>
                      <a:pt x="251175" y="496358"/>
                    </a:cubicBezTo>
                    <a:cubicBezTo>
                      <a:pt x="251213" y="496395"/>
                      <a:pt x="251250" y="496432"/>
                      <a:pt x="251287" y="496470"/>
                    </a:cubicBezTo>
                    <a:moveTo>
                      <a:pt x="218666" y="526945"/>
                    </a:moveTo>
                    <a:cubicBezTo>
                      <a:pt x="220988" y="529161"/>
                      <a:pt x="224642" y="529161"/>
                      <a:pt x="226964" y="526945"/>
                    </a:cubicBezTo>
                    <a:cubicBezTo>
                      <a:pt x="229335" y="524733"/>
                      <a:pt x="229462" y="521017"/>
                      <a:pt x="227250" y="518646"/>
                    </a:cubicBezTo>
                    <a:cubicBezTo>
                      <a:pt x="225038" y="516275"/>
                      <a:pt x="221323" y="516148"/>
                      <a:pt x="218952" y="518360"/>
                    </a:cubicBezTo>
                    <a:cubicBezTo>
                      <a:pt x="216736" y="520682"/>
                      <a:pt x="216736" y="524336"/>
                      <a:pt x="218952" y="526658"/>
                    </a:cubicBezTo>
                    <a:moveTo>
                      <a:pt x="186474" y="557133"/>
                    </a:moveTo>
                    <a:cubicBezTo>
                      <a:pt x="188536" y="559169"/>
                      <a:pt x="191852" y="559169"/>
                      <a:pt x="193914" y="557133"/>
                    </a:cubicBezTo>
                    <a:cubicBezTo>
                      <a:pt x="195967" y="555023"/>
                      <a:pt x="195967" y="551661"/>
                      <a:pt x="193914" y="549550"/>
                    </a:cubicBezTo>
                    <a:cubicBezTo>
                      <a:pt x="191852" y="547514"/>
                      <a:pt x="188536" y="547514"/>
                      <a:pt x="186474" y="549550"/>
                    </a:cubicBezTo>
                    <a:cubicBezTo>
                      <a:pt x="184421" y="551661"/>
                      <a:pt x="184421" y="555023"/>
                      <a:pt x="186474" y="557133"/>
                    </a:cubicBezTo>
                    <a:moveTo>
                      <a:pt x="153996" y="587608"/>
                    </a:moveTo>
                    <a:cubicBezTo>
                      <a:pt x="155853" y="589440"/>
                      <a:pt x="158842" y="589418"/>
                      <a:pt x="160673" y="587561"/>
                    </a:cubicBezTo>
                    <a:cubicBezTo>
                      <a:pt x="162503" y="585704"/>
                      <a:pt x="162482" y="582715"/>
                      <a:pt x="160626" y="580884"/>
                    </a:cubicBezTo>
                    <a:cubicBezTo>
                      <a:pt x="158788" y="579071"/>
                      <a:pt x="155835" y="579071"/>
                      <a:pt x="153996" y="580884"/>
                    </a:cubicBezTo>
                    <a:cubicBezTo>
                      <a:pt x="152139" y="582715"/>
                      <a:pt x="152117" y="585704"/>
                      <a:pt x="153949" y="587561"/>
                    </a:cubicBezTo>
                    <a:cubicBezTo>
                      <a:pt x="153965" y="587577"/>
                      <a:pt x="153980" y="587593"/>
                      <a:pt x="153996" y="587608"/>
                    </a:cubicBezTo>
                    <a:moveTo>
                      <a:pt x="121089" y="617797"/>
                    </a:moveTo>
                    <a:cubicBezTo>
                      <a:pt x="122670" y="619457"/>
                      <a:pt x="125295" y="619521"/>
                      <a:pt x="126955" y="617940"/>
                    </a:cubicBezTo>
                    <a:cubicBezTo>
                      <a:pt x="127004" y="617894"/>
                      <a:pt x="127051" y="617846"/>
                      <a:pt x="127098" y="617797"/>
                    </a:cubicBezTo>
                    <a:cubicBezTo>
                      <a:pt x="128718" y="616290"/>
                      <a:pt x="128809" y="613755"/>
                      <a:pt x="127303" y="612136"/>
                    </a:cubicBezTo>
                    <a:cubicBezTo>
                      <a:pt x="127237" y="612064"/>
                      <a:pt x="127168" y="611997"/>
                      <a:pt x="127098" y="611931"/>
                    </a:cubicBezTo>
                    <a:cubicBezTo>
                      <a:pt x="125478" y="610311"/>
                      <a:pt x="122852" y="610311"/>
                      <a:pt x="121232" y="611931"/>
                    </a:cubicBezTo>
                    <a:cubicBezTo>
                      <a:pt x="119647" y="613543"/>
                      <a:pt x="119584" y="616109"/>
                      <a:pt x="121089" y="617797"/>
                    </a:cubicBezTo>
                    <a:moveTo>
                      <a:pt x="88182" y="648415"/>
                    </a:moveTo>
                    <a:cubicBezTo>
                      <a:pt x="89737" y="649759"/>
                      <a:pt x="92086" y="649587"/>
                      <a:pt x="93428" y="648032"/>
                    </a:cubicBezTo>
                    <a:cubicBezTo>
                      <a:pt x="94560" y="646722"/>
                      <a:pt x="94639" y="644805"/>
                      <a:pt x="93619" y="643407"/>
                    </a:cubicBezTo>
                    <a:cubicBezTo>
                      <a:pt x="92132" y="642008"/>
                      <a:pt x="89813" y="642008"/>
                      <a:pt x="88325" y="643407"/>
                    </a:cubicBezTo>
                    <a:cubicBezTo>
                      <a:pt x="86903" y="644778"/>
                      <a:pt x="86861" y="647043"/>
                      <a:pt x="88232" y="648465"/>
                    </a:cubicBezTo>
                    <a:cubicBezTo>
                      <a:pt x="88262" y="648497"/>
                      <a:pt x="88293" y="648528"/>
                      <a:pt x="88325" y="648558"/>
                    </a:cubicBezTo>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nvGrpSpPr>
            <p:cNvPr id="123" name="Group 122">
              <a:extLst>
                <a:ext uri="{FF2B5EF4-FFF2-40B4-BE49-F238E27FC236}">
                  <a16:creationId xmlns:a16="http://schemas.microsoft.com/office/drawing/2014/main" id="{0B4DF7C2-EDE5-4A8A-97D0-9FFE1339DAC0}"/>
                </a:ext>
              </a:extLst>
            </p:cNvPr>
            <p:cNvGrpSpPr/>
            <p:nvPr/>
          </p:nvGrpSpPr>
          <p:grpSpPr>
            <a:xfrm>
              <a:off x="4920252" y="4617286"/>
              <a:ext cx="2244758" cy="840924"/>
              <a:chOff x="4832317" y="4492648"/>
              <a:chExt cx="2424911" cy="908412"/>
            </a:xfrm>
          </p:grpSpPr>
          <p:grpSp>
            <p:nvGrpSpPr>
              <p:cNvPr id="124" name="Group 123">
                <a:extLst>
                  <a:ext uri="{FF2B5EF4-FFF2-40B4-BE49-F238E27FC236}">
                    <a16:creationId xmlns:a16="http://schemas.microsoft.com/office/drawing/2014/main" id="{75C3D90E-4C77-4E8F-8F30-C0511E02CC71}"/>
                  </a:ext>
                </a:extLst>
              </p:cNvPr>
              <p:cNvGrpSpPr/>
              <p:nvPr/>
            </p:nvGrpSpPr>
            <p:grpSpPr>
              <a:xfrm flipH="1">
                <a:off x="4875721" y="4652916"/>
                <a:ext cx="1955997" cy="740542"/>
                <a:chOff x="3440113" y="5662613"/>
                <a:chExt cx="769938" cy="292100"/>
              </a:xfrm>
            </p:grpSpPr>
            <p:sp>
              <p:nvSpPr>
                <p:cNvPr id="129" name="Freeform 84">
                  <a:extLst>
                    <a:ext uri="{FF2B5EF4-FFF2-40B4-BE49-F238E27FC236}">
                      <a16:creationId xmlns:a16="http://schemas.microsoft.com/office/drawing/2014/main" id="{5D9E82B8-734E-4BCD-B257-FF5A8BC03123}"/>
                    </a:ext>
                  </a:extLst>
                </p:cNvPr>
                <p:cNvSpPr>
                  <a:spLocks/>
                </p:cNvSpPr>
                <p:nvPr/>
              </p:nvSpPr>
              <p:spPr bwMode="auto">
                <a:xfrm>
                  <a:off x="3440113" y="566261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4 h 46"/>
                    <a:gd name="T46" fmla="*/ 355 w 358"/>
                    <a:gd name="T47" fmla="*/ 41 h 46"/>
                    <a:gd name="T48" fmla="*/ 342 w 358"/>
                    <a:gd name="T49" fmla="*/ 36 h 46"/>
                    <a:gd name="T50" fmla="*/ 327 w 358"/>
                    <a:gd name="T51" fmla="*/ 14 h 46"/>
                    <a:gd name="T52" fmla="*/ 305 w 358"/>
                    <a:gd name="T53" fmla="*/ 1 h 46"/>
                    <a:gd name="T54" fmla="*/ 288 w 358"/>
                    <a:gd name="T55" fmla="*/ 8 h 46"/>
                    <a:gd name="T56" fmla="*/ 273 w 358"/>
                    <a:gd name="T57" fmla="*/ 30 h 46"/>
                    <a:gd name="T58" fmla="*/ 254 w 358"/>
                    <a:gd name="T59" fmla="*/ 41 h 46"/>
                    <a:gd name="T60" fmla="*/ 241 w 358"/>
                    <a:gd name="T61" fmla="*/ 36 h 46"/>
                    <a:gd name="T62" fmla="*/ 226 w 358"/>
                    <a:gd name="T63" fmla="*/ 14 h 46"/>
                    <a:gd name="T64" fmla="*/ 204 w 358"/>
                    <a:gd name="T65" fmla="*/ 1 h 46"/>
                    <a:gd name="T66" fmla="*/ 187 w 358"/>
                    <a:gd name="T67" fmla="*/ 8 h 46"/>
                    <a:gd name="T68" fmla="*/ 172 w 358"/>
                    <a:gd name="T69" fmla="*/ 30 h 46"/>
                    <a:gd name="T70" fmla="*/ 154 w 358"/>
                    <a:gd name="T71" fmla="*/ 41 h 46"/>
                    <a:gd name="T72" fmla="*/ 140 w 358"/>
                    <a:gd name="T73" fmla="*/ 36 h 46"/>
                    <a:gd name="T74" fmla="*/ 126 w 358"/>
                    <a:gd name="T75" fmla="*/ 14 h 46"/>
                    <a:gd name="T76" fmla="*/ 103 w 358"/>
                    <a:gd name="T77" fmla="*/ 1 h 46"/>
                    <a:gd name="T78" fmla="*/ 87 w 358"/>
                    <a:gd name="T79" fmla="*/ 8 h 46"/>
                    <a:gd name="T80" fmla="*/ 72 w 358"/>
                    <a:gd name="T81" fmla="*/ 30 h 46"/>
                    <a:gd name="T82" fmla="*/ 53 w 358"/>
                    <a:gd name="T83" fmla="*/ 41 h 46"/>
                    <a:gd name="T84" fmla="*/ 40 w 358"/>
                    <a:gd name="T85" fmla="*/ 36 h 46"/>
                    <a:gd name="T86" fmla="*/ 25 w 358"/>
                    <a:gd name="T87" fmla="*/ 14 h 46"/>
                    <a:gd name="T88" fmla="*/ 3 w 358"/>
                    <a:gd name="T89" fmla="*/ 1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5"/>
                        <a:pt x="31" y="32"/>
                      </a:cubicBezTo>
                      <a:cubicBezTo>
                        <a:pt x="36" y="40"/>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5"/>
                        <a:pt x="131" y="32"/>
                      </a:cubicBezTo>
                      <a:cubicBezTo>
                        <a:pt x="137" y="40"/>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5"/>
                        <a:pt x="232" y="32"/>
                      </a:cubicBezTo>
                      <a:cubicBezTo>
                        <a:pt x="237" y="40"/>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5"/>
                        <a:pt x="333" y="32"/>
                      </a:cubicBezTo>
                      <a:cubicBezTo>
                        <a:pt x="338" y="40"/>
                        <a:pt x="345" y="46"/>
                        <a:pt x="355" y="46"/>
                      </a:cubicBezTo>
                      <a:cubicBezTo>
                        <a:pt x="356" y="46"/>
                        <a:pt x="358" y="45"/>
                        <a:pt x="358" y="44"/>
                      </a:cubicBezTo>
                      <a:cubicBezTo>
                        <a:pt x="358" y="43"/>
                        <a:pt x="356" y="41"/>
                        <a:pt x="355" y="41"/>
                      </a:cubicBezTo>
                      <a:cubicBezTo>
                        <a:pt x="350" y="41"/>
                        <a:pt x="346" y="39"/>
                        <a:pt x="342" y="36"/>
                      </a:cubicBezTo>
                      <a:cubicBezTo>
                        <a:pt x="336" y="30"/>
                        <a:pt x="332" y="22"/>
                        <a:pt x="327" y="14"/>
                      </a:cubicBezTo>
                      <a:cubicBezTo>
                        <a:pt x="322" y="7"/>
                        <a:pt x="315" y="0"/>
                        <a:pt x="305" y="1"/>
                      </a:cubicBezTo>
                      <a:cubicBezTo>
                        <a:pt x="298" y="0"/>
                        <a:pt x="292" y="3"/>
                        <a:pt x="288" y="8"/>
                      </a:cubicBezTo>
                      <a:cubicBezTo>
                        <a:pt x="282" y="14"/>
                        <a:pt x="278" y="23"/>
                        <a:pt x="273" y="30"/>
                      </a:cubicBezTo>
                      <a:cubicBezTo>
                        <a:pt x="268" y="37"/>
                        <a:pt x="263" y="41"/>
                        <a:pt x="254" y="41"/>
                      </a:cubicBezTo>
                      <a:cubicBezTo>
                        <a:pt x="249" y="41"/>
                        <a:pt x="245" y="39"/>
                        <a:pt x="241" y="36"/>
                      </a:cubicBezTo>
                      <a:cubicBezTo>
                        <a:pt x="236" y="30"/>
                        <a:pt x="232" y="22"/>
                        <a:pt x="226" y="14"/>
                      </a:cubicBezTo>
                      <a:cubicBezTo>
                        <a:pt x="221" y="7"/>
                        <a:pt x="215" y="0"/>
                        <a:pt x="204" y="1"/>
                      </a:cubicBezTo>
                      <a:cubicBezTo>
                        <a:pt x="197" y="0"/>
                        <a:pt x="192" y="3"/>
                        <a:pt x="187" y="8"/>
                      </a:cubicBezTo>
                      <a:cubicBezTo>
                        <a:pt x="181" y="14"/>
                        <a:pt x="177" y="23"/>
                        <a:pt x="172" y="30"/>
                      </a:cubicBezTo>
                      <a:cubicBezTo>
                        <a:pt x="167" y="37"/>
                        <a:pt x="162" y="41"/>
                        <a:pt x="154" y="41"/>
                      </a:cubicBezTo>
                      <a:cubicBezTo>
                        <a:pt x="148" y="41"/>
                        <a:pt x="144" y="39"/>
                        <a:pt x="140" y="36"/>
                      </a:cubicBezTo>
                      <a:cubicBezTo>
                        <a:pt x="135" y="30"/>
                        <a:pt x="131" y="22"/>
                        <a:pt x="126" y="14"/>
                      </a:cubicBezTo>
                      <a:cubicBezTo>
                        <a:pt x="121" y="7"/>
                        <a:pt x="114" y="0"/>
                        <a:pt x="103" y="1"/>
                      </a:cubicBezTo>
                      <a:cubicBezTo>
                        <a:pt x="96" y="0"/>
                        <a:pt x="91" y="3"/>
                        <a:pt x="87" y="8"/>
                      </a:cubicBezTo>
                      <a:cubicBezTo>
                        <a:pt x="81" y="14"/>
                        <a:pt x="76" y="23"/>
                        <a:pt x="72" y="30"/>
                      </a:cubicBezTo>
                      <a:cubicBezTo>
                        <a:pt x="67" y="37"/>
                        <a:pt x="61" y="41"/>
                        <a:pt x="53" y="41"/>
                      </a:cubicBezTo>
                      <a:cubicBezTo>
                        <a:pt x="48" y="41"/>
                        <a:pt x="44" y="39"/>
                        <a:pt x="40" y="36"/>
                      </a:cubicBezTo>
                      <a:cubicBezTo>
                        <a:pt x="34" y="30"/>
                        <a:pt x="30" y="22"/>
                        <a:pt x="25" y="14"/>
                      </a:cubicBezTo>
                      <a:cubicBezTo>
                        <a:pt x="20" y="7"/>
                        <a:pt x="13" y="0"/>
                        <a:pt x="3" y="1"/>
                      </a:cubicBezTo>
                      <a:cubicBezTo>
                        <a:pt x="2" y="1"/>
                        <a:pt x="0" y="2"/>
                        <a:pt x="0" y="3"/>
                      </a:cubicBezTo>
                      <a:cubicBezTo>
                        <a:pt x="0" y="4"/>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85">
                  <a:extLst>
                    <a:ext uri="{FF2B5EF4-FFF2-40B4-BE49-F238E27FC236}">
                      <a16:creationId xmlns:a16="http://schemas.microsoft.com/office/drawing/2014/main" id="{63242957-5BEA-4614-8574-CB6D1B6F4CEF}"/>
                    </a:ext>
                  </a:extLst>
                </p:cNvPr>
                <p:cNvSpPr>
                  <a:spLocks/>
                </p:cNvSpPr>
                <p:nvPr/>
              </p:nvSpPr>
              <p:spPr bwMode="auto">
                <a:xfrm>
                  <a:off x="3440113" y="575786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4"/>
                        <a:pt x="31" y="32"/>
                      </a:cubicBezTo>
                      <a:cubicBezTo>
                        <a:pt x="36" y="39"/>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4"/>
                        <a:pt x="131" y="32"/>
                      </a:cubicBezTo>
                      <a:cubicBezTo>
                        <a:pt x="137" y="39"/>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4"/>
                        <a:pt x="232" y="32"/>
                      </a:cubicBezTo>
                      <a:cubicBezTo>
                        <a:pt x="237" y="39"/>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4"/>
                        <a:pt x="333" y="32"/>
                      </a:cubicBezTo>
                      <a:cubicBezTo>
                        <a:pt x="338" y="39"/>
                        <a:pt x="345" y="46"/>
                        <a:pt x="355" y="46"/>
                      </a:cubicBezTo>
                      <a:cubicBezTo>
                        <a:pt x="356" y="46"/>
                        <a:pt x="358" y="45"/>
                        <a:pt x="358" y="43"/>
                      </a:cubicBezTo>
                      <a:cubicBezTo>
                        <a:pt x="358" y="42"/>
                        <a:pt x="356" y="41"/>
                        <a:pt x="355" y="41"/>
                      </a:cubicBezTo>
                      <a:cubicBezTo>
                        <a:pt x="350" y="41"/>
                        <a:pt x="346" y="39"/>
                        <a:pt x="342" y="35"/>
                      </a:cubicBezTo>
                      <a:cubicBezTo>
                        <a:pt x="336" y="30"/>
                        <a:pt x="332" y="22"/>
                        <a:pt x="327" y="14"/>
                      </a:cubicBezTo>
                      <a:cubicBezTo>
                        <a:pt x="322" y="7"/>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2"/>
                        <a:pt x="226" y="14"/>
                      </a:cubicBezTo>
                      <a:cubicBezTo>
                        <a:pt x="221" y="7"/>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2"/>
                        <a:pt x="126" y="14"/>
                      </a:cubicBezTo>
                      <a:cubicBezTo>
                        <a:pt x="121" y="7"/>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2"/>
                        <a:pt x="25" y="14"/>
                      </a:cubicBezTo>
                      <a:cubicBezTo>
                        <a:pt x="20" y="7"/>
                        <a:pt x="13" y="0"/>
                        <a:pt x="3" y="0"/>
                      </a:cubicBezTo>
                      <a:cubicBezTo>
                        <a:pt x="2" y="0"/>
                        <a:pt x="0" y="1"/>
                        <a:pt x="0" y="3"/>
                      </a:cubicBezTo>
                      <a:cubicBezTo>
                        <a:pt x="0" y="4"/>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86">
                  <a:extLst>
                    <a:ext uri="{FF2B5EF4-FFF2-40B4-BE49-F238E27FC236}">
                      <a16:creationId xmlns:a16="http://schemas.microsoft.com/office/drawing/2014/main" id="{05111B9F-9901-4E85-BFDE-6724F004F8F2}"/>
                    </a:ext>
                  </a:extLst>
                </p:cNvPr>
                <p:cNvSpPr>
                  <a:spLocks/>
                </p:cNvSpPr>
                <p:nvPr/>
              </p:nvSpPr>
              <p:spPr bwMode="auto">
                <a:xfrm>
                  <a:off x="3440113" y="5853113"/>
                  <a:ext cx="769938" cy="101600"/>
                </a:xfrm>
                <a:custGeom>
                  <a:avLst/>
                  <a:gdLst>
                    <a:gd name="T0" fmla="*/ 3 w 358"/>
                    <a:gd name="T1" fmla="*/ 5 h 46"/>
                    <a:gd name="T2" fmla="*/ 16 w 358"/>
                    <a:gd name="T3" fmla="*/ 10 h 46"/>
                    <a:gd name="T4" fmla="*/ 31 w 358"/>
                    <a:gd name="T5" fmla="*/ 32 h 46"/>
                    <a:gd name="T6" fmla="*/ 53 w 358"/>
                    <a:gd name="T7" fmla="*/ 45 h 46"/>
                    <a:gd name="T8" fmla="*/ 70 w 358"/>
                    <a:gd name="T9" fmla="*/ 38 h 46"/>
                    <a:gd name="T10" fmla="*/ 85 w 358"/>
                    <a:gd name="T11" fmla="*/ 16 h 46"/>
                    <a:gd name="T12" fmla="*/ 103 w 358"/>
                    <a:gd name="T13" fmla="*/ 5 h 46"/>
                    <a:gd name="T14" fmla="*/ 117 w 358"/>
                    <a:gd name="T15" fmla="*/ 10 h 46"/>
                    <a:gd name="T16" fmla="*/ 131 w 358"/>
                    <a:gd name="T17" fmla="*/ 32 h 46"/>
                    <a:gd name="T18" fmla="*/ 154 w 358"/>
                    <a:gd name="T19" fmla="*/ 45 h 46"/>
                    <a:gd name="T20" fmla="*/ 170 w 358"/>
                    <a:gd name="T21" fmla="*/ 38 h 46"/>
                    <a:gd name="T22" fmla="*/ 186 w 358"/>
                    <a:gd name="T23" fmla="*/ 16 h 46"/>
                    <a:gd name="T24" fmla="*/ 204 w 358"/>
                    <a:gd name="T25" fmla="*/ 5 h 46"/>
                    <a:gd name="T26" fmla="*/ 217 w 358"/>
                    <a:gd name="T27" fmla="*/ 10 h 46"/>
                    <a:gd name="T28" fmla="*/ 232 w 358"/>
                    <a:gd name="T29" fmla="*/ 32 h 46"/>
                    <a:gd name="T30" fmla="*/ 254 w 358"/>
                    <a:gd name="T31" fmla="*/ 45 h 46"/>
                    <a:gd name="T32" fmla="*/ 271 w 358"/>
                    <a:gd name="T33" fmla="*/ 38 h 46"/>
                    <a:gd name="T34" fmla="*/ 286 w 358"/>
                    <a:gd name="T35" fmla="*/ 16 h 46"/>
                    <a:gd name="T36" fmla="*/ 305 w 358"/>
                    <a:gd name="T37" fmla="*/ 5 h 46"/>
                    <a:gd name="T38" fmla="*/ 318 w 358"/>
                    <a:gd name="T39" fmla="*/ 10 h 46"/>
                    <a:gd name="T40" fmla="*/ 333 w 358"/>
                    <a:gd name="T41" fmla="*/ 32 h 46"/>
                    <a:gd name="T42" fmla="*/ 355 w 358"/>
                    <a:gd name="T43" fmla="*/ 45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2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0"/>
                      </a:cubicBezTo>
                      <a:cubicBezTo>
                        <a:pt x="22" y="16"/>
                        <a:pt x="26" y="24"/>
                        <a:pt x="31" y="32"/>
                      </a:cubicBezTo>
                      <a:cubicBezTo>
                        <a:pt x="36" y="39"/>
                        <a:pt x="43" y="46"/>
                        <a:pt x="53" y="45"/>
                      </a:cubicBezTo>
                      <a:cubicBezTo>
                        <a:pt x="60" y="46"/>
                        <a:pt x="66" y="43"/>
                        <a:pt x="70" y="38"/>
                      </a:cubicBezTo>
                      <a:cubicBezTo>
                        <a:pt x="76" y="32"/>
                        <a:pt x="80" y="23"/>
                        <a:pt x="85" y="16"/>
                      </a:cubicBezTo>
                      <a:cubicBezTo>
                        <a:pt x="90" y="9"/>
                        <a:pt x="95" y="5"/>
                        <a:pt x="103" y="5"/>
                      </a:cubicBezTo>
                      <a:cubicBezTo>
                        <a:pt x="109" y="5"/>
                        <a:pt x="113" y="7"/>
                        <a:pt x="117" y="10"/>
                      </a:cubicBezTo>
                      <a:cubicBezTo>
                        <a:pt x="122" y="16"/>
                        <a:pt x="126" y="24"/>
                        <a:pt x="131" y="32"/>
                      </a:cubicBezTo>
                      <a:cubicBezTo>
                        <a:pt x="137" y="39"/>
                        <a:pt x="143" y="46"/>
                        <a:pt x="154" y="45"/>
                      </a:cubicBezTo>
                      <a:cubicBezTo>
                        <a:pt x="161" y="46"/>
                        <a:pt x="166" y="43"/>
                        <a:pt x="170" y="38"/>
                      </a:cubicBezTo>
                      <a:cubicBezTo>
                        <a:pt x="177" y="32"/>
                        <a:pt x="181" y="23"/>
                        <a:pt x="186" y="16"/>
                      </a:cubicBezTo>
                      <a:cubicBezTo>
                        <a:pt x="191" y="9"/>
                        <a:pt x="196" y="5"/>
                        <a:pt x="204" y="5"/>
                      </a:cubicBezTo>
                      <a:cubicBezTo>
                        <a:pt x="210" y="5"/>
                        <a:pt x="214" y="7"/>
                        <a:pt x="217" y="10"/>
                      </a:cubicBezTo>
                      <a:cubicBezTo>
                        <a:pt x="223" y="16"/>
                        <a:pt x="227" y="24"/>
                        <a:pt x="232" y="32"/>
                      </a:cubicBezTo>
                      <a:cubicBezTo>
                        <a:pt x="237" y="39"/>
                        <a:pt x="244" y="46"/>
                        <a:pt x="254" y="45"/>
                      </a:cubicBezTo>
                      <a:cubicBezTo>
                        <a:pt x="261" y="46"/>
                        <a:pt x="267" y="43"/>
                        <a:pt x="271" y="38"/>
                      </a:cubicBezTo>
                      <a:cubicBezTo>
                        <a:pt x="277" y="32"/>
                        <a:pt x="281" y="23"/>
                        <a:pt x="286" y="16"/>
                      </a:cubicBezTo>
                      <a:cubicBezTo>
                        <a:pt x="291" y="9"/>
                        <a:pt x="296" y="5"/>
                        <a:pt x="305" y="5"/>
                      </a:cubicBezTo>
                      <a:cubicBezTo>
                        <a:pt x="310" y="5"/>
                        <a:pt x="314" y="7"/>
                        <a:pt x="318" y="10"/>
                      </a:cubicBezTo>
                      <a:cubicBezTo>
                        <a:pt x="324" y="16"/>
                        <a:pt x="328" y="24"/>
                        <a:pt x="333" y="32"/>
                      </a:cubicBezTo>
                      <a:cubicBezTo>
                        <a:pt x="338" y="39"/>
                        <a:pt x="345" y="46"/>
                        <a:pt x="355" y="45"/>
                      </a:cubicBezTo>
                      <a:cubicBezTo>
                        <a:pt x="356" y="45"/>
                        <a:pt x="358" y="44"/>
                        <a:pt x="358" y="43"/>
                      </a:cubicBezTo>
                      <a:cubicBezTo>
                        <a:pt x="358" y="42"/>
                        <a:pt x="356" y="41"/>
                        <a:pt x="355" y="41"/>
                      </a:cubicBezTo>
                      <a:cubicBezTo>
                        <a:pt x="350" y="41"/>
                        <a:pt x="346" y="39"/>
                        <a:pt x="342" y="35"/>
                      </a:cubicBezTo>
                      <a:cubicBezTo>
                        <a:pt x="336" y="30"/>
                        <a:pt x="332" y="21"/>
                        <a:pt x="327" y="14"/>
                      </a:cubicBezTo>
                      <a:cubicBezTo>
                        <a:pt x="322" y="6"/>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1"/>
                        <a:pt x="226" y="14"/>
                      </a:cubicBezTo>
                      <a:cubicBezTo>
                        <a:pt x="221" y="6"/>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1"/>
                        <a:pt x="126" y="14"/>
                      </a:cubicBezTo>
                      <a:cubicBezTo>
                        <a:pt x="121" y="6"/>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1"/>
                        <a:pt x="25" y="14"/>
                      </a:cubicBezTo>
                      <a:cubicBezTo>
                        <a:pt x="20" y="6"/>
                        <a:pt x="13" y="0"/>
                        <a:pt x="3" y="0"/>
                      </a:cubicBezTo>
                      <a:cubicBezTo>
                        <a:pt x="2" y="0"/>
                        <a:pt x="0" y="1"/>
                        <a:pt x="0" y="2"/>
                      </a:cubicBezTo>
                      <a:cubicBezTo>
                        <a:pt x="0" y="3"/>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25" name="Freeform: Shape 124">
                <a:extLst>
                  <a:ext uri="{FF2B5EF4-FFF2-40B4-BE49-F238E27FC236}">
                    <a16:creationId xmlns:a16="http://schemas.microsoft.com/office/drawing/2014/main" id="{3F4D19C1-FAC2-4F50-96E4-B444C1E12B7E}"/>
                  </a:ext>
                </a:extLst>
              </p:cNvPr>
              <p:cNvSpPr/>
              <p:nvPr/>
            </p:nvSpPr>
            <p:spPr>
              <a:xfrm flipH="1">
                <a:off x="4832317" y="4517997"/>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chemeClr val="accent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6" name="Freeform: Shape 125">
                <a:extLst>
                  <a:ext uri="{FF2B5EF4-FFF2-40B4-BE49-F238E27FC236}">
                    <a16:creationId xmlns:a16="http://schemas.microsoft.com/office/drawing/2014/main" id="{A41E7C6A-742A-49D5-A676-DBF9827A3DF2}"/>
                  </a:ext>
                </a:extLst>
              </p:cNvPr>
              <p:cNvSpPr/>
              <p:nvPr/>
            </p:nvSpPr>
            <p:spPr>
              <a:xfrm flipH="1">
                <a:off x="4886241" y="4492648"/>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7" name="Freeform: Shape 126">
                <a:extLst>
                  <a:ext uri="{FF2B5EF4-FFF2-40B4-BE49-F238E27FC236}">
                    <a16:creationId xmlns:a16="http://schemas.microsoft.com/office/drawing/2014/main" id="{C3228499-0B88-4247-A8FE-2DECEEBBC286}"/>
                  </a:ext>
                </a:extLst>
              </p:cNvPr>
              <p:cNvSpPr/>
              <p:nvPr/>
            </p:nvSpPr>
            <p:spPr>
              <a:xfrm flipH="1">
                <a:off x="6680167" y="4877923"/>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rgbClr val="1E447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28" name="Freeform: Shape 127">
                <a:extLst>
                  <a:ext uri="{FF2B5EF4-FFF2-40B4-BE49-F238E27FC236}">
                    <a16:creationId xmlns:a16="http://schemas.microsoft.com/office/drawing/2014/main" id="{0ADC21F8-3F00-4F8B-A59F-DFD086548AEA}"/>
                  </a:ext>
                </a:extLst>
              </p:cNvPr>
              <p:cNvSpPr/>
              <p:nvPr/>
            </p:nvSpPr>
            <p:spPr>
              <a:xfrm flipH="1">
                <a:off x="6734091" y="4852574"/>
                <a:ext cx="523137" cy="523137"/>
              </a:xfrm>
              <a:custGeom>
                <a:avLst/>
                <a:gdLst>
                  <a:gd name="connsiteX0" fmla="*/ 16096 w 371994"/>
                  <a:gd name="connsiteY0" fmla="*/ 192221 h 371994"/>
                  <a:gd name="connsiteX1" fmla="*/ 192221 w 371994"/>
                  <a:gd name="connsiteY1" fmla="*/ 16096 h 371994"/>
                  <a:gd name="connsiteX2" fmla="*/ 368346 w 371994"/>
                  <a:gd name="connsiteY2" fmla="*/ 192221 h 371994"/>
                  <a:gd name="connsiteX3" fmla="*/ 192221 w 371994"/>
                  <a:gd name="connsiteY3" fmla="*/ 368346 h 371994"/>
                  <a:gd name="connsiteX4" fmla="*/ 16096 w 371994"/>
                  <a:gd name="connsiteY4" fmla="*/ 192221 h 3719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94" h="371994">
                    <a:moveTo>
                      <a:pt x="16096" y="192221"/>
                    </a:moveTo>
                    <a:cubicBezTo>
                      <a:pt x="16096" y="94950"/>
                      <a:pt x="94950" y="16096"/>
                      <a:pt x="192221" y="16096"/>
                    </a:cubicBezTo>
                    <a:cubicBezTo>
                      <a:pt x="289492" y="16096"/>
                      <a:pt x="368346" y="94950"/>
                      <a:pt x="368346" y="192221"/>
                    </a:cubicBezTo>
                    <a:cubicBezTo>
                      <a:pt x="368346" y="289492"/>
                      <a:pt x="289492" y="368346"/>
                      <a:pt x="192221" y="368346"/>
                    </a:cubicBezTo>
                    <a:cubicBezTo>
                      <a:pt x="94950" y="368346"/>
                      <a:pt x="16096" y="289492"/>
                      <a:pt x="16096" y="192221"/>
                    </a:cubicBezTo>
                    <a:close/>
                  </a:path>
                </a:pathLst>
              </a:custGeom>
              <a:solidFill>
                <a:schemeClr val="accent1"/>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grpSp>
      <p:sp>
        <p:nvSpPr>
          <p:cNvPr id="140" name="Rectangle 139">
            <a:extLst>
              <a:ext uri="{FF2B5EF4-FFF2-40B4-BE49-F238E27FC236}">
                <a16:creationId xmlns:a16="http://schemas.microsoft.com/office/drawing/2014/main" id="{BCA5382D-4B79-445B-8F72-A893464F2517}"/>
              </a:ext>
            </a:extLst>
          </p:cNvPr>
          <p:cNvSpPr/>
          <p:nvPr/>
        </p:nvSpPr>
        <p:spPr>
          <a:xfrm>
            <a:off x="6780155" y="4502392"/>
            <a:ext cx="3675278" cy="18466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dirty="0">
                <a:solidFill>
                  <a:schemeClr val="accent1"/>
                </a:solidFill>
              </a:rPr>
              <a:t>001101 001101 10010101010100 100110010</a:t>
            </a:r>
          </a:p>
        </p:txBody>
      </p:sp>
      <p:sp>
        <p:nvSpPr>
          <p:cNvPr id="142" name="Google Shape;2115;p430">
            <a:extLst>
              <a:ext uri="{FF2B5EF4-FFF2-40B4-BE49-F238E27FC236}">
                <a16:creationId xmlns:a16="http://schemas.microsoft.com/office/drawing/2014/main" id="{B6AFC778-E4A0-492D-9B3E-CAB4E0919C9C}"/>
              </a:ext>
            </a:extLst>
          </p:cNvPr>
          <p:cNvSpPr txBox="1"/>
          <p:nvPr/>
        </p:nvSpPr>
        <p:spPr>
          <a:xfrm>
            <a:off x="4687997" y="5818583"/>
            <a:ext cx="2450246" cy="246221"/>
          </a:xfrm>
          <a:prstGeom prst="rect">
            <a:avLst/>
          </a:prstGeom>
          <a:noFill/>
          <a:ln>
            <a:noFill/>
          </a:ln>
        </p:spPr>
        <p:txBody>
          <a:bodyPr spcFirstLastPara="1" wrap="square" lIns="0" tIns="0" rIns="0" bIns="0" anchor="t" anchorCtr="0">
            <a:spAutoFit/>
          </a:bodyPr>
          <a:lstStyle/>
          <a:p>
            <a:pPr marR="0" indent="0" algn="ctr">
              <a:lnSpc>
                <a:spcPct val="100000"/>
              </a:lnSpc>
              <a:spcBef>
                <a:spcPts val="0"/>
              </a:spcBef>
              <a:spcAft>
                <a:spcPts val="0"/>
              </a:spcAft>
              <a:buClr>
                <a:srgbClr val="000000"/>
              </a:buClr>
              <a:buSzPts val="1400"/>
              <a:buFont typeface="Arial"/>
              <a:buNone/>
            </a:pPr>
            <a:r>
              <a:rPr lang="en" sz="1600" dirty="0">
                <a:solidFill>
                  <a:schemeClr val="tx2"/>
                </a:solidFill>
                <a:sym typeface="Helvetica Neue"/>
              </a:rPr>
              <a:t>Remote </a:t>
            </a:r>
            <a:r>
              <a:rPr lang="en-US" sz="1600" dirty="0">
                <a:solidFill>
                  <a:schemeClr val="tx2"/>
                </a:solidFill>
                <a:sym typeface="Helvetica Neue"/>
              </a:rPr>
              <a:t>workers</a:t>
            </a:r>
            <a:endParaRPr sz="1600" dirty="0">
              <a:solidFill>
                <a:schemeClr val="tx2"/>
              </a:solidFill>
              <a:sym typeface="Helvetica Neue"/>
            </a:endParaRPr>
          </a:p>
        </p:txBody>
      </p:sp>
      <p:grpSp>
        <p:nvGrpSpPr>
          <p:cNvPr id="143" name="Group 142">
            <a:extLst>
              <a:ext uri="{FF2B5EF4-FFF2-40B4-BE49-F238E27FC236}">
                <a16:creationId xmlns:a16="http://schemas.microsoft.com/office/drawing/2014/main" id="{A4AF5348-54CB-40E5-BC07-B35AF48D2293}"/>
              </a:ext>
            </a:extLst>
          </p:cNvPr>
          <p:cNvGrpSpPr/>
          <p:nvPr/>
        </p:nvGrpSpPr>
        <p:grpSpPr>
          <a:xfrm>
            <a:off x="5244929" y="1180151"/>
            <a:ext cx="1336383" cy="1086594"/>
            <a:chOff x="5427809" y="1327217"/>
            <a:chExt cx="1336383" cy="1086594"/>
          </a:xfrm>
        </p:grpSpPr>
        <p:grpSp>
          <p:nvGrpSpPr>
            <p:cNvPr id="144" name="Group 143">
              <a:extLst>
                <a:ext uri="{FF2B5EF4-FFF2-40B4-BE49-F238E27FC236}">
                  <a16:creationId xmlns:a16="http://schemas.microsoft.com/office/drawing/2014/main" id="{B6D26DF9-79D0-4DA0-864D-A094318B25CF}"/>
                </a:ext>
              </a:extLst>
            </p:cNvPr>
            <p:cNvGrpSpPr/>
            <p:nvPr/>
          </p:nvGrpSpPr>
          <p:grpSpPr>
            <a:xfrm>
              <a:off x="5427809" y="1327217"/>
              <a:ext cx="1336383" cy="1086594"/>
              <a:chOff x="3759440" y="1151356"/>
              <a:chExt cx="1568209" cy="1275088"/>
            </a:xfrm>
          </p:grpSpPr>
          <p:grpSp>
            <p:nvGrpSpPr>
              <p:cNvPr id="146" name="Group 145">
                <a:extLst>
                  <a:ext uri="{FF2B5EF4-FFF2-40B4-BE49-F238E27FC236}">
                    <a16:creationId xmlns:a16="http://schemas.microsoft.com/office/drawing/2014/main" id="{4C49019B-6C5E-434E-AEEF-BFE1B94A03A5}"/>
                  </a:ext>
                </a:extLst>
              </p:cNvPr>
              <p:cNvGrpSpPr/>
              <p:nvPr/>
            </p:nvGrpSpPr>
            <p:grpSpPr>
              <a:xfrm>
                <a:off x="3759440" y="1276552"/>
                <a:ext cx="1517617" cy="1065498"/>
                <a:chOff x="4152412" y="1648888"/>
                <a:chExt cx="1015503" cy="712971"/>
              </a:xfrm>
            </p:grpSpPr>
            <p:sp>
              <p:nvSpPr>
                <p:cNvPr id="150" name="Freeform: Shape 149">
                  <a:extLst>
                    <a:ext uri="{FF2B5EF4-FFF2-40B4-BE49-F238E27FC236}">
                      <a16:creationId xmlns:a16="http://schemas.microsoft.com/office/drawing/2014/main" id="{B2EA2BB2-E30B-4312-9E7D-65B10BDA3F47}"/>
                    </a:ext>
                  </a:extLst>
                </p:cNvPr>
                <p:cNvSpPr/>
                <p:nvPr/>
              </p:nvSpPr>
              <p:spPr>
                <a:xfrm>
                  <a:off x="4215997" y="1684114"/>
                  <a:ext cx="951918" cy="677745"/>
                </a:xfrm>
                <a:custGeom>
                  <a:avLst/>
                  <a:gdLst>
                    <a:gd name="connsiteX0" fmla="*/ 520466 w 951918"/>
                    <a:gd name="connsiteY0" fmla="*/ 0 h 677745"/>
                    <a:gd name="connsiteX1" fmla="*/ 761261 w 951918"/>
                    <a:gd name="connsiteY1" fmla="*/ 160530 h 677745"/>
                    <a:gd name="connsiteX2" fmla="*/ 761261 w 951918"/>
                    <a:gd name="connsiteY2" fmla="*/ 162676 h 677745"/>
                    <a:gd name="connsiteX3" fmla="*/ 791020 w 951918"/>
                    <a:gd name="connsiteY3" fmla="*/ 171976 h 677745"/>
                    <a:gd name="connsiteX4" fmla="*/ 931106 w 951918"/>
                    <a:gd name="connsiteY4" fmla="*/ 516918 h 677745"/>
                    <a:gd name="connsiteX5" fmla="*/ 689723 w 951918"/>
                    <a:gd name="connsiteY5" fmla="*/ 677745 h 677745"/>
                    <a:gd name="connsiteX6" fmla="*/ 489419 w 951918"/>
                    <a:gd name="connsiteY6" fmla="*/ 582171 h 677745"/>
                    <a:gd name="connsiteX7" fmla="*/ 476828 w 951918"/>
                    <a:gd name="connsiteY7" fmla="*/ 561426 h 677745"/>
                    <a:gd name="connsiteX8" fmla="*/ 476828 w 951918"/>
                    <a:gd name="connsiteY8" fmla="*/ 561426 h 677745"/>
                    <a:gd name="connsiteX9" fmla="*/ 113338 w 951918"/>
                    <a:gd name="connsiteY9" fmla="*/ 628748 h 677745"/>
                    <a:gd name="connsiteX10" fmla="*/ 46016 w 951918"/>
                    <a:gd name="connsiteY10" fmla="*/ 265258 h 677745"/>
                    <a:gd name="connsiteX11" fmla="*/ 260499 w 951918"/>
                    <a:gd name="connsiteY11" fmla="*/ 151946 h 677745"/>
                    <a:gd name="connsiteX12" fmla="*/ 284249 w 951918"/>
                    <a:gd name="connsiteY12" fmla="*/ 154378 h 677745"/>
                    <a:gd name="connsiteX13" fmla="*/ 304995 w 951918"/>
                    <a:gd name="connsiteY13" fmla="*/ 115891 h 677745"/>
                    <a:gd name="connsiteX14" fmla="*/ 520466 w 951918"/>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918" h="677745">
                      <a:moveTo>
                        <a:pt x="520466" y="0"/>
                      </a:moveTo>
                      <a:cubicBezTo>
                        <a:pt x="625802" y="-87"/>
                        <a:pt x="720826" y="63263"/>
                        <a:pt x="761261" y="160530"/>
                      </a:cubicBezTo>
                      <a:lnTo>
                        <a:pt x="761261" y="162676"/>
                      </a:lnTo>
                      <a:lnTo>
                        <a:pt x="791020" y="171976"/>
                      </a:lnTo>
                      <a:cubicBezTo>
                        <a:pt x="924957" y="228545"/>
                        <a:pt x="987677" y="382981"/>
                        <a:pt x="931106" y="516918"/>
                      </a:cubicBezTo>
                      <a:cubicBezTo>
                        <a:pt x="890097" y="614016"/>
                        <a:pt x="795125" y="677293"/>
                        <a:pt x="689723" y="677745"/>
                      </a:cubicBezTo>
                      <a:cubicBezTo>
                        <a:pt x="612000" y="677542"/>
                        <a:pt x="538473" y="642459"/>
                        <a:pt x="489419" y="582171"/>
                      </a:cubicBezTo>
                      <a:lnTo>
                        <a:pt x="476828" y="561426"/>
                      </a:lnTo>
                      <a:lnTo>
                        <a:pt x="476828" y="561426"/>
                      </a:lnTo>
                      <a:cubicBezTo>
                        <a:pt x="395044" y="680391"/>
                        <a:pt x="232303" y="710532"/>
                        <a:pt x="113338" y="628748"/>
                      </a:cubicBezTo>
                      <a:cubicBezTo>
                        <a:pt x="-5627" y="546964"/>
                        <a:pt x="-35769" y="384223"/>
                        <a:pt x="46016" y="265258"/>
                      </a:cubicBezTo>
                      <a:cubicBezTo>
                        <a:pt x="94595" y="194592"/>
                        <a:pt x="174746" y="152249"/>
                        <a:pt x="260499" y="151946"/>
                      </a:cubicBezTo>
                      <a:lnTo>
                        <a:pt x="284249" y="154378"/>
                      </a:lnTo>
                      <a:lnTo>
                        <a:pt x="304995" y="115891"/>
                      </a:lnTo>
                      <a:cubicBezTo>
                        <a:pt x="353000" y="43745"/>
                        <a:pt x="433810" y="282"/>
                        <a:pt x="520466" y="0"/>
                      </a:cubicBezTo>
                      <a:close/>
                    </a:path>
                  </a:pathLst>
                </a:custGeom>
                <a:solidFill>
                  <a:srgbClr val="B8B8BB"/>
                </a:solidFill>
                <a:ln w="14288" cap="flat">
                  <a:noFill/>
                  <a:prstDash val="solid"/>
                  <a:miter/>
                </a:ln>
              </p:spPr>
              <p:txBody>
                <a:bodyPr rtlCol="0" anchor="ctr"/>
                <a:lstStyle/>
                <a:p>
                  <a:endParaRPr lang="en-IN" dirty="0"/>
                </a:p>
              </p:txBody>
            </p:sp>
            <p:sp>
              <p:nvSpPr>
                <p:cNvPr id="151" name="Freeform: Shape 150">
                  <a:extLst>
                    <a:ext uri="{FF2B5EF4-FFF2-40B4-BE49-F238E27FC236}">
                      <a16:creationId xmlns:a16="http://schemas.microsoft.com/office/drawing/2014/main" id="{F03A82AC-F0CC-466B-8C0D-E6C6E996808F}"/>
                    </a:ext>
                  </a:extLst>
                </p:cNvPr>
                <p:cNvSpPr/>
                <p:nvPr/>
              </p:nvSpPr>
              <p:spPr>
                <a:xfrm>
                  <a:off x="4152412" y="1648888"/>
                  <a:ext cx="951307" cy="677745"/>
                </a:xfrm>
                <a:custGeom>
                  <a:avLst/>
                  <a:gdLst>
                    <a:gd name="connsiteX0" fmla="*/ 520664 w 951307"/>
                    <a:gd name="connsiteY0" fmla="*/ 0 h 677745"/>
                    <a:gd name="connsiteX1" fmla="*/ 761459 w 951307"/>
                    <a:gd name="connsiteY1" fmla="*/ 160530 h 677745"/>
                    <a:gd name="connsiteX2" fmla="*/ 762317 w 951307"/>
                    <a:gd name="connsiteY2" fmla="*/ 163391 h 677745"/>
                    <a:gd name="connsiteX3" fmla="*/ 792077 w 951307"/>
                    <a:gd name="connsiteY3" fmla="*/ 172691 h 677745"/>
                    <a:gd name="connsiteX4" fmla="*/ 929786 w 951307"/>
                    <a:gd name="connsiteY4" fmla="*/ 518589 h 677745"/>
                    <a:gd name="connsiteX5" fmla="*/ 689921 w 951307"/>
                    <a:gd name="connsiteY5" fmla="*/ 677745 h 677745"/>
                    <a:gd name="connsiteX6" fmla="*/ 489616 w 951307"/>
                    <a:gd name="connsiteY6" fmla="*/ 582028 h 677745"/>
                    <a:gd name="connsiteX7" fmla="*/ 477026 w 951307"/>
                    <a:gd name="connsiteY7" fmla="*/ 561282 h 677745"/>
                    <a:gd name="connsiteX8" fmla="*/ 477026 w 951307"/>
                    <a:gd name="connsiteY8" fmla="*/ 561282 h 677745"/>
                    <a:gd name="connsiteX9" fmla="*/ 113626 w 951307"/>
                    <a:gd name="connsiteY9" fmla="*/ 629089 h 677745"/>
                    <a:gd name="connsiteX10" fmla="*/ 45820 w 951307"/>
                    <a:gd name="connsiteY10" fmla="*/ 265688 h 677745"/>
                    <a:gd name="connsiteX11" fmla="*/ 260697 w 951307"/>
                    <a:gd name="connsiteY11" fmla="*/ 152089 h 677745"/>
                    <a:gd name="connsiteX12" fmla="*/ 284447 w 951307"/>
                    <a:gd name="connsiteY12" fmla="*/ 154521 h 677745"/>
                    <a:gd name="connsiteX13" fmla="*/ 305193 w 951307"/>
                    <a:gd name="connsiteY13" fmla="*/ 115891 h 677745"/>
                    <a:gd name="connsiteX14" fmla="*/ 520664 w 951307"/>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307" h="677745">
                      <a:moveTo>
                        <a:pt x="520664" y="0"/>
                      </a:moveTo>
                      <a:cubicBezTo>
                        <a:pt x="625977" y="-10"/>
                        <a:pt x="720963" y="63314"/>
                        <a:pt x="761459" y="160530"/>
                      </a:cubicBezTo>
                      <a:lnTo>
                        <a:pt x="762317" y="163391"/>
                      </a:lnTo>
                      <a:lnTo>
                        <a:pt x="792077" y="172691"/>
                      </a:lnTo>
                      <a:cubicBezTo>
                        <a:pt x="925621" y="230182"/>
                        <a:pt x="987275" y="385044"/>
                        <a:pt x="929786" y="518589"/>
                      </a:cubicBezTo>
                      <a:cubicBezTo>
                        <a:pt x="888485" y="614528"/>
                        <a:pt x="794370" y="676976"/>
                        <a:pt x="689921" y="677745"/>
                      </a:cubicBezTo>
                      <a:cubicBezTo>
                        <a:pt x="612179" y="677486"/>
                        <a:pt x="538655" y="642353"/>
                        <a:pt x="489616" y="582028"/>
                      </a:cubicBezTo>
                      <a:lnTo>
                        <a:pt x="477026" y="561282"/>
                      </a:lnTo>
                      <a:lnTo>
                        <a:pt x="477026" y="561282"/>
                      </a:lnTo>
                      <a:cubicBezTo>
                        <a:pt x="395400" y="680356"/>
                        <a:pt x="232700" y="710714"/>
                        <a:pt x="113626" y="629089"/>
                      </a:cubicBezTo>
                      <a:cubicBezTo>
                        <a:pt x="-5450" y="547463"/>
                        <a:pt x="-35807" y="384762"/>
                        <a:pt x="45820" y="265688"/>
                      </a:cubicBezTo>
                      <a:cubicBezTo>
                        <a:pt x="94414" y="194799"/>
                        <a:pt x="174752" y="152327"/>
                        <a:pt x="260697" y="152089"/>
                      </a:cubicBezTo>
                      <a:lnTo>
                        <a:pt x="284447" y="154521"/>
                      </a:lnTo>
                      <a:lnTo>
                        <a:pt x="305193" y="115891"/>
                      </a:lnTo>
                      <a:cubicBezTo>
                        <a:pt x="353250" y="43804"/>
                        <a:pt x="434028" y="358"/>
                        <a:pt x="520664" y="0"/>
                      </a:cubicBezTo>
                      <a:close/>
                    </a:path>
                  </a:pathLst>
                </a:custGeom>
                <a:solidFill>
                  <a:srgbClr val="0D274D"/>
                </a:solidFill>
                <a:ln w="14288" cap="flat">
                  <a:noFill/>
                  <a:prstDash val="solid"/>
                  <a:miter/>
                </a:ln>
              </p:spPr>
              <p:txBody>
                <a:bodyPr rtlCol="0" anchor="ctr"/>
                <a:lstStyle/>
                <a:p>
                  <a:endParaRPr lang="en-IN" dirty="0"/>
                </a:p>
              </p:txBody>
            </p:sp>
          </p:grpSp>
          <p:sp>
            <p:nvSpPr>
              <p:cNvPr id="147" name="Freeform: Shape 146">
                <a:extLst>
                  <a:ext uri="{FF2B5EF4-FFF2-40B4-BE49-F238E27FC236}">
                    <a16:creationId xmlns:a16="http://schemas.microsoft.com/office/drawing/2014/main" id="{825BB742-2777-4A98-B0F4-E0CFC65560A5}"/>
                  </a:ext>
                </a:extLst>
              </p:cNvPr>
              <p:cNvSpPr/>
              <p:nvPr/>
            </p:nvSpPr>
            <p:spPr>
              <a:xfrm>
                <a:off x="4351709" y="1151356"/>
                <a:ext cx="245802" cy="245802"/>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148" name="Freeform: Shape 147">
                <a:extLst>
                  <a:ext uri="{FF2B5EF4-FFF2-40B4-BE49-F238E27FC236}">
                    <a16:creationId xmlns:a16="http://schemas.microsoft.com/office/drawing/2014/main" id="{7EFEA743-89B5-4D28-8AC8-B77F85DB43FB}"/>
                  </a:ext>
                </a:extLst>
              </p:cNvPr>
              <p:cNvSpPr/>
              <p:nvPr/>
            </p:nvSpPr>
            <p:spPr>
              <a:xfrm>
                <a:off x="3771600" y="2018825"/>
                <a:ext cx="178275" cy="178275"/>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149" name="Freeform: Shape 148">
                <a:extLst>
                  <a:ext uri="{FF2B5EF4-FFF2-40B4-BE49-F238E27FC236}">
                    <a16:creationId xmlns:a16="http://schemas.microsoft.com/office/drawing/2014/main" id="{086A2253-5F58-4933-8F51-749BA6E24816}"/>
                  </a:ext>
                </a:extLst>
              </p:cNvPr>
              <p:cNvSpPr/>
              <p:nvPr/>
            </p:nvSpPr>
            <p:spPr>
              <a:xfrm>
                <a:off x="5025218" y="2124013"/>
                <a:ext cx="302431" cy="302431"/>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grpSp>
        <p:sp>
          <p:nvSpPr>
            <p:cNvPr id="145" name="Freeform 752">
              <a:extLst>
                <a:ext uri="{FF2B5EF4-FFF2-40B4-BE49-F238E27FC236}">
                  <a16:creationId xmlns:a16="http://schemas.microsoft.com/office/drawing/2014/main" id="{2153595B-74BB-44CC-AA8E-587EA7895875}"/>
                </a:ext>
              </a:extLst>
            </p:cNvPr>
            <p:cNvSpPr>
              <a:spLocks/>
            </p:cNvSpPr>
            <p:nvPr/>
          </p:nvSpPr>
          <p:spPr bwMode="auto">
            <a:xfrm>
              <a:off x="5559471" y="1746035"/>
              <a:ext cx="949094" cy="287453"/>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noFill/>
            <a:ln>
              <a:noFill/>
            </a:ln>
          </p:spPr>
          <p:txBody>
            <a:bodyPr vert="horz" wrap="square" lIns="91440" tIns="45720" rIns="91440" bIns="45720" numCol="1" anchor="t" anchorCtr="0" compatLnSpc="1">
              <a:prstTxWarp prst="textNoShape">
                <a:avLst/>
              </a:prstTxWarp>
            </a:bodyPr>
            <a:lstStyle/>
            <a:p>
              <a:pPr algn="ctr"/>
              <a:r>
                <a:rPr lang="en-US" sz="1400" dirty="0">
                  <a:solidFill>
                    <a:schemeClr val="bg2"/>
                  </a:solidFill>
                </a:rPr>
                <a:t>Internet</a:t>
              </a:r>
              <a:endParaRPr lang="en-US" sz="1600" dirty="0">
                <a:solidFill>
                  <a:schemeClr val="bg2"/>
                </a:solidFill>
              </a:endParaRPr>
            </a:p>
          </p:txBody>
        </p:sp>
      </p:grpSp>
      <p:grpSp>
        <p:nvGrpSpPr>
          <p:cNvPr id="152" name="Group 151">
            <a:extLst>
              <a:ext uri="{FF2B5EF4-FFF2-40B4-BE49-F238E27FC236}">
                <a16:creationId xmlns:a16="http://schemas.microsoft.com/office/drawing/2014/main" id="{5BA0D6A7-B7D5-440A-83C0-99F1E4846AD8}"/>
              </a:ext>
            </a:extLst>
          </p:cNvPr>
          <p:cNvGrpSpPr/>
          <p:nvPr/>
        </p:nvGrpSpPr>
        <p:grpSpPr>
          <a:xfrm>
            <a:off x="1023811" y="1389617"/>
            <a:ext cx="1336383" cy="1086594"/>
            <a:chOff x="1109937" y="1612791"/>
            <a:chExt cx="1336383" cy="1086594"/>
          </a:xfrm>
        </p:grpSpPr>
        <p:grpSp>
          <p:nvGrpSpPr>
            <p:cNvPr id="153" name="Group 152">
              <a:extLst>
                <a:ext uri="{FF2B5EF4-FFF2-40B4-BE49-F238E27FC236}">
                  <a16:creationId xmlns:a16="http://schemas.microsoft.com/office/drawing/2014/main" id="{5CB89BB9-365F-4D5E-8B56-AD3DF3864A27}"/>
                </a:ext>
              </a:extLst>
            </p:cNvPr>
            <p:cNvGrpSpPr/>
            <p:nvPr/>
          </p:nvGrpSpPr>
          <p:grpSpPr>
            <a:xfrm>
              <a:off x="1109937" y="1612791"/>
              <a:ext cx="1336383" cy="1086594"/>
              <a:chOff x="3759440" y="1151356"/>
              <a:chExt cx="1568209" cy="1275088"/>
            </a:xfrm>
          </p:grpSpPr>
          <p:grpSp>
            <p:nvGrpSpPr>
              <p:cNvPr id="155" name="Group 154">
                <a:extLst>
                  <a:ext uri="{FF2B5EF4-FFF2-40B4-BE49-F238E27FC236}">
                    <a16:creationId xmlns:a16="http://schemas.microsoft.com/office/drawing/2014/main" id="{71A6F15C-7A90-4127-A82E-FB74E3914D55}"/>
                  </a:ext>
                </a:extLst>
              </p:cNvPr>
              <p:cNvGrpSpPr/>
              <p:nvPr/>
            </p:nvGrpSpPr>
            <p:grpSpPr>
              <a:xfrm>
                <a:off x="3759440" y="1276552"/>
                <a:ext cx="1517617" cy="1065498"/>
                <a:chOff x="4152412" y="1648888"/>
                <a:chExt cx="1015503" cy="712971"/>
              </a:xfrm>
            </p:grpSpPr>
            <p:sp>
              <p:nvSpPr>
                <p:cNvPr id="159" name="Freeform: Shape 158">
                  <a:extLst>
                    <a:ext uri="{FF2B5EF4-FFF2-40B4-BE49-F238E27FC236}">
                      <a16:creationId xmlns:a16="http://schemas.microsoft.com/office/drawing/2014/main" id="{8770F550-CA77-4A81-9FEE-B543E4531892}"/>
                    </a:ext>
                  </a:extLst>
                </p:cNvPr>
                <p:cNvSpPr/>
                <p:nvPr/>
              </p:nvSpPr>
              <p:spPr>
                <a:xfrm>
                  <a:off x="4215997" y="1684114"/>
                  <a:ext cx="951918" cy="677745"/>
                </a:xfrm>
                <a:custGeom>
                  <a:avLst/>
                  <a:gdLst>
                    <a:gd name="connsiteX0" fmla="*/ 520466 w 951918"/>
                    <a:gd name="connsiteY0" fmla="*/ 0 h 677745"/>
                    <a:gd name="connsiteX1" fmla="*/ 761261 w 951918"/>
                    <a:gd name="connsiteY1" fmla="*/ 160530 h 677745"/>
                    <a:gd name="connsiteX2" fmla="*/ 761261 w 951918"/>
                    <a:gd name="connsiteY2" fmla="*/ 162676 h 677745"/>
                    <a:gd name="connsiteX3" fmla="*/ 791020 w 951918"/>
                    <a:gd name="connsiteY3" fmla="*/ 171976 h 677745"/>
                    <a:gd name="connsiteX4" fmla="*/ 931106 w 951918"/>
                    <a:gd name="connsiteY4" fmla="*/ 516918 h 677745"/>
                    <a:gd name="connsiteX5" fmla="*/ 689723 w 951918"/>
                    <a:gd name="connsiteY5" fmla="*/ 677745 h 677745"/>
                    <a:gd name="connsiteX6" fmla="*/ 489419 w 951918"/>
                    <a:gd name="connsiteY6" fmla="*/ 582171 h 677745"/>
                    <a:gd name="connsiteX7" fmla="*/ 476828 w 951918"/>
                    <a:gd name="connsiteY7" fmla="*/ 561426 h 677745"/>
                    <a:gd name="connsiteX8" fmla="*/ 476828 w 951918"/>
                    <a:gd name="connsiteY8" fmla="*/ 561426 h 677745"/>
                    <a:gd name="connsiteX9" fmla="*/ 113338 w 951918"/>
                    <a:gd name="connsiteY9" fmla="*/ 628748 h 677745"/>
                    <a:gd name="connsiteX10" fmla="*/ 46016 w 951918"/>
                    <a:gd name="connsiteY10" fmla="*/ 265258 h 677745"/>
                    <a:gd name="connsiteX11" fmla="*/ 260499 w 951918"/>
                    <a:gd name="connsiteY11" fmla="*/ 151946 h 677745"/>
                    <a:gd name="connsiteX12" fmla="*/ 284249 w 951918"/>
                    <a:gd name="connsiteY12" fmla="*/ 154378 h 677745"/>
                    <a:gd name="connsiteX13" fmla="*/ 304995 w 951918"/>
                    <a:gd name="connsiteY13" fmla="*/ 115891 h 677745"/>
                    <a:gd name="connsiteX14" fmla="*/ 520466 w 951918"/>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918" h="677745">
                      <a:moveTo>
                        <a:pt x="520466" y="0"/>
                      </a:moveTo>
                      <a:cubicBezTo>
                        <a:pt x="625802" y="-87"/>
                        <a:pt x="720826" y="63263"/>
                        <a:pt x="761261" y="160530"/>
                      </a:cubicBezTo>
                      <a:lnTo>
                        <a:pt x="761261" y="162676"/>
                      </a:lnTo>
                      <a:lnTo>
                        <a:pt x="791020" y="171976"/>
                      </a:lnTo>
                      <a:cubicBezTo>
                        <a:pt x="924957" y="228545"/>
                        <a:pt x="987677" y="382981"/>
                        <a:pt x="931106" y="516918"/>
                      </a:cubicBezTo>
                      <a:cubicBezTo>
                        <a:pt x="890097" y="614016"/>
                        <a:pt x="795125" y="677293"/>
                        <a:pt x="689723" y="677745"/>
                      </a:cubicBezTo>
                      <a:cubicBezTo>
                        <a:pt x="612000" y="677542"/>
                        <a:pt x="538473" y="642459"/>
                        <a:pt x="489419" y="582171"/>
                      </a:cubicBezTo>
                      <a:lnTo>
                        <a:pt x="476828" y="561426"/>
                      </a:lnTo>
                      <a:lnTo>
                        <a:pt x="476828" y="561426"/>
                      </a:lnTo>
                      <a:cubicBezTo>
                        <a:pt x="395044" y="680391"/>
                        <a:pt x="232303" y="710532"/>
                        <a:pt x="113338" y="628748"/>
                      </a:cubicBezTo>
                      <a:cubicBezTo>
                        <a:pt x="-5627" y="546964"/>
                        <a:pt x="-35769" y="384223"/>
                        <a:pt x="46016" y="265258"/>
                      </a:cubicBezTo>
                      <a:cubicBezTo>
                        <a:pt x="94595" y="194592"/>
                        <a:pt x="174746" y="152249"/>
                        <a:pt x="260499" y="151946"/>
                      </a:cubicBezTo>
                      <a:lnTo>
                        <a:pt x="284249" y="154378"/>
                      </a:lnTo>
                      <a:lnTo>
                        <a:pt x="304995" y="115891"/>
                      </a:lnTo>
                      <a:cubicBezTo>
                        <a:pt x="353000" y="43745"/>
                        <a:pt x="433810" y="282"/>
                        <a:pt x="520466" y="0"/>
                      </a:cubicBezTo>
                      <a:close/>
                    </a:path>
                  </a:pathLst>
                </a:custGeom>
                <a:solidFill>
                  <a:srgbClr val="B8B8BB"/>
                </a:solidFill>
                <a:ln w="14288" cap="flat">
                  <a:noFill/>
                  <a:prstDash val="solid"/>
                  <a:miter/>
                </a:ln>
              </p:spPr>
              <p:txBody>
                <a:bodyPr rtlCol="0" anchor="ctr"/>
                <a:lstStyle/>
                <a:p>
                  <a:endParaRPr lang="en-IN" dirty="0"/>
                </a:p>
              </p:txBody>
            </p:sp>
            <p:sp>
              <p:nvSpPr>
                <p:cNvPr id="160" name="Freeform: Shape 159">
                  <a:extLst>
                    <a:ext uri="{FF2B5EF4-FFF2-40B4-BE49-F238E27FC236}">
                      <a16:creationId xmlns:a16="http://schemas.microsoft.com/office/drawing/2014/main" id="{6F67CE3D-E2FA-499D-BEC3-FA540955CAE5}"/>
                    </a:ext>
                  </a:extLst>
                </p:cNvPr>
                <p:cNvSpPr/>
                <p:nvPr/>
              </p:nvSpPr>
              <p:spPr>
                <a:xfrm>
                  <a:off x="4152412" y="1648888"/>
                  <a:ext cx="951307" cy="677745"/>
                </a:xfrm>
                <a:custGeom>
                  <a:avLst/>
                  <a:gdLst>
                    <a:gd name="connsiteX0" fmla="*/ 520664 w 951307"/>
                    <a:gd name="connsiteY0" fmla="*/ 0 h 677745"/>
                    <a:gd name="connsiteX1" fmla="*/ 761459 w 951307"/>
                    <a:gd name="connsiteY1" fmla="*/ 160530 h 677745"/>
                    <a:gd name="connsiteX2" fmla="*/ 762317 w 951307"/>
                    <a:gd name="connsiteY2" fmla="*/ 163391 h 677745"/>
                    <a:gd name="connsiteX3" fmla="*/ 792077 w 951307"/>
                    <a:gd name="connsiteY3" fmla="*/ 172691 h 677745"/>
                    <a:gd name="connsiteX4" fmla="*/ 929786 w 951307"/>
                    <a:gd name="connsiteY4" fmla="*/ 518589 h 677745"/>
                    <a:gd name="connsiteX5" fmla="*/ 689921 w 951307"/>
                    <a:gd name="connsiteY5" fmla="*/ 677745 h 677745"/>
                    <a:gd name="connsiteX6" fmla="*/ 489616 w 951307"/>
                    <a:gd name="connsiteY6" fmla="*/ 582028 h 677745"/>
                    <a:gd name="connsiteX7" fmla="*/ 477026 w 951307"/>
                    <a:gd name="connsiteY7" fmla="*/ 561282 h 677745"/>
                    <a:gd name="connsiteX8" fmla="*/ 477026 w 951307"/>
                    <a:gd name="connsiteY8" fmla="*/ 561282 h 677745"/>
                    <a:gd name="connsiteX9" fmla="*/ 113626 w 951307"/>
                    <a:gd name="connsiteY9" fmla="*/ 629089 h 677745"/>
                    <a:gd name="connsiteX10" fmla="*/ 45820 w 951307"/>
                    <a:gd name="connsiteY10" fmla="*/ 265688 h 677745"/>
                    <a:gd name="connsiteX11" fmla="*/ 260697 w 951307"/>
                    <a:gd name="connsiteY11" fmla="*/ 152089 h 677745"/>
                    <a:gd name="connsiteX12" fmla="*/ 284447 w 951307"/>
                    <a:gd name="connsiteY12" fmla="*/ 154521 h 677745"/>
                    <a:gd name="connsiteX13" fmla="*/ 305193 w 951307"/>
                    <a:gd name="connsiteY13" fmla="*/ 115891 h 677745"/>
                    <a:gd name="connsiteX14" fmla="*/ 520664 w 951307"/>
                    <a:gd name="connsiteY14" fmla="*/ 0 h 67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1307" h="677745">
                      <a:moveTo>
                        <a:pt x="520664" y="0"/>
                      </a:moveTo>
                      <a:cubicBezTo>
                        <a:pt x="625977" y="-10"/>
                        <a:pt x="720963" y="63314"/>
                        <a:pt x="761459" y="160530"/>
                      </a:cubicBezTo>
                      <a:lnTo>
                        <a:pt x="762317" y="163391"/>
                      </a:lnTo>
                      <a:lnTo>
                        <a:pt x="792077" y="172691"/>
                      </a:lnTo>
                      <a:cubicBezTo>
                        <a:pt x="925621" y="230182"/>
                        <a:pt x="987275" y="385044"/>
                        <a:pt x="929786" y="518589"/>
                      </a:cubicBezTo>
                      <a:cubicBezTo>
                        <a:pt x="888485" y="614528"/>
                        <a:pt x="794370" y="676976"/>
                        <a:pt x="689921" y="677745"/>
                      </a:cubicBezTo>
                      <a:cubicBezTo>
                        <a:pt x="612179" y="677486"/>
                        <a:pt x="538655" y="642353"/>
                        <a:pt x="489616" y="582028"/>
                      </a:cubicBezTo>
                      <a:lnTo>
                        <a:pt x="477026" y="561282"/>
                      </a:lnTo>
                      <a:lnTo>
                        <a:pt x="477026" y="561282"/>
                      </a:lnTo>
                      <a:cubicBezTo>
                        <a:pt x="395400" y="680356"/>
                        <a:pt x="232700" y="710714"/>
                        <a:pt x="113626" y="629089"/>
                      </a:cubicBezTo>
                      <a:cubicBezTo>
                        <a:pt x="-5450" y="547463"/>
                        <a:pt x="-35807" y="384762"/>
                        <a:pt x="45820" y="265688"/>
                      </a:cubicBezTo>
                      <a:cubicBezTo>
                        <a:pt x="94414" y="194799"/>
                        <a:pt x="174752" y="152327"/>
                        <a:pt x="260697" y="152089"/>
                      </a:cubicBezTo>
                      <a:lnTo>
                        <a:pt x="284447" y="154521"/>
                      </a:lnTo>
                      <a:lnTo>
                        <a:pt x="305193" y="115891"/>
                      </a:lnTo>
                      <a:cubicBezTo>
                        <a:pt x="353250" y="43804"/>
                        <a:pt x="434028" y="358"/>
                        <a:pt x="520664" y="0"/>
                      </a:cubicBezTo>
                      <a:close/>
                    </a:path>
                  </a:pathLst>
                </a:custGeom>
                <a:solidFill>
                  <a:srgbClr val="0D274D"/>
                </a:solidFill>
                <a:ln w="14288" cap="flat">
                  <a:noFill/>
                  <a:prstDash val="solid"/>
                  <a:miter/>
                </a:ln>
              </p:spPr>
              <p:txBody>
                <a:bodyPr rtlCol="0" anchor="ctr"/>
                <a:lstStyle/>
                <a:p>
                  <a:endParaRPr lang="en-IN" dirty="0"/>
                </a:p>
              </p:txBody>
            </p:sp>
          </p:grpSp>
          <p:sp>
            <p:nvSpPr>
              <p:cNvPr id="156" name="Freeform: Shape 155">
                <a:extLst>
                  <a:ext uri="{FF2B5EF4-FFF2-40B4-BE49-F238E27FC236}">
                    <a16:creationId xmlns:a16="http://schemas.microsoft.com/office/drawing/2014/main" id="{0694A9AE-977B-49E4-9644-9C7E9C576A8A}"/>
                  </a:ext>
                </a:extLst>
              </p:cNvPr>
              <p:cNvSpPr/>
              <p:nvPr/>
            </p:nvSpPr>
            <p:spPr>
              <a:xfrm>
                <a:off x="4351709" y="1151356"/>
                <a:ext cx="245802" cy="245802"/>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157" name="Freeform: Shape 156">
                <a:extLst>
                  <a:ext uri="{FF2B5EF4-FFF2-40B4-BE49-F238E27FC236}">
                    <a16:creationId xmlns:a16="http://schemas.microsoft.com/office/drawing/2014/main" id="{04E6E782-3B51-4F4B-B102-C4C0F0B0E035}"/>
                  </a:ext>
                </a:extLst>
              </p:cNvPr>
              <p:cNvSpPr/>
              <p:nvPr/>
            </p:nvSpPr>
            <p:spPr>
              <a:xfrm>
                <a:off x="3771600" y="2018825"/>
                <a:ext cx="178275" cy="178275"/>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sp>
            <p:nvSpPr>
              <p:cNvPr id="158" name="Freeform: Shape 157">
                <a:extLst>
                  <a:ext uri="{FF2B5EF4-FFF2-40B4-BE49-F238E27FC236}">
                    <a16:creationId xmlns:a16="http://schemas.microsoft.com/office/drawing/2014/main" id="{5BB5BFDA-812A-4455-9808-362CB71F2E39}"/>
                  </a:ext>
                </a:extLst>
              </p:cNvPr>
              <p:cNvSpPr/>
              <p:nvPr/>
            </p:nvSpPr>
            <p:spPr>
              <a:xfrm>
                <a:off x="5025218" y="2124013"/>
                <a:ext cx="302431" cy="302431"/>
              </a:xfrm>
              <a:custGeom>
                <a:avLst/>
                <a:gdLst>
                  <a:gd name="connsiteX0" fmla="*/ 0 w 245802"/>
                  <a:gd name="connsiteY0" fmla="*/ 122901 h 245802"/>
                  <a:gd name="connsiteX1" fmla="*/ 122901 w 245802"/>
                  <a:gd name="connsiteY1" fmla="*/ 0 h 245802"/>
                  <a:gd name="connsiteX2" fmla="*/ 245803 w 245802"/>
                  <a:gd name="connsiteY2" fmla="*/ 122901 h 245802"/>
                  <a:gd name="connsiteX3" fmla="*/ 122901 w 245802"/>
                  <a:gd name="connsiteY3" fmla="*/ 245803 h 245802"/>
                  <a:gd name="connsiteX4" fmla="*/ 0 w 245802"/>
                  <a:gd name="connsiteY4" fmla="*/ 122901 h 245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02" h="245802">
                    <a:moveTo>
                      <a:pt x="0" y="122901"/>
                    </a:moveTo>
                    <a:cubicBezTo>
                      <a:pt x="0" y="55025"/>
                      <a:pt x="55025" y="0"/>
                      <a:pt x="122901" y="0"/>
                    </a:cubicBezTo>
                    <a:cubicBezTo>
                      <a:pt x="190777" y="0"/>
                      <a:pt x="245803" y="55025"/>
                      <a:pt x="245803" y="122901"/>
                    </a:cubicBezTo>
                    <a:cubicBezTo>
                      <a:pt x="245803" y="190777"/>
                      <a:pt x="190777" y="245803"/>
                      <a:pt x="122901" y="245803"/>
                    </a:cubicBezTo>
                    <a:cubicBezTo>
                      <a:pt x="55025" y="245803"/>
                      <a:pt x="0" y="190777"/>
                      <a:pt x="0" y="122901"/>
                    </a:cubicBezTo>
                    <a:close/>
                  </a:path>
                </a:pathLst>
              </a:custGeom>
              <a:solidFill>
                <a:srgbClr val="00BCEB">
                  <a:alpha val="81000"/>
                </a:srgbClr>
              </a:solidFill>
              <a:ln w="14288" cap="flat">
                <a:noFill/>
                <a:prstDash val="solid"/>
                <a:miter/>
              </a:ln>
            </p:spPr>
            <p:txBody>
              <a:bodyPr rtlCol="0" anchor="ctr"/>
              <a:lstStyle/>
              <a:p>
                <a:endParaRPr lang="en-IN" dirty="0"/>
              </a:p>
            </p:txBody>
          </p:sp>
        </p:grpSp>
        <p:sp>
          <p:nvSpPr>
            <p:cNvPr id="154" name="Freeform 752">
              <a:extLst>
                <a:ext uri="{FF2B5EF4-FFF2-40B4-BE49-F238E27FC236}">
                  <a16:creationId xmlns:a16="http://schemas.microsoft.com/office/drawing/2014/main" id="{4B311049-613B-4015-8AA7-151845A8CF43}"/>
                </a:ext>
              </a:extLst>
            </p:cNvPr>
            <p:cNvSpPr>
              <a:spLocks/>
            </p:cNvSpPr>
            <p:nvPr/>
          </p:nvSpPr>
          <p:spPr bwMode="auto">
            <a:xfrm>
              <a:off x="1132004" y="2031609"/>
              <a:ext cx="1168284" cy="287453"/>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noFill/>
            <a:ln>
              <a:noFill/>
            </a:ln>
          </p:spPr>
          <p:txBody>
            <a:bodyPr vert="horz" wrap="square" lIns="91440" tIns="45720" rIns="91440" bIns="45720" numCol="1" anchor="t" anchorCtr="0" compatLnSpc="1">
              <a:prstTxWarp prst="textNoShape">
                <a:avLst/>
              </a:prstTxWarp>
            </a:bodyPr>
            <a:lstStyle/>
            <a:p>
              <a:pPr algn="ctr"/>
              <a:r>
                <a:rPr lang="en-US" sz="1400" dirty="0">
                  <a:solidFill>
                    <a:schemeClr val="bg2"/>
                  </a:solidFill>
                </a:rPr>
                <a:t>Cloud Apps</a:t>
              </a:r>
            </a:p>
          </p:txBody>
        </p:sp>
      </p:grpSp>
      <p:sp>
        <p:nvSpPr>
          <p:cNvPr id="161" name="Rectangle 160">
            <a:extLst>
              <a:ext uri="{FF2B5EF4-FFF2-40B4-BE49-F238E27FC236}">
                <a16:creationId xmlns:a16="http://schemas.microsoft.com/office/drawing/2014/main" id="{46943FD3-F695-4BBB-BD4A-8F68E69B9791}"/>
              </a:ext>
            </a:extLst>
          </p:cNvPr>
          <p:cNvSpPr/>
          <p:nvPr/>
        </p:nvSpPr>
        <p:spPr>
          <a:xfrm rot="5400000">
            <a:off x="5163213" y="2716472"/>
            <a:ext cx="1499815" cy="3693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r>
              <a:rPr lang="en-US" sz="1200" dirty="0">
                <a:solidFill>
                  <a:schemeClr val="accent1"/>
                </a:solidFill>
              </a:rPr>
              <a:t>00101 001 1011 1010 </a:t>
            </a:r>
          </a:p>
        </p:txBody>
      </p:sp>
      <p:sp>
        <p:nvSpPr>
          <p:cNvPr id="162" name="Freeform: Shape 161">
            <a:extLst>
              <a:ext uri="{FF2B5EF4-FFF2-40B4-BE49-F238E27FC236}">
                <a16:creationId xmlns:a16="http://schemas.microsoft.com/office/drawing/2014/main" id="{49269246-8C62-4437-98E1-4388738BA0F6}"/>
              </a:ext>
            </a:extLst>
          </p:cNvPr>
          <p:cNvSpPr/>
          <p:nvPr/>
        </p:nvSpPr>
        <p:spPr>
          <a:xfrm>
            <a:off x="7013805" y="2972431"/>
            <a:ext cx="353279" cy="921994"/>
          </a:xfrm>
          <a:custGeom>
            <a:avLst/>
            <a:gdLst>
              <a:gd name="connsiteX0" fmla="*/ 255 w 859512"/>
              <a:gd name="connsiteY0" fmla="*/ 0 h 2243174"/>
              <a:gd name="connsiteX1" fmla="*/ 78812 w 859512"/>
              <a:gd name="connsiteY1" fmla="*/ 22637 h 2243174"/>
              <a:gd name="connsiteX2" fmla="*/ 722687 w 859512"/>
              <a:gd name="connsiteY2" fmla="*/ 282200 h 2243174"/>
              <a:gd name="connsiteX3" fmla="*/ 859512 w 859512"/>
              <a:gd name="connsiteY3" fmla="*/ 443170 h 2243174"/>
              <a:gd name="connsiteX4" fmla="*/ 859512 w 859512"/>
              <a:gd name="connsiteY4" fmla="*/ 1180273 h 2243174"/>
              <a:gd name="connsiteX5" fmla="*/ 677080 w 859512"/>
              <a:gd name="connsiteY5" fmla="*/ 1665864 h 2243174"/>
              <a:gd name="connsiteX6" fmla="*/ 141856 w 859512"/>
              <a:gd name="connsiteY6" fmla="*/ 2190358 h 2243174"/>
              <a:gd name="connsiteX7" fmla="*/ 3 w 859512"/>
              <a:gd name="connsiteY7" fmla="*/ 2243174 h 2243174"/>
              <a:gd name="connsiteX8" fmla="*/ 0 w 859512"/>
              <a:gd name="connsiteY8" fmla="*/ 2243174 h 2243174"/>
              <a:gd name="connsiteX9" fmla="*/ 0 w 859512"/>
              <a:gd name="connsiteY9" fmla="*/ 36 h 2243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9512" h="2243174">
                <a:moveTo>
                  <a:pt x="255" y="0"/>
                </a:moveTo>
                <a:cubicBezTo>
                  <a:pt x="27670" y="0"/>
                  <a:pt x="55001" y="7546"/>
                  <a:pt x="78812" y="22637"/>
                </a:cubicBezTo>
                <a:cubicBezTo>
                  <a:pt x="278010" y="150742"/>
                  <a:pt x="491964" y="239944"/>
                  <a:pt x="722687" y="282200"/>
                </a:cubicBezTo>
                <a:cubicBezTo>
                  <a:pt x="801160" y="296956"/>
                  <a:pt x="859512" y="363354"/>
                  <a:pt x="859512" y="443170"/>
                </a:cubicBezTo>
                <a:lnTo>
                  <a:pt x="859512" y="1180273"/>
                </a:lnTo>
                <a:cubicBezTo>
                  <a:pt x="859512" y="1359351"/>
                  <a:pt x="795122" y="1531723"/>
                  <a:pt x="677080" y="1665864"/>
                </a:cubicBezTo>
                <a:cubicBezTo>
                  <a:pt x="521475" y="1842932"/>
                  <a:pt x="341057" y="2017314"/>
                  <a:pt x="141856" y="2190358"/>
                </a:cubicBezTo>
                <a:cubicBezTo>
                  <a:pt x="101280" y="2225569"/>
                  <a:pt x="50642" y="2243174"/>
                  <a:pt x="3" y="2243174"/>
                </a:cubicBezTo>
                <a:lnTo>
                  <a:pt x="0" y="2243174"/>
                </a:lnTo>
                <a:lnTo>
                  <a:pt x="0" y="36"/>
                </a:lnTo>
                <a:close/>
              </a:path>
            </a:pathLst>
          </a:custGeom>
          <a:noFill/>
          <a:ln w="7144" cap="flat">
            <a:solidFill>
              <a:srgbClr val="0D274D"/>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82828"/>
              </a:solidFill>
              <a:effectLst/>
              <a:uLnTx/>
              <a:uFillTx/>
            </a:endParaRPr>
          </a:p>
        </p:txBody>
      </p:sp>
      <p:sp>
        <p:nvSpPr>
          <p:cNvPr id="163" name="Freeform: Shape 162">
            <a:extLst>
              <a:ext uri="{FF2B5EF4-FFF2-40B4-BE49-F238E27FC236}">
                <a16:creationId xmlns:a16="http://schemas.microsoft.com/office/drawing/2014/main" id="{360E3715-8D90-4531-AF4E-533C677C58D3}"/>
              </a:ext>
            </a:extLst>
          </p:cNvPr>
          <p:cNvSpPr/>
          <p:nvPr/>
        </p:nvSpPr>
        <p:spPr>
          <a:xfrm>
            <a:off x="6732452" y="3064496"/>
            <a:ext cx="565446" cy="737863"/>
          </a:xfrm>
          <a:custGeom>
            <a:avLst/>
            <a:gdLst>
              <a:gd name="connsiteX0" fmla="*/ 565726 w 614648"/>
              <a:gd name="connsiteY0" fmla="*/ 100903 h 802065"/>
              <a:gd name="connsiteX1" fmla="*/ 335503 w 614648"/>
              <a:gd name="connsiteY1" fmla="*/ 8094 h 802065"/>
              <a:gd name="connsiteX2" fmla="*/ 279146 w 614648"/>
              <a:gd name="connsiteY2" fmla="*/ 8094 h 802065"/>
              <a:gd name="connsiteX3" fmla="*/ 48922 w 614648"/>
              <a:gd name="connsiteY3" fmla="*/ 100903 h 802065"/>
              <a:gd name="connsiteX4" fmla="*/ 0 w 614648"/>
              <a:gd name="connsiteY4" fmla="*/ 158459 h 802065"/>
              <a:gd name="connsiteX5" fmla="*/ 0 w 614648"/>
              <a:gd name="connsiteY5" fmla="*/ 422016 h 802065"/>
              <a:gd name="connsiteX6" fmla="*/ 65230 w 614648"/>
              <a:gd name="connsiteY6" fmla="*/ 595643 h 802065"/>
              <a:gd name="connsiteX7" fmla="*/ 256603 w 614648"/>
              <a:gd name="connsiteY7" fmla="*/ 783180 h 802065"/>
              <a:gd name="connsiteX8" fmla="*/ 358045 w 614648"/>
              <a:gd name="connsiteY8" fmla="*/ 783180 h 802065"/>
              <a:gd name="connsiteX9" fmla="*/ 549419 w 614648"/>
              <a:gd name="connsiteY9" fmla="*/ 595643 h 802065"/>
              <a:gd name="connsiteX10" fmla="*/ 614649 w 614648"/>
              <a:gd name="connsiteY10" fmla="*/ 422016 h 802065"/>
              <a:gd name="connsiteX11" fmla="*/ 614649 w 614648"/>
              <a:gd name="connsiteY11" fmla="*/ 158459 h 802065"/>
              <a:gd name="connsiteX12" fmla="*/ 565726 w 614648"/>
              <a:gd name="connsiteY12" fmla="*/ 100903 h 802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4648" h="802065">
                <a:moveTo>
                  <a:pt x="565726" y="100903"/>
                </a:moveTo>
                <a:cubicBezTo>
                  <a:pt x="483229" y="85794"/>
                  <a:pt x="406728" y="53899"/>
                  <a:pt x="335503" y="8094"/>
                </a:cubicBezTo>
                <a:cubicBezTo>
                  <a:pt x="318476" y="-2698"/>
                  <a:pt x="296413" y="-2698"/>
                  <a:pt x="279146" y="8094"/>
                </a:cubicBezTo>
                <a:cubicBezTo>
                  <a:pt x="207921" y="53659"/>
                  <a:pt x="131419" y="85794"/>
                  <a:pt x="48922" y="100903"/>
                </a:cubicBezTo>
                <a:cubicBezTo>
                  <a:pt x="20864" y="105939"/>
                  <a:pt x="0" y="129920"/>
                  <a:pt x="0" y="158459"/>
                </a:cubicBezTo>
                <a:lnTo>
                  <a:pt x="0" y="422016"/>
                </a:lnTo>
                <a:cubicBezTo>
                  <a:pt x="0" y="485807"/>
                  <a:pt x="23022" y="547680"/>
                  <a:pt x="65230" y="595643"/>
                </a:cubicBezTo>
                <a:cubicBezTo>
                  <a:pt x="120867" y="658715"/>
                  <a:pt x="185378" y="721067"/>
                  <a:pt x="256603" y="783180"/>
                </a:cubicBezTo>
                <a:cubicBezTo>
                  <a:pt x="285621" y="808360"/>
                  <a:pt x="329028" y="808360"/>
                  <a:pt x="358045" y="783180"/>
                </a:cubicBezTo>
                <a:cubicBezTo>
                  <a:pt x="429271" y="721307"/>
                  <a:pt x="493781" y="658955"/>
                  <a:pt x="549419" y="595643"/>
                </a:cubicBezTo>
                <a:cubicBezTo>
                  <a:pt x="591626" y="547680"/>
                  <a:pt x="614649" y="486047"/>
                  <a:pt x="614649" y="422016"/>
                </a:cubicBezTo>
                <a:lnTo>
                  <a:pt x="614649" y="158459"/>
                </a:lnTo>
                <a:cubicBezTo>
                  <a:pt x="614649" y="129920"/>
                  <a:pt x="593785" y="106179"/>
                  <a:pt x="565726" y="100903"/>
                </a:cubicBezTo>
                <a:close/>
              </a:path>
            </a:pathLst>
          </a:custGeom>
          <a:solidFill>
            <a:srgbClr val="1E4471"/>
          </a:solidFill>
          <a:ln w="1428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82828"/>
              </a:solidFill>
              <a:effectLst/>
              <a:uLnTx/>
              <a:uFillTx/>
            </a:endParaRPr>
          </a:p>
        </p:txBody>
      </p:sp>
      <p:sp>
        <p:nvSpPr>
          <p:cNvPr id="164" name="Freeform: Shape 163">
            <a:extLst>
              <a:ext uri="{FF2B5EF4-FFF2-40B4-BE49-F238E27FC236}">
                <a16:creationId xmlns:a16="http://schemas.microsoft.com/office/drawing/2014/main" id="{2B472880-B21F-44CA-B870-DACAE8D563A6}"/>
              </a:ext>
            </a:extLst>
          </p:cNvPr>
          <p:cNvSpPr/>
          <p:nvPr/>
        </p:nvSpPr>
        <p:spPr>
          <a:xfrm rot="5400000">
            <a:off x="6784818" y="3605220"/>
            <a:ext cx="268729" cy="238928"/>
          </a:xfrm>
          <a:custGeom>
            <a:avLst/>
            <a:gdLst>
              <a:gd name="connsiteX0" fmla="*/ 93595 w 929392"/>
              <a:gd name="connsiteY0" fmla="*/ 826261 h 826323"/>
              <a:gd name="connsiteX1" fmla="*/ 20197 w 929392"/>
              <a:gd name="connsiteY1" fmla="*/ 712946 h 826323"/>
              <a:gd name="connsiteX2" fmla="*/ 395769 w 929392"/>
              <a:gd name="connsiteY2" fmla="*/ 69109 h 826323"/>
              <a:gd name="connsiteX3" fmla="*/ 539845 w 929392"/>
              <a:gd name="connsiteY3" fmla="*/ 69109 h 826323"/>
              <a:gd name="connsiteX4" fmla="*/ 904257 w 929392"/>
              <a:gd name="connsiteY4" fmla="*/ 704361 h 826323"/>
              <a:gd name="connsiteX5" fmla="*/ 847027 w 929392"/>
              <a:gd name="connsiteY5" fmla="*/ 823543 h 826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9392" h="826323">
                <a:moveTo>
                  <a:pt x="93595" y="826261"/>
                </a:moveTo>
                <a:cubicBezTo>
                  <a:pt x="4173" y="828264"/>
                  <a:pt x="-23154" y="781908"/>
                  <a:pt x="20197" y="712946"/>
                </a:cubicBezTo>
                <a:lnTo>
                  <a:pt x="395769" y="69109"/>
                </a:lnTo>
                <a:cubicBezTo>
                  <a:pt x="443842" y="-24462"/>
                  <a:pt x="494633" y="-21600"/>
                  <a:pt x="539845" y="69109"/>
                </a:cubicBezTo>
                <a:lnTo>
                  <a:pt x="904257" y="704361"/>
                </a:lnTo>
                <a:cubicBezTo>
                  <a:pt x="958911" y="772465"/>
                  <a:pt x="917420" y="823543"/>
                  <a:pt x="847027" y="823543"/>
                </a:cubicBezTo>
                <a:close/>
              </a:path>
            </a:pathLst>
          </a:custGeom>
          <a:solidFill>
            <a:srgbClr val="00BCE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nvGrpSpPr>
          <p:cNvPr id="165" name="Group 164">
            <a:extLst>
              <a:ext uri="{FF2B5EF4-FFF2-40B4-BE49-F238E27FC236}">
                <a16:creationId xmlns:a16="http://schemas.microsoft.com/office/drawing/2014/main" id="{9C33C6C4-3FA8-49CE-B659-3C0936F28C3A}"/>
              </a:ext>
            </a:extLst>
          </p:cNvPr>
          <p:cNvGrpSpPr/>
          <p:nvPr/>
        </p:nvGrpSpPr>
        <p:grpSpPr>
          <a:xfrm>
            <a:off x="6511505" y="3620426"/>
            <a:ext cx="270655" cy="208516"/>
            <a:chOff x="3442578" y="3133255"/>
            <a:chExt cx="406928" cy="313502"/>
          </a:xfrm>
          <a:solidFill>
            <a:srgbClr val="00BCEB"/>
          </a:solidFill>
        </p:grpSpPr>
        <p:grpSp>
          <p:nvGrpSpPr>
            <p:cNvPr id="166" name="Graphic 3">
              <a:extLst>
                <a:ext uri="{FF2B5EF4-FFF2-40B4-BE49-F238E27FC236}">
                  <a16:creationId xmlns:a16="http://schemas.microsoft.com/office/drawing/2014/main" id="{799F2065-0ED4-4699-880A-751C6846776D}"/>
                </a:ext>
              </a:extLst>
            </p:cNvPr>
            <p:cNvGrpSpPr/>
            <p:nvPr/>
          </p:nvGrpSpPr>
          <p:grpSpPr>
            <a:xfrm>
              <a:off x="3442578" y="3133255"/>
              <a:ext cx="406928" cy="26971"/>
              <a:chOff x="9280892" y="2080036"/>
              <a:chExt cx="2259045" cy="149726"/>
            </a:xfrm>
            <a:grpFill/>
          </p:grpSpPr>
          <p:sp>
            <p:nvSpPr>
              <p:cNvPr id="222" name="Freeform: Shape 221">
                <a:extLst>
                  <a:ext uri="{FF2B5EF4-FFF2-40B4-BE49-F238E27FC236}">
                    <a16:creationId xmlns:a16="http://schemas.microsoft.com/office/drawing/2014/main" id="{093D2B62-D2CC-494A-B5B0-3A140164B2C4}"/>
                  </a:ext>
                </a:extLst>
              </p:cNvPr>
              <p:cNvSpPr/>
              <p:nvPr/>
            </p:nvSpPr>
            <p:spPr>
              <a:xfrm>
                <a:off x="11390211" y="2080036"/>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3" name="Freeform: Shape 222">
                <a:extLst>
                  <a:ext uri="{FF2B5EF4-FFF2-40B4-BE49-F238E27FC236}">
                    <a16:creationId xmlns:a16="http://schemas.microsoft.com/office/drawing/2014/main" id="{6ECD4F3D-10D9-420F-A657-F2E197B7FA2B}"/>
                  </a:ext>
                </a:extLst>
              </p:cNvPr>
              <p:cNvSpPr/>
              <p:nvPr/>
            </p:nvSpPr>
            <p:spPr>
              <a:xfrm>
                <a:off x="11155798" y="2084948"/>
                <a:ext cx="139903" cy="139902"/>
              </a:xfrm>
              <a:custGeom>
                <a:avLst/>
                <a:gdLst>
                  <a:gd name="connsiteX0" fmla="*/ 139903 w 139903"/>
                  <a:gd name="connsiteY0" fmla="*/ 69951 h 139902"/>
                  <a:gd name="connsiteX1" fmla="*/ 69952 w 139903"/>
                  <a:gd name="connsiteY1" fmla="*/ 139903 h 139902"/>
                  <a:gd name="connsiteX2" fmla="*/ 1 w 139903"/>
                  <a:gd name="connsiteY2" fmla="*/ 69951 h 139902"/>
                  <a:gd name="connsiteX3" fmla="*/ 69952 w 139903"/>
                  <a:gd name="connsiteY3" fmla="*/ 0 h 139902"/>
                  <a:gd name="connsiteX4" fmla="*/ 139903 w 139903"/>
                  <a:gd name="connsiteY4" fmla="*/ 69951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1"/>
                    </a:moveTo>
                    <a:cubicBezTo>
                      <a:pt x="139903" y="108585"/>
                      <a:pt x="108584" y="139903"/>
                      <a:pt x="69952" y="139903"/>
                    </a:cubicBezTo>
                    <a:cubicBezTo>
                      <a:pt x="31318" y="139903"/>
                      <a:pt x="1" y="108585"/>
                      <a:pt x="1" y="69951"/>
                    </a:cubicBezTo>
                    <a:cubicBezTo>
                      <a:pt x="1" y="31318"/>
                      <a:pt x="31319" y="0"/>
                      <a:pt x="69952" y="0"/>
                    </a:cubicBezTo>
                    <a:cubicBezTo>
                      <a:pt x="108585" y="0"/>
                      <a:pt x="139903" y="31318"/>
                      <a:pt x="139903" y="6995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4" name="Freeform: Shape 223">
                <a:extLst>
                  <a:ext uri="{FF2B5EF4-FFF2-40B4-BE49-F238E27FC236}">
                    <a16:creationId xmlns:a16="http://schemas.microsoft.com/office/drawing/2014/main" id="{F3D786FB-70BB-4BB3-ADC0-E7B1FEFFD44D}"/>
                  </a:ext>
                </a:extLst>
              </p:cNvPr>
              <p:cNvSpPr/>
              <p:nvPr/>
            </p:nvSpPr>
            <p:spPr>
              <a:xfrm>
                <a:off x="10920989" y="2089384"/>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5" name="Freeform: Shape 224">
                <a:extLst>
                  <a:ext uri="{FF2B5EF4-FFF2-40B4-BE49-F238E27FC236}">
                    <a16:creationId xmlns:a16="http://schemas.microsoft.com/office/drawing/2014/main" id="{B68C5020-D2DD-4905-AE74-356C876C13F4}"/>
                  </a:ext>
                </a:extLst>
              </p:cNvPr>
              <p:cNvSpPr/>
              <p:nvPr/>
            </p:nvSpPr>
            <p:spPr>
              <a:xfrm>
                <a:off x="10686894" y="2094613"/>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6" name="Freeform: Shape 225">
                <a:extLst>
                  <a:ext uri="{FF2B5EF4-FFF2-40B4-BE49-F238E27FC236}">
                    <a16:creationId xmlns:a16="http://schemas.microsoft.com/office/drawing/2014/main" id="{04622DFD-EBBD-4B78-9E15-DDCC961303E9}"/>
                  </a:ext>
                </a:extLst>
              </p:cNvPr>
              <p:cNvSpPr/>
              <p:nvPr/>
            </p:nvSpPr>
            <p:spPr>
              <a:xfrm>
                <a:off x="10452005" y="2099049"/>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7" name="Freeform: Shape 226">
                <a:extLst>
                  <a:ext uri="{FF2B5EF4-FFF2-40B4-BE49-F238E27FC236}">
                    <a16:creationId xmlns:a16="http://schemas.microsoft.com/office/drawing/2014/main" id="{0B7FFD3E-8553-44DB-83E9-00BCF32B3708}"/>
                  </a:ext>
                </a:extLst>
              </p:cNvPr>
              <p:cNvSpPr/>
              <p:nvPr/>
            </p:nvSpPr>
            <p:spPr>
              <a:xfrm>
                <a:off x="10217513" y="2103882"/>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8" name="Freeform: Shape 227">
                <a:extLst>
                  <a:ext uri="{FF2B5EF4-FFF2-40B4-BE49-F238E27FC236}">
                    <a16:creationId xmlns:a16="http://schemas.microsoft.com/office/drawing/2014/main" id="{23BD9CA0-FF72-43F1-A280-1A5A733CC658}"/>
                  </a:ext>
                </a:extLst>
              </p:cNvPr>
              <p:cNvSpPr/>
              <p:nvPr/>
            </p:nvSpPr>
            <p:spPr>
              <a:xfrm>
                <a:off x="9983021" y="2108714"/>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9" name="Freeform: Shape 228">
                <a:extLst>
                  <a:ext uri="{FF2B5EF4-FFF2-40B4-BE49-F238E27FC236}">
                    <a16:creationId xmlns:a16="http://schemas.microsoft.com/office/drawing/2014/main" id="{5974C977-D075-491E-8779-5BD85C778929}"/>
                  </a:ext>
                </a:extLst>
              </p:cNvPr>
              <p:cNvSpPr/>
              <p:nvPr/>
            </p:nvSpPr>
            <p:spPr>
              <a:xfrm>
                <a:off x="9749401" y="2114339"/>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30" name="Freeform: Shape 229">
                <a:extLst>
                  <a:ext uri="{FF2B5EF4-FFF2-40B4-BE49-F238E27FC236}">
                    <a16:creationId xmlns:a16="http://schemas.microsoft.com/office/drawing/2014/main" id="{162E5D00-4E4F-4C70-B0DC-AA3C73CA7460}"/>
                  </a:ext>
                </a:extLst>
              </p:cNvPr>
              <p:cNvSpPr/>
              <p:nvPr/>
            </p:nvSpPr>
            <p:spPr>
              <a:xfrm>
                <a:off x="9514830" y="2119092"/>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31" name="Freeform: Shape 230">
                <a:extLst>
                  <a:ext uri="{FF2B5EF4-FFF2-40B4-BE49-F238E27FC236}">
                    <a16:creationId xmlns:a16="http://schemas.microsoft.com/office/drawing/2014/main" id="{E7974FF2-7B4B-439C-A101-5D6EB0789B78}"/>
                  </a:ext>
                </a:extLst>
              </p:cNvPr>
              <p:cNvSpPr/>
              <p:nvPr/>
            </p:nvSpPr>
            <p:spPr>
              <a:xfrm>
                <a:off x="9280892" y="2124479"/>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167" name="Graphic 3">
              <a:extLst>
                <a:ext uri="{FF2B5EF4-FFF2-40B4-BE49-F238E27FC236}">
                  <a16:creationId xmlns:a16="http://schemas.microsoft.com/office/drawing/2014/main" id="{1F3C83A0-1A55-4E86-9643-6A7909BF38CD}"/>
                </a:ext>
              </a:extLst>
            </p:cNvPr>
            <p:cNvGrpSpPr/>
            <p:nvPr/>
          </p:nvGrpSpPr>
          <p:grpSpPr>
            <a:xfrm>
              <a:off x="3442578" y="3190564"/>
              <a:ext cx="406928" cy="26971"/>
              <a:chOff x="9280892" y="2398185"/>
              <a:chExt cx="2259045" cy="149726"/>
            </a:xfrm>
            <a:grpFill/>
          </p:grpSpPr>
          <p:sp>
            <p:nvSpPr>
              <p:cNvPr id="212" name="Freeform: Shape 211">
                <a:extLst>
                  <a:ext uri="{FF2B5EF4-FFF2-40B4-BE49-F238E27FC236}">
                    <a16:creationId xmlns:a16="http://schemas.microsoft.com/office/drawing/2014/main" id="{0DA7503F-3A6F-433E-9EEF-A74322E1963B}"/>
                  </a:ext>
                </a:extLst>
              </p:cNvPr>
              <p:cNvSpPr/>
              <p:nvPr/>
            </p:nvSpPr>
            <p:spPr>
              <a:xfrm>
                <a:off x="11390211" y="2398185"/>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3" name="Freeform: Shape 212">
                <a:extLst>
                  <a:ext uri="{FF2B5EF4-FFF2-40B4-BE49-F238E27FC236}">
                    <a16:creationId xmlns:a16="http://schemas.microsoft.com/office/drawing/2014/main" id="{2712F5A3-7F05-4D5B-BAA6-05D395B524AD}"/>
                  </a:ext>
                </a:extLst>
              </p:cNvPr>
              <p:cNvSpPr/>
              <p:nvPr/>
            </p:nvSpPr>
            <p:spPr>
              <a:xfrm>
                <a:off x="11155798" y="2403097"/>
                <a:ext cx="139903" cy="139902"/>
              </a:xfrm>
              <a:custGeom>
                <a:avLst/>
                <a:gdLst>
                  <a:gd name="connsiteX0" fmla="*/ 139903 w 139903"/>
                  <a:gd name="connsiteY0" fmla="*/ 69952 h 139902"/>
                  <a:gd name="connsiteX1" fmla="*/ 69952 w 139903"/>
                  <a:gd name="connsiteY1" fmla="*/ 139903 h 139902"/>
                  <a:gd name="connsiteX2" fmla="*/ 1 w 139903"/>
                  <a:gd name="connsiteY2" fmla="*/ 69952 h 139902"/>
                  <a:gd name="connsiteX3" fmla="*/ 69952 w 139903"/>
                  <a:gd name="connsiteY3" fmla="*/ 0 h 139902"/>
                  <a:gd name="connsiteX4" fmla="*/ 139903 w 139903"/>
                  <a:gd name="connsiteY4" fmla="*/ 69952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2"/>
                    </a:moveTo>
                    <a:cubicBezTo>
                      <a:pt x="139903" y="108585"/>
                      <a:pt x="108584" y="139903"/>
                      <a:pt x="69952" y="139903"/>
                    </a:cubicBezTo>
                    <a:cubicBezTo>
                      <a:pt x="31318" y="139903"/>
                      <a:pt x="1" y="108585"/>
                      <a:pt x="1" y="69952"/>
                    </a:cubicBezTo>
                    <a:cubicBezTo>
                      <a:pt x="1" y="31318"/>
                      <a:pt x="31319" y="0"/>
                      <a:pt x="69952" y="0"/>
                    </a:cubicBezTo>
                    <a:cubicBezTo>
                      <a:pt x="108585" y="0"/>
                      <a:pt x="139903" y="31318"/>
                      <a:pt x="139903" y="69952"/>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4" name="Freeform: Shape 213">
                <a:extLst>
                  <a:ext uri="{FF2B5EF4-FFF2-40B4-BE49-F238E27FC236}">
                    <a16:creationId xmlns:a16="http://schemas.microsoft.com/office/drawing/2014/main" id="{971DF2B9-F1DD-4CEE-8EE1-A8063E6E0630}"/>
                  </a:ext>
                </a:extLst>
              </p:cNvPr>
              <p:cNvSpPr/>
              <p:nvPr/>
            </p:nvSpPr>
            <p:spPr>
              <a:xfrm>
                <a:off x="10920989" y="2407533"/>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5" name="Freeform: Shape 214">
                <a:extLst>
                  <a:ext uri="{FF2B5EF4-FFF2-40B4-BE49-F238E27FC236}">
                    <a16:creationId xmlns:a16="http://schemas.microsoft.com/office/drawing/2014/main" id="{EC9BC1A1-E000-4B96-807F-7CD5BFB8D914}"/>
                  </a:ext>
                </a:extLst>
              </p:cNvPr>
              <p:cNvSpPr/>
              <p:nvPr/>
            </p:nvSpPr>
            <p:spPr>
              <a:xfrm>
                <a:off x="10686894" y="2412761"/>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6" name="Freeform: Shape 215">
                <a:extLst>
                  <a:ext uri="{FF2B5EF4-FFF2-40B4-BE49-F238E27FC236}">
                    <a16:creationId xmlns:a16="http://schemas.microsoft.com/office/drawing/2014/main" id="{968DF2CA-7234-4630-92CE-53A819305BB6}"/>
                  </a:ext>
                </a:extLst>
              </p:cNvPr>
              <p:cNvSpPr/>
              <p:nvPr/>
            </p:nvSpPr>
            <p:spPr>
              <a:xfrm>
                <a:off x="10452005" y="2417198"/>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7" name="Freeform: Shape 216">
                <a:extLst>
                  <a:ext uri="{FF2B5EF4-FFF2-40B4-BE49-F238E27FC236}">
                    <a16:creationId xmlns:a16="http://schemas.microsoft.com/office/drawing/2014/main" id="{FA78F35E-1095-4188-8D1B-C8DFF7AE41CA}"/>
                  </a:ext>
                </a:extLst>
              </p:cNvPr>
              <p:cNvSpPr/>
              <p:nvPr/>
            </p:nvSpPr>
            <p:spPr>
              <a:xfrm>
                <a:off x="10217513" y="2422030"/>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8" name="Freeform: Shape 217">
                <a:extLst>
                  <a:ext uri="{FF2B5EF4-FFF2-40B4-BE49-F238E27FC236}">
                    <a16:creationId xmlns:a16="http://schemas.microsoft.com/office/drawing/2014/main" id="{81490B29-8A05-4F7C-8F1D-A00542B4EB81}"/>
                  </a:ext>
                </a:extLst>
              </p:cNvPr>
              <p:cNvSpPr/>
              <p:nvPr/>
            </p:nvSpPr>
            <p:spPr>
              <a:xfrm>
                <a:off x="9983021" y="2426863"/>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9" name="Freeform: Shape 218">
                <a:extLst>
                  <a:ext uri="{FF2B5EF4-FFF2-40B4-BE49-F238E27FC236}">
                    <a16:creationId xmlns:a16="http://schemas.microsoft.com/office/drawing/2014/main" id="{37017CD2-2286-4A21-818E-787CCBA19D96}"/>
                  </a:ext>
                </a:extLst>
              </p:cNvPr>
              <p:cNvSpPr/>
              <p:nvPr/>
            </p:nvSpPr>
            <p:spPr>
              <a:xfrm>
                <a:off x="9749401" y="2432487"/>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0" name="Freeform: Shape 219">
                <a:extLst>
                  <a:ext uri="{FF2B5EF4-FFF2-40B4-BE49-F238E27FC236}">
                    <a16:creationId xmlns:a16="http://schemas.microsoft.com/office/drawing/2014/main" id="{BF9E3D77-EA72-4253-9E23-E31C8D79D290}"/>
                  </a:ext>
                </a:extLst>
              </p:cNvPr>
              <p:cNvSpPr/>
              <p:nvPr/>
            </p:nvSpPr>
            <p:spPr>
              <a:xfrm>
                <a:off x="9514830" y="2437241"/>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21" name="Freeform: Shape 220">
                <a:extLst>
                  <a:ext uri="{FF2B5EF4-FFF2-40B4-BE49-F238E27FC236}">
                    <a16:creationId xmlns:a16="http://schemas.microsoft.com/office/drawing/2014/main" id="{A41AA0DE-16EB-4FFD-9526-E30E01294CD7}"/>
                  </a:ext>
                </a:extLst>
              </p:cNvPr>
              <p:cNvSpPr/>
              <p:nvPr/>
            </p:nvSpPr>
            <p:spPr>
              <a:xfrm>
                <a:off x="9280892" y="2442627"/>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168" name="Graphic 3">
              <a:extLst>
                <a:ext uri="{FF2B5EF4-FFF2-40B4-BE49-F238E27FC236}">
                  <a16:creationId xmlns:a16="http://schemas.microsoft.com/office/drawing/2014/main" id="{F22692E8-423F-41B2-8004-8287E8448B7F}"/>
                </a:ext>
              </a:extLst>
            </p:cNvPr>
            <p:cNvGrpSpPr/>
            <p:nvPr/>
          </p:nvGrpSpPr>
          <p:grpSpPr>
            <a:xfrm>
              <a:off x="3442578" y="3247873"/>
              <a:ext cx="406928" cy="26971"/>
              <a:chOff x="9280892" y="2716333"/>
              <a:chExt cx="2259045" cy="149726"/>
            </a:xfrm>
            <a:grpFill/>
          </p:grpSpPr>
          <p:sp>
            <p:nvSpPr>
              <p:cNvPr id="202" name="Freeform: Shape 201">
                <a:extLst>
                  <a:ext uri="{FF2B5EF4-FFF2-40B4-BE49-F238E27FC236}">
                    <a16:creationId xmlns:a16="http://schemas.microsoft.com/office/drawing/2014/main" id="{8209525A-085C-49ED-97FB-192ED83FA6C4}"/>
                  </a:ext>
                </a:extLst>
              </p:cNvPr>
              <p:cNvSpPr/>
              <p:nvPr/>
            </p:nvSpPr>
            <p:spPr>
              <a:xfrm>
                <a:off x="11390211" y="2716333"/>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3" name="Freeform: Shape 202">
                <a:extLst>
                  <a:ext uri="{FF2B5EF4-FFF2-40B4-BE49-F238E27FC236}">
                    <a16:creationId xmlns:a16="http://schemas.microsoft.com/office/drawing/2014/main" id="{FBF77791-E973-44CA-9FD2-4FA779BAF3B6}"/>
                  </a:ext>
                </a:extLst>
              </p:cNvPr>
              <p:cNvSpPr/>
              <p:nvPr/>
            </p:nvSpPr>
            <p:spPr>
              <a:xfrm>
                <a:off x="11155798" y="2721245"/>
                <a:ext cx="139903" cy="139902"/>
              </a:xfrm>
              <a:custGeom>
                <a:avLst/>
                <a:gdLst>
                  <a:gd name="connsiteX0" fmla="*/ 139903 w 139903"/>
                  <a:gd name="connsiteY0" fmla="*/ 69951 h 139902"/>
                  <a:gd name="connsiteX1" fmla="*/ 69952 w 139903"/>
                  <a:gd name="connsiteY1" fmla="*/ 139903 h 139902"/>
                  <a:gd name="connsiteX2" fmla="*/ 1 w 139903"/>
                  <a:gd name="connsiteY2" fmla="*/ 69951 h 139902"/>
                  <a:gd name="connsiteX3" fmla="*/ 69952 w 139903"/>
                  <a:gd name="connsiteY3" fmla="*/ 0 h 139902"/>
                  <a:gd name="connsiteX4" fmla="*/ 139903 w 139903"/>
                  <a:gd name="connsiteY4" fmla="*/ 69951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1"/>
                    </a:moveTo>
                    <a:cubicBezTo>
                      <a:pt x="139903" y="108585"/>
                      <a:pt x="108584" y="139903"/>
                      <a:pt x="69952" y="139903"/>
                    </a:cubicBezTo>
                    <a:cubicBezTo>
                      <a:pt x="31318" y="139903"/>
                      <a:pt x="1" y="108585"/>
                      <a:pt x="1" y="69951"/>
                    </a:cubicBezTo>
                    <a:cubicBezTo>
                      <a:pt x="1" y="31318"/>
                      <a:pt x="31319" y="0"/>
                      <a:pt x="69952" y="0"/>
                    </a:cubicBezTo>
                    <a:cubicBezTo>
                      <a:pt x="108585" y="0"/>
                      <a:pt x="139903" y="31318"/>
                      <a:pt x="139903" y="6995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4" name="Freeform: Shape 203">
                <a:extLst>
                  <a:ext uri="{FF2B5EF4-FFF2-40B4-BE49-F238E27FC236}">
                    <a16:creationId xmlns:a16="http://schemas.microsoft.com/office/drawing/2014/main" id="{3C3E5255-C1E7-4C34-8AE4-FBA6C7BF51B0}"/>
                  </a:ext>
                </a:extLst>
              </p:cNvPr>
              <p:cNvSpPr/>
              <p:nvPr/>
            </p:nvSpPr>
            <p:spPr>
              <a:xfrm>
                <a:off x="10920989" y="2725681"/>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5" name="Freeform: Shape 204">
                <a:extLst>
                  <a:ext uri="{FF2B5EF4-FFF2-40B4-BE49-F238E27FC236}">
                    <a16:creationId xmlns:a16="http://schemas.microsoft.com/office/drawing/2014/main" id="{05DB4CD8-7429-4A43-9FF6-FD36F7CC7180}"/>
                  </a:ext>
                </a:extLst>
              </p:cNvPr>
              <p:cNvSpPr/>
              <p:nvPr/>
            </p:nvSpPr>
            <p:spPr>
              <a:xfrm>
                <a:off x="10686894" y="2730910"/>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6" name="Freeform: Shape 205">
                <a:extLst>
                  <a:ext uri="{FF2B5EF4-FFF2-40B4-BE49-F238E27FC236}">
                    <a16:creationId xmlns:a16="http://schemas.microsoft.com/office/drawing/2014/main" id="{4729FA61-1A17-4102-A604-07B400A84E9E}"/>
                  </a:ext>
                </a:extLst>
              </p:cNvPr>
              <p:cNvSpPr/>
              <p:nvPr/>
            </p:nvSpPr>
            <p:spPr>
              <a:xfrm>
                <a:off x="10452005" y="2735346"/>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7" name="Freeform: Shape 206">
                <a:extLst>
                  <a:ext uri="{FF2B5EF4-FFF2-40B4-BE49-F238E27FC236}">
                    <a16:creationId xmlns:a16="http://schemas.microsoft.com/office/drawing/2014/main" id="{ACA52513-BDC9-4CEE-B408-9129DE7118D7}"/>
                  </a:ext>
                </a:extLst>
              </p:cNvPr>
              <p:cNvSpPr/>
              <p:nvPr/>
            </p:nvSpPr>
            <p:spPr>
              <a:xfrm>
                <a:off x="10217513" y="2740179"/>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8" name="Freeform: Shape 207">
                <a:extLst>
                  <a:ext uri="{FF2B5EF4-FFF2-40B4-BE49-F238E27FC236}">
                    <a16:creationId xmlns:a16="http://schemas.microsoft.com/office/drawing/2014/main" id="{96750BED-A600-4249-8CC3-776D5E311DEC}"/>
                  </a:ext>
                </a:extLst>
              </p:cNvPr>
              <p:cNvSpPr/>
              <p:nvPr/>
            </p:nvSpPr>
            <p:spPr>
              <a:xfrm>
                <a:off x="9983021" y="2745011"/>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9" name="Freeform: Shape 208">
                <a:extLst>
                  <a:ext uri="{FF2B5EF4-FFF2-40B4-BE49-F238E27FC236}">
                    <a16:creationId xmlns:a16="http://schemas.microsoft.com/office/drawing/2014/main" id="{B8093A24-FCB6-4F03-94CB-A7FABAC7FBE7}"/>
                  </a:ext>
                </a:extLst>
              </p:cNvPr>
              <p:cNvSpPr/>
              <p:nvPr/>
            </p:nvSpPr>
            <p:spPr>
              <a:xfrm>
                <a:off x="9749401" y="2750636"/>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0" name="Freeform: Shape 209">
                <a:extLst>
                  <a:ext uri="{FF2B5EF4-FFF2-40B4-BE49-F238E27FC236}">
                    <a16:creationId xmlns:a16="http://schemas.microsoft.com/office/drawing/2014/main" id="{BB0A8404-31E1-4D04-8ABA-071DB4599385}"/>
                  </a:ext>
                </a:extLst>
              </p:cNvPr>
              <p:cNvSpPr/>
              <p:nvPr/>
            </p:nvSpPr>
            <p:spPr>
              <a:xfrm>
                <a:off x="9514830" y="2755389"/>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11" name="Freeform: Shape 210">
                <a:extLst>
                  <a:ext uri="{FF2B5EF4-FFF2-40B4-BE49-F238E27FC236}">
                    <a16:creationId xmlns:a16="http://schemas.microsoft.com/office/drawing/2014/main" id="{E033E05F-D11D-411B-8971-65714BC3BA27}"/>
                  </a:ext>
                </a:extLst>
              </p:cNvPr>
              <p:cNvSpPr/>
              <p:nvPr/>
            </p:nvSpPr>
            <p:spPr>
              <a:xfrm>
                <a:off x="9280892" y="2760776"/>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169" name="Graphic 3">
              <a:extLst>
                <a:ext uri="{FF2B5EF4-FFF2-40B4-BE49-F238E27FC236}">
                  <a16:creationId xmlns:a16="http://schemas.microsoft.com/office/drawing/2014/main" id="{7BC586E0-A636-4241-A578-655AD193E930}"/>
                </a:ext>
              </a:extLst>
            </p:cNvPr>
            <p:cNvGrpSpPr/>
            <p:nvPr/>
          </p:nvGrpSpPr>
          <p:grpSpPr>
            <a:xfrm>
              <a:off x="3442578" y="3305168"/>
              <a:ext cx="406928" cy="26971"/>
              <a:chOff x="9280892" y="3034403"/>
              <a:chExt cx="2259045" cy="149726"/>
            </a:xfrm>
            <a:grpFill/>
          </p:grpSpPr>
          <p:sp>
            <p:nvSpPr>
              <p:cNvPr id="192" name="Freeform: Shape 191">
                <a:extLst>
                  <a:ext uri="{FF2B5EF4-FFF2-40B4-BE49-F238E27FC236}">
                    <a16:creationId xmlns:a16="http://schemas.microsoft.com/office/drawing/2014/main" id="{E4F60F59-70EB-453F-A06B-25B31BF0E467}"/>
                  </a:ext>
                </a:extLst>
              </p:cNvPr>
              <p:cNvSpPr/>
              <p:nvPr/>
            </p:nvSpPr>
            <p:spPr>
              <a:xfrm>
                <a:off x="11390211" y="3034403"/>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3" name="Freeform: Shape 192">
                <a:extLst>
                  <a:ext uri="{FF2B5EF4-FFF2-40B4-BE49-F238E27FC236}">
                    <a16:creationId xmlns:a16="http://schemas.microsoft.com/office/drawing/2014/main" id="{F12DFA3A-F99F-4A4B-8F8D-8866881286C7}"/>
                  </a:ext>
                </a:extLst>
              </p:cNvPr>
              <p:cNvSpPr/>
              <p:nvPr/>
            </p:nvSpPr>
            <p:spPr>
              <a:xfrm>
                <a:off x="11155798" y="3039315"/>
                <a:ext cx="139903" cy="139902"/>
              </a:xfrm>
              <a:custGeom>
                <a:avLst/>
                <a:gdLst>
                  <a:gd name="connsiteX0" fmla="*/ 139903 w 139903"/>
                  <a:gd name="connsiteY0" fmla="*/ 69951 h 139902"/>
                  <a:gd name="connsiteX1" fmla="*/ 69952 w 139903"/>
                  <a:gd name="connsiteY1" fmla="*/ 139903 h 139902"/>
                  <a:gd name="connsiteX2" fmla="*/ 1 w 139903"/>
                  <a:gd name="connsiteY2" fmla="*/ 69951 h 139902"/>
                  <a:gd name="connsiteX3" fmla="*/ 69952 w 139903"/>
                  <a:gd name="connsiteY3" fmla="*/ 0 h 139902"/>
                  <a:gd name="connsiteX4" fmla="*/ 139903 w 139903"/>
                  <a:gd name="connsiteY4" fmla="*/ 69951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1"/>
                    </a:moveTo>
                    <a:cubicBezTo>
                      <a:pt x="139903" y="108585"/>
                      <a:pt x="108584" y="139903"/>
                      <a:pt x="69952" y="139903"/>
                    </a:cubicBezTo>
                    <a:cubicBezTo>
                      <a:pt x="31318" y="139903"/>
                      <a:pt x="1" y="108585"/>
                      <a:pt x="1" y="69951"/>
                    </a:cubicBezTo>
                    <a:cubicBezTo>
                      <a:pt x="1" y="31318"/>
                      <a:pt x="31319" y="0"/>
                      <a:pt x="69952" y="0"/>
                    </a:cubicBezTo>
                    <a:cubicBezTo>
                      <a:pt x="108585" y="0"/>
                      <a:pt x="139903" y="31318"/>
                      <a:pt x="139903" y="6995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4" name="Freeform: Shape 193">
                <a:extLst>
                  <a:ext uri="{FF2B5EF4-FFF2-40B4-BE49-F238E27FC236}">
                    <a16:creationId xmlns:a16="http://schemas.microsoft.com/office/drawing/2014/main" id="{8AE3E7B8-505F-4871-9B17-4C8DCDF816E0}"/>
                  </a:ext>
                </a:extLst>
              </p:cNvPr>
              <p:cNvSpPr/>
              <p:nvPr/>
            </p:nvSpPr>
            <p:spPr>
              <a:xfrm>
                <a:off x="10920989" y="3043751"/>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5" name="Freeform: Shape 194">
                <a:extLst>
                  <a:ext uri="{FF2B5EF4-FFF2-40B4-BE49-F238E27FC236}">
                    <a16:creationId xmlns:a16="http://schemas.microsoft.com/office/drawing/2014/main" id="{0ED04B0B-4CF4-4763-BB07-83DC764A1959}"/>
                  </a:ext>
                </a:extLst>
              </p:cNvPr>
              <p:cNvSpPr/>
              <p:nvPr/>
            </p:nvSpPr>
            <p:spPr>
              <a:xfrm>
                <a:off x="10686894" y="3048979"/>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6" name="Freeform: Shape 195">
                <a:extLst>
                  <a:ext uri="{FF2B5EF4-FFF2-40B4-BE49-F238E27FC236}">
                    <a16:creationId xmlns:a16="http://schemas.microsoft.com/office/drawing/2014/main" id="{F06AADB2-A4F5-4034-B51C-9056FD0493FC}"/>
                  </a:ext>
                </a:extLst>
              </p:cNvPr>
              <p:cNvSpPr/>
              <p:nvPr/>
            </p:nvSpPr>
            <p:spPr>
              <a:xfrm>
                <a:off x="10452005" y="3053416"/>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5"/>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7" name="Freeform: Shape 196">
                <a:extLst>
                  <a:ext uri="{FF2B5EF4-FFF2-40B4-BE49-F238E27FC236}">
                    <a16:creationId xmlns:a16="http://schemas.microsoft.com/office/drawing/2014/main" id="{276F22B9-9164-4CDA-AD7F-D38A102A1499}"/>
                  </a:ext>
                </a:extLst>
              </p:cNvPr>
              <p:cNvSpPr/>
              <p:nvPr/>
            </p:nvSpPr>
            <p:spPr>
              <a:xfrm>
                <a:off x="10217513" y="3058248"/>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8" name="Freeform: Shape 197">
                <a:extLst>
                  <a:ext uri="{FF2B5EF4-FFF2-40B4-BE49-F238E27FC236}">
                    <a16:creationId xmlns:a16="http://schemas.microsoft.com/office/drawing/2014/main" id="{2D18CD4F-E785-404F-A207-E8A4DE248486}"/>
                  </a:ext>
                </a:extLst>
              </p:cNvPr>
              <p:cNvSpPr/>
              <p:nvPr/>
            </p:nvSpPr>
            <p:spPr>
              <a:xfrm>
                <a:off x="9983021" y="3063081"/>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9" name="Freeform: Shape 198">
                <a:extLst>
                  <a:ext uri="{FF2B5EF4-FFF2-40B4-BE49-F238E27FC236}">
                    <a16:creationId xmlns:a16="http://schemas.microsoft.com/office/drawing/2014/main" id="{3E22898A-6833-4240-9EA7-2AF74953E2E3}"/>
                  </a:ext>
                </a:extLst>
              </p:cNvPr>
              <p:cNvSpPr/>
              <p:nvPr/>
            </p:nvSpPr>
            <p:spPr>
              <a:xfrm>
                <a:off x="9749401" y="3068705"/>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0" name="Freeform: Shape 199">
                <a:extLst>
                  <a:ext uri="{FF2B5EF4-FFF2-40B4-BE49-F238E27FC236}">
                    <a16:creationId xmlns:a16="http://schemas.microsoft.com/office/drawing/2014/main" id="{8C4767AB-F3B8-45B7-B42B-D601D459F876}"/>
                  </a:ext>
                </a:extLst>
              </p:cNvPr>
              <p:cNvSpPr/>
              <p:nvPr/>
            </p:nvSpPr>
            <p:spPr>
              <a:xfrm>
                <a:off x="9514830" y="3073458"/>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3"/>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01" name="Freeform: Shape 200">
                <a:extLst>
                  <a:ext uri="{FF2B5EF4-FFF2-40B4-BE49-F238E27FC236}">
                    <a16:creationId xmlns:a16="http://schemas.microsoft.com/office/drawing/2014/main" id="{44AED561-1EB7-4C41-8D22-CC97CD2CB4CB}"/>
                  </a:ext>
                </a:extLst>
              </p:cNvPr>
              <p:cNvSpPr/>
              <p:nvPr/>
            </p:nvSpPr>
            <p:spPr>
              <a:xfrm>
                <a:off x="9280892" y="3078845"/>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170" name="Graphic 3">
              <a:extLst>
                <a:ext uri="{FF2B5EF4-FFF2-40B4-BE49-F238E27FC236}">
                  <a16:creationId xmlns:a16="http://schemas.microsoft.com/office/drawing/2014/main" id="{79309FE3-A610-45F5-A88A-6244C687C540}"/>
                </a:ext>
              </a:extLst>
            </p:cNvPr>
            <p:cNvGrpSpPr/>
            <p:nvPr/>
          </p:nvGrpSpPr>
          <p:grpSpPr>
            <a:xfrm>
              <a:off x="3442578" y="3362477"/>
              <a:ext cx="406928" cy="26971"/>
              <a:chOff x="9280892" y="3352551"/>
              <a:chExt cx="2259045" cy="149726"/>
            </a:xfrm>
            <a:grpFill/>
          </p:grpSpPr>
          <p:sp>
            <p:nvSpPr>
              <p:cNvPr id="182" name="Freeform: Shape 181">
                <a:extLst>
                  <a:ext uri="{FF2B5EF4-FFF2-40B4-BE49-F238E27FC236}">
                    <a16:creationId xmlns:a16="http://schemas.microsoft.com/office/drawing/2014/main" id="{417531B8-542E-42A6-92AF-AB167E07AE74}"/>
                  </a:ext>
                </a:extLst>
              </p:cNvPr>
              <p:cNvSpPr/>
              <p:nvPr/>
            </p:nvSpPr>
            <p:spPr>
              <a:xfrm>
                <a:off x="11390211" y="3352551"/>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3" name="Freeform: Shape 182">
                <a:extLst>
                  <a:ext uri="{FF2B5EF4-FFF2-40B4-BE49-F238E27FC236}">
                    <a16:creationId xmlns:a16="http://schemas.microsoft.com/office/drawing/2014/main" id="{19FF44E1-0247-4A8C-A1D7-6CB297AE6EC8}"/>
                  </a:ext>
                </a:extLst>
              </p:cNvPr>
              <p:cNvSpPr/>
              <p:nvPr/>
            </p:nvSpPr>
            <p:spPr>
              <a:xfrm>
                <a:off x="11155798" y="3357463"/>
                <a:ext cx="139903" cy="139902"/>
              </a:xfrm>
              <a:custGeom>
                <a:avLst/>
                <a:gdLst>
                  <a:gd name="connsiteX0" fmla="*/ 139903 w 139903"/>
                  <a:gd name="connsiteY0" fmla="*/ 69952 h 139902"/>
                  <a:gd name="connsiteX1" fmla="*/ 69952 w 139903"/>
                  <a:gd name="connsiteY1" fmla="*/ 139903 h 139902"/>
                  <a:gd name="connsiteX2" fmla="*/ 1 w 139903"/>
                  <a:gd name="connsiteY2" fmla="*/ 69952 h 139902"/>
                  <a:gd name="connsiteX3" fmla="*/ 69952 w 139903"/>
                  <a:gd name="connsiteY3" fmla="*/ 0 h 139902"/>
                  <a:gd name="connsiteX4" fmla="*/ 139903 w 139903"/>
                  <a:gd name="connsiteY4" fmla="*/ 69952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2"/>
                    </a:moveTo>
                    <a:cubicBezTo>
                      <a:pt x="139903" y="108585"/>
                      <a:pt x="108584" y="139903"/>
                      <a:pt x="69952" y="139903"/>
                    </a:cubicBezTo>
                    <a:cubicBezTo>
                      <a:pt x="31318" y="139903"/>
                      <a:pt x="1" y="108585"/>
                      <a:pt x="1" y="69952"/>
                    </a:cubicBezTo>
                    <a:cubicBezTo>
                      <a:pt x="1" y="31318"/>
                      <a:pt x="31319" y="0"/>
                      <a:pt x="69952" y="0"/>
                    </a:cubicBezTo>
                    <a:cubicBezTo>
                      <a:pt x="108585" y="0"/>
                      <a:pt x="139903" y="31318"/>
                      <a:pt x="139903" y="69952"/>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4" name="Freeform: Shape 183">
                <a:extLst>
                  <a:ext uri="{FF2B5EF4-FFF2-40B4-BE49-F238E27FC236}">
                    <a16:creationId xmlns:a16="http://schemas.microsoft.com/office/drawing/2014/main" id="{DE6D7F3D-E029-4817-A37B-1BE330880F19}"/>
                  </a:ext>
                </a:extLst>
              </p:cNvPr>
              <p:cNvSpPr/>
              <p:nvPr/>
            </p:nvSpPr>
            <p:spPr>
              <a:xfrm>
                <a:off x="10920989" y="3361899"/>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5" name="Freeform: Shape 184">
                <a:extLst>
                  <a:ext uri="{FF2B5EF4-FFF2-40B4-BE49-F238E27FC236}">
                    <a16:creationId xmlns:a16="http://schemas.microsoft.com/office/drawing/2014/main" id="{80048481-4B94-409D-88F8-2431048AFFED}"/>
                  </a:ext>
                </a:extLst>
              </p:cNvPr>
              <p:cNvSpPr/>
              <p:nvPr/>
            </p:nvSpPr>
            <p:spPr>
              <a:xfrm>
                <a:off x="10686894" y="3367128"/>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6" name="Freeform: Shape 185">
                <a:extLst>
                  <a:ext uri="{FF2B5EF4-FFF2-40B4-BE49-F238E27FC236}">
                    <a16:creationId xmlns:a16="http://schemas.microsoft.com/office/drawing/2014/main" id="{4EA48EB7-CDE6-408E-99DD-354397E42078}"/>
                  </a:ext>
                </a:extLst>
              </p:cNvPr>
              <p:cNvSpPr/>
              <p:nvPr/>
            </p:nvSpPr>
            <p:spPr>
              <a:xfrm>
                <a:off x="10452005" y="3371564"/>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7" name="Freeform: Shape 186">
                <a:extLst>
                  <a:ext uri="{FF2B5EF4-FFF2-40B4-BE49-F238E27FC236}">
                    <a16:creationId xmlns:a16="http://schemas.microsoft.com/office/drawing/2014/main" id="{70D42239-8F28-4562-889A-A360567CF44A}"/>
                  </a:ext>
                </a:extLst>
              </p:cNvPr>
              <p:cNvSpPr/>
              <p:nvPr/>
            </p:nvSpPr>
            <p:spPr>
              <a:xfrm>
                <a:off x="10217513" y="3376397"/>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8" name="Freeform: Shape 187">
                <a:extLst>
                  <a:ext uri="{FF2B5EF4-FFF2-40B4-BE49-F238E27FC236}">
                    <a16:creationId xmlns:a16="http://schemas.microsoft.com/office/drawing/2014/main" id="{A4BB6648-2B2C-4DDE-8ED1-216B12E4AF91}"/>
                  </a:ext>
                </a:extLst>
              </p:cNvPr>
              <p:cNvSpPr/>
              <p:nvPr/>
            </p:nvSpPr>
            <p:spPr>
              <a:xfrm>
                <a:off x="9983021" y="3381229"/>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9" name="Freeform: Shape 188">
                <a:extLst>
                  <a:ext uri="{FF2B5EF4-FFF2-40B4-BE49-F238E27FC236}">
                    <a16:creationId xmlns:a16="http://schemas.microsoft.com/office/drawing/2014/main" id="{35039F62-A78E-449B-9412-E1ACAD6423BA}"/>
                  </a:ext>
                </a:extLst>
              </p:cNvPr>
              <p:cNvSpPr/>
              <p:nvPr/>
            </p:nvSpPr>
            <p:spPr>
              <a:xfrm>
                <a:off x="9749401" y="3386854"/>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0" name="Freeform: Shape 189">
                <a:extLst>
                  <a:ext uri="{FF2B5EF4-FFF2-40B4-BE49-F238E27FC236}">
                    <a16:creationId xmlns:a16="http://schemas.microsoft.com/office/drawing/2014/main" id="{E703D0DB-EB2B-483B-8FD0-10D7245E7E03}"/>
                  </a:ext>
                </a:extLst>
              </p:cNvPr>
              <p:cNvSpPr/>
              <p:nvPr/>
            </p:nvSpPr>
            <p:spPr>
              <a:xfrm>
                <a:off x="9514830" y="3391607"/>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91" name="Freeform: Shape 190">
                <a:extLst>
                  <a:ext uri="{FF2B5EF4-FFF2-40B4-BE49-F238E27FC236}">
                    <a16:creationId xmlns:a16="http://schemas.microsoft.com/office/drawing/2014/main" id="{B345ADE2-6B5C-41FD-925C-91B1EA0C932F}"/>
                  </a:ext>
                </a:extLst>
              </p:cNvPr>
              <p:cNvSpPr/>
              <p:nvPr/>
            </p:nvSpPr>
            <p:spPr>
              <a:xfrm>
                <a:off x="9280892" y="3396994"/>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nvGrpSpPr>
            <p:cNvPr id="171" name="Graphic 3">
              <a:extLst>
                <a:ext uri="{FF2B5EF4-FFF2-40B4-BE49-F238E27FC236}">
                  <a16:creationId xmlns:a16="http://schemas.microsoft.com/office/drawing/2014/main" id="{E97371E8-E800-46D3-A597-417693E5E389}"/>
                </a:ext>
              </a:extLst>
            </p:cNvPr>
            <p:cNvGrpSpPr/>
            <p:nvPr/>
          </p:nvGrpSpPr>
          <p:grpSpPr>
            <a:xfrm>
              <a:off x="3442578" y="3419786"/>
              <a:ext cx="406928" cy="26971"/>
              <a:chOff x="9280892" y="3670700"/>
              <a:chExt cx="2259045" cy="149726"/>
            </a:xfrm>
            <a:grpFill/>
          </p:grpSpPr>
          <p:sp>
            <p:nvSpPr>
              <p:cNvPr id="172" name="Freeform: Shape 171">
                <a:extLst>
                  <a:ext uri="{FF2B5EF4-FFF2-40B4-BE49-F238E27FC236}">
                    <a16:creationId xmlns:a16="http://schemas.microsoft.com/office/drawing/2014/main" id="{7841015A-62F0-4C1C-BF67-AD7DC02BB64F}"/>
                  </a:ext>
                </a:extLst>
              </p:cNvPr>
              <p:cNvSpPr/>
              <p:nvPr/>
            </p:nvSpPr>
            <p:spPr>
              <a:xfrm>
                <a:off x="11390211" y="3670700"/>
                <a:ext cx="149726" cy="149726"/>
              </a:xfrm>
              <a:custGeom>
                <a:avLst/>
                <a:gdLst>
                  <a:gd name="connsiteX0" fmla="*/ 149726 w 149726"/>
                  <a:gd name="connsiteY0" fmla="*/ 74863 h 149726"/>
                  <a:gd name="connsiteX1" fmla="*/ 74863 w 149726"/>
                  <a:gd name="connsiteY1" fmla="*/ 149726 h 149726"/>
                  <a:gd name="connsiteX2" fmla="*/ 0 w 149726"/>
                  <a:gd name="connsiteY2" fmla="*/ 74863 h 149726"/>
                  <a:gd name="connsiteX3" fmla="*/ 74863 w 149726"/>
                  <a:gd name="connsiteY3" fmla="*/ 0 h 149726"/>
                  <a:gd name="connsiteX4" fmla="*/ 149726 w 149726"/>
                  <a:gd name="connsiteY4" fmla="*/ 74863 h 149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726" h="149726">
                    <a:moveTo>
                      <a:pt x="149726" y="74863"/>
                    </a:moveTo>
                    <a:cubicBezTo>
                      <a:pt x="149726" y="116209"/>
                      <a:pt x="116208" y="149726"/>
                      <a:pt x="74863" y="149726"/>
                    </a:cubicBezTo>
                    <a:cubicBezTo>
                      <a:pt x="33517" y="149726"/>
                      <a:pt x="0" y="116209"/>
                      <a:pt x="0" y="74863"/>
                    </a:cubicBezTo>
                    <a:cubicBezTo>
                      <a:pt x="0" y="33517"/>
                      <a:pt x="33518" y="0"/>
                      <a:pt x="74863" y="0"/>
                    </a:cubicBezTo>
                    <a:cubicBezTo>
                      <a:pt x="116209" y="0"/>
                      <a:pt x="149726" y="33517"/>
                      <a:pt x="149726" y="74863"/>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73" name="Freeform: Shape 172">
                <a:extLst>
                  <a:ext uri="{FF2B5EF4-FFF2-40B4-BE49-F238E27FC236}">
                    <a16:creationId xmlns:a16="http://schemas.microsoft.com/office/drawing/2014/main" id="{6E165B00-D0CD-4B71-9CB6-07376E2FC0E1}"/>
                  </a:ext>
                </a:extLst>
              </p:cNvPr>
              <p:cNvSpPr/>
              <p:nvPr/>
            </p:nvSpPr>
            <p:spPr>
              <a:xfrm>
                <a:off x="11155798" y="3675612"/>
                <a:ext cx="139903" cy="139902"/>
              </a:xfrm>
              <a:custGeom>
                <a:avLst/>
                <a:gdLst>
                  <a:gd name="connsiteX0" fmla="*/ 139903 w 139903"/>
                  <a:gd name="connsiteY0" fmla="*/ 69952 h 139902"/>
                  <a:gd name="connsiteX1" fmla="*/ 69952 w 139903"/>
                  <a:gd name="connsiteY1" fmla="*/ 139903 h 139902"/>
                  <a:gd name="connsiteX2" fmla="*/ 1 w 139903"/>
                  <a:gd name="connsiteY2" fmla="*/ 69952 h 139902"/>
                  <a:gd name="connsiteX3" fmla="*/ 69952 w 139903"/>
                  <a:gd name="connsiteY3" fmla="*/ 0 h 139902"/>
                  <a:gd name="connsiteX4" fmla="*/ 139903 w 139903"/>
                  <a:gd name="connsiteY4" fmla="*/ 69952 h 139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03" h="139902">
                    <a:moveTo>
                      <a:pt x="139903" y="69952"/>
                    </a:moveTo>
                    <a:cubicBezTo>
                      <a:pt x="139903" y="108585"/>
                      <a:pt x="108584" y="139903"/>
                      <a:pt x="69952" y="139903"/>
                    </a:cubicBezTo>
                    <a:cubicBezTo>
                      <a:pt x="31318" y="139903"/>
                      <a:pt x="1" y="108585"/>
                      <a:pt x="1" y="69952"/>
                    </a:cubicBezTo>
                    <a:cubicBezTo>
                      <a:pt x="1" y="31318"/>
                      <a:pt x="31319" y="0"/>
                      <a:pt x="69952" y="0"/>
                    </a:cubicBezTo>
                    <a:cubicBezTo>
                      <a:pt x="108585" y="0"/>
                      <a:pt x="139903" y="31318"/>
                      <a:pt x="139903" y="69952"/>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74" name="Freeform: Shape 173">
                <a:extLst>
                  <a:ext uri="{FF2B5EF4-FFF2-40B4-BE49-F238E27FC236}">
                    <a16:creationId xmlns:a16="http://schemas.microsoft.com/office/drawing/2014/main" id="{805F8290-3C94-42E8-9F6A-AEEA4081774A}"/>
                  </a:ext>
                </a:extLst>
              </p:cNvPr>
              <p:cNvSpPr/>
              <p:nvPr/>
            </p:nvSpPr>
            <p:spPr>
              <a:xfrm>
                <a:off x="10920989" y="3680048"/>
                <a:ext cx="131030" cy="131030"/>
              </a:xfrm>
              <a:custGeom>
                <a:avLst/>
                <a:gdLst>
                  <a:gd name="connsiteX0" fmla="*/ 131030 w 131030"/>
                  <a:gd name="connsiteY0" fmla="*/ 65515 h 131030"/>
                  <a:gd name="connsiteX1" fmla="*/ 65515 w 131030"/>
                  <a:gd name="connsiteY1" fmla="*/ 131030 h 131030"/>
                  <a:gd name="connsiteX2" fmla="*/ -1 w 131030"/>
                  <a:gd name="connsiteY2" fmla="*/ 65515 h 131030"/>
                  <a:gd name="connsiteX3" fmla="*/ 65515 w 131030"/>
                  <a:gd name="connsiteY3" fmla="*/ 0 h 131030"/>
                  <a:gd name="connsiteX4" fmla="*/ 131030 w 131030"/>
                  <a:gd name="connsiteY4" fmla="*/ 65515 h 131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30" h="131030">
                    <a:moveTo>
                      <a:pt x="131030" y="65515"/>
                    </a:moveTo>
                    <a:cubicBezTo>
                      <a:pt x="131030" y="101698"/>
                      <a:pt x="101698" y="131030"/>
                      <a:pt x="65515" y="131030"/>
                    </a:cubicBezTo>
                    <a:cubicBezTo>
                      <a:pt x="29332" y="131030"/>
                      <a:pt x="-1" y="101698"/>
                      <a:pt x="-1" y="65515"/>
                    </a:cubicBezTo>
                    <a:cubicBezTo>
                      <a:pt x="-1" y="29332"/>
                      <a:pt x="29332" y="0"/>
                      <a:pt x="65515" y="0"/>
                    </a:cubicBezTo>
                    <a:cubicBezTo>
                      <a:pt x="101698" y="0"/>
                      <a:pt x="131030" y="29332"/>
                      <a:pt x="131030" y="6551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75" name="Freeform: Shape 174">
                <a:extLst>
                  <a:ext uri="{FF2B5EF4-FFF2-40B4-BE49-F238E27FC236}">
                    <a16:creationId xmlns:a16="http://schemas.microsoft.com/office/drawing/2014/main" id="{BDD900C1-A1C5-482C-AFF4-869FA34929BB}"/>
                  </a:ext>
                </a:extLst>
              </p:cNvPr>
              <p:cNvSpPr/>
              <p:nvPr/>
            </p:nvSpPr>
            <p:spPr>
              <a:xfrm>
                <a:off x="10686894" y="3685277"/>
                <a:ext cx="120573" cy="120573"/>
              </a:xfrm>
              <a:custGeom>
                <a:avLst/>
                <a:gdLst>
                  <a:gd name="connsiteX0" fmla="*/ 120573 w 120573"/>
                  <a:gd name="connsiteY0" fmla="*/ 60287 h 120573"/>
                  <a:gd name="connsiteX1" fmla="*/ 60287 w 120573"/>
                  <a:gd name="connsiteY1" fmla="*/ 120573 h 120573"/>
                  <a:gd name="connsiteX2" fmla="*/ 0 w 120573"/>
                  <a:gd name="connsiteY2" fmla="*/ 60287 h 120573"/>
                  <a:gd name="connsiteX3" fmla="*/ 60287 w 120573"/>
                  <a:gd name="connsiteY3" fmla="*/ 0 h 120573"/>
                  <a:gd name="connsiteX4" fmla="*/ 120573 w 120573"/>
                  <a:gd name="connsiteY4" fmla="*/ 60287 h 120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573" h="120573">
                    <a:moveTo>
                      <a:pt x="120573" y="60287"/>
                    </a:moveTo>
                    <a:cubicBezTo>
                      <a:pt x="120573" y="93582"/>
                      <a:pt x="93582" y="120573"/>
                      <a:pt x="60287" y="120573"/>
                    </a:cubicBezTo>
                    <a:cubicBezTo>
                      <a:pt x="26991" y="120573"/>
                      <a:pt x="0" y="93582"/>
                      <a:pt x="0" y="60287"/>
                    </a:cubicBezTo>
                    <a:cubicBezTo>
                      <a:pt x="0" y="26991"/>
                      <a:pt x="26991" y="0"/>
                      <a:pt x="60287" y="0"/>
                    </a:cubicBezTo>
                    <a:cubicBezTo>
                      <a:pt x="93582" y="0"/>
                      <a:pt x="120573" y="26991"/>
                      <a:pt x="120573" y="60287"/>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76" name="Freeform: Shape 175">
                <a:extLst>
                  <a:ext uri="{FF2B5EF4-FFF2-40B4-BE49-F238E27FC236}">
                    <a16:creationId xmlns:a16="http://schemas.microsoft.com/office/drawing/2014/main" id="{6DA13213-4467-41FC-9882-4AFB43E0F0D6}"/>
                  </a:ext>
                </a:extLst>
              </p:cNvPr>
              <p:cNvSpPr/>
              <p:nvPr/>
            </p:nvSpPr>
            <p:spPr>
              <a:xfrm>
                <a:off x="10452005" y="3689713"/>
                <a:ext cx="111700" cy="111700"/>
              </a:xfrm>
              <a:custGeom>
                <a:avLst/>
                <a:gdLst>
                  <a:gd name="connsiteX0" fmla="*/ 111700 w 111700"/>
                  <a:gd name="connsiteY0" fmla="*/ 55850 h 111700"/>
                  <a:gd name="connsiteX1" fmla="*/ 55850 w 111700"/>
                  <a:gd name="connsiteY1" fmla="*/ 111701 h 111700"/>
                  <a:gd name="connsiteX2" fmla="*/ -1 w 111700"/>
                  <a:gd name="connsiteY2" fmla="*/ 55850 h 111700"/>
                  <a:gd name="connsiteX3" fmla="*/ 55850 w 111700"/>
                  <a:gd name="connsiteY3" fmla="*/ 0 h 111700"/>
                  <a:gd name="connsiteX4" fmla="*/ 111700 w 111700"/>
                  <a:gd name="connsiteY4" fmla="*/ 55850 h 111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00" h="111700">
                    <a:moveTo>
                      <a:pt x="111700" y="55850"/>
                    </a:moveTo>
                    <a:cubicBezTo>
                      <a:pt x="111700" y="86696"/>
                      <a:pt x="86695" y="111701"/>
                      <a:pt x="55850" y="111701"/>
                    </a:cubicBezTo>
                    <a:cubicBezTo>
                      <a:pt x="25005" y="111701"/>
                      <a:pt x="-1" y="86696"/>
                      <a:pt x="-1" y="55850"/>
                    </a:cubicBezTo>
                    <a:cubicBezTo>
                      <a:pt x="-1" y="25005"/>
                      <a:pt x="25004" y="0"/>
                      <a:pt x="55850" y="0"/>
                    </a:cubicBezTo>
                    <a:cubicBezTo>
                      <a:pt x="86694" y="0"/>
                      <a:pt x="111700" y="25005"/>
                      <a:pt x="111700" y="55850"/>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77" name="Freeform: Shape 176">
                <a:extLst>
                  <a:ext uri="{FF2B5EF4-FFF2-40B4-BE49-F238E27FC236}">
                    <a16:creationId xmlns:a16="http://schemas.microsoft.com/office/drawing/2014/main" id="{22B1C99D-DC9C-4A94-928E-225629061AB0}"/>
                  </a:ext>
                </a:extLst>
              </p:cNvPr>
              <p:cNvSpPr/>
              <p:nvPr/>
            </p:nvSpPr>
            <p:spPr>
              <a:xfrm>
                <a:off x="10217513" y="3694545"/>
                <a:ext cx="102035" cy="102035"/>
              </a:xfrm>
              <a:custGeom>
                <a:avLst/>
                <a:gdLst>
                  <a:gd name="connsiteX0" fmla="*/ 102036 w 102035"/>
                  <a:gd name="connsiteY0" fmla="*/ 51018 h 102035"/>
                  <a:gd name="connsiteX1" fmla="*/ 51018 w 102035"/>
                  <a:gd name="connsiteY1" fmla="*/ 102036 h 102035"/>
                  <a:gd name="connsiteX2" fmla="*/ 1 w 102035"/>
                  <a:gd name="connsiteY2" fmla="*/ 51018 h 102035"/>
                  <a:gd name="connsiteX3" fmla="*/ 51018 w 102035"/>
                  <a:gd name="connsiteY3" fmla="*/ 0 h 102035"/>
                  <a:gd name="connsiteX4" fmla="*/ 102036 w 102035"/>
                  <a:gd name="connsiteY4" fmla="*/ 51018 h 102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35" h="102035">
                    <a:moveTo>
                      <a:pt x="102036" y="51018"/>
                    </a:moveTo>
                    <a:cubicBezTo>
                      <a:pt x="102036" y="79194"/>
                      <a:pt x="79194" y="102036"/>
                      <a:pt x="51018" y="102036"/>
                    </a:cubicBezTo>
                    <a:cubicBezTo>
                      <a:pt x="22842" y="102036"/>
                      <a:pt x="1" y="79194"/>
                      <a:pt x="1" y="51018"/>
                    </a:cubicBezTo>
                    <a:cubicBezTo>
                      <a:pt x="1" y="22841"/>
                      <a:pt x="22843" y="0"/>
                      <a:pt x="51018" y="0"/>
                    </a:cubicBezTo>
                    <a:cubicBezTo>
                      <a:pt x="79195" y="0"/>
                      <a:pt x="102036" y="22841"/>
                      <a:pt x="102036" y="5101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78" name="Freeform: Shape 177">
                <a:extLst>
                  <a:ext uri="{FF2B5EF4-FFF2-40B4-BE49-F238E27FC236}">
                    <a16:creationId xmlns:a16="http://schemas.microsoft.com/office/drawing/2014/main" id="{6A880C70-3D19-418B-B538-B5009A8B852B}"/>
                  </a:ext>
                </a:extLst>
              </p:cNvPr>
              <p:cNvSpPr/>
              <p:nvPr/>
            </p:nvSpPr>
            <p:spPr>
              <a:xfrm>
                <a:off x="9983021" y="3699378"/>
                <a:ext cx="92370" cy="92370"/>
              </a:xfrm>
              <a:custGeom>
                <a:avLst/>
                <a:gdLst>
                  <a:gd name="connsiteX0" fmla="*/ 92370 w 92370"/>
                  <a:gd name="connsiteY0" fmla="*/ 46185 h 92370"/>
                  <a:gd name="connsiteX1" fmla="*/ 46185 w 92370"/>
                  <a:gd name="connsiteY1" fmla="*/ 92371 h 92370"/>
                  <a:gd name="connsiteX2" fmla="*/ 0 w 92370"/>
                  <a:gd name="connsiteY2" fmla="*/ 46185 h 92370"/>
                  <a:gd name="connsiteX3" fmla="*/ 46185 w 92370"/>
                  <a:gd name="connsiteY3" fmla="*/ 0 h 92370"/>
                  <a:gd name="connsiteX4" fmla="*/ 92370 w 92370"/>
                  <a:gd name="connsiteY4" fmla="*/ 46185 h 9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70" h="92370">
                    <a:moveTo>
                      <a:pt x="92370" y="46185"/>
                    </a:moveTo>
                    <a:cubicBezTo>
                      <a:pt x="92370" y="71693"/>
                      <a:pt x="71692" y="92371"/>
                      <a:pt x="46185" y="92371"/>
                    </a:cubicBezTo>
                    <a:cubicBezTo>
                      <a:pt x="20678" y="92371"/>
                      <a:pt x="0" y="71693"/>
                      <a:pt x="0" y="46185"/>
                    </a:cubicBezTo>
                    <a:cubicBezTo>
                      <a:pt x="0" y="20678"/>
                      <a:pt x="20679" y="0"/>
                      <a:pt x="46185" y="0"/>
                    </a:cubicBezTo>
                    <a:cubicBezTo>
                      <a:pt x="71693" y="0"/>
                      <a:pt x="92370" y="20678"/>
                      <a:pt x="92370" y="46185"/>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79" name="Freeform: Shape 178">
                <a:extLst>
                  <a:ext uri="{FF2B5EF4-FFF2-40B4-BE49-F238E27FC236}">
                    <a16:creationId xmlns:a16="http://schemas.microsoft.com/office/drawing/2014/main" id="{111BC342-4338-4808-ABD3-25ECE241F016}"/>
                  </a:ext>
                </a:extLst>
              </p:cNvPr>
              <p:cNvSpPr/>
              <p:nvPr/>
            </p:nvSpPr>
            <p:spPr>
              <a:xfrm>
                <a:off x="9749401" y="3705002"/>
                <a:ext cx="81121" cy="81121"/>
              </a:xfrm>
              <a:custGeom>
                <a:avLst/>
                <a:gdLst>
                  <a:gd name="connsiteX0" fmla="*/ 81122 w 81121"/>
                  <a:gd name="connsiteY0" fmla="*/ 40561 h 81121"/>
                  <a:gd name="connsiteX1" fmla="*/ 40561 w 81121"/>
                  <a:gd name="connsiteY1" fmla="*/ 81122 h 81121"/>
                  <a:gd name="connsiteX2" fmla="*/ 0 w 81121"/>
                  <a:gd name="connsiteY2" fmla="*/ 40561 h 81121"/>
                  <a:gd name="connsiteX3" fmla="*/ 40561 w 81121"/>
                  <a:gd name="connsiteY3" fmla="*/ 0 h 81121"/>
                  <a:gd name="connsiteX4" fmla="*/ 81122 w 81121"/>
                  <a:gd name="connsiteY4" fmla="*/ 40561 h 81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21" h="81121">
                    <a:moveTo>
                      <a:pt x="81122" y="40561"/>
                    </a:moveTo>
                    <a:cubicBezTo>
                      <a:pt x="81122" y="62962"/>
                      <a:pt x="62962" y="81122"/>
                      <a:pt x="40561" y="81122"/>
                    </a:cubicBezTo>
                    <a:cubicBezTo>
                      <a:pt x="18160" y="81122"/>
                      <a:pt x="0" y="62962"/>
                      <a:pt x="0" y="40561"/>
                    </a:cubicBezTo>
                    <a:cubicBezTo>
                      <a:pt x="0" y="18160"/>
                      <a:pt x="18160" y="0"/>
                      <a:pt x="40561" y="0"/>
                    </a:cubicBezTo>
                    <a:cubicBezTo>
                      <a:pt x="62963" y="0"/>
                      <a:pt x="81122" y="18160"/>
                      <a:pt x="81122" y="4056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0" name="Freeform: Shape 179">
                <a:extLst>
                  <a:ext uri="{FF2B5EF4-FFF2-40B4-BE49-F238E27FC236}">
                    <a16:creationId xmlns:a16="http://schemas.microsoft.com/office/drawing/2014/main" id="{6FD6EFDF-1340-4E68-835E-1B2A7BC53774}"/>
                  </a:ext>
                </a:extLst>
              </p:cNvPr>
              <p:cNvSpPr/>
              <p:nvPr/>
            </p:nvSpPr>
            <p:spPr>
              <a:xfrm>
                <a:off x="9514830" y="3709756"/>
                <a:ext cx="71615" cy="71615"/>
              </a:xfrm>
              <a:custGeom>
                <a:avLst/>
                <a:gdLst>
                  <a:gd name="connsiteX0" fmla="*/ 71615 w 71615"/>
                  <a:gd name="connsiteY0" fmla="*/ 35808 h 71615"/>
                  <a:gd name="connsiteX1" fmla="*/ 35807 w 71615"/>
                  <a:gd name="connsiteY1" fmla="*/ 71615 h 71615"/>
                  <a:gd name="connsiteX2" fmla="*/ -1 w 71615"/>
                  <a:gd name="connsiteY2" fmla="*/ 35808 h 71615"/>
                  <a:gd name="connsiteX3" fmla="*/ 35807 w 71615"/>
                  <a:gd name="connsiteY3" fmla="*/ 0 h 71615"/>
                  <a:gd name="connsiteX4" fmla="*/ 71615 w 71615"/>
                  <a:gd name="connsiteY4" fmla="*/ 35808 h 716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15" h="71615">
                    <a:moveTo>
                      <a:pt x="71615" y="35808"/>
                    </a:moveTo>
                    <a:cubicBezTo>
                      <a:pt x="71615" y="55584"/>
                      <a:pt x="55583" y="71615"/>
                      <a:pt x="35807" y="71615"/>
                    </a:cubicBezTo>
                    <a:cubicBezTo>
                      <a:pt x="16031" y="71615"/>
                      <a:pt x="-1" y="55584"/>
                      <a:pt x="-1" y="35808"/>
                    </a:cubicBezTo>
                    <a:cubicBezTo>
                      <a:pt x="-1" y="16032"/>
                      <a:pt x="16031" y="0"/>
                      <a:pt x="35807" y="0"/>
                    </a:cubicBezTo>
                    <a:cubicBezTo>
                      <a:pt x="55583" y="0"/>
                      <a:pt x="71615" y="16032"/>
                      <a:pt x="71615" y="35808"/>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181" name="Freeform: Shape 180">
                <a:extLst>
                  <a:ext uri="{FF2B5EF4-FFF2-40B4-BE49-F238E27FC236}">
                    <a16:creationId xmlns:a16="http://schemas.microsoft.com/office/drawing/2014/main" id="{E2E57D24-42EA-466F-A7DE-AEB203301F10}"/>
                  </a:ext>
                </a:extLst>
              </p:cNvPr>
              <p:cNvSpPr/>
              <p:nvPr/>
            </p:nvSpPr>
            <p:spPr>
              <a:xfrm>
                <a:off x="9280892" y="3715143"/>
                <a:ext cx="60841" cy="60841"/>
              </a:xfrm>
              <a:custGeom>
                <a:avLst/>
                <a:gdLst>
                  <a:gd name="connsiteX0" fmla="*/ 60841 w 60841"/>
                  <a:gd name="connsiteY0" fmla="*/ 30421 h 60841"/>
                  <a:gd name="connsiteX1" fmla="*/ 30421 w 60841"/>
                  <a:gd name="connsiteY1" fmla="*/ 60841 h 60841"/>
                  <a:gd name="connsiteX2" fmla="*/ 0 w 60841"/>
                  <a:gd name="connsiteY2" fmla="*/ 30421 h 60841"/>
                  <a:gd name="connsiteX3" fmla="*/ 30421 w 60841"/>
                  <a:gd name="connsiteY3" fmla="*/ 0 h 60841"/>
                  <a:gd name="connsiteX4" fmla="*/ 60841 w 60841"/>
                  <a:gd name="connsiteY4" fmla="*/ 30421 h 6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41" h="60841">
                    <a:moveTo>
                      <a:pt x="60841" y="30421"/>
                    </a:moveTo>
                    <a:cubicBezTo>
                      <a:pt x="60841" y="47221"/>
                      <a:pt x="47221" y="60841"/>
                      <a:pt x="30421" y="60841"/>
                    </a:cubicBezTo>
                    <a:cubicBezTo>
                      <a:pt x="13620" y="60841"/>
                      <a:pt x="0" y="47221"/>
                      <a:pt x="0" y="30421"/>
                    </a:cubicBezTo>
                    <a:cubicBezTo>
                      <a:pt x="0" y="13620"/>
                      <a:pt x="13620" y="0"/>
                      <a:pt x="30421" y="0"/>
                    </a:cubicBezTo>
                    <a:cubicBezTo>
                      <a:pt x="47221" y="0"/>
                      <a:pt x="60841" y="13620"/>
                      <a:pt x="60841" y="30421"/>
                    </a:cubicBezTo>
                    <a:close/>
                  </a:path>
                </a:pathLst>
              </a:custGeom>
              <a:grpFill/>
              <a:ln w="792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grpSp>
      <p:sp>
        <p:nvSpPr>
          <p:cNvPr id="232" name="Freeform: Shape 231">
            <a:extLst>
              <a:ext uri="{FF2B5EF4-FFF2-40B4-BE49-F238E27FC236}">
                <a16:creationId xmlns:a16="http://schemas.microsoft.com/office/drawing/2014/main" id="{BFEE5CED-A10A-4AB1-AEC7-6FC4BF015B22}"/>
              </a:ext>
            </a:extLst>
          </p:cNvPr>
          <p:cNvSpPr/>
          <p:nvPr/>
        </p:nvSpPr>
        <p:spPr>
          <a:xfrm>
            <a:off x="7177000" y="3603383"/>
            <a:ext cx="164023" cy="163975"/>
          </a:xfrm>
          <a:custGeom>
            <a:avLst/>
            <a:gdLst>
              <a:gd name="connsiteX0" fmla="*/ 0 w 4948808"/>
              <a:gd name="connsiteY0" fmla="*/ 412242 h 3203828"/>
              <a:gd name="connsiteX1" fmla="*/ 413385 w 4948808"/>
              <a:gd name="connsiteY1" fmla="*/ 0 h 3203828"/>
              <a:gd name="connsiteX2" fmla="*/ 4535519 w 4948808"/>
              <a:gd name="connsiteY2" fmla="*/ 0 h 3203828"/>
              <a:gd name="connsiteX3" fmla="*/ 4948809 w 4948808"/>
              <a:gd name="connsiteY3" fmla="*/ 412242 h 3203828"/>
              <a:gd name="connsiteX4" fmla="*/ 4948809 w 4948808"/>
              <a:gd name="connsiteY4" fmla="*/ 2791587 h 3203828"/>
              <a:gd name="connsiteX5" fmla="*/ 4535519 w 4948808"/>
              <a:gd name="connsiteY5" fmla="*/ 3203829 h 3203828"/>
              <a:gd name="connsiteX6" fmla="*/ 413385 w 4948808"/>
              <a:gd name="connsiteY6" fmla="*/ 3203829 h 3203828"/>
              <a:gd name="connsiteX7" fmla="*/ 95 w 4948808"/>
              <a:gd name="connsiteY7" fmla="*/ 2791587 h 3203828"/>
              <a:gd name="connsiteX8" fmla="*/ 95 w 4948808"/>
              <a:gd name="connsiteY8" fmla="*/ 412242 h 320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8808" h="3203828">
                <a:moveTo>
                  <a:pt x="0" y="412242"/>
                </a:moveTo>
                <a:cubicBezTo>
                  <a:pt x="0" y="184594"/>
                  <a:pt x="185071" y="0"/>
                  <a:pt x="413385" y="0"/>
                </a:cubicBezTo>
                <a:lnTo>
                  <a:pt x="4535519" y="0"/>
                </a:lnTo>
                <a:cubicBezTo>
                  <a:pt x="4763738" y="0"/>
                  <a:pt x="4948809" y="184594"/>
                  <a:pt x="4948809" y="412242"/>
                </a:cubicBezTo>
                <a:lnTo>
                  <a:pt x="4948809" y="2791587"/>
                </a:lnTo>
                <a:cubicBezTo>
                  <a:pt x="4948809" y="3019235"/>
                  <a:pt x="4763738" y="3203829"/>
                  <a:pt x="4535519" y="3203829"/>
                </a:cubicBezTo>
                <a:lnTo>
                  <a:pt x="413385" y="3203829"/>
                </a:lnTo>
                <a:cubicBezTo>
                  <a:pt x="185166" y="3203829"/>
                  <a:pt x="95" y="3019235"/>
                  <a:pt x="95" y="2791587"/>
                </a:cubicBezTo>
                <a:lnTo>
                  <a:pt x="95" y="412242"/>
                </a:lnTo>
                <a:close/>
              </a:path>
            </a:pathLst>
          </a:custGeom>
          <a:noFill/>
          <a:ln w="7144" cap="flat">
            <a:solidFill>
              <a:srgbClr val="6EBE4A"/>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33" name="Freeform: Shape 232">
            <a:extLst>
              <a:ext uri="{FF2B5EF4-FFF2-40B4-BE49-F238E27FC236}">
                <a16:creationId xmlns:a16="http://schemas.microsoft.com/office/drawing/2014/main" id="{9FA34526-357E-4499-9FF0-CC3C2D79A0F8}"/>
              </a:ext>
            </a:extLst>
          </p:cNvPr>
          <p:cNvSpPr/>
          <p:nvPr/>
        </p:nvSpPr>
        <p:spPr>
          <a:xfrm>
            <a:off x="7273825" y="3676480"/>
            <a:ext cx="139342" cy="139303"/>
          </a:xfrm>
          <a:custGeom>
            <a:avLst/>
            <a:gdLst>
              <a:gd name="connsiteX0" fmla="*/ 0 w 4948808"/>
              <a:gd name="connsiteY0" fmla="*/ 412242 h 3203828"/>
              <a:gd name="connsiteX1" fmla="*/ 413385 w 4948808"/>
              <a:gd name="connsiteY1" fmla="*/ 0 h 3203828"/>
              <a:gd name="connsiteX2" fmla="*/ 4535519 w 4948808"/>
              <a:gd name="connsiteY2" fmla="*/ 0 h 3203828"/>
              <a:gd name="connsiteX3" fmla="*/ 4948809 w 4948808"/>
              <a:gd name="connsiteY3" fmla="*/ 412242 h 3203828"/>
              <a:gd name="connsiteX4" fmla="*/ 4948809 w 4948808"/>
              <a:gd name="connsiteY4" fmla="*/ 2791587 h 3203828"/>
              <a:gd name="connsiteX5" fmla="*/ 4535519 w 4948808"/>
              <a:gd name="connsiteY5" fmla="*/ 3203829 h 3203828"/>
              <a:gd name="connsiteX6" fmla="*/ 413385 w 4948808"/>
              <a:gd name="connsiteY6" fmla="*/ 3203829 h 3203828"/>
              <a:gd name="connsiteX7" fmla="*/ 95 w 4948808"/>
              <a:gd name="connsiteY7" fmla="*/ 2791587 h 3203828"/>
              <a:gd name="connsiteX8" fmla="*/ 95 w 4948808"/>
              <a:gd name="connsiteY8" fmla="*/ 412242 h 320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8808" h="3203828">
                <a:moveTo>
                  <a:pt x="0" y="412242"/>
                </a:moveTo>
                <a:cubicBezTo>
                  <a:pt x="0" y="184594"/>
                  <a:pt x="185071" y="0"/>
                  <a:pt x="413385" y="0"/>
                </a:cubicBezTo>
                <a:lnTo>
                  <a:pt x="4535519" y="0"/>
                </a:lnTo>
                <a:cubicBezTo>
                  <a:pt x="4763738" y="0"/>
                  <a:pt x="4948809" y="184594"/>
                  <a:pt x="4948809" y="412242"/>
                </a:cubicBezTo>
                <a:lnTo>
                  <a:pt x="4948809" y="2791587"/>
                </a:lnTo>
                <a:cubicBezTo>
                  <a:pt x="4948809" y="3019235"/>
                  <a:pt x="4763738" y="3203829"/>
                  <a:pt x="4535519" y="3203829"/>
                </a:cubicBezTo>
                <a:lnTo>
                  <a:pt x="413385" y="3203829"/>
                </a:lnTo>
                <a:cubicBezTo>
                  <a:pt x="185166" y="3203829"/>
                  <a:pt x="95" y="3019235"/>
                  <a:pt x="95" y="2791587"/>
                </a:cubicBezTo>
                <a:lnTo>
                  <a:pt x="95" y="412242"/>
                </a:lnTo>
                <a:close/>
              </a:path>
            </a:pathLst>
          </a:custGeom>
          <a:noFill/>
          <a:ln w="7144" cap="flat">
            <a:solidFill>
              <a:srgbClr val="6EBE4A"/>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nvGrpSpPr>
          <p:cNvPr id="234" name="Group 233">
            <a:extLst>
              <a:ext uri="{FF2B5EF4-FFF2-40B4-BE49-F238E27FC236}">
                <a16:creationId xmlns:a16="http://schemas.microsoft.com/office/drawing/2014/main" id="{DA8E8EE4-7C57-4756-A67F-2948C04D819E}"/>
              </a:ext>
            </a:extLst>
          </p:cNvPr>
          <p:cNvGrpSpPr/>
          <p:nvPr/>
        </p:nvGrpSpPr>
        <p:grpSpPr>
          <a:xfrm rot="2678579">
            <a:off x="6976596" y="3002530"/>
            <a:ext cx="322553" cy="571727"/>
            <a:chOff x="8288242" y="2488354"/>
            <a:chExt cx="1927860" cy="3417146"/>
          </a:xfrm>
          <a:solidFill>
            <a:srgbClr val="6EBE4A"/>
          </a:solidFill>
        </p:grpSpPr>
        <p:sp>
          <p:nvSpPr>
            <p:cNvPr id="235" name="Oval 234">
              <a:extLst>
                <a:ext uri="{FF2B5EF4-FFF2-40B4-BE49-F238E27FC236}">
                  <a16:creationId xmlns:a16="http://schemas.microsoft.com/office/drawing/2014/main" id="{3BFCC60C-2780-4BEC-B600-8EF2D321564A}"/>
                </a:ext>
              </a:extLst>
            </p:cNvPr>
            <p:cNvSpPr/>
            <p:nvPr/>
          </p:nvSpPr>
          <p:spPr>
            <a:xfrm>
              <a:off x="879116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36" name="Oval 235">
              <a:extLst>
                <a:ext uri="{FF2B5EF4-FFF2-40B4-BE49-F238E27FC236}">
                  <a16:creationId xmlns:a16="http://schemas.microsoft.com/office/drawing/2014/main" id="{8066CD71-94E2-41DC-86FC-FECA48D23232}"/>
                </a:ext>
              </a:extLst>
            </p:cNvPr>
            <p:cNvSpPr/>
            <p:nvPr/>
          </p:nvSpPr>
          <p:spPr>
            <a:xfrm>
              <a:off x="904262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37" name="Oval 236">
              <a:extLst>
                <a:ext uri="{FF2B5EF4-FFF2-40B4-BE49-F238E27FC236}">
                  <a16:creationId xmlns:a16="http://schemas.microsoft.com/office/drawing/2014/main" id="{003DE0D5-18FD-48D9-A54D-3CE81E0CA2B7}"/>
                </a:ext>
              </a:extLst>
            </p:cNvPr>
            <p:cNvSpPr/>
            <p:nvPr/>
          </p:nvSpPr>
          <p:spPr>
            <a:xfrm>
              <a:off x="929408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38" name="Oval 237">
              <a:extLst>
                <a:ext uri="{FF2B5EF4-FFF2-40B4-BE49-F238E27FC236}">
                  <a16:creationId xmlns:a16="http://schemas.microsoft.com/office/drawing/2014/main" id="{ED723821-1424-4716-8754-3EED108FCCF4}"/>
                </a:ext>
              </a:extLst>
            </p:cNvPr>
            <p:cNvSpPr/>
            <p:nvPr/>
          </p:nvSpPr>
          <p:spPr>
            <a:xfrm>
              <a:off x="879116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39" name="Oval 238">
              <a:extLst>
                <a:ext uri="{FF2B5EF4-FFF2-40B4-BE49-F238E27FC236}">
                  <a16:creationId xmlns:a16="http://schemas.microsoft.com/office/drawing/2014/main" id="{31949715-8E17-425C-92A9-1AA4451FFE99}"/>
                </a:ext>
              </a:extLst>
            </p:cNvPr>
            <p:cNvSpPr/>
            <p:nvPr/>
          </p:nvSpPr>
          <p:spPr>
            <a:xfrm>
              <a:off x="904262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40" name="Oval 239">
              <a:extLst>
                <a:ext uri="{FF2B5EF4-FFF2-40B4-BE49-F238E27FC236}">
                  <a16:creationId xmlns:a16="http://schemas.microsoft.com/office/drawing/2014/main" id="{B07FABDE-6D13-4B3E-AF80-2C254322C725}"/>
                </a:ext>
              </a:extLst>
            </p:cNvPr>
            <p:cNvSpPr/>
            <p:nvPr/>
          </p:nvSpPr>
          <p:spPr>
            <a:xfrm>
              <a:off x="929408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41" name="Oval 240">
              <a:extLst>
                <a:ext uri="{FF2B5EF4-FFF2-40B4-BE49-F238E27FC236}">
                  <a16:creationId xmlns:a16="http://schemas.microsoft.com/office/drawing/2014/main" id="{321A740C-6116-424C-829D-900F07516D6B}"/>
                </a:ext>
              </a:extLst>
            </p:cNvPr>
            <p:cNvSpPr/>
            <p:nvPr/>
          </p:nvSpPr>
          <p:spPr>
            <a:xfrm>
              <a:off x="879116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42" name="Oval 241">
              <a:extLst>
                <a:ext uri="{FF2B5EF4-FFF2-40B4-BE49-F238E27FC236}">
                  <a16:creationId xmlns:a16="http://schemas.microsoft.com/office/drawing/2014/main" id="{B5375509-120B-4E10-BF5D-AAAEAB5EB8CE}"/>
                </a:ext>
              </a:extLst>
            </p:cNvPr>
            <p:cNvSpPr/>
            <p:nvPr/>
          </p:nvSpPr>
          <p:spPr>
            <a:xfrm>
              <a:off x="904262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43" name="Oval 242">
              <a:extLst>
                <a:ext uri="{FF2B5EF4-FFF2-40B4-BE49-F238E27FC236}">
                  <a16:creationId xmlns:a16="http://schemas.microsoft.com/office/drawing/2014/main" id="{AA6A8E84-8E27-494E-B72F-F77531B963D2}"/>
                </a:ext>
              </a:extLst>
            </p:cNvPr>
            <p:cNvSpPr/>
            <p:nvPr/>
          </p:nvSpPr>
          <p:spPr>
            <a:xfrm>
              <a:off x="929408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nvGrpSpPr>
            <p:cNvPr id="244" name="Group 243">
              <a:extLst>
                <a:ext uri="{FF2B5EF4-FFF2-40B4-BE49-F238E27FC236}">
                  <a16:creationId xmlns:a16="http://schemas.microsoft.com/office/drawing/2014/main" id="{99CF19CD-6E48-4D66-9440-56DBE3821A5B}"/>
                </a:ext>
              </a:extLst>
            </p:cNvPr>
            <p:cNvGrpSpPr/>
            <p:nvPr/>
          </p:nvGrpSpPr>
          <p:grpSpPr>
            <a:xfrm>
              <a:off x="9545542" y="5234940"/>
              <a:ext cx="670560" cy="670560"/>
              <a:chOff x="3208242" y="4511040"/>
              <a:chExt cx="670560" cy="670560"/>
            </a:xfrm>
            <a:grpFill/>
          </p:grpSpPr>
          <p:sp>
            <p:nvSpPr>
              <p:cNvPr id="286" name="Oval 285">
                <a:extLst>
                  <a:ext uri="{FF2B5EF4-FFF2-40B4-BE49-F238E27FC236}">
                    <a16:creationId xmlns:a16="http://schemas.microsoft.com/office/drawing/2014/main" id="{D17589EC-D117-4B1F-BF29-C0E525E0242C}"/>
                  </a:ext>
                </a:extLst>
              </p:cNvPr>
              <p:cNvSpPr/>
              <p:nvPr/>
            </p:nvSpPr>
            <p:spPr>
              <a:xfrm>
                <a:off x="320824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7" name="Oval 286">
                <a:extLst>
                  <a:ext uri="{FF2B5EF4-FFF2-40B4-BE49-F238E27FC236}">
                    <a16:creationId xmlns:a16="http://schemas.microsoft.com/office/drawing/2014/main" id="{2518E86D-9E62-4AC2-B2CF-BA65332BB6E6}"/>
                  </a:ext>
                </a:extLst>
              </p:cNvPr>
              <p:cNvSpPr/>
              <p:nvPr/>
            </p:nvSpPr>
            <p:spPr>
              <a:xfrm>
                <a:off x="345970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8" name="Oval 287">
                <a:extLst>
                  <a:ext uri="{FF2B5EF4-FFF2-40B4-BE49-F238E27FC236}">
                    <a16:creationId xmlns:a16="http://schemas.microsoft.com/office/drawing/2014/main" id="{CB63D5CA-386D-4B4A-B6B9-9895A9B3079C}"/>
                  </a:ext>
                </a:extLst>
              </p:cNvPr>
              <p:cNvSpPr/>
              <p:nvPr/>
            </p:nvSpPr>
            <p:spPr>
              <a:xfrm>
                <a:off x="371116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9" name="Oval 288">
                <a:extLst>
                  <a:ext uri="{FF2B5EF4-FFF2-40B4-BE49-F238E27FC236}">
                    <a16:creationId xmlns:a16="http://schemas.microsoft.com/office/drawing/2014/main" id="{E70AA367-AC71-49AB-8693-EE5418B0B63B}"/>
                  </a:ext>
                </a:extLst>
              </p:cNvPr>
              <p:cNvSpPr/>
              <p:nvPr/>
            </p:nvSpPr>
            <p:spPr>
              <a:xfrm>
                <a:off x="320824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0" name="Oval 289">
                <a:extLst>
                  <a:ext uri="{FF2B5EF4-FFF2-40B4-BE49-F238E27FC236}">
                    <a16:creationId xmlns:a16="http://schemas.microsoft.com/office/drawing/2014/main" id="{077D4D08-C638-44A0-AFA4-868C6603FD21}"/>
                  </a:ext>
                </a:extLst>
              </p:cNvPr>
              <p:cNvSpPr/>
              <p:nvPr/>
            </p:nvSpPr>
            <p:spPr>
              <a:xfrm>
                <a:off x="345970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1" name="Oval 290">
                <a:extLst>
                  <a:ext uri="{FF2B5EF4-FFF2-40B4-BE49-F238E27FC236}">
                    <a16:creationId xmlns:a16="http://schemas.microsoft.com/office/drawing/2014/main" id="{A3A70BDD-C98A-44D9-AC18-ADE71483046E}"/>
                  </a:ext>
                </a:extLst>
              </p:cNvPr>
              <p:cNvSpPr/>
              <p:nvPr/>
            </p:nvSpPr>
            <p:spPr>
              <a:xfrm>
                <a:off x="371116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2" name="Oval 291">
                <a:extLst>
                  <a:ext uri="{FF2B5EF4-FFF2-40B4-BE49-F238E27FC236}">
                    <a16:creationId xmlns:a16="http://schemas.microsoft.com/office/drawing/2014/main" id="{440738A0-0DAA-427B-A1C1-789EA3DD3B62}"/>
                  </a:ext>
                </a:extLst>
              </p:cNvPr>
              <p:cNvSpPr/>
              <p:nvPr/>
            </p:nvSpPr>
            <p:spPr>
              <a:xfrm>
                <a:off x="320824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3" name="Oval 292">
                <a:extLst>
                  <a:ext uri="{FF2B5EF4-FFF2-40B4-BE49-F238E27FC236}">
                    <a16:creationId xmlns:a16="http://schemas.microsoft.com/office/drawing/2014/main" id="{2C864FB6-29CF-41F8-AA65-E330EAC69815}"/>
                  </a:ext>
                </a:extLst>
              </p:cNvPr>
              <p:cNvSpPr/>
              <p:nvPr/>
            </p:nvSpPr>
            <p:spPr>
              <a:xfrm>
                <a:off x="345970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94" name="Oval 293">
                <a:extLst>
                  <a:ext uri="{FF2B5EF4-FFF2-40B4-BE49-F238E27FC236}">
                    <a16:creationId xmlns:a16="http://schemas.microsoft.com/office/drawing/2014/main" id="{6CF687DE-57D7-4BEA-A2CA-18B75B954FA7}"/>
                  </a:ext>
                </a:extLst>
              </p:cNvPr>
              <p:cNvSpPr/>
              <p:nvPr/>
            </p:nvSpPr>
            <p:spPr>
              <a:xfrm>
                <a:off x="371116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grpSp>
          <p:nvGrpSpPr>
            <p:cNvPr id="245" name="Group 244">
              <a:extLst>
                <a:ext uri="{FF2B5EF4-FFF2-40B4-BE49-F238E27FC236}">
                  <a16:creationId xmlns:a16="http://schemas.microsoft.com/office/drawing/2014/main" id="{B1869022-B2F5-4A33-8B77-3B9F96FDB40A}"/>
                </a:ext>
              </a:extLst>
            </p:cNvPr>
            <p:cNvGrpSpPr/>
            <p:nvPr/>
          </p:nvGrpSpPr>
          <p:grpSpPr>
            <a:xfrm>
              <a:off x="9545542" y="4485640"/>
              <a:ext cx="670560" cy="670560"/>
              <a:chOff x="3208242" y="4511040"/>
              <a:chExt cx="670560" cy="670560"/>
            </a:xfrm>
            <a:grpFill/>
          </p:grpSpPr>
          <p:sp>
            <p:nvSpPr>
              <p:cNvPr id="277" name="Oval 276">
                <a:extLst>
                  <a:ext uri="{FF2B5EF4-FFF2-40B4-BE49-F238E27FC236}">
                    <a16:creationId xmlns:a16="http://schemas.microsoft.com/office/drawing/2014/main" id="{4E43FA31-1F4E-4E17-A4D5-0CA25A1BF647}"/>
                  </a:ext>
                </a:extLst>
              </p:cNvPr>
              <p:cNvSpPr/>
              <p:nvPr/>
            </p:nvSpPr>
            <p:spPr>
              <a:xfrm>
                <a:off x="320824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8" name="Oval 277">
                <a:extLst>
                  <a:ext uri="{FF2B5EF4-FFF2-40B4-BE49-F238E27FC236}">
                    <a16:creationId xmlns:a16="http://schemas.microsoft.com/office/drawing/2014/main" id="{2EB16DA0-402B-4E2C-ADB2-37C502736F00}"/>
                  </a:ext>
                </a:extLst>
              </p:cNvPr>
              <p:cNvSpPr/>
              <p:nvPr/>
            </p:nvSpPr>
            <p:spPr>
              <a:xfrm>
                <a:off x="345970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9" name="Oval 278">
                <a:extLst>
                  <a:ext uri="{FF2B5EF4-FFF2-40B4-BE49-F238E27FC236}">
                    <a16:creationId xmlns:a16="http://schemas.microsoft.com/office/drawing/2014/main" id="{DCB6244F-EC17-4A14-9400-C3D0D0A03D3A}"/>
                  </a:ext>
                </a:extLst>
              </p:cNvPr>
              <p:cNvSpPr/>
              <p:nvPr/>
            </p:nvSpPr>
            <p:spPr>
              <a:xfrm>
                <a:off x="371116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0" name="Oval 279">
                <a:extLst>
                  <a:ext uri="{FF2B5EF4-FFF2-40B4-BE49-F238E27FC236}">
                    <a16:creationId xmlns:a16="http://schemas.microsoft.com/office/drawing/2014/main" id="{B219DA28-2554-4292-A44D-99ED99C69676}"/>
                  </a:ext>
                </a:extLst>
              </p:cNvPr>
              <p:cNvSpPr/>
              <p:nvPr/>
            </p:nvSpPr>
            <p:spPr>
              <a:xfrm>
                <a:off x="320824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1" name="Oval 280">
                <a:extLst>
                  <a:ext uri="{FF2B5EF4-FFF2-40B4-BE49-F238E27FC236}">
                    <a16:creationId xmlns:a16="http://schemas.microsoft.com/office/drawing/2014/main" id="{686C9E3B-5AA7-46F1-B75A-D51ADC2C4E75}"/>
                  </a:ext>
                </a:extLst>
              </p:cNvPr>
              <p:cNvSpPr/>
              <p:nvPr/>
            </p:nvSpPr>
            <p:spPr>
              <a:xfrm>
                <a:off x="345970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2" name="Oval 281">
                <a:extLst>
                  <a:ext uri="{FF2B5EF4-FFF2-40B4-BE49-F238E27FC236}">
                    <a16:creationId xmlns:a16="http://schemas.microsoft.com/office/drawing/2014/main" id="{51276D78-C2BB-4E6E-8DF1-257F65286B49}"/>
                  </a:ext>
                </a:extLst>
              </p:cNvPr>
              <p:cNvSpPr/>
              <p:nvPr/>
            </p:nvSpPr>
            <p:spPr>
              <a:xfrm>
                <a:off x="371116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3" name="Oval 282">
                <a:extLst>
                  <a:ext uri="{FF2B5EF4-FFF2-40B4-BE49-F238E27FC236}">
                    <a16:creationId xmlns:a16="http://schemas.microsoft.com/office/drawing/2014/main" id="{D7869FBD-5C65-442A-984F-D3D9E37FADFF}"/>
                  </a:ext>
                </a:extLst>
              </p:cNvPr>
              <p:cNvSpPr/>
              <p:nvPr/>
            </p:nvSpPr>
            <p:spPr>
              <a:xfrm>
                <a:off x="320824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4" name="Oval 283">
                <a:extLst>
                  <a:ext uri="{FF2B5EF4-FFF2-40B4-BE49-F238E27FC236}">
                    <a16:creationId xmlns:a16="http://schemas.microsoft.com/office/drawing/2014/main" id="{72265811-E739-46BF-A71A-750FABD0694E}"/>
                  </a:ext>
                </a:extLst>
              </p:cNvPr>
              <p:cNvSpPr/>
              <p:nvPr/>
            </p:nvSpPr>
            <p:spPr>
              <a:xfrm>
                <a:off x="345970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85" name="Oval 284">
                <a:extLst>
                  <a:ext uri="{FF2B5EF4-FFF2-40B4-BE49-F238E27FC236}">
                    <a16:creationId xmlns:a16="http://schemas.microsoft.com/office/drawing/2014/main" id="{2FCC72DB-E6FF-4017-9C05-888656D0EB46}"/>
                  </a:ext>
                </a:extLst>
              </p:cNvPr>
              <p:cNvSpPr/>
              <p:nvPr/>
            </p:nvSpPr>
            <p:spPr>
              <a:xfrm>
                <a:off x="371116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grpSp>
          <p:nvGrpSpPr>
            <p:cNvPr id="246" name="Group 245">
              <a:extLst>
                <a:ext uri="{FF2B5EF4-FFF2-40B4-BE49-F238E27FC236}">
                  <a16:creationId xmlns:a16="http://schemas.microsoft.com/office/drawing/2014/main" id="{4D185880-1FC0-4A3B-807A-0B1962BF5DCB}"/>
                </a:ext>
              </a:extLst>
            </p:cNvPr>
            <p:cNvGrpSpPr/>
            <p:nvPr/>
          </p:nvGrpSpPr>
          <p:grpSpPr>
            <a:xfrm>
              <a:off x="9545542" y="3736340"/>
              <a:ext cx="670560" cy="670560"/>
              <a:chOff x="3208242" y="4511040"/>
              <a:chExt cx="670560" cy="670560"/>
            </a:xfrm>
            <a:grpFill/>
          </p:grpSpPr>
          <p:sp>
            <p:nvSpPr>
              <p:cNvPr id="268" name="Oval 267">
                <a:extLst>
                  <a:ext uri="{FF2B5EF4-FFF2-40B4-BE49-F238E27FC236}">
                    <a16:creationId xmlns:a16="http://schemas.microsoft.com/office/drawing/2014/main" id="{5DC40509-A257-4D43-827E-274647460817}"/>
                  </a:ext>
                </a:extLst>
              </p:cNvPr>
              <p:cNvSpPr/>
              <p:nvPr/>
            </p:nvSpPr>
            <p:spPr>
              <a:xfrm>
                <a:off x="320824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9" name="Oval 268">
                <a:extLst>
                  <a:ext uri="{FF2B5EF4-FFF2-40B4-BE49-F238E27FC236}">
                    <a16:creationId xmlns:a16="http://schemas.microsoft.com/office/drawing/2014/main" id="{1EAF7957-E2CC-4900-9C71-2F336CE2AA88}"/>
                  </a:ext>
                </a:extLst>
              </p:cNvPr>
              <p:cNvSpPr/>
              <p:nvPr/>
            </p:nvSpPr>
            <p:spPr>
              <a:xfrm>
                <a:off x="345970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0" name="Oval 269">
                <a:extLst>
                  <a:ext uri="{FF2B5EF4-FFF2-40B4-BE49-F238E27FC236}">
                    <a16:creationId xmlns:a16="http://schemas.microsoft.com/office/drawing/2014/main" id="{8B5E37AF-8EE2-4B83-B80E-80D3AAE523EA}"/>
                  </a:ext>
                </a:extLst>
              </p:cNvPr>
              <p:cNvSpPr/>
              <p:nvPr/>
            </p:nvSpPr>
            <p:spPr>
              <a:xfrm>
                <a:off x="3711162" y="4511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1" name="Oval 270">
                <a:extLst>
                  <a:ext uri="{FF2B5EF4-FFF2-40B4-BE49-F238E27FC236}">
                    <a16:creationId xmlns:a16="http://schemas.microsoft.com/office/drawing/2014/main" id="{9142F231-4F01-46A5-9C81-A5D575DDC05C}"/>
                  </a:ext>
                </a:extLst>
              </p:cNvPr>
              <p:cNvSpPr/>
              <p:nvPr/>
            </p:nvSpPr>
            <p:spPr>
              <a:xfrm>
                <a:off x="320824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2" name="Oval 271">
                <a:extLst>
                  <a:ext uri="{FF2B5EF4-FFF2-40B4-BE49-F238E27FC236}">
                    <a16:creationId xmlns:a16="http://schemas.microsoft.com/office/drawing/2014/main" id="{2F7EB444-04AB-414B-B60D-46684C850C72}"/>
                  </a:ext>
                </a:extLst>
              </p:cNvPr>
              <p:cNvSpPr/>
              <p:nvPr/>
            </p:nvSpPr>
            <p:spPr>
              <a:xfrm>
                <a:off x="345970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3" name="Oval 272">
                <a:extLst>
                  <a:ext uri="{FF2B5EF4-FFF2-40B4-BE49-F238E27FC236}">
                    <a16:creationId xmlns:a16="http://schemas.microsoft.com/office/drawing/2014/main" id="{2FD02F29-A0A7-48AD-B9C3-2D4E72ADC3E6}"/>
                  </a:ext>
                </a:extLst>
              </p:cNvPr>
              <p:cNvSpPr/>
              <p:nvPr/>
            </p:nvSpPr>
            <p:spPr>
              <a:xfrm>
                <a:off x="3711162" y="4762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4" name="Oval 273">
                <a:extLst>
                  <a:ext uri="{FF2B5EF4-FFF2-40B4-BE49-F238E27FC236}">
                    <a16:creationId xmlns:a16="http://schemas.microsoft.com/office/drawing/2014/main" id="{07EA9D5C-5EE0-47F4-A552-F221DCBFE731}"/>
                  </a:ext>
                </a:extLst>
              </p:cNvPr>
              <p:cNvSpPr/>
              <p:nvPr/>
            </p:nvSpPr>
            <p:spPr>
              <a:xfrm>
                <a:off x="320824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5" name="Oval 274">
                <a:extLst>
                  <a:ext uri="{FF2B5EF4-FFF2-40B4-BE49-F238E27FC236}">
                    <a16:creationId xmlns:a16="http://schemas.microsoft.com/office/drawing/2014/main" id="{4D24CAE6-C16D-4632-A43B-F0E215397A88}"/>
                  </a:ext>
                </a:extLst>
              </p:cNvPr>
              <p:cNvSpPr/>
              <p:nvPr/>
            </p:nvSpPr>
            <p:spPr>
              <a:xfrm>
                <a:off x="345970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76" name="Oval 275">
                <a:extLst>
                  <a:ext uri="{FF2B5EF4-FFF2-40B4-BE49-F238E27FC236}">
                    <a16:creationId xmlns:a16="http://schemas.microsoft.com/office/drawing/2014/main" id="{3E188FA2-B791-4FF1-922C-2F5401E901A3}"/>
                  </a:ext>
                </a:extLst>
              </p:cNvPr>
              <p:cNvSpPr/>
              <p:nvPr/>
            </p:nvSpPr>
            <p:spPr>
              <a:xfrm>
                <a:off x="3711162" y="5013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sp>
          <p:nvSpPr>
            <p:cNvPr id="247" name="Oval 246">
              <a:extLst>
                <a:ext uri="{FF2B5EF4-FFF2-40B4-BE49-F238E27FC236}">
                  <a16:creationId xmlns:a16="http://schemas.microsoft.com/office/drawing/2014/main" id="{43293197-2E82-4A49-A1B1-0A52C613CF14}"/>
                </a:ext>
              </a:extLst>
            </p:cNvPr>
            <p:cNvSpPr/>
            <p:nvPr/>
          </p:nvSpPr>
          <p:spPr>
            <a:xfrm>
              <a:off x="9545542" y="2987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48" name="Oval 247">
              <a:extLst>
                <a:ext uri="{FF2B5EF4-FFF2-40B4-BE49-F238E27FC236}">
                  <a16:creationId xmlns:a16="http://schemas.microsoft.com/office/drawing/2014/main" id="{847C233A-1CA8-461A-8D57-4AC48B70567C}"/>
                </a:ext>
              </a:extLst>
            </p:cNvPr>
            <p:cNvSpPr/>
            <p:nvPr/>
          </p:nvSpPr>
          <p:spPr>
            <a:xfrm>
              <a:off x="9797002" y="2987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49" name="Oval 248">
              <a:extLst>
                <a:ext uri="{FF2B5EF4-FFF2-40B4-BE49-F238E27FC236}">
                  <a16:creationId xmlns:a16="http://schemas.microsoft.com/office/drawing/2014/main" id="{DCDB5AA1-98FA-446B-9546-7ECD01D0E24A}"/>
                </a:ext>
              </a:extLst>
            </p:cNvPr>
            <p:cNvSpPr/>
            <p:nvPr/>
          </p:nvSpPr>
          <p:spPr>
            <a:xfrm>
              <a:off x="10048462" y="29870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0" name="Oval 249">
              <a:extLst>
                <a:ext uri="{FF2B5EF4-FFF2-40B4-BE49-F238E27FC236}">
                  <a16:creationId xmlns:a16="http://schemas.microsoft.com/office/drawing/2014/main" id="{76C8FD7E-DBB0-4180-9775-6BFEC012F0A3}"/>
                </a:ext>
              </a:extLst>
            </p:cNvPr>
            <p:cNvSpPr/>
            <p:nvPr/>
          </p:nvSpPr>
          <p:spPr>
            <a:xfrm>
              <a:off x="9545542" y="3238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1" name="Oval 250">
              <a:extLst>
                <a:ext uri="{FF2B5EF4-FFF2-40B4-BE49-F238E27FC236}">
                  <a16:creationId xmlns:a16="http://schemas.microsoft.com/office/drawing/2014/main" id="{CD310FB0-1A10-4372-B45A-19491F8B6407}"/>
                </a:ext>
              </a:extLst>
            </p:cNvPr>
            <p:cNvSpPr/>
            <p:nvPr/>
          </p:nvSpPr>
          <p:spPr>
            <a:xfrm>
              <a:off x="9797002" y="3238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2" name="Oval 251">
              <a:extLst>
                <a:ext uri="{FF2B5EF4-FFF2-40B4-BE49-F238E27FC236}">
                  <a16:creationId xmlns:a16="http://schemas.microsoft.com/office/drawing/2014/main" id="{F34C7476-2963-4A38-B10C-70793C9FF916}"/>
                </a:ext>
              </a:extLst>
            </p:cNvPr>
            <p:cNvSpPr/>
            <p:nvPr/>
          </p:nvSpPr>
          <p:spPr>
            <a:xfrm>
              <a:off x="10048462" y="32385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3" name="Oval 252">
              <a:extLst>
                <a:ext uri="{FF2B5EF4-FFF2-40B4-BE49-F238E27FC236}">
                  <a16:creationId xmlns:a16="http://schemas.microsoft.com/office/drawing/2014/main" id="{C860282D-AF52-46AE-954F-37B305F8B459}"/>
                </a:ext>
              </a:extLst>
            </p:cNvPr>
            <p:cNvSpPr/>
            <p:nvPr/>
          </p:nvSpPr>
          <p:spPr>
            <a:xfrm>
              <a:off x="9545542" y="3489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4" name="Oval 253">
              <a:extLst>
                <a:ext uri="{FF2B5EF4-FFF2-40B4-BE49-F238E27FC236}">
                  <a16:creationId xmlns:a16="http://schemas.microsoft.com/office/drawing/2014/main" id="{3837DBF6-2BBA-40D8-9C4E-CBA22BF25A73}"/>
                </a:ext>
              </a:extLst>
            </p:cNvPr>
            <p:cNvSpPr/>
            <p:nvPr/>
          </p:nvSpPr>
          <p:spPr>
            <a:xfrm>
              <a:off x="9797002" y="3489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5" name="Oval 254">
              <a:extLst>
                <a:ext uri="{FF2B5EF4-FFF2-40B4-BE49-F238E27FC236}">
                  <a16:creationId xmlns:a16="http://schemas.microsoft.com/office/drawing/2014/main" id="{6D584822-9D7E-49E9-A003-EF34F8D58B5E}"/>
                </a:ext>
              </a:extLst>
            </p:cNvPr>
            <p:cNvSpPr/>
            <p:nvPr/>
          </p:nvSpPr>
          <p:spPr>
            <a:xfrm>
              <a:off x="10048462" y="34899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6" name="Oval 255">
              <a:extLst>
                <a:ext uri="{FF2B5EF4-FFF2-40B4-BE49-F238E27FC236}">
                  <a16:creationId xmlns:a16="http://schemas.microsoft.com/office/drawing/2014/main" id="{C4C927F0-0E36-44BE-A319-45548C6233C4}"/>
                </a:ext>
              </a:extLst>
            </p:cNvPr>
            <p:cNvSpPr/>
            <p:nvPr/>
          </p:nvSpPr>
          <p:spPr>
            <a:xfrm>
              <a:off x="853970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7" name="Oval 256">
              <a:extLst>
                <a:ext uri="{FF2B5EF4-FFF2-40B4-BE49-F238E27FC236}">
                  <a16:creationId xmlns:a16="http://schemas.microsoft.com/office/drawing/2014/main" id="{976A9942-18A5-4316-9729-98E6615B848F}"/>
                </a:ext>
              </a:extLst>
            </p:cNvPr>
            <p:cNvSpPr/>
            <p:nvPr/>
          </p:nvSpPr>
          <p:spPr>
            <a:xfrm>
              <a:off x="853970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8" name="Oval 257">
              <a:extLst>
                <a:ext uri="{FF2B5EF4-FFF2-40B4-BE49-F238E27FC236}">
                  <a16:creationId xmlns:a16="http://schemas.microsoft.com/office/drawing/2014/main" id="{C60B8D7F-63C8-4B5B-88E7-F5AD328301C4}"/>
                </a:ext>
              </a:extLst>
            </p:cNvPr>
            <p:cNvSpPr/>
            <p:nvPr/>
          </p:nvSpPr>
          <p:spPr>
            <a:xfrm>
              <a:off x="853970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59" name="Oval 258">
              <a:extLst>
                <a:ext uri="{FF2B5EF4-FFF2-40B4-BE49-F238E27FC236}">
                  <a16:creationId xmlns:a16="http://schemas.microsoft.com/office/drawing/2014/main" id="{3DCD8090-88E8-420D-B5F5-C6D5B8D2FA11}"/>
                </a:ext>
              </a:extLst>
            </p:cNvPr>
            <p:cNvSpPr/>
            <p:nvPr/>
          </p:nvSpPr>
          <p:spPr>
            <a:xfrm>
              <a:off x="8288242" y="523494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0" name="Oval 259">
              <a:extLst>
                <a:ext uri="{FF2B5EF4-FFF2-40B4-BE49-F238E27FC236}">
                  <a16:creationId xmlns:a16="http://schemas.microsoft.com/office/drawing/2014/main" id="{E0D7E8F8-948F-4229-9669-07D1FBABC7EB}"/>
                </a:ext>
              </a:extLst>
            </p:cNvPr>
            <p:cNvSpPr/>
            <p:nvPr/>
          </p:nvSpPr>
          <p:spPr>
            <a:xfrm>
              <a:off x="8288242" y="548640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1" name="Oval 260">
              <a:extLst>
                <a:ext uri="{FF2B5EF4-FFF2-40B4-BE49-F238E27FC236}">
                  <a16:creationId xmlns:a16="http://schemas.microsoft.com/office/drawing/2014/main" id="{5D5BAB70-63C7-4CAB-B53C-3EB8DEA877CD}"/>
                </a:ext>
              </a:extLst>
            </p:cNvPr>
            <p:cNvSpPr/>
            <p:nvPr/>
          </p:nvSpPr>
          <p:spPr>
            <a:xfrm>
              <a:off x="8288242" y="5737860"/>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2" name="Oval 261">
              <a:extLst>
                <a:ext uri="{FF2B5EF4-FFF2-40B4-BE49-F238E27FC236}">
                  <a16:creationId xmlns:a16="http://schemas.microsoft.com/office/drawing/2014/main" id="{C5197A95-93D8-471D-836F-A7A5E059C5C2}"/>
                </a:ext>
              </a:extLst>
            </p:cNvPr>
            <p:cNvSpPr/>
            <p:nvPr/>
          </p:nvSpPr>
          <p:spPr>
            <a:xfrm>
              <a:off x="9545542" y="248835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3" name="Oval 262">
              <a:extLst>
                <a:ext uri="{FF2B5EF4-FFF2-40B4-BE49-F238E27FC236}">
                  <a16:creationId xmlns:a16="http://schemas.microsoft.com/office/drawing/2014/main" id="{F90F4AC0-91F0-43DF-B29D-7A4AB25DF268}"/>
                </a:ext>
              </a:extLst>
            </p:cNvPr>
            <p:cNvSpPr/>
            <p:nvPr/>
          </p:nvSpPr>
          <p:spPr>
            <a:xfrm>
              <a:off x="9797002" y="248835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4" name="Oval 263">
              <a:extLst>
                <a:ext uri="{FF2B5EF4-FFF2-40B4-BE49-F238E27FC236}">
                  <a16:creationId xmlns:a16="http://schemas.microsoft.com/office/drawing/2014/main" id="{A4F6D908-7387-418B-A3A4-798E22D28693}"/>
                </a:ext>
              </a:extLst>
            </p:cNvPr>
            <p:cNvSpPr/>
            <p:nvPr/>
          </p:nvSpPr>
          <p:spPr>
            <a:xfrm>
              <a:off x="10048462" y="248835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5" name="Oval 264">
              <a:extLst>
                <a:ext uri="{FF2B5EF4-FFF2-40B4-BE49-F238E27FC236}">
                  <a16:creationId xmlns:a16="http://schemas.microsoft.com/office/drawing/2014/main" id="{E497DC43-A391-4835-ADC2-7BA6F0A11D63}"/>
                </a:ext>
              </a:extLst>
            </p:cNvPr>
            <p:cNvSpPr/>
            <p:nvPr/>
          </p:nvSpPr>
          <p:spPr>
            <a:xfrm>
              <a:off x="9545542" y="273981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6" name="Oval 265">
              <a:extLst>
                <a:ext uri="{FF2B5EF4-FFF2-40B4-BE49-F238E27FC236}">
                  <a16:creationId xmlns:a16="http://schemas.microsoft.com/office/drawing/2014/main" id="{07F87753-9456-4427-884F-E9945DA4A7FE}"/>
                </a:ext>
              </a:extLst>
            </p:cNvPr>
            <p:cNvSpPr/>
            <p:nvPr/>
          </p:nvSpPr>
          <p:spPr>
            <a:xfrm>
              <a:off x="9797002" y="273981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sp>
          <p:nvSpPr>
            <p:cNvPr id="267" name="Oval 266">
              <a:extLst>
                <a:ext uri="{FF2B5EF4-FFF2-40B4-BE49-F238E27FC236}">
                  <a16:creationId xmlns:a16="http://schemas.microsoft.com/office/drawing/2014/main" id="{8F2BAFB7-3140-4A4C-92F3-8771629B74F7}"/>
                </a:ext>
              </a:extLst>
            </p:cNvPr>
            <p:cNvSpPr/>
            <p:nvPr/>
          </p:nvSpPr>
          <p:spPr>
            <a:xfrm>
              <a:off x="10048462" y="2739814"/>
              <a:ext cx="167640" cy="167640"/>
            </a:xfrm>
            <a:prstGeom prst="ellipse">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cs typeface="+mn-cs"/>
              </a:endParaRPr>
            </a:p>
          </p:txBody>
        </p:sp>
      </p:grpSp>
      <p:sp>
        <p:nvSpPr>
          <p:cNvPr id="295" name="Freeform: Shape 294">
            <a:extLst>
              <a:ext uri="{FF2B5EF4-FFF2-40B4-BE49-F238E27FC236}">
                <a16:creationId xmlns:a16="http://schemas.microsoft.com/office/drawing/2014/main" id="{C7CABDA1-98BF-42B8-AF85-B01BCD93085A}"/>
              </a:ext>
            </a:extLst>
          </p:cNvPr>
          <p:cNvSpPr/>
          <p:nvPr/>
        </p:nvSpPr>
        <p:spPr>
          <a:xfrm>
            <a:off x="6706683" y="3061097"/>
            <a:ext cx="200764" cy="200586"/>
          </a:xfrm>
          <a:custGeom>
            <a:avLst/>
            <a:gdLst>
              <a:gd name="connsiteX0" fmla="*/ 0 w 401324"/>
              <a:gd name="connsiteY0" fmla="*/ 200662 h 400967"/>
              <a:gd name="connsiteX1" fmla="*/ 200662 w 401324"/>
              <a:gd name="connsiteY1" fmla="*/ 0 h 400967"/>
              <a:gd name="connsiteX2" fmla="*/ 401325 w 401324"/>
              <a:gd name="connsiteY2" fmla="*/ 200662 h 400967"/>
              <a:gd name="connsiteX3" fmla="*/ 201020 w 401324"/>
              <a:gd name="connsiteY3" fmla="*/ 400967 h 400967"/>
              <a:gd name="connsiteX4" fmla="*/ 715 w 401324"/>
              <a:gd name="connsiteY4" fmla="*/ 200662 h 400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324" h="400967">
                <a:moveTo>
                  <a:pt x="0" y="200662"/>
                </a:moveTo>
                <a:cubicBezTo>
                  <a:pt x="0" y="89840"/>
                  <a:pt x="89840" y="0"/>
                  <a:pt x="200662" y="0"/>
                </a:cubicBezTo>
                <a:cubicBezTo>
                  <a:pt x="311485" y="0"/>
                  <a:pt x="401325" y="89840"/>
                  <a:pt x="401325" y="200662"/>
                </a:cubicBezTo>
                <a:cubicBezTo>
                  <a:pt x="401325" y="311288"/>
                  <a:pt x="311646" y="400967"/>
                  <a:pt x="201020" y="400967"/>
                </a:cubicBezTo>
                <a:cubicBezTo>
                  <a:pt x="90395" y="400967"/>
                  <a:pt x="715" y="311288"/>
                  <a:pt x="715" y="200662"/>
                </a:cubicBezTo>
                <a:close/>
              </a:path>
            </a:pathLst>
          </a:custGeom>
          <a:solidFill>
            <a:srgbClr val="00BCE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sp>
        <p:nvSpPr>
          <p:cNvPr id="296" name="Freeform: Shape 295">
            <a:extLst>
              <a:ext uri="{FF2B5EF4-FFF2-40B4-BE49-F238E27FC236}">
                <a16:creationId xmlns:a16="http://schemas.microsoft.com/office/drawing/2014/main" id="{4E268D91-021A-4580-9ADB-0CC7BA8EDAB3}"/>
              </a:ext>
            </a:extLst>
          </p:cNvPr>
          <p:cNvSpPr/>
          <p:nvPr/>
        </p:nvSpPr>
        <p:spPr>
          <a:xfrm>
            <a:off x="6641678" y="3047214"/>
            <a:ext cx="200406" cy="200406"/>
          </a:xfrm>
          <a:custGeom>
            <a:avLst/>
            <a:gdLst>
              <a:gd name="connsiteX0" fmla="*/ 0 w 400609"/>
              <a:gd name="connsiteY0" fmla="*/ 200305 h 400609"/>
              <a:gd name="connsiteX1" fmla="*/ 200305 w 400609"/>
              <a:gd name="connsiteY1" fmla="*/ 0 h 400609"/>
              <a:gd name="connsiteX2" fmla="*/ 400609 w 400609"/>
              <a:gd name="connsiteY2" fmla="*/ 200305 h 400609"/>
              <a:gd name="connsiteX3" fmla="*/ 200305 w 400609"/>
              <a:gd name="connsiteY3" fmla="*/ 400609 h 400609"/>
              <a:gd name="connsiteX4" fmla="*/ 0 w 400609"/>
              <a:gd name="connsiteY4" fmla="*/ 200305 h 400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09" h="400609">
                <a:moveTo>
                  <a:pt x="0" y="200305"/>
                </a:moveTo>
                <a:cubicBezTo>
                  <a:pt x="0" y="89679"/>
                  <a:pt x="89679" y="0"/>
                  <a:pt x="200305" y="0"/>
                </a:cubicBezTo>
                <a:cubicBezTo>
                  <a:pt x="310930" y="0"/>
                  <a:pt x="400609" y="89679"/>
                  <a:pt x="400609" y="200305"/>
                </a:cubicBezTo>
                <a:cubicBezTo>
                  <a:pt x="400609" y="310930"/>
                  <a:pt x="310930" y="400609"/>
                  <a:pt x="200305" y="400609"/>
                </a:cubicBezTo>
                <a:cubicBezTo>
                  <a:pt x="89679" y="400609"/>
                  <a:pt x="0" y="310930"/>
                  <a:pt x="0" y="200305"/>
                </a:cubicBezTo>
                <a:close/>
              </a:path>
            </a:pathLst>
          </a:custGeom>
          <a:noFill/>
          <a:ln w="7144" cap="flat">
            <a:solidFill>
              <a:srgbClr val="0D274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82828"/>
              </a:solidFill>
              <a:effectLst/>
              <a:uLnTx/>
              <a:uFillTx/>
            </a:endParaRPr>
          </a:p>
        </p:txBody>
      </p:sp>
      <p:grpSp>
        <p:nvGrpSpPr>
          <p:cNvPr id="313" name="Group 312">
            <a:extLst>
              <a:ext uri="{FF2B5EF4-FFF2-40B4-BE49-F238E27FC236}">
                <a16:creationId xmlns:a16="http://schemas.microsoft.com/office/drawing/2014/main" id="{DEE7422A-5246-4E38-A6D8-53B94203993E}"/>
              </a:ext>
            </a:extLst>
          </p:cNvPr>
          <p:cNvGrpSpPr/>
          <p:nvPr/>
        </p:nvGrpSpPr>
        <p:grpSpPr>
          <a:xfrm>
            <a:off x="9558528" y="3602439"/>
            <a:ext cx="2337045" cy="2272681"/>
            <a:chOff x="9765771" y="3773889"/>
            <a:chExt cx="2129802" cy="2071146"/>
          </a:xfrm>
        </p:grpSpPr>
        <p:sp>
          <p:nvSpPr>
            <p:cNvPr id="314" name="Google Shape;2115;p430">
              <a:extLst>
                <a:ext uri="{FF2B5EF4-FFF2-40B4-BE49-F238E27FC236}">
                  <a16:creationId xmlns:a16="http://schemas.microsoft.com/office/drawing/2014/main" id="{D0B818C9-6DCD-4529-8460-221BD82FB0F7}"/>
                </a:ext>
              </a:extLst>
            </p:cNvPr>
            <p:cNvSpPr txBox="1"/>
            <p:nvPr/>
          </p:nvSpPr>
          <p:spPr>
            <a:xfrm>
              <a:off x="9765771" y="5620648"/>
              <a:ext cx="1872316" cy="224387"/>
            </a:xfrm>
            <a:prstGeom prst="rect">
              <a:avLst/>
            </a:prstGeom>
            <a:noFill/>
            <a:ln>
              <a:noFill/>
            </a:ln>
          </p:spPr>
          <p:txBody>
            <a:bodyPr spcFirstLastPara="1" wrap="square" lIns="0" tIns="0" rIns="0" bIns="0" anchor="t" anchorCtr="0">
              <a:spAutoFit/>
            </a:bodyPr>
            <a:lstStyle/>
            <a:p>
              <a:pPr lvl="0" algn="ctr">
                <a:buClr>
                  <a:srgbClr val="000000"/>
                </a:buClr>
                <a:buSzPts val="1400"/>
              </a:pPr>
              <a:r>
                <a:rPr lang="en-IN" sz="1600" dirty="0">
                  <a:solidFill>
                    <a:schemeClr val="tx2"/>
                  </a:solidFill>
                  <a:sym typeface="Helvetica Neue"/>
                </a:rPr>
                <a:t>Corporate Network</a:t>
              </a:r>
            </a:p>
          </p:txBody>
        </p:sp>
        <p:grpSp>
          <p:nvGrpSpPr>
            <p:cNvPr id="315" name="Group 314">
              <a:extLst>
                <a:ext uri="{FF2B5EF4-FFF2-40B4-BE49-F238E27FC236}">
                  <a16:creationId xmlns:a16="http://schemas.microsoft.com/office/drawing/2014/main" id="{DC976033-6EE6-496A-B553-1ECCE73D5C95}"/>
                </a:ext>
              </a:extLst>
            </p:cNvPr>
            <p:cNvGrpSpPr/>
            <p:nvPr/>
          </p:nvGrpSpPr>
          <p:grpSpPr>
            <a:xfrm>
              <a:off x="9789030" y="3773889"/>
              <a:ext cx="2106543" cy="1807488"/>
              <a:chOff x="9789030" y="3558266"/>
              <a:chExt cx="2106543" cy="1807488"/>
            </a:xfrm>
          </p:grpSpPr>
          <p:sp>
            <p:nvSpPr>
              <p:cNvPr id="316" name="Rectangle: Rounded Corners 315">
                <a:extLst>
                  <a:ext uri="{FF2B5EF4-FFF2-40B4-BE49-F238E27FC236}">
                    <a16:creationId xmlns:a16="http://schemas.microsoft.com/office/drawing/2014/main" id="{716BE5EF-4011-49C8-87A5-0F83C57811A8}"/>
                  </a:ext>
                </a:extLst>
              </p:cNvPr>
              <p:cNvSpPr/>
              <p:nvPr/>
            </p:nvSpPr>
            <p:spPr>
              <a:xfrm>
                <a:off x="10801350" y="3558266"/>
                <a:ext cx="843087" cy="856743"/>
              </a:xfrm>
              <a:prstGeom prst="roundRect">
                <a:avLst>
                  <a:gd name="adj" fmla="val 5623"/>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17" name="Group 316">
                <a:extLst>
                  <a:ext uri="{FF2B5EF4-FFF2-40B4-BE49-F238E27FC236}">
                    <a16:creationId xmlns:a16="http://schemas.microsoft.com/office/drawing/2014/main" id="{895447D5-3427-4562-A910-3C59A7ADD55D}"/>
                  </a:ext>
                </a:extLst>
              </p:cNvPr>
              <p:cNvGrpSpPr/>
              <p:nvPr/>
            </p:nvGrpSpPr>
            <p:grpSpPr>
              <a:xfrm>
                <a:off x="9789030" y="5161319"/>
                <a:ext cx="1743734" cy="204435"/>
                <a:chOff x="3500791" y="3888237"/>
                <a:chExt cx="1743734" cy="204435"/>
              </a:xfrm>
            </p:grpSpPr>
            <p:sp>
              <p:nvSpPr>
                <p:cNvPr id="324" name="Freeform: Shape 323">
                  <a:extLst>
                    <a:ext uri="{FF2B5EF4-FFF2-40B4-BE49-F238E27FC236}">
                      <a16:creationId xmlns:a16="http://schemas.microsoft.com/office/drawing/2014/main" id="{4BEAEB9A-6CBC-4764-86E3-E088D2D3339C}"/>
                    </a:ext>
                  </a:extLst>
                </p:cNvPr>
                <p:cNvSpPr/>
                <p:nvPr/>
              </p:nvSpPr>
              <p:spPr>
                <a:xfrm rot="1833945">
                  <a:off x="3538962"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25" name="Freeform: Shape 324">
                  <a:extLst>
                    <a:ext uri="{FF2B5EF4-FFF2-40B4-BE49-F238E27FC236}">
                      <a16:creationId xmlns:a16="http://schemas.microsoft.com/office/drawing/2014/main" id="{F71AF3AD-225F-4E16-BFE5-67907FEB9C37}"/>
                    </a:ext>
                  </a:extLst>
                </p:cNvPr>
                <p:cNvSpPr/>
                <p:nvPr/>
              </p:nvSpPr>
              <p:spPr>
                <a:xfrm rot="1833945">
                  <a:off x="3618096"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26" name="Freeform: Shape 325">
                  <a:extLst>
                    <a:ext uri="{FF2B5EF4-FFF2-40B4-BE49-F238E27FC236}">
                      <a16:creationId xmlns:a16="http://schemas.microsoft.com/office/drawing/2014/main" id="{4B397092-7FCD-4C55-AC03-4C9A5F155920}"/>
                    </a:ext>
                  </a:extLst>
                </p:cNvPr>
                <p:cNvSpPr/>
                <p:nvPr/>
              </p:nvSpPr>
              <p:spPr>
                <a:xfrm rot="1833945">
                  <a:off x="3697233" y="3982514"/>
                  <a:ext cx="443847" cy="5492"/>
                </a:xfrm>
                <a:custGeom>
                  <a:avLst/>
                  <a:gdLst>
                    <a:gd name="connsiteX0" fmla="*/ 0 w 443847"/>
                    <a:gd name="connsiteY0" fmla="*/ 5492 h 5492"/>
                    <a:gd name="connsiteX1" fmla="*/ 9298 w 443847"/>
                    <a:gd name="connsiteY1" fmla="*/ 0 h 5492"/>
                    <a:gd name="connsiteX2" fmla="*/ 443847 w 443847"/>
                    <a:gd name="connsiteY2" fmla="*/ 1 h 5492"/>
                    <a:gd name="connsiteX3" fmla="*/ 434549 w 443847"/>
                    <a:gd name="connsiteY3" fmla="*/ 5492 h 5492"/>
                    <a:gd name="connsiteX4" fmla="*/ 0 w 443847"/>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2">
                      <a:moveTo>
                        <a:pt x="0" y="5492"/>
                      </a:moveTo>
                      <a:lnTo>
                        <a:pt x="9298" y="0"/>
                      </a:lnTo>
                      <a:lnTo>
                        <a:pt x="443847" y="1"/>
                      </a:lnTo>
                      <a:lnTo>
                        <a:pt x="434549" y="5492"/>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27" name="Freeform: Shape 326">
                  <a:extLst>
                    <a:ext uri="{FF2B5EF4-FFF2-40B4-BE49-F238E27FC236}">
                      <a16:creationId xmlns:a16="http://schemas.microsoft.com/office/drawing/2014/main" id="{EA888ED1-D6CA-4DBB-8AB5-2E8346BA6FB6}"/>
                    </a:ext>
                  </a:extLst>
                </p:cNvPr>
                <p:cNvSpPr/>
                <p:nvPr/>
              </p:nvSpPr>
              <p:spPr>
                <a:xfrm rot="1833945">
                  <a:off x="3776364"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50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50"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28" name="Freeform: Shape 327">
                  <a:extLst>
                    <a:ext uri="{FF2B5EF4-FFF2-40B4-BE49-F238E27FC236}">
                      <a16:creationId xmlns:a16="http://schemas.microsoft.com/office/drawing/2014/main" id="{DC138ABA-9DC7-4BA6-90DE-FC363ABC8B97}"/>
                    </a:ext>
                  </a:extLst>
                </p:cNvPr>
                <p:cNvSpPr/>
                <p:nvPr/>
              </p:nvSpPr>
              <p:spPr>
                <a:xfrm rot="1833945">
                  <a:off x="3855500"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29" name="Freeform: Shape 328">
                  <a:extLst>
                    <a:ext uri="{FF2B5EF4-FFF2-40B4-BE49-F238E27FC236}">
                      <a16:creationId xmlns:a16="http://schemas.microsoft.com/office/drawing/2014/main" id="{E9A3E316-4361-44C3-8667-2C495306D691}"/>
                    </a:ext>
                  </a:extLst>
                </p:cNvPr>
                <p:cNvSpPr/>
                <p:nvPr/>
              </p:nvSpPr>
              <p:spPr>
                <a:xfrm rot="1833945">
                  <a:off x="3934634" y="3982514"/>
                  <a:ext cx="443847" cy="5492"/>
                </a:xfrm>
                <a:custGeom>
                  <a:avLst/>
                  <a:gdLst>
                    <a:gd name="connsiteX0" fmla="*/ 0 w 443847"/>
                    <a:gd name="connsiteY0" fmla="*/ 5492 h 5492"/>
                    <a:gd name="connsiteX1" fmla="*/ 9298 w 443847"/>
                    <a:gd name="connsiteY1" fmla="*/ 0 h 5492"/>
                    <a:gd name="connsiteX2" fmla="*/ 443847 w 443847"/>
                    <a:gd name="connsiteY2" fmla="*/ 0 h 5492"/>
                    <a:gd name="connsiteX3" fmla="*/ 434549 w 443847"/>
                    <a:gd name="connsiteY3" fmla="*/ 5491 h 5492"/>
                    <a:gd name="connsiteX4" fmla="*/ 0 w 443847"/>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2">
                      <a:moveTo>
                        <a:pt x="0" y="5492"/>
                      </a:moveTo>
                      <a:lnTo>
                        <a:pt x="9298" y="0"/>
                      </a:lnTo>
                      <a:lnTo>
                        <a:pt x="443847" y="0"/>
                      </a:lnTo>
                      <a:lnTo>
                        <a:pt x="434549"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0" name="Freeform: Shape 329">
                  <a:extLst>
                    <a:ext uri="{FF2B5EF4-FFF2-40B4-BE49-F238E27FC236}">
                      <a16:creationId xmlns:a16="http://schemas.microsoft.com/office/drawing/2014/main" id="{B690FD0E-33C2-48D1-AB4F-B5B7D16B4CE1}"/>
                    </a:ext>
                  </a:extLst>
                </p:cNvPr>
                <p:cNvSpPr/>
                <p:nvPr/>
              </p:nvSpPr>
              <p:spPr>
                <a:xfrm rot="1833945">
                  <a:off x="4013769"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1" name="Freeform: Shape 330">
                  <a:extLst>
                    <a:ext uri="{FF2B5EF4-FFF2-40B4-BE49-F238E27FC236}">
                      <a16:creationId xmlns:a16="http://schemas.microsoft.com/office/drawing/2014/main" id="{0258A5AD-7C0C-47F5-850D-3D3A8605C1DC}"/>
                    </a:ext>
                  </a:extLst>
                </p:cNvPr>
                <p:cNvSpPr/>
                <p:nvPr/>
              </p:nvSpPr>
              <p:spPr>
                <a:xfrm rot="1833945">
                  <a:off x="4092903"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2" name="Freeform: Shape 331">
                  <a:extLst>
                    <a:ext uri="{FF2B5EF4-FFF2-40B4-BE49-F238E27FC236}">
                      <a16:creationId xmlns:a16="http://schemas.microsoft.com/office/drawing/2014/main" id="{29F14901-E9BC-4188-B2B7-1D7ED4F66F0E}"/>
                    </a:ext>
                  </a:extLst>
                </p:cNvPr>
                <p:cNvSpPr/>
                <p:nvPr/>
              </p:nvSpPr>
              <p:spPr>
                <a:xfrm rot="1833945">
                  <a:off x="4172038" y="3982513"/>
                  <a:ext cx="443848" cy="5492"/>
                </a:xfrm>
                <a:custGeom>
                  <a:avLst/>
                  <a:gdLst>
                    <a:gd name="connsiteX0" fmla="*/ 0 w 443848"/>
                    <a:gd name="connsiteY0" fmla="*/ 5492 h 5492"/>
                    <a:gd name="connsiteX1" fmla="*/ 9298 w 443848"/>
                    <a:gd name="connsiteY1" fmla="*/ 0 h 5492"/>
                    <a:gd name="connsiteX2" fmla="*/ 443848 w 443848"/>
                    <a:gd name="connsiteY2" fmla="*/ 0 h 5492"/>
                    <a:gd name="connsiteX3" fmla="*/ 434550 w 443848"/>
                    <a:gd name="connsiteY3" fmla="*/ 5491 h 5492"/>
                    <a:gd name="connsiteX4" fmla="*/ 0 w 443848"/>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2">
                      <a:moveTo>
                        <a:pt x="0" y="5492"/>
                      </a:moveTo>
                      <a:lnTo>
                        <a:pt x="9298" y="0"/>
                      </a:lnTo>
                      <a:lnTo>
                        <a:pt x="443848" y="0"/>
                      </a:lnTo>
                      <a:lnTo>
                        <a:pt x="434550"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3" name="Freeform: Shape 332">
                  <a:extLst>
                    <a:ext uri="{FF2B5EF4-FFF2-40B4-BE49-F238E27FC236}">
                      <a16:creationId xmlns:a16="http://schemas.microsoft.com/office/drawing/2014/main" id="{3FCEA885-C5C5-4BB8-998B-6E9885D78E16}"/>
                    </a:ext>
                  </a:extLst>
                </p:cNvPr>
                <p:cNvSpPr/>
                <p:nvPr/>
              </p:nvSpPr>
              <p:spPr>
                <a:xfrm rot="1833945">
                  <a:off x="4251171" y="3982513"/>
                  <a:ext cx="443848" cy="5492"/>
                </a:xfrm>
                <a:custGeom>
                  <a:avLst/>
                  <a:gdLst>
                    <a:gd name="connsiteX0" fmla="*/ 0 w 443848"/>
                    <a:gd name="connsiteY0" fmla="*/ 5492 h 5492"/>
                    <a:gd name="connsiteX1" fmla="*/ 9298 w 443848"/>
                    <a:gd name="connsiteY1" fmla="*/ 0 h 5492"/>
                    <a:gd name="connsiteX2" fmla="*/ 443848 w 443848"/>
                    <a:gd name="connsiteY2" fmla="*/ 0 h 5492"/>
                    <a:gd name="connsiteX3" fmla="*/ 434550 w 443848"/>
                    <a:gd name="connsiteY3" fmla="*/ 5492 h 5492"/>
                    <a:gd name="connsiteX4" fmla="*/ 0 w 443848"/>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2">
                      <a:moveTo>
                        <a:pt x="0" y="5492"/>
                      </a:moveTo>
                      <a:lnTo>
                        <a:pt x="9298" y="0"/>
                      </a:lnTo>
                      <a:lnTo>
                        <a:pt x="443848" y="0"/>
                      </a:lnTo>
                      <a:lnTo>
                        <a:pt x="434550" y="5492"/>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4" name="Freeform: Shape 333">
                  <a:extLst>
                    <a:ext uri="{FF2B5EF4-FFF2-40B4-BE49-F238E27FC236}">
                      <a16:creationId xmlns:a16="http://schemas.microsoft.com/office/drawing/2014/main" id="{70C5F2F9-D8BF-4036-88A1-FDDFD68BA012}"/>
                    </a:ext>
                  </a:extLst>
                </p:cNvPr>
                <p:cNvSpPr/>
                <p:nvPr/>
              </p:nvSpPr>
              <p:spPr>
                <a:xfrm rot="1833945">
                  <a:off x="4330307"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5" name="Freeform: Shape 334">
                  <a:extLst>
                    <a:ext uri="{FF2B5EF4-FFF2-40B4-BE49-F238E27FC236}">
                      <a16:creationId xmlns:a16="http://schemas.microsoft.com/office/drawing/2014/main" id="{00205D6A-6AAD-4D89-9378-F39B0CCFF801}"/>
                    </a:ext>
                  </a:extLst>
                </p:cNvPr>
                <p:cNvSpPr/>
                <p:nvPr/>
              </p:nvSpPr>
              <p:spPr>
                <a:xfrm rot="1833945">
                  <a:off x="4409438" y="3982515"/>
                  <a:ext cx="443848" cy="5491"/>
                </a:xfrm>
                <a:custGeom>
                  <a:avLst/>
                  <a:gdLst>
                    <a:gd name="connsiteX0" fmla="*/ 0 w 443848"/>
                    <a:gd name="connsiteY0" fmla="*/ 5491 h 5491"/>
                    <a:gd name="connsiteX1" fmla="*/ 9298 w 443848"/>
                    <a:gd name="connsiteY1" fmla="*/ 0 h 5491"/>
                    <a:gd name="connsiteX2" fmla="*/ 443848 w 443848"/>
                    <a:gd name="connsiteY2" fmla="*/ 0 h 5491"/>
                    <a:gd name="connsiteX3" fmla="*/ 434550 w 443848"/>
                    <a:gd name="connsiteY3" fmla="*/ 5491 h 5491"/>
                    <a:gd name="connsiteX4" fmla="*/ 0 w 443848"/>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1">
                      <a:moveTo>
                        <a:pt x="0" y="5491"/>
                      </a:moveTo>
                      <a:lnTo>
                        <a:pt x="9298" y="0"/>
                      </a:lnTo>
                      <a:lnTo>
                        <a:pt x="443848" y="0"/>
                      </a:lnTo>
                      <a:lnTo>
                        <a:pt x="434550"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6" name="Freeform: Shape 335">
                  <a:extLst>
                    <a:ext uri="{FF2B5EF4-FFF2-40B4-BE49-F238E27FC236}">
                      <a16:creationId xmlns:a16="http://schemas.microsoft.com/office/drawing/2014/main" id="{69B2872C-CBD8-4722-9C86-5C5F767DD786}"/>
                    </a:ext>
                  </a:extLst>
                </p:cNvPr>
                <p:cNvSpPr/>
                <p:nvPr/>
              </p:nvSpPr>
              <p:spPr>
                <a:xfrm rot="1833945">
                  <a:off x="4488576" y="3982514"/>
                  <a:ext cx="443847" cy="5492"/>
                </a:xfrm>
                <a:custGeom>
                  <a:avLst/>
                  <a:gdLst>
                    <a:gd name="connsiteX0" fmla="*/ 0 w 443847"/>
                    <a:gd name="connsiteY0" fmla="*/ 5492 h 5492"/>
                    <a:gd name="connsiteX1" fmla="*/ 9298 w 443847"/>
                    <a:gd name="connsiteY1" fmla="*/ 0 h 5492"/>
                    <a:gd name="connsiteX2" fmla="*/ 443847 w 443847"/>
                    <a:gd name="connsiteY2" fmla="*/ 0 h 5492"/>
                    <a:gd name="connsiteX3" fmla="*/ 434549 w 443847"/>
                    <a:gd name="connsiteY3" fmla="*/ 5491 h 5492"/>
                    <a:gd name="connsiteX4" fmla="*/ 0 w 443847"/>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2">
                      <a:moveTo>
                        <a:pt x="0" y="5492"/>
                      </a:moveTo>
                      <a:lnTo>
                        <a:pt x="9298" y="0"/>
                      </a:lnTo>
                      <a:lnTo>
                        <a:pt x="443847" y="0"/>
                      </a:lnTo>
                      <a:lnTo>
                        <a:pt x="434549"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7" name="Freeform: Shape 336">
                  <a:extLst>
                    <a:ext uri="{FF2B5EF4-FFF2-40B4-BE49-F238E27FC236}">
                      <a16:creationId xmlns:a16="http://schemas.microsoft.com/office/drawing/2014/main" id="{CFEF4B5D-1B5B-4378-BDAB-71F2FFCF3799}"/>
                    </a:ext>
                  </a:extLst>
                </p:cNvPr>
                <p:cNvSpPr/>
                <p:nvPr/>
              </p:nvSpPr>
              <p:spPr>
                <a:xfrm rot="1833945">
                  <a:off x="4567706" y="3982513"/>
                  <a:ext cx="443848" cy="5492"/>
                </a:xfrm>
                <a:custGeom>
                  <a:avLst/>
                  <a:gdLst>
                    <a:gd name="connsiteX0" fmla="*/ 0 w 443848"/>
                    <a:gd name="connsiteY0" fmla="*/ 5492 h 5492"/>
                    <a:gd name="connsiteX1" fmla="*/ 9298 w 443848"/>
                    <a:gd name="connsiteY1" fmla="*/ 0 h 5492"/>
                    <a:gd name="connsiteX2" fmla="*/ 443848 w 443848"/>
                    <a:gd name="connsiteY2" fmla="*/ 0 h 5492"/>
                    <a:gd name="connsiteX3" fmla="*/ 434550 w 443848"/>
                    <a:gd name="connsiteY3" fmla="*/ 5492 h 5492"/>
                    <a:gd name="connsiteX4" fmla="*/ 0 w 443848"/>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2">
                      <a:moveTo>
                        <a:pt x="0" y="5492"/>
                      </a:moveTo>
                      <a:lnTo>
                        <a:pt x="9298" y="0"/>
                      </a:lnTo>
                      <a:lnTo>
                        <a:pt x="443848" y="0"/>
                      </a:lnTo>
                      <a:lnTo>
                        <a:pt x="434550" y="5492"/>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8" name="Freeform: Shape 337">
                  <a:extLst>
                    <a:ext uri="{FF2B5EF4-FFF2-40B4-BE49-F238E27FC236}">
                      <a16:creationId xmlns:a16="http://schemas.microsoft.com/office/drawing/2014/main" id="{AAC3BBBF-171F-4434-8BBD-37AE83C9D1D8}"/>
                    </a:ext>
                  </a:extLst>
                </p:cNvPr>
                <p:cNvSpPr/>
                <p:nvPr/>
              </p:nvSpPr>
              <p:spPr>
                <a:xfrm rot="1833945">
                  <a:off x="4646843" y="3982515"/>
                  <a:ext cx="443847" cy="5491"/>
                </a:xfrm>
                <a:custGeom>
                  <a:avLst/>
                  <a:gdLst>
                    <a:gd name="connsiteX0" fmla="*/ 0 w 443847"/>
                    <a:gd name="connsiteY0" fmla="*/ 5491 h 5491"/>
                    <a:gd name="connsiteX1" fmla="*/ 9298 w 443847"/>
                    <a:gd name="connsiteY1" fmla="*/ 0 h 5491"/>
                    <a:gd name="connsiteX2" fmla="*/ 443847 w 443847"/>
                    <a:gd name="connsiteY2" fmla="*/ 0 h 5491"/>
                    <a:gd name="connsiteX3" fmla="*/ 434549 w 443847"/>
                    <a:gd name="connsiteY3" fmla="*/ 5491 h 5491"/>
                    <a:gd name="connsiteX4" fmla="*/ 0 w 44384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7" h="5491">
                      <a:moveTo>
                        <a:pt x="0" y="5491"/>
                      </a:moveTo>
                      <a:lnTo>
                        <a:pt x="9298" y="0"/>
                      </a:lnTo>
                      <a:lnTo>
                        <a:pt x="443847" y="0"/>
                      </a:lnTo>
                      <a:lnTo>
                        <a:pt x="43454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39" name="Freeform: Shape 338">
                  <a:extLst>
                    <a:ext uri="{FF2B5EF4-FFF2-40B4-BE49-F238E27FC236}">
                      <a16:creationId xmlns:a16="http://schemas.microsoft.com/office/drawing/2014/main" id="{150C4E31-07F7-42EA-A4DB-E9772220A76B}"/>
                    </a:ext>
                  </a:extLst>
                </p:cNvPr>
                <p:cNvSpPr/>
                <p:nvPr/>
              </p:nvSpPr>
              <p:spPr>
                <a:xfrm rot="1833945">
                  <a:off x="4725974" y="3982515"/>
                  <a:ext cx="443848" cy="5491"/>
                </a:xfrm>
                <a:custGeom>
                  <a:avLst/>
                  <a:gdLst>
                    <a:gd name="connsiteX0" fmla="*/ 0 w 443848"/>
                    <a:gd name="connsiteY0" fmla="*/ 5491 h 5491"/>
                    <a:gd name="connsiteX1" fmla="*/ 9298 w 443848"/>
                    <a:gd name="connsiteY1" fmla="*/ 0 h 5491"/>
                    <a:gd name="connsiteX2" fmla="*/ 443848 w 443848"/>
                    <a:gd name="connsiteY2" fmla="*/ 0 h 5491"/>
                    <a:gd name="connsiteX3" fmla="*/ 434550 w 443848"/>
                    <a:gd name="connsiteY3" fmla="*/ 5491 h 5491"/>
                    <a:gd name="connsiteX4" fmla="*/ 0 w 443848"/>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48" h="5491">
                      <a:moveTo>
                        <a:pt x="0" y="5491"/>
                      </a:moveTo>
                      <a:lnTo>
                        <a:pt x="9298" y="0"/>
                      </a:lnTo>
                      <a:lnTo>
                        <a:pt x="443848" y="0"/>
                      </a:lnTo>
                      <a:lnTo>
                        <a:pt x="434550"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0" name="Freeform: Shape 339">
                  <a:extLst>
                    <a:ext uri="{FF2B5EF4-FFF2-40B4-BE49-F238E27FC236}">
                      <a16:creationId xmlns:a16="http://schemas.microsoft.com/office/drawing/2014/main" id="{B5D01AA6-02FF-454F-A21B-52DA7ADABF4D}"/>
                    </a:ext>
                  </a:extLst>
                </p:cNvPr>
                <p:cNvSpPr/>
                <p:nvPr/>
              </p:nvSpPr>
              <p:spPr>
                <a:xfrm rot="1833945">
                  <a:off x="4805441" y="3981302"/>
                  <a:ext cx="439084" cy="5492"/>
                </a:xfrm>
                <a:custGeom>
                  <a:avLst/>
                  <a:gdLst>
                    <a:gd name="connsiteX0" fmla="*/ 0 w 439084"/>
                    <a:gd name="connsiteY0" fmla="*/ 5492 h 5492"/>
                    <a:gd name="connsiteX1" fmla="*/ 9298 w 439084"/>
                    <a:gd name="connsiteY1" fmla="*/ 0 h 5492"/>
                    <a:gd name="connsiteX2" fmla="*/ 437423 w 439084"/>
                    <a:gd name="connsiteY2" fmla="*/ 0 h 5492"/>
                    <a:gd name="connsiteX3" fmla="*/ 439084 w 439084"/>
                    <a:gd name="connsiteY3" fmla="*/ 2813 h 5492"/>
                    <a:gd name="connsiteX4" fmla="*/ 434549 w 439084"/>
                    <a:gd name="connsiteY4" fmla="*/ 5491 h 5492"/>
                    <a:gd name="connsiteX5" fmla="*/ 0 w 439084"/>
                    <a:gd name="connsiteY5" fmla="*/ 5492 h 5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084" h="5492">
                      <a:moveTo>
                        <a:pt x="0" y="5492"/>
                      </a:moveTo>
                      <a:lnTo>
                        <a:pt x="9298" y="0"/>
                      </a:lnTo>
                      <a:lnTo>
                        <a:pt x="437423" y="0"/>
                      </a:lnTo>
                      <a:lnTo>
                        <a:pt x="439084" y="2813"/>
                      </a:lnTo>
                      <a:lnTo>
                        <a:pt x="434549"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1" name="Freeform: Shape 340">
                  <a:extLst>
                    <a:ext uri="{FF2B5EF4-FFF2-40B4-BE49-F238E27FC236}">
                      <a16:creationId xmlns:a16="http://schemas.microsoft.com/office/drawing/2014/main" id="{84926390-BC24-4715-A899-FC4ABA06FEB7}"/>
                    </a:ext>
                  </a:extLst>
                </p:cNvPr>
                <p:cNvSpPr/>
                <p:nvPr/>
              </p:nvSpPr>
              <p:spPr>
                <a:xfrm rot="1833945">
                  <a:off x="4890848" y="3958336"/>
                  <a:ext cx="348764" cy="5492"/>
                </a:xfrm>
                <a:custGeom>
                  <a:avLst/>
                  <a:gdLst>
                    <a:gd name="connsiteX0" fmla="*/ 0 w 348764"/>
                    <a:gd name="connsiteY0" fmla="*/ 5492 h 5492"/>
                    <a:gd name="connsiteX1" fmla="*/ 9298 w 348764"/>
                    <a:gd name="connsiteY1" fmla="*/ 0 h 5492"/>
                    <a:gd name="connsiteX2" fmla="*/ 345521 w 348764"/>
                    <a:gd name="connsiteY2" fmla="*/ 0 h 5492"/>
                    <a:gd name="connsiteX3" fmla="*/ 348764 w 348764"/>
                    <a:gd name="connsiteY3" fmla="*/ 5491 h 5492"/>
                    <a:gd name="connsiteX4" fmla="*/ 0 w 348764"/>
                    <a:gd name="connsiteY4" fmla="*/ 5492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764" h="5492">
                      <a:moveTo>
                        <a:pt x="0" y="5492"/>
                      </a:moveTo>
                      <a:lnTo>
                        <a:pt x="9298" y="0"/>
                      </a:lnTo>
                      <a:lnTo>
                        <a:pt x="345521" y="0"/>
                      </a:lnTo>
                      <a:lnTo>
                        <a:pt x="348764" y="5491"/>
                      </a:lnTo>
                      <a:lnTo>
                        <a:pt x="0" y="5492"/>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2" name="Freeform: Shape 341">
                  <a:extLst>
                    <a:ext uri="{FF2B5EF4-FFF2-40B4-BE49-F238E27FC236}">
                      <a16:creationId xmlns:a16="http://schemas.microsoft.com/office/drawing/2014/main" id="{8E821AC3-0DEB-4146-AAB9-E465DE8E91A4}"/>
                    </a:ext>
                  </a:extLst>
                </p:cNvPr>
                <p:cNvSpPr/>
                <p:nvPr/>
              </p:nvSpPr>
              <p:spPr>
                <a:xfrm rot="1833945">
                  <a:off x="4976371" y="3934970"/>
                  <a:ext cx="256857" cy="5491"/>
                </a:xfrm>
                <a:custGeom>
                  <a:avLst/>
                  <a:gdLst>
                    <a:gd name="connsiteX0" fmla="*/ 0 w 256857"/>
                    <a:gd name="connsiteY0" fmla="*/ 5491 h 5491"/>
                    <a:gd name="connsiteX1" fmla="*/ 9298 w 256857"/>
                    <a:gd name="connsiteY1" fmla="*/ 0 h 5491"/>
                    <a:gd name="connsiteX2" fmla="*/ 253614 w 256857"/>
                    <a:gd name="connsiteY2" fmla="*/ 0 h 5491"/>
                    <a:gd name="connsiteX3" fmla="*/ 256857 w 256857"/>
                    <a:gd name="connsiteY3" fmla="*/ 5491 h 5491"/>
                    <a:gd name="connsiteX4" fmla="*/ 0 w 256857"/>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7" h="5491">
                      <a:moveTo>
                        <a:pt x="0" y="5491"/>
                      </a:moveTo>
                      <a:lnTo>
                        <a:pt x="9298" y="0"/>
                      </a:lnTo>
                      <a:lnTo>
                        <a:pt x="253614" y="0"/>
                      </a:lnTo>
                      <a:lnTo>
                        <a:pt x="256857"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3" name="Freeform: Shape 342">
                  <a:extLst>
                    <a:ext uri="{FF2B5EF4-FFF2-40B4-BE49-F238E27FC236}">
                      <a16:creationId xmlns:a16="http://schemas.microsoft.com/office/drawing/2014/main" id="{70A9FDD3-BD46-4506-B223-23D1D0A4A5D7}"/>
                    </a:ext>
                  </a:extLst>
                </p:cNvPr>
                <p:cNvSpPr/>
                <p:nvPr/>
              </p:nvSpPr>
              <p:spPr>
                <a:xfrm rot="1833945">
                  <a:off x="5061888" y="3911603"/>
                  <a:ext cx="164955" cy="5491"/>
                </a:xfrm>
                <a:custGeom>
                  <a:avLst/>
                  <a:gdLst>
                    <a:gd name="connsiteX0" fmla="*/ 0 w 164955"/>
                    <a:gd name="connsiteY0" fmla="*/ 5491 h 5491"/>
                    <a:gd name="connsiteX1" fmla="*/ 9298 w 164955"/>
                    <a:gd name="connsiteY1" fmla="*/ 0 h 5491"/>
                    <a:gd name="connsiteX2" fmla="*/ 161712 w 164955"/>
                    <a:gd name="connsiteY2" fmla="*/ 0 h 5491"/>
                    <a:gd name="connsiteX3" fmla="*/ 164955 w 164955"/>
                    <a:gd name="connsiteY3" fmla="*/ 5491 h 5491"/>
                    <a:gd name="connsiteX4" fmla="*/ 0 w 164955"/>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955" h="5491">
                      <a:moveTo>
                        <a:pt x="0" y="5491"/>
                      </a:moveTo>
                      <a:lnTo>
                        <a:pt x="9298" y="0"/>
                      </a:lnTo>
                      <a:lnTo>
                        <a:pt x="161712" y="0"/>
                      </a:lnTo>
                      <a:lnTo>
                        <a:pt x="164955"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4" name="Freeform: Shape 343">
                  <a:extLst>
                    <a:ext uri="{FF2B5EF4-FFF2-40B4-BE49-F238E27FC236}">
                      <a16:creationId xmlns:a16="http://schemas.microsoft.com/office/drawing/2014/main" id="{91D6296A-D85F-409A-A307-121B6900D193}"/>
                    </a:ext>
                  </a:extLst>
                </p:cNvPr>
                <p:cNvSpPr/>
                <p:nvPr/>
              </p:nvSpPr>
              <p:spPr>
                <a:xfrm rot="1833945">
                  <a:off x="5147399" y="3888237"/>
                  <a:ext cx="73059" cy="5491"/>
                </a:xfrm>
                <a:custGeom>
                  <a:avLst/>
                  <a:gdLst>
                    <a:gd name="connsiteX0" fmla="*/ 0 w 73059"/>
                    <a:gd name="connsiteY0" fmla="*/ 5491 h 5491"/>
                    <a:gd name="connsiteX1" fmla="*/ 9298 w 73059"/>
                    <a:gd name="connsiteY1" fmla="*/ 0 h 5491"/>
                    <a:gd name="connsiteX2" fmla="*/ 69816 w 73059"/>
                    <a:gd name="connsiteY2" fmla="*/ 0 h 5491"/>
                    <a:gd name="connsiteX3" fmla="*/ 73059 w 73059"/>
                    <a:gd name="connsiteY3" fmla="*/ 5491 h 5491"/>
                    <a:gd name="connsiteX4" fmla="*/ 0 w 73059"/>
                    <a:gd name="connsiteY4" fmla="*/ 5491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059" h="5491">
                      <a:moveTo>
                        <a:pt x="0" y="5491"/>
                      </a:moveTo>
                      <a:lnTo>
                        <a:pt x="9298" y="0"/>
                      </a:lnTo>
                      <a:lnTo>
                        <a:pt x="69816" y="0"/>
                      </a:lnTo>
                      <a:lnTo>
                        <a:pt x="73059" y="5491"/>
                      </a:lnTo>
                      <a:lnTo>
                        <a:pt x="0" y="5491"/>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5" name="Freeform: Shape 344">
                  <a:extLst>
                    <a:ext uri="{FF2B5EF4-FFF2-40B4-BE49-F238E27FC236}">
                      <a16:creationId xmlns:a16="http://schemas.microsoft.com/office/drawing/2014/main" id="{CFD4CA5D-9B64-4417-A7F7-C93206B87C58}"/>
                    </a:ext>
                  </a:extLst>
                </p:cNvPr>
                <p:cNvSpPr/>
                <p:nvPr/>
              </p:nvSpPr>
              <p:spPr>
                <a:xfrm rot="1833945">
                  <a:off x="3500791" y="3993706"/>
                  <a:ext cx="399824" cy="5492"/>
                </a:xfrm>
                <a:custGeom>
                  <a:avLst/>
                  <a:gdLst>
                    <a:gd name="connsiteX0" fmla="*/ 0 w 399824"/>
                    <a:gd name="connsiteY0" fmla="*/ 0 h 5492"/>
                    <a:gd name="connsiteX1" fmla="*/ 399824 w 399824"/>
                    <a:gd name="connsiteY1" fmla="*/ 1 h 5492"/>
                    <a:gd name="connsiteX2" fmla="*/ 390526 w 399824"/>
                    <a:gd name="connsiteY2" fmla="*/ 5492 h 5492"/>
                    <a:gd name="connsiteX3" fmla="*/ 3243 w 399824"/>
                    <a:gd name="connsiteY3" fmla="*/ 5492 h 5492"/>
                    <a:gd name="connsiteX4" fmla="*/ 0 w 399824"/>
                    <a:gd name="connsiteY4" fmla="*/ 0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824" h="5492">
                      <a:moveTo>
                        <a:pt x="0" y="0"/>
                      </a:moveTo>
                      <a:lnTo>
                        <a:pt x="399824" y="1"/>
                      </a:lnTo>
                      <a:lnTo>
                        <a:pt x="390526" y="5492"/>
                      </a:lnTo>
                      <a:lnTo>
                        <a:pt x="3243" y="5492"/>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6" name="Freeform: Shape 345">
                  <a:extLst>
                    <a:ext uri="{FF2B5EF4-FFF2-40B4-BE49-F238E27FC236}">
                      <a16:creationId xmlns:a16="http://schemas.microsoft.com/office/drawing/2014/main" id="{3ABD85BE-6F84-484A-ACE1-F37A50929C5E}"/>
                    </a:ext>
                  </a:extLst>
                </p:cNvPr>
                <p:cNvSpPr/>
                <p:nvPr/>
              </p:nvSpPr>
              <p:spPr>
                <a:xfrm rot="1833945">
                  <a:off x="3507177" y="4017074"/>
                  <a:ext cx="307921" cy="5492"/>
                </a:xfrm>
                <a:custGeom>
                  <a:avLst/>
                  <a:gdLst>
                    <a:gd name="connsiteX0" fmla="*/ 0 w 307921"/>
                    <a:gd name="connsiteY0" fmla="*/ 0 h 5492"/>
                    <a:gd name="connsiteX1" fmla="*/ 307921 w 307921"/>
                    <a:gd name="connsiteY1" fmla="*/ 0 h 5492"/>
                    <a:gd name="connsiteX2" fmla="*/ 298623 w 307921"/>
                    <a:gd name="connsiteY2" fmla="*/ 5492 h 5492"/>
                    <a:gd name="connsiteX3" fmla="*/ 3243 w 307921"/>
                    <a:gd name="connsiteY3" fmla="*/ 5492 h 5492"/>
                    <a:gd name="connsiteX4" fmla="*/ 0 w 307921"/>
                    <a:gd name="connsiteY4" fmla="*/ 0 h 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21" h="5492">
                      <a:moveTo>
                        <a:pt x="0" y="0"/>
                      </a:moveTo>
                      <a:lnTo>
                        <a:pt x="307921" y="0"/>
                      </a:lnTo>
                      <a:lnTo>
                        <a:pt x="298623" y="5492"/>
                      </a:lnTo>
                      <a:lnTo>
                        <a:pt x="3243" y="5492"/>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7" name="Freeform: Shape 346">
                  <a:extLst>
                    <a:ext uri="{FF2B5EF4-FFF2-40B4-BE49-F238E27FC236}">
                      <a16:creationId xmlns:a16="http://schemas.microsoft.com/office/drawing/2014/main" id="{8C036687-60B5-4240-810E-3702C957BDAB}"/>
                    </a:ext>
                  </a:extLst>
                </p:cNvPr>
                <p:cNvSpPr/>
                <p:nvPr/>
              </p:nvSpPr>
              <p:spPr>
                <a:xfrm rot="1833945">
                  <a:off x="3513562" y="4040444"/>
                  <a:ext cx="216015" cy="5491"/>
                </a:xfrm>
                <a:custGeom>
                  <a:avLst/>
                  <a:gdLst>
                    <a:gd name="connsiteX0" fmla="*/ 0 w 216015"/>
                    <a:gd name="connsiteY0" fmla="*/ 0 h 5491"/>
                    <a:gd name="connsiteX1" fmla="*/ 216015 w 216015"/>
                    <a:gd name="connsiteY1" fmla="*/ 0 h 5491"/>
                    <a:gd name="connsiteX2" fmla="*/ 206717 w 216015"/>
                    <a:gd name="connsiteY2" fmla="*/ 5491 h 5491"/>
                    <a:gd name="connsiteX3" fmla="*/ 3243 w 216015"/>
                    <a:gd name="connsiteY3" fmla="*/ 5491 h 5491"/>
                    <a:gd name="connsiteX4" fmla="*/ 0 w 216015"/>
                    <a:gd name="connsiteY4" fmla="*/ 0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15" h="5491">
                      <a:moveTo>
                        <a:pt x="0" y="0"/>
                      </a:moveTo>
                      <a:lnTo>
                        <a:pt x="216015" y="0"/>
                      </a:lnTo>
                      <a:lnTo>
                        <a:pt x="206717" y="5491"/>
                      </a:lnTo>
                      <a:lnTo>
                        <a:pt x="3243" y="5491"/>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8" name="Freeform: Shape 347">
                  <a:extLst>
                    <a:ext uri="{FF2B5EF4-FFF2-40B4-BE49-F238E27FC236}">
                      <a16:creationId xmlns:a16="http://schemas.microsoft.com/office/drawing/2014/main" id="{5C966D83-AE08-4108-B32D-47F4A498277A}"/>
                    </a:ext>
                  </a:extLst>
                </p:cNvPr>
                <p:cNvSpPr/>
                <p:nvPr/>
              </p:nvSpPr>
              <p:spPr>
                <a:xfrm rot="1833945">
                  <a:off x="3519946" y="4063813"/>
                  <a:ext cx="124111" cy="5491"/>
                </a:xfrm>
                <a:custGeom>
                  <a:avLst/>
                  <a:gdLst>
                    <a:gd name="connsiteX0" fmla="*/ 0 w 124111"/>
                    <a:gd name="connsiteY0" fmla="*/ 0 h 5491"/>
                    <a:gd name="connsiteX1" fmla="*/ 124111 w 124111"/>
                    <a:gd name="connsiteY1" fmla="*/ 0 h 5491"/>
                    <a:gd name="connsiteX2" fmla="*/ 114813 w 124111"/>
                    <a:gd name="connsiteY2" fmla="*/ 5491 h 5491"/>
                    <a:gd name="connsiteX3" fmla="*/ 3243 w 124111"/>
                    <a:gd name="connsiteY3" fmla="*/ 5491 h 5491"/>
                    <a:gd name="connsiteX4" fmla="*/ 0 w 124111"/>
                    <a:gd name="connsiteY4" fmla="*/ 0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11" h="5491">
                      <a:moveTo>
                        <a:pt x="0" y="0"/>
                      </a:moveTo>
                      <a:lnTo>
                        <a:pt x="124111" y="0"/>
                      </a:lnTo>
                      <a:lnTo>
                        <a:pt x="114813" y="5491"/>
                      </a:lnTo>
                      <a:lnTo>
                        <a:pt x="3243" y="5491"/>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sp>
              <p:nvSpPr>
                <p:cNvPr id="349" name="Freeform: Shape 348">
                  <a:extLst>
                    <a:ext uri="{FF2B5EF4-FFF2-40B4-BE49-F238E27FC236}">
                      <a16:creationId xmlns:a16="http://schemas.microsoft.com/office/drawing/2014/main" id="{6BEE1839-3EA6-4F77-84C7-82C99152C010}"/>
                    </a:ext>
                  </a:extLst>
                </p:cNvPr>
                <p:cNvSpPr/>
                <p:nvPr/>
              </p:nvSpPr>
              <p:spPr>
                <a:xfrm rot="1833945">
                  <a:off x="3526331" y="4087181"/>
                  <a:ext cx="32204" cy="5491"/>
                </a:xfrm>
                <a:custGeom>
                  <a:avLst/>
                  <a:gdLst>
                    <a:gd name="connsiteX0" fmla="*/ 0 w 32204"/>
                    <a:gd name="connsiteY0" fmla="*/ 0 h 5491"/>
                    <a:gd name="connsiteX1" fmla="*/ 32204 w 32204"/>
                    <a:gd name="connsiteY1" fmla="*/ 0 h 5491"/>
                    <a:gd name="connsiteX2" fmla="*/ 22906 w 32204"/>
                    <a:gd name="connsiteY2" fmla="*/ 5491 h 5491"/>
                    <a:gd name="connsiteX3" fmla="*/ 3243 w 32204"/>
                    <a:gd name="connsiteY3" fmla="*/ 5491 h 5491"/>
                    <a:gd name="connsiteX4" fmla="*/ 0 w 32204"/>
                    <a:gd name="connsiteY4" fmla="*/ 0 h 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4" h="5491">
                      <a:moveTo>
                        <a:pt x="0" y="0"/>
                      </a:moveTo>
                      <a:lnTo>
                        <a:pt x="32204" y="0"/>
                      </a:lnTo>
                      <a:lnTo>
                        <a:pt x="22906" y="5491"/>
                      </a:lnTo>
                      <a:lnTo>
                        <a:pt x="3243" y="5491"/>
                      </a:lnTo>
                      <a:lnTo>
                        <a:pt x="0" y="0"/>
                      </a:lnTo>
                      <a:close/>
                    </a:path>
                  </a:pathLst>
                </a:custGeom>
                <a:solidFill>
                  <a:srgbClr val="74BF4B"/>
                </a:solidFill>
                <a:ln w="254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cs typeface="+mn-cs"/>
                  </a:endParaRPr>
                </a:p>
              </p:txBody>
            </p:sp>
          </p:grpSp>
          <p:sp>
            <p:nvSpPr>
              <p:cNvPr id="318" name="Oval 294">
                <a:extLst>
                  <a:ext uri="{FF2B5EF4-FFF2-40B4-BE49-F238E27FC236}">
                    <a16:creationId xmlns:a16="http://schemas.microsoft.com/office/drawing/2014/main" id="{0D1F29C3-80F0-4D1D-A793-DECA45C74935}"/>
                  </a:ext>
                </a:extLst>
              </p:cNvPr>
              <p:cNvSpPr/>
              <p:nvPr/>
            </p:nvSpPr>
            <p:spPr>
              <a:xfrm>
                <a:off x="9849356" y="3707987"/>
                <a:ext cx="1552005" cy="1551998"/>
              </a:xfrm>
              <a:prstGeom prst="ellipse">
                <a:avLst/>
              </a:prstGeom>
              <a:solidFill>
                <a:schemeClr val="accent1">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319" name="Picture 318" descr="A picture containing tower, black, white, clock&#10;&#10;Description automatically generated">
                <a:extLst>
                  <a:ext uri="{FF2B5EF4-FFF2-40B4-BE49-F238E27FC236}">
                    <a16:creationId xmlns:a16="http://schemas.microsoft.com/office/drawing/2014/main" id="{11972E40-5F1D-4736-BD1D-7D2AB6BDE97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968690" y="3834787"/>
                <a:ext cx="1384414" cy="1423013"/>
              </a:xfrm>
              <a:prstGeom prst="rect">
                <a:avLst/>
              </a:prstGeom>
            </p:spPr>
          </p:pic>
          <p:grpSp>
            <p:nvGrpSpPr>
              <p:cNvPr id="320" name="Group 319">
                <a:extLst>
                  <a:ext uri="{FF2B5EF4-FFF2-40B4-BE49-F238E27FC236}">
                    <a16:creationId xmlns:a16="http://schemas.microsoft.com/office/drawing/2014/main" id="{2301464D-18B9-4F8D-92C7-C2294ABA106F}"/>
                  </a:ext>
                </a:extLst>
              </p:cNvPr>
              <p:cNvGrpSpPr/>
              <p:nvPr/>
            </p:nvGrpSpPr>
            <p:grpSpPr>
              <a:xfrm>
                <a:off x="11425861" y="4653427"/>
                <a:ext cx="469712" cy="442001"/>
                <a:chOff x="11417488" y="4500476"/>
                <a:chExt cx="776502" cy="730692"/>
              </a:xfrm>
            </p:grpSpPr>
            <p:sp>
              <p:nvSpPr>
                <p:cNvPr id="321" name="Freeform 25">
                  <a:extLst>
                    <a:ext uri="{FF2B5EF4-FFF2-40B4-BE49-F238E27FC236}">
                      <a16:creationId xmlns:a16="http://schemas.microsoft.com/office/drawing/2014/main" id="{E18BFCEC-DA28-4A4B-BA59-DD48E3BF4137}"/>
                    </a:ext>
                  </a:extLst>
                </p:cNvPr>
                <p:cNvSpPr>
                  <a:spLocks noEditPoints="1"/>
                </p:cNvSpPr>
                <p:nvPr/>
              </p:nvSpPr>
              <p:spPr bwMode="auto">
                <a:xfrm>
                  <a:off x="11480492" y="4910496"/>
                  <a:ext cx="325231" cy="320672"/>
                </a:xfrm>
                <a:custGeom>
                  <a:avLst/>
                  <a:gdLst>
                    <a:gd name="T0" fmla="*/ 72 w 88"/>
                    <a:gd name="T1" fmla="*/ 91 h 91"/>
                    <a:gd name="T2" fmla="*/ 15 w 88"/>
                    <a:gd name="T3" fmla="*/ 91 h 91"/>
                    <a:gd name="T4" fmla="*/ 0 w 88"/>
                    <a:gd name="T5" fmla="*/ 75 h 91"/>
                    <a:gd name="T6" fmla="*/ 0 w 88"/>
                    <a:gd name="T7" fmla="*/ 16 h 91"/>
                    <a:gd name="T8" fmla="*/ 15 w 88"/>
                    <a:gd name="T9" fmla="*/ 0 h 91"/>
                    <a:gd name="T10" fmla="*/ 72 w 88"/>
                    <a:gd name="T11" fmla="*/ 0 h 91"/>
                    <a:gd name="T12" fmla="*/ 88 w 88"/>
                    <a:gd name="T13" fmla="*/ 16 h 91"/>
                    <a:gd name="T14" fmla="*/ 88 w 88"/>
                    <a:gd name="T15" fmla="*/ 75 h 91"/>
                    <a:gd name="T16" fmla="*/ 72 w 88"/>
                    <a:gd name="T17" fmla="*/ 91 h 91"/>
                    <a:gd name="T18" fmla="*/ 15 w 88"/>
                    <a:gd name="T19" fmla="*/ 3 h 91"/>
                    <a:gd name="T20" fmla="*/ 3 w 88"/>
                    <a:gd name="T21" fmla="*/ 16 h 91"/>
                    <a:gd name="T22" fmla="*/ 3 w 88"/>
                    <a:gd name="T23" fmla="*/ 75 h 91"/>
                    <a:gd name="T24" fmla="*/ 15 w 88"/>
                    <a:gd name="T25" fmla="*/ 88 h 91"/>
                    <a:gd name="T26" fmla="*/ 72 w 88"/>
                    <a:gd name="T27" fmla="*/ 88 h 91"/>
                    <a:gd name="T28" fmla="*/ 85 w 88"/>
                    <a:gd name="T29" fmla="*/ 75 h 91"/>
                    <a:gd name="T30" fmla="*/ 85 w 88"/>
                    <a:gd name="T31" fmla="*/ 16 h 91"/>
                    <a:gd name="T32" fmla="*/ 72 w 88"/>
                    <a:gd name="T33" fmla="*/ 3 h 91"/>
                    <a:gd name="T34" fmla="*/ 15 w 88"/>
                    <a:gd name="T35" fmla="*/ 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91">
                      <a:moveTo>
                        <a:pt x="72" y="91"/>
                      </a:moveTo>
                      <a:cubicBezTo>
                        <a:pt x="15" y="91"/>
                        <a:pt x="15" y="91"/>
                        <a:pt x="15" y="91"/>
                      </a:cubicBezTo>
                      <a:cubicBezTo>
                        <a:pt x="7" y="91"/>
                        <a:pt x="0" y="84"/>
                        <a:pt x="0" y="75"/>
                      </a:cubicBezTo>
                      <a:cubicBezTo>
                        <a:pt x="0" y="16"/>
                        <a:pt x="0" y="16"/>
                        <a:pt x="0" y="16"/>
                      </a:cubicBezTo>
                      <a:cubicBezTo>
                        <a:pt x="0" y="7"/>
                        <a:pt x="7" y="0"/>
                        <a:pt x="15" y="0"/>
                      </a:cubicBezTo>
                      <a:cubicBezTo>
                        <a:pt x="72" y="0"/>
                        <a:pt x="72" y="0"/>
                        <a:pt x="72" y="0"/>
                      </a:cubicBezTo>
                      <a:cubicBezTo>
                        <a:pt x="81" y="0"/>
                        <a:pt x="88" y="7"/>
                        <a:pt x="88" y="16"/>
                      </a:cubicBezTo>
                      <a:cubicBezTo>
                        <a:pt x="88" y="75"/>
                        <a:pt x="88" y="75"/>
                        <a:pt x="88" y="75"/>
                      </a:cubicBezTo>
                      <a:cubicBezTo>
                        <a:pt x="88" y="84"/>
                        <a:pt x="81" y="91"/>
                        <a:pt x="72" y="91"/>
                      </a:cubicBezTo>
                      <a:close/>
                      <a:moveTo>
                        <a:pt x="15" y="3"/>
                      </a:moveTo>
                      <a:cubicBezTo>
                        <a:pt x="8" y="3"/>
                        <a:pt x="3" y="9"/>
                        <a:pt x="3" y="16"/>
                      </a:cubicBezTo>
                      <a:cubicBezTo>
                        <a:pt x="3" y="75"/>
                        <a:pt x="3" y="75"/>
                        <a:pt x="3" y="75"/>
                      </a:cubicBezTo>
                      <a:cubicBezTo>
                        <a:pt x="3" y="83"/>
                        <a:pt x="8" y="88"/>
                        <a:pt x="15" y="88"/>
                      </a:cubicBezTo>
                      <a:cubicBezTo>
                        <a:pt x="72" y="88"/>
                        <a:pt x="72" y="88"/>
                        <a:pt x="72" y="88"/>
                      </a:cubicBezTo>
                      <a:cubicBezTo>
                        <a:pt x="79" y="88"/>
                        <a:pt x="85" y="83"/>
                        <a:pt x="85" y="75"/>
                      </a:cubicBezTo>
                      <a:cubicBezTo>
                        <a:pt x="85" y="16"/>
                        <a:pt x="85" y="16"/>
                        <a:pt x="85" y="16"/>
                      </a:cubicBezTo>
                      <a:cubicBezTo>
                        <a:pt x="85" y="9"/>
                        <a:pt x="79" y="3"/>
                        <a:pt x="72" y="3"/>
                      </a:cubicBezTo>
                      <a:lnTo>
                        <a:pt x="15" y="3"/>
                      </a:lnTo>
                      <a:close/>
                    </a:path>
                  </a:pathLst>
                </a:custGeom>
                <a:solidFill>
                  <a:srgbClr val="0D274D"/>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ＭＳ Ｐゴシック" charset="0"/>
                  </a:endParaRPr>
                </a:p>
              </p:txBody>
            </p:sp>
            <p:sp>
              <p:nvSpPr>
                <p:cNvPr id="322" name="Freeform 17">
                  <a:extLst>
                    <a:ext uri="{FF2B5EF4-FFF2-40B4-BE49-F238E27FC236}">
                      <a16:creationId xmlns:a16="http://schemas.microsoft.com/office/drawing/2014/main" id="{324E43BC-6A8F-4031-8E95-927E2F5705BB}"/>
                    </a:ext>
                  </a:extLst>
                </p:cNvPr>
                <p:cNvSpPr>
                  <a:spLocks/>
                </p:cNvSpPr>
                <p:nvPr/>
              </p:nvSpPr>
              <p:spPr bwMode="auto">
                <a:xfrm>
                  <a:off x="11750863" y="4837469"/>
                  <a:ext cx="443127" cy="233363"/>
                </a:xfrm>
                <a:custGeom>
                  <a:avLst/>
                  <a:gdLst>
                    <a:gd name="T0" fmla="*/ 61 w 122"/>
                    <a:gd name="T1" fmla="*/ 0 h 62"/>
                    <a:gd name="T2" fmla="*/ 53 w 122"/>
                    <a:gd name="T3" fmla="*/ 3 h 62"/>
                    <a:gd name="T4" fmla="*/ 4 w 122"/>
                    <a:gd name="T5" fmla="*/ 54 h 62"/>
                    <a:gd name="T6" fmla="*/ 8 w 122"/>
                    <a:gd name="T7" fmla="*/ 62 h 62"/>
                    <a:gd name="T8" fmla="*/ 114 w 122"/>
                    <a:gd name="T9" fmla="*/ 62 h 62"/>
                    <a:gd name="T10" fmla="*/ 118 w 122"/>
                    <a:gd name="T11" fmla="*/ 54 h 62"/>
                    <a:gd name="T12" fmla="*/ 69 w 122"/>
                    <a:gd name="T13" fmla="*/ 3 h 62"/>
                    <a:gd name="T14" fmla="*/ 61 w 122"/>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62">
                      <a:moveTo>
                        <a:pt x="61" y="0"/>
                      </a:moveTo>
                      <a:cubicBezTo>
                        <a:pt x="58" y="0"/>
                        <a:pt x="55" y="1"/>
                        <a:pt x="53" y="3"/>
                      </a:cubicBezTo>
                      <a:cubicBezTo>
                        <a:pt x="4" y="54"/>
                        <a:pt x="4" y="54"/>
                        <a:pt x="4" y="54"/>
                      </a:cubicBezTo>
                      <a:cubicBezTo>
                        <a:pt x="0" y="59"/>
                        <a:pt x="1" y="62"/>
                        <a:pt x="8" y="62"/>
                      </a:cubicBezTo>
                      <a:cubicBezTo>
                        <a:pt x="114" y="62"/>
                        <a:pt x="114" y="62"/>
                        <a:pt x="114" y="62"/>
                      </a:cubicBezTo>
                      <a:cubicBezTo>
                        <a:pt x="121" y="62"/>
                        <a:pt x="122" y="59"/>
                        <a:pt x="118" y="54"/>
                      </a:cubicBezTo>
                      <a:cubicBezTo>
                        <a:pt x="69" y="3"/>
                        <a:pt x="69" y="3"/>
                        <a:pt x="69" y="3"/>
                      </a:cubicBezTo>
                      <a:cubicBezTo>
                        <a:pt x="67" y="1"/>
                        <a:pt x="64" y="0"/>
                        <a:pt x="61" y="0"/>
                      </a:cubicBezTo>
                    </a:path>
                  </a:pathLst>
                </a:custGeom>
                <a:solidFill>
                  <a:srgbClr val="0D274D"/>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ＭＳ Ｐゴシック" charset="0"/>
                  </a:endParaRPr>
                </a:p>
              </p:txBody>
            </p:sp>
            <p:sp>
              <p:nvSpPr>
                <p:cNvPr id="323" name="Freeform 17">
                  <a:extLst>
                    <a:ext uri="{FF2B5EF4-FFF2-40B4-BE49-F238E27FC236}">
                      <a16:creationId xmlns:a16="http://schemas.microsoft.com/office/drawing/2014/main" id="{0A8D7D40-7618-4CA0-90C2-C37368AF9F64}"/>
                    </a:ext>
                  </a:extLst>
                </p:cNvPr>
                <p:cNvSpPr>
                  <a:spLocks/>
                </p:cNvSpPr>
                <p:nvPr/>
              </p:nvSpPr>
              <p:spPr bwMode="auto">
                <a:xfrm>
                  <a:off x="11417488" y="4500476"/>
                  <a:ext cx="443127" cy="233363"/>
                </a:xfrm>
                <a:custGeom>
                  <a:avLst/>
                  <a:gdLst>
                    <a:gd name="T0" fmla="*/ 61 w 122"/>
                    <a:gd name="T1" fmla="*/ 0 h 62"/>
                    <a:gd name="T2" fmla="*/ 53 w 122"/>
                    <a:gd name="T3" fmla="*/ 3 h 62"/>
                    <a:gd name="T4" fmla="*/ 4 w 122"/>
                    <a:gd name="T5" fmla="*/ 54 h 62"/>
                    <a:gd name="T6" fmla="*/ 8 w 122"/>
                    <a:gd name="T7" fmla="*/ 62 h 62"/>
                    <a:gd name="T8" fmla="*/ 114 w 122"/>
                    <a:gd name="T9" fmla="*/ 62 h 62"/>
                    <a:gd name="T10" fmla="*/ 118 w 122"/>
                    <a:gd name="T11" fmla="*/ 54 h 62"/>
                    <a:gd name="T12" fmla="*/ 69 w 122"/>
                    <a:gd name="T13" fmla="*/ 3 h 62"/>
                    <a:gd name="T14" fmla="*/ 61 w 122"/>
                    <a:gd name="T15" fmla="*/ 0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62">
                      <a:moveTo>
                        <a:pt x="61" y="0"/>
                      </a:moveTo>
                      <a:cubicBezTo>
                        <a:pt x="58" y="0"/>
                        <a:pt x="55" y="1"/>
                        <a:pt x="53" y="3"/>
                      </a:cubicBezTo>
                      <a:cubicBezTo>
                        <a:pt x="4" y="54"/>
                        <a:pt x="4" y="54"/>
                        <a:pt x="4" y="54"/>
                      </a:cubicBezTo>
                      <a:cubicBezTo>
                        <a:pt x="0" y="59"/>
                        <a:pt x="1" y="62"/>
                        <a:pt x="8" y="62"/>
                      </a:cubicBezTo>
                      <a:cubicBezTo>
                        <a:pt x="114" y="62"/>
                        <a:pt x="114" y="62"/>
                        <a:pt x="114" y="62"/>
                      </a:cubicBezTo>
                      <a:cubicBezTo>
                        <a:pt x="121" y="62"/>
                        <a:pt x="122" y="59"/>
                        <a:pt x="118" y="54"/>
                      </a:cubicBezTo>
                      <a:cubicBezTo>
                        <a:pt x="69" y="3"/>
                        <a:pt x="69" y="3"/>
                        <a:pt x="69" y="3"/>
                      </a:cubicBezTo>
                      <a:cubicBezTo>
                        <a:pt x="67" y="1"/>
                        <a:pt x="64" y="0"/>
                        <a:pt x="61" y="0"/>
                      </a:cubicBezTo>
                    </a:path>
                  </a:pathLst>
                </a:custGeom>
                <a:solidFill>
                  <a:srgbClr val="00BCEB"/>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ＭＳ Ｐゴシック" charset="0"/>
                  </a:endParaRPr>
                </a:p>
              </p:txBody>
            </p:sp>
          </p:grpSp>
        </p:grpSp>
      </p:grpSp>
      <p:sp>
        <p:nvSpPr>
          <p:cNvPr id="629" name="Rectangle 628">
            <a:extLst>
              <a:ext uri="{FF2B5EF4-FFF2-40B4-BE49-F238E27FC236}">
                <a16:creationId xmlns:a16="http://schemas.microsoft.com/office/drawing/2014/main" id="{90990A19-1FDD-43DF-94AE-10FC6A015581}"/>
              </a:ext>
            </a:extLst>
          </p:cNvPr>
          <p:cNvSpPr/>
          <p:nvPr/>
        </p:nvSpPr>
        <p:spPr>
          <a:xfrm>
            <a:off x="3124881" y="1491247"/>
            <a:ext cx="1067254" cy="215444"/>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Duo</a:t>
            </a:r>
          </a:p>
        </p:txBody>
      </p:sp>
      <p:sp>
        <p:nvSpPr>
          <p:cNvPr id="630" name="Rectangle 629">
            <a:extLst>
              <a:ext uri="{FF2B5EF4-FFF2-40B4-BE49-F238E27FC236}">
                <a16:creationId xmlns:a16="http://schemas.microsoft.com/office/drawing/2014/main" id="{0080AB01-3127-4412-942C-94B58604C300}"/>
              </a:ext>
            </a:extLst>
          </p:cNvPr>
          <p:cNvSpPr/>
          <p:nvPr/>
        </p:nvSpPr>
        <p:spPr>
          <a:xfrm>
            <a:off x="7778102" y="1491247"/>
            <a:ext cx="1323360" cy="215444"/>
          </a:xfrm>
          <a:prstGeom prst="rect">
            <a:avLst/>
          </a:prstGeom>
          <a:noFill/>
          <a:ln>
            <a:noFill/>
          </a:ln>
        </p:spPr>
        <p:txBody>
          <a:bodyPr spcFirstLastPara="1" wrap="square" lIns="0" tIns="0" rIns="0" bIns="0" anchor="t" anchorCtr="0">
            <a:spAutoFit/>
          </a:bodyPr>
          <a:lstStyle/>
          <a:p>
            <a:pPr algn="ctr"/>
            <a:r>
              <a:rPr lang="en-US" sz="1400" dirty="0">
                <a:solidFill>
                  <a:schemeClr val="bg1"/>
                </a:solidFill>
              </a:rPr>
              <a:t>Cisco Umbrella</a:t>
            </a:r>
          </a:p>
        </p:txBody>
      </p:sp>
      <p:grpSp>
        <p:nvGrpSpPr>
          <p:cNvPr id="10" name="Group 9">
            <a:extLst>
              <a:ext uri="{FF2B5EF4-FFF2-40B4-BE49-F238E27FC236}">
                <a16:creationId xmlns:a16="http://schemas.microsoft.com/office/drawing/2014/main" id="{8A72487B-675D-4D1E-8C43-3A444542B631}"/>
              </a:ext>
            </a:extLst>
          </p:cNvPr>
          <p:cNvGrpSpPr/>
          <p:nvPr/>
        </p:nvGrpSpPr>
        <p:grpSpPr>
          <a:xfrm>
            <a:off x="3148224" y="4469302"/>
            <a:ext cx="1717754" cy="560762"/>
            <a:chOff x="3148224" y="4469302"/>
            <a:chExt cx="1717754" cy="560762"/>
          </a:xfrm>
        </p:grpSpPr>
        <p:grpSp>
          <p:nvGrpSpPr>
            <p:cNvPr id="9" name="Group 8">
              <a:extLst>
                <a:ext uri="{FF2B5EF4-FFF2-40B4-BE49-F238E27FC236}">
                  <a16:creationId xmlns:a16="http://schemas.microsoft.com/office/drawing/2014/main" id="{7DD56825-106D-49D6-A0AB-925C176D5491}"/>
                </a:ext>
              </a:extLst>
            </p:cNvPr>
            <p:cNvGrpSpPr/>
            <p:nvPr/>
          </p:nvGrpSpPr>
          <p:grpSpPr>
            <a:xfrm>
              <a:off x="3148224" y="4469302"/>
              <a:ext cx="1361534" cy="560762"/>
              <a:chOff x="3168702" y="4547644"/>
              <a:chExt cx="1647481" cy="407782"/>
            </a:xfrm>
          </p:grpSpPr>
          <p:sp>
            <p:nvSpPr>
              <p:cNvPr id="307" name="Freeform: Shape 306">
                <a:extLst>
                  <a:ext uri="{FF2B5EF4-FFF2-40B4-BE49-F238E27FC236}">
                    <a16:creationId xmlns:a16="http://schemas.microsoft.com/office/drawing/2014/main" id="{0CFE2B51-F8F0-415F-9B9E-2814E6603E84}"/>
                  </a:ext>
                </a:extLst>
              </p:cNvPr>
              <p:cNvSpPr/>
              <p:nvPr/>
            </p:nvSpPr>
            <p:spPr>
              <a:xfrm>
                <a:off x="3168702" y="4547644"/>
                <a:ext cx="309812"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69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1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69" y="210150"/>
                    </a:lnTo>
                    <a:lnTo>
                      <a:pt x="3020" y="12135"/>
                    </a:lnTo>
                    <a:cubicBezTo>
                      <a:pt x="-37" y="10186"/>
                      <a:pt x="-932" y="6076"/>
                      <a:pt x="1070" y="3020"/>
                    </a:cubicBezTo>
                    <a:cubicBezTo>
                      <a:pt x="3073" y="-36"/>
                      <a:pt x="7130" y="-932"/>
                      <a:pt x="10186" y="1070"/>
                    </a:cubicBezTo>
                    <a:lnTo>
                      <a:pt x="325913" y="204459"/>
                    </a:lnTo>
                    <a:cubicBezTo>
                      <a:pt x="327758" y="205671"/>
                      <a:pt x="328917" y="207673"/>
                      <a:pt x="328917" y="209886"/>
                    </a:cubicBezTo>
                    <a:cubicBezTo>
                      <a:pt x="328969" y="212100"/>
                      <a:pt x="327863" y="214155"/>
                      <a:pt x="326071" y="215419"/>
                    </a:cubicBezTo>
                    <a:lnTo>
                      <a:pt x="10344" y="431770"/>
                    </a:lnTo>
                    <a:cubicBezTo>
                      <a:pt x="9184" y="432561"/>
                      <a:pt x="7920"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308" name="Freeform: Shape 307">
                <a:extLst>
                  <a:ext uri="{FF2B5EF4-FFF2-40B4-BE49-F238E27FC236}">
                    <a16:creationId xmlns:a16="http://schemas.microsoft.com/office/drawing/2014/main" id="{7303FD46-2E53-4DA0-9702-44F2E2F7F160}"/>
                  </a:ext>
                </a:extLst>
              </p:cNvPr>
              <p:cNvSpPr/>
              <p:nvPr/>
            </p:nvSpPr>
            <p:spPr>
              <a:xfrm>
                <a:off x="3436807" y="4547644"/>
                <a:ext cx="309812" cy="407782"/>
              </a:xfrm>
              <a:custGeom>
                <a:avLst/>
                <a:gdLst>
                  <a:gd name="connsiteX0" fmla="*/ 6603 w 328918"/>
                  <a:gd name="connsiteY0" fmla="*/ 432930 h 432929"/>
                  <a:gd name="connsiteX1" fmla="*/ 1175 w 328918"/>
                  <a:gd name="connsiteY1" fmla="*/ 430084 h 432929"/>
                  <a:gd name="connsiteX2" fmla="*/ 2862 w 328918"/>
                  <a:gd name="connsiteY2" fmla="*/ 420916 h 432929"/>
                  <a:gd name="connsiteX3" fmla="*/ 310369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1 w 328918"/>
                  <a:gd name="connsiteY9" fmla="*/ 215419 h 432929"/>
                  <a:gd name="connsiteX10" fmla="*/ 10343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5" y="430084"/>
                    </a:cubicBezTo>
                    <a:cubicBezTo>
                      <a:pt x="-879" y="427081"/>
                      <a:pt x="-142" y="422971"/>
                      <a:pt x="2862" y="420916"/>
                    </a:cubicBezTo>
                    <a:lnTo>
                      <a:pt x="310369" y="210150"/>
                    </a:lnTo>
                    <a:lnTo>
                      <a:pt x="3020" y="12135"/>
                    </a:lnTo>
                    <a:cubicBezTo>
                      <a:pt x="-37" y="10186"/>
                      <a:pt x="-932" y="6076"/>
                      <a:pt x="1070" y="3020"/>
                    </a:cubicBezTo>
                    <a:cubicBezTo>
                      <a:pt x="3073" y="-36"/>
                      <a:pt x="7129" y="-932"/>
                      <a:pt x="10186" y="1070"/>
                    </a:cubicBezTo>
                    <a:lnTo>
                      <a:pt x="325913" y="204459"/>
                    </a:lnTo>
                    <a:cubicBezTo>
                      <a:pt x="327758" y="205671"/>
                      <a:pt x="328917" y="207673"/>
                      <a:pt x="328917" y="209886"/>
                    </a:cubicBezTo>
                    <a:cubicBezTo>
                      <a:pt x="328969" y="212100"/>
                      <a:pt x="327862" y="214155"/>
                      <a:pt x="326071" y="215419"/>
                    </a:cubicBezTo>
                    <a:lnTo>
                      <a:pt x="10343" y="431770"/>
                    </a:lnTo>
                    <a:cubicBezTo>
                      <a:pt x="9184" y="432561"/>
                      <a:pt x="7867"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309" name="Freeform: Shape 308">
                <a:extLst>
                  <a:ext uri="{FF2B5EF4-FFF2-40B4-BE49-F238E27FC236}">
                    <a16:creationId xmlns:a16="http://schemas.microsoft.com/office/drawing/2014/main" id="{49011E30-7BF6-480C-9847-F952FFF09AB8}"/>
                  </a:ext>
                </a:extLst>
              </p:cNvPr>
              <p:cNvSpPr/>
              <p:nvPr/>
            </p:nvSpPr>
            <p:spPr>
              <a:xfrm>
                <a:off x="3704913" y="4547644"/>
                <a:ext cx="309812"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70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2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70" y="210150"/>
                    </a:lnTo>
                    <a:lnTo>
                      <a:pt x="3020" y="12135"/>
                    </a:lnTo>
                    <a:cubicBezTo>
                      <a:pt x="-36" y="10186"/>
                      <a:pt x="-932" y="6076"/>
                      <a:pt x="1070" y="3020"/>
                    </a:cubicBezTo>
                    <a:cubicBezTo>
                      <a:pt x="3072" y="-36"/>
                      <a:pt x="7130" y="-932"/>
                      <a:pt x="10186" y="1070"/>
                    </a:cubicBezTo>
                    <a:lnTo>
                      <a:pt x="325913" y="204459"/>
                    </a:lnTo>
                    <a:cubicBezTo>
                      <a:pt x="327757" y="205671"/>
                      <a:pt x="328917" y="207673"/>
                      <a:pt x="328917" y="209886"/>
                    </a:cubicBezTo>
                    <a:cubicBezTo>
                      <a:pt x="328970" y="212100"/>
                      <a:pt x="327863" y="214155"/>
                      <a:pt x="326072" y="215419"/>
                    </a:cubicBezTo>
                    <a:lnTo>
                      <a:pt x="10344" y="431770"/>
                    </a:lnTo>
                    <a:cubicBezTo>
                      <a:pt x="9185" y="432561"/>
                      <a:pt x="7868"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310" name="Freeform: Shape 309">
                <a:extLst>
                  <a:ext uri="{FF2B5EF4-FFF2-40B4-BE49-F238E27FC236}">
                    <a16:creationId xmlns:a16="http://schemas.microsoft.com/office/drawing/2014/main" id="{1C2BF27B-60E5-4263-BCAF-56BE5CA13ADD}"/>
                  </a:ext>
                </a:extLst>
              </p:cNvPr>
              <p:cNvSpPr/>
              <p:nvPr/>
            </p:nvSpPr>
            <p:spPr>
              <a:xfrm>
                <a:off x="3972969" y="4547644"/>
                <a:ext cx="309812"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70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2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70" y="210150"/>
                    </a:lnTo>
                    <a:lnTo>
                      <a:pt x="3020" y="12135"/>
                    </a:lnTo>
                    <a:cubicBezTo>
                      <a:pt x="-36" y="10186"/>
                      <a:pt x="-932" y="6076"/>
                      <a:pt x="1070" y="3020"/>
                    </a:cubicBezTo>
                    <a:cubicBezTo>
                      <a:pt x="3072" y="-36"/>
                      <a:pt x="7130" y="-932"/>
                      <a:pt x="10186" y="1070"/>
                    </a:cubicBezTo>
                    <a:lnTo>
                      <a:pt x="325913" y="204459"/>
                    </a:lnTo>
                    <a:cubicBezTo>
                      <a:pt x="327757" y="205671"/>
                      <a:pt x="328917" y="207673"/>
                      <a:pt x="328917" y="209886"/>
                    </a:cubicBezTo>
                    <a:cubicBezTo>
                      <a:pt x="328969" y="212100"/>
                      <a:pt x="327863" y="214155"/>
                      <a:pt x="326072" y="215419"/>
                    </a:cubicBezTo>
                    <a:lnTo>
                      <a:pt x="10344" y="431770"/>
                    </a:lnTo>
                    <a:cubicBezTo>
                      <a:pt x="9185" y="432561"/>
                      <a:pt x="7920"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311" name="Freeform: Shape 310">
                <a:extLst>
                  <a:ext uri="{FF2B5EF4-FFF2-40B4-BE49-F238E27FC236}">
                    <a16:creationId xmlns:a16="http://schemas.microsoft.com/office/drawing/2014/main" id="{AF2B2B23-C2F5-4D06-B0FE-0C48D89CB091}"/>
                  </a:ext>
                </a:extLst>
              </p:cNvPr>
              <p:cNvSpPr/>
              <p:nvPr/>
            </p:nvSpPr>
            <p:spPr>
              <a:xfrm>
                <a:off x="4238313" y="4547644"/>
                <a:ext cx="309812"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70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2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70" y="210150"/>
                    </a:lnTo>
                    <a:lnTo>
                      <a:pt x="3020" y="12135"/>
                    </a:lnTo>
                    <a:cubicBezTo>
                      <a:pt x="-36" y="10186"/>
                      <a:pt x="-932" y="6076"/>
                      <a:pt x="1070" y="3020"/>
                    </a:cubicBezTo>
                    <a:cubicBezTo>
                      <a:pt x="3072" y="-36"/>
                      <a:pt x="7130" y="-932"/>
                      <a:pt x="10186" y="1070"/>
                    </a:cubicBezTo>
                    <a:lnTo>
                      <a:pt x="325913" y="204459"/>
                    </a:lnTo>
                    <a:cubicBezTo>
                      <a:pt x="327757" y="205671"/>
                      <a:pt x="328917" y="207673"/>
                      <a:pt x="328917" y="209886"/>
                    </a:cubicBezTo>
                    <a:cubicBezTo>
                      <a:pt x="328970" y="212100"/>
                      <a:pt x="327863" y="214155"/>
                      <a:pt x="326072" y="215419"/>
                    </a:cubicBezTo>
                    <a:lnTo>
                      <a:pt x="10344" y="431770"/>
                    </a:lnTo>
                    <a:cubicBezTo>
                      <a:pt x="9185" y="432561"/>
                      <a:pt x="7868" y="432930"/>
                      <a:pt x="6603" y="432930"/>
                    </a:cubicBezTo>
                    <a:close/>
                  </a:path>
                </a:pathLst>
              </a:custGeom>
              <a:solidFill>
                <a:schemeClr val="accent1"/>
              </a:solidFill>
              <a:ln w="5266" cap="flat">
                <a:noFill/>
                <a:prstDash val="solid"/>
                <a:miter/>
              </a:ln>
            </p:spPr>
            <p:txBody>
              <a:bodyPr rtlCol="0" anchor="ctr"/>
              <a:lstStyle/>
              <a:p>
                <a:endParaRPr lang="en-IN" dirty="0"/>
              </a:p>
            </p:txBody>
          </p:sp>
          <p:sp>
            <p:nvSpPr>
              <p:cNvPr id="312" name="Freeform: Shape 311">
                <a:extLst>
                  <a:ext uri="{FF2B5EF4-FFF2-40B4-BE49-F238E27FC236}">
                    <a16:creationId xmlns:a16="http://schemas.microsoft.com/office/drawing/2014/main" id="{F9B4D3DC-DD18-4F39-A60B-E52EB01D573F}"/>
                  </a:ext>
                </a:extLst>
              </p:cNvPr>
              <p:cNvSpPr/>
              <p:nvPr/>
            </p:nvSpPr>
            <p:spPr>
              <a:xfrm>
                <a:off x="4506370" y="4547644"/>
                <a:ext cx="309813" cy="407782"/>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70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2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70" y="210150"/>
                    </a:lnTo>
                    <a:lnTo>
                      <a:pt x="3020" y="12135"/>
                    </a:lnTo>
                    <a:cubicBezTo>
                      <a:pt x="-36" y="10186"/>
                      <a:pt x="-932" y="6076"/>
                      <a:pt x="1070" y="3020"/>
                    </a:cubicBezTo>
                    <a:cubicBezTo>
                      <a:pt x="3072" y="-36"/>
                      <a:pt x="7130" y="-932"/>
                      <a:pt x="10186" y="1070"/>
                    </a:cubicBezTo>
                    <a:lnTo>
                      <a:pt x="325913" y="204459"/>
                    </a:lnTo>
                    <a:cubicBezTo>
                      <a:pt x="327757" y="205671"/>
                      <a:pt x="328917" y="207673"/>
                      <a:pt x="328917" y="209886"/>
                    </a:cubicBezTo>
                    <a:cubicBezTo>
                      <a:pt x="328969" y="212100"/>
                      <a:pt x="327863" y="214155"/>
                      <a:pt x="326072" y="215419"/>
                    </a:cubicBezTo>
                    <a:lnTo>
                      <a:pt x="10344" y="431770"/>
                    </a:lnTo>
                    <a:cubicBezTo>
                      <a:pt x="9185" y="432561"/>
                      <a:pt x="7920" y="432930"/>
                      <a:pt x="6603" y="432930"/>
                    </a:cubicBezTo>
                    <a:close/>
                  </a:path>
                </a:pathLst>
              </a:custGeom>
              <a:solidFill>
                <a:schemeClr val="accent1"/>
              </a:solidFill>
              <a:ln w="5266" cap="flat">
                <a:noFill/>
                <a:prstDash val="solid"/>
                <a:miter/>
              </a:ln>
            </p:spPr>
            <p:txBody>
              <a:bodyPr rtlCol="0" anchor="ctr"/>
              <a:lstStyle/>
              <a:p>
                <a:endParaRPr lang="en-IN" dirty="0"/>
              </a:p>
            </p:txBody>
          </p:sp>
        </p:grpSp>
        <p:sp>
          <p:nvSpPr>
            <p:cNvPr id="303" name="Freeform 205">
              <a:extLst>
                <a:ext uri="{FF2B5EF4-FFF2-40B4-BE49-F238E27FC236}">
                  <a16:creationId xmlns:a16="http://schemas.microsoft.com/office/drawing/2014/main" id="{1A8DA7AA-1F9B-4979-AF9D-2286BE266103}"/>
                </a:ext>
              </a:extLst>
            </p:cNvPr>
            <p:cNvSpPr>
              <a:spLocks noEditPoints="1"/>
            </p:cNvSpPr>
            <p:nvPr/>
          </p:nvSpPr>
          <p:spPr bwMode="auto">
            <a:xfrm>
              <a:off x="4623743" y="4606024"/>
              <a:ext cx="242235" cy="287318"/>
            </a:xfrm>
            <a:custGeom>
              <a:avLst/>
              <a:gdLst>
                <a:gd name="T0" fmla="*/ 21 w 266"/>
                <a:gd name="T1" fmla="*/ 311 h 311"/>
                <a:gd name="T2" fmla="*/ 11 w 266"/>
                <a:gd name="T3" fmla="*/ 308 h 311"/>
                <a:gd name="T4" fmla="*/ 0 w 266"/>
                <a:gd name="T5" fmla="*/ 289 h 311"/>
                <a:gd name="T6" fmla="*/ 0 w 266"/>
                <a:gd name="T7" fmla="*/ 23 h 311"/>
                <a:gd name="T8" fmla="*/ 11 w 266"/>
                <a:gd name="T9" fmla="*/ 4 h 311"/>
                <a:gd name="T10" fmla="*/ 32 w 266"/>
                <a:gd name="T11" fmla="*/ 4 h 311"/>
                <a:gd name="T12" fmla="*/ 256 w 266"/>
                <a:gd name="T13" fmla="*/ 138 h 311"/>
                <a:gd name="T14" fmla="*/ 266 w 266"/>
                <a:gd name="T15" fmla="*/ 156 h 311"/>
                <a:gd name="T16" fmla="*/ 256 w 266"/>
                <a:gd name="T17" fmla="*/ 174 h 311"/>
                <a:gd name="T18" fmla="*/ 32 w 266"/>
                <a:gd name="T19" fmla="*/ 308 h 311"/>
                <a:gd name="T20" fmla="*/ 21 w 266"/>
                <a:gd name="T21" fmla="*/ 311 h 311"/>
                <a:gd name="T22" fmla="*/ 21 w 266"/>
                <a:gd name="T23" fmla="*/ 13 h 311"/>
                <a:gd name="T24" fmla="*/ 17 w 266"/>
                <a:gd name="T25" fmla="*/ 14 h 311"/>
                <a:gd name="T26" fmla="*/ 12 w 266"/>
                <a:gd name="T27" fmla="*/ 23 h 311"/>
                <a:gd name="T28" fmla="*/ 12 w 266"/>
                <a:gd name="T29" fmla="*/ 289 h 311"/>
                <a:gd name="T30" fmla="*/ 17 w 266"/>
                <a:gd name="T31" fmla="*/ 298 h 311"/>
                <a:gd name="T32" fmla="*/ 26 w 266"/>
                <a:gd name="T33" fmla="*/ 297 h 311"/>
                <a:gd name="T34" fmla="*/ 250 w 266"/>
                <a:gd name="T35" fmla="*/ 164 h 311"/>
                <a:gd name="T36" fmla="*/ 254 w 266"/>
                <a:gd name="T37" fmla="*/ 156 h 311"/>
                <a:gd name="T38" fmla="*/ 250 w 266"/>
                <a:gd name="T39" fmla="*/ 148 h 311"/>
                <a:gd name="T40" fmla="*/ 250 w 266"/>
                <a:gd name="T41" fmla="*/ 148 h 311"/>
                <a:gd name="T42" fmla="*/ 26 w 266"/>
                <a:gd name="T43" fmla="*/ 15 h 311"/>
                <a:gd name="T44" fmla="*/ 21 w 266"/>
                <a:gd name="T45" fmla="*/ 13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311">
                  <a:moveTo>
                    <a:pt x="21" y="311"/>
                  </a:moveTo>
                  <a:cubicBezTo>
                    <a:pt x="18" y="311"/>
                    <a:pt x="14" y="310"/>
                    <a:pt x="11" y="308"/>
                  </a:cubicBezTo>
                  <a:cubicBezTo>
                    <a:pt x="4" y="304"/>
                    <a:pt x="0" y="297"/>
                    <a:pt x="0" y="289"/>
                  </a:cubicBezTo>
                  <a:cubicBezTo>
                    <a:pt x="0" y="23"/>
                    <a:pt x="0" y="23"/>
                    <a:pt x="0" y="23"/>
                  </a:cubicBezTo>
                  <a:cubicBezTo>
                    <a:pt x="0" y="15"/>
                    <a:pt x="4" y="8"/>
                    <a:pt x="11" y="4"/>
                  </a:cubicBezTo>
                  <a:cubicBezTo>
                    <a:pt x="17" y="0"/>
                    <a:pt x="25" y="0"/>
                    <a:pt x="32" y="4"/>
                  </a:cubicBezTo>
                  <a:cubicBezTo>
                    <a:pt x="256" y="138"/>
                    <a:pt x="256" y="138"/>
                    <a:pt x="256" y="138"/>
                  </a:cubicBezTo>
                  <a:cubicBezTo>
                    <a:pt x="262" y="142"/>
                    <a:pt x="266" y="148"/>
                    <a:pt x="266" y="156"/>
                  </a:cubicBezTo>
                  <a:cubicBezTo>
                    <a:pt x="266" y="164"/>
                    <a:pt x="262" y="170"/>
                    <a:pt x="256" y="174"/>
                  </a:cubicBezTo>
                  <a:cubicBezTo>
                    <a:pt x="32" y="308"/>
                    <a:pt x="32" y="308"/>
                    <a:pt x="32" y="308"/>
                  </a:cubicBezTo>
                  <a:cubicBezTo>
                    <a:pt x="29" y="310"/>
                    <a:pt x="25" y="311"/>
                    <a:pt x="21" y="311"/>
                  </a:cubicBezTo>
                  <a:close/>
                  <a:moveTo>
                    <a:pt x="21" y="13"/>
                  </a:moveTo>
                  <a:cubicBezTo>
                    <a:pt x="20" y="13"/>
                    <a:pt x="18" y="14"/>
                    <a:pt x="17" y="14"/>
                  </a:cubicBezTo>
                  <a:cubicBezTo>
                    <a:pt x="14" y="16"/>
                    <a:pt x="12" y="19"/>
                    <a:pt x="12" y="23"/>
                  </a:cubicBezTo>
                  <a:cubicBezTo>
                    <a:pt x="12" y="289"/>
                    <a:pt x="12" y="289"/>
                    <a:pt x="12" y="289"/>
                  </a:cubicBezTo>
                  <a:cubicBezTo>
                    <a:pt x="12" y="293"/>
                    <a:pt x="14" y="296"/>
                    <a:pt x="17" y="298"/>
                  </a:cubicBezTo>
                  <a:cubicBezTo>
                    <a:pt x="20" y="299"/>
                    <a:pt x="23" y="299"/>
                    <a:pt x="26" y="297"/>
                  </a:cubicBezTo>
                  <a:cubicBezTo>
                    <a:pt x="250" y="164"/>
                    <a:pt x="250" y="164"/>
                    <a:pt x="250" y="164"/>
                  </a:cubicBezTo>
                  <a:cubicBezTo>
                    <a:pt x="252" y="162"/>
                    <a:pt x="254" y="159"/>
                    <a:pt x="254" y="156"/>
                  </a:cubicBezTo>
                  <a:cubicBezTo>
                    <a:pt x="254" y="153"/>
                    <a:pt x="252" y="150"/>
                    <a:pt x="250" y="148"/>
                  </a:cubicBezTo>
                  <a:cubicBezTo>
                    <a:pt x="250" y="148"/>
                    <a:pt x="250" y="148"/>
                    <a:pt x="250" y="148"/>
                  </a:cubicBezTo>
                  <a:cubicBezTo>
                    <a:pt x="26" y="15"/>
                    <a:pt x="26" y="15"/>
                    <a:pt x="26" y="15"/>
                  </a:cubicBezTo>
                  <a:cubicBezTo>
                    <a:pt x="25" y="14"/>
                    <a:pt x="23" y="13"/>
                    <a:pt x="21" y="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54" name="Group 353">
            <a:extLst>
              <a:ext uri="{FF2B5EF4-FFF2-40B4-BE49-F238E27FC236}">
                <a16:creationId xmlns:a16="http://schemas.microsoft.com/office/drawing/2014/main" id="{B84D217F-27A8-4BA9-BE75-2C24BF84A47D}"/>
              </a:ext>
            </a:extLst>
          </p:cNvPr>
          <p:cNvGrpSpPr/>
          <p:nvPr/>
        </p:nvGrpSpPr>
        <p:grpSpPr>
          <a:xfrm>
            <a:off x="2953269" y="1958680"/>
            <a:ext cx="1264145" cy="1282553"/>
            <a:chOff x="2953269" y="1958680"/>
            <a:chExt cx="1264145" cy="1282553"/>
          </a:xfrm>
        </p:grpSpPr>
        <p:sp>
          <p:nvSpPr>
            <p:cNvPr id="355" name="Freeform: Shape 354">
              <a:extLst>
                <a:ext uri="{FF2B5EF4-FFF2-40B4-BE49-F238E27FC236}">
                  <a16:creationId xmlns:a16="http://schemas.microsoft.com/office/drawing/2014/main" id="{FEC8C0ED-19B3-412C-8027-80401C0623E1}"/>
                </a:ext>
              </a:extLst>
            </p:cNvPr>
            <p:cNvSpPr>
              <a:spLocks/>
            </p:cNvSpPr>
            <p:nvPr/>
          </p:nvSpPr>
          <p:spPr bwMode="auto">
            <a:xfrm>
              <a:off x="2953269" y="1958680"/>
              <a:ext cx="1264145" cy="1282553"/>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356" name="Group 355">
              <a:extLst>
                <a:ext uri="{FF2B5EF4-FFF2-40B4-BE49-F238E27FC236}">
                  <a16:creationId xmlns:a16="http://schemas.microsoft.com/office/drawing/2014/main" id="{C8439638-F5B9-4D9B-A57A-8BEE6D0202F2}"/>
                </a:ext>
              </a:extLst>
            </p:cNvPr>
            <p:cNvGrpSpPr/>
            <p:nvPr/>
          </p:nvGrpSpPr>
          <p:grpSpPr>
            <a:xfrm>
              <a:off x="3071095" y="2085710"/>
              <a:ext cx="1028492" cy="1028492"/>
              <a:chOff x="3071095" y="2085710"/>
              <a:chExt cx="1028492" cy="1028492"/>
            </a:xfrm>
          </p:grpSpPr>
          <p:sp>
            <p:nvSpPr>
              <p:cNvPr id="357" name="Oval 356">
                <a:extLst>
                  <a:ext uri="{FF2B5EF4-FFF2-40B4-BE49-F238E27FC236}">
                    <a16:creationId xmlns:a16="http://schemas.microsoft.com/office/drawing/2014/main" id="{3F390AC6-1BDF-47CE-A078-CB51A7A65145}"/>
                  </a:ext>
                </a:extLst>
              </p:cNvPr>
              <p:cNvSpPr/>
              <p:nvPr/>
            </p:nvSpPr>
            <p:spPr>
              <a:xfrm>
                <a:off x="3071095" y="2085710"/>
                <a:ext cx="1028492" cy="1028492"/>
              </a:xfrm>
              <a:prstGeom prst="ellipse">
                <a:avLst/>
              </a:prstGeom>
              <a:solidFill>
                <a:schemeClr val="accent1">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58" name="Graphic 33">
                <a:extLst>
                  <a:ext uri="{FF2B5EF4-FFF2-40B4-BE49-F238E27FC236}">
                    <a16:creationId xmlns:a16="http://schemas.microsoft.com/office/drawing/2014/main" id="{7EAA105A-35FE-4181-BC6D-5951186FBA0E}"/>
                  </a:ext>
                </a:extLst>
              </p:cNvPr>
              <p:cNvGrpSpPr/>
              <p:nvPr/>
            </p:nvGrpSpPr>
            <p:grpSpPr>
              <a:xfrm>
                <a:off x="3271205" y="2262466"/>
                <a:ext cx="628272" cy="674980"/>
                <a:chOff x="2647943" y="-1912619"/>
                <a:chExt cx="1024892" cy="1101088"/>
              </a:xfrm>
              <a:solidFill>
                <a:schemeClr val="bg2"/>
              </a:solidFill>
            </p:grpSpPr>
            <p:sp>
              <p:nvSpPr>
                <p:cNvPr id="359" name="Freeform: Shape 358">
                  <a:extLst>
                    <a:ext uri="{FF2B5EF4-FFF2-40B4-BE49-F238E27FC236}">
                      <a16:creationId xmlns:a16="http://schemas.microsoft.com/office/drawing/2014/main" id="{DD5F7441-3F87-44C7-A4A1-455D5D0C579A}"/>
                    </a:ext>
                  </a:extLst>
                </p:cNvPr>
                <p:cNvSpPr/>
                <p:nvPr/>
              </p:nvSpPr>
              <p:spPr>
                <a:xfrm>
                  <a:off x="3036563" y="-1523999"/>
                  <a:ext cx="270681" cy="712468"/>
                </a:xfrm>
                <a:custGeom>
                  <a:avLst/>
                  <a:gdLst>
                    <a:gd name="connsiteX0" fmla="*/ 198120 w 270681"/>
                    <a:gd name="connsiteY0" fmla="*/ 712469 h 712468"/>
                    <a:gd name="connsiteX1" fmla="*/ 163830 w 270681"/>
                    <a:gd name="connsiteY1" fmla="*/ 697229 h 712468"/>
                    <a:gd name="connsiteX2" fmla="*/ 213360 w 270681"/>
                    <a:gd name="connsiteY2" fmla="*/ 91440 h 712468"/>
                    <a:gd name="connsiteX3" fmla="*/ 129540 w 270681"/>
                    <a:gd name="connsiteY3" fmla="*/ 34290 h 712468"/>
                    <a:gd name="connsiteX4" fmla="*/ 38100 w 270681"/>
                    <a:gd name="connsiteY4" fmla="*/ 125730 h 712468"/>
                    <a:gd name="connsiteX5" fmla="*/ 41910 w 270681"/>
                    <a:gd name="connsiteY5" fmla="*/ 148590 h 712468"/>
                    <a:gd name="connsiteX6" fmla="*/ 38100 w 270681"/>
                    <a:gd name="connsiteY6" fmla="*/ 601979 h 712468"/>
                    <a:gd name="connsiteX7" fmla="*/ 0 w 270681"/>
                    <a:gd name="connsiteY7" fmla="*/ 590549 h 712468"/>
                    <a:gd name="connsiteX8" fmla="*/ 3810 w 270681"/>
                    <a:gd name="connsiteY8" fmla="*/ 160020 h 712468"/>
                    <a:gd name="connsiteX9" fmla="*/ 0 w 270681"/>
                    <a:gd name="connsiteY9" fmla="*/ 129540 h 712468"/>
                    <a:gd name="connsiteX10" fmla="*/ 129540 w 270681"/>
                    <a:gd name="connsiteY10" fmla="*/ 0 h 712468"/>
                    <a:gd name="connsiteX11" fmla="*/ 251460 w 270681"/>
                    <a:gd name="connsiteY11" fmla="*/ 83820 h 712468"/>
                    <a:gd name="connsiteX12" fmla="*/ 198120 w 270681"/>
                    <a:gd name="connsiteY12" fmla="*/ 712469 h 712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0681" h="712468">
                      <a:moveTo>
                        <a:pt x="198120" y="712469"/>
                      </a:moveTo>
                      <a:lnTo>
                        <a:pt x="163830" y="697229"/>
                      </a:lnTo>
                      <a:cubicBezTo>
                        <a:pt x="281941" y="396239"/>
                        <a:pt x="213360" y="95250"/>
                        <a:pt x="213360" y="91440"/>
                      </a:cubicBezTo>
                      <a:cubicBezTo>
                        <a:pt x="201930" y="57150"/>
                        <a:pt x="167640" y="34290"/>
                        <a:pt x="129540" y="34290"/>
                      </a:cubicBezTo>
                      <a:cubicBezTo>
                        <a:pt x="80010" y="34290"/>
                        <a:pt x="38100" y="76200"/>
                        <a:pt x="38100" y="125730"/>
                      </a:cubicBezTo>
                      <a:cubicBezTo>
                        <a:pt x="38100" y="133350"/>
                        <a:pt x="38100" y="140970"/>
                        <a:pt x="41910" y="148590"/>
                      </a:cubicBezTo>
                      <a:cubicBezTo>
                        <a:pt x="45720" y="156210"/>
                        <a:pt x="110490" y="388619"/>
                        <a:pt x="38100" y="601979"/>
                      </a:cubicBezTo>
                      <a:lnTo>
                        <a:pt x="0" y="590549"/>
                      </a:lnTo>
                      <a:cubicBezTo>
                        <a:pt x="68580" y="388619"/>
                        <a:pt x="3810" y="160020"/>
                        <a:pt x="3810" y="160020"/>
                      </a:cubicBezTo>
                      <a:cubicBezTo>
                        <a:pt x="0" y="148590"/>
                        <a:pt x="0" y="137160"/>
                        <a:pt x="0" y="129540"/>
                      </a:cubicBezTo>
                      <a:cubicBezTo>
                        <a:pt x="0" y="57150"/>
                        <a:pt x="57150" y="0"/>
                        <a:pt x="129540" y="0"/>
                      </a:cubicBezTo>
                      <a:cubicBezTo>
                        <a:pt x="182880" y="0"/>
                        <a:pt x="232410" y="34290"/>
                        <a:pt x="251460" y="83820"/>
                      </a:cubicBezTo>
                      <a:cubicBezTo>
                        <a:pt x="251460" y="99060"/>
                        <a:pt x="320041" y="400049"/>
                        <a:pt x="198120" y="712469"/>
                      </a:cubicBezTo>
                      <a:close/>
                    </a:path>
                  </a:pathLst>
                </a:custGeom>
                <a:grpFill/>
                <a:ln w="38100" cap="flat">
                  <a:noFill/>
                  <a:prstDash val="solid"/>
                  <a:miter/>
                </a:ln>
              </p:spPr>
              <p:txBody>
                <a:bodyPr rtlCol="0" anchor="ctr"/>
                <a:lstStyle/>
                <a:p>
                  <a:endParaRPr lang="en-IN" dirty="0"/>
                </a:p>
              </p:txBody>
            </p:sp>
            <p:sp>
              <p:nvSpPr>
                <p:cNvPr id="360" name="Freeform: Shape 359">
                  <a:extLst>
                    <a:ext uri="{FF2B5EF4-FFF2-40B4-BE49-F238E27FC236}">
                      <a16:creationId xmlns:a16="http://schemas.microsoft.com/office/drawing/2014/main" id="{CEBAEA3D-4A87-4DC3-903A-C10173170ADD}"/>
                    </a:ext>
                  </a:extLst>
                </p:cNvPr>
                <p:cNvSpPr/>
                <p:nvPr/>
              </p:nvSpPr>
              <p:spPr>
                <a:xfrm>
                  <a:off x="2884163" y="-1661159"/>
                  <a:ext cx="575966" cy="788668"/>
                </a:xfrm>
                <a:custGeom>
                  <a:avLst/>
                  <a:gdLst>
                    <a:gd name="connsiteX0" fmla="*/ 30480 w 575966"/>
                    <a:gd name="connsiteY0" fmla="*/ 788669 h 788668"/>
                    <a:gd name="connsiteX1" fmla="*/ 0 w 575966"/>
                    <a:gd name="connsiteY1" fmla="*/ 769619 h 788668"/>
                    <a:gd name="connsiteX2" fmla="*/ 22860 w 575966"/>
                    <a:gd name="connsiteY2" fmla="*/ 293370 h 788668"/>
                    <a:gd name="connsiteX3" fmla="*/ 19050 w 575966"/>
                    <a:gd name="connsiteY3" fmla="*/ 228600 h 788668"/>
                    <a:gd name="connsiteX4" fmla="*/ 278131 w 575966"/>
                    <a:gd name="connsiteY4" fmla="*/ 0 h 788668"/>
                    <a:gd name="connsiteX5" fmla="*/ 514351 w 575966"/>
                    <a:gd name="connsiteY5" fmla="*/ 144780 h 788668"/>
                    <a:gd name="connsiteX6" fmla="*/ 552451 w 575966"/>
                    <a:gd name="connsiteY6" fmla="*/ 693419 h 788668"/>
                    <a:gd name="connsiteX7" fmla="*/ 514351 w 575966"/>
                    <a:gd name="connsiteY7" fmla="*/ 685799 h 788668"/>
                    <a:gd name="connsiteX8" fmla="*/ 480061 w 575966"/>
                    <a:gd name="connsiteY8" fmla="*/ 163830 h 788668"/>
                    <a:gd name="connsiteX9" fmla="*/ 278131 w 575966"/>
                    <a:gd name="connsiteY9" fmla="*/ 38100 h 788668"/>
                    <a:gd name="connsiteX10" fmla="*/ 57150 w 575966"/>
                    <a:gd name="connsiteY10" fmla="*/ 232410 h 788668"/>
                    <a:gd name="connsiteX11" fmla="*/ 60960 w 575966"/>
                    <a:gd name="connsiteY11" fmla="*/ 281940 h 788668"/>
                    <a:gd name="connsiteX12" fmla="*/ 30480 w 575966"/>
                    <a:gd name="connsiteY12" fmla="*/ 788669 h 788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966" h="788668">
                      <a:moveTo>
                        <a:pt x="30480" y="788669"/>
                      </a:moveTo>
                      <a:lnTo>
                        <a:pt x="0" y="769619"/>
                      </a:lnTo>
                      <a:cubicBezTo>
                        <a:pt x="91440" y="628649"/>
                        <a:pt x="30480" y="327660"/>
                        <a:pt x="22860" y="293370"/>
                      </a:cubicBezTo>
                      <a:cubicBezTo>
                        <a:pt x="19050" y="270510"/>
                        <a:pt x="15240" y="247650"/>
                        <a:pt x="19050" y="228600"/>
                      </a:cubicBezTo>
                      <a:cubicBezTo>
                        <a:pt x="38100" y="99060"/>
                        <a:pt x="148590" y="0"/>
                        <a:pt x="278131" y="0"/>
                      </a:cubicBezTo>
                      <a:cubicBezTo>
                        <a:pt x="377191" y="0"/>
                        <a:pt x="468631" y="57150"/>
                        <a:pt x="514351" y="144780"/>
                      </a:cubicBezTo>
                      <a:cubicBezTo>
                        <a:pt x="518161" y="152400"/>
                        <a:pt x="621031" y="358139"/>
                        <a:pt x="552451" y="693419"/>
                      </a:cubicBezTo>
                      <a:lnTo>
                        <a:pt x="514351" y="685799"/>
                      </a:lnTo>
                      <a:cubicBezTo>
                        <a:pt x="579121" y="365759"/>
                        <a:pt x="480061" y="163830"/>
                        <a:pt x="480061" y="163830"/>
                      </a:cubicBezTo>
                      <a:cubicBezTo>
                        <a:pt x="441961" y="87630"/>
                        <a:pt x="365761" y="38100"/>
                        <a:pt x="278131" y="38100"/>
                      </a:cubicBezTo>
                      <a:cubicBezTo>
                        <a:pt x="167640" y="38100"/>
                        <a:pt x="68580" y="121920"/>
                        <a:pt x="57150" y="232410"/>
                      </a:cubicBezTo>
                      <a:cubicBezTo>
                        <a:pt x="53340" y="247650"/>
                        <a:pt x="57150" y="262890"/>
                        <a:pt x="60960" y="281940"/>
                      </a:cubicBezTo>
                      <a:cubicBezTo>
                        <a:pt x="72390" y="342899"/>
                        <a:pt x="125730" y="640079"/>
                        <a:pt x="30480" y="788669"/>
                      </a:cubicBezTo>
                      <a:close/>
                    </a:path>
                  </a:pathLst>
                </a:custGeom>
                <a:grpFill/>
                <a:ln w="38100" cap="flat">
                  <a:noFill/>
                  <a:prstDash val="solid"/>
                  <a:miter/>
                </a:ln>
              </p:spPr>
              <p:txBody>
                <a:bodyPr rtlCol="0" anchor="ctr"/>
                <a:lstStyle/>
                <a:p>
                  <a:endParaRPr lang="en-IN" dirty="0"/>
                </a:p>
              </p:txBody>
            </p:sp>
            <p:sp>
              <p:nvSpPr>
                <p:cNvPr id="361" name="Freeform: Shape 360">
                  <a:extLst>
                    <a:ext uri="{FF2B5EF4-FFF2-40B4-BE49-F238E27FC236}">
                      <a16:creationId xmlns:a16="http://schemas.microsoft.com/office/drawing/2014/main" id="{1C11DDE6-0683-4BC1-B7D9-D6807FDD034C}"/>
                    </a:ext>
                  </a:extLst>
                </p:cNvPr>
                <p:cNvSpPr/>
                <p:nvPr/>
              </p:nvSpPr>
              <p:spPr>
                <a:xfrm>
                  <a:off x="2682233" y="-1798319"/>
                  <a:ext cx="904665" cy="895348"/>
                </a:xfrm>
                <a:custGeom>
                  <a:avLst/>
                  <a:gdLst>
                    <a:gd name="connsiteX0" fmla="*/ 857252 w 904665"/>
                    <a:gd name="connsiteY0" fmla="*/ 895349 h 895348"/>
                    <a:gd name="connsiteX1" fmla="*/ 819152 w 904665"/>
                    <a:gd name="connsiteY1" fmla="*/ 883919 h 895348"/>
                    <a:gd name="connsiteX2" fmla="*/ 815342 w 904665"/>
                    <a:gd name="connsiteY2" fmla="*/ 270510 h 895348"/>
                    <a:gd name="connsiteX3" fmla="*/ 480061 w 904665"/>
                    <a:gd name="connsiteY3" fmla="*/ 41910 h 895348"/>
                    <a:gd name="connsiteX4" fmla="*/ 133350 w 904665"/>
                    <a:gd name="connsiteY4" fmla="*/ 300990 h 895348"/>
                    <a:gd name="connsiteX5" fmla="*/ 125730 w 904665"/>
                    <a:gd name="connsiteY5" fmla="*/ 438149 h 895348"/>
                    <a:gd name="connsiteX6" fmla="*/ 19050 w 904665"/>
                    <a:gd name="connsiteY6" fmla="*/ 796289 h 895348"/>
                    <a:gd name="connsiteX7" fmla="*/ 0 w 904665"/>
                    <a:gd name="connsiteY7" fmla="*/ 761999 h 895348"/>
                    <a:gd name="connsiteX8" fmla="*/ 87630 w 904665"/>
                    <a:gd name="connsiteY8" fmla="*/ 438149 h 895348"/>
                    <a:gd name="connsiteX9" fmla="*/ 99060 w 904665"/>
                    <a:gd name="connsiteY9" fmla="*/ 285750 h 895348"/>
                    <a:gd name="connsiteX10" fmla="*/ 483871 w 904665"/>
                    <a:gd name="connsiteY10" fmla="*/ 0 h 895348"/>
                    <a:gd name="connsiteX11" fmla="*/ 857252 w 904665"/>
                    <a:gd name="connsiteY11" fmla="*/ 255270 h 895348"/>
                    <a:gd name="connsiteX12" fmla="*/ 857252 w 904665"/>
                    <a:gd name="connsiteY12" fmla="*/ 895349 h 89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4665" h="895348">
                      <a:moveTo>
                        <a:pt x="857252" y="895349"/>
                      </a:moveTo>
                      <a:lnTo>
                        <a:pt x="819152" y="883919"/>
                      </a:lnTo>
                      <a:cubicBezTo>
                        <a:pt x="922022" y="552449"/>
                        <a:pt x="815342" y="274320"/>
                        <a:pt x="815342" y="270510"/>
                      </a:cubicBezTo>
                      <a:cubicBezTo>
                        <a:pt x="762002" y="129540"/>
                        <a:pt x="628651" y="41910"/>
                        <a:pt x="480061" y="41910"/>
                      </a:cubicBezTo>
                      <a:cubicBezTo>
                        <a:pt x="320041" y="41910"/>
                        <a:pt x="179070" y="148590"/>
                        <a:pt x="133350" y="300990"/>
                      </a:cubicBezTo>
                      <a:cubicBezTo>
                        <a:pt x="121920" y="342899"/>
                        <a:pt x="118110" y="388619"/>
                        <a:pt x="125730" y="438149"/>
                      </a:cubicBezTo>
                      <a:cubicBezTo>
                        <a:pt x="137160" y="521969"/>
                        <a:pt x="144780" y="723899"/>
                        <a:pt x="19050" y="796289"/>
                      </a:cubicBezTo>
                      <a:lnTo>
                        <a:pt x="0" y="761999"/>
                      </a:lnTo>
                      <a:cubicBezTo>
                        <a:pt x="106680" y="701039"/>
                        <a:pt x="95250" y="514349"/>
                        <a:pt x="87630" y="438149"/>
                      </a:cubicBezTo>
                      <a:cubicBezTo>
                        <a:pt x="80010" y="380999"/>
                        <a:pt x="83820" y="331469"/>
                        <a:pt x="99060" y="285750"/>
                      </a:cubicBezTo>
                      <a:cubicBezTo>
                        <a:pt x="148590" y="118110"/>
                        <a:pt x="304801" y="0"/>
                        <a:pt x="483871" y="0"/>
                      </a:cubicBezTo>
                      <a:cubicBezTo>
                        <a:pt x="651511" y="0"/>
                        <a:pt x="796292" y="99060"/>
                        <a:pt x="857252" y="255270"/>
                      </a:cubicBezTo>
                      <a:cubicBezTo>
                        <a:pt x="857252" y="270510"/>
                        <a:pt x="963932" y="552449"/>
                        <a:pt x="857252" y="895349"/>
                      </a:cubicBezTo>
                      <a:close/>
                    </a:path>
                  </a:pathLst>
                </a:custGeom>
                <a:grpFill/>
                <a:ln w="38100" cap="flat">
                  <a:noFill/>
                  <a:prstDash val="solid"/>
                  <a:miter/>
                </a:ln>
              </p:spPr>
              <p:txBody>
                <a:bodyPr rtlCol="0" anchor="ctr"/>
                <a:lstStyle/>
                <a:p>
                  <a:endParaRPr lang="en-IN" dirty="0"/>
                </a:p>
              </p:txBody>
            </p:sp>
            <p:sp>
              <p:nvSpPr>
                <p:cNvPr id="362" name="Freeform: Shape 361">
                  <a:extLst>
                    <a:ext uri="{FF2B5EF4-FFF2-40B4-BE49-F238E27FC236}">
                      <a16:creationId xmlns:a16="http://schemas.microsoft.com/office/drawing/2014/main" id="{029224DA-37DB-455B-947C-4E731A879FAA}"/>
                    </a:ext>
                  </a:extLst>
                </p:cNvPr>
                <p:cNvSpPr/>
                <p:nvPr/>
              </p:nvSpPr>
              <p:spPr>
                <a:xfrm>
                  <a:off x="2647943" y="-1912619"/>
                  <a:ext cx="1024892" cy="670558"/>
                </a:xfrm>
                <a:custGeom>
                  <a:avLst/>
                  <a:gdLst>
                    <a:gd name="connsiteX0" fmla="*/ 22860 w 1024892"/>
                    <a:gd name="connsiteY0" fmla="*/ 670559 h 670558"/>
                    <a:gd name="connsiteX1" fmla="*/ 0 w 1024892"/>
                    <a:gd name="connsiteY1" fmla="*/ 518159 h 670558"/>
                    <a:gd name="connsiteX2" fmla="*/ 514351 w 1024892"/>
                    <a:gd name="connsiteY2" fmla="*/ 0 h 670558"/>
                    <a:gd name="connsiteX3" fmla="*/ 1024892 w 1024892"/>
                    <a:gd name="connsiteY3" fmla="*/ 438149 h 670558"/>
                    <a:gd name="connsiteX4" fmla="*/ 986792 w 1024892"/>
                    <a:gd name="connsiteY4" fmla="*/ 441959 h 670558"/>
                    <a:gd name="connsiteX5" fmla="*/ 514351 w 1024892"/>
                    <a:gd name="connsiteY5" fmla="*/ 38100 h 670558"/>
                    <a:gd name="connsiteX6" fmla="*/ 38100 w 1024892"/>
                    <a:gd name="connsiteY6" fmla="*/ 514349 h 670558"/>
                    <a:gd name="connsiteX7" fmla="*/ 60960 w 1024892"/>
                    <a:gd name="connsiteY7" fmla="*/ 655319 h 670558"/>
                    <a:gd name="connsiteX8" fmla="*/ 22860 w 1024892"/>
                    <a:gd name="connsiteY8" fmla="*/ 670559 h 67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4892" h="670558">
                      <a:moveTo>
                        <a:pt x="22860" y="670559"/>
                      </a:moveTo>
                      <a:cubicBezTo>
                        <a:pt x="7620" y="621029"/>
                        <a:pt x="0" y="571499"/>
                        <a:pt x="0" y="518159"/>
                      </a:cubicBezTo>
                      <a:cubicBezTo>
                        <a:pt x="0" y="232410"/>
                        <a:pt x="232410" y="0"/>
                        <a:pt x="514351" y="0"/>
                      </a:cubicBezTo>
                      <a:cubicBezTo>
                        <a:pt x="769622" y="0"/>
                        <a:pt x="986792" y="190500"/>
                        <a:pt x="1024892" y="438149"/>
                      </a:cubicBezTo>
                      <a:lnTo>
                        <a:pt x="986792" y="441959"/>
                      </a:lnTo>
                      <a:cubicBezTo>
                        <a:pt x="952502" y="213360"/>
                        <a:pt x="750572" y="38100"/>
                        <a:pt x="514351" y="38100"/>
                      </a:cubicBezTo>
                      <a:cubicBezTo>
                        <a:pt x="251461" y="38100"/>
                        <a:pt x="38100" y="251460"/>
                        <a:pt x="38100" y="514349"/>
                      </a:cubicBezTo>
                      <a:cubicBezTo>
                        <a:pt x="38100" y="563879"/>
                        <a:pt x="45720" y="609599"/>
                        <a:pt x="60960" y="655319"/>
                      </a:cubicBezTo>
                      <a:lnTo>
                        <a:pt x="22860" y="670559"/>
                      </a:lnTo>
                      <a:close/>
                    </a:path>
                  </a:pathLst>
                </a:custGeom>
                <a:grpFill/>
                <a:ln w="38100" cap="flat">
                  <a:noFill/>
                  <a:prstDash val="solid"/>
                  <a:miter/>
                </a:ln>
              </p:spPr>
              <p:txBody>
                <a:bodyPr rtlCol="0" anchor="ctr"/>
                <a:lstStyle/>
                <a:p>
                  <a:endParaRPr lang="en-IN" dirty="0"/>
                </a:p>
              </p:txBody>
            </p:sp>
            <p:sp>
              <p:nvSpPr>
                <p:cNvPr id="363" name="Freeform: Shape 362">
                  <a:extLst>
                    <a:ext uri="{FF2B5EF4-FFF2-40B4-BE49-F238E27FC236}">
                      <a16:creationId xmlns:a16="http://schemas.microsoft.com/office/drawing/2014/main" id="{BA05F3C0-853D-4DF5-A743-1ED00221A377}"/>
                    </a:ext>
                  </a:extLst>
                </p:cNvPr>
                <p:cNvSpPr/>
                <p:nvPr/>
              </p:nvSpPr>
              <p:spPr>
                <a:xfrm>
                  <a:off x="3143244" y="-1421129"/>
                  <a:ext cx="63935" cy="339089"/>
                </a:xfrm>
                <a:custGeom>
                  <a:avLst/>
                  <a:gdLst>
                    <a:gd name="connsiteX0" fmla="*/ 49530 w 63935"/>
                    <a:gd name="connsiteY0" fmla="*/ 339089 h 339089"/>
                    <a:gd name="connsiteX1" fmla="*/ 11430 w 63935"/>
                    <a:gd name="connsiteY1" fmla="*/ 331469 h 339089"/>
                    <a:gd name="connsiteX2" fmla="*/ 0 w 63935"/>
                    <a:gd name="connsiteY2" fmla="*/ 11430 h 339089"/>
                    <a:gd name="connsiteX3" fmla="*/ 38100 w 63935"/>
                    <a:gd name="connsiteY3" fmla="*/ 0 h 339089"/>
                    <a:gd name="connsiteX4" fmla="*/ 49530 w 63935"/>
                    <a:gd name="connsiteY4" fmla="*/ 339089 h 339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35" h="339089">
                      <a:moveTo>
                        <a:pt x="49530" y="339089"/>
                      </a:moveTo>
                      <a:lnTo>
                        <a:pt x="11430" y="331469"/>
                      </a:lnTo>
                      <a:cubicBezTo>
                        <a:pt x="49530" y="179070"/>
                        <a:pt x="0" y="11430"/>
                        <a:pt x="0" y="11430"/>
                      </a:cubicBezTo>
                      <a:lnTo>
                        <a:pt x="38100" y="0"/>
                      </a:lnTo>
                      <a:cubicBezTo>
                        <a:pt x="38100" y="3810"/>
                        <a:pt x="87630" y="171450"/>
                        <a:pt x="49530" y="339089"/>
                      </a:cubicBezTo>
                      <a:close/>
                    </a:path>
                  </a:pathLst>
                </a:custGeom>
                <a:grpFill/>
                <a:ln w="38100" cap="flat">
                  <a:noFill/>
                  <a:prstDash val="solid"/>
                  <a:miter/>
                </a:ln>
              </p:spPr>
              <p:txBody>
                <a:bodyPr rtlCol="0" anchor="ctr"/>
                <a:lstStyle/>
                <a:p>
                  <a:endParaRPr lang="en-IN" dirty="0"/>
                </a:p>
              </p:txBody>
            </p:sp>
          </p:grpSp>
        </p:grpSp>
      </p:grpSp>
      <p:grpSp>
        <p:nvGrpSpPr>
          <p:cNvPr id="5" name="Group 4">
            <a:extLst>
              <a:ext uri="{FF2B5EF4-FFF2-40B4-BE49-F238E27FC236}">
                <a16:creationId xmlns:a16="http://schemas.microsoft.com/office/drawing/2014/main" id="{A735E5E1-0795-48C7-AD39-5744D8FF6FE1}"/>
              </a:ext>
            </a:extLst>
          </p:cNvPr>
          <p:cNvGrpSpPr/>
          <p:nvPr/>
        </p:nvGrpSpPr>
        <p:grpSpPr>
          <a:xfrm>
            <a:off x="961414" y="3686048"/>
            <a:ext cx="2258515" cy="1964333"/>
            <a:chOff x="961414" y="3686048"/>
            <a:chExt cx="2258515" cy="1964333"/>
          </a:xfrm>
        </p:grpSpPr>
        <p:pic>
          <p:nvPicPr>
            <p:cNvPr id="141" name="Graphic 140">
              <a:extLst>
                <a:ext uri="{FF2B5EF4-FFF2-40B4-BE49-F238E27FC236}">
                  <a16:creationId xmlns:a16="http://schemas.microsoft.com/office/drawing/2014/main" id="{593486D3-1791-4DE0-B100-91AEA2D04C7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p:blipFill>
          <p:spPr>
            <a:xfrm>
              <a:off x="961414" y="3686048"/>
              <a:ext cx="1932281" cy="1964333"/>
            </a:xfrm>
            <a:custGeom>
              <a:avLst/>
              <a:gdLst>
                <a:gd name="connsiteX0" fmla="*/ 0 w 2740583"/>
                <a:gd name="connsiteY0" fmla="*/ 0 h 2786043"/>
                <a:gd name="connsiteX1" fmla="*/ 2740583 w 2740583"/>
                <a:gd name="connsiteY1" fmla="*/ 0 h 2786043"/>
                <a:gd name="connsiteX2" fmla="*/ 2740583 w 2740583"/>
                <a:gd name="connsiteY2" fmla="*/ 534603 h 2786043"/>
                <a:gd name="connsiteX3" fmla="*/ 2448484 w 2740583"/>
                <a:gd name="connsiteY3" fmla="*/ 309543 h 2786043"/>
                <a:gd name="connsiteX4" fmla="*/ 111684 w 2740583"/>
                <a:gd name="connsiteY4" fmla="*/ 1897043 h 2786043"/>
                <a:gd name="connsiteX5" fmla="*/ 209020 w 2740583"/>
                <a:gd name="connsiteY5" fmla="*/ 2786043 h 2786043"/>
                <a:gd name="connsiteX6" fmla="*/ 0 w 2740583"/>
                <a:gd name="connsiteY6" fmla="*/ 2786043 h 2786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0583" h="2786043">
                  <a:moveTo>
                    <a:pt x="0" y="0"/>
                  </a:moveTo>
                  <a:lnTo>
                    <a:pt x="2740583" y="0"/>
                  </a:lnTo>
                  <a:lnTo>
                    <a:pt x="2740583" y="534603"/>
                  </a:lnTo>
                  <a:lnTo>
                    <a:pt x="2448484" y="309543"/>
                  </a:lnTo>
                  <a:lnTo>
                    <a:pt x="111684" y="1897043"/>
                  </a:lnTo>
                  <a:lnTo>
                    <a:pt x="209020" y="2786043"/>
                  </a:lnTo>
                  <a:lnTo>
                    <a:pt x="0" y="2786043"/>
                  </a:lnTo>
                  <a:close/>
                </a:path>
              </a:pathLst>
            </a:custGeom>
          </p:spPr>
        </p:pic>
        <p:sp>
          <p:nvSpPr>
            <p:cNvPr id="302" name="Arc 301">
              <a:extLst>
                <a:ext uri="{FF2B5EF4-FFF2-40B4-BE49-F238E27FC236}">
                  <a16:creationId xmlns:a16="http://schemas.microsoft.com/office/drawing/2014/main" id="{736A95FD-B872-4D97-9BCA-62F1FAE80907}"/>
                </a:ext>
              </a:extLst>
            </p:cNvPr>
            <p:cNvSpPr/>
            <p:nvPr/>
          </p:nvSpPr>
          <p:spPr>
            <a:xfrm>
              <a:off x="1121138" y="3882947"/>
              <a:ext cx="1724932" cy="1724932"/>
            </a:xfrm>
            <a:prstGeom prst="arc">
              <a:avLst>
                <a:gd name="adj1" fmla="val 1095341"/>
                <a:gd name="adj2" fmla="val 0"/>
              </a:avLst>
            </a:prstGeom>
            <a:solidFill>
              <a:schemeClr val="bg2"/>
            </a:solidFill>
            <a:ln w="9525" cap="rnd">
              <a:solidFill>
                <a:schemeClr val="accent3"/>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4" name="Freeform: Shape 303">
              <a:extLst>
                <a:ext uri="{FF2B5EF4-FFF2-40B4-BE49-F238E27FC236}">
                  <a16:creationId xmlns:a16="http://schemas.microsoft.com/office/drawing/2014/main" id="{404071DA-4609-4E84-8EAB-4BF40857D68E}"/>
                </a:ext>
              </a:extLst>
            </p:cNvPr>
            <p:cNvSpPr/>
            <p:nvPr/>
          </p:nvSpPr>
          <p:spPr>
            <a:xfrm>
              <a:off x="2601585" y="4167032"/>
              <a:ext cx="618344" cy="1156762"/>
            </a:xfrm>
            <a:custGeom>
              <a:avLst/>
              <a:gdLst>
                <a:gd name="connsiteX0" fmla="*/ 0 w 656476"/>
                <a:gd name="connsiteY0" fmla="*/ 44270 h 1228097"/>
                <a:gd name="connsiteX1" fmla="*/ 0 w 656476"/>
                <a:gd name="connsiteY1" fmla="*/ 1183829 h 1228097"/>
                <a:gd name="connsiteX2" fmla="*/ 75455 w 656476"/>
                <a:gd name="connsiteY2" fmla="*/ 1215075 h 1228097"/>
                <a:gd name="connsiteX3" fmla="*/ 643521 w 656476"/>
                <a:gd name="connsiteY3" fmla="*/ 647009 h 1228097"/>
                <a:gd name="connsiteX4" fmla="*/ 643627 w 656476"/>
                <a:gd name="connsiteY4" fmla="*/ 584622 h 1228097"/>
                <a:gd name="connsiteX5" fmla="*/ 75560 w 656476"/>
                <a:gd name="connsiteY5" fmla="*/ 13130 h 1228097"/>
                <a:gd name="connsiteX6" fmla="*/ 0 w 656476"/>
                <a:gd name="connsiteY6" fmla="*/ 44270 h 122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476" h="1228097">
                  <a:moveTo>
                    <a:pt x="0" y="44270"/>
                  </a:moveTo>
                  <a:lnTo>
                    <a:pt x="0" y="1183829"/>
                  </a:lnTo>
                  <a:cubicBezTo>
                    <a:pt x="0" y="1223190"/>
                    <a:pt x="47581" y="1242896"/>
                    <a:pt x="75455" y="1215075"/>
                  </a:cubicBezTo>
                  <a:lnTo>
                    <a:pt x="643521" y="647009"/>
                  </a:lnTo>
                  <a:cubicBezTo>
                    <a:pt x="660751" y="629778"/>
                    <a:pt x="660804" y="601852"/>
                    <a:pt x="643627" y="584622"/>
                  </a:cubicBezTo>
                  <a:lnTo>
                    <a:pt x="75560" y="13130"/>
                  </a:lnTo>
                  <a:cubicBezTo>
                    <a:pt x="47739" y="-14849"/>
                    <a:pt x="0" y="4857"/>
                    <a:pt x="0" y="44270"/>
                  </a:cubicBezTo>
                  <a:close/>
                </a:path>
              </a:pathLst>
            </a:custGeom>
            <a:solidFill>
              <a:srgbClr val="21BDEA"/>
            </a:solidFill>
            <a:ln w="5266" cap="flat">
              <a:noFill/>
              <a:prstDash val="solid"/>
              <a:miter/>
            </a:ln>
          </p:spPr>
          <p:txBody>
            <a:bodyPr rtlCol="0" anchor="ctr"/>
            <a:lstStyle/>
            <a:p>
              <a:endParaRPr lang="en-IN" dirty="0"/>
            </a:p>
          </p:txBody>
        </p:sp>
        <p:grpSp>
          <p:nvGrpSpPr>
            <p:cNvPr id="364" name="Group 363">
              <a:extLst>
                <a:ext uri="{FF2B5EF4-FFF2-40B4-BE49-F238E27FC236}">
                  <a16:creationId xmlns:a16="http://schemas.microsoft.com/office/drawing/2014/main" id="{DFA9E2F4-D501-4BF7-A221-962BD3E3BC08}"/>
                </a:ext>
              </a:extLst>
            </p:cNvPr>
            <p:cNvGrpSpPr/>
            <p:nvPr/>
          </p:nvGrpSpPr>
          <p:grpSpPr>
            <a:xfrm>
              <a:off x="1386831" y="4076956"/>
              <a:ext cx="1264145" cy="1282553"/>
              <a:chOff x="1386831" y="4076956"/>
              <a:chExt cx="1264145" cy="1282553"/>
            </a:xfrm>
          </p:grpSpPr>
          <p:sp>
            <p:nvSpPr>
              <p:cNvPr id="365" name="Freeform: Shape 364">
                <a:extLst>
                  <a:ext uri="{FF2B5EF4-FFF2-40B4-BE49-F238E27FC236}">
                    <a16:creationId xmlns:a16="http://schemas.microsoft.com/office/drawing/2014/main" id="{9D1B7F77-4363-4761-88CD-4317D739C606}"/>
                  </a:ext>
                </a:extLst>
              </p:cNvPr>
              <p:cNvSpPr>
                <a:spLocks/>
              </p:cNvSpPr>
              <p:nvPr/>
            </p:nvSpPr>
            <p:spPr bwMode="auto">
              <a:xfrm>
                <a:off x="1386831" y="4076956"/>
                <a:ext cx="1264145" cy="1282553"/>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366" name="Group 365">
                <a:extLst>
                  <a:ext uri="{FF2B5EF4-FFF2-40B4-BE49-F238E27FC236}">
                    <a16:creationId xmlns:a16="http://schemas.microsoft.com/office/drawing/2014/main" id="{16A8D879-28E4-4FCD-BF6B-30CCB48D89B3}"/>
                  </a:ext>
                </a:extLst>
              </p:cNvPr>
              <p:cNvGrpSpPr/>
              <p:nvPr/>
            </p:nvGrpSpPr>
            <p:grpSpPr>
              <a:xfrm>
                <a:off x="1502268" y="4201597"/>
                <a:ext cx="1033271" cy="1033271"/>
                <a:chOff x="1502268" y="4201597"/>
                <a:chExt cx="1033271" cy="1033271"/>
              </a:xfrm>
            </p:grpSpPr>
            <p:sp>
              <p:nvSpPr>
                <p:cNvPr id="367" name="Oval 366">
                  <a:extLst>
                    <a:ext uri="{FF2B5EF4-FFF2-40B4-BE49-F238E27FC236}">
                      <a16:creationId xmlns:a16="http://schemas.microsoft.com/office/drawing/2014/main" id="{8F389135-2D9A-4AC3-A5A4-3D3E55B8AB69}"/>
                    </a:ext>
                  </a:extLst>
                </p:cNvPr>
                <p:cNvSpPr/>
                <p:nvPr/>
              </p:nvSpPr>
              <p:spPr>
                <a:xfrm>
                  <a:off x="1502268" y="4201597"/>
                  <a:ext cx="1033271" cy="1033271"/>
                </a:xfrm>
                <a:prstGeom prst="ellipse">
                  <a:avLst/>
                </a:prstGeom>
                <a:solidFill>
                  <a:schemeClr val="tx2">
                    <a:lumMod val="75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68" name="Group 367">
                  <a:extLst>
                    <a:ext uri="{FF2B5EF4-FFF2-40B4-BE49-F238E27FC236}">
                      <a16:creationId xmlns:a16="http://schemas.microsoft.com/office/drawing/2014/main" id="{4B02ACF4-FEAE-4102-B797-E0A5690F5799}"/>
                    </a:ext>
                  </a:extLst>
                </p:cNvPr>
                <p:cNvGrpSpPr/>
                <p:nvPr/>
              </p:nvGrpSpPr>
              <p:grpSpPr>
                <a:xfrm>
                  <a:off x="1736567" y="4391688"/>
                  <a:ext cx="564674" cy="653090"/>
                  <a:chOff x="8473444" y="-2023109"/>
                  <a:chExt cx="1070612" cy="1238248"/>
                </a:xfrm>
                <a:solidFill>
                  <a:schemeClr val="bg2"/>
                </a:solidFill>
              </p:grpSpPr>
              <p:sp>
                <p:nvSpPr>
                  <p:cNvPr id="369" name="Freeform: Shape 368">
                    <a:extLst>
                      <a:ext uri="{FF2B5EF4-FFF2-40B4-BE49-F238E27FC236}">
                        <a16:creationId xmlns:a16="http://schemas.microsoft.com/office/drawing/2014/main" id="{C4A3C461-1EF4-40FA-8354-ED4E237FD2C6}"/>
                      </a:ext>
                    </a:extLst>
                  </p:cNvPr>
                  <p:cNvSpPr/>
                  <p:nvPr/>
                </p:nvSpPr>
                <p:spPr>
                  <a:xfrm>
                    <a:off x="8473444" y="-2023109"/>
                    <a:ext cx="1070612" cy="1238248"/>
                  </a:xfrm>
                  <a:custGeom>
                    <a:avLst/>
                    <a:gdLst>
                      <a:gd name="connsiteX0" fmla="*/ 533401 w 1070612"/>
                      <a:gd name="connsiteY0" fmla="*/ 1238248 h 1238248"/>
                      <a:gd name="connsiteX1" fmla="*/ 0 w 1070612"/>
                      <a:gd name="connsiteY1" fmla="*/ 929639 h 1238248"/>
                      <a:gd name="connsiteX2" fmla="*/ 0 w 1070612"/>
                      <a:gd name="connsiteY2" fmla="*/ 308610 h 1238248"/>
                      <a:gd name="connsiteX3" fmla="*/ 533401 w 1070612"/>
                      <a:gd name="connsiteY3" fmla="*/ 0 h 1238248"/>
                      <a:gd name="connsiteX4" fmla="*/ 1070612 w 1070612"/>
                      <a:gd name="connsiteY4" fmla="*/ 308610 h 1238248"/>
                      <a:gd name="connsiteX5" fmla="*/ 1070612 w 1070612"/>
                      <a:gd name="connsiteY5" fmla="*/ 925829 h 1238248"/>
                      <a:gd name="connsiteX6" fmla="*/ 533401 w 1070612"/>
                      <a:gd name="connsiteY6" fmla="*/ 1238248 h 1238248"/>
                      <a:gd name="connsiteX7" fmla="*/ 34290 w 1070612"/>
                      <a:gd name="connsiteY7" fmla="*/ 906779 h 1238248"/>
                      <a:gd name="connsiteX8" fmla="*/ 529591 w 1070612"/>
                      <a:gd name="connsiteY8" fmla="*/ 1192528 h 1238248"/>
                      <a:gd name="connsiteX9" fmla="*/ 1028702 w 1070612"/>
                      <a:gd name="connsiteY9" fmla="*/ 906779 h 1238248"/>
                      <a:gd name="connsiteX10" fmla="*/ 1028702 w 1070612"/>
                      <a:gd name="connsiteY10" fmla="*/ 331470 h 1238248"/>
                      <a:gd name="connsiteX11" fmla="*/ 529591 w 1070612"/>
                      <a:gd name="connsiteY11" fmla="*/ 45720 h 1238248"/>
                      <a:gd name="connsiteX12" fmla="*/ 34290 w 1070612"/>
                      <a:gd name="connsiteY12" fmla="*/ 331470 h 1238248"/>
                      <a:gd name="connsiteX13" fmla="*/ 34290 w 1070612"/>
                      <a:gd name="connsiteY13" fmla="*/ 906779 h 1238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0612" h="1238248">
                        <a:moveTo>
                          <a:pt x="533401" y="1238248"/>
                        </a:moveTo>
                        <a:lnTo>
                          <a:pt x="0" y="929639"/>
                        </a:lnTo>
                        <a:lnTo>
                          <a:pt x="0" y="308610"/>
                        </a:lnTo>
                        <a:lnTo>
                          <a:pt x="533401" y="0"/>
                        </a:lnTo>
                        <a:lnTo>
                          <a:pt x="1070612" y="308610"/>
                        </a:lnTo>
                        <a:lnTo>
                          <a:pt x="1070612" y="925829"/>
                        </a:lnTo>
                        <a:lnTo>
                          <a:pt x="533401" y="1238248"/>
                        </a:lnTo>
                        <a:close/>
                        <a:moveTo>
                          <a:pt x="34290" y="906779"/>
                        </a:moveTo>
                        <a:lnTo>
                          <a:pt x="529591" y="1192528"/>
                        </a:lnTo>
                        <a:lnTo>
                          <a:pt x="1028702" y="906779"/>
                        </a:lnTo>
                        <a:lnTo>
                          <a:pt x="1028702" y="331470"/>
                        </a:lnTo>
                        <a:lnTo>
                          <a:pt x="529591" y="45720"/>
                        </a:lnTo>
                        <a:lnTo>
                          <a:pt x="34290" y="331470"/>
                        </a:lnTo>
                        <a:lnTo>
                          <a:pt x="34290" y="906779"/>
                        </a:lnTo>
                        <a:close/>
                      </a:path>
                    </a:pathLst>
                  </a:custGeom>
                  <a:grpFill/>
                  <a:ln w="38100" cap="flat">
                    <a:noFill/>
                    <a:prstDash val="solid"/>
                    <a:miter/>
                  </a:ln>
                </p:spPr>
                <p:txBody>
                  <a:bodyPr rtlCol="0" anchor="ctr"/>
                  <a:lstStyle/>
                  <a:p>
                    <a:endParaRPr lang="en-IN" dirty="0"/>
                  </a:p>
                </p:txBody>
              </p:sp>
              <p:sp>
                <p:nvSpPr>
                  <p:cNvPr id="370" name="Freeform: Shape 369">
                    <a:extLst>
                      <a:ext uri="{FF2B5EF4-FFF2-40B4-BE49-F238E27FC236}">
                        <a16:creationId xmlns:a16="http://schemas.microsoft.com/office/drawing/2014/main" id="{825F504A-2FC5-431F-B763-5C2A4E946834}"/>
                      </a:ext>
                    </a:extLst>
                  </p:cNvPr>
                  <p:cNvSpPr/>
                  <p:nvPr/>
                </p:nvSpPr>
                <p:spPr>
                  <a:xfrm>
                    <a:off x="8763005" y="-1645919"/>
                    <a:ext cx="487681" cy="487679"/>
                  </a:xfrm>
                  <a:custGeom>
                    <a:avLst/>
                    <a:gdLst>
                      <a:gd name="connsiteX0" fmla="*/ 243840 w 487681"/>
                      <a:gd name="connsiteY0" fmla="*/ 487679 h 487679"/>
                      <a:gd name="connsiteX1" fmla="*/ 0 w 487681"/>
                      <a:gd name="connsiteY1" fmla="*/ 243840 h 487679"/>
                      <a:gd name="connsiteX2" fmla="*/ 243840 w 487681"/>
                      <a:gd name="connsiteY2" fmla="*/ 0 h 487679"/>
                      <a:gd name="connsiteX3" fmla="*/ 487681 w 487681"/>
                      <a:gd name="connsiteY3" fmla="*/ 243840 h 487679"/>
                      <a:gd name="connsiteX4" fmla="*/ 243840 w 487681"/>
                      <a:gd name="connsiteY4" fmla="*/ 487679 h 487679"/>
                      <a:gd name="connsiteX5" fmla="*/ 243840 w 487681"/>
                      <a:gd name="connsiteY5" fmla="*/ 38100 h 487679"/>
                      <a:gd name="connsiteX6" fmla="*/ 38100 w 487681"/>
                      <a:gd name="connsiteY6" fmla="*/ 243840 h 487679"/>
                      <a:gd name="connsiteX7" fmla="*/ 243840 w 487681"/>
                      <a:gd name="connsiteY7" fmla="*/ 449579 h 487679"/>
                      <a:gd name="connsiteX8" fmla="*/ 449581 w 487681"/>
                      <a:gd name="connsiteY8" fmla="*/ 243840 h 487679"/>
                      <a:gd name="connsiteX9" fmla="*/ 243840 w 487681"/>
                      <a:gd name="connsiteY9" fmla="*/ 38100 h 48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681" h="487679">
                        <a:moveTo>
                          <a:pt x="243840" y="487679"/>
                        </a:moveTo>
                        <a:cubicBezTo>
                          <a:pt x="110490" y="487679"/>
                          <a:pt x="0" y="377189"/>
                          <a:pt x="0" y="243840"/>
                        </a:cubicBezTo>
                        <a:cubicBezTo>
                          <a:pt x="0" y="110490"/>
                          <a:pt x="110490" y="0"/>
                          <a:pt x="243840" y="0"/>
                        </a:cubicBezTo>
                        <a:cubicBezTo>
                          <a:pt x="377191" y="0"/>
                          <a:pt x="487681" y="110490"/>
                          <a:pt x="487681" y="243840"/>
                        </a:cubicBezTo>
                        <a:cubicBezTo>
                          <a:pt x="487681" y="377189"/>
                          <a:pt x="377191" y="487679"/>
                          <a:pt x="243840" y="487679"/>
                        </a:cubicBezTo>
                        <a:close/>
                        <a:moveTo>
                          <a:pt x="243840" y="38100"/>
                        </a:moveTo>
                        <a:cubicBezTo>
                          <a:pt x="129540" y="38100"/>
                          <a:pt x="38100" y="129540"/>
                          <a:pt x="38100" y="243840"/>
                        </a:cubicBezTo>
                        <a:cubicBezTo>
                          <a:pt x="38100" y="358139"/>
                          <a:pt x="129540" y="449579"/>
                          <a:pt x="243840" y="449579"/>
                        </a:cubicBezTo>
                        <a:cubicBezTo>
                          <a:pt x="358141" y="449579"/>
                          <a:pt x="449581" y="358139"/>
                          <a:pt x="449581" y="243840"/>
                        </a:cubicBezTo>
                        <a:cubicBezTo>
                          <a:pt x="449581" y="129540"/>
                          <a:pt x="358141" y="38100"/>
                          <a:pt x="243840" y="38100"/>
                        </a:cubicBezTo>
                        <a:close/>
                      </a:path>
                    </a:pathLst>
                  </a:custGeom>
                  <a:grpFill/>
                  <a:ln w="38100" cap="flat">
                    <a:noFill/>
                    <a:prstDash val="solid"/>
                    <a:miter/>
                  </a:ln>
                </p:spPr>
                <p:txBody>
                  <a:bodyPr rtlCol="0" anchor="ctr"/>
                  <a:lstStyle/>
                  <a:p>
                    <a:endParaRPr lang="en-IN" dirty="0"/>
                  </a:p>
                </p:txBody>
              </p:sp>
            </p:grpSp>
          </p:grpSp>
        </p:grpSp>
      </p:grpSp>
      <p:sp>
        <p:nvSpPr>
          <p:cNvPr id="299" name="Freeform: Shape 298">
            <a:extLst>
              <a:ext uri="{FF2B5EF4-FFF2-40B4-BE49-F238E27FC236}">
                <a16:creationId xmlns:a16="http://schemas.microsoft.com/office/drawing/2014/main" id="{B586F6BE-84A3-4294-81EA-885FD55145D2}"/>
              </a:ext>
            </a:extLst>
          </p:cNvPr>
          <p:cNvSpPr>
            <a:spLocks/>
          </p:cNvSpPr>
          <p:nvPr/>
        </p:nvSpPr>
        <p:spPr bwMode="auto">
          <a:xfrm>
            <a:off x="7824283" y="1928881"/>
            <a:ext cx="1264145" cy="1282553"/>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371" name="Group 370">
            <a:extLst>
              <a:ext uri="{FF2B5EF4-FFF2-40B4-BE49-F238E27FC236}">
                <a16:creationId xmlns:a16="http://schemas.microsoft.com/office/drawing/2014/main" id="{BF33398A-3173-4761-A8F1-B8DBB9710C88}"/>
              </a:ext>
            </a:extLst>
          </p:cNvPr>
          <p:cNvGrpSpPr/>
          <p:nvPr/>
        </p:nvGrpSpPr>
        <p:grpSpPr>
          <a:xfrm>
            <a:off x="7824283" y="3917539"/>
            <a:ext cx="1264145" cy="1282553"/>
            <a:chOff x="7824283" y="3917539"/>
            <a:chExt cx="1264145" cy="1282553"/>
          </a:xfrm>
        </p:grpSpPr>
        <p:sp>
          <p:nvSpPr>
            <p:cNvPr id="372" name="Freeform: Shape 371">
              <a:extLst>
                <a:ext uri="{FF2B5EF4-FFF2-40B4-BE49-F238E27FC236}">
                  <a16:creationId xmlns:a16="http://schemas.microsoft.com/office/drawing/2014/main" id="{C22FA328-475F-446B-90B3-2470B0CAE7BF}"/>
                </a:ext>
              </a:extLst>
            </p:cNvPr>
            <p:cNvSpPr>
              <a:spLocks/>
            </p:cNvSpPr>
            <p:nvPr/>
          </p:nvSpPr>
          <p:spPr bwMode="auto">
            <a:xfrm>
              <a:off x="7824283" y="3917539"/>
              <a:ext cx="1264145" cy="1282553"/>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373" name="Group 372">
              <a:extLst>
                <a:ext uri="{FF2B5EF4-FFF2-40B4-BE49-F238E27FC236}">
                  <a16:creationId xmlns:a16="http://schemas.microsoft.com/office/drawing/2014/main" id="{113E7017-BA81-41FE-869E-5010A6FA4A21}"/>
                </a:ext>
              </a:extLst>
            </p:cNvPr>
            <p:cNvGrpSpPr/>
            <p:nvPr/>
          </p:nvGrpSpPr>
          <p:grpSpPr>
            <a:xfrm>
              <a:off x="7910639" y="4013099"/>
              <a:ext cx="1091432" cy="1091432"/>
              <a:chOff x="7910639" y="4013099"/>
              <a:chExt cx="1091432" cy="1091432"/>
            </a:xfrm>
          </p:grpSpPr>
          <p:sp>
            <p:nvSpPr>
              <p:cNvPr id="374" name="Oval 373">
                <a:extLst>
                  <a:ext uri="{FF2B5EF4-FFF2-40B4-BE49-F238E27FC236}">
                    <a16:creationId xmlns:a16="http://schemas.microsoft.com/office/drawing/2014/main" id="{C1146BFA-C324-4646-9E61-AAA6EB352776}"/>
                  </a:ext>
                </a:extLst>
              </p:cNvPr>
              <p:cNvSpPr/>
              <p:nvPr/>
            </p:nvSpPr>
            <p:spPr>
              <a:xfrm>
                <a:off x="7910639" y="4013099"/>
                <a:ext cx="1091432" cy="1091432"/>
              </a:xfrm>
              <a:prstGeom prst="ellipse">
                <a:avLst/>
              </a:prstGeom>
              <a:solidFill>
                <a:schemeClr val="accent2">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75" name="Group 374">
                <a:extLst>
                  <a:ext uri="{FF2B5EF4-FFF2-40B4-BE49-F238E27FC236}">
                    <a16:creationId xmlns:a16="http://schemas.microsoft.com/office/drawing/2014/main" id="{26A62008-807B-4B71-BC59-096E040B381D}"/>
                  </a:ext>
                </a:extLst>
              </p:cNvPr>
              <p:cNvGrpSpPr/>
              <p:nvPr/>
            </p:nvGrpSpPr>
            <p:grpSpPr>
              <a:xfrm>
                <a:off x="8098190" y="4148349"/>
                <a:ext cx="716330" cy="820932"/>
                <a:chOff x="4736130" y="-2038349"/>
                <a:chExt cx="1070499" cy="1226818"/>
              </a:xfrm>
              <a:solidFill>
                <a:schemeClr val="bg2"/>
              </a:solidFill>
            </p:grpSpPr>
            <p:sp>
              <p:nvSpPr>
                <p:cNvPr id="376" name="Freeform: Shape 375">
                  <a:extLst>
                    <a:ext uri="{FF2B5EF4-FFF2-40B4-BE49-F238E27FC236}">
                      <a16:creationId xmlns:a16="http://schemas.microsoft.com/office/drawing/2014/main" id="{BBD3772C-0DB4-488E-AB7D-C81F5F6B6BDC}"/>
                    </a:ext>
                  </a:extLst>
                </p:cNvPr>
                <p:cNvSpPr/>
                <p:nvPr/>
              </p:nvSpPr>
              <p:spPr>
                <a:xfrm>
                  <a:off x="4964427" y="-2000249"/>
                  <a:ext cx="609601" cy="1188718"/>
                </a:xfrm>
                <a:custGeom>
                  <a:avLst/>
                  <a:gdLst>
                    <a:gd name="connsiteX0" fmla="*/ 304801 w 609601"/>
                    <a:gd name="connsiteY0" fmla="*/ 1188718 h 1188718"/>
                    <a:gd name="connsiteX1" fmla="*/ 0 w 609601"/>
                    <a:gd name="connsiteY1" fmla="*/ 594359 h 1188718"/>
                    <a:gd name="connsiteX2" fmla="*/ 304801 w 609601"/>
                    <a:gd name="connsiteY2" fmla="*/ 0 h 1188718"/>
                    <a:gd name="connsiteX3" fmla="*/ 609601 w 609601"/>
                    <a:gd name="connsiteY3" fmla="*/ 594359 h 1188718"/>
                    <a:gd name="connsiteX4" fmla="*/ 304801 w 609601"/>
                    <a:gd name="connsiteY4" fmla="*/ 1188718 h 1188718"/>
                    <a:gd name="connsiteX5" fmla="*/ 304801 w 609601"/>
                    <a:gd name="connsiteY5" fmla="*/ 41910 h 1188718"/>
                    <a:gd name="connsiteX6" fmla="*/ 38100 w 609601"/>
                    <a:gd name="connsiteY6" fmla="*/ 598169 h 1188718"/>
                    <a:gd name="connsiteX7" fmla="*/ 304801 w 609601"/>
                    <a:gd name="connsiteY7" fmla="*/ 1154428 h 1188718"/>
                    <a:gd name="connsiteX8" fmla="*/ 571501 w 609601"/>
                    <a:gd name="connsiteY8" fmla="*/ 598169 h 1188718"/>
                    <a:gd name="connsiteX9" fmla="*/ 304801 w 609601"/>
                    <a:gd name="connsiteY9" fmla="*/ 41910 h 118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1" h="1188718">
                      <a:moveTo>
                        <a:pt x="304801" y="1188718"/>
                      </a:moveTo>
                      <a:cubicBezTo>
                        <a:pt x="133350" y="1188718"/>
                        <a:pt x="0" y="929639"/>
                        <a:pt x="0" y="594359"/>
                      </a:cubicBezTo>
                      <a:cubicBezTo>
                        <a:pt x="0" y="259080"/>
                        <a:pt x="133350" y="0"/>
                        <a:pt x="304801" y="0"/>
                      </a:cubicBezTo>
                      <a:cubicBezTo>
                        <a:pt x="476251" y="0"/>
                        <a:pt x="609601" y="259080"/>
                        <a:pt x="609601" y="594359"/>
                      </a:cubicBezTo>
                      <a:cubicBezTo>
                        <a:pt x="609601" y="929639"/>
                        <a:pt x="476251" y="1188718"/>
                        <a:pt x="304801" y="1188718"/>
                      </a:cubicBezTo>
                      <a:close/>
                      <a:moveTo>
                        <a:pt x="304801" y="41910"/>
                      </a:moveTo>
                      <a:cubicBezTo>
                        <a:pt x="160020" y="41910"/>
                        <a:pt x="38100" y="297180"/>
                        <a:pt x="38100" y="598169"/>
                      </a:cubicBezTo>
                      <a:cubicBezTo>
                        <a:pt x="38100" y="899159"/>
                        <a:pt x="160020" y="1154428"/>
                        <a:pt x="304801" y="1154428"/>
                      </a:cubicBezTo>
                      <a:cubicBezTo>
                        <a:pt x="449581" y="1154428"/>
                        <a:pt x="571501" y="899159"/>
                        <a:pt x="571501" y="598169"/>
                      </a:cubicBezTo>
                      <a:cubicBezTo>
                        <a:pt x="571501" y="297180"/>
                        <a:pt x="449581" y="41910"/>
                        <a:pt x="304801" y="41910"/>
                      </a:cubicBezTo>
                      <a:close/>
                    </a:path>
                  </a:pathLst>
                </a:custGeom>
                <a:grpFill/>
                <a:ln w="38100" cap="flat">
                  <a:noFill/>
                  <a:prstDash val="solid"/>
                  <a:miter/>
                </a:ln>
              </p:spPr>
              <p:txBody>
                <a:bodyPr rtlCol="0" anchor="ctr"/>
                <a:lstStyle/>
                <a:p>
                  <a:endParaRPr lang="en-IN" dirty="0"/>
                </a:p>
              </p:txBody>
            </p:sp>
            <p:sp>
              <p:nvSpPr>
                <p:cNvPr id="377" name="Freeform: Shape 376">
                  <a:extLst>
                    <a:ext uri="{FF2B5EF4-FFF2-40B4-BE49-F238E27FC236}">
                      <a16:creationId xmlns:a16="http://schemas.microsoft.com/office/drawing/2014/main" id="{7D5ABEAB-7EF7-4099-AF41-D55C6C231B74}"/>
                    </a:ext>
                  </a:extLst>
                </p:cNvPr>
                <p:cNvSpPr/>
                <p:nvPr/>
              </p:nvSpPr>
              <p:spPr>
                <a:xfrm>
                  <a:off x="4736130" y="-1803088"/>
                  <a:ext cx="1070499" cy="797247"/>
                </a:xfrm>
                <a:custGeom>
                  <a:avLst/>
                  <a:gdLst>
                    <a:gd name="connsiteX0" fmla="*/ 251157 w 1070499"/>
                    <a:gd name="connsiteY0" fmla="*/ 797248 h 797247"/>
                    <a:gd name="connsiteX1" fmla="*/ 22557 w 1070499"/>
                    <a:gd name="connsiteY1" fmla="*/ 694378 h 797247"/>
                    <a:gd name="connsiteX2" fmla="*/ 384507 w 1070499"/>
                    <a:gd name="connsiteY2" fmla="*/ 134309 h 797247"/>
                    <a:gd name="connsiteX3" fmla="*/ 384507 w 1070499"/>
                    <a:gd name="connsiteY3" fmla="*/ 134309 h 797247"/>
                    <a:gd name="connsiteX4" fmla="*/ 784558 w 1070499"/>
                    <a:gd name="connsiteY4" fmla="*/ 959 h 797247"/>
                    <a:gd name="connsiteX5" fmla="*/ 1047449 w 1070499"/>
                    <a:gd name="connsiteY5" fmla="*/ 103829 h 797247"/>
                    <a:gd name="connsiteX6" fmla="*/ 1001729 w 1070499"/>
                    <a:gd name="connsiteY6" fmla="*/ 381959 h 797247"/>
                    <a:gd name="connsiteX7" fmla="*/ 685498 w 1070499"/>
                    <a:gd name="connsiteY7" fmla="*/ 663898 h 797247"/>
                    <a:gd name="connsiteX8" fmla="*/ 285447 w 1070499"/>
                    <a:gd name="connsiteY8" fmla="*/ 797248 h 797247"/>
                    <a:gd name="connsiteX9" fmla="*/ 251157 w 1070499"/>
                    <a:gd name="connsiteY9" fmla="*/ 797248 h 797247"/>
                    <a:gd name="connsiteX10" fmla="*/ 399747 w 1070499"/>
                    <a:gd name="connsiteY10" fmla="*/ 168599 h 797247"/>
                    <a:gd name="connsiteX11" fmla="*/ 53037 w 1070499"/>
                    <a:gd name="connsiteY11" fmla="*/ 675328 h 797247"/>
                    <a:gd name="connsiteX12" fmla="*/ 281637 w 1070499"/>
                    <a:gd name="connsiteY12" fmla="*/ 755338 h 797247"/>
                    <a:gd name="connsiteX13" fmla="*/ 666448 w 1070499"/>
                    <a:gd name="connsiteY13" fmla="*/ 625798 h 797247"/>
                    <a:gd name="connsiteX14" fmla="*/ 971249 w 1070499"/>
                    <a:gd name="connsiteY14" fmla="*/ 355289 h 797247"/>
                    <a:gd name="connsiteX15" fmla="*/ 1016969 w 1070499"/>
                    <a:gd name="connsiteY15" fmla="*/ 115259 h 797247"/>
                    <a:gd name="connsiteX16" fmla="*/ 788368 w 1070499"/>
                    <a:gd name="connsiteY16" fmla="*/ 35249 h 797247"/>
                    <a:gd name="connsiteX17" fmla="*/ 399747 w 1070499"/>
                    <a:gd name="connsiteY17" fmla="*/ 168599 h 797247"/>
                    <a:gd name="connsiteX18" fmla="*/ 399747 w 1070499"/>
                    <a:gd name="connsiteY18" fmla="*/ 168599 h 79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0499" h="797247">
                      <a:moveTo>
                        <a:pt x="251157" y="797248"/>
                      </a:moveTo>
                      <a:cubicBezTo>
                        <a:pt x="140667" y="797248"/>
                        <a:pt x="60657" y="762958"/>
                        <a:pt x="22557" y="694378"/>
                      </a:cubicBezTo>
                      <a:cubicBezTo>
                        <a:pt x="-61264" y="545788"/>
                        <a:pt x="94947" y="301949"/>
                        <a:pt x="384507" y="134309"/>
                      </a:cubicBezTo>
                      <a:lnTo>
                        <a:pt x="384507" y="134309"/>
                      </a:lnTo>
                      <a:cubicBezTo>
                        <a:pt x="521668" y="54299"/>
                        <a:pt x="662638" y="8579"/>
                        <a:pt x="784558" y="959"/>
                      </a:cubicBezTo>
                      <a:cubicBezTo>
                        <a:pt x="910288" y="-6661"/>
                        <a:pt x="1005539" y="31439"/>
                        <a:pt x="1047449" y="103829"/>
                      </a:cubicBezTo>
                      <a:cubicBezTo>
                        <a:pt x="1089359" y="176219"/>
                        <a:pt x="1074119" y="275279"/>
                        <a:pt x="1001729" y="381959"/>
                      </a:cubicBezTo>
                      <a:cubicBezTo>
                        <a:pt x="933149" y="484828"/>
                        <a:pt x="822658" y="583888"/>
                        <a:pt x="685498" y="663898"/>
                      </a:cubicBezTo>
                      <a:cubicBezTo>
                        <a:pt x="548338" y="743908"/>
                        <a:pt x="407367" y="789628"/>
                        <a:pt x="285447" y="797248"/>
                      </a:cubicBezTo>
                      <a:cubicBezTo>
                        <a:pt x="274017" y="797248"/>
                        <a:pt x="262587" y="797248"/>
                        <a:pt x="251157" y="797248"/>
                      </a:cubicBezTo>
                      <a:close/>
                      <a:moveTo>
                        <a:pt x="399747" y="168599"/>
                      </a:moveTo>
                      <a:cubicBezTo>
                        <a:pt x="140667" y="320999"/>
                        <a:pt x="-19354" y="553408"/>
                        <a:pt x="53037" y="675328"/>
                      </a:cubicBezTo>
                      <a:cubicBezTo>
                        <a:pt x="87327" y="736288"/>
                        <a:pt x="167337" y="762958"/>
                        <a:pt x="281637" y="755338"/>
                      </a:cubicBezTo>
                      <a:cubicBezTo>
                        <a:pt x="399747" y="747718"/>
                        <a:pt x="536908" y="701998"/>
                        <a:pt x="666448" y="625798"/>
                      </a:cubicBezTo>
                      <a:cubicBezTo>
                        <a:pt x="795988" y="549598"/>
                        <a:pt x="906478" y="454349"/>
                        <a:pt x="971249" y="355289"/>
                      </a:cubicBezTo>
                      <a:cubicBezTo>
                        <a:pt x="1032209" y="260039"/>
                        <a:pt x="1051259" y="176219"/>
                        <a:pt x="1016969" y="115259"/>
                      </a:cubicBezTo>
                      <a:cubicBezTo>
                        <a:pt x="982679" y="54299"/>
                        <a:pt x="902668" y="27629"/>
                        <a:pt x="788368" y="35249"/>
                      </a:cubicBezTo>
                      <a:cubicBezTo>
                        <a:pt x="666448" y="46679"/>
                        <a:pt x="529288" y="92399"/>
                        <a:pt x="399747" y="168599"/>
                      </a:cubicBezTo>
                      <a:lnTo>
                        <a:pt x="399747" y="168599"/>
                      </a:lnTo>
                      <a:close/>
                    </a:path>
                  </a:pathLst>
                </a:custGeom>
                <a:grpFill/>
                <a:ln w="38100" cap="flat">
                  <a:noFill/>
                  <a:prstDash val="solid"/>
                  <a:miter/>
                </a:ln>
              </p:spPr>
              <p:txBody>
                <a:bodyPr rtlCol="0" anchor="ctr"/>
                <a:lstStyle/>
                <a:p>
                  <a:endParaRPr lang="en-IN" dirty="0"/>
                </a:p>
              </p:txBody>
            </p:sp>
            <p:sp>
              <p:nvSpPr>
                <p:cNvPr id="378" name="Freeform: Shape 377">
                  <a:extLst>
                    <a:ext uri="{FF2B5EF4-FFF2-40B4-BE49-F238E27FC236}">
                      <a16:creationId xmlns:a16="http://schemas.microsoft.com/office/drawing/2014/main" id="{B9FB8FB7-2FC5-4ABC-8D7F-56EF373FAFB8}"/>
                    </a:ext>
                  </a:extLst>
                </p:cNvPr>
                <p:cNvSpPr/>
                <p:nvPr/>
              </p:nvSpPr>
              <p:spPr>
                <a:xfrm>
                  <a:off x="4736130" y="-1803088"/>
                  <a:ext cx="1070499" cy="797247"/>
                </a:xfrm>
                <a:custGeom>
                  <a:avLst/>
                  <a:gdLst>
                    <a:gd name="connsiteX0" fmla="*/ 818848 w 1070499"/>
                    <a:gd name="connsiteY0" fmla="*/ 797248 h 797247"/>
                    <a:gd name="connsiteX1" fmla="*/ 784558 w 1070499"/>
                    <a:gd name="connsiteY1" fmla="*/ 797248 h 797247"/>
                    <a:gd name="connsiteX2" fmla="*/ 384507 w 1070499"/>
                    <a:gd name="connsiteY2" fmla="*/ 663898 h 797247"/>
                    <a:gd name="connsiteX3" fmla="*/ 22557 w 1070499"/>
                    <a:gd name="connsiteY3" fmla="*/ 103829 h 797247"/>
                    <a:gd name="connsiteX4" fmla="*/ 285447 w 1070499"/>
                    <a:gd name="connsiteY4" fmla="*/ 959 h 797247"/>
                    <a:gd name="connsiteX5" fmla="*/ 685498 w 1070499"/>
                    <a:gd name="connsiteY5" fmla="*/ 134309 h 797247"/>
                    <a:gd name="connsiteX6" fmla="*/ 1001729 w 1070499"/>
                    <a:gd name="connsiteY6" fmla="*/ 416249 h 797247"/>
                    <a:gd name="connsiteX7" fmla="*/ 1047449 w 1070499"/>
                    <a:gd name="connsiteY7" fmla="*/ 694378 h 797247"/>
                    <a:gd name="connsiteX8" fmla="*/ 818848 w 1070499"/>
                    <a:gd name="connsiteY8" fmla="*/ 797248 h 797247"/>
                    <a:gd name="connsiteX9" fmla="*/ 251157 w 1070499"/>
                    <a:gd name="connsiteY9" fmla="*/ 39059 h 797247"/>
                    <a:gd name="connsiteX10" fmla="*/ 53037 w 1070499"/>
                    <a:gd name="connsiteY10" fmla="*/ 122879 h 797247"/>
                    <a:gd name="connsiteX11" fmla="*/ 399747 w 1070499"/>
                    <a:gd name="connsiteY11" fmla="*/ 629608 h 797247"/>
                    <a:gd name="connsiteX12" fmla="*/ 784558 w 1070499"/>
                    <a:gd name="connsiteY12" fmla="*/ 759148 h 797247"/>
                    <a:gd name="connsiteX13" fmla="*/ 1013159 w 1070499"/>
                    <a:gd name="connsiteY13" fmla="*/ 679138 h 797247"/>
                    <a:gd name="connsiteX14" fmla="*/ 967438 w 1070499"/>
                    <a:gd name="connsiteY14" fmla="*/ 439109 h 797247"/>
                    <a:gd name="connsiteX15" fmla="*/ 662638 w 1070499"/>
                    <a:gd name="connsiteY15" fmla="*/ 168599 h 797247"/>
                    <a:gd name="connsiteX16" fmla="*/ 277827 w 1070499"/>
                    <a:gd name="connsiteY16" fmla="*/ 39059 h 797247"/>
                    <a:gd name="connsiteX17" fmla="*/ 251157 w 1070499"/>
                    <a:gd name="connsiteY17" fmla="*/ 39059 h 79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0499" h="797247">
                      <a:moveTo>
                        <a:pt x="818848" y="797248"/>
                      </a:moveTo>
                      <a:cubicBezTo>
                        <a:pt x="807418" y="797248"/>
                        <a:pt x="795988" y="797248"/>
                        <a:pt x="784558" y="797248"/>
                      </a:cubicBezTo>
                      <a:cubicBezTo>
                        <a:pt x="662638" y="789628"/>
                        <a:pt x="517858" y="743908"/>
                        <a:pt x="384507" y="663898"/>
                      </a:cubicBezTo>
                      <a:cubicBezTo>
                        <a:pt x="94947" y="496258"/>
                        <a:pt x="-61264" y="252419"/>
                        <a:pt x="22557" y="103829"/>
                      </a:cubicBezTo>
                      <a:cubicBezTo>
                        <a:pt x="60657" y="31439"/>
                        <a:pt x="155907" y="-6661"/>
                        <a:pt x="285447" y="959"/>
                      </a:cubicBezTo>
                      <a:cubicBezTo>
                        <a:pt x="407367" y="8579"/>
                        <a:pt x="552148" y="54299"/>
                        <a:pt x="685498" y="134309"/>
                      </a:cubicBezTo>
                      <a:cubicBezTo>
                        <a:pt x="822658" y="214319"/>
                        <a:pt x="933149" y="313379"/>
                        <a:pt x="1001729" y="416249"/>
                      </a:cubicBezTo>
                      <a:cubicBezTo>
                        <a:pt x="1074119" y="522928"/>
                        <a:pt x="1089359" y="621988"/>
                        <a:pt x="1047449" y="694378"/>
                      </a:cubicBezTo>
                      <a:cubicBezTo>
                        <a:pt x="1009349" y="762958"/>
                        <a:pt x="929338" y="797248"/>
                        <a:pt x="818848" y="797248"/>
                      </a:cubicBezTo>
                      <a:close/>
                      <a:moveTo>
                        <a:pt x="251157" y="39059"/>
                      </a:moveTo>
                      <a:cubicBezTo>
                        <a:pt x="155907" y="39059"/>
                        <a:pt x="87327" y="69539"/>
                        <a:pt x="53037" y="122879"/>
                      </a:cubicBezTo>
                      <a:cubicBezTo>
                        <a:pt x="-19354" y="248609"/>
                        <a:pt x="140667" y="481018"/>
                        <a:pt x="399747" y="629608"/>
                      </a:cubicBezTo>
                      <a:cubicBezTo>
                        <a:pt x="529288" y="705808"/>
                        <a:pt x="666448" y="751528"/>
                        <a:pt x="784558" y="759148"/>
                      </a:cubicBezTo>
                      <a:cubicBezTo>
                        <a:pt x="898858" y="766768"/>
                        <a:pt x="978869" y="736288"/>
                        <a:pt x="1013159" y="679138"/>
                      </a:cubicBezTo>
                      <a:cubicBezTo>
                        <a:pt x="1047449" y="618178"/>
                        <a:pt x="1032209" y="534358"/>
                        <a:pt x="967438" y="439109"/>
                      </a:cubicBezTo>
                      <a:cubicBezTo>
                        <a:pt x="902668" y="340049"/>
                        <a:pt x="795988" y="244799"/>
                        <a:pt x="662638" y="168599"/>
                      </a:cubicBezTo>
                      <a:cubicBezTo>
                        <a:pt x="529288" y="92399"/>
                        <a:pt x="395937" y="46679"/>
                        <a:pt x="277827" y="39059"/>
                      </a:cubicBezTo>
                      <a:cubicBezTo>
                        <a:pt x="270207" y="39059"/>
                        <a:pt x="258777" y="39059"/>
                        <a:pt x="251157" y="39059"/>
                      </a:cubicBezTo>
                      <a:close/>
                    </a:path>
                  </a:pathLst>
                </a:custGeom>
                <a:grpFill/>
                <a:ln w="38100" cap="flat">
                  <a:noFill/>
                  <a:prstDash val="solid"/>
                  <a:miter/>
                </a:ln>
              </p:spPr>
              <p:txBody>
                <a:bodyPr rtlCol="0" anchor="ctr"/>
                <a:lstStyle/>
                <a:p>
                  <a:endParaRPr lang="en-IN" dirty="0"/>
                </a:p>
              </p:txBody>
            </p:sp>
            <p:sp>
              <p:nvSpPr>
                <p:cNvPr id="379" name="Freeform: Shape 378">
                  <a:extLst>
                    <a:ext uri="{FF2B5EF4-FFF2-40B4-BE49-F238E27FC236}">
                      <a16:creationId xmlns:a16="http://schemas.microsoft.com/office/drawing/2014/main" id="{5859CE56-A543-4088-B051-530CD4698F4C}"/>
                    </a:ext>
                  </a:extLst>
                </p:cNvPr>
                <p:cNvSpPr/>
                <p:nvPr/>
              </p:nvSpPr>
              <p:spPr>
                <a:xfrm>
                  <a:off x="4777737" y="-1463039"/>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7" y="0"/>
                        <a:pt x="121920" y="27293"/>
                        <a:pt x="121920" y="60960"/>
                      </a:cubicBezTo>
                      <a:close/>
                    </a:path>
                  </a:pathLst>
                </a:custGeom>
                <a:grpFill/>
                <a:ln w="38100" cap="flat">
                  <a:noFill/>
                  <a:prstDash val="solid"/>
                  <a:miter/>
                </a:ln>
              </p:spPr>
              <p:txBody>
                <a:bodyPr rtlCol="0" anchor="ctr"/>
                <a:lstStyle/>
                <a:p>
                  <a:endParaRPr lang="en-IN" dirty="0"/>
                </a:p>
              </p:txBody>
            </p:sp>
            <p:sp>
              <p:nvSpPr>
                <p:cNvPr id="380" name="Freeform: Shape 379">
                  <a:extLst>
                    <a:ext uri="{FF2B5EF4-FFF2-40B4-BE49-F238E27FC236}">
                      <a16:creationId xmlns:a16="http://schemas.microsoft.com/office/drawing/2014/main" id="{A806CD1C-548E-4F8D-BEF9-CF0D44E00A87}"/>
                    </a:ext>
                  </a:extLst>
                </p:cNvPr>
                <p:cNvSpPr/>
                <p:nvPr/>
              </p:nvSpPr>
              <p:spPr>
                <a:xfrm>
                  <a:off x="5208268" y="-1146810"/>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8" y="0"/>
                        <a:pt x="121920" y="27293"/>
                        <a:pt x="121920" y="60960"/>
                      </a:cubicBezTo>
                      <a:close/>
                    </a:path>
                  </a:pathLst>
                </a:custGeom>
                <a:grpFill/>
                <a:ln w="38100" cap="flat">
                  <a:noFill/>
                  <a:prstDash val="solid"/>
                  <a:miter/>
                </a:ln>
              </p:spPr>
              <p:txBody>
                <a:bodyPr rtlCol="0" anchor="ctr"/>
                <a:lstStyle/>
                <a:p>
                  <a:endParaRPr lang="en-IN" dirty="0"/>
                </a:p>
              </p:txBody>
            </p:sp>
            <p:sp>
              <p:nvSpPr>
                <p:cNvPr id="381" name="Freeform: Shape 380">
                  <a:extLst>
                    <a:ext uri="{FF2B5EF4-FFF2-40B4-BE49-F238E27FC236}">
                      <a16:creationId xmlns:a16="http://schemas.microsoft.com/office/drawing/2014/main" id="{9C0D986C-E162-4CF7-B427-B24EF9F72727}"/>
                    </a:ext>
                  </a:extLst>
                </p:cNvPr>
                <p:cNvSpPr/>
                <p:nvPr/>
              </p:nvSpPr>
              <p:spPr>
                <a:xfrm>
                  <a:off x="5208268" y="-2038349"/>
                  <a:ext cx="121920" cy="121919"/>
                </a:xfrm>
                <a:custGeom>
                  <a:avLst/>
                  <a:gdLst>
                    <a:gd name="connsiteX0" fmla="*/ 121920 w 121920"/>
                    <a:gd name="connsiteY0" fmla="*/ 60960 h 121919"/>
                    <a:gd name="connsiteX1" fmla="*/ 60960 w 121920"/>
                    <a:gd name="connsiteY1" fmla="*/ 121920 h 121919"/>
                    <a:gd name="connsiteX2" fmla="*/ 0 w 121920"/>
                    <a:gd name="connsiteY2" fmla="*/ 60960 h 121919"/>
                    <a:gd name="connsiteX3" fmla="*/ 60960 w 121920"/>
                    <a:gd name="connsiteY3" fmla="*/ 0 h 121919"/>
                    <a:gd name="connsiteX4" fmla="*/ 121920 w 121920"/>
                    <a:gd name="connsiteY4" fmla="*/ 60960 h 121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 h="121919">
                      <a:moveTo>
                        <a:pt x="121920" y="60960"/>
                      </a:moveTo>
                      <a:cubicBezTo>
                        <a:pt x="121920" y="94627"/>
                        <a:pt x="94627" y="121920"/>
                        <a:pt x="60960" y="121920"/>
                      </a:cubicBezTo>
                      <a:cubicBezTo>
                        <a:pt x="27293" y="121920"/>
                        <a:pt x="0" y="94627"/>
                        <a:pt x="0" y="60960"/>
                      </a:cubicBezTo>
                      <a:cubicBezTo>
                        <a:pt x="0" y="27293"/>
                        <a:pt x="27293" y="0"/>
                        <a:pt x="60960" y="0"/>
                      </a:cubicBezTo>
                      <a:cubicBezTo>
                        <a:pt x="94628" y="0"/>
                        <a:pt x="121920" y="27293"/>
                        <a:pt x="121920" y="60960"/>
                      </a:cubicBezTo>
                      <a:close/>
                    </a:path>
                  </a:pathLst>
                </a:custGeom>
                <a:grpFill/>
                <a:ln w="38100" cap="flat">
                  <a:noFill/>
                  <a:prstDash val="solid"/>
                  <a:miter/>
                </a:ln>
              </p:spPr>
              <p:txBody>
                <a:bodyPr rtlCol="0" anchor="ctr"/>
                <a:lstStyle/>
                <a:p>
                  <a:endParaRPr lang="en-IN" dirty="0"/>
                </a:p>
              </p:txBody>
            </p:sp>
          </p:grpSp>
        </p:grpSp>
      </p:grpSp>
      <p:sp>
        <p:nvSpPr>
          <p:cNvPr id="351" name="Oval 350">
            <a:extLst>
              <a:ext uri="{FF2B5EF4-FFF2-40B4-BE49-F238E27FC236}">
                <a16:creationId xmlns:a16="http://schemas.microsoft.com/office/drawing/2014/main" id="{F04303E0-FA87-4E7F-8685-AA0BB5768457}"/>
              </a:ext>
            </a:extLst>
          </p:cNvPr>
          <p:cNvSpPr/>
          <p:nvPr/>
        </p:nvSpPr>
        <p:spPr>
          <a:xfrm>
            <a:off x="7939719" y="2053521"/>
            <a:ext cx="1033272" cy="1033272"/>
          </a:xfrm>
          <a:prstGeom prst="ellipse">
            <a:avLst/>
          </a:prstGeom>
          <a:solidFill>
            <a:schemeClr val="tx2">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97" name="Group 296">
            <a:extLst>
              <a:ext uri="{FF2B5EF4-FFF2-40B4-BE49-F238E27FC236}">
                <a16:creationId xmlns:a16="http://schemas.microsoft.com/office/drawing/2014/main" id="{D214CE24-A7C9-4488-AE31-6A769472CA47}"/>
              </a:ext>
            </a:extLst>
          </p:cNvPr>
          <p:cNvGrpSpPr/>
          <p:nvPr/>
        </p:nvGrpSpPr>
        <p:grpSpPr>
          <a:xfrm>
            <a:off x="8098190" y="2243725"/>
            <a:ext cx="708323" cy="693721"/>
            <a:chOff x="6330560" y="3409386"/>
            <a:chExt cx="899461" cy="880919"/>
          </a:xfrm>
        </p:grpSpPr>
        <p:grpSp>
          <p:nvGrpSpPr>
            <p:cNvPr id="298" name="Group 297">
              <a:extLst>
                <a:ext uri="{FF2B5EF4-FFF2-40B4-BE49-F238E27FC236}">
                  <a16:creationId xmlns:a16="http://schemas.microsoft.com/office/drawing/2014/main" id="{65E62712-52F0-4673-A6DB-9ED3CCD706F9}"/>
                </a:ext>
              </a:extLst>
            </p:cNvPr>
            <p:cNvGrpSpPr/>
            <p:nvPr/>
          </p:nvGrpSpPr>
          <p:grpSpPr>
            <a:xfrm>
              <a:off x="6371627" y="3409386"/>
              <a:ext cx="858394" cy="846581"/>
              <a:chOff x="6736081" y="-2000249"/>
              <a:chExt cx="1188722" cy="1188718"/>
            </a:xfrm>
            <a:solidFill>
              <a:schemeClr val="bg2"/>
            </a:solidFill>
          </p:grpSpPr>
          <p:sp>
            <p:nvSpPr>
              <p:cNvPr id="306" name="Freeform: Shape 305">
                <a:extLst>
                  <a:ext uri="{FF2B5EF4-FFF2-40B4-BE49-F238E27FC236}">
                    <a16:creationId xmlns:a16="http://schemas.microsoft.com/office/drawing/2014/main" id="{D657E527-044F-4466-89B1-5053D7091552}"/>
                  </a:ext>
                </a:extLst>
              </p:cNvPr>
              <p:cNvSpPr/>
              <p:nvPr/>
            </p:nvSpPr>
            <p:spPr>
              <a:xfrm>
                <a:off x="7139942" y="-1592579"/>
                <a:ext cx="381000" cy="380999"/>
              </a:xfrm>
              <a:custGeom>
                <a:avLst/>
                <a:gdLst>
                  <a:gd name="connsiteX0" fmla="*/ 190500 w 381000"/>
                  <a:gd name="connsiteY0" fmla="*/ 380999 h 380999"/>
                  <a:gd name="connsiteX1" fmla="*/ 0 w 381000"/>
                  <a:gd name="connsiteY1" fmla="*/ 190500 h 380999"/>
                  <a:gd name="connsiteX2" fmla="*/ 190500 w 381000"/>
                  <a:gd name="connsiteY2" fmla="*/ 0 h 380999"/>
                  <a:gd name="connsiteX3" fmla="*/ 381001 w 381000"/>
                  <a:gd name="connsiteY3" fmla="*/ 190500 h 380999"/>
                  <a:gd name="connsiteX4" fmla="*/ 190500 w 381000"/>
                  <a:gd name="connsiteY4" fmla="*/ 380999 h 380999"/>
                  <a:gd name="connsiteX5" fmla="*/ 190500 w 381000"/>
                  <a:gd name="connsiteY5" fmla="*/ 38100 h 380999"/>
                  <a:gd name="connsiteX6" fmla="*/ 38100 w 381000"/>
                  <a:gd name="connsiteY6" fmla="*/ 190500 h 380999"/>
                  <a:gd name="connsiteX7" fmla="*/ 190500 w 381000"/>
                  <a:gd name="connsiteY7" fmla="*/ 342900 h 380999"/>
                  <a:gd name="connsiteX8" fmla="*/ 342901 w 381000"/>
                  <a:gd name="connsiteY8" fmla="*/ 190500 h 380999"/>
                  <a:gd name="connsiteX9" fmla="*/ 190500 w 381000"/>
                  <a:gd name="connsiteY9" fmla="*/ 38100 h 38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380999">
                    <a:moveTo>
                      <a:pt x="190500" y="380999"/>
                    </a:moveTo>
                    <a:cubicBezTo>
                      <a:pt x="83820" y="380999"/>
                      <a:pt x="0" y="297180"/>
                      <a:pt x="0" y="190500"/>
                    </a:cubicBezTo>
                    <a:cubicBezTo>
                      <a:pt x="0" y="83820"/>
                      <a:pt x="83820" y="0"/>
                      <a:pt x="190500" y="0"/>
                    </a:cubicBezTo>
                    <a:cubicBezTo>
                      <a:pt x="297180" y="0"/>
                      <a:pt x="381001" y="83820"/>
                      <a:pt x="381001" y="190500"/>
                    </a:cubicBezTo>
                    <a:cubicBezTo>
                      <a:pt x="377191" y="293370"/>
                      <a:pt x="293370" y="380999"/>
                      <a:pt x="190500" y="380999"/>
                    </a:cubicBezTo>
                    <a:close/>
                    <a:moveTo>
                      <a:pt x="190500" y="38100"/>
                    </a:moveTo>
                    <a:cubicBezTo>
                      <a:pt x="106680" y="38100"/>
                      <a:pt x="38100" y="106680"/>
                      <a:pt x="38100" y="190500"/>
                    </a:cubicBezTo>
                    <a:cubicBezTo>
                      <a:pt x="38100" y="274320"/>
                      <a:pt x="106680" y="342900"/>
                      <a:pt x="190500" y="342900"/>
                    </a:cubicBezTo>
                    <a:cubicBezTo>
                      <a:pt x="274320" y="342900"/>
                      <a:pt x="342901" y="274320"/>
                      <a:pt x="342901" y="190500"/>
                    </a:cubicBezTo>
                    <a:cubicBezTo>
                      <a:pt x="339091" y="106680"/>
                      <a:pt x="274320" y="38100"/>
                      <a:pt x="190500" y="38100"/>
                    </a:cubicBezTo>
                    <a:close/>
                  </a:path>
                </a:pathLst>
              </a:custGeom>
              <a:grpFill/>
              <a:ln w="38100" cap="flat">
                <a:noFill/>
                <a:prstDash val="solid"/>
                <a:miter/>
              </a:ln>
            </p:spPr>
            <p:txBody>
              <a:bodyPr rtlCol="0" anchor="ctr"/>
              <a:lstStyle/>
              <a:p>
                <a:endParaRPr lang="en-IN" dirty="0"/>
              </a:p>
            </p:txBody>
          </p:sp>
          <p:sp>
            <p:nvSpPr>
              <p:cNvPr id="350" name="Freeform: Shape 349">
                <a:extLst>
                  <a:ext uri="{FF2B5EF4-FFF2-40B4-BE49-F238E27FC236}">
                    <a16:creationId xmlns:a16="http://schemas.microsoft.com/office/drawing/2014/main" id="{56439ACA-42A7-4A28-AFBB-A5CFE04C6F01}"/>
                  </a:ext>
                </a:extLst>
              </p:cNvPr>
              <p:cNvSpPr/>
              <p:nvPr/>
            </p:nvSpPr>
            <p:spPr>
              <a:xfrm>
                <a:off x="6926581" y="-1809749"/>
                <a:ext cx="807721" cy="811528"/>
              </a:xfrm>
              <a:custGeom>
                <a:avLst/>
                <a:gdLst>
                  <a:gd name="connsiteX0" fmla="*/ 403861 w 807721"/>
                  <a:gd name="connsiteY0" fmla="*/ 811529 h 811528"/>
                  <a:gd name="connsiteX1" fmla="*/ 0 w 807721"/>
                  <a:gd name="connsiteY1" fmla="*/ 407669 h 811528"/>
                  <a:gd name="connsiteX2" fmla="*/ 403861 w 807721"/>
                  <a:gd name="connsiteY2" fmla="*/ 0 h 811528"/>
                  <a:gd name="connsiteX3" fmla="*/ 807722 w 807721"/>
                  <a:gd name="connsiteY3" fmla="*/ 403859 h 811528"/>
                  <a:gd name="connsiteX4" fmla="*/ 403861 w 807721"/>
                  <a:gd name="connsiteY4" fmla="*/ 811529 h 811528"/>
                  <a:gd name="connsiteX5" fmla="*/ 403861 w 807721"/>
                  <a:gd name="connsiteY5" fmla="*/ 38100 h 811528"/>
                  <a:gd name="connsiteX6" fmla="*/ 38100 w 807721"/>
                  <a:gd name="connsiteY6" fmla="*/ 403859 h 811528"/>
                  <a:gd name="connsiteX7" fmla="*/ 403861 w 807721"/>
                  <a:gd name="connsiteY7" fmla="*/ 769619 h 811528"/>
                  <a:gd name="connsiteX8" fmla="*/ 769621 w 807721"/>
                  <a:gd name="connsiteY8" fmla="*/ 403859 h 811528"/>
                  <a:gd name="connsiteX9" fmla="*/ 403861 w 807721"/>
                  <a:gd name="connsiteY9" fmla="*/ 38100 h 81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721" h="811528">
                    <a:moveTo>
                      <a:pt x="403861" y="811529"/>
                    </a:moveTo>
                    <a:cubicBezTo>
                      <a:pt x="179070" y="811529"/>
                      <a:pt x="0" y="628649"/>
                      <a:pt x="0" y="407669"/>
                    </a:cubicBezTo>
                    <a:cubicBezTo>
                      <a:pt x="0" y="186690"/>
                      <a:pt x="179070" y="0"/>
                      <a:pt x="403861" y="0"/>
                    </a:cubicBezTo>
                    <a:cubicBezTo>
                      <a:pt x="628651" y="0"/>
                      <a:pt x="807722" y="182880"/>
                      <a:pt x="807722" y="403859"/>
                    </a:cubicBezTo>
                    <a:cubicBezTo>
                      <a:pt x="807722" y="624839"/>
                      <a:pt x="624841" y="811529"/>
                      <a:pt x="403861" y="811529"/>
                    </a:cubicBezTo>
                    <a:close/>
                    <a:moveTo>
                      <a:pt x="403861" y="38100"/>
                    </a:moveTo>
                    <a:cubicBezTo>
                      <a:pt x="201930" y="38100"/>
                      <a:pt x="38100" y="201930"/>
                      <a:pt x="38100" y="403859"/>
                    </a:cubicBezTo>
                    <a:cubicBezTo>
                      <a:pt x="38100" y="605789"/>
                      <a:pt x="201930" y="769619"/>
                      <a:pt x="403861" y="769619"/>
                    </a:cubicBezTo>
                    <a:cubicBezTo>
                      <a:pt x="605791" y="769619"/>
                      <a:pt x="769621" y="605789"/>
                      <a:pt x="769621" y="403859"/>
                    </a:cubicBezTo>
                    <a:cubicBezTo>
                      <a:pt x="769621" y="205740"/>
                      <a:pt x="605791" y="38100"/>
                      <a:pt x="403861" y="38100"/>
                    </a:cubicBezTo>
                    <a:close/>
                  </a:path>
                </a:pathLst>
              </a:custGeom>
              <a:grpFill/>
              <a:ln w="38100" cap="flat">
                <a:noFill/>
                <a:prstDash val="solid"/>
                <a:miter/>
              </a:ln>
            </p:spPr>
            <p:txBody>
              <a:bodyPr rtlCol="0" anchor="ctr"/>
              <a:lstStyle/>
              <a:p>
                <a:endParaRPr lang="en-IN" dirty="0"/>
              </a:p>
            </p:txBody>
          </p:sp>
          <p:sp>
            <p:nvSpPr>
              <p:cNvPr id="352" name="Freeform: Shape 351">
                <a:extLst>
                  <a:ext uri="{FF2B5EF4-FFF2-40B4-BE49-F238E27FC236}">
                    <a16:creationId xmlns:a16="http://schemas.microsoft.com/office/drawing/2014/main" id="{600BCF6E-47D2-429E-B17B-EF03736B94B2}"/>
                  </a:ext>
                </a:extLst>
              </p:cNvPr>
              <p:cNvSpPr/>
              <p:nvPr/>
            </p:nvSpPr>
            <p:spPr>
              <a:xfrm>
                <a:off x="6736081" y="-2000249"/>
                <a:ext cx="1188722" cy="1188718"/>
              </a:xfrm>
              <a:custGeom>
                <a:avLst/>
                <a:gdLst>
                  <a:gd name="connsiteX0" fmla="*/ 594361 w 1188722"/>
                  <a:gd name="connsiteY0" fmla="*/ 1188718 h 1188718"/>
                  <a:gd name="connsiteX1" fmla="*/ 0 w 1188722"/>
                  <a:gd name="connsiteY1" fmla="*/ 594359 h 1188718"/>
                  <a:gd name="connsiteX2" fmla="*/ 594361 w 1188722"/>
                  <a:gd name="connsiteY2" fmla="*/ 0 h 1188718"/>
                  <a:gd name="connsiteX3" fmla="*/ 1188722 w 1188722"/>
                  <a:gd name="connsiteY3" fmla="*/ 594359 h 1188718"/>
                  <a:gd name="connsiteX4" fmla="*/ 594361 w 1188722"/>
                  <a:gd name="connsiteY4" fmla="*/ 1188718 h 1188718"/>
                  <a:gd name="connsiteX5" fmla="*/ 594361 w 1188722"/>
                  <a:gd name="connsiteY5" fmla="*/ 41910 h 1188718"/>
                  <a:gd name="connsiteX6" fmla="*/ 38100 w 1188722"/>
                  <a:gd name="connsiteY6" fmla="*/ 598169 h 1188718"/>
                  <a:gd name="connsiteX7" fmla="*/ 594361 w 1188722"/>
                  <a:gd name="connsiteY7" fmla="*/ 1154428 h 1188718"/>
                  <a:gd name="connsiteX8" fmla="*/ 1150622 w 1188722"/>
                  <a:gd name="connsiteY8" fmla="*/ 598169 h 1188718"/>
                  <a:gd name="connsiteX9" fmla="*/ 594361 w 1188722"/>
                  <a:gd name="connsiteY9" fmla="*/ 41910 h 118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8722" h="1188718">
                    <a:moveTo>
                      <a:pt x="594361" y="1188718"/>
                    </a:moveTo>
                    <a:cubicBezTo>
                      <a:pt x="266701" y="1188718"/>
                      <a:pt x="0" y="922019"/>
                      <a:pt x="0" y="594359"/>
                    </a:cubicBezTo>
                    <a:cubicBezTo>
                      <a:pt x="0" y="266700"/>
                      <a:pt x="266701" y="0"/>
                      <a:pt x="594361" y="0"/>
                    </a:cubicBezTo>
                    <a:cubicBezTo>
                      <a:pt x="922022" y="0"/>
                      <a:pt x="1188722" y="266700"/>
                      <a:pt x="1188722" y="594359"/>
                    </a:cubicBezTo>
                    <a:cubicBezTo>
                      <a:pt x="1188722" y="922019"/>
                      <a:pt x="918212" y="1188718"/>
                      <a:pt x="594361" y="1188718"/>
                    </a:cubicBezTo>
                    <a:close/>
                    <a:moveTo>
                      <a:pt x="594361" y="41910"/>
                    </a:moveTo>
                    <a:cubicBezTo>
                      <a:pt x="289561" y="41910"/>
                      <a:pt x="38100" y="289560"/>
                      <a:pt x="38100" y="598169"/>
                    </a:cubicBezTo>
                    <a:cubicBezTo>
                      <a:pt x="38100" y="906779"/>
                      <a:pt x="285751" y="1154428"/>
                      <a:pt x="594361" y="1154428"/>
                    </a:cubicBezTo>
                    <a:cubicBezTo>
                      <a:pt x="902972" y="1154428"/>
                      <a:pt x="1150622" y="906779"/>
                      <a:pt x="1150622" y="598169"/>
                    </a:cubicBezTo>
                    <a:cubicBezTo>
                      <a:pt x="1150622" y="289560"/>
                      <a:pt x="899162" y="41910"/>
                      <a:pt x="594361" y="41910"/>
                    </a:cubicBezTo>
                    <a:close/>
                  </a:path>
                </a:pathLst>
              </a:custGeom>
              <a:grpFill/>
              <a:ln w="38100" cap="flat">
                <a:noFill/>
                <a:prstDash val="solid"/>
                <a:miter/>
              </a:ln>
            </p:spPr>
            <p:txBody>
              <a:bodyPr rtlCol="0" anchor="ctr"/>
              <a:lstStyle/>
              <a:p>
                <a:endParaRPr lang="en-IN" dirty="0"/>
              </a:p>
            </p:txBody>
          </p:sp>
        </p:grpSp>
        <p:cxnSp>
          <p:nvCxnSpPr>
            <p:cNvPr id="301" name="Straight Connector 300">
              <a:extLst>
                <a:ext uri="{FF2B5EF4-FFF2-40B4-BE49-F238E27FC236}">
                  <a16:creationId xmlns:a16="http://schemas.microsoft.com/office/drawing/2014/main" id="{4BCB1182-B85A-47BF-A2B2-3B1F0105400C}"/>
                </a:ext>
              </a:extLst>
            </p:cNvPr>
            <p:cNvCxnSpPr>
              <a:cxnSpLocks/>
            </p:cNvCxnSpPr>
            <p:nvPr/>
          </p:nvCxnSpPr>
          <p:spPr>
            <a:xfrm flipV="1">
              <a:off x="6399434" y="3800584"/>
              <a:ext cx="819367" cy="1"/>
            </a:xfrm>
            <a:prstGeom prst="line">
              <a:avLst/>
            </a:prstGeom>
            <a:ln w="34925">
              <a:solidFill>
                <a:schemeClr val="bg2"/>
              </a:solidFill>
            </a:ln>
          </p:spPr>
          <p:style>
            <a:lnRef idx="1">
              <a:schemeClr val="accent1"/>
            </a:lnRef>
            <a:fillRef idx="0">
              <a:schemeClr val="accent1"/>
            </a:fillRef>
            <a:effectRef idx="0">
              <a:schemeClr val="accent1"/>
            </a:effectRef>
            <a:fontRef idx="minor">
              <a:schemeClr val="tx1"/>
            </a:fontRef>
          </p:style>
        </p:cxnSp>
        <p:sp>
          <p:nvSpPr>
            <p:cNvPr id="305" name="Rectangle 304">
              <a:extLst>
                <a:ext uri="{FF2B5EF4-FFF2-40B4-BE49-F238E27FC236}">
                  <a16:creationId xmlns:a16="http://schemas.microsoft.com/office/drawing/2014/main" id="{6A709198-846F-4249-957E-61A3107F45D1}"/>
                </a:ext>
              </a:extLst>
            </p:cNvPr>
            <p:cNvSpPr/>
            <p:nvPr/>
          </p:nvSpPr>
          <p:spPr>
            <a:xfrm>
              <a:off x="6330560" y="3814529"/>
              <a:ext cx="899461" cy="475776"/>
            </a:xfrm>
            <a:prstGeom prst="rect">
              <a:avLst/>
            </a:prstGeom>
            <a:solidFill>
              <a:srgbClr val="3D7A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8837567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06008D29-BC78-4ADD-B13D-C8C402CA4B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2" name="think-cell Slide" r:id="rId6" imgW="425" imgH="424" progId="TCLayout.ActiveDocument.1">
                  <p:embed/>
                </p:oleObj>
              </mc:Choice>
              <mc:Fallback>
                <p:oleObj name="think-cell Slide" r:id="rId6" imgW="425" imgH="424" progId="TCLayout.ActiveDocument.1">
                  <p:embed/>
                  <p:pic>
                    <p:nvPicPr>
                      <p:cNvPr id="20" name="Object 19" hidden="1">
                        <a:extLst>
                          <a:ext uri="{FF2B5EF4-FFF2-40B4-BE49-F238E27FC236}">
                            <a16:creationId xmlns:a16="http://schemas.microsoft.com/office/drawing/2014/main" id="{06008D29-BC78-4ADD-B13D-C8C402CA4BD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1AE04E2E-B3F3-4709-BF36-AC6251983F76}"/>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iscoSansTT ExtraLight" panose="020B0303020201020303" pitchFamily="34" charset="0"/>
              <a:sym typeface="CiscoSansTT ExtraLight" panose="020B0303020201020303" pitchFamily="34" charset="0"/>
            </a:endParaRPr>
          </a:p>
        </p:txBody>
      </p:sp>
      <p:grpSp>
        <p:nvGrpSpPr>
          <p:cNvPr id="207" name="Group 206">
            <a:extLst>
              <a:ext uri="{FF2B5EF4-FFF2-40B4-BE49-F238E27FC236}">
                <a16:creationId xmlns:a16="http://schemas.microsoft.com/office/drawing/2014/main" id="{B4CD4378-BBBA-4787-9F0E-36210410D3B0}"/>
              </a:ext>
            </a:extLst>
          </p:cNvPr>
          <p:cNvGrpSpPr/>
          <p:nvPr/>
        </p:nvGrpSpPr>
        <p:grpSpPr>
          <a:xfrm>
            <a:off x="5479847" y="1378482"/>
            <a:ext cx="1314577" cy="1055393"/>
            <a:chOff x="6116829" y="3315028"/>
            <a:chExt cx="1314577" cy="1055393"/>
          </a:xfrm>
          <a:solidFill>
            <a:schemeClr val="accent1">
              <a:lumMod val="20000"/>
              <a:lumOff val="80000"/>
              <a:alpha val="50000"/>
            </a:schemeClr>
          </a:solidFill>
        </p:grpSpPr>
        <p:grpSp>
          <p:nvGrpSpPr>
            <p:cNvPr id="208" name="Group 207">
              <a:extLst>
                <a:ext uri="{FF2B5EF4-FFF2-40B4-BE49-F238E27FC236}">
                  <a16:creationId xmlns:a16="http://schemas.microsoft.com/office/drawing/2014/main" id="{F74033FF-2D0B-4B10-B165-A2445CF72B41}"/>
                </a:ext>
              </a:extLst>
            </p:cNvPr>
            <p:cNvGrpSpPr>
              <a:grpSpLocks noChangeAspect="1"/>
            </p:cNvGrpSpPr>
            <p:nvPr/>
          </p:nvGrpSpPr>
          <p:grpSpPr bwMode="auto">
            <a:xfrm>
              <a:off x="6450204" y="3790993"/>
              <a:ext cx="981202" cy="579428"/>
              <a:chOff x="2695" y="1514"/>
              <a:chExt cx="359" cy="212"/>
            </a:xfrm>
            <a:grpFill/>
          </p:grpSpPr>
          <p:sp>
            <p:nvSpPr>
              <p:cNvPr id="215" name="Freeform 21">
                <a:extLst>
                  <a:ext uri="{FF2B5EF4-FFF2-40B4-BE49-F238E27FC236}">
                    <a16:creationId xmlns:a16="http://schemas.microsoft.com/office/drawing/2014/main" id="{3ACF7B05-7BFF-4BEE-885F-E8B97A374BDE}"/>
                  </a:ext>
                </a:extLst>
              </p:cNvPr>
              <p:cNvSpPr>
                <a:spLocks/>
              </p:cNvSpPr>
              <p:nvPr/>
            </p:nvSpPr>
            <p:spPr bwMode="auto">
              <a:xfrm>
                <a:off x="2792" y="1531"/>
                <a:ext cx="172" cy="101"/>
              </a:xfrm>
              <a:custGeom>
                <a:avLst/>
                <a:gdLst>
                  <a:gd name="T0" fmla="*/ 65 w 125"/>
                  <a:gd name="T1" fmla="*/ 73 h 73"/>
                  <a:gd name="T2" fmla="*/ 56 w 125"/>
                  <a:gd name="T3" fmla="*/ 72 h 73"/>
                  <a:gd name="T4" fmla="*/ 5 w 125"/>
                  <a:gd name="T5" fmla="*/ 3 h 73"/>
                  <a:gd name="T6" fmla="*/ 5 w 125"/>
                  <a:gd name="T7" fmla="*/ 1 h 73"/>
                  <a:gd name="T8" fmla="*/ 7 w 125"/>
                  <a:gd name="T9" fmla="*/ 0 h 73"/>
                  <a:gd name="T10" fmla="*/ 8 w 125"/>
                  <a:gd name="T11" fmla="*/ 2 h 73"/>
                  <a:gd name="T12" fmla="*/ 8 w 125"/>
                  <a:gd name="T13" fmla="*/ 3 h 73"/>
                  <a:gd name="T14" fmla="*/ 57 w 125"/>
                  <a:gd name="T15" fmla="*/ 69 h 73"/>
                  <a:gd name="T16" fmla="*/ 99 w 125"/>
                  <a:gd name="T17" fmla="*/ 58 h 73"/>
                  <a:gd name="T18" fmla="*/ 122 w 125"/>
                  <a:gd name="T19" fmla="*/ 20 h 73"/>
                  <a:gd name="T20" fmla="*/ 124 w 125"/>
                  <a:gd name="T21" fmla="*/ 19 h 73"/>
                  <a:gd name="T22" fmla="*/ 125 w 125"/>
                  <a:gd name="T23" fmla="*/ 20 h 73"/>
                  <a:gd name="T24" fmla="*/ 101 w 125"/>
                  <a:gd name="T25" fmla="*/ 61 h 73"/>
                  <a:gd name="T26" fmla="*/ 65 w 125"/>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3">
                    <a:moveTo>
                      <a:pt x="65" y="73"/>
                    </a:moveTo>
                    <a:cubicBezTo>
                      <a:pt x="62" y="73"/>
                      <a:pt x="59" y="73"/>
                      <a:pt x="56" y="72"/>
                    </a:cubicBezTo>
                    <a:cubicBezTo>
                      <a:pt x="23" y="67"/>
                      <a:pt x="0" y="36"/>
                      <a:pt x="5" y="3"/>
                    </a:cubicBezTo>
                    <a:cubicBezTo>
                      <a:pt x="5" y="1"/>
                      <a:pt x="5" y="1"/>
                      <a:pt x="5" y="1"/>
                    </a:cubicBezTo>
                    <a:cubicBezTo>
                      <a:pt x="6" y="0"/>
                      <a:pt x="6" y="0"/>
                      <a:pt x="7" y="0"/>
                    </a:cubicBezTo>
                    <a:cubicBezTo>
                      <a:pt x="8" y="0"/>
                      <a:pt x="9" y="1"/>
                      <a:pt x="8" y="2"/>
                    </a:cubicBezTo>
                    <a:cubicBezTo>
                      <a:pt x="8" y="3"/>
                      <a:pt x="8" y="3"/>
                      <a:pt x="8" y="3"/>
                    </a:cubicBezTo>
                    <a:cubicBezTo>
                      <a:pt x="4" y="35"/>
                      <a:pt x="25" y="65"/>
                      <a:pt x="57" y="69"/>
                    </a:cubicBezTo>
                    <a:cubicBezTo>
                      <a:pt x="72" y="71"/>
                      <a:pt x="87" y="68"/>
                      <a:pt x="99" y="58"/>
                    </a:cubicBezTo>
                    <a:cubicBezTo>
                      <a:pt x="112" y="49"/>
                      <a:pt x="120" y="35"/>
                      <a:pt x="122" y="20"/>
                    </a:cubicBezTo>
                    <a:cubicBezTo>
                      <a:pt x="122" y="19"/>
                      <a:pt x="123" y="18"/>
                      <a:pt x="124" y="19"/>
                    </a:cubicBezTo>
                    <a:cubicBezTo>
                      <a:pt x="124" y="19"/>
                      <a:pt x="125" y="19"/>
                      <a:pt x="125" y="20"/>
                    </a:cubicBezTo>
                    <a:cubicBezTo>
                      <a:pt x="122" y="37"/>
                      <a:pt x="114" y="51"/>
                      <a:pt x="101" y="61"/>
                    </a:cubicBezTo>
                    <a:cubicBezTo>
                      <a:pt x="90" y="69"/>
                      <a:pt x="78" y="73"/>
                      <a:pt x="65" y="7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216" name="Freeform 22">
                <a:extLst>
                  <a:ext uri="{FF2B5EF4-FFF2-40B4-BE49-F238E27FC236}">
                    <a16:creationId xmlns:a16="http://schemas.microsoft.com/office/drawing/2014/main" id="{54410677-7336-4C18-A91B-C341B4AE1537}"/>
                  </a:ext>
                </a:extLst>
              </p:cNvPr>
              <p:cNvSpPr>
                <a:spLocks/>
              </p:cNvSpPr>
              <p:nvPr/>
            </p:nvSpPr>
            <p:spPr bwMode="auto">
              <a:xfrm>
                <a:off x="2769" y="1525"/>
                <a:ext cx="220" cy="129"/>
              </a:xfrm>
              <a:custGeom>
                <a:avLst/>
                <a:gdLst>
                  <a:gd name="T0" fmla="*/ 83 w 160"/>
                  <a:gd name="T1" fmla="*/ 93 h 93"/>
                  <a:gd name="T2" fmla="*/ 72 w 160"/>
                  <a:gd name="T3" fmla="*/ 92 h 93"/>
                  <a:gd name="T4" fmla="*/ 6 w 160"/>
                  <a:gd name="T5" fmla="*/ 3 h 93"/>
                  <a:gd name="T6" fmla="*/ 6 w 160"/>
                  <a:gd name="T7" fmla="*/ 1 h 93"/>
                  <a:gd name="T8" fmla="*/ 8 w 160"/>
                  <a:gd name="T9" fmla="*/ 0 h 93"/>
                  <a:gd name="T10" fmla="*/ 9 w 160"/>
                  <a:gd name="T11" fmla="*/ 2 h 93"/>
                  <a:gd name="T12" fmla="*/ 9 w 160"/>
                  <a:gd name="T13" fmla="*/ 4 h 93"/>
                  <a:gd name="T14" fmla="*/ 72 w 160"/>
                  <a:gd name="T15" fmla="*/ 89 h 93"/>
                  <a:gd name="T16" fmla="*/ 127 w 160"/>
                  <a:gd name="T17" fmla="*/ 75 h 93"/>
                  <a:gd name="T18" fmla="*/ 157 w 160"/>
                  <a:gd name="T19" fmla="*/ 25 h 93"/>
                  <a:gd name="T20" fmla="*/ 159 w 160"/>
                  <a:gd name="T21" fmla="*/ 24 h 93"/>
                  <a:gd name="T22" fmla="*/ 160 w 160"/>
                  <a:gd name="T23" fmla="*/ 26 h 93"/>
                  <a:gd name="T24" fmla="*/ 129 w 160"/>
                  <a:gd name="T25" fmla="*/ 78 h 93"/>
                  <a:gd name="T26" fmla="*/ 83 w 160"/>
                  <a:gd name="T2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93">
                    <a:moveTo>
                      <a:pt x="83" y="93"/>
                    </a:moveTo>
                    <a:cubicBezTo>
                      <a:pt x="79" y="93"/>
                      <a:pt x="76" y="93"/>
                      <a:pt x="72" y="92"/>
                    </a:cubicBezTo>
                    <a:cubicBezTo>
                      <a:pt x="30" y="86"/>
                      <a:pt x="0" y="46"/>
                      <a:pt x="6" y="3"/>
                    </a:cubicBezTo>
                    <a:cubicBezTo>
                      <a:pt x="6" y="3"/>
                      <a:pt x="6" y="2"/>
                      <a:pt x="6" y="1"/>
                    </a:cubicBezTo>
                    <a:cubicBezTo>
                      <a:pt x="7" y="0"/>
                      <a:pt x="7" y="0"/>
                      <a:pt x="8" y="0"/>
                    </a:cubicBezTo>
                    <a:cubicBezTo>
                      <a:pt x="9" y="0"/>
                      <a:pt x="10" y="1"/>
                      <a:pt x="9" y="2"/>
                    </a:cubicBezTo>
                    <a:cubicBezTo>
                      <a:pt x="9" y="2"/>
                      <a:pt x="9" y="3"/>
                      <a:pt x="9" y="4"/>
                    </a:cubicBezTo>
                    <a:cubicBezTo>
                      <a:pt x="3" y="45"/>
                      <a:pt x="32" y="83"/>
                      <a:pt x="72" y="89"/>
                    </a:cubicBezTo>
                    <a:cubicBezTo>
                      <a:pt x="92" y="92"/>
                      <a:pt x="111" y="87"/>
                      <a:pt x="127" y="75"/>
                    </a:cubicBezTo>
                    <a:cubicBezTo>
                      <a:pt x="144" y="63"/>
                      <a:pt x="154" y="46"/>
                      <a:pt x="157" y="25"/>
                    </a:cubicBezTo>
                    <a:cubicBezTo>
                      <a:pt x="157" y="25"/>
                      <a:pt x="158" y="24"/>
                      <a:pt x="159" y="24"/>
                    </a:cubicBezTo>
                    <a:cubicBezTo>
                      <a:pt x="159" y="24"/>
                      <a:pt x="160" y="25"/>
                      <a:pt x="160" y="26"/>
                    </a:cubicBezTo>
                    <a:cubicBezTo>
                      <a:pt x="157" y="47"/>
                      <a:pt x="146" y="65"/>
                      <a:pt x="129" y="78"/>
                    </a:cubicBezTo>
                    <a:cubicBezTo>
                      <a:pt x="116" y="88"/>
                      <a:pt x="100" y="93"/>
                      <a:pt x="83" y="9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217" name="Freeform 23">
                <a:extLst>
                  <a:ext uri="{FF2B5EF4-FFF2-40B4-BE49-F238E27FC236}">
                    <a16:creationId xmlns:a16="http://schemas.microsoft.com/office/drawing/2014/main" id="{59E3E5EF-41B9-446B-9EE3-4B6F7F4A302A}"/>
                  </a:ext>
                </a:extLst>
              </p:cNvPr>
              <p:cNvSpPr>
                <a:spLocks/>
              </p:cNvSpPr>
              <p:nvPr/>
            </p:nvSpPr>
            <p:spPr bwMode="auto">
              <a:xfrm>
                <a:off x="2743" y="1522"/>
                <a:ext cx="267" cy="158"/>
              </a:xfrm>
              <a:custGeom>
                <a:avLst/>
                <a:gdLst>
                  <a:gd name="T0" fmla="*/ 101 w 195"/>
                  <a:gd name="T1" fmla="*/ 114 h 114"/>
                  <a:gd name="T2" fmla="*/ 87 w 195"/>
                  <a:gd name="T3" fmla="*/ 113 h 114"/>
                  <a:gd name="T4" fmla="*/ 7 w 195"/>
                  <a:gd name="T5" fmla="*/ 4 h 114"/>
                  <a:gd name="T6" fmla="*/ 7 w 195"/>
                  <a:gd name="T7" fmla="*/ 1 h 114"/>
                  <a:gd name="T8" fmla="*/ 9 w 195"/>
                  <a:gd name="T9" fmla="*/ 0 h 114"/>
                  <a:gd name="T10" fmla="*/ 10 w 195"/>
                  <a:gd name="T11" fmla="*/ 2 h 114"/>
                  <a:gd name="T12" fmla="*/ 10 w 195"/>
                  <a:gd name="T13" fmla="*/ 4 h 114"/>
                  <a:gd name="T14" fmla="*/ 88 w 195"/>
                  <a:gd name="T15" fmla="*/ 110 h 114"/>
                  <a:gd name="T16" fmla="*/ 156 w 195"/>
                  <a:gd name="T17" fmla="*/ 92 h 114"/>
                  <a:gd name="T18" fmla="*/ 192 w 195"/>
                  <a:gd name="T19" fmla="*/ 31 h 114"/>
                  <a:gd name="T20" fmla="*/ 194 w 195"/>
                  <a:gd name="T21" fmla="*/ 30 h 114"/>
                  <a:gd name="T22" fmla="*/ 195 w 195"/>
                  <a:gd name="T23" fmla="*/ 31 h 114"/>
                  <a:gd name="T24" fmla="*/ 157 w 195"/>
                  <a:gd name="T25" fmla="*/ 95 h 114"/>
                  <a:gd name="T26" fmla="*/ 101 w 195"/>
                  <a:gd name="T2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114">
                    <a:moveTo>
                      <a:pt x="101" y="114"/>
                    </a:moveTo>
                    <a:cubicBezTo>
                      <a:pt x="97" y="114"/>
                      <a:pt x="92" y="113"/>
                      <a:pt x="87" y="113"/>
                    </a:cubicBezTo>
                    <a:cubicBezTo>
                      <a:pt x="36" y="105"/>
                      <a:pt x="0" y="56"/>
                      <a:pt x="7" y="4"/>
                    </a:cubicBezTo>
                    <a:cubicBezTo>
                      <a:pt x="7" y="3"/>
                      <a:pt x="7" y="2"/>
                      <a:pt x="7" y="1"/>
                    </a:cubicBezTo>
                    <a:cubicBezTo>
                      <a:pt x="8" y="1"/>
                      <a:pt x="8" y="0"/>
                      <a:pt x="9" y="0"/>
                    </a:cubicBezTo>
                    <a:cubicBezTo>
                      <a:pt x="10" y="0"/>
                      <a:pt x="11" y="1"/>
                      <a:pt x="10" y="2"/>
                    </a:cubicBezTo>
                    <a:cubicBezTo>
                      <a:pt x="10" y="3"/>
                      <a:pt x="10" y="3"/>
                      <a:pt x="10" y="4"/>
                    </a:cubicBezTo>
                    <a:cubicBezTo>
                      <a:pt x="3" y="55"/>
                      <a:pt x="38" y="102"/>
                      <a:pt x="88" y="110"/>
                    </a:cubicBezTo>
                    <a:cubicBezTo>
                      <a:pt x="112" y="113"/>
                      <a:pt x="136" y="107"/>
                      <a:pt x="156" y="92"/>
                    </a:cubicBezTo>
                    <a:cubicBezTo>
                      <a:pt x="176" y="78"/>
                      <a:pt x="188" y="56"/>
                      <a:pt x="192" y="31"/>
                    </a:cubicBezTo>
                    <a:cubicBezTo>
                      <a:pt x="192" y="30"/>
                      <a:pt x="193" y="29"/>
                      <a:pt x="194" y="30"/>
                    </a:cubicBezTo>
                    <a:cubicBezTo>
                      <a:pt x="195" y="30"/>
                      <a:pt x="195" y="30"/>
                      <a:pt x="195" y="31"/>
                    </a:cubicBezTo>
                    <a:cubicBezTo>
                      <a:pt x="191" y="57"/>
                      <a:pt x="178" y="80"/>
                      <a:pt x="157" y="95"/>
                    </a:cubicBezTo>
                    <a:cubicBezTo>
                      <a:pt x="141" y="107"/>
                      <a:pt x="121" y="114"/>
                      <a:pt x="101" y="114"/>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218" name="Freeform 24">
                <a:extLst>
                  <a:ext uri="{FF2B5EF4-FFF2-40B4-BE49-F238E27FC236}">
                    <a16:creationId xmlns:a16="http://schemas.microsoft.com/office/drawing/2014/main" id="{846B52B7-7EDF-419A-B899-BC1EE1C8D274}"/>
                  </a:ext>
                </a:extLst>
              </p:cNvPr>
              <p:cNvSpPr>
                <a:spLocks/>
              </p:cNvSpPr>
              <p:nvPr/>
            </p:nvSpPr>
            <p:spPr bwMode="auto">
              <a:xfrm>
                <a:off x="2718" y="1518"/>
                <a:ext cx="314" cy="184"/>
              </a:xfrm>
              <a:custGeom>
                <a:avLst/>
                <a:gdLst>
                  <a:gd name="T0" fmla="*/ 119 w 229"/>
                  <a:gd name="T1" fmla="*/ 133 h 133"/>
                  <a:gd name="T2" fmla="*/ 103 w 229"/>
                  <a:gd name="T3" fmla="*/ 132 h 133"/>
                  <a:gd name="T4" fmla="*/ 9 w 229"/>
                  <a:gd name="T5" fmla="*/ 4 h 133"/>
                  <a:gd name="T6" fmla="*/ 9 w 229"/>
                  <a:gd name="T7" fmla="*/ 2 h 133"/>
                  <a:gd name="T8" fmla="*/ 11 w 229"/>
                  <a:gd name="T9" fmla="*/ 0 h 133"/>
                  <a:gd name="T10" fmla="*/ 12 w 229"/>
                  <a:gd name="T11" fmla="*/ 2 h 133"/>
                  <a:gd name="T12" fmla="*/ 12 w 229"/>
                  <a:gd name="T13" fmla="*/ 5 h 133"/>
                  <a:gd name="T14" fmla="*/ 104 w 229"/>
                  <a:gd name="T15" fmla="*/ 129 h 133"/>
                  <a:gd name="T16" fmla="*/ 183 w 229"/>
                  <a:gd name="T17" fmla="*/ 109 h 133"/>
                  <a:gd name="T18" fmla="*/ 226 w 229"/>
                  <a:gd name="T19" fmla="*/ 36 h 133"/>
                  <a:gd name="T20" fmla="*/ 228 w 229"/>
                  <a:gd name="T21" fmla="*/ 35 h 133"/>
                  <a:gd name="T22" fmla="*/ 229 w 229"/>
                  <a:gd name="T23" fmla="*/ 37 h 133"/>
                  <a:gd name="T24" fmla="*/ 185 w 229"/>
                  <a:gd name="T25" fmla="*/ 111 h 133"/>
                  <a:gd name="T26" fmla="*/ 119 w 229"/>
                  <a:gd name="T2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133">
                    <a:moveTo>
                      <a:pt x="119" y="133"/>
                    </a:moveTo>
                    <a:cubicBezTo>
                      <a:pt x="114" y="133"/>
                      <a:pt x="108" y="133"/>
                      <a:pt x="103" y="132"/>
                    </a:cubicBezTo>
                    <a:cubicBezTo>
                      <a:pt x="42" y="123"/>
                      <a:pt x="0" y="66"/>
                      <a:pt x="9" y="4"/>
                    </a:cubicBezTo>
                    <a:cubicBezTo>
                      <a:pt x="9" y="4"/>
                      <a:pt x="9" y="3"/>
                      <a:pt x="9" y="2"/>
                    </a:cubicBezTo>
                    <a:cubicBezTo>
                      <a:pt x="10" y="1"/>
                      <a:pt x="10" y="0"/>
                      <a:pt x="11" y="0"/>
                    </a:cubicBezTo>
                    <a:cubicBezTo>
                      <a:pt x="12" y="1"/>
                      <a:pt x="12" y="1"/>
                      <a:pt x="12" y="2"/>
                    </a:cubicBezTo>
                    <a:cubicBezTo>
                      <a:pt x="12" y="3"/>
                      <a:pt x="12" y="4"/>
                      <a:pt x="12" y="5"/>
                    </a:cubicBezTo>
                    <a:cubicBezTo>
                      <a:pt x="3" y="65"/>
                      <a:pt x="44" y="120"/>
                      <a:pt x="104" y="129"/>
                    </a:cubicBezTo>
                    <a:cubicBezTo>
                      <a:pt x="132" y="133"/>
                      <a:pt x="160" y="126"/>
                      <a:pt x="183" y="109"/>
                    </a:cubicBezTo>
                    <a:cubicBezTo>
                      <a:pt x="207" y="91"/>
                      <a:pt x="222" y="65"/>
                      <a:pt x="226" y="36"/>
                    </a:cubicBezTo>
                    <a:cubicBezTo>
                      <a:pt x="226" y="35"/>
                      <a:pt x="227" y="35"/>
                      <a:pt x="228" y="35"/>
                    </a:cubicBezTo>
                    <a:cubicBezTo>
                      <a:pt x="229" y="35"/>
                      <a:pt x="229" y="36"/>
                      <a:pt x="229" y="37"/>
                    </a:cubicBezTo>
                    <a:cubicBezTo>
                      <a:pt x="225" y="67"/>
                      <a:pt x="209" y="93"/>
                      <a:pt x="185" y="111"/>
                    </a:cubicBezTo>
                    <a:cubicBezTo>
                      <a:pt x="166" y="126"/>
                      <a:pt x="143" y="133"/>
                      <a:pt x="119" y="13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219" name="Freeform 25">
                <a:extLst>
                  <a:ext uri="{FF2B5EF4-FFF2-40B4-BE49-F238E27FC236}">
                    <a16:creationId xmlns:a16="http://schemas.microsoft.com/office/drawing/2014/main" id="{99CB5F3A-9D84-468F-B985-83DA4768163D}"/>
                  </a:ext>
                </a:extLst>
              </p:cNvPr>
              <p:cNvSpPr>
                <a:spLocks/>
              </p:cNvSpPr>
              <p:nvPr/>
            </p:nvSpPr>
            <p:spPr bwMode="auto">
              <a:xfrm>
                <a:off x="2695" y="1514"/>
                <a:ext cx="359" cy="212"/>
              </a:xfrm>
              <a:custGeom>
                <a:avLst/>
                <a:gdLst>
                  <a:gd name="T0" fmla="*/ 136 w 262"/>
                  <a:gd name="T1" fmla="*/ 153 h 153"/>
                  <a:gd name="T2" fmla="*/ 118 w 262"/>
                  <a:gd name="T3" fmla="*/ 151 h 153"/>
                  <a:gd name="T4" fmla="*/ 10 w 262"/>
                  <a:gd name="T5" fmla="*/ 5 h 153"/>
                  <a:gd name="T6" fmla="*/ 10 w 262"/>
                  <a:gd name="T7" fmla="*/ 2 h 153"/>
                  <a:gd name="T8" fmla="*/ 12 w 262"/>
                  <a:gd name="T9" fmla="*/ 1 h 153"/>
                  <a:gd name="T10" fmla="*/ 13 w 262"/>
                  <a:gd name="T11" fmla="*/ 2 h 153"/>
                  <a:gd name="T12" fmla="*/ 13 w 262"/>
                  <a:gd name="T13" fmla="*/ 6 h 153"/>
                  <a:gd name="T14" fmla="*/ 118 w 262"/>
                  <a:gd name="T15" fmla="*/ 148 h 153"/>
                  <a:gd name="T16" fmla="*/ 210 w 262"/>
                  <a:gd name="T17" fmla="*/ 125 h 153"/>
                  <a:gd name="T18" fmla="*/ 259 w 262"/>
                  <a:gd name="T19" fmla="*/ 42 h 153"/>
                  <a:gd name="T20" fmla="*/ 261 w 262"/>
                  <a:gd name="T21" fmla="*/ 40 h 153"/>
                  <a:gd name="T22" fmla="*/ 262 w 262"/>
                  <a:gd name="T23" fmla="*/ 42 h 153"/>
                  <a:gd name="T24" fmla="*/ 212 w 262"/>
                  <a:gd name="T25" fmla="*/ 127 h 153"/>
                  <a:gd name="T26" fmla="*/ 136 w 262"/>
                  <a:gd name="T2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2" h="153">
                    <a:moveTo>
                      <a:pt x="136" y="153"/>
                    </a:moveTo>
                    <a:cubicBezTo>
                      <a:pt x="130" y="153"/>
                      <a:pt x="124" y="152"/>
                      <a:pt x="118" y="151"/>
                    </a:cubicBezTo>
                    <a:cubicBezTo>
                      <a:pt x="48" y="141"/>
                      <a:pt x="0" y="76"/>
                      <a:pt x="10" y="5"/>
                    </a:cubicBezTo>
                    <a:cubicBezTo>
                      <a:pt x="10" y="4"/>
                      <a:pt x="10" y="3"/>
                      <a:pt x="10" y="2"/>
                    </a:cubicBezTo>
                    <a:cubicBezTo>
                      <a:pt x="11" y="1"/>
                      <a:pt x="11" y="0"/>
                      <a:pt x="12" y="1"/>
                    </a:cubicBezTo>
                    <a:cubicBezTo>
                      <a:pt x="13" y="1"/>
                      <a:pt x="13" y="2"/>
                      <a:pt x="13" y="2"/>
                    </a:cubicBezTo>
                    <a:cubicBezTo>
                      <a:pt x="13" y="3"/>
                      <a:pt x="13" y="4"/>
                      <a:pt x="13" y="6"/>
                    </a:cubicBezTo>
                    <a:cubicBezTo>
                      <a:pt x="3" y="74"/>
                      <a:pt x="50" y="138"/>
                      <a:pt x="118" y="148"/>
                    </a:cubicBezTo>
                    <a:cubicBezTo>
                      <a:pt x="151" y="153"/>
                      <a:pt x="183" y="145"/>
                      <a:pt x="210" y="125"/>
                    </a:cubicBezTo>
                    <a:cubicBezTo>
                      <a:pt x="237" y="105"/>
                      <a:pt x="254" y="75"/>
                      <a:pt x="259" y="42"/>
                    </a:cubicBezTo>
                    <a:cubicBezTo>
                      <a:pt x="259" y="41"/>
                      <a:pt x="260" y="40"/>
                      <a:pt x="261" y="40"/>
                    </a:cubicBezTo>
                    <a:cubicBezTo>
                      <a:pt x="262" y="40"/>
                      <a:pt x="262" y="41"/>
                      <a:pt x="262" y="42"/>
                    </a:cubicBezTo>
                    <a:cubicBezTo>
                      <a:pt x="257" y="76"/>
                      <a:pt x="239" y="107"/>
                      <a:pt x="212" y="127"/>
                    </a:cubicBezTo>
                    <a:cubicBezTo>
                      <a:pt x="190" y="144"/>
                      <a:pt x="163" y="153"/>
                      <a:pt x="136" y="15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209" name="Group 208">
              <a:extLst>
                <a:ext uri="{FF2B5EF4-FFF2-40B4-BE49-F238E27FC236}">
                  <a16:creationId xmlns:a16="http://schemas.microsoft.com/office/drawing/2014/main" id="{CBC9BA07-E3D1-447E-9D8F-BBEBA54A57A7}"/>
                </a:ext>
              </a:extLst>
            </p:cNvPr>
            <p:cNvGrpSpPr>
              <a:grpSpLocks noChangeAspect="1"/>
            </p:cNvGrpSpPr>
            <p:nvPr/>
          </p:nvGrpSpPr>
          <p:grpSpPr bwMode="auto">
            <a:xfrm rot="10800000">
              <a:off x="6116829" y="3315028"/>
              <a:ext cx="981202" cy="579428"/>
              <a:chOff x="2695" y="1514"/>
              <a:chExt cx="359" cy="212"/>
            </a:xfrm>
            <a:grpFill/>
          </p:grpSpPr>
          <p:sp>
            <p:nvSpPr>
              <p:cNvPr id="210" name="Freeform 21">
                <a:extLst>
                  <a:ext uri="{FF2B5EF4-FFF2-40B4-BE49-F238E27FC236}">
                    <a16:creationId xmlns:a16="http://schemas.microsoft.com/office/drawing/2014/main" id="{CA2CE273-9AEE-4CF6-AA7A-B3F34F492056}"/>
                  </a:ext>
                </a:extLst>
              </p:cNvPr>
              <p:cNvSpPr>
                <a:spLocks/>
              </p:cNvSpPr>
              <p:nvPr/>
            </p:nvSpPr>
            <p:spPr bwMode="auto">
              <a:xfrm>
                <a:off x="2792" y="1531"/>
                <a:ext cx="172" cy="101"/>
              </a:xfrm>
              <a:custGeom>
                <a:avLst/>
                <a:gdLst>
                  <a:gd name="T0" fmla="*/ 65 w 125"/>
                  <a:gd name="T1" fmla="*/ 73 h 73"/>
                  <a:gd name="T2" fmla="*/ 56 w 125"/>
                  <a:gd name="T3" fmla="*/ 72 h 73"/>
                  <a:gd name="T4" fmla="*/ 5 w 125"/>
                  <a:gd name="T5" fmla="*/ 3 h 73"/>
                  <a:gd name="T6" fmla="*/ 5 w 125"/>
                  <a:gd name="T7" fmla="*/ 1 h 73"/>
                  <a:gd name="T8" fmla="*/ 7 w 125"/>
                  <a:gd name="T9" fmla="*/ 0 h 73"/>
                  <a:gd name="T10" fmla="*/ 8 w 125"/>
                  <a:gd name="T11" fmla="*/ 2 h 73"/>
                  <a:gd name="T12" fmla="*/ 8 w 125"/>
                  <a:gd name="T13" fmla="*/ 3 h 73"/>
                  <a:gd name="T14" fmla="*/ 57 w 125"/>
                  <a:gd name="T15" fmla="*/ 69 h 73"/>
                  <a:gd name="T16" fmla="*/ 99 w 125"/>
                  <a:gd name="T17" fmla="*/ 58 h 73"/>
                  <a:gd name="T18" fmla="*/ 122 w 125"/>
                  <a:gd name="T19" fmla="*/ 20 h 73"/>
                  <a:gd name="T20" fmla="*/ 124 w 125"/>
                  <a:gd name="T21" fmla="*/ 19 h 73"/>
                  <a:gd name="T22" fmla="*/ 125 w 125"/>
                  <a:gd name="T23" fmla="*/ 20 h 73"/>
                  <a:gd name="T24" fmla="*/ 101 w 125"/>
                  <a:gd name="T25" fmla="*/ 61 h 73"/>
                  <a:gd name="T26" fmla="*/ 65 w 125"/>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3">
                    <a:moveTo>
                      <a:pt x="65" y="73"/>
                    </a:moveTo>
                    <a:cubicBezTo>
                      <a:pt x="62" y="73"/>
                      <a:pt x="59" y="73"/>
                      <a:pt x="56" y="72"/>
                    </a:cubicBezTo>
                    <a:cubicBezTo>
                      <a:pt x="23" y="67"/>
                      <a:pt x="0" y="36"/>
                      <a:pt x="5" y="3"/>
                    </a:cubicBezTo>
                    <a:cubicBezTo>
                      <a:pt x="5" y="1"/>
                      <a:pt x="5" y="1"/>
                      <a:pt x="5" y="1"/>
                    </a:cubicBezTo>
                    <a:cubicBezTo>
                      <a:pt x="6" y="0"/>
                      <a:pt x="6" y="0"/>
                      <a:pt x="7" y="0"/>
                    </a:cubicBezTo>
                    <a:cubicBezTo>
                      <a:pt x="8" y="0"/>
                      <a:pt x="9" y="1"/>
                      <a:pt x="8" y="2"/>
                    </a:cubicBezTo>
                    <a:cubicBezTo>
                      <a:pt x="8" y="3"/>
                      <a:pt x="8" y="3"/>
                      <a:pt x="8" y="3"/>
                    </a:cubicBezTo>
                    <a:cubicBezTo>
                      <a:pt x="4" y="35"/>
                      <a:pt x="25" y="65"/>
                      <a:pt x="57" y="69"/>
                    </a:cubicBezTo>
                    <a:cubicBezTo>
                      <a:pt x="72" y="71"/>
                      <a:pt x="87" y="68"/>
                      <a:pt x="99" y="58"/>
                    </a:cubicBezTo>
                    <a:cubicBezTo>
                      <a:pt x="112" y="49"/>
                      <a:pt x="120" y="35"/>
                      <a:pt x="122" y="20"/>
                    </a:cubicBezTo>
                    <a:cubicBezTo>
                      <a:pt x="122" y="19"/>
                      <a:pt x="123" y="18"/>
                      <a:pt x="124" y="19"/>
                    </a:cubicBezTo>
                    <a:cubicBezTo>
                      <a:pt x="124" y="19"/>
                      <a:pt x="125" y="19"/>
                      <a:pt x="125" y="20"/>
                    </a:cubicBezTo>
                    <a:cubicBezTo>
                      <a:pt x="122" y="37"/>
                      <a:pt x="114" y="51"/>
                      <a:pt x="101" y="61"/>
                    </a:cubicBezTo>
                    <a:cubicBezTo>
                      <a:pt x="90" y="69"/>
                      <a:pt x="78" y="73"/>
                      <a:pt x="65" y="7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211" name="Freeform 22">
                <a:extLst>
                  <a:ext uri="{FF2B5EF4-FFF2-40B4-BE49-F238E27FC236}">
                    <a16:creationId xmlns:a16="http://schemas.microsoft.com/office/drawing/2014/main" id="{74F05254-80E2-487A-9E55-16743954FB73}"/>
                  </a:ext>
                </a:extLst>
              </p:cNvPr>
              <p:cNvSpPr>
                <a:spLocks/>
              </p:cNvSpPr>
              <p:nvPr/>
            </p:nvSpPr>
            <p:spPr bwMode="auto">
              <a:xfrm>
                <a:off x="2769" y="1525"/>
                <a:ext cx="220" cy="129"/>
              </a:xfrm>
              <a:custGeom>
                <a:avLst/>
                <a:gdLst>
                  <a:gd name="T0" fmla="*/ 83 w 160"/>
                  <a:gd name="T1" fmla="*/ 93 h 93"/>
                  <a:gd name="T2" fmla="*/ 72 w 160"/>
                  <a:gd name="T3" fmla="*/ 92 h 93"/>
                  <a:gd name="T4" fmla="*/ 6 w 160"/>
                  <a:gd name="T5" fmla="*/ 3 h 93"/>
                  <a:gd name="T6" fmla="*/ 6 w 160"/>
                  <a:gd name="T7" fmla="*/ 1 h 93"/>
                  <a:gd name="T8" fmla="*/ 8 w 160"/>
                  <a:gd name="T9" fmla="*/ 0 h 93"/>
                  <a:gd name="T10" fmla="*/ 9 w 160"/>
                  <a:gd name="T11" fmla="*/ 2 h 93"/>
                  <a:gd name="T12" fmla="*/ 9 w 160"/>
                  <a:gd name="T13" fmla="*/ 4 h 93"/>
                  <a:gd name="T14" fmla="*/ 72 w 160"/>
                  <a:gd name="T15" fmla="*/ 89 h 93"/>
                  <a:gd name="T16" fmla="*/ 127 w 160"/>
                  <a:gd name="T17" fmla="*/ 75 h 93"/>
                  <a:gd name="T18" fmla="*/ 157 w 160"/>
                  <a:gd name="T19" fmla="*/ 25 h 93"/>
                  <a:gd name="T20" fmla="*/ 159 w 160"/>
                  <a:gd name="T21" fmla="*/ 24 h 93"/>
                  <a:gd name="T22" fmla="*/ 160 w 160"/>
                  <a:gd name="T23" fmla="*/ 26 h 93"/>
                  <a:gd name="T24" fmla="*/ 129 w 160"/>
                  <a:gd name="T25" fmla="*/ 78 h 93"/>
                  <a:gd name="T26" fmla="*/ 83 w 160"/>
                  <a:gd name="T2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93">
                    <a:moveTo>
                      <a:pt x="83" y="93"/>
                    </a:moveTo>
                    <a:cubicBezTo>
                      <a:pt x="79" y="93"/>
                      <a:pt x="76" y="93"/>
                      <a:pt x="72" y="92"/>
                    </a:cubicBezTo>
                    <a:cubicBezTo>
                      <a:pt x="30" y="86"/>
                      <a:pt x="0" y="46"/>
                      <a:pt x="6" y="3"/>
                    </a:cubicBezTo>
                    <a:cubicBezTo>
                      <a:pt x="6" y="3"/>
                      <a:pt x="6" y="2"/>
                      <a:pt x="6" y="1"/>
                    </a:cubicBezTo>
                    <a:cubicBezTo>
                      <a:pt x="7" y="0"/>
                      <a:pt x="7" y="0"/>
                      <a:pt x="8" y="0"/>
                    </a:cubicBezTo>
                    <a:cubicBezTo>
                      <a:pt x="9" y="0"/>
                      <a:pt x="10" y="1"/>
                      <a:pt x="9" y="2"/>
                    </a:cubicBezTo>
                    <a:cubicBezTo>
                      <a:pt x="9" y="2"/>
                      <a:pt x="9" y="3"/>
                      <a:pt x="9" y="4"/>
                    </a:cubicBezTo>
                    <a:cubicBezTo>
                      <a:pt x="3" y="45"/>
                      <a:pt x="32" y="83"/>
                      <a:pt x="72" y="89"/>
                    </a:cubicBezTo>
                    <a:cubicBezTo>
                      <a:pt x="92" y="92"/>
                      <a:pt x="111" y="87"/>
                      <a:pt x="127" y="75"/>
                    </a:cubicBezTo>
                    <a:cubicBezTo>
                      <a:pt x="144" y="63"/>
                      <a:pt x="154" y="46"/>
                      <a:pt x="157" y="25"/>
                    </a:cubicBezTo>
                    <a:cubicBezTo>
                      <a:pt x="157" y="25"/>
                      <a:pt x="158" y="24"/>
                      <a:pt x="159" y="24"/>
                    </a:cubicBezTo>
                    <a:cubicBezTo>
                      <a:pt x="159" y="24"/>
                      <a:pt x="160" y="25"/>
                      <a:pt x="160" y="26"/>
                    </a:cubicBezTo>
                    <a:cubicBezTo>
                      <a:pt x="157" y="47"/>
                      <a:pt x="146" y="65"/>
                      <a:pt x="129" y="78"/>
                    </a:cubicBezTo>
                    <a:cubicBezTo>
                      <a:pt x="116" y="88"/>
                      <a:pt x="100" y="93"/>
                      <a:pt x="83" y="9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212" name="Freeform 23">
                <a:extLst>
                  <a:ext uri="{FF2B5EF4-FFF2-40B4-BE49-F238E27FC236}">
                    <a16:creationId xmlns:a16="http://schemas.microsoft.com/office/drawing/2014/main" id="{4E03ED40-EE35-4614-9901-34A27BC588DA}"/>
                  </a:ext>
                </a:extLst>
              </p:cNvPr>
              <p:cNvSpPr>
                <a:spLocks/>
              </p:cNvSpPr>
              <p:nvPr/>
            </p:nvSpPr>
            <p:spPr bwMode="auto">
              <a:xfrm>
                <a:off x="2743" y="1522"/>
                <a:ext cx="267" cy="158"/>
              </a:xfrm>
              <a:custGeom>
                <a:avLst/>
                <a:gdLst>
                  <a:gd name="T0" fmla="*/ 101 w 195"/>
                  <a:gd name="T1" fmla="*/ 114 h 114"/>
                  <a:gd name="T2" fmla="*/ 87 w 195"/>
                  <a:gd name="T3" fmla="*/ 113 h 114"/>
                  <a:gd name="T4" fmla="*/ 7 w 195"/>
                  <a:gd name="T5" fmla="*/ 4 h 114"/>
                  <a:gd name="T6" fmla="*/ 7 w 195"/>
                  <a:gd name="T7" fmla="*/ 1 h 114"/>
                  <a:gd name="T8" fmla="*/ 9 w 195"/>
                  <a:gd name="T9" fmla="*/ 0 h 114"/>
                  <a:gd name="T10" fmla="*/ 10 w 195"/>
                  <a:gd name="T11" fmla="*/ 2 h 114"/>
                  <a:gd name="T12" fmla="*/ 10 w 195"/>
                  <a:gd name="T13" fmla="*/ 4 h 114"/>
                  <a:gd name="T14" fmla="*/ 88 w 195"/>
                  <a:gd name="T15" fmla="*/ 110 h 114"/>
                  <a:gd name="T16" fmla="*/ 156 w 195"/>
                  <a:gd name="T17" fmla="*/ 92 h 114"/>
                  <a:gd name="T18" fmla="*/ 192 w 195"/>
                  <a:gd name="T19" fmla="*/ 31 h 114"/>
                  <a:gd name="T20" fmla="*/ 194 w 195"/>
                  <a:gd name="T21" fmla="*/ 30 h 114"/>
                  <a:gd name="T22" fmla="*/ 195 w 195"/>
                  <a:gd name="T23" fmla="*/ 31 h 114"/>
                  <a:gd name="T24" fmla="*/ 157 w 195"/>
                  <a:gd name="T25" fmla="*/ 95 h 114"/>
                  <a:gd name="T26" fmla="*/ 101 w 195"/>
                  <a:gd name="T2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114">
                    <a:moveTo>
                      <a:pt x="101" y="114"/>
                    </a:moveTo>
                    <a:cubicBezTo>
                      <a:pt x="97" y="114"/>
                      <a:pt x="92" y="113"/>
                      <a:pt x="87" y="113"/>
                    </a:cubicBezTo>
                    <a:cubicBezTo>
                      <a:pt x="36" y="105"/>
                      <a:pt x="0" y="56"/>
                      <a:pt x="7" y="4"/>
                    </a:cubicBezTo>
                    <a:cubicBezTo>
                      <a:pt x="7" y="3"/>
                      <a:pt x="7" y="2"/>
                      <a:pt x="7" y="1"/>
                    </a:cubicBezTo>
                    <a:cubicBezTo>
                      <a:pt x="8" y="1"/>
                      <a:pt x="8" y="0"/>
                      <a:pt x="9" y="0"/>
                    </a:cubicBezTo>
                    <a:cubicBezTo>
                      <a:pt x="10" y="0"/>
                      <a:pt x="11" y="1"/>
                      <a:pt x="10" y="2"/>
                    </a:cubicBezTo>
                    <a:cubicBezTo>
                      <a:pt x="10" y="3"/>
                      <a:pt x="10" y="3"/>
                      <a:pt x="10" y="4"/>
                    </a:cubicBezTo>
                    <a:cubicBezTo>
                      <a:pt x="3" y="55"/>
                      <a:pt x="38" y="102"/>
                      <a:pt x="88" y="110"/>
                    </a:cubicBezTo>
                    <a:cubicBezTo>
                      <a:pt x="112" y="113"/>
                      <a:pt x="136" y="107"/>
                      <a:pt x="156" y="92"/>
                    </a:cubicBezTo>
                    <a:cubicBezTo>
                      <a:pt x="176" y="78"/>
                      <a:pt x="188" y="56"/>
                      <a:pt x="192" y="31"/>
                    </a:cubicBezTo>
                    <a:cubicBezTo>
                      <a:pt x="192" y="30"/>
                      <a:pt x="193" y="29"/>
                      <a:pt x="194" y="30"/>
                    </a:cubicBezTo>
                    <a:cubicBezTo>
                      <a:pt x="195" y="30"/>
                      <a:pt x="195" y="30"/>
                      <a:pt x="195" y="31"/>
                    </a:cubicBezTo>
                    <a:cubicBezTo>
                      <a:pt x="191" y="57"/>
                      <a:pt x="178" y="80"/>
                      <a:pt x="157" y="95"/>
                    </a:cubicBezTo>
                    <a:cubicBezTo>
                      <a:pt x="141" y="107"/>
                      <a:pt x="121" y="114"/>
                      <a:pt x="101" y="114"/>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213" name="Freeform 24">
                <a:extLst>
                  <a:ext uri="{FF2B5EF4-FFF2-40B4-BE49-F238E27FC236}">
                    <a16:creationId xmlns:a16="http://schemas.microsoft.com/office/drawing/2014/main" id="{1F5333C7-1575-4DA2-BA5F-D17D385DBD8E}"/>
                  </a:ext>
                </a:extLst>
              </p:cNvPr>
              <p:cNvSpPr>
                <a:spLocks/>
              </p:cNvSpPr>
              <p:nvPr/>
            </p:nvSpPr>
            <p:spPr bwMode="auto">
              <a:xfrm>
                <a:off x="2718" y="1518"/>
                <a:ext cx="314" cy="184"/>
              </a:xfrm>
              <a:custGeom>
                <a:avLst/>
                <a:gdLst>
                  <a:gd name="T0" fmla="*/ 119 w 229"/>
                  <a:gd name="T1" fmla="*/ 133 h 133"/>
                  <a:gd name="T2" fmla="*/ 103 w 229"/>
                  <a:gd name="T3" fmla="*/ 132 h 133"/>
                  <a:gd name="T4" fmla="*/ 9 w 229"/>
                  <a:gd name="T5" fmla="*/ 4 h 133"/>
                  <a:gd name="T6" fmla="*/ 9 w 229"/>
                  <a:gd name="T7" fmla="*/ 2 h 133"/>
                  <a:gd name="T8" fmla="*/ 11 w 229"/>
                  <a:gd name="T9" fmla="*/ 0 h 133"/>
                  <a:gd name="T10" fmla="*/ 12 w 229"/>
                  <a:gd name="T11" fmla="*/ 2 h 133"/>
                  <a:gd name="T12" fmla="*/ 12 w 229"/>
                  <a:gd name="T13" fmla="*/ 5 h 133"/>
                  <a:gd name="T14" fmla="*/ 104 w 229"/>
                  <a:gd name="T15" fmla="*/ 129 h 133"/>
                  <a:gd name="T16" fmla="*/ 183 w 229"/>
                  <a:gd name="T17" fmla="*/ 109 h 133"/>
                  <a:gd name="T18" fmla="*/ 226 w 229"/>
                  <a:gd name="T19" fmla="*/ 36 h 133"/>
                  <a:gd name="T20" fmla="*/ 228 w 229"/>
                  <a:gd name="T21" fmla="*/ 35 h 133"/>
                  <a:gd name="T22" fmla="*/ 229 w 229"/>
                  <a:gd name="T23" fmla="*/ 37 h 133"/>
                  <a:gd name="T24" fmla="*/ 185 w 229"/>
                  <a:gd name="T25" fmla="*/ 111 h 133"/>
                  <a:gd name="T26" fmla="*/ 119 w 229"/>
                  <a:gd name="T2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133">
                    <a:moveTo>
                      <a:pt x="119" y="133"/>
                    </a:moveTo>
                    <a:cubicBezTo>
                      <a:pt x="114" y="133"/>
                      <a:pt x="108" y="133"/>
                      <a:pt x="103" y="132"/>
                    </a:cubicBezTo>
                    <a:cubicBezTo>
                      <a:pt x="42" y="123"/>
                      <a:pt x="0" y="66"/>
                      <a:pt x="9" y="4"/>
                    </a:cubicBezTo>
                    <a:cubicBezTo>
                      <a:pt x="9" y="4"/>
                      <a:pt x="9" y="3"/>
                      <a:pt x="9" y="2"/>
                    </a:cubicBezTo>
                    <a:cubicBezTo>
                      <a:pt x="10" y="1"/>
                      <a:pt x="10" y="0"/>
                      <a:pt x="11" y="0"/>
                    </a:cubicBezTo>
                    <a:cubicBezTo>
                      <a:pt x="12" y="1"/>
                      <a:pt x="12" y="1"/>
                      <a:pt x="12" y="2"/>
                    </a:cubicBezTo>
                    <a:cubicBezTo>
                      <a:pt x="12" y="3"/>
                      <a:pt x="12" y="4"/>
                      <a:pt x="12" y="5"/>
                    </a:cubicBezTo>
                    <a:cubicBezTo>
                      <a:pt x="3" y="65"/>
                      <a:pt x="44" y="120"/>
                      <a:pt x="104" y="129"/>
                    </a:cubicBezTo>
                    <a:cubicBezTo>
                      <a:pt x="132" y="133"/>
                      <a:pt x="160" y="126"/>
                      <a:pt x="183" y="109"/>
                    </a:cubicBezTo>
                    <a:cubicBezTo>
                      <a:pt x="207" y="91"/>
                      <a:pt x="222" y="65"/>
                      <a:pt x="226" y="36"/>
                    </a:cubicBezTo>
                    <a:cubicBezTo>
                      <a:pt x="226" y="35"/>
                      <a:pt x="227" y="35"/>
                      <a:pt x="228" y="35"/>
                    </a:cubicBezTo>
                    <a:cubicBezTo>
                      <a:pt x="229" y="35"/>
                      <a:pt x="229" y="36"/>
                      <a:pt x="229" y="37"/>
                    </a:cubicBezTo>
                    <a:cubicBezTo>
                      <a:pt x="225" y="67"/>
                      <a:pt x="209" y="93"/>
                      <a:pt x="185" y="111"/>
                    </a:cubicBezTo>
                    <a:cubicBezTo>
                      <a:pt x="166" y="126"/>
                      <a:pt x="143" y="133"/>
                      <a:pt x="119" y="13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214" name="Freeform 25">
                <a:extLst>
                  <a:ext uri="{FF2B5EF4-FFF2-40B4-BE49-F238E27FC236}">
                    <a16:creationId xmlns:a16="http://schemas.microsoft.com/office/drawing/2014/main" id="{EE96FB10-0E27-48BA-903E-EEB713C10352}"/>
                  </a:ext>
                </a:extLst>
              </p:cNvPr>
              <p:cNvSpPr>
                <a:spLocks/>
              </p:cNvSpPr>
              <p:nvPr/>
            </p:nvSpPr>
            <p:spPr bwMode="auto">
              <a:xfrm>
                <a:off x="2695" y="1514"/>
                <a:ext cx="359" cy="212"/>
              </a:xfrm>
              <a:custGeom>
                <a:avLst/>
                <a:gdLst>
                  <a:gd name="T0" fmla="*/ 136 w 262"/>
                  <a:gd name="T1" fmla="*/ 153 h 153"/>
                  <a:gd name="T2" fmla="*/ 118 w 262"/>
                  <a:gd name="T3" fmla="*/ 151 h 153"/>
                  <a:gd name="T4" fmla="*/ 10 w 262"/>
                  <a:gd name="T5" fmla="*/ 5 h 153"/>
                  <a:gd name="T6" fmla="*/ 10 w 262"/>
                  <a:gd name="T7" fmla="*/ 2 h 153"/>
                  <a:gd name="T8" fmla="*/ 12 w 262"/>
                  <a:gd name="T9" fmla="*/ 1 h 153"/>
                  <a:gd name="T10" fmla="*/ 13 w 262"/>
                  <a:gd name="T11" fmla="*/ 2 h 153"/>
                  <a:gd name="T12" fmla="*/ 13 w 262"/>
                  <a:gd name="T13" fmla="*/ 6 h 153"/>
                  <a:gd name="T14" fmla="*/ 118 w 262"/>
                  <a:gd name="T15" fmla="*/ 148 h 153"/>
                  <a:gd name="T16" fmla="*/ 210 w 262"/>
                  <a:gd name="T17" fmla="*/ 125 h 153"/>
                  <a:gd name="T18" fmla="*/ 259 w 262"/>
                  <a:gd name="T19" fmla="*/ 42 h 153"/>
                  <a:gd name="T20" fmla="*/ 261 w 262"/>
                  <a:gd name="T21" fmla="*/ 40 h 153"/>
                  <a:gd name="T22" fmla="*/ 262 w 262"/>
                  <a:gd name="T23" fmla="*/ 42 h 153"/>
                  <a:gd name="T24" fmla="*/ 212 w 262"/>
                  <a:gd name="T25" fmla="*/ 127 h 153"/>
                  <a:gd name="T26" fmla="*/ 136 w 262"/>
                  <a:gd name="T2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2" h="153">
                    <a:moveTo>
                      <a:pt x="136" y="153"/>
                    </a:moveTo>
                    <a:cubicBezTo>
                      <a:pt x="130" y="153"/>
                      <a:pt x="124" y="152"/>
                      <a:pt x="118" y="151"/>
                    </a:cubicBezTo>
                    <a:cubicBezTo>
                      <a:pt x="48" y="141"/>
                      <a:pt x="0" y="76"/>
                      <a:pt x="10" y="5"/>
                    </a:cubicBezTo>
                    <a:cubicBezTo>
                      <a:pt x="10" y="4"/>
                      <a:pt x="10" y="3"/>
                      <a:pt x="10" y="2"/>
                    </a:cubicBezTo>
                    <a:cubicBezTo>
                      <a:pt x="11" y="1"/>
                      <a:pt x="11" y="0"/>
                      <a:pt x="12" y="1"/>
                    </a:cubicBezTo>
                    <a:cubicBezTo>
                      <a:pt x="13" y="1"/>
                      <a:pt x="13" y="2"/>
                      <a:pt x="13" y="2"/>
                    </a:cubicBezTo>
                    <a:cubicBezTo>
                      <a:pt x="13" y="3"/>
                      <a:pt x="13" y="4"/>
                      <a:pt x="13" y="6"/>
                    </a:cubicBezTo>
                    <a:cubicBezTo>
                      <a:pt x="3" y="74"/>
                      <a:pt x="50" y="138"/>
                      <a:pt x="118" y="148"/>
                    </a:cubicBezTo>
                    <a:cubicBezTo>
                      <a:pt x="151" y="153"/>
                      <a:pt x="183" y="145"/>
                      <a:pt x="210" y="125"/>
                    </a:cubicBezTo>
                    <a:cubicBezTo>
                      <a:pt x="237" y="105"/>
                      <a:pt x="254" y="75"/>
                      <a:pt x="259" y="42"/>
                    </a:cubicBezTo>
                    <a:cubicBezTo>
                      <a:pt x="259" y="41"/>
                      <a:pt x="260" y="40"/>
                      <a:pt x="261" y="40"/>
                    </a:cubicBezTo>
                    <a:cubicBezTo>
                      <a:pt x="262" y="40"/>
                      <a:pt x="262" y="41"/>
                      <a:pt x="262" y="42"/>
                    </a:cubicBezTo>
                    <a:cubicBezTo>
                      <a:pt x="257" y="76"/>
                      <a:pt x="239" y="107"/>
                      <a:pt x="212" y="127"/>
                    </a:cubicBezTo>
                    <a:cubicBezTo>
                      <a:pt x="190" y="144"/>
                      <a:pt x="163" y="153"/>
                      <a:pt x="136" y="15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81" name="Group 180">
            <a:extLst>
              <a:ext uri="{FF2B5EF4-FFF2-40B4-BE49-F238E27FC236}">
                <a16:creationId xmlns:a16="http://schemas.microsoft.com/office/drawing/2014/main" id="{7DC26550-29DB-4FA6-8EAA-A645526D742C}"/>
              </a:ext>
            </a:extLst>
          </p:cNvPr>
          <p:cNvGrpSpPr/>
          <p:nvPr/>
        </p:nvGrpSpPr>
        <p:grpSpPr>
          <a:xfrm rot="1952404">
            <a:off x="10640357" y="2523059"/>
            <a:ext cx="1314577" cy="1055393"/>
            <a:chOff x="6116829" y="3315028"/>
            <a:chExt cx="1314577" cy="1055393"/>
          </a:xfrm>
          <a:solidFill>
            <a:schemeClr val="accent1">
              <a:lumMod val="20000"/>
              <a:lumOff val="80000"/>
              <a:alpha val="50000"/>
            </a:schemeClr>
          </a:solidFill>
        </p:grpSpPr>
        <p:grpSp>
          <p:nvGrpSpPr>
            <p:cNvPr id="182" name="Group 181">
              <a:extLst>
                <a:ext uri="{FF2B5EF4-FFF2-40B4-BE49-F238E27FC236}">
                  <a16:creationId xmlns:a16="http://schemas.microsoft.com/office/drawing/2014/main" id="{139AA216-E982-4DAE-AF4E-6730B05A9356}"/>
                </a:ext>
              </a:extLst>
            </p:cNvPr>
            <p:cNvGrpSpPr>
              <a:grpSpLocks noChangeAspect="1"/>
            </p:cNvGrpSpPr>
            <p:nvPr/>
          </p:nvGrpSpPr>
          <p:grpSpPr bwMode="auto">
            <a:xfrm>
              <a:off x="6450204" y="3790993"/>
              <a:ext cx="981202" cy="579428"/>
              <a:chOff x="2695" y="1514"/>
              <a:chExt cx="359" cy="212"/>
            </a:xfrm>
            <a:grpFill/>
          </p:grpSpPr>
          <p:sp>
            <p:nvSpPr>
              <p:cNvPr id="189" name="Freeform 21">
                <a:extLst>
                  <a:ext uri="{FF2B5EF4-FFF2-40B4-BE49-F238E27FC236}">
                    <a16:creationId xmlns:a16="http://schemas.microsoft.com/office/drawing/2014/main" id="{AC3D152D-B6B3-4CDE-A4B3-DE224AD4C2C2}"/>
                  </a:ext>
                </a:extLst>
              </p:cNvPr>
              <p:cNvSpPr>
                <a:spLocks/>
              </p:cNvSpPr>
              <p:nvPr/>
            </p:nvSpPr>
            <p:spPr bwMode="auto">
              <a:xfrm>
                <a:off x="2792" y="1531"/>
                <a:ext cx="172" cy="101"/>
              </a:xfrm>
              <a:custGeom>
                <a:avLst/>
                <a:gdLst>
                  <a:gd name="T0" fmla="*/ 65 w 125"/>
                  <a:gd name="T1" fmla="*/ 73 h 73"/>
                  <a:gd name="T2" fmla="*/ 56 w 125"/>
                  <a:gd name="T3" fmla="*/ 72 h 73"/>
                  <a:gd name="T4" fmla="*/ 5 w 125"/>
                  <a:gd name="T5" fmla="*/ 3 h 73"/>
                  <a:gd name="T6" fmla="*/ 5 w 125"/>
                  <a:gd name="T7" fmla="*/ 1 h 73"/>
                  <a:gd name="T8" fmla="*/ 7 w 125"/>
                  <a:gd name="T9" fmla="*/ 0 h 73"/>
                  <a:gd name="T10" fmla="*/ 8 w 125"/>
                  <a:gd name="T11" fmla="*/ 2 h 73"/>
                  <a:gd name="T12" fmla="*/ 8 w 125"/>
                  <a:gd name="T13" fmla="*/ 3 h 73"/>
                  <a:gd name="T14" fmla="*/ 57 w 125"/>
                  <a:gd name="T15" fmla="*/ 69 h 73"/>
                  <a:gd name="T16" fmla="*/ 99 w 125"/>
                  <a:gd name="T17" fmla="*/ 58 h 73"/>
                  <a:gd name="T18" fmla="*/ 122 w 125"/>
                  <a:gd name="T19" fmla="*/ 20 h 73"/>
                  <a:gd name="T20" fmla="*/ 124 w 125"/>
                  <a:gd name="T21" fmla="*/ 19 h 73"/>
                  <a:gd name="T22" fmla="*/ 125 w 125"/>
                  <a:gd name="T23" fmla="*/ 20 h 73"/>
                  <a:gd name="T24" fmla="*/ 101 w 125"/>
                  <a:gd name="T25" fmla="*/ 61 h 73"/>
                  <a:gd name="T26" fmla="*/ 65 w 125"/>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3">
                    <a:moveTo>
                      <a:pt x="65" y="73"/>
                    </a:moveTo>
                    <a:cubicBezTo>
                      <a:pt x="62" y="73"/>
                      <a:pt x="59" y="73"/>
                      <a:pt x="56" y="72"/>
                    </a:cubicBezTo>
                    <a:cubicBezTo>
                      <a:pt x="23" y="67"/>
                      <a:pt x="0" y="36"/>
                      <a:pt x="5" y="3"/>
                    </a:cubicBezTo>
                    <a:cubicBezTo>
                      <a:pt x="5" y="1"/>
                      <a:pt x="5" y="1"/>
                      <a:pt x="5" y="1"/>
                    </a:cubicBezTo>
                    <a:cubicBezTo>
                      <a:pt x="6" y="0"/>
                      <a:pt x="6" y="0"/>
                      <a:pt x="7" y="0"/>
                    </a:cubicBezTo>
                    <a:cubicBezTo>
                      <a:pt x="8" y="0"/>
                      <a:pt x="9" y="1"/>
                      <a:pt x="8" y="2"/>
                    </a:cubicBezTo>
                    <a:cubicBezTo>
                      <a:pt x="8" y="3"/>
                      <a:pt x="8" y="3"/>
                      <a:pt x="8" y="3"/>
                    </a:cubicBezTo>
                    <a:cubicBezTo>
                      <a:pt x="4" y="35"/>
                      <a:pt x="25" y="65"/>
                      <a:pt x="57" y="69"/>
                    </a:cubicBezTo>
                    <a:cubicBezTo>
                      <a:pt x="72" y="71"/>
                      <a:pt x="87" y="68"/>
                      <a:pt x="99" y="58"/>
                    </a:cubicBezTo>
                    <a:cubicBezTo>
                      <a:pt x="112" y="49"/>
                      <a:pt x="120" y="35"/>
                      <a:pt x="122" y="20"/>
                    </a:cubicBezTo>
                    <a:cubicBezTo>
                      <a:pt x="122" y="19"/>
                      <a:pt x="123" y="18"/>
                      <a:pt x="124" y="19"/>
                    </a:cubicBezTo>
                    <a:cubicBezTo>
                      <a:pt x="124" y="19"/>
                      <a:pt x="125" y="19"/>
                      <a:pt x="125" y="20"/>
                    </a:cubicBezTo>
                    <a:cubicBezTo>
                      <a:pt x="122" y="37"/>
                      <a:pt x="114" y="51"/>
                      <a:pt x="101" y="61"/>
                    </a:cubicBezTo>
                    <a:cubicBezTo>
                      <a:pt x="90" y="69"/>
                      <a:pt x="78" y="73"/>
                      <a:pt x="65" y="7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90" name="Freeform 22">
                <a:extLst>
                  <a:ext uri="{FF2B5EF4-FFF2-40B4-BE49-F238E27FC236}">
                    <a16:creationId xmlns:a16="http://schemas.microsoft.com/office/drawing/2014/main" id="{4C31F556-E9B1-4A0C-B46E-15D50FE746BA}"/>
                  </a:ext>
                </a:extLst>
              </p:cNvPr>
              <p:cNvSpPr>
                <a:spLocks/>
              </p:cNvSpPr>
              <p:nvPr/>
            </p:nvSpPr>
            <p:spPr bwMode="auto">
              <a:xfrm>
                <a:off x="2769" y="1525"/>
                <a:ext cx="220" cy="129"/>
              </a:xfrm>
              <a:custGeom>
                <a:avLst/>
                <a:gdLst>
                  <a:gd name="T0" fmla="*/ 83 w 160"/>
                  <a:gd name="T1" fmla="*/ 93 h 93"/>
                  <a:gd name="T2" fmla="*/ 72 w 160"/>
                  <a:gd name="T3" fmla="*/ 92 h 93"/>
                  <a:gd name="T4" fmla="*/ 6 w 160"/>
                  <a:gd name="T5" fmla="*/ 3 h 93"/>
                  <a:gd name="T6" fmla="*/ 6 w 160"/>
                  <a:gd name="T7" fmla="*/ 1 h 93"/>
                  <a:gd name="T8" fmla="*/ 8 w 160"/>
                  <a:gd name="T9" fmla="*/ 0 h 93"/>
                  <a:gd name="T10" fmla="*/ 9 w 160"/>
                  <a:gd name="T11" fmla="*/ 2 h 93"/>
                  <a:gd name="T12" fmla="*/ 9 w 160"/>
                  <a:gd name="T13" fmla="*/ 4 h 93"/>
                  <a:gd name="T14" fmla="*/ 72 w 160"/>
                  <a:gd name="T15" fmla="*/ 89 h 93"/>
                  <a:gd name="T16" fmla="*/ 127 w 160"/>
                  <a:gd name="T17" fmla="*/ 75 h 93"/>
                  <a:gd name="T18" fmla="*/ 157 w 160"/>
                  <a:gd name="T19" fmla="*/ 25 h 93"/>
                  <a:gd name="T20" fmla="*/ 159 w 160"/>
                  <a:gd name="T21" fmla="*/ 24 h 93"/>
                  <a:gd name="T22" fmla="*/ 160 w 160"/>
                  <a:gd name="T23" fmla="*/ 26 h 93"/>
                  <a:gd name="T24" fmla="*/ 129 w 160"/>
                  <a:gd name="T25" fmla="*/ 78 h 93"/>
                  <a:gd name="T26" fmla="*/ 83 w 160"/>
                  <a:gd name="T2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93">
                    <a:moveTo>
                      <a:pt x="83" y="93"/>
                    </a:moveTo>
                    <a:cubicBezTo>
                      <a:pt x="79" y="93"/>
                      <a:pt x="76" y="93"/>
                      <a:pt x="72" y="92"/>
                    </a:cubicBezTo>
                    <a:cubicBezTo>
                      <a:pt x="30" y="86"/>
                      <a:pt x="0" y="46"/>
                      <a:pt x="6" y="3"/>
                    </a:cubicBezTo>
                    <a:cubicBezTo>
                      <a:pt x="6" y="3"/>
                      <a:pt x="6" y="2"/>
                      <a:pt x="6" y="1"/>
                    </a:cubicBezTo>
                    <a:cubicBezTo>
                      <a:pt x="7" y="0"/>
                      <a:pt x="7" y="0"/>
                      <a:pt x="8" y="0"/>
                    </a:cubicBezTo>
                    <a:cubicBezTo>
                      <a:pt x="9" y="0"/>
                      <a:pt x="10" y="1"/>
                      <a:pt x="9" y="2"/>
                    </a:cubicBezTo>
                    <a:cubicBezTo>
                      <a:pt x="9" y="2"/>
                      <a:pt x="9" y="3"/>
                      <a:pt x="9" y="4"/>
                    </a:cubicBezTo>
                    <a:cubicBezTo>
                      <a:pt x="3" y="45"/>
                      <a:pt x="32" y="83"/>
                      <a:pt x="72" y="89"/>
                    </a:cubicBezTo>
                    <a:cubicBezTo>
                      <a:pt x="92" y="92"/>
                      <a:pt x="111" y="87"/>
                      <a:pt x="127" y="75"/>
                    </a:cubicBezTo>
                    <a:cubicBezTo>
                      <a:pt x="144" y="63"/>
                      <a:pt x="154" y="46"/>
                      <a:pt x="157" y="25"/>
                    </a:cubicBezTo>
                    <a:cubicBezTo>
                      <a:pt x="157" y="25"/>
                      <a:pt x="158" y="24"/>
                      <a:pt x="159" y="24"/>
                    </a:cubicBezTo>
                    <a:cubicBezTo>
                      <a:pt x="159" y="24"/>
                      <a:pt x="160" y="25"/>
                      <a:pt x="160" y="26"/>
                    </a:cubicBezTo>
                    <a:cubicBezTo>
                      <a:pt x="157" y="47"/>
                      <a:pt x="146" y="65"/>
                      <a:pt x="129" y="78"/>
                    </a:cubicBezTo>
                    <a:cubicBezTo>
                      <a:pt x="116" y="88"/>
                      <a:pt x="100" y="93"/>
                      <a:pt x="83" y="9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91" name="Freeform 23">
                <a:extLst>
                  <a:ext uri="{FF2B5EF4-FFF2-40B4-BE49-F238E27FC236}">
                    <a16:creationId xmlns:a16="http://schemas.microsoft.com/office/drawing/2014/main" id="{DC7827F5-2A6D-4EA4-AF73-442CAF66B0A9}"/>
                  </a:ext>
                </a:extLst>
              </p:cNvPr>
              <p:cNvSpPr>
                <a:spLocks/>
              </p:cNvSpPr>
              <p:nvPr/>
            </p:nvSpPr>
            <p:spPr bwMode="auto">
              <a:xfrm>
                <a:off x="2743" y="1522"/>
                <a:ext cx="267" cy="158"/>
              </a:xfrm>
              <a:custGeom>
                <a:avLst/>
                <a:gdLst>
                  <a:gd name="T0" fmla="*/ 101 w 195"/>
                  <a:gd name="T1" fmla="*/ 114 h 114"/>
                  <a:gd name="T2" fmla="*/ 87 w 195"/>
                  <a:gd name="T3" fmla="*/ 113 h 114"/>
                  <a:gd name="T4" fmla="*/ 7 w 195"/>
                  <a:gd name="T5" fmla="*/ 4 h 114"/>
                  <a:gd name="T6" fmla="*/ 7 w 195"/>
                  <a:gd name="T7" fmla="*/ 1 h 114"/>
                  <a:gd name="T8" fmla="*/ 9 w 195"/>
                  <a:gd name="T9" fmla="*/ 0 h 114"/>
                  <a:gd name="T10" fmla="*/ 10 w 195"/>
                  <a:gd name="T11" fmla="*/ 2 h 114"/>
                  <a:gd name="T12" fmla="*/ 10 w 195"/>
                  <a:gd name="T13" fmla="*/ 4 h 114"/>
                  <a:gd name="T14" fmla="*/ 88 w 195"/>
                  <a:gd name="T15" fmla="*/ 110 h 114"/>
                  <a:gd name="T16" fmla="*/ 156 w 195"/>
                  <a:gd name="T17" fmla="*/ 92 h 114"/>
                  <a:gd name="T18" fmla="*/ 192 w 195"/>
                  <a:gd name="T19" fmla="*/ 31 h 114"/>
                  <a:gd name="T20" fmla="*/ 194 w 195"/>
                  <a:gd name="T21" fmla="*/ 30 h 114"/>
                  <a:gd name="T22" fmla="*/ 195 w 195"/>
                  <a:gd name="T23" fmla="*/ 31 h 114"/>
                  <a:gd name="T24" fmla="*/ 157 w 195"/>
                  <a:gd name="T25" fmla="*/ 95 h 114"/>
                  <a:gd name="T26" fmla="*/ 101 w 195"/>
                  <a:gd name="T2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114">
                    <a:moveTo>
                      <a:pt x="101" y="114"/>
                    </a:moveTo>
                    <a:cubicBezTo>
                      <a:pt x="97" y="114"/>
                      <a:pt x="92" y="113"/>
                      <a:pt x="87" y="113"/>
                    </a:cubicBezTo>
                    <a:cubicBezTo>
                      <a:pt x="36" y="105"/>
                      <a:pt x="0" y="56"/>
                      <a:pt x="7" y="4"/>
                    </a:cubicBezTo>
                    <a:cubicBezTo>
                      <a:pt x="7" y="3"/>
                      <a:pt x="7" y="2"/>
                      <a:pt x="7" y="1"/>
                    </a:cubicBezTo>
                    <a:cubicBezTo>
                      <a:pt x="8" y="1"/>
                      <a:pt x="8" y="0"/>
                      <a:pt x="9" y="0"/>
                    </a:cubicBezTo>
                    <a:cubicBezTo>
                      <a:pt x="10" y="0"/>
                      <a:pt x="11" y="1"/>
                      <a:pt x="10" y="2"/>
                    </a:cubicBezTo>
                    <a:cubicBezTo>
                      <a:pt x="10" y="3"/>
                      <a:pt x="10" y="3"/>
                      <a:pt x="10" y="4"/>
                    </a:cubicBezTo>
                    <a:cubicBezTo>
                      <a:pt x="3" y="55"/>
                      <a:pt x="38" y="102"/>
                      <a:pt x="88" y="110"/>
                    </a:cubicBezTo>
                    <a:cubicBezTo>
                      <a:pt x="112" y="113"/>
                      <a:pt x="136" y="107"/>
                      <a:pt x="156" y="92"/>
                    </a:cubicBezTo>
                    <a:cubicBezTo>
                      <a:pt x="176" y="78"/>
                      <a:pt x="188" y="56"/>
                      <a:pt x="192" y="31"/>
                    </a:cubicBezTo>
                    <a:cubicBezTo>
                      <a:pt x="192" y="30"/>
                      <a:pt x="193" y="29"/>
                      <a:pt x="194" y="30"/>
                    </a:cubicBezTo>
                    <a:cubicBezTo>
                      <a:pt x="195" y="30"/>
                      <a:pt x="195" y="30"/>
                      <a:pt x="195" y="31"/>
                    </a:cubicBezTo>
                    <a:cubicBezTo>
                      <a:pt x="191" y="57"/>
                      <a:pt x="178" y="80"/>
                      <a:pt x="157" y="95"/>
                    </a:cubicBezTo>
                    <a:cubicBezTo>
                      <a:pt x="141" y="107"/>
                      <a:pt x="121" y="114"/>
                      <a:pt x="101" y="114"/>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92" name="Freeform 24">
                <a:extLst>
                  <a:ext uri="{FF2B5EF4-FFF2-40B4-BE49-F238E27FC236}">
                    <a16:creationId xmlns:a16="http://schemas.microsoft.com/office/drawing/2014/main" id="{7347993A-8985-4148-8150-998396DB1982}"/>
                  </a:ext>
                </a:extLst>
              </p:cNvPr>
              <p:cNvSpPr>
                <a:spLocks/>
              </p:cNvSpPr>
              <p:nvPr/>
            </p:nvSpPr>
            <p:spPr bwMode="auto">
              <a:xfrm>
                <a:off x="2718" y="1518"/>
                <a:ext cx="314" cy="184"/>
              </a:xfrm>
              <a:custGeom>
                <a:avLst/>
                <a:gdLst>
                  <a:gd name="T0" fmla="*/ 119 w 229"/>
                  <a:gd name="T1" fmla="*/ 133 h 133"/>
                  <a:gd name="T2" fmla="*/ 103 w 229"/>
                  <a:gd name="T3" fmla="*/ 132 h 133"/>
                  <a:gd name="T4" fmla="*/ 9 w 229"/>
                  <a:gd name="T5" fmla="*/ 4 h 133"/>
                  <a:gd name="T6" fmla="*/ 9 w 229"/>
                  <a:gd name="T7" fmla="*/ 2 h 133"/>
                  <a:gd name="T8" fmla="*/ 11 w 229"/>
                  <a:gd name="T9" fmla="*/ 0 h 133"/>
                  <a:gd name="T10" fmla="*/ 12 w 229"/>
                  <a:gd name="T11" fmla="*/ 2 h 133"/>
                  <a:gd name="T12" fmla="*/ 12 w 229"/>
                  <a:gd name="T13" fmla="*/ 5 h 133"/>
                  <a:gd name="T14" fmla="*/ 104 w 229"/>
                  <a:gd name="T15" fmla="*/ 129 h 133"/>
                  <a:gd name="T16" fmla="*/ 183 w 229"/>
                  <a:gd name="T17" fmla="*/ 109 h 133"/>
                  <a:gd name="T18" fmla="*/ 226 w 229"/>
                  <a:gd name="T19" fmla="*/ 36 h 133"/>
                  <a:gd name="T20" fmla="*/ 228 w 229"/>
                  <a:gd name="T21" fmla="*/ 35 h 133"/>
                  <a:gd name="T22" fmla="*/ 229 w 229"/>
                  <a:gd name="T23" fmla="*/ 37 h 133"/>
                  <a:gd name="T24" fmla="*/ 185 w 229"/>
                  <a:gd name="T25" fmla="*/ 111 h 133"/>
                  <a:gd name="T26" fmla="*/ 119 w 229"/>
                  <a:gd name="T2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133">
                    <a:moveTo>
                      <a:pt x="119" y="133"/>
                    </a:moveTo>
                    <a:cubicBezTo>
                      <a:pt x="114" y="133"/>
                      <a:pt x="108" y="133"/>
                      <a:pt x="103" y="132"/>
                    </a:cubicBezTo>
                    <a:cubicBezTo>
                      <a:pt x="42" y="123"/>
                      <a:pt x="0" y="66"/>
                      <a:pt x="9" y="4"/>
                    </a:cubicBezTo>
                    <a:cubicBezTo>
                      <a:pt x="9" y="4"/>
                      <a:pt x="9" y="3"/>
                      <a:pt x="9" y="2"/>
                    </a:cubicBezTo>
                    <a:cubicBezTo>
                      <a:pt x="10" y="1"/>
                      <a:pt x="10" y="0"/>
                      <a:pt x="11" y="0"/>
                    </a:cubicBezTo>
                    <a:cubicBezTo>
                      <a:pt x="12" y="1"/>
                      <a:pt x="12" y="1"/>
                      <a:pt x="12" y="2"/>
                    </a:cubicBezTo>
                    <a:cubicBezTo>
                      <a:pt x="12" y="3"/>
                      <a:pt x="12" y="4"/>
                      <a:pt x="12" y="5"/>
                    </a:cubicBezTo>
                    <a:cubicBezTo>
                      <a:pt x="3" y="65"/>
                      <a:pt x="44" y="120"/>
                      <a:pt x="104" y="129"/>
                    </a:cubicBezTo>
                    <a:cubicBezTo>
                      <a:pt x="132" y="133"/>
                      <a:pt x="160" y="126"/>
                      <a:pt x="183" y="109"/>
                    </a:cubicBezTo>
                    <a:cubicBezTo>
                      <a:pt x="207" y="91"/>
                      <a:pt x="222" y="65"/>
                      <a:pt x="226" y="36"/>
                    </a:cubicBezTo>
                    <a:cubicBezTo>
                      <a:pt x="226" y="35"/>
                      <a:pt x="227" y="35"/>
                      <a:pt x="228" y="35"/>
                    </a:cubicBezTo>
                    <a:cubicBezTo>
                      <a:pt x="229" y="35"/>
                      <a:pt x="229" y="36"/>
                      <a:pt x="229" y="37"/>
                    </a:cubicBezTo>
                    <a:cubicBezTo>
                      <a:pt x="225" y="67"/>
                      <a:pt x="209" y="93"/>
                      <a:pt x="185" y="111"/>
                    </a:cubicBezTo>
                    <a:cubicBezTo>
                      <a:pt x="166" y="126"/>
                      <a:pt x="143" y="133"/>
                      <a:pt x="119" y="13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93" name="Freeform 25">
                <a:extLst>
                  <a:ext uri="{FF2B5EF4-FFF2-40B4-BE49-F238E27FC236}">
                    <a16:creationId xmlns:a16="http://schemas.microsoft.com/office/drawing/2014/main" id="{9EA0437A-75D7-41DA-AE8E-4D023DF4E299}"/>
                  </a:ext>
                </a:extLst>
              </p:cNvPr>
              <p:cNvSpPr>
                <a:spLocks/>
              </p:cNvSpPr>
              <p:nvPr/>
            </p:nvSpPr>
            <p:spPr bwMode="auto">
              <a:xfrm>
                <a:off x="2695" y="1514"/>
                <a:ext cx="359" cy="212"/>
              </a:xfrm>
              <a:custGeom>
                <a:avLst/>
                <a:gdLst>
                  <a:gd name="T0" fmla="*/ 136 w 262"/>
                  <a:gd name="T1" fmla="*/ 153 h 153"/>
                  <a:gd name="T2" fmla="*/ 118 w 262"/>
                  <a:gd name="T3" fmla="*/ 151 h 153"/>
                  <a:gd name="T4" fmla="*/ 10 w 262"/>
                  <a:gd name="T5" fmla="*/ 5 h 153"/>
                  <a:gd name="T6" fmla="*/ 10 w 262"/>
                  <a:gd name="T7" fmla="*/ 2 h 153"/>
                  <a:gd name="T8" fmla="*/ 12 w 262"/>
                  <a:gd name="T9" fmla="*/ 1 h 153"/>
                  <a:gd name="T10" fmla="*/ 13 w 262"/>
                  <a:gd name="T11" fmla="*/ 2 h 153"/>
                  <a:gd name="T12" fmla="*/ 13 w 262"/>
                  <a:gd name="T13" fmla="*/ 6 h 153"/>
                  <a:gd name="T14" fmla="*/ 118 w 262"/>
                  <a:gd name="T15" fmla="*/ 148 h 153"/>
                  <a:gd name="T16" fmla="*/ 210 w 262"/>
                  <a:gd name="T17" fmla="*/ 125 h 153"/>
                  <a:gd name="T18" fmla="*/ 259 w 262"/>
                  <a:gd name="T19" fmla="*/ 42 h 153"/>
                  <a:gd name="T20" fmla="*/ 261 w 262"/>
                  <a:gd name="T21" fmla="*/ 40 h 153"/>
                  <a:gd name="T22" fmla="*/ 262 w 262"/>
                  <a:gd name="T23" fmla="*/ 42 h 153"/>
                  <a:gd name="T24" fmla="*/ 212 w 262"/>
                  <a:gd name="T25" fmla="*/ 127 h 153"/>
                  <a:gd name="T26" fmla="*/ 136 w 262"/>
                  <a:gd name="T2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2" h="153">
                    <a:moveTo>
                      <a:pt x="136" y="153"/>
                    </a:moveTo>
                    <a:cubicBezTo>
                      <a:pt x="130" y="153"/>
                      <a:pt x="124" y="152"/>
                      <a:pt x="118" y="151"/>
                    </a:cubicBezTo>
                    <a:cubicBezTo>
                      <a:pt x="48" y="141"/>
                      <a:pt x="0" y="76"/>
                      <a:pt x="10" y="5"/>
                    </a:cubicBezTo>
                    <a:cubicBezTo>
                      <a:pt x="10" y="4"/>
                      <a:pt x="10" y="3"/>
                      <a:pt x="10" y="2"/>
                    </a:cubicBezTo>
                    <a:cubicBezTo>
                      <a:pt x="11" y="1"/>
                      <a:pt x="11" y="0"/>
                      <a:pt x="12" y="1"/>
                    </a:cubicBezTo>
                    <a:cubicBezTo>
                      <a:pt x="13" y="1"/>
                      <a:pt x="13" y="2"/>
                      <a:pt x="13" y="2"/>
                    </a:cubicBezTo>
                    <a:cubicBezTo>
                      <a:pt x="13" y="3"/>
                      <a:pt x="13" y="4"/>
                      <a:pt x="13" y="6"/>
                    </a:cubicBezTo>
                    <a:cubicBezTo>
                      <a:pt x="3" y="74"/>
                      <a:pt x="50" y="138"/>
                      <a:pt x="118" y="148"/>
                    </a:cubicBezTo>
                    <a:cubicBezTo>
                      <a:pt x="151" y="153"/>
                      <a:pt x="183" y="145"/>
                      <a:pt x="210" y="125"/>
                    </a:cubicBezTo>
                    <a:cubicBezTo>
                      <a:pt x="237" y="105"/>
                      <a:pt x="254" y="75"/>
                      <a:pt x="259" y="42"/>
                    </a:cubicBezTo>
                    <a:cubicBezTo>
                      <a:pt x="259" y="41"/>
                      <a:pt x="260" y="40"/>
                      <a:pt x="261" y="40"/>
                    </a:cubicBezTo>
                    <a:cubicBezTo>
                      <a:pt x="262" y="40"/>
                      <a:pt x="262" y="41"/>
                      <a:pt x="262" y="42"/>
                    </a:cubicBezTo>
                    <a:cubicBezTo>
                      <a:pt x="257" y="76"/>
                      <a:pt x="239" y="107"/>
                      <a:pt x="212" y="127"/>
                    </a:cubicBezTo>
                    <a:cubicBezTo>
                      <a:pt x="190" y="144"/>
                      <a:pt x="163" y="153"/>
                      <a:pt x="136" y="15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83" name="Group 182">
              <a:extLst>
                <a:ext uri="{FF2B5EF4-FFF2-40B4-BE49-F238E27FC236}">
                  <a16:creationId xmlns:a16="http://schemas.microsoft.com/office/drawing/2014/main" id="{597A7405-C798-424C-B6B3-BD67DBB7B903}"/>
                </a:ext>
              </a:extLst>
            </p:cNvPr>
            <p:cNvGrpSpPr>
              <a:grpSpLocks noChangeAspect="1"/>
            </p:cNvGrpSpPr>
            <p:nvPr/>
          </p:nvGrpSpPr>
          <p:grpSpPr bwMode="auto">
            <a:xfrm rot="10800000">
              <a:off x="6116829" y="3315028"/>
              <a:ext cx="981202" cy="579428"/>
              <a:chOff x="2695" y="1514"/>
              <a:chExt cx="359" cy="212"/>
            </a:xfrm>
            <a:grpFill/>
          </p:grpSpPr>
          <p:sp>
            <p:nvSpPr>
              <p:cNvPr id="184" name="Freeform 21">
                <a:extLst>
                  <a:ext uri="{FF2B5EF4-FFF2-40B4-BE49-F238E27FC236}">
                    <a16:creationId xmlns:a16="http://schemas.microsoft.com/office/drawing/2014/main" id="{A3AAF207-3BAD-4A4E-BB9F-FF341FA702D3}"/>
                  </a:ext>
                </a:extLst>
              </p:cNvPr>
              <p:cNvSpPr>
                <a:spLocks/>
              </p:cNvSpPr>
              <p:nvPr/>
            </p:nvSpPr>
            <p:spPr bwMode="auto">
              <a:xfrm>
                <a:off x="2792" y="1531"/>
                <a:ext cx="172" cy="101"/>
              </a:xfrm>
              <a:custGeom>
                <a:avLst/>
                <a:gdLst>
                  <a:gd name="T0" fmla="*/ 65 w 125"/>
                  <a:gd name="T1" fmla="*/ 73 h 73"/>
                  <a:gd name="T2" fmla="*/ 56 w 125"/>
                  <a:gd name="T3" fmla="*/ 72 h 73"/>
                  <a:gd name="T4" fmla="*/ 5 w 125"/>
                  <a:gd name="T5" fmla="*/ 3 h 73"/>
                  <a:gd name="T6" fmla="*/ 5 w 125"/>
                  <a:gd name="T7" fmla="*/ 1 h 73"/>
                  <a:gd name="T8" fmla="*/ 7 w 125"/>
                  <a:gd name="T9" fmla="*/ 0 h 73"/>
                  <a:gd name="T10" fmla="*/ 8 w 125"/>
                  <a:gd name="T11" fmla="*/ 2 h 73"/>
                  <a:gd name="T12" fmla="*/ 8 w 125"/>
                  <a:gd name="T13" fmla="*/ 3 h 73"/>
                  <a:gd name="T14" fmla="*/ 57 w 125"/>
                  <a:gd name="T15" fmla="*/ 69 h 73"/>
                  <a:gd name="T16" fmla="*/ 99 w 125"/>
                  <a:gd name="T17" fmla="*/ 58 h 73"/>
                  <a:gd name="T18" fmla="*/ 122 w 125"/>
                  <a:gd name="T19" fmla="*/ 20 h 73"/>
                  <a:gd name="T20" fmla="*/ 124 w 125"/>
                  <a:gd name="T21" fmla="*/ 19 h 73"/>
                  <a:gd name="T22" fmla="*/ 125 w 125"/>
                  <a:gd name="T23" fmla="*/ 20 h 73"/>
                  <a:gd name="T24" fmla="*/ 101 w 125"/>
                  <a:gd name="T25" fmla="*/ 61 h 73"/>
                  <a:gd name="T26" fmla="*/ 65 w 125"/>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3">
                    <a:moveTo>
                      <a:pt x="65" y="73"/>
                    </a:moveTo>
                    <a:cubicBezTo>
                      <a:pt x="62" y="73"/>
                      <a:pt x="59" y="73"/>
                      <a:pt x="56" y="72"/>
                    </a:cubicBezTo>
                    <a:cubicBezTo>
                      <a:pt x="23" y="67"/>
                      <a:pt x="0" y="36"/>
                      <a:pt x="5" y="3"/>
                    </a:cubicBezTo>
                    <a:cubicBezTo>
                      <a:pt x="5" y="1"/>
                      <a:pt x="5" y="1"/>
                      <a:pt x="5" y="1"/>
                    </a:cubicBezTo>
                    <a:cubicBezTo>
                      <a:pt x="6" y="0"/>
                      <a:pt x="6" y="0"/>
                      <a:pt x="7" y="0"/>
                    </a:cubicBezTo>
                    <a:cubicBezTo>
                      <a:pt x="8" y="0"/>
                      <a:pt x="9" y="1"/>
                      <a:pt x="8" y="2"/>
                    </a:cubicBezTo>
                    <a:cubicBezTo>
                      <a:pt x="8" y="3"/>
                      <a:pt x="8" y="3"/>
                      <a:pt x="8" y="3"/>
                    </a:cubicBezTo>
                    <a:cubicBezTo>
                      <a:pt x="4" y="35"/>
                      <a:pt x="25" y="65"/>
                      <a:pt x="57" y="69"/>
                    </a:cubicBezTo>
                    <a:cubicBezTo>
                      <a:pt x="72" y="71"/>
                      <a:pt x="87" y="68"/>
                      <a:pt x="99" y="58"/>
                    </a:cubicBezTo>
                    <a:cubicBezTo>
                      <a:pt x="112" y="49"/>
                      <a:pt x="120" y="35"/>
                      <a:pt x="122" y="20"/>
                    </a:cubicBezTo>
                    <a:cubicBezTo>
                      <a:pt x="122" y="19"/>
                      <a:pt x="123" y="18"/>
                      <a:pt x="124" y="19"/>
                    </a:cubicBezTo>
                    <a:cubicBezTo>
                      <a:pt x="124" y="19"/>
                      <a:pt x="125" y="19"/>
                      <a:pt x="125" y="20"/>
                    </a:cubicBezTo>
                    <a:cubicBezTo>
                      <a:pt x="122" y="37"/>
                      <a:pt x="114" y="51"/>
                      <a:pt x="101" y="61"/>
                    </a:cubicBezTo>
                    <a:cubicBezTo>
                      <a:pt x="90" y="69"/>
                      <a:pt x="78" y="73"/>
                      <a:pt x="65" y="7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85" name="Freeform 22">
                <a:extLst>
                  <a:ext uri="{FF2B5EF4-FFF2-40B4-BE49-F238E27FC236}">
                    <a16:creationId xmlns:a16="http://schemas.microsoft.com/office/drawing/2014/main" id="{083ED935-CAA4-43B7-B77F-1B4B9B120FE9}"/>
                  </a:ext>
                </a:extLst>
              </p:cNvPr>
              <p:cNvSpPr>
                <a:spLocks/>
              </p:cNvSpPr>
              <p:nvPr/>
            </p:nvSpPr>
            <p:spPr bwMode="auto">
              <a:xfrm>
                <a:off x="2769" y="1525"/>
                <a:ext cx="220" cy="129"/>
              </a:xfrm>
              <a:custGeom>
                <a:avLst/>
                <a:gdLst>
                  <a:gd name="T0" fmla="*/ 83 w 160"/>
                  <a:gd name="T1" fmla="*/ 93 h 93"/>
                  <a:gd name="T2" fmla="*/ 72 w 160"/>
                  <a:gd name="T3" fmla="*/ 92 h 93"/>
                  <a:gd name="T4" fmla="*/ 6 w 160"/>
                  <a:gd name="T5" fmla="*/ 3 h 93"/>
                  <a:gd name="T6" fmla="*/ 6 w 160"/>
                  <a:gd name="T7" fmla="*/ 1 h 93"/>
                  <a:gd name="T8" fmla="*/ 8 w 160"/>
                  <a:gd name="T9" fmla="*/ 0 h 93"/>
                  <a:gd name="T10" fmla="*/ 9 w 160"/>
                  <a:gd name="T11" fmla="*/ 2 h 93"/>
                  <a:gd name="T12" fmla="*/ 9 w 160"/>
                  <a:gd name="T13" fmla="*/ 4 h 93"/>
                  <a:gd name="T14" fmla="*/ 72 w 160"/>
                  <a:gd name="T15" fmla="*/ 89 h 93"/>
                  <a:gd name="T16" fmla="*/ 127 w 160"/>
                  <a:gd name="T17" fmla="*/ 75 h 93"/>
                  <a:gd name="T18" fmla="*/ 157 w 160"/>
                  <a:gd name="T19" fmla="*/ 25 h 93"/>
                  <a:gd name="T20" fmla="*/ 159 w 160"/>
                  <a:gd name="T21" fmla="*/ 24 h 93"/>
                  <a:gd name="T22" fmla="*/ 160 w 160"/>
                  <a:gd name="T23" fmla="*/ 26 h 93"/>
                  <a:gd name="T24" fmla="*/ 129 w 160"/>
                  <a:gd name="T25" fmla="*/ 78 h 93"/>
                  <a:gd name="T26" fmla="*/ 83 w 160"/>
                  <a:gd name="T2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93">
                    <a:moveTo>
                      <a:pt x="83" y="93"/>
                    </a:moveTo>
                    <a:cubicBezTo>
                      <a:pt x="79" y="93"/>
                      <a:pt x="76" y="93"/>
                      <a:pt x="72" y="92"/>
                    </a:cubicBezTo>
                    <a:cubicBezTo>
                      <a:pt x="30" y="86"/>
                      <a:pt x="0" y="46"/>
                      <a:pt x="6" y="3"/>
                    </a:cubicBezTo>
                    <a:cubicBezTo>
                      <a:pt x="6" y="3"/>
                      <a:pt x="6" y="2"/>
                      <a:pt x="6" y="1"/>
                    </a:cubicBezTo>
                    <a:cubicBezTo>
                      <a:pt x="7" y="0"/>
                      <a:pt x="7" y="0"/>
                      <a:pt x="8" y="0"/>
                    </a:cubicBezTo>
                    <a:cubicBezTo>
                      <a:pt x="9" y="0"/>
                      <a:pt x="10" y="1"/>
                      <a:pt x="9" y="2"/>
                    </a:cubicBezTo>
                    <a:cubicBezTo>
                      <a:pt x="9" y="2"/>
                      <a:pt x="9" y="3"/>
                      <a:pt x="9" y="4"/>
                    </a:cubicBezTo>
                    <a:cubicBezTo>
                      <a:pt x="3" y="45"/>
                      <a:pt x="32" y="83"/>
                      <a:pt x="72" y="89"/>
                    </a:cubicBezTo>
                    <a:cubicBezTo>
                      <a:pt x="92" y="92"/>
                      <a:pt x="111" y="87"/>
                      <a:pt x="127" y="75"/>
                    </a:cubicBezTo>
                    <a:cubicBezTo>
                      <a:pt x="144" y="63"/>
                      <a:pt x="154" y="46"/>
                      <a:pt x="157" y="25"/>
                    </a:cubicBezTo>
                    <a:cubicBezTo>
                      <a:pt x="157" y="25"/>
                      <a:pt x="158" y="24"/>
                      <a:pt x="159" y="24"/>
                    </a:cubicBezTo>
                    <a:cubicBezTo>
                      <a:pt x="159" y="24"/>
                      <a:pt x="160" y="25"/>
                      <a:pt x="160" y="26"/>
                    </a:cubicBezTo>
                    <a:cubicBezTo>
                      <a:pt x="157" y="47"/>
                      <a:pt x="146" y="65"/>
                      <a:pt x="129" y="78"/>
                    </a:cubicBezTo>
                    <a:cubicBezTo>
                      <a:pt x="116" y="88"/>
                      <a:pt x="100" y="93"/>
                      <a:pt x="83" y="9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86" name="Freeform 23">
                <a:extLst>
                  <a:ext uri="{FF2B5EF4-FFF2-40B4-BE49-F238E27FC236}">
                    <a16:creationId xmlns:a16="http://schemas.microsoft.com/office/drawing/2014/main" id="{97869E80-8279-45A0-8EC2-F2BFD2A3EBB5}"/>
                  </a:ext>
                </a:extLst>
              </p:cNvPr>
              <p:cNvSpPr>
                <a:spLocks/>
              </p:cNvSpPr>
              <p:nvPr/>
            </p:nvSpPr>
            <p:spPr bwMode="auto">
              <a:xfrm>
                <a:off x="2743" y="1522"/>
                <a:ext cx="267" cy="158"/>
              </a:xfrm>
              <a:custGeom>
                <a:avLst/>
                <a:gdLst>
                  <a:gd name="T0" fmla="*/ 101 w 195"/>
                  <a:gd name="T1" fmla="*/ 114 h 114"/>
                  <a:gd name="T2" fmla="*/ 87 w 195"/>
                  <a:gd name="T3" fmla="*/ 113 h 114"/>
                  <a:gd name="T4" fmla="*/ 7 w 195"/>
                  <a:gd name="T5" fmla="*/ 4 h 114"/>
                  <a:gd name="T6" fmla="*/ 7 w 195"/>
                  <a:gd name="T7" fmla="*/ 1 h 114"/>
                  <a:gd name="T8" fmla="*/ 9 w 195"/>
                  <a:gd name="T9" fmla="*/ 0 h 114"/>
                  <a:gd name="T10" fmla="*/ 10 w 195"/>
                  <a:gd name="T11" fmla="*/ 2 h 114"/>
                  <a:gd name="T12" fmla="*/ 10 w 195"/>
                  <a:gd name="T13" fmla="*/ 4 h 114"/>
                  <a:gd name="T14" fmla="*/ 88 w 195"/>
                  <a:gd name="T15" fmla="*/ 110 h 114"/>
                  <a:gd name="T16" fmla="*/ 156 w 195"/>
                  <a:gd name="T17" fmla="*/ 92 h 114"/>
                  <a:gd name="T18" fmla="*/ 192 w 195"/>
                  <a:gd name="T19" fmla="*/ 31 h 114"/>
                  <a:gd name="T20" fmla="*/ 194 w 195"/>
                  <a:gd name="T21" fmla="*/ 30 h 114"/>
                  <a:gd name="T22" fmla="*/ 195 w 195"/>
                  <a:gd name="T23" fmla="*/ 31 h 114"/>
                  <a:gd name="T24" fmla="*/ 157 w 195"/>
                  <a:gd name="T25" fmla="*/ 95 h 114"/>
                  <a:gd name="T26" fmla="*/ 101 w 195"/>
                  <a:gd name="T2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114">
                    <a:moveTo>
                      <a:pt x="101" y="114"/>
                    </a:moveTo>
                    <a:cubicBezTo>
                      <a:pt x="97" y="114"/>
                      <a:pt x="92" y="113"/>
                      <a:pt x="87" y="113"/>
                    </a:cubicBezTo>
                    <a:cubicBezTo>
                      <a:pt x="36" y="105"/>
                      <a:pt x="0" y="56"/>
                      <a:pt x="7" y="4"/>
                    </a:cubicBezTo>
                    <a:cubicBezTo>
                      <a:pt x="7" y="3"/>
                      <a:pt x="7" y="2"/>
                      <a:pt x="7" y="1"/>
                    </a:cubicBezTo>
                    <a:cubicBezTo>
                      <a:pt x="8" y="1"/>
                      <a:pt x="8" y="0"/>
                      <a:pt x="9" y="0"/>
                    </a:cubicBezTo>
                    <a:cubicBezTo>
                      <a:pt x="10" y="0"/>
                      <a:pt x="11" y="1"/>
                      <a:pt x="10" y="2"/>
                    </a:cubicBezTo>
                    <a:cubicBezTo>
                      <a:pt x="10" y="3"/>
                      <a:pt x="10" y="3"/>
                      <a:pt x="10" y="4"/>
                    </a:cubicBezTo>
                    <a:cubicBezTo>
                      <a:pt x="3" y="55"/>
                      <a:pt x="38" y="102"/>
                      <a:pt x="88" y="110"/>
                    </a:cubicBezTo>
                    <a:cubicBezTo>
                      <a:pt x="112" y="113"/>
                      <a:pt x="136" y="107"/>
                      <a:pt x="156" y="92"/>
                    </a:cubicBezTo>
                    <a:cubicBezTo>
                      <a:pt x="176" y="78"/>
                      <a:pt x="188" y="56"/>
                      <a:pt x="192" y="31"/>
                    </a:cubicBezTo>
                    <a:cubicBezTo>
                      <a:pt x="192" y="30"/>
                      <a:pt x="193" y="29"/>
                      <a:pt x="194" y="30"/>
                    </a:cubicBezTo>
                    <a:cubicBezTo>
                      <a:pt x="195" y="30"/>
                      <a:pt x="195" y="30"/>
                      <a:pt x="195" y="31"/>
                    </a:cubicBezTo>
                    <a:cubicBezTo>
                      <a:pt x="191" y="57"/>
                      <a:pt x="178" y="80"/>
                      <a:pt x="157" y="95"/>
                    </a:cubicBezTo>
                    <a:cubicBezTo>
                      <a:pt x="141" y="107"/>
                      <a:pt x="121" y="114"/>
                      <a:pt x="101" y="114"/>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87" name="Freeform 24">
                <a:extLst>
                  <a:ext uri="{FF2B5EF4-FFF2-40B4-BE49-F238E27FC236}">
                    <a16:creationId xmlns:a16="http://schemas.microsoft.com/office/drawing/2014/main" id="{E774CD57-F9B0-4A9D-B8DB-5BDDE37308AA}"/>
                  </a:ext>
                </a:extLst>
              </p:cNvPr>
              <p:cNvSpPr>
                <a:spLocks/>
              </p:cNvSpPr>
              <p:nvPr/>
            </p:nvSpPr>
            <p:spPr bwMode="auto">
              <a:xfrm>
                <a:off x="2718" y="1518"/>
                <a:ext cx="314" cy="184"/>
              </a:xfrm>
              <a:custGeom>
                <a:avLst/>
                <a:gdLst>
                  <a:gd name="T0" fmla="*/ 119 w 229"/>
                  <a:gd name="T1" fmla="*/ 133 h 133"/>
                  <a:gd name="T2" fmla="*/ 103 w 229"/>
                  <a:gd name="T3" fmla="*/ 132 h 133"/>
                  <a:gd name="T4" fmla="*/ 9 w 229"/>
                  <a:gd name="T5" fmla="*/ 4 h 133"/>
                  <a:gd name="T6" fmla="*/ 9 w 229"/>
                  <a:gd name="T7" fmla="*/ 2 h 133"/>
                  <a:gd name="T8" fmla="*/ 11 w 229"/>
                  <a:gd name="T9" fmla="*/ 0 h 133"/>
                  <a:gd name="T10" fmla="*/ 12 w 229"/>
                  <a:gd name="T11" fmla="*/ 2 h 133"/>
                  <a:gd name="T12" fmla="*/ 12 w 229"/>
                  <a:gd name="T13" fmla="*/ 5 h 133"/>
                  <a:gd name="T14" fmla="*/ 104 w 229"/>
                  <a:gd name="T15" fmla="*/ 129 h 133"/>
                  <a:gd name="T16" fmla="*/ 183 w 229"/>
                  <a:gd name="T17" fmla="*/ 109 h 133"/>
                  <a:gd name="T18" fmla="*/ 226 w 229"/>
                  <a:gd name="T19" fmla="*/ 36 h 133"/>
                  <a:gd name="T20" fmla="*/ 228 w 229"/>
                  <a:gd name="T21" fmla="*/ 35 h 133"/>
                  <a:gd name="T22" fmla="*/ 229 w 229"/>
                  <a:gd name="T23" fmla="*/ 37 h 133"/>
                  <a:gd name="T24" fmla="*/ 185 w 229"/>
                  <a:gd name="T25" fmla="*/ 111 h 133"/>
                  <a:gd name="T26" fmla="*/ 119 w 229"/>
                  <a:gd name="T2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133">
                    <a:moveTo>
                      <a:pt x="119" y="133"/>
                    </a:moveTo>
                    <a:cubicBezTo>
                      <a:pt x="114" y="133"/>
                      <a:pt x="108" y="133"/>
                      <a:pt x="103" y="132"/>
                    </a:cubicBezTo>
                    <a:cubicBezTo>
                      <a:pt x="42" y="123"/>
                      <a:pt x="0" y="66"/>
                      <a:pt x="9" y="4"/>
                    </a:cubicBezTo>
                    <a:cubicBezTo>
                      <a:pt x="9" y="4"/>
                      <a:pt x="9" y="3"/>
                      <a:pt x="9" y="2"/>
                    </a:cubicBezTo>
                    <a:cubicBezTo>
                      <a:pt x="10" y="1"/>
                      <a:pt x="10" y="0"/>
                      <a:pt x="11" y="0"/>
                    </a:cubicBezTo>
                    <a:cubicBezTo>
                      <a:pt x="12" y="1"/>
                      <a:pt x="12" y="1"/>
                      <a:pt x="12" y="2"/>
                    </a:cubicBezTo>
                    <a:cubicBezTo>
                      <a:pt x="12" y="3"/>
                      <a:pt x="12" y="4"/>
                      <a:pt x="12" y="5"/>
                    </a:cubicBezTo>
                    <a:cubicBezTo>
                      <a:pt x="3" y="65"/>
                      <a:pt x="44" y="120"/>
                      <a:pt x="104" y="129"/>
                    </a:cubicBezTo>
                    <a:cubicBezTo>
                      <a:pt x="132" y="133"/>
                      <a:pt x="160" y="126"/>
                      <a:pt x="183" y="109"/>
                    </a:cubicBezTo>
                    <a:cubicBezTo>
                      <a:pt x="207" y="91"/>
                      <a:pt x="222" y="65"/>
                      <a:pt x="226" y="36"/>
                    </a:cubicBezTo>
                    <a:cubicBezTo>
                      <a:pt x="226" y="35"/>
                      <a:pt x="227" y="35"/>
                      <a:pt x="228" y="35"/>
                    </a:cubicBezTo>
                    <a:cubicBezTo>
                      <a:pt x="229" y="35"/>
                      <a:pt x="229" y="36"/>
                      <a:pt x="229" y="37"/>
                    </a:cubicBezTo>
                    <a:cubicBezTo>
                      <a:pt x="225" y="67"/>
                      <a:pt x="209" y="93"/>
                      <a:pt x="185" y="111"/>
                    </a:cubicBezTo>
                    <a:cubicBezTo>
                      <a:pt x="166" y="126"/>
                      <a:pt x="143" y="133"/>
                      <a:pt x="119" y="13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88" name="Freeform 25">
                <a:extLst>
                  <a:ext uri="{FF2B5EF4-FFF2-40B4-BE49-F238E27FC236}">
                    <a16:creationId xmlns:a16="http://schemas.microsoft.com/office/drawing/2014/main" id="{E433B0D3-373D-4FAE-A33A-99CA12D4B276}"/>
                  </a:ext>
                </a:extLst>
              </p:cNvPr>
              <p:cNvSpPr>
                <a:spLocks/>
              </p:cNvSpPr>
              <p:nvPr/>
            </p:nvSpPr>
            <p:spPr bwMode="auto">
              <a:xfrm>
                <a:off x="2695" y="1514"/>
                <a:ext cx="359" cy="212"/>
              </a:xfrm>
              <a:custGeom>
                <a:avLst/>
                <a:gdLst>
                  <a:gd name="T0" fmla="*/ 136 w 262"/>
                  <a:gd name="T1" fmla="*/ 153 h 153"/>
                  <a:gd name="T2" fmla="*/ 118 w 262"/>
                  <a:gd name="T3" fmla="*/ 151 h 153"/>
                  <a:gd name="T4" fmla="*/ 10 w 262"/>
                  <a:gd name="T5" fmla="*/ 5 h 153"/>
                  <a:gd name="T6" fmla="*/ 10 w 262"/>
                  <a:gd name="T7" fmla="*/ 2 h 153"/>
                  <a:gd name="T8" fmla="*/ 12 w 262"/>
                  <a:gd name="T9" fmla="*/ 1 h 153"/>
                  <a:gd name="T10" fmla="*/ 13 w 262"/>
                  <a:gd name="T11" fmla="*/ 2 h 153"/>
                  <a:gd name="T12" fmla="*/ 13 w 262"/>
                  <a:gd name="T13" fmla="*/ 6 h 153"/>
                  <a:gd name="T14" fmla="*/ 118 w 262"/>
                  <a:gd name="T15" fmla="*/ 148 h 153"/>
                  <a:gd name="T16" fmla="*/ 210 w 262"/>
                  <a:gd name="T17" fmla="*/ 125 h 153"/>
                  <a:gd name="T18" fmla="*/ 259 w 262"/>
                  <a:gd name="T19" fmla="*/ 42 h 153"/>
                  <a:gd name="T20" fmla="*/ 261 w 262"/>
                  <a:gd name="T21" fmla="*/ 40 h 153"/>
                  <a:gd name="T22" fmla="*/ 262 w 262"/>
                  <a:gd name="T23" fmla="*/ 42 h 153"/>
                  <a:gd name="T24" fmla="*/ 212 w 262"/>
                  <a:gd name="T25" fmla="*/ 127 h 153"/>
                  <a:gd name="T26" fmla="*/ 136 w 262"/>
                  <a:gd name="T2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2" h="153">
                    <a:moveTo>
                      <a:pt x="136" y="153"/>
                    </a:moveTo>
                    <a:cubicBezTo>
                      <a:pt x="130" y="153"/>
                      <a:pt x="124" y="152"/>
                      <a:pt x="118" y="151"/>
                    </a:cubicBezTo>
                    <a:cubicBezTo>
                      <a:pt x="48" y="141"/>
                      <a:pt x="0" y="76"/>
                      <a:pt x="10" y="5"/>
                    </a:cubicBezTo>
                    <a:cubicBezTo>
                      <a:pt x="10" y="4"/>
                      <a:pt x="10" y="3"/>
                      <a:pt x="10" y="2"/>
                    </a:cubicBezTo>
                    <a:cubicBezTo>
                      <a:pt x="11" y="1"/>
                      <a:pt x="11" y="0"/>
                      <a:pt x="12" y="1"/>
                    </a:cubicBezTo>
                    <a:cubicBezTo>
                      <a:pt x="13" y="1"/>
                      <a:pt x="13" y="2"/>
                      <a:pt x="13" y="2"/>
                    </a:cubicBezTo>
                    <a:cubicBezTo>
                      <a:pt x="13" y="3"/>
                      <a:pt x="13" y="4"/>
                      <a:pt x="13" y="6"/>
                    </a:cubicBezTo>
                    <a:cubicBezTo>
                      <a:pt x="3" y="74"/>
                      <a:pt x="50" y="138"/>
                      <a:pt x="118" y="148"/>
                    </a:cubicBezTo>
                    <a:cubicBezTo>
                      <a:pt x="151" y="153"/>
                      <a:pt x="183" y="145"/>
                      <a:pt x="210" y="125"/>
                    </a:cubicBezTo>
                    <a:cubicBezTo>
                      <a:pt x="237" y="105"/>
                      <a:pt x="254" y="75"/>
                      <a:pt x="259" y="42"/>
                    </a:cubicBezTo>
                    <a:cubicBezTo>
                      <a:pt x="259" y="41"/>
                      <a:pt x="260" y="40"/>
                      <a:pt x="261" y="40"/>
                    </a:cubicBezTo>
                    <a:cubicBezTo>
                      <a:pt x="262" y="40"/>
                      <a:pt x="262" y="41"/>
                      <a:pt x="262" y="42"/>
                    </a:cubicBezTo>
                    <a:cubicBezTo>
                      <a:pt x="257" y="76"/>
                      <a:pt x="239" y="107"/>
                      <a:pt x="212" y="127"/>
                    </a:cubicBezTo>
                    <a:cubicBezTo>
                      <a:pt x="190" y="144"/>
                      <a:pt x="163" y="153"/>
                      <a:pt x="136" y="15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94" name="Group 193">
            <a:extLst>
              <a:ext uri="{FF2B5EF4-FFF2-40B4-BE49-F238E27FC236}">
                <a16:creationId xmlns:a16="http://schemas.microsoft.com/office/drawing/2014/main" id="{690AF8E5-946E-4E0A-999E-58F7686863CE}"/>
              </a:ext>
            </a:extLst>
          </p:cNvPr>
          <p:cNvGrpSpPr/>
          <p:nvPr/>
        </p:nvGrpSpPr>
        <p:grpSpPr>
          <a:xfrm rot="1952404">
            <a:off x="10511754" y="4084516"/>
            <a:ext cx="1314577" cy="1055393"/>
            <a:chOff x="6116829" y="3315028"/>
            <a:chExt cx="1314577" cy="1055393"/>
          </a:xfrm>
          <a:solidFill>
            <a:schemeClr val="accent1">
              <a:lumMod val="20000"/>
              <a:lumOff val="80000"/>
              <a:alpha val="50000"/>
            </a:schemeClr>
          </a:solidFill>
        </p:grpSpPr>
        <p:grpSp>
          <p:nvGrpSpPr>
            <p:cNvPr id="195" name="Group 194">
              <a:extLst>
                <a:ext uri="{FF2B5EF4-FFF2-40B4-BE49-F238E27FC236}">
                  <a16:creationId xmlns:a16="http://schemas.microsoft.com/office/drawing/2014/main" id="{530E289C-0F12-4C35-8B8F-E61510D70727}"/>
                </a:ext>
              </a:extLst>
            </p:cNvPr>
            <p:cNvGrpSpPr>
              <a:grpSpLocks noChangeAspect="1"/>
            </p:cNvGrpSpPr>
            <p:nvPr/>
          </p:nvGrpSpPr>
          <p:grpSpPr bwMode="auto">
            <a:xfrm>
              <a:off x="6450204" y="3790993"/>
              <a:ext cx="981202" cy="579428"/>
              <a:chOff x="2695" y="1514"/>
              <a:chExt cx="359" cy="212"/>
            </a:xfrm>
            <a:grpFill/>
          </p:grpSpPr>
          <p:sp>
            <p:nvSpPr>
              <p:cNvPr id="202" name="Freeform 21">
                <a:extLst>
                  <a:ext uri="{FF2B5EF4-FFF2-40B4-BE49-F238E27FC236}">
                    <a16:creationId xmlns:a16="http://schemas.microsoft.com/office/drawing/2014/main" id="{C04594B4-2CE6-49E3-9683-8E85027BEDDC}"/>
                  </a:ext>
                </a:extLst>
              </p:cNvPr>
              <p:cNvSpPr>
                <a:spLocks/>
              </p:cNvSpPr>
              <p:nvPr/>
            </p:nvSpPr>
            <p:spPr bwMode="auto">
              <a:xfrm>
                <a:off x="2792" y="1531"/>
                <a:ext cx="172" cy="101"/>
              </a:xfrm>
              <a:custGeom>
                <a:avLst/>
                <a:gdLst>
                  <a:gd name="T0" fmla="*/ 65 w 125"/>
                  <a:gd name="T1" fmla="*/ 73 h 73"/>
                  <a:gd name="T2" fmla="*/ 56 w 125"/>
                  <a:gd name="T3" fmla="*/ 72 h 73"/>
                  <a:gd name="T4" fmla="*/ 5 w 125"/>
                  <a:gd name="T5" fmla="*/ 3 h 73"/>
                  <a:gd name="T6" fmla="*/ 5 w 125"/>
                  <a:gd name="T7" fmla="*/ 1 h 73"/>
                  <a:gd name="T8" fmla="*/ 7 w 125"/>
                  <a:gd name="T9" fmla="*/ 0 h 73"/>
                  <a:gd name="T10" fmla="*/ 8 w 125"/>
                  <a:gd name="T11" fmla="*/ 2 h 73"/>
                  <a:gd name="T12" fmla="*/ 8 w 125"/>
                  <a:gd name="T13" fmla="*/ 3 h 73"/>
                  <a:gd name="T14" fmla="*/ 57 w 125"/>
                  <a:gd name="T15" fmla="*/ 69 h 73"/>
                  <a:gd name="T16" fmla="*/ 99 w 125"/>
                  <a:gd name="T17" fmla="*/ 58 h 73"/>
                  <a:gd name="T18" fmla="*/ 122 w 125"/>
                  <a:gd name="T19" fmla="*/ 20 h 73"/>
                  <a:gd name="T20" fmla="*/ 124 w 125"/>
                  <a:gd name="T21" fmla="*/ 19 h 73"/>
                  <a:gd name="T22" fmla="*/ 125 w 125"/>
                  <a:gd name="T23" fmla="*/ 20 h 73"/>
                  <a:gd name="T24" fmla="*/ 101 w 125"/>
                  <a:gd name="T25" fmla="*/ 61 h 73"/>
                  <a:gd name="T26" fmla="*/ 65 w 125"/>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3">
                    <a:moveTo>
                      <a:pt x="65" y="73"/>
                    </a:moveTo>
                    <a:cubicBezTo>
                      <a:pt x="62" y="73"/>
                      <a:pt x="59" y="73"/>
                      <a:pt x="56" y="72"/>
                    </a:cubicBezTo>
                    <a:cubicBezTo>
                      <a:pt x="23" y="67"/>
                      <a:pt x="0" y="36"/>
                      <a:pt x="5" y="3"/>
                    </a:cubicBezTo>
                    <a:cubicBezTo>
                      <a:pt x="5" y="1"/>
                      <a:pt x="5" y="1"/>
                      <a:pt x="5" y="1"/>
                    </a:cubicBezTo>
                    <a:cubicBezTo>
                      <a:pt x="6" y="0"/>
                      <a:pt x="6" y="0"/>
                      <a:pt x="7" y="0"/>
                    </a:cubicBezTo>
                    <a:cubicBezTo>
                      <a:pt x="8" y="0"/>
                      <a:pt x="9" y="1"/>
                      <a:pt x="8" y="2"/>
                    </a:cubicBezTo>
                    <a:cubicBezTo>
                      <a:pt x="8" y="3"/>
                      <a:pt x="8" y="3"/>
                      <a:pt x="8" y="3"/>
                    </a:cubicBezTo>
                    <a:cubicBezTo>
                      <a:pt x="4" y="35"/>
                      <a:pt x="25" y="65"/>
                      <a:pt x="57" y="69"/>
                    </a:cubicBezTo>
                    <a:cubicBezTo>
                      <a:pt x="72" y="71"/>
                      <a:pt x="87" y="68"/>
                      <a:pt x="99" y="58"/>
                    </a:cubicBezTo>
                    <a:cubicBezTo>
                      <a:pt x="112" y="49"/>
                      <a:pt x="120" y="35"/>
                      <a:pt x="122" y="20"/>
                    </a:cubicBezTo>
                    <a:cubicBezTo>
                      <a:pt x="122" y="19"/>
                      <a:pt x="123" y="18"/>
                      <a:pt x="124" y="19"/>
                    </a:cubicBezTo>
                    <a:cubicBezTo>
                      <a:pt x="124" y="19"/>
                      <a:pt x="125" y="19"/>
                      <a:pt x="125" y="20"/>
                    </a:cubicBezTo>
                    <a:cubicBezTo>
                      <a:pt x="122" y="37"/>
                      <a:pt x="114" y="51"/>
                      <a:pt x="101" y="61"/>
                    </a:cubicBezTo>
                    <a:cubicBezTo>
                      <a:pt x="90" y="69"/>
                      <a:pt x="78" y="73"/>
                      <a:pt x="65" y="7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203" name="Freeform 22">
                <a:extLst>
                  <a:ext uri="{FF2B5EF4-FFF2-40B4-BE49-F238E27FC236}">
                    <a16:creationId xmlns:a16="http://schemas.microsoft.com/office/drawing/2014/main" id="{69CDBBCE-F92F-475C-BCCD-55EE9F5D511A}"/>
                  </a:ext>
                </a:extLst>
              </p:cNvPr>
              <p:cNvSpPr>
                <a:spLocks/>
              </p:cNvSpPr>
              <p:nvPr/>
            </p:nvSpPr>
            <p:spPr bwMode="auto">
              <a:xfrm>
                <a:off x="2769" y="1525"/>
                <a:ext cx="220" cy="129"/>
              </a:xfrm>
              <a:custGeom>
                <a:avLst/>
                <a:gdLst>
                  <a:gd name="T0" fmla="*/ 83 w 160"/>
                  <a:gd name="T1" fmla="*/ 93 h 93"/>
                  <a:gd name="T2" fmla="*/ 72 w 160"/>
                  <a:gd name="T3" fmla="*/ 92 h 93"/>
                  <a:gd name="T4" fmla="*/ 6 w 160"/>
                  <a:gd name="T5" fmla="*/ 3 h 93"/>
                  <a:gd name="T6" fmla="*/ 6 w 160"/>
                  <a:gd name="T7" fmla="*/ 1 h 93"/>
                  <a:gd name="T8" fmla="*/ 8 w 160"/>
                  <a:gd name="T9" fmla="*/ 0 h 93"/>
                  <a:gd name="T10" fmla="*/ 9 w 160"/>
                  <a:gd name="T11" fmla="*/ 2 h 93"/>
                  <a:gd name="T12" fmla="*/ 9 w 160"/>
                  <a:gd name="T13" fmla="*/ 4 h 93"/>
                  <a:gd name="T14" fmla="*/ 72 w 160"/>
                  <a:gd name="T15" fmla="*/ 89 h 93"/>
                  <a:gd name="T16" fmla="*/ 127 w 160"/>
                  <a:gd name="T17" fmla="*/ 75 h 93"/>
                  <a:gd name="T18" fmla="*/ 157 w 160"/>
                  <a:gd name="T19" fmla="*/ 25 h 93"/>
                  <a:gd name="T20" fmla="*/ 159 w 160"/>
                  <a:gd name="T21" fmla="*/ 24 h 93"/>
                  <a:gd name="T22" fmla="*/ 160 w 160"/>
                  <a:gd name="T23" fmla="*/ 26 h 93"/>
                  <a:gd name="T24" fmla="*/ 129 w 160"/>
                  <a:gd name="T25" fmla="*/ 78 h 93"/>
                  <a:gd name="T26" fmla="*/ 83 w 160"/>
                  <a:gd name="T2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93">
                    <a:moveTo>
                      <a:pt x="83" y="93"/>
                    </a:moveTo>
                    <a:cubicBezTo>
                      <a:pt x="79" y="93"/>
                      <a:pt x="76" y="93"/>
                      <a:pt x="72" y="92"/>
                    </a:cubicBezTo>
                    <a:cubicBezTo>
                      <a:pt x="30" y="86"/>
                      <a:pt x="0" y="46"/>
                      <a:pt x="6" y="3"/>
                    </a:cubicBezTo>
                    <a:cubicBezTo>
                      <a:pt x="6" y="3"/>
                      <a:pt x="6" y="2"/>
                      <a:pt x="6" y="1"/>
                    </a:cubicBezTo>
                    <a:cubicBezTo>
                      <a:pt x="7" y="0"/>
                      <a:pt x="7" y="0"/>
                      <a:pt x="8" y="0"/>
                    </a:cubicBezTo>
                    <a:cubicBezTo>
                      <a:pt x="9" y="0"/>
                      <a:pt x="10" y="1"/>
                      <a:pt x="9" y="2"/>
                    </a:cubicBezTo>
                    <a:cubicBezTo>
                      <a:pt x="9" y="2"/>
                      <a:pt x="9" y="3"/>
                      <a:pt x="9" y="4"/>
                    </a:cubicBezTo>
                    <a:cubicBezTo>
                      <a:pt x="3" y="45"/>
                      <a:pt x="32" y="83"/>
                      <a:pt x="72" y="89"/>
                    </a:cubicBezTo>
                    <a:cubicBezTo>
                      <a:pt x="92" y="92"/>
                      <a:pt x="111" y="87"/>
                      <a:pt x="127" y="75"/>
                    </a:cubicBezTo>
                    <a:cubicBezTo>
                      <a:pt x="144" y="63"/>
                      <a:pt x="154" y="46"/>
                      <a:pt x="157" y="25"/>
                    </a:cubicBezTo>
                    <a:cubicBezTo>
                      <a:pt x="157" y="25"/>
                      <a:pt x="158" y="24"/>
                      <a:pt x="159" y="24"/>
                    </a:cubicBezTo>
                    <a:cubicBezTo>
                      <a:pt x="159" y="24"/>
                      <a:pt x="160" y="25"/>
                      <a:pt x="160" y="26"/>
                    </a:cubicBezTo>
                    <a:cubicBezTo>
                      <a:pt x="157" y="47"/>
                      <a:pt x="146" y="65"/>
                      <a:pt x="129" y="78"/>
                    </a:cubicBezTo>
                    <a:cubicBezTo>
                      <a:pt x="116" y="88"/>
                      <a:pt x="100" y="93"/>
                      <a:pt x="83" y="9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204" name="Freeform 23">
                <a:extLst>
                  <a:ext uri="{FF2B5EF4-FFF2-40B4-BE49-F238E27FC236}">
                    <a16:creationId xmlns:a16="http://schemas.microsoft.com/office/drawing/2014/main" id="{6B89C60C-6287-45A1-87B2-1BBD2850D47B}"/>
                  </a:ext>
                </a:extLst>
              </p:cNvPr>
              <p:cNvSpPr>
                <a:spLocks/>
              </p:cNvSpPr>
              <p:nvPr/>
            </p:nvSpPr>
            <p:spPr bwMode="auto">
              <a:xfrm>
                <a:off x="2743" y="1522"/>
                <a:ext cx="267" cy="158"/>
              </a:xfrm>
              <a:custGeom>
                <a:avLst/>
                <a:gdLst>
                  <a:gd name="T0" fmla="*/ 101 w 195"/>
                  <a:gd name="T1" fmla="*/ 114 h 114"/>
                  <a:gd name="T2" fmla="*/ 87 w 195"/>
                  <a:gd name="T3" fmla="*/ 113 h 114"/>
                  <a:gd name="T4" fmla="*/ 7 w 195"/>
                  <a:gd name="T5" fmla="*/ 4 h 114"/>
                  <a:gd name="T6" fmla="*/ 7 w 195"/>
                  <a:gd name="T7" fmla="*/ 1 h 114"/>
                  <a:gd name="T8" fmla="*/ 9 w 195"/>
                  <a:gd name="T9" fmla="*/ 0 h 114"/>
                  <a:gd name="T10" fmla="*/ 10 w 195"/>
                  <a:gd name="T11" fmla="*/ 2 h 114"/>
                  <a:gd name="T12" fmla="*/ 10 w 195"/>
                  <a:gd name="T13" fmla="*/ 4 h 114"/>
                  <a:gd name="T14" fmla="*/ 88 w 195"/>
                  <a:gd name="T15" fmla="*/ 110 h 114"/>
                  <a:gd name="T16" fmla="*/ 156 w 195"/>
                  <a:gd name="T17" fmla="*/ 92 h 114"/>
                  <a:gd name="T18" fmla="*/ 192 w 195"/>
                  <a:gd name="T19" fmla="*/ 31 h 114"/>
                  <a:gd name="T20" fmla="*/ 194 w 195"/>
                  <a:gd name="T21" fmla="*/ 30 h 114"/>
                  <a:gd name="T22" fmla="*/ 195 w 195"/>
                  <a:gd name="T23" fmla="*/ 31 h 114"/>
                  <a:gd name="T24" fmla="*/ 157 w 195"/>
                  <a:gd name="T25" fmla="*/ 95 h 114"/>
                  <a:gd name="T26" fmla="*/ 101 w 195"/>
                  <a:gd name="T2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114">
                    <a:moveTo>
                      <a:pt x="101" y="114"/>
                    </a:moveTo>
                    <a:cubicBezTo>
                      <a:pt x="97" y="114"/>
                      <a:pt x="92" y="113"/>
                      <a:pt x="87" y="113"/>
                    </a:cubicBezTo>
                    <a:cubicBezTo>
                      <a:pt x="36" y="105"/>
                      <a:pt x="0" y="56"/>
                      <a:pt x="7" y="4"/>
                    </a:cubicBezTo>
                    <a:cubicBezTo>
                      <a:pt x="7" y="3"/>
                      <a:pt x="7" y="2"/>
                      <a:pt x="7" y="1"/>
                    </a:cubicBezTo>
                    <a:cubicBezTo>
                      <a:pt x="8" y="1"/>
                      <a:pt x="8" y="0"/>
                      <a:pt x="9" y="0"/>
                    </a:cubicBezTo>
                    <a:cubicBezTo>
                      <a:pt x="10" y="0"/>
                      <a:pt x="11" y="1"/>
                      <a:pt x="10" y="2"/>
                    </a:cubicBezTo>
                    <a:cubicBezTo>
                      <a:pt x="10" y="3"/>
                      <a:pt x="10" y="3"/>
                      <a:pt x="10" y="4"/>
                    </a:cubicBezTo>
                    <a:cubicBezTo>
                      <a:pt x="3" y="55"/>
                      <a:pt x="38" y="102"/>
                      <a:pt x="88" y="110"/>
                    </a:cubicBezTo>
                    <a:cubicBezTo>
                      <a:pt x="112" y="113"/>
                      <a:pt x="136" y="107"/>
                      <a:pt x="156" y="92"/>
                    </a:cubicBezTo>
                    <a:cubicBezTo>
                      <a:pt x="176" y="78"/>
                      <a:pt x="188" y="56"/>
                      <a:pt x="192" y="31"/>
                    </a:cubicBezTo>
                    <a:cubicBezTo>
                      <a:pt x="192" y="30"/>
                      <a:pt x="193" y="29"/>
                      <a:pt x="194" y="30"/>
                    </a:cubicBezTo>
                    <a:cubicBezTo>
                      <a:pt x="195" y="30"/>
                      <a:pt x="195" y="30"/>
                      <a:pt x="195" y="31"/>
                    </a:cubicBezTo>
                    <a:cubicBezTo>
                      <a:pt x="191" y="57"/>
                      <a:pt x="178" y="80"/>
                      <a:pt x="157" y="95"/>
                    </a:cubicBezTo>
                    <a:cubicBezTo>
                      <a:pt x="141" y="107"/>
                      <a:pt x="121" y="114"/>
                      <a:pt x="101" y="114"/>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205" name="Freeform 24">
                <a:extLst>
                  <a:ext uri="{FF2B5EF4-FFF2-40B4-BE49-F238E27FC236}">
                    <a16:creationId xmlns:a16="http://schemas.microsoft.com/office/drawing/2014/main" id="{6DF67123-4A94-4D6E-B7AA-7AE5BF38F688}"/>
                  </a:ext>
                </a:extLst>
              </p:cNvPr>
              <p:cNvSpPr>
                <a:spLocks/>
              </p:cNvSpPr>
              <p:nvPr/>
            </p:nvSpPr>
            <p:spPr bwMode="auto">
              <a:xfrm>
                <a:off x="2718" y="1518"/>
                <a:ext cx="314" cy="184"/>
              </a:xfrm>
              <a:custGeom>
                <a:avLst/>
                <a:gdLst>
                  <a:gd name="T0" fmla="*/ 119 w 229"/>
                  <a:gd name="T1" fmla="*/ 133 h 133"/>
                  <a:gd name="T2" fmla="*/ 103 w 229"/>
                  <a:gd name="T3" fmla="*/ 132 h 133"/>
                  <a:gd name="T4" fmla="*/ 9 w 229"/>
                  <a:gd name="T5" fmla="*/ 4 h 133"/>
                  <a:gd name="T6" fmla="*/ 9 w 229"/>
                  <a:gd name="T7" fmla="*/ 2 h 133"/>
                  <a:gd name="T8" fmla="*/ 11 w 229"/>
                  <a:gd name="T9" fmla="*/ 0 h 133"/>
                  <a:gd name="T10" fmla="*/ 12 w 229"/>
                  <a:gd name="T11" fmla="*/ 2 h 133"/>
                  <a:gd name="T12" fmla="*/ 12 w 229"/>
                  <a:gd name="T13" fmla="*/ 5 h 133"/>
                  <a:gd name="T14" fmla="*/ 104 w 229"/>
                  <a:gd name="T15" fmla="*/ 129 h 133"/>
                  <a:gd name="T16" fmla="*/ 183 w 229"/>
                  <a:gd name="T17" fmla="*/ 109 h 133"/>
                  <a:gd name="T18" fmla="*/ 226 w 229"/>
                  <a:gd name="T19" fmla="*/ 36 h 133"/>
                  <a:gd name="T20" fmla="*/ 228 w 229"/>
                  <a:gd name="T21" fmla="*/ 35 h 133"/>
                  <a:gd name="T22" fmla="*/ 229 w 229"/>
                  <a:gd name="T23" fmla="*/ 37 h 133"/>
                  <a:gd name="T24" fmla="*/ 185 w 229"/>
                  <a:gd name="T25" fmla="*/ 111 h 133"/>
                  <a:gd name="T26" fmla="*/ 119 w 229"/>
                  <a:gd name="T2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133">
                    <a:moveTo>
                      <a:pt x="119" y="133"/>
                    </a:moveTo>
                    <a:cubicBezTo>
                      <a:pt x="114" y="133"/>
                      <a:pt x="108" y="133"/>
                      <a:pt x="103" y="132"/>
                    </a:cubicBezTo>
                    <a:cubicBezTo>
                      <a:pt x="42" y="123"/>
                      <a:pt x="0" y="66"/>
                      <a:pt x="9" y="4"/>
                    </a:cubicBezTo>
                    <a:cubicBezTo>
                      <a:pt x="9" y="4"/>
                      <a:pt x="9" y="3"/>
                      <a:pt x="9" y="2"/>
                    </a:cubicBezTo>
                    <a:cubicBezTo>
                      <a:pt x="10" y="1"/>
                      <a:pt x="10" y="0"/>
                      <a:pt x="11" y="0"/>
                    </a:cubicBezTo>
                    <a:cubicBezTo>
                      <a:pt x="12" y="1"/>
                      <a:pt x="12" y="1"/>
                      <a:pt x="12" y="2"/>
                    </a:cubicBezTo>
                    <a:cubicBezTo>
                      <a:pt x="12" y="3"/>
                      <a:pt x="12" y="4"/>
                      <a:pt x="12" y="5"/>
                    </a:cubicBezTo>
                    <a:cubicBezTo>
                      <a:pt x="3" y="65"/>
                      <a:pt x="44" y="120"/>
                      <a:pt x="104" y="129"/>
                    </a:cubicBezTo>
                    <a:cubicBezTo>
                      <a:pt x="132" y="133"/>
                      <a:pt x="160" y="126"/>
                      <a:pt x="183" y="109"/>
                    </a:cubicBezTo>
                    <a:cubicBezTo>
                      <a:pt x="207" y="91"/>
                      <a:pt x="222" y="65"/>
                      <a:pt x="226" y="36"/>
                    </a:cubicBezTo>
                    <a:cubicBezTo>
                      <a:pt x="226" y="35"/>
                      <a:pt x="227" y="35"/>
                      <a:pt x="228" y="35"/>
                    </a:cubicBezTo>
                    <a:cubicBezTo>
                      <a:pt x="229" y="35"/>
                      <a:pt x="229" y="36"/>
                      <a:pt x="229" y="37"/>
                    </a:cubicBezTo>
                    <a:cubicBezTo>
                      <a:pt x="225" y="67"/>
                      <a:pt x="209" y="93"/>
                      <a:pt x="185" y="111"/>
                    </a:cubicBezTo>
                    <a:cubicBezTo>
                      <a:pt x="166" y="126"/>
                      <a:pt x="143" y="133"/>
                      <a:pt x="119" y="13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206" name="Freeform 25">
                <a:extLst>
                  <a:ext uri="{FF2B5EF4-FFF2-40B4-BE49-F238E27FC236}">
                    <a16:creationId xmlns:a16="http://schemas.microsoft.com/office/drawing/2014/main" id="{A675FF4C-F822-4D66-A6B3-BF6A8451F2B5}"/>
                  </a:ext>
                </a:extLst>
              </p:cNvPr>
              <p:cNvSpPr>
                <a:spLocks/>
              </p:cNvSpPr>
              <p:nvPr/>
            </p:nvSpPr>
            <p:spPr bwMode="auto">
              <a:xfrm>
                <a:off x="2695" y="1514"/>
                <a:ext cx="359" cy="212"/>
              </a:xfrm>
              <a:custGeom>
                <a:avLst/>
                <a:gdLst>
                  <a:gd name="T0" fmla="*/ 136 w 262"/>
                  <a:gd name="T1" fmla="*/ 153 h 153"/>
                  <a:gd name="T2" fmla="*/ 118 w 262"/>
                  <a:gd name="T3" fmla="*/ 151 h 153"/>
                  <a:gd name="T4" fmla="*/ 10 w 262"/>
                  <a:gd name="T5" fmla="*/ 5 h 153"/>
                  <a:gd name="T6" fmla="*/ 10 w 262"/>
                  <a:gd name="T7" fmla="*/ 2 h 153"/>
                  <a:gd name="T8" fmla="*/ 12 w 262"/>
                  <a:gd name="T9" fmla="*/ 1 h 153"/>
                  <a:gd name="T10" fmla="*/ 13 w 262"/>
                  <a:gd name="T11" fmla="*/ 2 h 153"/>
                  <a:gd name="T12" fmla="*/ 13 w 262"/>
                  <a:gd name="T13" fmla="*/ 6 h 153"/>
                  <a:gd name="T14" fmla="*/ 118 w 262"/>
                  <a:gd name="T15" fmla="*/ 148 h 153"/>
                  <a:gd name="T16" fmla="*/ 210 w 262"/>
                  <a:gd name="T17" fmla="*/ 125 h 153"/>
                  <a:gd name="T18" fmla="*/ 259 w 262"/>
                  <a:gd name="T19" fmla="*/ 42 h 153"/>
                  <a:gd name="T20" fmla="*/ 261 w 262"/>
                  <a:gd name="T21" fmla="*/ 40 h 153"/>
                  <a:gd name="T22" fmla="*/ 262 w 262"/>
                  <a:gd name="T23" fmla="*/ 42 h 153"/>
                  <a:gd name="T24" fmla="*/ 212 w 262"/>
                  <a:gd name="T25" fmla="*/ 127 h 153"/>
                  <a:gd name="T26" fmla="*/ 136 w 262"/>
                  <a:gd name="T2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2" h="153">
                    <a:moveTo>
                      <a:pt x="136" y="153"/>
                    </a:moveTo>
                    <a:cubicBezTo>
                      <a:pt x="130" y="153"/>
                      <a:pt x="124" y="152"/>
                      <a:pt x="118" y="151"/>
                    </a:cubicBezTo>
                    <a:cubicBezTo>
                      <a:pt x="48" y="141"/>
                      <a:pt x="0" y="76"/>
                      <a:pt x="10" y="5"/>
                    </a:cubicBezTo>
                    <a:cubicBezTo>
                      <a:pt x="10" y="4"/>
                      <a:pt x="10" y="3"/>
                      <a:pt x="10" y="2"/>
                    </a:cubicBezTo>
                    <a:cubicBezTo>
                      <a:pt x="11" y="1"/>
                      <a:pt x="11" y="0"/>
                      <a:pt x="12" y="1"/>
                    </a:cubicBezTo>
                    <a:cubicBezTo>
                      <a:pt x="13" y="1"/>
                      <a:pt x="13" y="2"/>
                      <a:pt x="13" y="2"/>
                    </a:cubicBezTo>
                    <a:cubicBezTo>
                      <a:pt x="13" y="3"/>
                      <a:pt x="13" y="4"/>
                      <a:pt x="13" y="6"/>
                    </a:cubicBezTo>
                    <a:cubicBezTo>
                      <a:pt x="3" y="74"/>
                      <a:pt x="50" y="138"/>
                      <a:pt x="118" y="148"/>
                    </a:cubicBezTo>
                    <a:cubicBezTo>
                      <a:pt x="151" y="153"/>
                      <a:pt x="183" y="145"/>
                      <a:pt x="210" y="125"/>
                    </a:cubicBezTo>
                    <a:cubicBezTo>
                      <a:pt x="237" y="105"/>
                      <a:pt x="254" y="75"/>
                      <a:pt x="259" y="42"/>
                    </a:cubicBezTo>
                    <a:cubicBezTo>
                      <a:pt x="259" y="41"/>
                      <a:pt x="260" y="40"/>
                      <a:pt x="261" y="40"/>
                    </a:cubicBezTo>
                    <a:cubicBezTo>
                      <a:pt x="262" y="40"/>
                      <a:pt x="262" y="41"/>
                      <a:pt x="262" y="42"/>
                    </a:cubicBezTo>
                    <a:cubicBezTo>
                      <a:pt x="257" y="76"/>
                      <a:pt x="239" y="107"/>
                      <a:pt x="212" y="127"/>
                    </a:cubicBezTo>
                    <a:cubicBezTo>
                      <a:pt x="190" y="144"/>
                      <a:pt x="163" y="153"/>
                      <a:pt x="136" y="15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96" name="Group 195">
              <a:extLst>
                <a:ext uri="{FF2B5EF4-FFF2-40B4-BE49-F238E27FC236}">
                  <a16:creationId xmlns:a16="http://schemas.microsoft.com/office/drawing/2014/main" id="{1831FA33-B248-4F21-AA5D-82413189F8CC}"/>
                </a:ext>
              </a:extLst>
            </p:cNvPr>
            <p:cNvGrpSpPr>
              <a:grpSpLocks noChangeAspect="1"/>
            </p:cNvGrpSpPr>
            <p:nvPr/>
          </p:nvGrpSpPr>
          <p:grpSpPr bwMode="auto">
            <a:xfrm rot="10800000">
              <a:off x="6116829" y="3315028"/>
              <a:ext cx="981202" cy="579428"/>
              <a:chOff x="2695" y="1514"/>
              <a:chExt cx="359" cy="212"/>
            </a:xfrm>
            <a:grpFill/>
          </p:grpSpPr>
          <p:sp>
            <p:nvSpPr>
              <p:cNvPr id="197" name="Freeform 21">
                <a:extLst>
                  <a:ext uri="{FF2B5EF4-FFF2-40B4-BE49-F238E27FC236}">
                    <a16:creationId xmlns:a16="http://schemas.microsoft.com/office/drawing/2014/main" id="{75B9ED15-158A-4EF4-8061-C48E057CF0F0}"/>
                  </a:ext>
                </a:extLst>
              </p:cNvPr>
              <p:cNvSpPr>
                <a:spLocks/>
              </p:cNvSpPr>
              <p:nvPr/>
            </p:nvSpPr>
            <p:spPr bwMode="auto">
              <a:xfrm>
                <a:off x="2792" y="1531"/>
                <a:ext cx="172" cy="101"/>
              </a:xfrm>
              <a:custGeom>
                <a:avLst/>
                <a:gdLst>
                  <a:gd name="T0" fmla="*/ 65 w 125"/>
                  <a:gd name="T1" fmla="*/ 73 h 73"/>
                  <a:gd name="T2" fmla="*/ 56 w 125"/>
                  <a:gd name="T3" fmla="*/ 72 h 73"/>
                  <a:gd name="T4" fmla="*/ 5 w 125"/>
                  <a:gd name="T5" fmla="*/ 3 h 73"/>
                  <a:gd name="T6" fmla="*/ 5 w 125"/>
                  <a:gd name="T7" fmla="*/ 1 h 73"/>
                  <a:gd name="T8" fmla="*/ 7 w 125"/>
                  <a:gd name="T9" fmla="*/ 0 h 73"/>
                  <a:gd name="T10" fmla="*/ 8 w 125"/>
                  <a:gd name="T11" fmla="*/ 2 h 73"/>
                  <a:gd name="T12" fmla="*/ 8 w 125"/>
                  <a:gd name="T13" fmla="*/ 3 h 73"/>
                  <a:gd name="T14" fmla="*/ 57 w 125"/>
                  <a:gd name="T15" fmla="*/ 69 h 73"/>
                  <a:gd name="T16" fmla="*/ 99 w 125"/>
                  <a:gd name="T17" fmla="*/ 58 h 73"/>
                  <a:gd name="T18" fmla="*/ 122 w 125"/>
                  <a:gd name="T19" fmla="*/ 20 h 73"/>
                  <a:gd name="T20" fmla="*/ 124 w 125"/>
                  <a:gd name="T21" fmla="*/ 19 h 73"/>
                  <a:gd name="T22" fmla="*/ 125 w 125"/>
                  <a:gd name="T23" fmla="*/ 20 h 73"/>
                  <a:gd name="T24" fmla="*/ 101 w 125"/>
                  <a:gd name="T25" fmla="*/ 61 h 73"/>
                  <a:gd name="T26" fmla="*/ 65 w 125"/>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3">
                    <a:moveTo>
                      <a:pt x="65" y="73"/>
                    </a:moveTo>
                    <a:cubicBezTo>
                      <a:pt x="62" y="73"/>
                      <a:pt x="59" y="73"/>
                      <a:pt x="56" y="72"/>
                    </a:cubicBezTo>
                    <a:cubicBezTo>
                      <a:pt x="23" y="67"/>
                      <a:pt x="0" y="36"/>
                      <a:pt x="5" y="3"/>
                    </a:cubicBezTo>
                    <a:cubicBezTo>
                      <a:pt x="5" y="1"/>
                      <a:pt x="5" y="1"/>
                      <a:pt x="5" y="1"/>
                    </a:cubicBezTo>
                    <a:cubicBezTo>
                      <a:pt x="6" y="0"/>
                      <a:pt x="6" y="0"/>
                      <a:pt x="7" y="0"/>
                    </a:cubicBezTo>
                    <a:cubicBezTo>
                      <a:pt x="8" y="0"/>
                      <a:pt x="9" y="1"/>
                      <a:pt x="8" y="2"/>
                    </a:cubicBezTo>
                    <a:cubicBezTo>
                      <a:pt x="8" y="3"/>
                      <a:pt x="8" y="3"/>
                      <a:pt x="8" y="3"/>
                    </a:cubicBezTo>
                    <a:cubicBezTo>
                      <a:pt x="4" y="35"/>
                      <a:pt x="25" y="65"/>
                      <a:pt x="57" y="69"/>
                    </a:cubicBezTo>
                    <a:cubicBezTo>
                      <a:pt x="72" y="71"/>
                      <a:pt x="87" y="68"/>
                      <a:pt x="99" y="58"/>
                    </a:cubicBezTo>
                    <a:cubicBezTo>
                      <a:pt x="112" y="49"/>
                      <a:pt x="120" y="35"/>
                      <a:pt x="122" y="20"/>
                    </a:cubicBezTo>
                    <a:cubicBezTo>
                      <a:pt x="122" y="19"/>
                      <a:pt x="123" y="18"/>
                      <a:pt x="124" y="19"/>
                    </a:cubicBezTo>
                    <a:cubicBezTo>
                      <a:pt x="124" y="19"/>
                      <a:pt x="125" y="19"/>
                      <a:pt x="125" y="20"/>
                    </a:cubicBezTo>
                    <a:cubicBezTo>
                      <a:pt x="122" y="37"/>
                      <a:pt x="114" y="51"/>
                      <a:pt x="101" y="61"/>
                    </a:cubicBezTo>
                    <a:cubicBezTo>
                      <a:pt x="90" y="69"/>
                      <a:pt x="78" y="73"/>
                      <a:pt x="65" y="7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98" name="Freeform 22">
                <a:extLst>
                  <a:ext uri="{FF2B5EF4-FFF2-40B4-BE49-F238E27FC236}">
                    <a16:creationId xmlns:a16="http://schemas.microsoft.com/office/drawing/2014/main" id="{0D84C799-935E-49EF-9563-E61A030CFFF5}"/>
                  </a:ext>
                </a:extLst>
              </p:cNvPr>
              <p:cNvSpPr>
                <a:spLocks/>
              </p:cNvSpPr>
              <p:nvPr/>
            </p:nvSpPr>
            <p:spPr bwMode="auto">
              <a:xfrm>
                <a:off x="2769" y="1525"/>
                <a:ext cx="220" cy="129"/>
              </a:xfrm>
              <a:custGeom>
                <a:avLst/>
                <a:gdLst>
                  <a:gd name="T0" fmla="*/ 83 w 160"/>
                  <a:gd name="T1" fmla="*/ 93 h 93"/>
                  <a:gd name="T2" fmla="*/ 72 w 160"/>
                  <a:gd name="T3" fmla="*/ 92 h 93"/>
                  <a:gd name="T4" fmla="*/ 6 w 160"/>
                  <a:gd name="T5" fmla="*/ 3 h 93"/>
                  <a:gd name="T6" fmla="*/ 6 w 160"/>
                  <a:gd name="T7" fmla="*/ 1 h 93"/>
                  <a:gd name="T8" fmla="*/ 8 w 160"/>
                  <a:gd name="T9" fmla="*/ 0 h 93"/>
                  <a:gd name="T10" fmla="*/ 9 w 160"/>
                  <a:gd name="T11" fmla="*/ 2 h 93"/>
                  <a:gd name="T12" fmla="*/ 9 w 160"/>
                  <a:gd name="T13" fmla="*/ 4 h 93"/>
                  <a:gd name="T14" fmla="*/ 72 w 160"/>
                  <a:gd name="T15" fmla="*/ 89 h 93"/>
                  <a:gd name="T16" fmla="*/ 127 w 160"/>
                  <a:gd name="T17" fmla="*/ 75 h 93"/>
                  <a:gd name="T18" fmla="*/ 157 w 160"/>
                  <a:gd name="T19" fmla="*/ 25 h 93"/>
                  <a:gd name="T20" fmla="*/ 159 w 160"/>
                  <a:gd name="T21" fmla="*/ 24 h 93"/>
                  <a:gd name="T22" fmla="*/ 160 w 160"/>
                  <a:gd name="T23" fmla="*/ 26 h 93"/>
                  <a:gd name="T24" fmla="*/ 129 w 160"/>
                  <a:gd name="T25" fmla="*/ 78 h 93"/>
                  <a:gd name="T26" fmla="*/ 83 w 160"/>
                  <a:gd name="T2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93">
                    <a:moveTo>
                      <a:pt x="83" y="93"/>
                    </a:moveTo>
                    <a:cubicBezTo>
                      <a:pt x="79" y="93"/>
                      <a:pt x="76" y="93"/>
                      <a:pt x="72" y="92"/>
                    </a:cubicBezTo>
                    <a:cubicBezTo>
                      <a:pt x="30" y="86"/>
                      <a:pt x="0" y="46"/>
                      <a:pt x="6" y="3"/>
                    </a:cubicBezTo>
                    <a:cubicBezTo>
                      <a:pt x="6" y="3"/>
                      <a:pt x="6" y="2"/>
                      <a:pt x="6" y="1"/>
                    </a:cubicBezTo>
                    <a:cubicBezTo>
                      <a:pt x="7" y="0"/>
                      <a:pt x="7" y="0"/>
                      <a:pt x="8" y="0"/>
                    </a:cubicBezTo>
                    <a:cubicBezTo>
                      <a:pt x="9" y="0"/>
                      <a:pt x="10" y="1"/>
                      <a:pt x="9" y="2"/>
                    </a:cubicBezTo>
                    <a:cubicBezTo>
                      <a:pt x="9" y="2"/>
                      <a:pt x="9" y="3"/>
                      <a:pt x="9" y="4"/>
                    </a:cubicBezTo>
                    <a:cubicBezTo>
                      <a:pt x="3" y="45"/>
                      <a:pt x="32" y="83"/>
                      <a:pt x="72" y="89"/>
                    </a:cubicBezTo>
                    <a:cubicBezTo>
                      <a:pt x="92" y="92"/>
                      <a:pt x="111" y="87"/>
                      <a:pt x="127" y="75"/>
                    </a:cubicBezTo>
                    <a:cubicBezTo>
                      <a:pt x="144" y="63"/>
                      <a:pt x="154" y="46"/>
                      <a:pt x="157" y="25"/>
                    </a:cubicBezTo>
                    <a:cubicBezTo>
                      <a:pt x="157" y="25"/>
                      <a:pt x="158" y="24"/>
                      <a:pt x="159" y="24"/>
                    </a:cubicBezTo>
                    <a:cubicBezTo>
                      <a:pt x="159" y="24"/>
                      <a:pt x="160" y="25"/>
                      <a:pt x="160" y="26"/>
                    </a:cubicBezTo>
                    <a:cubicBezTo>
                      <a:pt x="157" y="47"/>
                      <a:pt x="146" y="65"/>
                      <a:pt x="129" y="78"/>
                    </a:cubicBezTo>
                    <a:cubicBezTo>
                      <a:pt x="116" y="88"/>
                      <a:pt x="100" y="93"/>
                      <a:pt x="83" y="9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99" name="Freeform 23">
                <a:extLst>
                  <a:ext uri="{FF2B5EF4-FFF2-40B4-BE49-F238E27FC236}">
                    <a16:creationId xmlns:a16="http://schemas.microsoft.com/office/drawing/2014/main" id="{7DD45FDB-E195-43B6-8D49-209B4679AADC}"/>
                  </a:ext>
                </a:extLst>
              </p:cNvPr>
              <p:cNvSpPr>
                <a:spLocks/>
              </p:cNvSpPr>
              <p:nvPr/>
            </p:nvSpPr>
            <p:spPr bwMode="auto">
              <a:xfrm>
                <a:off x="2743" y="1522"/>
                <a:ext cx="267" cy="158"/>
              </a:xfrm>
              <a:custGeom>
                <a:avLst/>
                <a:gdLst>
                  <a:gd name="T0" fmla="*/ 101 w 195"/>
                  <a:gd name="T1" fmla="*/ 114 h 114"/>
                  <a:gd name="T2" fmla="*/ 87 w 195"/>
                  <a:gd name="T3" fmla="*/ 113 h 114"/>
                  <a:gd name="T4" fmla="*/ 7 w 195"/>
                  <a:gd name="T5" fmla="*/ 4 h 114"/>
                  <a:gd name="T6" fmla="*/ 7 w 195"/>
                  <a:gd name="T7" fmla="*/ 1 h 114"/>
                  <a:gd name="T8" fmla="*/ 9 w 195"/>
                  <a:gd name="T9" fmla="*/ 0 h 114"/>
                  <a:gd name="T10" fmla="*/ 10 w 195"/>
                  <a:gd name="T11" fmla="*/ 2 h 114"/>
                  <a:gd name="T12" fmla="*/ 10 w 195"/>
                  <a:gd name="T13" fmla="*/ 4 h 114"/>
                  <a:gd name="T14" fmla="*/ 88 w 195"/>
                  <a:gd name="T15" fmla="*/ 110 h 114"/>
                  <a:gd name="T16" fmla="*/ 156 w 195"/>
                  <a:gd name="T17" fmla="*/ 92 h 114"/>
                  <a:gd name="T18" fmla="*/ 192 w 195"/>
                  <a:gd name="T19" fmla="*/ 31 h 114"/>
                  <a:gd name="T20" fmla="*/ 194 w 195"/>
                  <a:gd name="T21" fmla="*/ 30 h 114"/>
                  <a:gd name="T22" fmla="*/ 195 w 195"/>
                  <a:gd name="T23" fmla="*/ 31 h 114"/>
                  <a:gd name="T24" fmla="*/ 157 w 195"/>
                  <a:gd name="T25" fmla="*/ 95 h 114"/>
                  <a:gd name="T26" fmla="*/ 101 w 195"/>
                  <a:gd name="T2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114">
                    <a:moveTo>
                      <a:pt x="101" y="114"/>
                    </a:moveTo>
                    <a:cubicBezTo>
                      <a:pt x="97" y="114"/>
                      <a:pt x="92" y="113"/>
                      <a:pt x="87" y="113"/>
                    </a:cubicBezTo>
                    <a:cubicBezTo>
                      <a:pt x="36" y="105"/>
                      <a:pt x="0" y="56"/>
                      <a:pt x="7" y="4"/>
                    </a:cubicBezTo>
                    <a:cubicBezTo>
                      <a:pt x="7" y="3"/>
                      <a:pt x="7" y="2"/>
                      <a:pt x="7" y="1"/>
                    </a:cubicBezTo>
                    <a:cubicBezTo>
                      <a:pt x="8" y="1"/>
                      <a:pt x="8" y="0"/>
                      <a:pt x="9" y="0"/>
                    </a:cubicBezTo>
                    <a:cubicBezTo>
                      <a:pt x="10" y="0"/>
                      <a:pt x="11" y="1"/>
                      <a:pt x="10" y="2"/>
                    </a:cubicBezTo>
                    <a:cubicBezTo>
                      <a:pt x="10" y="3"/>
                      <a:pt x="10" y="3"/>
                      <a:pt x="10" y="4"/>
                    </a:cubicBezTo>
                    <a:cubicBezTo>
                      <a:pt x="3" y="55"/>
                      <a:pt x="38" y="102"/>
                      <a:pt x="88" y="110"/>
                    </a:cubicBezTo>
                    <a:cubicBezTo>
                      <a:pt x="112" y="113"/>
                      <a:pt x="136" y="107"/>
                      <a:pt x="156" y="92"/>
                    </a:cubicBezTo>
                    <a:cubicBezTo>
                      <a:pt x="176" y="78"/>
                      <a:pt x="188" y="56"/>
                      <a:pt x="192" y="31"/>
                    </a:cubicBezTo>
                    <a:cubicBezTo>
                      <a:pt x="192" y="30"/>
                      <a:pt x="193" y="29"/>
                      <a:pt x="194" y="30"/>
                    </a:cubicBezTo>
                    <a:cubicBezTo>
                      <a:pt x="195" y="30"/>
                      <a:pt x="195" y="30"/>
                      <a:pt x="195" y="31"/>
                    </a:cubicBezTo>
                    <a:cubicBezTo>
                      <a:pt x="191" y="57"/>
                      <a:pt x="178" y="80"/>
                      <a:pt x="157" y="95"/>
                    </a:cubicBezTo>
                    <a:cubicBezTo>
                      <a:pt x="141" y="107"/>
                      <a:pt x="121" y="114"/>
                      <a:pt x="101" y="114"/>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200" name="Freeform 24">
                <a:extLst>
                  <a:ext uri="{FF2B5EF4-FFF2-40B4-BE49-F238E27FC236}">
                    <a16:creationId xmlns:a16="http://schemas.microsoft.com/office/drawing/2014/main" id="{F9004889-8AFF-4840-AE03-0A03F205DB26}"/>
                  </a:ext>
                </a:extLst>
              </p:cNvPr>
              <p:cNvSpPr>
                <a:spLocks/>
              </p:cNvSpPr>
              <p:nvPr/>
            </p:nvSpPr>
            <p:spPr bwMode="auto">
              <a:xfrm>
                <a:off x="2718" y="1518"/>
                <a:ext cx="314" cy="184"/>
              </a:xfrm>
              <a:custGeom>
                <a:avLst/>
                <a:gdLst>
                  <a:gd name="T0" fmla="*/ 119 w 229"/>
                  <a:gd name="T1" fmla="*/ 133 h 133"/>
                  <a:gd name="T2" fmla="*/ 103 w 229"/>
                  <a:gd name="T3" fmla="*/ 132 h 133"/>
                  <a:gd name="T4" fmla="*/ 9 w 229"/>
                  <a:gd name="T5" fmla="*/ 4 h 133"/>
                  <a:gd name="T6" fmla="*/ 9 w 229"/>
                  <a:gd name="T7" fmla="*/ 2 h 133"/>
                  <a:gd name="T8" fmla="*/ 11 w 229"/>
                  <a:gd name="T9" fmla="*/ 0 h 133"/>
                  <a:gd name="T10" fmla="*/ 12 w 229"/>
                  <a:gd name="T11" fmla="*/ 2 h 133"/>
                  <a:gd name="T12" fmla="*/ 12 w 229"/>
                  <a:gd name="T13" fmla="*/ 5 h 133"/>
                  <a:gd name="T14" fmla="*/ 104 w 229"/>
                  <a:gd name="T15" fmla="*/ 129 h 133"/>
                  <a:gd name="T16" fmla="*/ 183 w 229"/>
                  <a:gd name="T17" fmla="*/ 109 h 133"/>
                  <a:gd name="T18" fmla="*/ 226 w 229"/>
                  <a:gd name="T19" fmla="*/ 36 h 133"/>
                  <a:gd name="T20" fmla="*/ 228 w 229"/>
                  <a:gd name="T21" fmla="*/ 35 h 133"/>
                  <a:gd name="T22" fmla="*/ 229 w 229"/>
                  <a:gd name="T23" fmla="*/ 37 h 133"/>
                  <a:gd name="T24" fmla="*/ 185 w 229"/>
                  <a:gd name="T25" fmla="*/ 111 h 133"/>
                  <a:gd name="T26" fmla="*/ 119 w 229"/>
                  <a:gd name="T2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133">
                    <a:moveTo>
                      <a:pt x="119" y="133"/>
                    </a:moveTo>
                    <a:cubicBezTo>
                      <a:pt x="114" y="133"/>
                      <a:pt x="108" y="133"/>
                      <a:pt x="103" y="132"/>
                    </a:cubicBezTo>
                    <a:cubicBezTo>
                      <a:pt x="42" y="123"/>
                      <a:pt x="0" y="66"/>
                      <a:pt x="9" y="4"/>
                    </a:cubicBezTo>
                    <a:cubicBezTo>
                      <a:pt x="9" y="4"/>
                      <a:pt x="9" y="3"/>
                      <a:pt x="9" y="2"/>
                    </a:cubicBezTo>
                    <a:cubicBezTo>
                      <a:pt x="10" y="1"/>
                      <a:pt x="10" y="0"/>
                      <a:pt x="11" y="0"/>
                    </a:cubicBezTo>
                    <a:cubicBezTo>
                      <a:pt x="12" y="1"/>
                      <a:pt x="12" y="1"/>
                      <a:pt x="12" y="2"/>
                    </a:cubicBezTo>
                    <a:cubicBezTo>
                      <a:pt x="12" y="3"/>
                      <a:pt x="12" y="4"/>
                      <a:pt x="12" y="5"/>
                    </a:cubicBezTo>
                    <a:cubicBezTo>
                      <a:pt x="3" y="65"/>
                      <a:pt x="44" y="120"/>
                      <a:pt x="104" y="129"/>
                    </a:cubicBezTo>
                    <a:cubicBezTo>
                      <a:pt x="132" y="133"/>
                      <a:pt x="160" y="126"/>
                      <a:pt x="183" y="109"/>
                    </a:cubicBezTo>
                    <a:cubicBezTo>
                      <a:pt x="207" y="91"/>
                      <a:pt x="222" y="65"/>
                      <a:pt x="226" y="36"/>
                    </a:cubicBezTo>
                    <a:cubicBezTo>
                      <a:pt x="226" y="35"/>
                      <a:pt x="227" y="35"/>
                      <a:pt x="228" y="35"/>
                    </a:cubicBezTo>
                    <a:cubicBezTo>
                      <a:pt x="229" y="35"/>
                      <a:pt x="229" y="36"/>
                      <a:pt x="229" y="37"/>
                    </a:cubicBezTo>
                    <a:cubicBezTo>
                      <a:pt x="225" y="67"/>
                      <a:pt x="209" y="93"/>
                      <a:pt x="185" y="111"/>
                    </a:cubicBezTo>
                    <a:cubicBezTo>
                      <a:pt x="166" y="126"/>
                      <a:pt x="143" y="133"/>
                      <a:pt x="119" y="13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201" name="Freeform 25">
                <a:extLst>
                  <a:ext uri="{FF2B5EF4-FFF2-40B4-BE49-F238E27FC236}">
                    <a16:creationId xmlns:a16="http://schemas.microsoft.com/office/drawing/2014/main" id="{F24BBD35-6985-4F1F-B4F4-D2BC6721558A}"/>
                  </a:ext>
                </a:extLst>
              </p:cNvPr>
              <p:cNvSpPr>
                <a:spLocks/>
              </p:cNvSpPr>
              <p:nvPr/>
            </p:nvSpPr>
            <p:spPr bwMode="auto">
              <a:xfrm>
                <a:off x="2695" y="1514"/>
                <a:ext cx="359" cy="212"/>
              </a:xfrm>
              <a:custGeom>
                <a:avLst/>
                <a:gdLst>
                  <a:gd name="T0" fmla="*/ 136 w 262"/>
                  <a:gd name="T1" fmla="*/ 153 h 153"/>
                  <a:gd name="T2" fmla="*/ 118 w 262"/>
                  <a:gd name="T3" fmla="*/ 151 h 153"/>
                  <a:gd name="T4" fmla="*/ 10 w 262"/>
                  <a:gd name="T5" fmla="*/ 5 h 153"/>
                  <a:gd name="T6" fmla="*/ 10 w 262"/>
                  <a:gd name="T7" fmla="*/ 2 h 153"/>
                  <a:gd name="T8" fmla="*/ 12 w 262"/>
                  <a:gd name="T9" fmla="*/ 1 h 153"/>
                  <a:gd name="T10" fmla="*/ 13 w 262"/>
                  <a:gd name="T11" fmla="*/ 2 h 153"/>
                  <a:gd name="T12" fmla="*/ 13 w 262"/>
                  <a:gd name="T13" fmla="*/ 6 h 153"/>
                  <a:gd name="T14" fmla="*/ 118 w 262"/>
                  <a:gd name="T15" fmla="*/ 148 h 153"/>
                  <a:gd name="T16" fmla="*/ 210 w 262"/>
                  <a:gd name="T17" fmla="*/ 125 h 153"/>
                  <a:gd name="T18" fmla="*/ 259 w 262"/>
                  <a:gd name="T19" fmla="*/ 42 h 153"/>
                  <a:gd name="T20" fmla="*/ 261 w 262"/>
                  <a:gd name="T21" fmla="*/ 40 h 153"/>
                  <a:gd name="T22" fmla="*/ 262 w 262"/>
                  <a:gd name="T23" fmla="*/ 42 h 153"/>
                  <a:gd name="T24" fmla="*/ 212 w 262"/>
                  <a:gd name="T25" fmla="*/ 127 h 153"/>
                  <a:gd name="T26" fmla="*/ 136 w 262"/>
                  <a:gd name="T2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2" h="153">
                    <a:moveTo>
                      <a:pt x="136" y="153"/>
                    </a:moveTo>
                    <a:cubicBezTo>
                      <a:pt x="130" y="153"/>
                      <a:pt x="124" y="152"/>
                      <a:pt x="118" y="151"/>
                    </a:cubicBezTo>
                    <a:cubicBezTo>
                      <a:pt x="48" y="141"/>
                      <a:pt x="0" y="76"/>
                      <a:pt x="10" y="5"/>
                    </a:cubicBezTo>
                    <a:cubicBezTo>
                      <a:pt x="10" y="4"/>
                      <a:pt x="10" y="3"/>
                      <a:pt x="10" y="2"/>
                    </a:cubicBezTo>
                    <a:cubicBezTo>
                      <a:pt x="11" y="1"/>
                      <a:pt x="11" y="0"/>
                      <a:pt x="12" y="1"/>
                    </a:cubicBezTo>
                    <a:cubicBezTo>
                      <a:pt x="13" y="1"/>
                      <a:pt x="13" y="2"/>
                      <a:pt x="13" y="2"/>
                    </a:cubicBezTo>
                    <a:cubicBezTo>
                      <a:pt x="13" y="3"/>
                      <a:pt x="13" y="4"/>
                      <a:pt x="13" y="6"/>
                    </a:cubicBezTo>
                    <a:cubicBezTo>
                      <a:pt x="3" y="74"/>
                      <a:pt x="50" y="138"/>
                      <a:pt x="118" y="148"/>
                    </a:cubicBezTo>
                    <a:cubicBezTo>
                      <a:pt x="151" y="153"/>
                      <a:pt x="183" y="145"/>
                      <a:pt x="210" y="125"/>
                    </a:cubicBezTo>
                    <a:cubicBezTo>
                      <a:pt x="237" y="105"/>
                      <a:pt x="254" y="75"/>
                      <a:pt x="259" y="42"/>
                    </a:cubicBezTo>
                    <a:cubicBezTo>
                      <a:pt x="259" y="41"/>
                      <a:pt x="260" y="40"/>
                      <a:pt x="261" y="40"/>
                    </a:cubicBezTo>
                    <a:cubicBezTo>
                      <a:pt x="262" y="40"/>
                      <a:pt x="262" y="41"/>
                      <a:pt x="262" y="42"/>
                    </a:cubicBezTo>
                    <a:cubicBezTo>
                      <a:pt x="257" y="76"/>
                      <a:pt x="239" y="107"/>
                      <a:pt x="212" y="127"/>
                    </a:cubicBezTo>
                    <a:cubicBezTo>
                      <a:pt x="190" y="144"/>
                      <a:pt x="163" y="153"/>
                      <a:pt x="136" y="15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67" name="Group 166">
            <a:extLst>
              <a:ext uri="{FF2B5EF4-FFF2-40B4-BE49-F238E27FC236}">
                <a16:creationId xmlns:a16="http://schemas.microsoft.com/office/drawing/2014/main" id="{075DBE2B-794E-494D-9F88-41281AF2EA66}"/>
              </a:ext>
            </a:extLst>
          </p:cNvPr>
          <p:cNvGrpSpPr/>
          <p:nvPr/>
        </p:nvGrpSpPr>
        <p:grpSpPr>
          <a:xfrm rot="1952404">
            <a:off x="1329803" y="2523059"/>
            <a:ext cx="1314577" cy="1055393"/>
            <a:chOff x="6116829" y="3315028"/>
            <a:chExt cx="1314577" cy="1055393"/>
          </a:xfrm>
          <a:solidFill>
            <a:schemeClr val="accent1">
              <a:lumMod val="20000"/>
              <a:lumOff val="80000"/>
              <a:alpha val="50000"/>
            </a:schemeClr>
          </a:solidFill>
        </p:grpSpPr>
        <p:grpSp>
          <p:nvGrpSpPr>
            <p:cNvPr id="168" name="Group 167">
              <a:extLst>
                <a:ext uri="{FF2B5EF4-FFF2-40B4-BE49-F238E27FC236}">
                  <a16:creationId xmlns:a16="http://schemas.microsoft.com/office/drawing/2014/main" id="{8E55BBE5-9610-47A7-97A5-C7297E071813}"/>
                </a:ext>
              </a:extLst>
            </p:cNvPr>
            <p:cNvGrpSpPr>
              <a:grpSpLocks noChangeAspect="1"/>
            </p:cNvGrpSpPr>
            <p:nvPr/>
          </p:nvGrpSpPr>
          <p:grpSpPr bwMode="auto">
            <a:xfrm>
              <a:off x="6450204" y="3790993"/>
              <a:ext cx="981202" cy="579428"/>
              <a:chOff x="2695" y="1514"/>
              <a:chExt cx="359" cy="212"/>
            </a:xfrm>
            <a:grpFill/>
          </p:grpSpPr>
          <p:sp>
            <p:nvSpPr>
              <p:cNvPr id="175" name="Freeform 21">
                <a:extLst>
                  <a:ext uri="{FF2B5EF4-FFF2-40B4-BE49-F238E27FC236}">
                    <a16:creationId xmlns:a16="http://schemas.microsoft.com/office/drawing/2014/main" id="{7867B13E-0358-4E9B-BAB7-3B70420D13B0}"/>
                  </a:ext>
                </a:extLst>
              </p:cNvPr>
              <p:cNvSpPr>
                <a:spLocks/>
              </p:cNvSpPr>
              <p:nvPr/>
            </p:nvSpPr>
            <p:spPr bwMode="auto">
              <a:xfrm>
                <a:off x="2792" y="1531"/>
                <a:ext cx="172" cy="101"/>
              </a:xfrm>
              <a:custGeom>
                <a:avLst/>
                <a:gdLst>
                  <a:gd name="T0" fmla="*/ 65 w 125"/>
                  <a:gd name="T1" fmla="*/ 73 h 73"/>
                  <a:gd name="T2" fmla="*/ 56 w 125"/>
                  <a:gd name="T3" fmla="*/ 72 h 73"/>
                  <a:gd name="T4" fmla="*/ 5 w 125"/>
                  <a:gd name="T5" fmla="*/ 3 h 73"/>
                  <a:gd name="T6" fmla="*/ 5 w 125"/>
                  <a:gd name="T7" fmla="*/ 1 h 73"/>
                  <a:gd name="T8" fmla="*/ 7 w 125"/>
                  <a:gd name="T9" fmla="*/ 0 h 73"/>
                  <a:gd name="T10" fmla="*/ 8 w 125"/>
                  <a:gd name="T11" fmla="*/ 2 h 73"/>
                  <a:gd name="T12" fmla="*/ 8 w 125"/>
                  <a:gd name="T13" fmla="*/ 3 h 73"/>
                  <a:gd name="T14" fmla="*/ 57 w 125"/>
                  <a:gd name="T15" fmla="*/ 69 h 73"/>
                  <a:gd name="T16" fmla="*/ 99 w 125"/>
                  <a:gd name="T17" fmla="*/ 58 h 73"/>
                  <a:gd name="T18" fmla="*/ 122 w 125"/>
                  <a:gd name="T19" fmla="*/ 20 h 73"/>
                  <a:gd name="T20" fmla="*/ 124 w 125"/>
                  <a:gd name="T21" fmla="*/ 19 h 73"/>
                  <a:gd name="T22" fmla="*/ 125 w 125"/>
                  <a:gd name="T23" fmla="*/ 20 h 73"/>
                  <a:gd name="T24" fmla="*/ 101 w 125"/>
                  <a:gd name="T25" fmla="*/ 61 h 73"/>
                  <a:gd name="T26" fmla="*/ 65 w 125"/>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3">
                    <a:moveTo>
                      <a:pt x="65" y="73"/>
                    </a:moveTo>
                    <a:cubicBezTo>
                      <a:pt x="62" y="73"/>
                      <a:pt x="59" y="73"/>
                      <a:pt x="56" y="72"/>
                    </a:cubicBezTo>
                    <a:cubicBezTo>
                      <a:pt x="23" y="67"/>
                      <a:pt x="0" y="36"/>
                      <a:pt x="5" y="3"/>
                    </a:cubicBezTo>
                    <a:cubicBezTo>
                      <a:pt x="5" y="1"/>
                      <a:pt x="5" y="1"/>
                      <a:pt x="5" y="1"/>
                    </a:cubicBezTo>
                    <a:cubicBezTo>
                      <a:pt x="6" y="0"/>
                      <a:pt x="6" y="0"/>
                      <a:pt x="7" y="0"/>
                    </a:cubicBezTo>
                    <a:cubicBezTo>
                      <a:pt x="8" y="0"/>
                      <a:pt x="9" y="1"/>
                      <a:pt x="8" y="2"/>
                    </a:cubicBezTo>
                    <a:cubicBezTo>
                      <a:pt x="8" y="3"/>
                      <a:pt x="8" y="3"/>
                      <a:pt x="8" y="3"/>
                    </a:cubicBezTo>
                    <a:cubicBezTo>
                      <a:pt x="4" y="35"/>
                      <a:pt x="25" y="65"/>
                      <a:pt x="57" y="69"/>
                    </a:cubicBezTo>
                    <a:cubicBezTo>
                      <a:pt x="72" y="71"/>
                      <a:pt x="87" y="68"/>
                      <a:pt x="99" y="58"/>
                    </a:cubicBezTo>
                    <a:cubicBezTo>
                      <a:pt x="112" y="49"/>
                      <a:pt x="120" y="35"/>
                      <a:pt x="122" y="20"/>
                    </a:cubicBezTo>
                    <a:cubicBezTo>
                      <a:pt x="122" y="19"/>
                      <a:pt x="123" y="18"/>
                      <a:pt x="124" y="19"/>
                    </a:cubicBezTo>
                    <a:cubicBezTo>
                      <a:pt x="124" y="19"/>
                      <a:pt x="125" y="19"/>
                      <a:pt x="125" y="20"/>
                    </a:cubicBezTo>
                    <a:cubicBezTo>
                      <a:pt x="122" y="37"/>
                      <a:pt x="114" y="51"/>
                      <a:pt x="101" y="61"/>
                    </a:cubicBezTo>
                    <a:cubicBezTo>
                      <a:pt x="90" y="69"/>
                      <a:pt x="78" y="73"/>
                      <a:pt x="65" y="7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76" name="Freeform 22">
                <a:extLst>
                  <a:ext uri="{FF2B5EF4-FFF2-40B4-BE49-F238E27FC236}">
                    <a16:creationId xmlns:a16="http://schemas.microsoft.com/office/drawing/2014/main" id="{45BC9FF1-5F5E-4B2A-B7A3-2C78B1EB6BD9}"/>
                  </a:ext>
                </a:extLst>
              </p:cNvPr>
              <p:cNvSpPr>
                <a:spLocks/>
              </p:cNvSpPr>
              <p:nvPr/>
            </p:nvSpPr>
            <p:spPr bwMode="auto">
              <a:xfrm>
                <a:off x="2769" y="1525"/>
                <a:ext cx="220" cy="129"/>
              </a:xfrm>
              <a:custGeom>
                <a:avLst/>
                <a:gdLst>
                  <a:gd name="T0" fmla="*/ 83 w 160"/>
                  <a:gd name="T1" fmla="*/ 93 h 93"/>
                  <a:gd name="T2" fmla="*/ 72 w 160"/>
                  <a:gd name="T3" fmla="*/ 92 h 93"/>
                  <a:gd name="T4" fmla="*/ 6 w 160"/>
                  <a:gd name="T5" fmla="*/ 3 h 93"/>
                  <a:gd name="T6" fmla="*/ 6 w 160"/>
                  <a:gd name="T7" fmla="*/ 1 h 93"/>
                  <a:gd name="T8" fmla="*/ 8 w 160"/>
                  <a:gd name="T9" fmla="*/ 0 h 93"/>
                  <a:gd name="T10" fmla="*/ 9 w 160"/>
                  <a:gd name="T11" fmla="*/ 2 h 93"/>
                  <a:gd name="T12" fmla="*/ 9 w 160"/>
                  <a:gd name="T13" fmla="*/ 4 h 93"/>
                  <a:gd name="T14" fmla="*/ 72 w 160"/>
                  <a:gd name="T15" fmla="*/ 89 h 93"/>
                  <a:gd name="T16" fmla="*/ 127 w 160"/>
                  <a:gd name="T17" fmla="*/ 75 h 93"/>
                  <a:gd name="T18" fmla="*/ 157 w 160"/>
                  <a:gd name="T19" fmla="*/ 25 h 93"/>
                  <a:gd name="T20" fmla="*/ 159 w 160"/>
                  <a:gd name="T21" fmla="*/ 24 h 93"/>
                  <a:gd name="T22" fmla="*/ 160 w 160"/>
                  <a:gd name="T23" fmla="*/ 26 h 93"/>
                  <a:gd name="T24" fmla="*/ 129 w 160"/>
                  <a:gd name="T25" fmla="*/ 78 h 93"/>
                  <a:gd name="T26" fmla="*/ 83 w 160"/>
                  <a:gd name="T2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93">
                    <a:moveTo>
                      <a:pt x="83" y="93"/>
                    </a:moveTo>
                    <a:cubicBezTo>
                      <a:pt x="79" y="93"/>
                      <a:pt x="76" y="93"/>
                      <a:pt x="72" y="92"/>
                    </a:cubicBezTo>
                    <a:cubicBezTo>
                      <a:pt x="30" y="86"/>
                      <a:pt x="0" y="46"/>
                      <a:pt x="6" y="3"/>
                    </a:cubicBezTo>
                    <a:cubicBezTo>
                      <a:pt x="6" y="3"/>
                      <a:pt x="6" y="2"/>
                      <a:pt x="6" y="1"/>
                    </a:cubicBezTo>
                    <a:cubicBezTo>
                      <a:pt x="7" y="0"/>
                      <a:pt x="7" y="0"/>
                      <a:pt x="8" y="0"/>
                    </a:cubicBezTo>
                    <a:cubicBezTo>
                      <a:pt x="9" y="0"/>
                      <a:pt x="10" y="1"/>
                      <a:pt x="9" y="2"/>
                    </a:cubicBezTo>
                    <a:cubicBezTo>
                      <a:pt x="9" y="2"/>
                      <a:pt x="9" y="3"/>
                      <a:pt x="9" y="4"/>
                    </a:cubicBezTo>
                    <a:cubicBezTo>
                      <a:pt x="3" y="45"/>
                      <a:pt x="32" y="83"/>
                      <a:pt x="72" y="89"/>
                    </a:cubicBezTo>
                    <a:cubicBezTo>
                      <a:pt x="92" y="92"/>
                      <a:pt x="111" y="87"/>
                      <a:pt x="127" y="75"/>
                    </a:cubicBezTo>
                    <a:cubicBezTo>
                      <a:pt x="144" y="63"/>
                      <a:pt x="154" y="46"/>
                      <a:pt x="157" y="25"/>
                    </a:cubicBezTo>
                    <a:cubicBezTo>
                      <a:pt x="157" y="25"/>
                      <a:pt x="158" y="24"/>
                      <a:pt x="159" y="24"/>
                    </a:cubicBezTo>
                    <a:cubicBezTo>
                      <a:pt x="159" y="24"/>
                      <a:pt x="160" y="25"/>
                      <a:pt x="160" y="26"/>
                    </a:cubicBezTo>
                    <a:cubicBezTo>
                      <a:pt x="157" y="47"/>
                      <a:pt x="146" y="65"/>
                      <a:pt x="129" y="78"/>
                    </a:cubicBezTo>
                    <a:cubicBezTo>
                      <a:pt x="116" y="88"/>
                      <a:pt x="100" y="93"/>
                      <a:pt x="83" y="9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77" name="Freeform 23">
                <a:extLst>
                  <a:ext uri="{FF2B5EF4-FFF2-40B4-BE49-F238E27FC236}">
                    <a16:creationId xmlns:a16="http://schemas.microsoft.com/office/drawing/2014/main" id="{99785BDF-97F9-421A-9FBD-CA368A72FE8E}"/>
                  </a:ext>
                </a:extLst>
              </p:cNvPr>
              <p:cNvSpPr>
                <a:spLocks/>
              </p:cNvSpPr>
              <p:nvPr/>
            </p:nvSpPr>
            <p:spPr bwMode="auto">
              <a:xfrm>
                <a:off x="2743" y="1522"/>
                <a:ext cx="267" cy="158"/>
              </a:xfrm>
              <a:custGeom>
                <a:avLst/>
                <a:gdLst>
                  <a:gd name="T0" fmla="*/ 101 w 195"/>
                  <a:gd name="T1" fmla="*/ 114 h 114"/>
                  <a:gd name="T2" fmla="*/ 87 w 195"/>
                  <a:gd name="T3" fmla="*/ 113 h 114"/>
                  <a:gd name="T4" fmla="*/ 7 w 195"/>
                  <a:gd name="T5" fmla="*/ 4 h 114"/>
                  <a:gd name="T6" fmla="*/ 7 w 195"/>
                  <a:gd name="T7" fmla="*/ 1 h 114"/>
                  <a:gd name="T8" fmla="*/ 9 w 195"/>
                  <a:gd name="T9" fmla="*/ 0 h 114"/>
                  <a:gd name="T10" fmla="*/ 10 w 195"/>
                  <a:gd name="T11" fmla="*/ 2 h 114"/>
                  <a:gd name="T12" fmla="*/ 10 w 195"/>
                  <a:gd name="T13" fmla="*/ 4 h 114"/>
                  <a:gd name="T14" fmla="*/ 88 w 195"/>
                  <a:gd name="T15" fmla="*/ 110 h 114"/>
                  <a:gd name="T16" fmla="*/ 156 w 195"/>
                  <a:gd name="T17" fmla="*/ 92 h 114"/>
                  <a:gd name="T18" fmla="*/ 192 w 195"/>
                  <a:gd name="T19" fmla="*/ 31 h 114"/>
                  <a:gd name="T20" fmla="*/ 194 w 195"/>
                  <a:gd name="T21" fmla="*/ 30 h 114"/>
                  <a:gd name="T22" fmla="*/ 195 w 195"/>
                  <a:gd name="T23" fmla="*/ 31 h 114"/>
                  <a:gd name="T24" fmla="*/ 157 w 195"/>
                  <a:gd name="T25" fmla="*/ 95 h 114"/>
                  <a:gd name="T26" fmla="*/ 101 w 195"/>
                  <a:gd name="T2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114">
                    <a:moveTo>
                      <a:pt x="101" y="114"/>
                    </a:moveTo>
                    <a:cubicBezTo>
                      <a:pt x="97" y="114"/>
                      <a:pt x="92" y="113"/>
                      <a:pt x="87" y="113"/>
                    </a:cubicBezTo>
                    <a:cubicBezTo>
                      <a:pt x="36" y="105"/>
                      <a:pt x="0" y="56"/>
                      <a:pt x="7" y="4"/>
                    </a:cubicBezTo>
                    <a:cubicBezTo>
                      <a:pt x="7" y="3"/>
                      <a:pt x="7" y="2"/>
                      <a:pt x="7" y="1"/>
                    </a:cubicBezTo>
                    <a:cubicBezTo>
                      <a:pt x="8" y="1"/>
                      <a:pt x="8" y="0"/>
                      <a:pt x="9" y="0"/>
                    </a:cubicBezTo>
                    <a:cubicBezTo>
                      <a:pt x="10" y="0"/>
                      <a:pt x="11" y="1"/>
                      <a:pt x="10" y="2"/>
                    </a:cubicBezTo>
                    <a:cubicBezTo>
                      <a:pt x="10" y="3"/>
                      <a:pt x="10" y="3"/>
                      <a:pt x="10" y="4"/>
                    </a:cubicBezTo>
                    <a:cubicBezTo>
                      <a:pt x="3" y="55"/>
                      <a:pt x="38" y="102"/>
                      <a:pt x="88" y="110"/>
                    </a:cubicBezTo>
                    <a:cubicBezTo>
                      <a:pt x="112" y="113"/>
                      <a:pt x="136" y="107"/>
                      <a:pt x="156" y="92"/>
                    </a:cubicBezTo>
                    <a:cubicBezTo>
                      <a:pt x="176" y="78"/>
                      <a:pt x="188" y="56"/>
                      <a:pt x="192" y="31"/>
                    </a:cubicBezTo>
                    <a:cubicBezTo>
                      <a:pt x="192" y="30"/>
                      <a:pt x="193" y="29"/>
                      <a:pt x="194" y="30"/>
                    </a:cubicBezTo>
                    <a:cubicBezTo>
                      <a:pt x="195" y="30"/>
                      <a:pt x="195" y="30"/>
                      <a:pt x="195" y="31"/>
                    </a:cubicBezTo>
                    <a:cubicBezTo>
                      <a:pt x="191" y="57"/>
                      <a:pt x="178" y="80"/>
                      <a:pt x="157" y="95"/>
                    </a:cubicBezTo>
                    <a:cubicBezTo>
                      <a:pt x="141" y="107"/>
                      <a:pt x="121" y="114"/>
                      <a:pt x="101" y="114"/>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78" name="Freeform 24">
                <a:extLst>
                  <a:ext uri="{FF2B5EF4-FFF2-40B4-BE49-F238E27FC236}">
                    <a16:creationId xmlns:a16="http://schemas.microsoft.com/office/drawing/2014/main" id="{5A39E553-9B11-462F-B328-972FF5365EFB}"/>
                  </a:ext>
                </a:extLst>
              </p:cNvPr>
              <p:cNvSpPr>
                <a:spLocks/>
              </p:cNvSpPr>
              <p:nvPr/>
            </p:nvSpPr>
            <p:spPr bwMode="auto">
              <a:xfrm>
                <a:off x="2718" y="1518"/>
                <a:ext cx="314" cy="184"/>
              </a:xfrm>
              <a:custGeom>
                <a:avLst/>
                <a:gdLst>
                  <a:gd name="T0" fmla="*/ 119 w 229"/>
                  <a:gd name="T1" fmla="*/ 133 h 133"/>
                  <a:gd name="T2" fmla="*/ 103 w 229"/>
                  <a:gd name="T3" fmla="*/ 132 h 133"/>
                  <a:gd name="T4" fmla="*/ 9 w 229"/>
                  <a:gd name="T5" fmla="*/ 4 h 133"/>
                  <a:gd name="T6" fmla="*/ 9 w 229"/>
                  <a:gd name="T7" fmla="*/ 2 h 133"/>
                  <a:gd name="T8" fmla="*/ 11 w 229"/>
                  <a:gd name="T9" fmla="*/ 0 h 133"/>
                  <a:gd name="T10" fmla="*/ 12 w 229"/>
                  <a:gd name="T11" fmla="*/ 2 h 133"/>
                  <a:gd name="T12" fmla="*/ 12 w 229"/>
                  <a:gd name="T13" fmla="*/ 5 h 133"/>
                  <a:gd name="T14" fmla="*/ 104 w 229"/>
                  <a:gd name="T15" fmla="*/ 129 h 133"/>
                  <a:gd name="T16" fmla="*/ 183 w 229"/>
                  <a:gd name="T17" fmla="*/ 109 h 133"/>
                  <a:gd name="T18" fmla="*/ 226 w 229"/>
                  <a:gd name="T19" fmla="*/ 36 h 133"/>
                  <a:gd name="T20" fmla="*/ 228 w 229"/>
                  <a:gd name="T21" fmla="*/ 35 h 133"/>
                  <a:gd name="T22" fmla="*/ 229 w 229"/>
                  <a:gd name="T23" fmla="*/ 37 h 133"/>
                  <a:gd name="T24" fmla="*/ 185 w 229"/>
                  <a:gd name="T25" fmla="*/ 111 h 133"/>
                  <a:gd name="T26" fmla="*/ 119 w 229"/>
                  <a:gd name="T2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133">
                    <a:moveTo>
                      <a:pt x="119" y="133"/>
                    </a:moveTo>
                    <a:cubicBezTo>
                      <a:pt x="114" y="133"/>
                      <a:pt x="108" y="133"/>
                      <a:pt x="103" y="132"/>
                    </a:cubicBezTo>
                    <a:cubicBezTo>
                      <a:pt x="42" y="123"/>
                      <a:pt x="0" y="66"/>
                      <a:pt x="9" y="4"/>
                    </a:cubicBezTo>
                    <a:cubicBezTo>
                      <a:pt x="9" y="4"/>
                      <a:pt x="9" y="3"/>
                      <a:pt x="9" y="2"/>
                    </a:cubicBezTo>
                    <a:cubicBezTo>
                      <a:pt x="10" y="1"/>
                      <a:pt x="10" y="0"/>
                      <a:pt x="11" y="0"/>
                    </a:cubicBezTo>
                    <a:cubicBezTo>
                      <a:pt x="12" y="1"/>
                      <a:pt x="12" y="1"/>
                      <a:pt x="12" y="2"/>
                    </a:cubicBezTo>
                    <a:cubicBezTo>
                      <a:pt x="12" y="3"/>
                      <a:pt x="12" y="4"/>
                      <a:pt x="12" y="5"/>
                    </a:cubicBezTo>
                    <a:cubicBezTo>
                      <a:pt x="3" y="65"/>
                      <a:pt x="44" y="120"/>
                      <a:pt x="104" y="129"/>
                    </a:cubicBezTo>
                    <a:cubicBezTo>
                      <a:pt x="132" y="133"/>
                      <a:pt x="160" y="126"/>
                      <a:pt x="183" y="109"/>
                    </a:cubicBezTo>
                    <a:cubicBezTo>
                      <a:pt x="207" y="91"/>
                      <a:pt x="222" y="65"/>
                      <a:pt x="226" y="36"/>
                    </a:cubicBezTo>
                    <a:cubicBezTo>
                      <a:pt x="226" y="35"/>
                      <a:pt x="227" y="35"/>
                      <a:pt x="228" y="35"/>
                    </a:cubicBezTo>
                    <a:cubicBezTo>
                      <a:pt x="229" y="35"/>
                      <a:pt x="229" y="36"/>
                      <a:pt x="229" y="37"/>
                    </a:cubicBezTo>
                    <a:cubicBezTo>
                      <a:pt x="225" y="67"/>
                      <a:pt x="209" y="93"/>
                      <a:pt x="185" y="111"/>
                    </a:cubicBezTo>
                    <a:cubicBezTo>
                      <a:pt x="166" y="126"/>
                      <a:pt x="143" y="133"/>
                      <a:pt x="119" y="13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79" name="Freeform 25">
                <a:extLst>
                  <a:ext uri="{FF2B5EF4-FFF2-40B4-BE49-F238E27FC236}">
                    <a16:creationId xmlns:a16="http://schemas.microsoft.com/office/drawing/2014/main" id="{5A99A91E-D46F-43D5-8724-D99E04594118}"/>
                  </a:ext>
                </a:extLst>
              </p:cNvPr>
              <p:cNvSpPr>
                <a:spLocks/>
              </p:cNvSpPr>
              <p:nvPr/>
            </p:nvSpPr>
            <p:spPr bwMode="auto">
              <a:xfrm>
                <a:off x="2695" y="1514"/>
                <a:ext cx="359" cy="212"/>
              </a:xfrm>
              <a:custGeom>
                <a:avLst/>
                <a:gdLst>
                  <a:gd name="T0" fmla="*/ 136 w 262"/>
                  <a:gd name="T1" fmla="*/ 153 h 153"/>
                  <a:gd name="T2" fmla="*/ 118 w 262"/>
                  <a:gd name="T3" fmla="*/ 151 h 153"/>
                  <a:gd name="T4" fmla="*/ 10 w 262"/>
                  <a:gd name="T5" fmla="*/ 5 h 153"/>
                  <a:gd name="T6" fmla="*/ 10 w 262"/>
                  <a:gd name="T7" fmla="*/ 2 h 153"/>
                  <a:gd name="T8" fmla="*/ 12 w 262"/>
                  <a:gd name="T9" fmla="*/ 1 h 153"/>
                  <a:gd name="T10" fmla="*/ 13 w 262"/>
                  <a:gd name="T11" fmla="*/ 2 h 153"/>
                  <a:gd name="T12" fmla="*/ 13 w 262"/>
                  <a:gd name="T13" fmla="*/ 6 h 153"/>
                  <a:gd name="T14" fmla="*/ 118 w 262"/>
                  <a:gd name="T15" fmla="*/ 148 h 153"/>
                  <a:gd name="T16" fmla="*/ 210 w 262"/>
                  <a:gd name="T17" fmla="*/ 125 h 153"/>
                  <a:gd name="T18" fmla="*/ 259 w 262"/>
                  <a:gd name="T19" fmla="*/ 42 h 153"/>
                  <a:gd name="T20" fmla="*/ 261 w 262"/>
                  <a:gd name="T21" fmla="*/ 40 h 153"/>
                  <a:gd name="T22" fmla="*/ 262 w 262"/>
                  <a:gd name="T23" fmla="*/ 42 h 153"/>
                  <a:gd name="T24" fmla="*/ 212 w 262"/>
                  <a:gd name="T25" fmla="*/ 127 h 153"/>
                  <a:gd name="T26" fmla="*/ 136 w 262"/>
                  <a:gd name="T2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2" h="153">
                    <a:moveTo>
                      <a:pt x="136" y="153"/>
                    </a:moveTo>
                    <a:cubicBezTo>
                      <a:pt x="130" y="153"/>
                      <a:pt x="124" y="152"/>
                      <a:pt x="118" y="151"/>
                    </a:cubicBezTo>
                    <a:cubicBezTo>
                      <a:pt x="48" y="141"/>
                      <a:pt x="0" y="76"/>
                      <a:pt x="10" y="5"/>
                    </a:cubicBezTo>
                    <a:cubicBezTo>
                      <a:pt x="10" y="4"/>
                      <a:pt x="10" y="3"/>
                      <a:pt x="10" y="2"/>
                    </a:cubicBezTo>
                    <a:cubicBezTo>
                      <a:pt x="11" y="1"/>
                      <a:pt x="11" y="0"/>
                      <a:pt x="12" y="1"/>
                    </a:cubicBezTo>
                    <a:cubicBezTo>
                      <a:pt x="13" y="1"/>
                      <a:pt x="13" y="2"/>
                      <a:pt x="13" y="2"/>
                    </a:cubicBezTo>
                    <a:cubicBezTo>
                      <a:pt x="13" y="3"/>
                      <a:pt x="13" y="4"/>
                      <a:pt x="13" y="6"/>
                    </a:cubicBezTo>
                    <a:cubicBezTo>
                      <a:pt x="3" y="74"/>
                      <a:pt x="50" y="138"/>
                      <a:pt x="118" y="148"/>
                    </a:cubicBezTo>
                    <a:cubicBezTo>
                      <a:pt x="151" y="153"/>
                      <a:pt x="183" y="145"/>
                      <a:pt x="210" y="125"/>
                    </a:cubicBezTo>
                    <a:cubicBezTo>
                      <a:pt x="237" y="105"/>
                      <a:pt x="254" y="75"/>
                      <a:pt x="259" y="42"/>
                    </a:cubicBezTo>
                    <a:cubicBezTo>
                      <a:pt x="259" y="41"/>
                      <a:pt x="260" y="40"/>
                      <a:pt x="261" y="40"/>
                    </a:cubicBezTo>
                    <a:cubicBezTo>
                      <a:pt x="262" y="40"/>
                      <a:pt x="262" y="41"/>
                      <a:pt x="262" y="42"/>
                    </a:cubicBezTo>
                    <a:cubicBezTo>
                      <a:pt x="257" y="76"/>
                      <a:pt x="239" y="107"/>
                      <a:pt x="212" y="127"/>
                    </a:cubicBezTo>
                    <a:cubicBezTo>
                      <a:pt x="190" y="144"/>
                      <a:pt x="163" y="153"/>
                      <a:pt x="136" y="15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69" name="Group 168">
              <a:extLst>
                <a:ext uri="{FF2B5EF4-FFF2-40B4-BE49-F238E27FC236}">
                  <a16:creationId xmlns:a16="http://schemas.microsoft.com/office/drawing/2014/main" id="{A8E09925-7E12-437F-9527-AA552226EDA1}"/>
                </a:ext>
              </a:extLst>
            </p:cNvPr>
            <p:cNvGrpSpPr>
              <a:grpSpLocks noChangeAspect="1"/>
            </p:cNvGrpSpPr>
            <p:nvPr/>
          </p:nvGrpSpPr>
          <p:grpSpPr bwMode="auto">
            <a:xfrm rot="10800000">
              <a:off x="6116829" y="3315028"/>
              <a:ext cx="981202" cy="579428"/>
              <a:chOff x="2695" y="1514"/>
              <a:chExt cx="359" cy="212"/>
            </a:xfrm>
            <a:grpFill/>
          </p:grpSpPr>
          <p:sp>
            <p:nvSpPr>
              <p:cNvPr id="170" name="Freeform 21">
                <a:extLst>
                  <a:ext uri="{FF2B5EF4-FFF2-40B4-BE49-F238E27FC236}">
                    <a16:creationId xmlns:a16="http://schemas.microsoft.com/office/drawing/2014/main" id="{A19610DB-DD16-4E24-BED6-8E54D597A021}"/>
                  </a:ext>
                </a:extLst>
              </p:cNvPr>
              <p:cNvSpPr>
                <a:spLocks/>
              </p:cNvSpPr>
              <p:nvPr/>
            </p:nvSpPr>
            <p:spPr bwMode="auto">
              <a:xfrm>
                <a:off x="2792" y="1531"/>
                <a:ext cx="172" cy="101"/>
              </a:xfrm>
              <a:custGeom>
                <a:avLst/>
                <a:gdLst>
                  <a:gd name="T0" fmla="*/ 65 w 125"/>
                  <a:gd name="T1" fmla="*/ 73 h 73"/>
                  <a:gd name="T2" fmla="*/ 56 w 125"/>
                  <a:gd name="T3" fmla="*/ 72 h 73"/>
                  <a:gd name="T4" fmla="*/ 5 w 125"/>
                  <a:gd name="T5" fmla="*/ 3 h 73"/>
                  <a:gd name="T6" fmla="*/ 5 w 125"/>
                  <a:gd name="T7" fmla="*/ 1 h 73"/>
                  <a:gd name="T8" fmla="*/ 7 w 125"/>
                  <a:gd name="T9" fmla="*/ 0 h 73"/>
                  <a:gd name="T10" fmla="*/ 8 w 125"/>
                  <a:gd name="T11" fmla="*/ 2 h 73"/>
                  <a:gd name="T12" fmla="*/ 8 w 125"/>
                  <a:gd name="T13" fmla="*/ 3 h 73"/>
                  <a:gd name="T14" fmla="*/ 57 w 125"/>
                  <a:gd name="T15" fmla="*/ 69 h 73"/>
                  <a:gd name="T16" fmla="*/ 99 w 125"/>
                  <a:gd name="T17" fmla="*/ 58 h 73"/>
                  <a:gd name="T18" fmla="*/ 122 w 125"/>
                  <a:gd name="T19" fmla="*/ 20 h 73"/>
                  <a:gd name="T20" fmla="*/ 124 w 125"/>
                  <a:gd name="T21" fmla="*/ 19 h 73"/>
                  <a:gd name="T22" fmla="*/ 125 w 125"/>
                  <a:gd name="T23" fmla="*/ 20 h 73"/>
                  <a:gd name="T24" fmla="*/ 101 w 125"/>
                  <a:gd name="T25" fmla="*/ 61 h 73"/>
                  <a:gd name="T26" fmla="*/ 65 w 125"/>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3">
                    <a:moveTo>
                      <a:pt x="65" y="73"/>
                    </a:moveTo>
                    <a:cubicBezTo>
                      <a:pt x="62" y="73"/>
                      <a:pt x="59" y="73"/>
                      <a:pt x="56" y="72"/>
                    </a:cubicBezTo>
                    <a:cubicBezTo>
                      <a:pt x="23" y="67"/>
                      <a:pt x="0" y="36"/>
                      <a:pt x="5" y="3"/>
                    </a:cubicBezTo>
                    <a:cubicBezTo>
                      <a:pt x="5" y="1"/>
                      <a:pt x="5" y="1"/>
                      <a:pt x="5" y="1"/>
                    </a:cubicBezTo>
                    <a:cubicBezTo>
                      <a:pt x="6" y="0"/>
                      <a:pt x="6" y="0"/>
                      <a:pt x="7" y="0"/>
                    </a:cubicBezTo>
                    <a:cubicBezTo>
                      <a:pt x="8" y="0"/>
                      <a:pt x="9" y="1"/>
                      <a:pt x="8" y="2"/>
                    </a:cubicBezTo>
                    <a:cubicBezTo>
                      <a:pt x="8" y="3"/>
                      <a:pt x="8" y="3"/>
                      <a:pt x="8" y="3"/>
                    </a:cubicBezTo>
                    <a:cubicBezTo>
                      <a:pt x="4" y="35"/>
                      <a:pt x="25" y="65"/>
                      <a:pt x="57" y="69"/>
                    </a:cubicBezTo>
                    <a:cubicBezTo>
                      <a:pt x="72" y="71"/>
                      <a:pt x="87" y="68"/>
                      <a:pt x="99" y="58"/>
                    </a:cubicBezTo>
                    <a:cubicBezTo>
                      <a:pt x="112" y="49"/>
                      <a:pt x="120" y="35"/>
                      <a:pt x="122" y="20"/>
                    </a:cubicBezTo>
                    <a:cubicBezTo>
                      <a:pt x="122" y="19"/>
                      <a:pt x="123" y="18"/>
                      <a:pt x="124" y="19"/>
                    </a:cubicBezTo>
                    <a:cubicBezTo>
                      <a:pt x="124" y="19"/>
                      <a:pt x="125" y="19"/>
                      <a:pt x="125" y="20"/>
                    </a:cubicBezTo>
                    <a:cubicBezTo>
                      <a:pt x="122" y="37"/>
                      <a:pt x="114" y="51"/>
                      <a:pt x="101" y="61"/>
                    </a:cubicBezTo>
                    <a:cubicBezTo>
                      <a:pt x="90" y="69"/>
                      <a:pt x="78" y="73"/>
                      <a:pt x="65" y="7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71" name="Freeform 22">
                <a:extLst>
                  <a:ext uri="{FF2B5EF4-FFF2-40B4-BE49-F238E27FC236}">
                    <a16:creationId xmlns:a16="http://schemas.microsoft.com/office/drawing/2014/main" id="{0B50921A-28E1-437C-A7DF-AA77AAEE2DCB}"/>
                  </a:ext>
                </a:extLst>
              </p:cNvPr>
              <p:cNvSpPr>
                <a:spLocks/>
              </p:cNvSpPr>
              <p:nvPr/>
            </p:nvSpPr>
            <p:spPr bwMode="auto">
              <a:xfrm>
                <a:off x="2769" y="1525"/>
                <a:ext cx="220" cy="129"/>
              </a:xfrm>
              <a:custGeom>
                <a:avLst/>
                <a:gdLst>
                  <a:gd name="T0" fmla="*/ 83 w 160"/>
                  <a:gd name="T1" fmla="*/ 93 h 93"/>
                  <a:gd name="T2" fmla="*/ 72 w 160"/>
                  <a:gd name="T3" fmla="*/ 92 h 93"/>
                  <a:gd name="T4" fmla="*/ 6 w 160"/>
                  <a:gd name="T5" fmla="*/ 3 h 93"/>
                  <a:gd name="T6" fmla="*/ 6 w 160"/>
                  <a:gd name="T7" fmla="*/ 1 h 93"/>
                  <a:gd name="T8" fmla="*/ 8 w 160"/>
                  <a:gd name="T9" fmla="*/ 0 h 93"/>
                  <a:gd name="T10" fmla="*/ 9 w 160"/>
                  <a:gd name="T11" fmla="*/ 2 h 93"/>
                  <a:gd name="T12" fmla="*/ 9 w 160"/>
                  <a:gd name="T13" fmla="*/ 4 h 93"/>
                  <a:gd name="T14" fmla="*/ 72 w 160"/>
                  <a:gd name="T15" fmla="*/ 89 h 93"/>
                  <a:gd name="T16" fmla="*/ 127 w 160"/>
                  <a:gd name="T17" fmla="*/ 75 h 93"/>
                  <a:gd name="T18" fmla="*/ 157 w 160"/>
                  <a:gd name="T19" fmla="*/ 25 h 93"/>
                  <a:gd name="T20" fmla="*/ 159 w 160"/>
                  <a:gd name="T21" fmla="*/ 24 h 93"/>
                  <a:gd name="T22" fmla="*/ 160 w 160"/>
                  <a:gd name="T23" fmla="*/ 26 h 93"/>
                  <a:gd name="T24" fmla="*/ 129 w 160"/>
                  <a:gd name="T25" fmla="*/ 78 h 93"/>
                  <a:gd name="T26" fmla="*/ 83 w 160"/>
                  <a:gd name="T2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93">
                    <a:moveTo>
                      <a:pt x="83" y="93"/>
                    </a:moveTo>
                    <a:cubicBezTo>
                      <a:pt x="79" y="93"/>
                      <a:pt x="76" y="93"/>
                      <a:pt x="72" y="92"/>
                    </a:cubicBezTo>
                    <a:cubicBezTo>
                      <a:pt x="30" y="86"/>
                      <a:pt x="0" y="46"/>
                      <a:pt x="6" y="3"/>
                    </a:cubicBezTo>
                    <a:cubicBezTo>
                      <a:pt x="6" y="3"/>
                      <a:pt x="6" y="2"/>
                      <a:pt x="6" y="1"/>
                    </a:cubicBezTo>
                    <a:cubicBezTo>
                      <a:pt x="7" y="0"/>
                      <a:pt x="7" y="0"/>
                      <a:pt x="8" y="0"/>
                    </a:cubicBezTo>
                    <a:cubicBezTo>
                      <a:pt x="9" y="0"/>
                      <a:pt x="10" y="1"/>
                      <a:pt x="9" y="2"/>
                    </a:cubicBezTo>
                    <a:cubicBezTo>
                      <a:pt x="9" y="2"/>
                      <a:pt x="9" y="3"/>
                      <a:pt x="9" y="4"/>
                    </a:cubicBezTo>
                    <a:cubicBezTo>
                      <a:pt x="3" y="45"/>
                      <a:pt x="32" y="83"/>
                      <a:pt x="72" y="89"/>
                    </a:cubicBezTo>
                    <a:cubicBezTo>
                      <a:pt x="92" y="92"/>
                      <a:pt x="111" y="87"/>
                      <a:pt x="127" y="75"/>
                    </a:cubicBezTo>
                    <a:cubicBezTo>
                      <a:pt x="144" y="63"/>
                      <a:pt x="154" y="46"/>
                      <a:pt x="157" y="25"/>
                    </a:cubicBezTo>
                    <a:cubicBezTo>
                      <a:pt x="157" y="25"/>
                      <a:pt x="158" y="24"/>
                      <a:pt x="159" y="24"/>
                    </a:cubicBezTo>
                    <a:cubicBezTo>
                      <a:pt x="159" y="24"/>
                      <a:pt x="160" y="25"/>
                      <a:pt x="160" y="26"/>
                    </a:cubicBezTo>
                    <a:cubicBezTo>
                      <a:pt x="157" y="47"/>
                      <a:pt x="146" y="65"/>
                      <a:pt x="129" y="78"/>
                    </a:cubicBezTo>
                    <a:cubicBezTo>
                      <a:pt x="116" y="88"/>
                      <a:pt x="100" y="93"/>
                      <a:pt x="83" y="9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72" name="Freeform 23">
                <a:extLst>
                  <a:ext uri="{FF2B5EF4-FFF2-40B4-BE49-F238E27FC236}">
                    <a16:creationId xmlns:a16="http://schemas.microsoft.com/office/drawing/2014/main" id="{4EE10205-A48C-4EBA-B6E5-32CBE58DB360}"/>
                  </a:ext>
                </a:extLst>
              </p:cNvPr>
              <p:cNvSpPr>
                <a:spLocks/>
              </p:cNvSpPr>
              <p:nvPr/>
            </p:nvSpPr>
            <p:spPr bwMode="auto">
              <a:xfrm>
                <a:off x="2743" y="1522"/>
                <a:ext cx="267" cy="158"/>
              </a:xfrm>
              <a:custGeom>
                <a:avLst/>
                <a:gdLst>
                  <a:gd name="T0" fmla="*/ 101 w 195"/>
                  <a:gd name="T1" fmla="*/ 114 h 114"/>
                  <a:gd name="T2" fmla="*/ 87 w 195"/>
                  <a:gd name="T3" fmla="*/ 113 h 114"/>
                  <a:gd name="T4" fmla="*/ 7 w 195"/>
                  <a:gd name="T5" fmla="*/ 4 h 114"/>
                  <a:gd name="T6" fmla="*/ 7 w 195"/>
                  <a:gd name="T7" fmla="*/ 1 h 114"/>
                  <a:gd name="T8" fmla="*/ 9 w 195"/>
                  <a:gd name="T9" fmla="*/ 0 h 114"/>
                  <a:gd name="T10" fmla="*/ 10 w 195"/>
                  <a:gd name="T11" fmla="*/ 2 h 114"/>
                  <a:gd name="T12" fmla="*/ 10 w 195"/>
                  <a:gd name="T13" fmla="*/ 4 h 114"/>
                  <a:gd name="T14" fmla="*/ 88 w 195"/>
                  <a:gd name="T15" fmla="*/ 110 h 114"/>
                  <a:gd name="T16" fmla="*/ 156 w 195"/>
                  <a:gd name="T17" fmla="*/ 92 h 114"/>
                  <a:gd name="T18" fmla="*/ 192 w 195"/>
                  <a:gd name="T19" fmla="*/ 31 h 114"/>
                  <a:gd name="T20" fmla="*/ 194 w 195"/>
                  <a:gd name="T21" fmla="*/ 30 h 114"/>
                  <a:gd name="T22" fmla="*/ 195 w 195"/>
                  <a:gd name="T23" fmla="*/ 31 h 114"/>
                  <a:gd name="T24" fmla="*/ 157 w 195"/>
                  <a:gd name="T25" fmla="*/ 95 h 114"/>
                  <a:gd name="T26" fmla="*/ 101 w 195"/>
                  <a:gd name="T2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114">
                    <a:moveTo>
                      <a:pt x="101" y="114"/>
                    </a:moveTo>
                    <a:cubicBezTo>
                      <a:pt x="97" y="114"/>
                      <a:pt x="92" y="113"/>
                      <a:pt x="87" y="113"/>
                    </a:cubicBezTo>
                    <a:cubicBezTo>
                      <a:pt x="36" y="105"/>
                      <a:pt x="0" y="56"/>
                      <a:pt x="7" y="4"/>
                    </a:cubicBezTo>
                    <a:cubicBezTo>
                      <a:pt x="7" y="3"/>
                      <a:pt x="7" y="2"/>
                      <a:pt x="7" y="1"/>
                    </a:cubicBezTo>
                    <a:cubicBezTo>
                      <a:pt x="8" y="1"/>
                      <a:pt x="8" y="0"/>
                      <a:pt x="9" y="0"/>
                    </a:cubicBezTo>
                    <a:cubicBezTo>
                      <a:pt x="10" y="0"/>
                      <a:pt x="11" y="1"/>
                      <a:pt x="10" y="2"/>
                    </a:cubicBezTo>
                    <a:cubicBezTo>
                      <a:pt x="10" y="3"/>
                      <a:pt x="10" y="3"/>
                      <a:pt x="10" y="4"/>
                    </a:cubicBezTo>
                    <a:cubicBezTo>
                      <a:pt x="3" y="55"/>
                      <a:pt x="38" y="102"/>
                      <a:pt x="88" y="110"/>
                    </a:cubicBezTo>
                    <a:cubicBezTo>
                      <a:pt x="112" y="113"/>
                      <a:pt x="136" y="107"/>
                      <a:pt x="156" y="92"/>
                    </a:cubicBezTo>
                    <a:cubicBezTo>
                      <a:pt x="176" y="78"/>
                      <a:pt x="188" y="56"/>
                      <a:pt x="192" y="31"/>
                    </a:cubicBezTo>
                    <a:cubicBezTo>
                      <a:pt x="192" y="30"/>
                      <a:pt x="193" y="29"/>
                      <a:pt x="194" y="30"/>
                    </a:cubicBezTo>
                    <a:cubicBezTo>
                      <a:pt x="195" y="30"/>
                      <a:pt x="195" y="30"/>
                      <a:pt x="195" y="31"/>
                    </a:cubicBezTo>
                    <a:cubicBezTo>
                      <a:pt x="191" y="57"/>
                      <a:pt x="178" y="80"/>
                      <a:pt x="157" y="95"/>
                    </a:cubicBezTo>
                    <a:cubicBezTo>
                      <a:pt x="141" y="107"/>
                      <a:pt x="121" y="114"/>
                      <a:pt x="101" y="114"/>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73" name="Freeform 24">
                <a:extLst>
                  <a:ext uri="{FF2B5EF4-FFF2-40B4-BE49-F238E27FC236}">
                    <a16:creationId xmlns:a16="http://schemas.microsoft.com/office/drawing/2014/main" id="{DFAA1585-7ACF-4B00-8D37-02D980A13207}"/>
                  </a:ext>
                </a:extLst>
              </p:cNvPr>
              <p:cNvSpPr>
                <a:spLocks/>
              </p:cNvSpPr>
              <p:nvPr/>
            </p:nvSpPr>
            <p:spPr bwMode="auto">
              <a:xfrm>
                <a:off x="2718" y="1518"/>
                <a:ext cx="314" cy="184"/>
              </a:xfrm>
              <a:custGeom>
                <a:avLst/>
                <a:gdLst>
                  <a:gd name="T0" fmla="*/ 119 w 229"/>
                  <a:gd name="T1" fmla="*/ 133 h 133"/>
                  <a:gd name="T2" fmla="*/ 103 w 229"/>
                  <a:gd name="T3" fmla="*/ 132 h 133"/>
                  <a:gd name="T4" fmla="*/ 9 w 229"/>
                  <a:gd name="T5" fmla="*/ 4 h 133"/>
                  <a:gd name="T6" fmla="*/ 9 w 229"/>
                  <a:gd name="T7" fmla="*/ 2 h 133"/>
                  <a:gd name="T8" fmla="*/ 11 w 229"/>
                  <a:gd name="T9" fmla="*/ 0 h 133"/>
                  <a:gd name="T10" fmla="*/ 12 w 229"/>
                  <a:gd name="T11" fmla="*/ 2 h 133"/>
                  <a:gd name="T12" fmla="*/ 12 w 229"/>
                  <a:gd name="T13" fmla="*/ 5 h 133"/>
                  <a:gd name="T14" fmla="*/ 104 w 229"/>
                  <a:gd name="T15" fmla="*/ 129 h 133"/>
                  <a:gd name="T16" fmla="*/ 183 w 229"/>
                  <a:gd name="T17" fmla="*/ 109 h 133"/>
                  <a:gd name="T18" fmla="*/ 226 w 229"/>
                  <a:gd name="T19" fmla="*/ 36 h 133"/>
                  <a:gd name="T20" fmla="*/ 228 w 229"/>
                  <a:gd name="T21" fmla="*/ 35 h 133"/>
                  <a:gd name="T22" fmla="*/ 229 w 229"/>
                  <a:gd name="T23" fmla="*/ 37 h 133"/>
                  <a:gd name="T24" fmla="*/ 185 w 229"/>
                  <a:gd name="T25" fmla="*/ 111 h 133"/>
                  <a:gd name="T26" fmla="*/ 119 w 229"/>
                  <a:gd name="T2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133">
                    <a:moveTo>
                      <a:pt x="119" y="133"/>
                    </a:moveTo>
                    <a:cubicBezTo>
                      <a:pt x="114" y="133"/>
                      <a:pt x="108" y="133"/>
                      <a:pt x="103" y="132"/>
                    </a:cubicBezTo>
                    <a:cubicBezTo>
                      <a:pt x="42" y="123"/>
                      <a:pt x="0" y="66"/>
                      <a:pt x="9" y="4"/>
                    </a:cubicBezTo>
                    <a:cubicBezTo>
                      <a:pt x="9" y="4"/>
                      <a:pt x="9" y="3"/>
                      <a:pt x="9" y="2"/>
                    </a:cubicBezTo>
                    <a:cubicBezTo>
                      <a:pt x="10" y="1"/>
                      <a:pt x="10" y="0"/>
                      <a:pt x="11" y="0"/>
                    </a:cubicBezTo>
                    <a:cubicBezTo>
                      <a:pt x="12" y="1"/>
                      <a:pt x="12" y="1"/>
                      <a:pt x="12" y="2"/>
                    </a:cubicBezTo>
                    <a:cubicBezTo>
                      <a:pt x="12" y="3"/>
                      <a:pt x="12" y="4"/>
                      <a:pt x="12" y="5"/>
                    </a:cubicBezTo>
                    <a:cubicBezTo>
                      <a:pt x="3" y="65"/>
                      <a:pt x="44" y="120"/>
                      <a:pt x="104" y="129"/>
                    </a:cubicBezTo>
                    <a:cubicBezTo>
                      <a:pt x="132" y="133"/>
                      <a:pt x="160" y="126"/>
                      <a:pt x="183" y="109"/>
                    </a:cubicBezTo>
                    <a:cubicBezTo>
                      <a:pt x="207" y="91"/>
                      <a:pt x="222" y="65"/>
                      <a:pt x="226" y="36"/>
                    </a:cubicBezTo>
                    <a:cubicBezTo>
                      <a:pt x="226" y="35"/>
                      <a:pt x="227" y="35"/>
                      <a:pt x="228" y="35"/>
                    </a:cubicBezTo>
                    <a:cubicBezTo>
                      <a:pt x="229" y="35"/>
                      <a:pt x="229" y="36"/>
                      <a:pt x="229" y="37"/>
                    </a:cubicBezTo>
                    <a:cubicBezTo>
                      <a:pt x="225" y="67"/>
                      <a:pt x="209" y="93"/>
                      <a:pt x="185" y="111"/>
                    </a:cubicBezTo>
                    <a:cubicBezTo>
                      <a:pt x="166" y="126"/>
                      <a:pt x="143" y="133"/>
                      <a:pt x="119" y="13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74" name="Freeform 25">
                <a:extLst>
                  <a:ext uri="{FF2B5EF4-FFF2-40B4-BE49-F238E27FC236}">
                    <a16:creationId xmlns:a16="http://schemas.microsoft.com/office/drawing/2014/main" id="{970D64D1-AA4A-40CD-9328-E5180A8A5F26}"/>
                  </a:ext>
                </a:extLst>
              </p:cNvPr>
              <p:cNvSpPr>
                <a:spLocks/>
              </p:cNvSpPr>
              <p:nvPr/>
            </p:nvSpPr>
            <p:spPr bwMode="auto">
              <a:xfrm>
                <a:off x="2695" y="1514"/>
                <a:ext cx="359" cy="212"/>
              </a:xfrm>
              <a:custGeom>
                <a:avLst/>
                <a:gdLst>
                  <a:gd name="T0" fmla="*/ 136 w 262"/>
                  <a:gd name="T1" fmla="*/ 153 h 153"/>
                  <a:gd name="T2" fmla="*/ 118 w 262"/>
                  <a:gd name="T3" fmla="*/ 151 h 153"/>
                  <a:gd name="T4" fmla="*/ 10 w 262"/>
                  <a:gd name="T5" fmla="*/ 5 h 153"/>
                  <a:gd name="T6" fmla="*/ 10 w 262"/>
                  <a:gd name="T7" fmla="*/ 2 h 153"/>
                  <a:gd name="T8" fmla="*/ 12 w 262"/>
                  <a:gd name="T9" fmla="*/ 1 h 153"/>
                  <a:gd name="T10" fmla="*/ 13 w 262"/>
                  <a:gd name="T11" fmla="*/ 2 h 153"/>
                  <a:gd name="T12" fmla="*/ 13 w 262"/>
                  <a:gd name="T13" fmla="*/ 6 h 153"/>
                  <a:gd name="T14" fmla="*/ 118 w 262"/>
                  <a:gd name="T15" fmla="*/ 148 h 153"/>
                  <a:gd name="T16" fmla="*/ 210 w 262"/>
                  <a:gd name="T17" fmla="*/ 125 h 153"/>
                  <a:gd name="T18" fmla="*/ 259 w 262"/>
                  <a:gd name="T19" fmla="*/ 42 h 153"/>
                  <a:gd name="T20" fmla="*/ 261 w 262"/>
                  <a:gd name="T21" fmla="*/ 40 h 153"/>
                  <a:gd name="T22" fmla="*/ 262 w 262"/>
                  <a:gd name="T23" fmla="*/ 42 h 153"/>
                  <a:gd name="T24" fmla="*/ 212 w 262"/>
                  <a:gd name="T25" fmla="*/ 127 h 153"/>
                  <a:gd name="T26" fmla="*/ 136 w 262"/>
                  <a:gd name="T2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2" h="153">
                    <a:moveTo>
                      <a:pt x="136" y="153"/>
                    </a:moveTo>
                    <a:cubicBezTo>
                      <a:pt x="130" y="153"/>
                      <a:pt x="124" y="152"/>
                      <a:pt x="118" y="151"/>
                    </a:cubicBezTo>
                    <a:cubicBezTo>
                      <a:pt x="48" y="141"/>
                      <a:pt x="0" y="76"/>
                      <a:pt x="10" y="5"/>
                    </a:cubicBezTo>
                    <a:cubicBezTo>
                      <a:pt x="10" y="4"/>
                      <a:pt x="10" y="3"/>
                      <a:pt x="10" y="2"/>
                    </a:cubicBezTo>
                    <a:cubicBezTo>
                      <a:pt x="11" y="1"/>
                      <a:pt x="11" y="0"/>
                      <a:pt x="12" y="1"/>
                    </a:cubicBezTo>
                    <a:cubicBezTo>
                      <a:pt x="13" y="1"/>
                      <a:pt x="13" y="2"/>
                      <a:pt x="13" y="2"/>
                    </a:cubicBezTo>
                    <a:cubicBezTo>
                      <a:pt x="13" y="3"/>
                      <a:pt x="13" y="4"/>
                      <a:pt x="13" y="6"/>
                    </a:cubicBezTo>
                    <a:cubicBezTo>
                      <a:pt x="3" y="74"/>
                      <a:pt x="50" y="138"/>
                      <a:pt x="118" y="148"/>
                    </a:cubicBezTo>
                    <a:cubicBezTo>
                      <a:pt x="151" y="153"/>
                      <a:pt x="183" y="145"/>
                      <a:pt x="210" y="125"/>
                    </a:cubicBezTo>
                    <a:cubicBezTo>
                      <a:pt x="237" y="105"/>
                      <a:pt x="254" y="75"/>
                      <a:pt x="259" y="42"/>
                    </a:cubicBezTo>
                    <a:cubicBezTo>
                      <a:pt x="259" y="41"/>
                      <a:pt x="260" y="40"/>
                      <a:pt x="261" y="40"/>
                    </a:cubicBezTo>
                    <a:cubicBezTo>
                      <a:pt x="262" y="40"/>
                      <a:pt x="262" y="41"/>
                      <a:pt x="262" y="42"/>
                    </a:cubicBezTo>
                    <a:cubicBezTo>
                      <a:pt x="257" y="76"/>
                      <a:pt x="239" y="107"/>
                      <a:pt x="212" y="127"/>
                    </a:cubicBezTo>
                    <a:cubicBezTo>
                      <a:pt x="190" y="144"/>
                      <a:pt x="163" y="153"/>
                      <a:pt x="136" y="15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66" name="Group 165">
            <a:extLst>
              <a:ext uri="{FF2B5EF4-FFF2-40B4-BE49-F238E27FC236}">
                <a16:creationId xmlns:a16="http://schemas.microsoft.com/office/drawing/2014/main" id="{96B45E42-1650-4C14-B9E6-90C6BFB3BD50}"/>
              </a:ext>
            </a:extLst>
          </p:cNvPr>
          <p:cNvGrpSpPr/>
          <p:nvPr/>
        </p:nvGrpSpPr>
        <p:grpSpPr>
          <a:xfrm rot="1952404">
            <a:off x="758153" y="4198815"/>
            <a:ext cx="1314577" cy="1055393"/>
            <a:chOff x="6116829" y="3315028"/>
            <a:chExt cx="1314577" cy="1055393"/>
          </a:xfrm>
          <a:solidFill>
            <a:schemeClr val="accent1">
              <a:lumMod val="20000"/>
              <a:lumOff val="80000"/>
              <a:alpha val="50000"/>
            </a:schemeClr>
          </a:solidFill>
        </p:grpSpPr>
        <p:grpSp>
          <p:nvGrpSpPr>
            <p:cNvPr id="154" name="Group 153">
              <a:extLst>
                <a:ext uri="{FF2B5EF4-FFF2-40B4-BE49-F238E27FC236}">
                  <a16:creationId xmlns:a16="http://schemas.microsoft.com/office/drawing/2014/main" id="{351BA5CB-A7FE-4BA4-BD38-EF7DAD865DF5}"/>
                </a:ext>
              </a:extLst>
            </p:cNvPr>
            <p:cNvGrpSpPr>
              <a:grpSpLocks noChangeAspect="1"/>
            </p:cNvGrpSpPr>
            <p:nvPr/>
          </p:nvGrpSpPr>
          <p:grpSpPr bwMode="auto">
            <a:xfrm>
              <a:off x="6450204" y="3790993"/>
              <a:ext cx="981202" cy="579428"/>
              <a:chOff x="2695" y="1514"/>
              <a:chExt cx="359" cy="212"/>
            </a:xfrm>
            <a:grpFill/>
          </p:grpSpPr>
          <p:sp>
            <p:nvSpPr>
              <p:cNvPr id="155" name="Freeform 21">
                <a:extLst>
                  <a:ext uri="{FF2B5EF4-FFF2-40B4-BE49-F238E27FC236}">
                    <a16:creationId xmlns:a16="http://schemas.microsoft.com/office/drawing/2014/main" id="{22C92C0F-3D53-41F7-A46B-D7966741DF79}"/>
                  </a:ext>
                </a:extLst>
              </p:cNvPr>
              <p:cNvSpPr>
                <a:spLocks/>
              </p:cNvSpPr>
              <p:nvPr/>
            </p:nvSpPr>
            <p:spPr bwMode="auto">
              <a:xfrm>
                <a:off x="2792" y="1531"/>
                <a:ext cx="172" cy="101"/>
              </a:xfrm>
              <a:custGeom>
                <a:avLst/>
                <a:gdLst>
                  <a:gd name="T0" fmla="*/ 65 w 125"/>
                  <a:gd name="T1" fmla="*/ 73 h 73"/>
                  <a:gd name="T2" fmla="*/ 56 w 125"/>
                  <a:gd name="T3" fmla="*/ 72 h 73"/>
                  <a:gd name="T4" fmla="*/ 5 w 125"/>
                  <a:gd name="T5" fmla="*/ 3 h 73"/>
                  <a:gd name="T6" fmla="*/ 5 w 125"/>
                  <a:gd name="T7" fmla="*/ 1 h 73"/>
                  <a:gd name="T8" fmla="*/ 7 w 125"/>
                  <a:gd name="T9" fmla="*/ 0 h 73"/>
                  <a:gd name="T10" fmla="*/ 8 w 125"/>
                  <a:gd name="T11" fmla="*/ 2 h 73"/>
                  <a:gd name="T12" fmla="*/ 8 w 125"/>
                  <a:gd name="T13" fmla="*/ 3 h 73"/>
                  <a:gd name="T14" fmla="*/ 57 w 125"/>
                  <a:gd name="T15" fmla="*/ 69 h 73"/>
                  <a:gd name="T16" fmla="*/ 99 w 125"/>
                  <a:gd name="T17" fmla="*/ 58 h 73"/>
                  <a:gd name="T18" fmla="*/ 122 w 125"/>
                  <a:gd name="T19" fmla="*/ 20 h 73"/>
                  <a:gd name="T20" fmla="*/ 124 w 125"/>
                  <a:gd name="T21" fmla="*/ 19 h 73"/>
                  <a:gd name="T22" fmla="*/ 125 w 125"/>
                  <a:gd name="T23" fmla="*/ 20 h 73"/>
                  <a:gd name="T24" fmla="*/ 101 w 125"/>
                  <a:gd name="T25" fmla="*/ 61 h 73"/>
                  <a:gd name="T26" fmla="*/ 65 w 125"/>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3">
                    <a:moveTo>
                      <a:pt x="65" y="73"/>
                    </a:moveTo>
                    <a:cubicBezTo>
                      <a:pt x="62" y="73"/>
                      <a:pt x="59" y="73"/>
                      <a:pt x="56" y="72"/>
                    </a:cubicBezTo>
                    <a:cubicBezTo>
                      <a:pt x="23" y="67"/>
                      <a:pt x="0" y="36"/>
                      <a:pt x="5" y="3"/>
                    </a:cubicBezTo>
                    <a:cubicBezTo>
                      <a:pt x="5" y="1"/>
                      <a:pt x="5" y="1"/>
                      <a:pt x="5" y="1"/>
                    </a:cubicBezTo>
                    <a:cubicBezTo>
                      <a:pt x="6" y="0"/>
                      <a:pt x="6" y="0"/>
                      <a:pt x="7" y="0"/>
                    </a:cubicBezTo>
                    <a:cubicBezTo>
                      <a:pt x="8" y="0"/>
                      <a:pt x="9" y="1"/>
                      <a:pt x="8" y="2"/>
                    </a:cubicBezTo>
                    <a:cubicBezTo>
                      <a:pt x="8" y="3"/>
                      <a:pt x="8" y="3"/>
                      <a:pt x="8" y="3"/>
                    </a:cubicBezTo>
                    <a:cubicBezTo>
                      <a:pt x="4" y="35"/>
                      <a:pt x="25" y="65"/>
                      <a:pt x="57" y="69"/>
                    </a:cubicBezTo>
                    <a:cubicBezTo>
                      <a:pt x="72" y="71"/>
                      <a:pt x="87" y="68"/>
                      <a:pt x="99" y="58"/>
                    </a:cubicBezTo>
                    <a:cubicBezTo>
                      <a:pt x="112" y="49"/>
                      <a:pt x="120" y="35"/>
                      <a:pt x="122" y="20"/>
                    </a:cubicBezTo>
                    <a:cubicBezTo>
                      <a:pt x="122" y="19"/>
                      <a:pt x="123" y="18"/>
                      <a:pt x="124" y="19"/>
                    </a:cubicBezTo>
                    <a:cubicBezTo>
                      <a:pt x="124" y="19"/>
                      <a:pt x="125" y="19"/>
                      <a:pt x="125" y="20"/>
                    </a:cubicBezTo>
                    <a:cubicBezTo>
                      <a:pt x="122" y="37"/>
                      <a:pt x="114" y="51"/>
                      <a:pt x="101" y="61"/>
                    </a:cubicBezTo>
                    <a:cubicBezTo>
                      <a:pt x="90" y="69"/>
                      <a:pt x="78" y="73"/>
                      <a:pt x="65" y="7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56" name="Freeform 22">
                <a:extLst>
                  <a:ext uri="{FF2B5EF4-FFF2-40B4-BE49-F238E27FC236}">
                    <a16:creationId xmlns:a16="http://schemas.microsoft.com/office/drawing/2014/main" id="{C96926E1-8611-4A37-BCD4-FE0950382DE7}"/>
                  </a:ext>
                </a:extLst>
              </p:cNvPr>
              <p:cNvSpPr>
                <a:spLocks/>
              </p:cNvSpPr>
              <p:nvPr/>
            </p:nvSpPr>
            <p:spPr bwMode="auto">
              <a:xfrm>
                <a:off x="2769" y="1525"/>
                <a:ext cx="220" cy="129"/>
              </a:xfrm>
              <a:custGeom>
                <a:avLst/>
                <a:gdLst>
                  <a:gd name="T0" fmla="*/ 83 w 160"/>
                  <a:gd name="T1" fmla="*/ 93 h 93"/>
                  <a:gd name="T2" fmla="*/ 72 w 160"/>
                  <a:gd name="T3" fmla="*/ 92 h 93"/>
                  <a:gd name="T4" fmla="*/ 6 w 160"/>
                  <a:gd name="T5" fmla="*/ 3 h 93"/>
                  <a:gd name="T6" fmla="*/ 6 w 160"/>
                  <a:gd name="T7" fmla="*/ 1 h 93"/>
                  <a:gd name="T8" fmla="*/ 8 w 160"/>
                  <a:gd name="T9" fmla="*/ 0 h 93"/>
                  <a:gd name="T10" fmla="*/ 9 w 160"/>
                  <a:gd name="T11" fmla="*/ 2 h 93"/>
                  <a:gd name="T12" fmla="*/ 9 w 160"/>
                  <a:gd name="T13" fmla="*/ 4 h 93"/>
                  <a:gd name="T14" fmla="*/ 72 w 160"/>
                  <a:gd name="T15" fmla="*/ 89 h 93"/>
                  <a:gd name="T16" fmla="*/ 127 w 160"/>
                  <a:gd name="T17" fmla="*/ 75 h 93"/>
                  <a:gd name="T18" fmla="*/ 157 w 160"/>
                  <a:gd name="T19" fmla="*/ 25 h 93"/>
                  <a:gd name="T20" fmla="*/ 159 w 160"/>
                  <a:gd name="T21" fmla="*/ 24 h 93"/>
                  <a:gd name="T22" fmla="*/ 160 w 160"/>
                  <a:gd name="T23" fmla="*/ 26 h 93"/>
                  <a:gd name="T24" fmla="*/ 129 w 160"/>
                  <a:gd name="T25" fmla="*/ 78 h 93"/>
                  <a:gd name="T26" fmla="*/ 83 w 160"/>
                  <a:gd name="T2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93">
                    <a:moveTo>
                      <a:pt x="83" y="93"/>
                    </a:moveTo>
                    <a:cubicBezTo>
                      <a:pt x="79" y="93"/>
                      <a:pt x="76" y="93"/>
                      <a:pt x="72" y="92"/>
                    </a:cubicBezTo>
                    <a:cubicBezTo>
                      <a:pt x="30" y="86"/>
                      <a:pt x="0" y="46"/>
                      <a:pt x="6" y="3"/>
                    </a:cubicBezTo>
                    <a:cubicBezTo>
                      <a:pt x="6" y="3"/>
                      <a:pt x="6" y="2"/>
                      <a:pt x="6" y="1"/>
                    </a:cubicBezTo>
                    <a:cubicBezTo>
                      <a:pt x="7" y="0"/>
                      <a:pt x="7" y="0"/>
                      <a:pt x="8" y="0"/>
                    </a:cubicBezTo>
                    <a:cubicBezTo>
                      <a:pt x="9" y="0"/>
                      <a:pt x="10" y="1"/>
                      <a:pt x="9" y="2"/>
                    </a:cubicBezTo>
                    <a:cubicBezTo>
                      <a:pt x="9" y="2"/>
                      <a:pt x="9" y="3"/>
                      <a:pt x="9" y="4"/>
                    </a:cubicBezTo>
                    <a:cubicBezTo>
                      <a:pt x="3" y="45"/>
                      <a:pt x="32" y="83"/>
                      <a:pt x="72" y="89"/>
                    </a:cubicBezTo>
                    <a:cubicBezTo>
                      <a:pt x="92" y="92"/>
                      <a:pt x="111" y="87"/>
                      <a:pt x="127" y="75"/>
                    </a:cubicBezTo>
                    <a:cubicBezTo>
                      <a:pt x="144" y="63"/>
                      <a:pt x="154" y="46"/>
                      <a:pt x="157" y="25"/>
                    </a:cubicBezTo>
                    <a:cubicBezTo>
                      <a:pt x="157" y="25"/>
                      <a:pt x="158" y="24"/>
                      <a:pt x="159" y="24"/>
                    </a:cubicBezTo>
                    <a:cubicBezTo>
                      <a:pt x="159" y="24"/>
                      <a:pt x="160" y="25"/>
                      <a:pt x="160" y="26"/>
                    </a:cubicBezTo>
                    <a:cubicBezTo>
                      <a:pt x="157" y="47"/>
                      <a:pt x="146" y="65"/>
                      <a:pt x="129" y="78"/>
                    </a:cubicBezTo>
                    <a:cubicBezTo>
                      <a:pt x="116" y="88"/>
                      <a:pt x="100" y="93"/>
                      <a:pt x="83" y="9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57" name="Freeform 23">
                <a:extLst>
                  <a:ext uri="{FF2B5EF4-FFF2-40B4-BE49-F238E27FC236}">
                    <a16:creationId xmlns:a16="http://schemas.microsoft.com/office/drawing/2014/main" id="{C78A0223-B2B7-46F0-A33C-525655546475}"/>
                  </a:ext>
                </a:extLst>
              </p:cNvPr>
              <p:cNvSpPr>
                <a:spLocks/>
              </p:cNvSpPr>
              <p:nvPr/>
            </p:nvSpPr>
            <p:spPr bwMode="auto">
              <a:xfrm>
                <a:off x="2743" y="1522"/>
                <a:ext cx="267" cy="158"/>
              </a:xfrm>
              <a:custGeom>
                <a:avLst/>
                <a:gdLst>
                  <a:gd name="T0" fmla="*/ 101 w 195"/>
                  <a:gd name="T1" fmla="*/ 114 h 114"/>
                  <a:gd name="T2" fmla="*/ 87 w 195"/>
                  <a:gd name="T3" fmla="*/ 113 h 114"/>
                  <a:gd name="T4" fmla="*/ 7 w 195"/>
                  <a:gd name="T5" fmla="*/ 4 h 114"/>
                  <a:gd name="T6" fmla="*/ 7 w 195"/>
                  <a:gd name="T7" fmla="*/ 1 h 114"/>
                  <a:gd name="T8" fmla="*/ 9 w 195"/>
                  <a:gd name="T9" fmla="*/ 0 h 114"/>
                  <a:gd name="T10" fmla="*/ 10 w 195"/>
                  <a:gd name="T11" fmla="*/ 2 h 114"/>
                  <a:gd name="T12" fmla="*/ 10 w 195"/>
                  <a:gd name="T13" fmla="*/ 4 h 114"/>
                  <a:gd name="T14" fmla="*/ 88 w 195"/>
                  <a:gd name="T15" fmla="*/ 110 h 114"/>
                  <a:gd name="T16" fmla="*/ 156 w 195"/>
                  <a:gd name="T17" fmla="*/ 92 h 114"/>
                  <a:gd name="T18" fmla="*/ 192 w 195"/>
                  <a:gd name="T19" fmla="*/ 31 h 114"/>
                  <a:gd name="T20" fmla="*/ 194 w 195"/>
                  <a:gd name="T21" fmla="*/ 30 h 114"/>
                  <a:gd name="T22" fmla="*/ 195 w 195"/>
                  <a:gd name="T23" fmla="*/ 31 h 114"/>
                  <a:gd name="T24" fmla="*/ 157 w 195"/>
                  <a:gd name="T25" fmla="*/ 95 h 114"/>
                  <a:gd name="T26" fmla="*/ 101 w 195"/>
                  <a:gd name="T2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114">
                    <a:moveTo>
                      <a:pt x="101" y="114"/>
                    </a:moveTo>
                    <a:cubicBezTo>
                      <a:pt x="97" y="114"/>
                      <a:pt x="92" y="113"/>
                      <a:pt x="87" y="113"/>
                    </a:cubicBezTo>
                    <a:cubicBezTo>
                      <a:pt x="36" y="105"/>
                      <a:pt x="0" y="56"/>
                      <a:pt x="7" y="4"/>
                    </a:cubicBezTo>
                    <a:cubicBezTo>
                      <a:pt x="7" y="3"/>
                      <a:pt x="7" y="2"/>
                      <a:pt x="7" y="1"/>
                    </a:cubicBezTo>
                    <a:cubicBezTo>
                      <a:pt x="8" y="1"/>
                      <a:pt x="8" y="0"/>
                      <a:pt x="9" y="0"/>
                    </a:cubicBezTo>
                    <a:cubicBezTo>
                      <a:pt x="10" y="0"/>
                      <a:pt x="11" y="1"/>
                      <a:pt x="10" y="2"/>
                    </a:cubicBezTo>
                    <a:cubicBezTo>
                      <a:pt x="10" y="3"/>
                      <a:pt x="10" y="3"/>
                      <a:pt x="10" y="4"/>
                    </a:cubicBezTo>
                    <a:cubicBezTo>
                      <a:pt x="3" y="55"/>
                      <a:pt x="38" y="102"/>
                      <a:pt x="88" y="110"/>
                    </a:cubicBezTo>
                    <a:cubicBezTo>
                      <a:pt x="112" y="113"/>
                      <a:pt x="136" y="107"/>
                      <a:pt x="156" y="92"/>
                    </a:cubicBezTo>
                    <a:cubicBezTo>
                      <a:pt x="176" y="78"/>
                      <a:pt x="188" y="56"/>
                      <a:pt x="192" y="31"/>
                    </a:cubicBezTo>
                    <a:cubicBezTo>
                      <a:pt x="192" y="30"/>
                      <a:pt x="193" y="29"/>
                      <a:pt x="194" y="30"/>
                    </a:cubicBezTo>
                    <a:cubicBezTo>
                      <a:pt x="195" y="30"/>
                      <a:pt x="195" y="30"/>
                      <a:pt x="195" y="31"/>
                    </a:cubicBezTo>
                    <a:cubicBezTo>
                      <a:pt x="191" y="57"/>
                      <a:pt x="178" y="80"/>
                      <a:pt x="157" y="95"/>
                    </a:cubicBezTo>
                    <a:cubicBezTo>
                      <a:pt x="141" y="107"/>
                      <a:pt x="121" y="114"/>
                      <a:pt x="101" y="114"/>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58" name="Freeform 24">
                <a:extLst>
                  <a:ext uri="{FF2B5EF4-FFF2-40B4-BE49-F238E27FC236}">
                    <a16:creationId xmlns:a16="http://schemas.microsoft.com/office/drawing/2014/main" id="{2788E431-8A0E-4D77-A650-C64C3CBF313E}"/>
                  </a:ext>
                </a:extLst>
              </p:cNvPr>
              <p:cNvSpPr>
                <a:spLocks/>
              </p:cNvSpPr>
              <p:nvPr/>
            </p:nvSpPr>
            <p:spPr bwMode="auto">
              <a:xfrm>
                <a:off x="2718" y="1518"/>
                <a:ext cx="314" cy="184"/>
              </a:xfrm>
              <a:custGeom>
                <a:avLst/>
                <a:gdLst>
                  <a:gd name="T0" fmla="*/ 119 w 229"/>
                  <a:gd name="T1" fmla="*/ 133 h 133"/>
                  <a:gd name="T2" fmla="*/ 103 w 229"/>
                  <a:gd name="T3" fmla="*/ 132 h 133"/>
                  <a:gd name="T4" fmla="*/ 9 w 229"/>
                  <a:gd name="T5" fmla="*/ 4 h 133"/>
                  <a:gd name="T6" fmla="*/ 9 w 229"/>
                  <a:gd name="T7" fmla="*/ 2 h 133"/>
                  <a:gd name="T8" fmla="*/ 11 w 229"/>
                  <a:gd name="T9" fmla="*/ 0 h 133"/>
                  <a:gd name="T10" fmla="*/ 12 w 229"/>
                  <a:gd name="T11" fmla="*/ 2 h 133"/>
                  <a:gd name="T12" fmla="*/ 12 w 229"/>
                  <a:gd name="T13" fmla="*/ 5 h 133"/>
                  <a:gd name="T14" fmla="*/ 104 w 229"/>
                  <a:gd name="T15" fmla="*/ 129 h 133"/>
                  <a:gd name="T16" fmla="*/ 183 w 229"/>
                  <a:gd name="T17" fmla="*/ 109 h 133"/>
                  <a:gd name="T18" fmla="*/ 226 w 229"/>
                  <a:gd name="T19" fmla="*/ 36 h 133"/>
                  <a:gd name="T20" fmla="*/ 228 w 229"/>
                  <a:gd name="T21" fmla="*/ 35 h 133"/>
                  <a:gd name="T22" fmla="*/ 229 w 229"/>
                  <a:gd name="T23" fmla="*/ 37 h 133"/>
                  <a:gd name="T24" fmla="*/ 185 w 229"/>
                  <a:gd name="T25" fmla="*/ 111 h 133"/>
                  <a:gd name="T26" fmla="*/ 119 w 229"/>
                  <a:gd name="T2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133">
                    <a:moveTo>
                      <a:pt x="119" y="133"/>
                    </a:moveTo>
                    <a:cubicBezTo>
                      <a:pt x="114" y="133"/>
                      <a:pt x="108" y="133"/>
                      <a:pt x="103" y="132"/>
                    </a:cubicBezTo>
                    <a:cubicBezTo>
                      <a:pt x="42" y="123"/>
                      <a:pt x="0" y="66"/>
                      <a:pt x="9" y="4"/>
                    </a:cubicBezTo>
                    <a:cubicBezTo>
                      <a:pt x="9" y="4"/>
                      <a:pt x="9" y="3"/>
                      <a:pt x="9" y="2"/>
                    </a:cubicBezTo>
                    <a:cubicBezTo>
                      <a:pt x="10" y="1"/>
                      <a:pt x="10" y="0"/>
                      <a:pt x="11" y="0"/>
                    </a:cubicBezTo>
                    <a:cubicBezTo>
                      <a:pt x="12" y="1"/>
                      <a:pt x="12" y="1"/>
                      <a:pt x="12" y="2"/>
                    </a:cubicBezTo>
                    <a:cubicBezTo>
                      <a:pt x="12" y="3"/>
                      <a:pt x="12" y="4"/>
                      <a:pt x="12" y="5"/>
                    </a:cubicBezTo>
                    <a:cubicBezTo>
                      <a:pt x="3" y="65"/>
                      <a:pt x="44" y="120"/>
                      <a:pt x="104" y="129"/>
                    </a:cubicBezTo>
                    <a:cubicBezTo>
                      <a:pt x="132" y="133"/>
                      <a:pt x="160" y="126"/>
                      <a:pt x="183" y="109"/>
                    </a:cubicBezTo>
                    <a:cubicBezTo>
                      <a:pt x="207" y="91"/>
                      <a:pt x="222" y="65"/>
                      <a:pt x="226" y="36"/>
                    </a:cubicBezTo>
                    <a:cubicBezTo>
                      <a:pt x="226" y="35"/>
                      <a:pt x="227" y="35"/>
                      <a:pt x="228" y="35"/>
                    </a:cubicBezTo>
                    <a:cubicBezTo>
                      <a:pt x="229" y="35"/>
                      <a:pt x="229" y="36"/>
                      <a:pt x="229" y="37"/>
                    </a:cubicBezTo>
                    <a:cubicBezTo>
                      <a:pt x="225" y="67"/>
                      <a:pt x="209" y="93"/>
                      <a:pt x="185" y="111"/>
                    </a:cubicBezTo>
                    <a:cubicBezTo>
                      <a:pt x="166" y="126"/>
                      <a:pt x="143" y="133"/>
                      <a:pt x="119" y="13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59" name="Freeform 25">
                <a:extLst>
                  <a:ext uri="{FF2B5EF4-FFF2-40B4-BE49-F238E27FC236}">
                    <a16:creationId xmlns:a16="http://schemas.microsoft.com/office/drawing/2014/main" id="{0D583F57-2F66-4721-AC1F-F4748181A54B}"/>
                  </a:ext>
                </a:extLst>
              </p:cNvPr>
              <p:cNvSpPr>
                <a:spLocks/>
              </p:cNvSpPr>
              <p:nvPr/>
            </p:nvSpPr>
            <p:spPr bwMode="auto">
              <a:xfrm>
                <a:off x="2695" y="1514"/>
                <a:ext cx="359" cy="212"/>
              </a:xfrm>
              <a:custGeom>
                <a:avLst/>
                <a:gdLst>
                  <a:gd name="T0" fmla="*/ 136 w 262"/>
                  <a:gd name="T1" fmla="*/ 153 h 153"/>
                  <a:gd name="T2" fmla="*/ 118 w 262"/>
                  <a:gd name="T3" fmla="*/ 151 h 153"/>
                  <a:gd name="T4" fmla="*/ 10 w 262"/>
                  <a:gd name="T5" fmla="*/ 5 h 153"/>
                  <a:gd name="T6" fmla="*/ 10 w 262"/>
                  <a:gd name="T7" fmla="*/ 2 h 153"/>
                  <a:gd name="T8" fmla="*/ 12 w 262"/>
                  <a:gd name="T9" fmla="*/ 1 h 153"/>
                  <a:gd name="T10" fmla="*/ 13 w 262"/>
                  <a:gd name="T11" fmla="*/ 2 h 153"/>
                  <a:gd name="T12" fmla="*/ 13 w 262"/>
                  <a:gd name="T13" fmla="*/ 6 h 153"/>
                  <a:gd name="T14" fmla="*/ 118 w 262"/>
                  <a:gd name="T15" fmla="*/ 148 h 153"/>
                  <a:gd name="T16" fmla="*/ 210 w 262"/>
                  <a:gd name="T17" fmla="*/ 125 h 153"/>
                  <a:gd name="T18" fmla="*/ 259 w 262"/>
                  <a:gd name="T19" fmla="*/ 42 h 153"/>
                  <a:gd name="T20" fmla="*/ 261 w 262"/>
                  <a:gd name="T21" fmla="*/ 40 h 153"/>
                  <a:gd name="T22" fmla="*/ 262 w 262"/>
                  <a:gd name="T23" fmla="*/ 42 h 153"/>
                  <a:gd name="T24" fmla="*/ 212 w 262"/>
                  <a:gd name="T25" fmla="*/ 127 h 153"/>
                  <a:gd name="T26" fmla="*/ 136 w 262"/>
                  <a:gd name="T2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2" h="153">
                    <a:moveTo>
                      <a:pt x="136" y="153"/>
                    </a:moveTo>
                    <a:cubicBezTo>
                      <a:pt x="130" y="153"/>
                      <a:pt x="124" y="152"/>
                      <a:pt x="118" y="151"/>
                    </a:cubicBezTo>
                    <a:cubicBezTo>
                      <a:pt x="48" y="141"/>
                      <a:pt x="0" y="76"/>
                      <a:pt x="10" y="5"/>
                    </a:cubicBezTo>
                    <a:cubicBezTo>
                      <a:pt x="10" y="4"/>
                      <a:pt x="10" y="3"/>
                      <a:pt x="10" y="2"/>
                    </a:cubicBezTo>
                    <a:cubicBezTo>
                      <a:pt x="11" y="1"/>
                      <a:pt x="11" y="0"/>
                      <a:pt x="12" y="1"/>
                    </a:cubicBezTo>
                    <a:cubicBezTo>
                      <a:pt x="13" y="1"/>
                      <a:pt x="13" y="2"/>
                      <a:pt x="13" y="2"/>
                    </a:cubicBezTo>
                    <a:cubicBezTo>
                      <a:pt x="13" y="3"/>
                      <a:pt x="13" y="4"/>
                      <a:pt x="13" y="6"/>
                    </a:cubicBezTo>
                    <a:cubicBezTo>
                      <a:pt x="3" y="74"/>
                      <a:pt x="50" y="138"/>
                      <a:pt x="118" y="148"/>
                    </a:cubicBezTo>
                    <a:cubicBezTo>
                      <a:pt x="151" y="153"/>
                      <a:pt x="183" y="145"/>
                      <a:pt x="210" y="125"/>
                    </a:cubicBezTo>
                    <a:cubicBezTo>
                      <a:pt x="237" y="105"/>
                      <a:pt x="254" y="75"/>
                      <a:pt x="259" y="42"/>
                    </a:cubicBezTo>
                    <a:cubicBezTo>
                      <a:pt x="259" y="41"/>
                      <a:pt x="260" y="40"/>
                      <a:pt x="261" y="40"/>
                    </a:cubicBezTo>
                    <a:cubicBezTo>
                      <a:pt x="262" y="40"/>
                      <a:pt x="262" y="41"/>
                      <a:pt x="262" y="42"/>
                    </a:cubicBezTo>
                    <a:cubicBezTo>
                      <a:pt x="257" y="76"/>
                      <a:pt x="239" y="107"/>
                      <a:pt x="212" y="127"/>
                    </a:cubicBezTo>
                    <a:cubicBezTo>
                      <a:pt x="190" y="144"/>
                      <a:pt x="163" y="153"/>
                      <a:pt x="136" y="15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60" name="Group 159">
              <a:extLst>
                <a:ext uri="{FF2B5EF4-FFF2-40B4-BE49-F238E27FC236}">
                  <a16:creationId xmlns:a16="http://schemas.microsoft.com/office/drawing/2014/main" id="{F8C41571-3807-4C9D-BD58-CED49CDAC6F3}"/>
                </a:ext>
              </a:extLst>
            </p:cNvPr>
            <p:cNvGrpSpPr>
              <a:grpSpLocks noChangeAspect="1"/>
            </p:cNvGrpSpPr>
            <p:nvPr/>
          </p:nvGrpSpPr>
          <p:grpSpPr bwMode="auto">
            <a:xfrm rot="10800000">
              <a:off x="6116829" y="3315028"/>
              <a:ext cx="981202" cy="579428"/>
              <a:chOff x="2695" y="1514"/>
              <a:chExt cx="359" cy="212"/>
            </a:xfrm>
            <a:grpFill/>
          </p:grpSpPr>
          <p:sp>
            <p:nvSpPr>
              <p:cNvPr id="161" name="Freeform 21">
                <a:extLst>
                  <a:ext uri="{FF2B5EF4-FFF2-40B4-BE49-F238E27FC236}">
                    <a16:creationId xmlns:a16="http://schemas.microsoft.com/office/drawing/2014/main" id="{97C39063-D048-4B04-963B-D998A9A63A8D}"/>
                  </a:ext>
                </a:extLst>
              </p:cNvPr>
              <p:cNvSpPr>
                <a:spLocks/>
              </p:cNvSpPr>
              <p:nvPr/>
            </p:nvSpPr>
            <p:spPr bwMode="auto">
              <a:xfrm>
                <a:off x="2792" y="1531"/>
                <a:ext cx="172" cy="101"/>
              </a:xfrm>
              <a:custGeom>
                <a:avLst/>
                <a:gdLst>
                  <a:gd name="T0" fmla="*/ 65 w 125"/>
                  <a:gd name="T1" fmla="*/ 73 h 73"/>
                  <a:gd name="T2" fmla="*/ 56 w 125"/>
                  <a:gd name="T3" fmla="*/ 72 h 73"/>
                  <a:gd name="T4" fmla="*/ 5 w 125"/>
                  <a:gd name="T5" fmla="*/ 3 h 73"/>
                  <a:gd name="T6" fmla="*/ 5 w 125"/>
                  <a:gd name="T7" fmla="*/ 1 h 73"/>
                  <a:gd name="T8" fmla="*/ 7 w 125"/>
                  <a:gd name="T9" fmla="*/ 0 h 73"/>
                  <a:gd name="T10" fmla="*/ 8 w 125"/>
                  <a:gd name="T11" fmla="*/ 2 h 73"/>
                  <a:gd name="T12" fmla="*/ 8 w 125"/>
                  <a:gd name="T13" fmla="*/ 3 h 73"/>
                  <a:gd name="T14" fmla="*/ 57 w 125"/>
                  <a:gd name="T15" fmla="*/ 69 h 73"/>
                  <a:gd name="T16" fmla="*/ 99 w 125"/>
                  <a:gd name="T17" fmla="*/ 58 h 73"/>
                  <a:gd name="T18" fmla="*/ 122 w 125"/>
                  <a:gd name="T19" fmla="*/ 20 h 73"/>
                  <a:gd name="T20" fmla="*/ 124 w 125"/>
                  <a:gd name="T21" fmla="*/ 19 h 73"/>
                  <a:gd name="T22" fmla="*/ 125 w 125"/>
                  <a:gd name="T23" fmla="*/ 20 h 73"/>
                  <a:gd name="T24" fmla="*/ 101 w 125"/>
                  <a:gd name="T25" fmla="*/ 61 h 73"/>
                  <a:gd name="T26" fmla="*/ 65 w 125"/>
                  <a:gd name="T2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3">
                    <a:moveTo>
                      <a:pt x="65" y="73"/>
                    </a:moveTo>
                    <a:cubicBezTo>
                      <a:pt x="62" y="73"/>
                      <a:pt x="59" y="73"/>
                      <a:pt x="56" y="72"/>
                    </a:cubicBezTo>
                    <a:cubicBezTo>
                      <a:pt x="23" y="67"/>
                      <a:pt x="0" y="36"/>
                      <a:pt x="5" y="3"/>
                    </a:cubicBezTo>
                    <a:cubicBezTo>
                      <a:pt x="5" y="1"/>
                      <a:pt x="5" y="1"/>
                      <a:pt x="5" y="1"/>
                    </a:cubicBezTo>
                    <a:cubicBezTo>
                      <a:pt x="6" y="0"/>
                      <a:pt x="6" y="0"/>
                      <a:pt x="7" y="0"/>
                    </a:cubicBezTo>
                    <a:cubicBezTo>
                      <a:pt x="8" y="0"/>
                      <a:pt x="9" y="1"/>
                      <a:pt x="8" y="2"/>
                    </a:cubicBezTo>
                    <a:cubicBezTo>
                      <a:pt x="8" y="3"/>
                      <a:pt x="8" y="3"/>
                      <a:pt x="8" y="3"/>
                    </a:cubicBezTo>
                    <a:cubicBezTo>
                      <a:pt x="4" y="35"/>
                      <a:pt x="25" y="65"/>
                      <a:pt x="57" y="69"/>
                    </a:cubicBezTo>
                    <a:cubicBezTo>
                      <a:pt x="72" y="71"/>
                      <a:pt x="87" y="68"/>
                      <a:pt x="99" y="58"/>
                    </a:cubicBezTo>
                    <a:cubicBezTo>
                      <a:pt x="112" y="49"/>
                      <a:pt x="120" y="35"/>
                      <a:pt x="122" y="20"/>
                    </a:cubicBezTo>
                    <a:cubicBezTo>
                      <a:pt x="122" y="19"/>
                      <a:pt x="123" y="18"/>
                      <a:pt x="124" y="19"/>
                    </a:cubicBezTo>
                    <a:cubicBezTo>
                      <a:pt x="124" y="19"/>
                      <a:pt x="125" y="19"/>
                      <a:pt x="125" y="20"/>
                    </a:cubicBezTo>
                    <a:cubicBezTo>
                      <a:pt x="122" y="37"/>
                      <a:pt x="114" y="51"/>
                      <a:pt x="101" y="61"/>
                    </a:cubicBezTo>
                    <a:cubicBezTo>
                      <a:pt x="90" y="69"/>
                      <a:pt x="78" y="73"/>
                      <a:pt x="65" y="7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62" name="Freeform 22">
                <a:extLst>
                  <a:ext uri="{FF2B5EF4-FFF2-40B4-BE49-F238E27FC236}">
                    <a16:creationId xmlns:a16="http://schemas.microsoft.com/office/drawing/2014/main" id="{B265EE22-9E18-44DF-9B4F-F82C0097ABCB}"/>
                  </a:ext>
                </a:extLst>
              </p:cNvPr>
              <p:cNvSpPr>
                <a:spLocks/>
              </p:cNvSpPr>
              <p:nvPr/>
            </p:nvSpPr>
            <p:spPr bwMode="auto">
              <a:xfrm>
                <a:off x="2769" y="1525"/>
                <a:ext cx="220" cy="129"/>
              </a:xfrm>
              <a:custGeom>
                <a:avLst/>
                <a:gdLst>
                  <a:gd name="T0" fmla="*/ 83 w 160"/>
                  <a:gd name="T1" fmla="*/ 93 h 93"/>
                  <a:gd name="T2" fmla="*/ 72 w 160"/>
                  <a:gd name="T3" fmla="*/ 92 h 93"/>
                  <a:gd name="T4" fmla="*/ 6 w 160"/>
                  <a:gd name="T5" fmla="*/ 3 h 93"/>
                  <a:gd name="T6" fmla="*/ 6 w 160"/>
                  <a:gd name="T7" fmla="*/ 1 h 93"/>
                  <a:gd name="T8" fmla="*/ 8 w 160"/>
                  <a:gd name="T9" fmla="*/ 0 h 93"/>
                  <a:gd name="T10" fmla="*/ 9 w 160"/>
                  <a:gd name="T11" fmla="*/ 2 h 93"/>
                  <a:gd name="T12" fmla="*/ 9 w 160"/>
                  <a:gd name="T13" fmla="*/ 4 h 93"/>
                  <a:gd name="T14" fmla="*/ 72 w 160"/>
                  <a:gd name="T15" fmla="*/ 89 h 93"/>
                  <a:gd name="T16" fmla="*/ 127 w 160"/>
                  <a:gd name="T17" fmla="*/ 75 h 93"/>
                  <a:gd name="T18" fmla="*/ 157 w 160"/>
                  <a:gd name="T19" fmla="*/ 25 h 93"/>
                  <a:gd name="T20" fmla="*/ 159 w 160"/>
                  <a:gd name="T21" fmla="*/ 24 h 93"/>
                  <a:gd name="T22" fmla="*/ 160 w 160"/>
                  <a:gd name="T23" fmla="*/ 26 h 93"/>
                  <a:gd name="T24" fmla="*/ 129 w 160"/>
                  <a:gd name="T25" fmla="*/ 78 h 93"/>
                  <a:gd name="T26" fmla="*/ 83 w 160"/>
                  <a:gd name="T2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93">
                    <a:moveTo>
                      <a:pt x="83" y="93"/>
                    </a:moveTo>
                    <a:cubicBezTo>
                      <a:pt x="79" y="93"/>
                      <a:pt x="76" y="93"/>
                      <a:pt x="72" y="92"/>
                    </a:cubicBezTo>
                    <a:cubicBezTo>
                      <a:pt x="30" y="86"/>
                      <a:pt x="0" y="46"/>
                      <a:pt x="6" y="3"/>
                    </a:cubicBezTo>
                    <a:cubicBezTo>
                      <a:pt x="6" y="3"/>
                      <a:pt x="6" y="2"/>
                      <a:pt x="6" y="1"/>
                    </a:cubicBezTo>
                    <a:cubicBezTo>
                      <a:pt x="7" y="0"/>
                      <a:pt x="7" y="0"/>
                      <a:pt x="8" y="0"/>
                    </a:cubicBezTo>
                    <a:cubicBezTo>
                      <a:pt x="9" y="0"/>
                      <a:pt x="10" y="1"/>
                      <a:pt x="9" y="2"/>
                    </a:cubicBezTo>
                    <a:cubicBezTo>
                      <a:pt x="9" y="2"/>
                      <a:pt x="9" y="3"/>
                      <a:pt x="9" y="4"/>
                    </a:cubicBezTo>
                    <a:cubicBezTo>
                      <a:pt x="3" y="45"/>
                      <a:pt x="32" y="83"/>
                      <a:pt x="72" y="89"/>
                    </a:cubicBezTo>
                    <a:cubicBezTo>
                      <a:pt x="92" y="92"/>
                      <a:pt x="111" y="87"/>
                      <a:pt x="127" y="75"/>
                    </a:cubicBezTo>
                    <a:cubicBezTo>
                      <a:pt x="144" y="63"/>
                      <a:pt x="154" y="46"/>
                      <a:pt x="157" y="25"/>
                    </a:cubicBezTo>
                    <a:cubicBezTo>
                      <a:pt x="157" y="25"/>
                      <a:pt x="158" y="24"/>
                      <a:pt x="159" y="24"/>
                    </a:cubicBezTo>
                    <a:cubicBezTo>
                      <a:pt x="159" y="24"/>
                      <a:pt x="160" y="25"/>
                      <a:pt x="160" y="26"/>
                    </a:cubicBezTo>
                    <a:cubicBezTo>
                      <a:pt x="157" y="47"/>
                      <a:pt x="146" y="65"/>
                      <a:pt x="129" y="78"/>
                    </a:cubicBezTo>
                    <a:cubicBezTo>
                      <a:pt x="116" y="88"/>
                      <a:pt x="100" y="93"/>
                      <a:pt x="83" y="9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63" name="Freeform 23">
                <a:extLst>
                  <a:ext uri="{FF2B5EF4-FFF2-40B4-BE49-F238E27FC236}">
                    <a16:creationId xmlns:a16="http://schemas.microsoft.com/office/drawing/2014/main" id="{A6902C2A-B717-4847-BD55-085ABC139826}"/>
                  </a:ext>
                </a:extLst>
              </p:cNvPr>
              <p:cNvSpPr>
                <a:spLocks/>
              </p:cNvSpPr>
              <p:nvPr/>
            </p:nvSpPr>
            <p:spPr bwMode="auto">
              <a:xfrm>
                <a:off x="2743" y="1522"/>
                <a:ext cx="267" cy="158"/>
              </a:xfrm>
              <a:custGeom>
                <a:avLst/>
                <a:gdLst>
                  <a:gd name="T0" fmla="*/ 101 w 195"/>
                  <a:gd name="T1" fmla="*/ 114 h 114"/>
                  <a:gd name="T2" fmla="*/ 87 w 195"/>
                  <a:gd name="T3" fmla="*/ 113 h 114"/>
                  <a:gd name="T4" fmla="*/ 7 w 195"/>
                  <a:gd name="T5" fmla="*/ 4 h 114"/>
                  <a:gd name="T6" fmla="*/ 7 w 195"/>
                  <a:gd name="T7" fmla="*/ 1 h 114"/>
                  <a:gd name="T8" fmla="*/ 9 w 195"/>
                  <a:gd name="T9" fmla="*/ 0 h 114"/>
                  <a:gd name="T10" fmla="*/ 10 w 195"/>
                  <a:gd name="T11" fmla="*/ 2 h 114"/>
                  <a:gd name="T12" fmla="*/ 10 w 195"/>
                  <a:gd name="T13" fmla="*/ 4 h 114"/>
                  <a:gd name="T14" fmla="*/ 88 w 195"/>
                  <a:gd name="T15" fmla="*/ 110 h 114"/>
                  <a:gd name="T16" fmla="*/ 156 w 195"/>
                  <a:gd name="T17" fmla="*/ 92 h 114"/>
                  <a:gd name="T18" fmla="*/ 192 w 195"/>
                  <a:gd name="T19" fmla="*/ 31 h 114"/>
                  <a:gd name="T20" fmla="*/ 194 w 195"/>
                  <a:gd name="T21" fmla="*/ 30 h 114"/>
                  <a:gd name="T22" fmla="*/ 195 w 195"/>
                  <a:gd name="T23" fmla="*/ 31 h 114"/>
                  <a:gd name="T24" fmla="*/ 157 w 195"/>
                  <a:gd name="T25" fmla="*/ 95 h 114"/>
                  <a:gd name="T26" fmla="*/ 101 w 195"/>
                  <a:gd name="T2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114">
                    <a:moveTo>
                      <a:pt x="101" y="114"/>
                    </a:moveTo>
                    <a:cubicBezTo>
                      <a:pt x="97" y="114"/>
                      <a:pt x="92" y="113"/>
                      <a:pt x="87" y="113"/>
                    </a:cubicBezTo>
                    <a:cubicBezTo>
                      <a:pt x="36" y="105"/>
                      <a:pt x="0" y="56"/>
                      <a:pt x="7" y="4"/>
                    </a:cubicBezTo>
                    <a:cubicBezTo>
                      <a:pt x="7" y="3"/>
                      <a:pt x="7" y="2"/>
                      <a:pt x="7" y="1"/>
                    </a:cubicBezTo>
                    <a:cubicBezTo>
                      <a:pt x="8" y="1"/>
                      <a:pt x="8" y="0"/>
                      <a:pt x="9" y="0"/>
                    </a:cubicBezTo>
                    <a:cubicBezTo>
                      <a:pt x="10" y="0"/>
                      <a:pt x="11" y="1"/>
                      <a:pt x="10" y="2"/>
                    </a:cubicBezTo>
                    <a:cubicBezTo>
                      <a:pt x="10" y="3"/>
                      <a:pt x="10" y="3"/>
                      <a:pt x="10" y="4"/>
                    </a:cubicBezTo>
                    <a:cubicBezTo>
                      <a:pt x="3" y="55"/>
                      <a:pt x="38" y="102"/>
                      <a:pt x="88" y="110"/>
                    </a:cubicBezTo>
                    <a:cubicBezTo>
                      <a:pt x="112" y="113"/>
                      <a:pt x="136" y="107"/>
                      <a:pt x="156" y="92"/>
                    </a:cubicBezTo>
                    <a:cubicBezTo>
                      <a:pt x="176" y="78"/>
                      <a:pt x="188" y="56"/>
                      <a:pt x="192" y="31"/>
                    </a:cubicBezTo>
                    <a:cubicBezTo>
                      <a:pt x="192" y="30"/>
                      <a:pt x="193" y="29"/>
                      <a:pt x="194" y="30"/>
                    </a:cubicBezTo>
                    <a:cubicBezTo>
                      <a:pt x="195" y="30"/>
                      <a:pt x="195" y="30"/>
                      <a:pt x="195" y="31"/>
                    </a:cubicBezTo>
                    <a:cubicBezTo>
                      <a:pt x="191" y="57"/>
                      <a:pt x="178" y="80"/>
                      <a:pt x="157" y="95"/>
                    </a:cubicBezTo>
                    <a:cubicBezTo>
                      <a:pt x="141" y="107"/>
                      <a:pt x="121" y="114"/>
                      <a:pt x="101" y="114"/>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64" name="Freeform 24">
                <a:extLst>
                  <a:ext uri="{FF2B5EF4-FFF2-40B4-BE49-F238E27FC236}">
                    <a16:creationId xmlns:a16="http://schemas.microsoft.com/office/drawing/2014/main" id="{61C0095B-2B14-4E52-8219-DD731B846CE8}"/>
                  </a:ext>
                </a:extLst>
              </p:cNvPr>
              <p:cNvSpPr>
                <a:spLocks/>
              </p:cNvSpPr>
              <p:nvPr/>
            </p:nvSpPr>
            <p:spPr bwMode="auto">
              <a:xfrm>
                <a:off x="2718" y="1518"/>
                <a:ext cx="314" cy="184"/>
              </a:xfrm>
              <a:custGeom>
                <a:avLst/>
                <a:gdLst>
                  <a:gd name="T0" fmla="*/ 119 w 229"/>
                  <a:gd name="T1" fmla="*/ 133 h 133"/>
                  <a:gd name="T2" fmla="*/ 103 w 229"/>
                  <a:gd name="T3" fmla="*/ 132 h 133"/>
                  <a:gd name="T4" fmla="*/ 9 w 229"/>
                  <a:gd name="T5" fmla="*/ 4 h 133"/>
                  <a:gd name="T6" fmla="*/ 9 w 229"/>
                  <a:gd name="T7" fmla="*/ 2 h 133"/>
                  <a:gd name="T8" fmla="*/ 11 w 229"/>
                  <a:gd name="T9" fmla="*/ 0 h 133"/>
                  <a:gd name="T10" fmla="*/ 12 w 229"/>
                  <a:gd name="T11" fmla="*/ 2 h 133"/>
                  <a:gd name="T12" fmla="*/ 12 w 229"/>
                  <a:gd name="T13" fmla="*/ 5 h 133"/>
                  <a:gd name="T14" fmla="*/ 104 w 229"/>
                  <a:gd name="T15" fmla="*/ 129 h 133"/>
                  <a:gd name="T16" fmla="*/ 183 w 229"/>
                  <a:gd name="T17" fmla="*/ 109 h 133"/>
                  <a:gd name="T18" fmla="*/ 226 w 229"/>
                  <a:gd name="T19" fmla="*/ 36 h 133"/>
                  <a:gd name="T20" fmla="*/ 228 w 229"/>
                  <a:gd name="T21" fmla="*/ 35 h 133"/>
                  <a:gd name="T22" fmla="*/ 229 w 229"/>
                  <a:gd name="T23" fmla="*/ 37 h 133"/>
                  <a:gd name="T24" fmla="*/ 185 w 229"/>
                  <a:gd name="T25" fmla="*/ 111 h 133"/>
                  <a:gd name="T26" fmla="*/ 119 w 229"/>
                  <a:gd name="T2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9" h="133">
                    <a:moveTo>
                      <a:pt x="119" y="133"/>
                    </a:moveTo>
                    <a:cubicBezTo>
                      <a:pt x="114" y="133"/>
                      <a:pt x="108" y="133"/>
                      <a:pt x="103" y="132"/>
                    </a:cubicBezTo>
                    <a:cubicBezTo>
                      <a:pt x="42" y="123"/>
                      <a:pt x="0" y="66"/>
                      <a:pt x="9" y="4"/>
                    </a:cubicBezTo>
                    <a:cubicBezTo>
                      <a:pt x="9" y="4"/>
                      <a:pt x="9" y="3"/>
                      <a:pt x="9" y="2"/>
                    </a:cubicBezTo>
                    <a:cubicBezTo>
                      <a:pt x="10" y="1"/>
                      <a:pt x="10" y="0"/>
                      <a:pt x="11" y="0"/>
                    </a:cubicBezTo>
                    <a:cubicBezTo>
                      <a:pt x="12" y="1"/>
                      <a:pt x="12" y="1"/>
                      <a:pt x="12" y="2"/>
                    </a:cubicBezTo>
                    <a:cubicBezTo>
                      <a:pt x="12" y="3"/>
                      <a:pt x="12" y="4"/>
                      <a:pt x="12" y="5"/>
                    </a:cubicBezTo>
                    <a:cubicBezTo>
                      <a:pt x="3" y="65"/>
                      <a:pt x="44" y="120"/>
                      <a:pt x="104" y="129"/>
                    </a:cubicBezTo>
                    <a:cubicBezTo>
                      <a:pt x="132" y="133"/>
                      <a:pt x="160" y="126"/>
                      <a:pt x="183" y="109"/>
                    </a:cubicBezTo>
                    <a:cubicBezTo>
                      <a:pt x="207" y="91"/>
                      <a:pt x="222" y="65"/>
                      <a:pt x="226" y="36"/>
                    </a:cubicBezTo>
                    <a:cubicBezTo>
                      <a:pt x="226" y="35"/>
                      <a:pt x="227" y="35"/>
                      <a:pt x="228" y="35"/>
                    </a:cubicBezTo>
                    <a:cubicBezTo>
                      <a:pt x="229" y="35"/>
                      <a:pt x="229" y="36"/>
                      <a:pt x="229" y="37"/>
                    </a:cubicBezTo>
                    <a:cubicBezTo>
                      <a:pt x="225" y="67"/>
                      <a:pt x="209" y="93"/>
                      <a:pt x="185" y="111"/>
                    </a:cubicBezTo>
                    <a:cubicBezTo>
                      <a:pt x="166" y="126"/>
                      <a:pt x="143" y="133"/>
                      <a:pt x="119" y="13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sp>
            <p:nvSpPr>
              <p:cNvPr id="165" name="Freeform 25">
                <a:extLst>
                  <a:ext uri="{FF2B5EF4-FFF2-40B4-BE49-F238E27FC236}">
                    <a16:creationId xmlns:a16="http://schemas.microsoft.com/office/drawing/2014/main" id="{847BE427-9C76-4334-A7E8-270D11C95CE2}"/>
                  </a:ext>
                </a:extLst>
              </p:cNvPr>
              <p:cNvSpPr>
                <a:spLocks/>
              </p:cNvSpPr>
              <p:nvPr/>
            </p:nvSpPr>
            <p:spPr bwMode="auto">
              <a:xfrm>
                <a:off x="2695" y="1514"/>
                <a:ext cx="359" cy="212"/>
              </a:xfrm>
              <a:custGeom>
                <a:avLst/>
                <a:gdLst>
                  <a:gd name="T0" fmla="*/ 136 w 262"/>
                  <a:gd name="T1" fmla="*/ 153 h 153"/>
                  <a:gd name="T2" fmla="*/ 118 w 262"/>
                  <a:gd name="T3" fmla="*/ 151 h 153"/>
                  <a:gd name="T4" fmla="*/ 10 w 262"/>
                  <a:gd name="T5" fmla="*/ 5 h 153"/>
                  <a:gd name="T6" fmla="*/ 10 w 262"/>
                  <a:gd name="T7" fmla="*/ 2 h 153"/>
                  <a:gd name="T8" fmla="*/ 12 w 262"/>
                  <a:gd name="T9" fmla="*/ 1 h 153"/>
                  <a:gd name="T10" fmla="*/ 13 w 262"/>
                  <a:gd name="T11" fmla="*/ 2 h 153"/>
                  <a:gd name="T12" fmla="*/ 13 w 262"/>
                  <a:gd name="T13" fmla="*/ 6 h 153"/>
                  <a:gd name="T14" fmla="*/ 118 w 262"/>
                  <a:gd name="T15" fmla="*/ 148 h 153"/>
                  <a:gd name="T16" fmla="*/ 210 w 262"/>
                  <a:gd name="T17" fmla="*/ 125 h 153"/>
                  <a:gd name="T18" fmla="*/ 259 w 262"/>
                  <a:gd name="T19" fmla="*/ 42 h 153"/>
                  <a:gd name="T20" fmla="*/ 261 w 262"/>
                  <a:gd name="T21" fmla="*/ 40 h 153"/>
                  <a:gd name="T22" fmla="*/ 262 w 262"/>
                  <a:gd name="T23" fmla="*/ 42 h 153"/>
                  <a:gd name="T24" fmla="*/ 212 w 262"/>
                  <a:gd name="T25" fmla="*/ 127 h 153"/>
                  <a:gd name="T26" fmla="*/ 136 w 262"/>
                  <a:gd name="T2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2" h="153">
                    <a:moveTo>
                      <a:pt x="136" y="153"/>
                    </a:moveTo>
                    <a:cubicBezTo>
                      <a:pt x="130" y="153"/>
                      <a:pt x="124" y="152"/>
                      <a:pt x="118" y="151"/>
                    </a:cubicBezTo>
                    <a:cubicBezTo>
                      <a:pt x="48" y="141"/>
                      <a:pt x="0" y="76"/>
                      <a:pt x="10" y="5"/>
                    </a:cubicBezTo>
                    <a:cubicBezTo>
                      <a:pt x="10" y="4"/>
                      <a:pt x="10" y="3"/>
                      <a:pt x="10" y="2"/>
                    </a:cubicBezTo>
                    <a:cubicBezTo>
                      <a:pt x="11" y="1"/>
                      <a:pt x="11" y="0"/>
                      <a:pt x="12" y="1"/>
                    </a:cubicBezTo>
                    <a:cubicBezTo>
                      <a:pt x="13" y="1"/>
                      <a:pt x="13" y="2"/>
                      <a:pt x="13" y="2"/>
                    </a:cubicBezTo>
                    <a:cubicBezTo>
                      <a:pt x="13" y="3"/>
                      <a:pt x="13" y="4"/>
                      <a:pt x="13" y="6"/>
                    </a:cubicBezTo>
                    <a:cubicBezTo>
                      <a:pt x="3" y="74"/>
                      <a:pt x="50" y="138"/>
                      <a:pt x="118" y="148"/>
                    </a:cubicBezTo>
                    <a:cubicBezTo>
                      <a:pt x="151" y="153"/>
                      <a:pt x="183" y="145"/>
                      <a:pt x="210" y="125"/>
                    </a:cubicBezTo>
                    <a:cubicBezTo>
                      <a:pt x="237" y="105"/>
                      <a:pt x="254" y="75"/>
                      <a:pt x="259" y="42"/>
                    </a:cubicBezTo>
                    <a:cubicBezTo>
                      <a:pt x="259" y="41"/>
                      <a:pt x="260" y="40"/>
                      <a:pt x="261" y="40"/>
                    </a:cubicBezTo>
                    <a:cubicBezTo>
                      <a:pt x="262" y="40"/>
                      <a:pt x="262" y="41"/>
                      <a:pt x="262" y="42"/>
                    </a:cubicBezTo>
                    <a:cubicBezTo>
                      <a:pt x="257" y="76"/>
                      <a:pt x="239" y="107"/>
                      <a:pt x="212" y="127"/>
                    </a:cubicBezTo>
                    <a:cubicBezTo>
                      <a:pt x="190" y="144"/>
                      <a:pt x="163" y="153"/>
                      <a:pt x="136" y="153"/>
                    </a:cubicBezTo>
                    <a:close/>
                  </a:path>
                </a:pathLst>
              </a:custGeom>
              <a:grpFill/>
              <a:ln w="7037" cap="flat">
                <a:noFill/>
                <a:prstDash val="solid"/>
                <a:miter/>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93" name="Freeform: Shape 92">
            <a:extLst>
              <a:ext uri="{FF2B5EF4-FFF2-40B4-BE49-F238E27FC236}">
                <a16:creationId xmlns:a16="http://schemas.microsoft.com/office/drawing/2014/main" id="{78757C5D-22E8-4255-94C3-758BDD5AABAE}"/>
              </a:ext>
            </a:extLst>
          </p:cNvPr>
          <p:cNvSpPr/>
          <p:nvPr/>
        </p:nvSpPr>
        <p:spPr>
          <a:xfrm>
            <a:off x="3696313" y="3350800"/>
            <a:ext cx="4956668" cy="2750664"/>
          </a:xfrm>
          <a:custGeom>
            <a:avLst/>
            <a:gdLst>
              <a:gd name="connsiteX0" fmla="*/ 2478334 w 4956668"/>
              <a:gd name="connsiteY0" fmla="*/ 0 h 2750664"/>
              <a:gd name="connsiteX1" fmla="*/ 4956668 w 4956668"/>
              <a:gd name="connsiteY1" fmla="*/ 2478334 h 2750664"/>
              <a:gd name="connsiteX2" fmla="*/ 4943873 w 4956668"/>
              <a:gd name="connsiteY2" fmla="*/ 2731730 h 2750664"/>
              <a:gd name="connsiteX3" fmla="*/ 4940983 w 4956668"/>
              <a:gd name="connsiteY3" fmla="*/ 2750664 h 2750664"/>
              <a:gd name="connsiteX4" fmla="*/ 15685 w 4956668"/>
              <a:gd name="connsiteY4" fmla="*/ 2750664 h 2750664"/>
              <a:gd name="connsiteX5" fmla="*/ 12796 w 4956668"/>
              <a:gd name="connsiteY5" fmla="*/ 2731730 h 2750664"/>
              <a:gd name="connsiteX6" fmla="*/ 0 w 4956668"/>
              <a:gd name="connsiteY6" fmla="*/ 2478334 h 2750664"/>
              <a:gd name="connsiteX7" fmla="*/ 2478334 w 4956668"/>
              <a:gd name="connsiteY7" fmla="*/ 0 h 2750664"/>
              <a:gd name="connsiteX0" fmla="*/ 2478334 w 4956668"/>
              <a:gd name="connsiteY0" fmla="*/ 0 h 2750664"/>
              <a:gd name="connsiteX1" fmla="*/ 4956668 w 4956668"/>
              <a:gd name="connsiteY1" fmla="*/ 2478334 h 2750664"/>
              <a:gd name="connsiteX2" fmla="*/ 4943873 w 4956668"/>
              <a:gd name="connsiteY2" fmla="*/ 2731730 h 2750664"/>
              <a:gd name="connsiteX3" fmla="*/ 4940983 w 4956668"/>
              <a:gd name="connsiteY3" fmla="*/ 2750664 h 2750664"/>
              <a:gd name="connsiteX4" fmla="*/ 15685 w 4956668"/>
              <a:gd name="connsiteY4" fmla="*/ 2750664 h 2750664"/>
              <a:gd name="connsiteX5" fmla="*/ 12796 w 4956668"/>
              <a:gd name="connsiteY5" fmla="*/ 2731730 h 2750664"/>
              <a:gd name="connsiteX6" fmla="*/ 0 w 4956668"/>
              <a:gd name="connsiteY6" fmla="*/ 2478334 h 2750664"/>
              <a:gd name="connsiteX7" fmla="*/ 2478334 w 4956668"/>
              <a:gd name="connsiteY7" fmla="*/ 0 h 2750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6668" h="2750664">
                <a:moveTo>
                  <a:pt x="2478334" y="0"/>
                </a:moveTo>
                <a:cubicBezTo>
                  <a:pt x="3847080" y="0"/>
                  <a:pt x="4956668" y="1109588"/>
                  <a:pt x="4956668" y="2478334"/>
                </a:cubicBezTo>
                <a:cubicBezTo>
                  <a:pt x="4956668" y="2563881"/>
                  <a:pt x="4952334" y="2648415"/>
                  <a:pt x="4943873" y="2731730"/>
                </a:cubicBezTo>
                <a:lnTo>
                  <a:pt x="4940983" y="2750664"/>
                </a:lnTo>
                <a:lnTo>
                  <a:pt x="15685" y="2750664"/>
                </a:lnTo>
                <a:lnTo>
                  <a:pt x="12796" y="2731730"/>
                </a:lnTo>
                <a:cubicBezTo>
                  <a:pt x="4335" y="2648415"/>
                  <a:pt x="0" y="2563881"/>
                  <a:pt x="0" y="2478334"/>
                </a:cubicBezTo>
                <a:cubicBezTo>
                  <a:pt x="0" y="1109588"/>
                  <a:pt x="1109588" y="0"/>
                  <a:pt x="2478334" y="0"/>
                </a:cubicBezTo>
                <a:close/>
              </a:path>
            </a:pathLst>
          </a:cu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94" name="Freeform: Shape 93">
            <a:extLst>
              <a:ext uri="{FF2B5EF4-FFF2-40B4-BE49-F238E27FC236}">
                <a16:creationId xmlns:a16="http://schemas.microsoft.com/office/drawing/2014/main" id="{18680C36-07CB-4052-BA83-D430C0F6B817}"/>
              </a:ext>
            </a:extLst>
          </p:cNvPr>
          <p:cNvSpPr/>
          <p:nvPr/>
        </p:nvSpPr>
        <p:spPr>
          <a:xfrm>
            <a:off x="3987881" y="3642369"/>
            <a:ext cx="4373532" cy="2459095"/>
          </a:xfrm>
          <a:custGeom>
            <a:avLst/>
            <a:gdLst>
              <a:gd name="connsiteX0" fmla="*/ 2186766 w 4373532"/>
              <a:gd name="connsiteY0" fmla="*/ 0 h 2459095"/>
              <a:gd name="connsiteX1" fmla="*/ 4373532 w 4373532"/>
              <a:gd name="connsiteY1" fmla="*/ 2186766 h 2459095"/>
              <a:gd name="connsiteX2" fmla="*/ 4362242 w 4373532"/>
              <a:gd name="connsiteY2" fmla="*/ 2410351 h 2459095"/>
              <a:gd name="connsiteX3" fmla="*/ 4354803 w 4373532"/>
              <a:gd name="connsiteY3" fmla="*/ 2459095 h 2459095"/>
              <a:gd name="connsiteX4" fmla="*/ 18730 w 4373532"/>
              <a:gd name="connsiteY4" fmla="*/ 2459095 h 2459095"/>
              <a:gd name="connsiteX5" fmla="*/ 11290 w 4373532"/>
              <a:gd name="connsiteY5" fmla="*/ 2410351 h 2459095"/>
              <a:gd name="connsiteX6" fmla="*/ 0 w 4373532"/>
              <a:gd name="connsiteY6" fmla="*/ 2186766 h 2459095"/>
              <a:gd name="connsiteX7" fmla="*/ 2186766 w 4373532"/>
              <a:gd name="connsiteY7" fmla="*/ 0 h 245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3532" h="2459095">
                <a:moveTo>
                  <a:pt x="2186766" y="0"/>
                </a:moveTo>
                <a:cubicBezTo>
                  <a:pt x="3394484" y="0"/>
                  <a:pt x="4373532" y="979048"/>
                  <a:pt x="4373532" y="2186766"/>
                </a:cubicBezTo>
                <a:cubicBezTo>
                  <a:pt x="4373532" y="2262249"/>
                  <a:pt x="4369708" y="2336838"/>
                  <a:pt x="4362242" y="2410351"/>
                </a:cubicBezTo>
                <a:lnTo>
                  <a:pt x="4354803" y="2459095"/>
                </a:lnTo>
                <a:lnTo>
                  <a:pt x="18730" y="2459095"/>
                </a:lnTo>
                <a:lnTo>
                  <a:pt x="11290" y="2410351"/>
                </a:lnTo>
                <a:cubicBezTo>
                  <a:pt x="3825" y="2336838"/>
                  <a:pt x="0" y="2262249"/>
                  <a:pt x="0" y="2186766"/>
                </a:cubicBezTo>
                <a:cubicBezTo>
                  <a:pt x="0" y="979048"/>
                  <a:pt x="979048" y="0"/>
                  <a:pt x="2186766"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 name="Footer Placeholder 1">
            <a:extLst>
              <a:ext uri="{FF2B5EF4-FFF2-40B4-BE49-F238E27FC236}">
                <a16:creationId xmlns:a16="http://schemas.microsoft.com/office/drawing/2014/main" id="{6246ABAD-F51E-4AE7-915F-8875316CA6B5}"/>
              </a:ext>
            </a:extLst>
          </p:cNvPr>
          <p:cNvSpPr>
            <a:spLocks noGrp="1"/>
          </p:cNvSpPr>
          <p:nvPr>
            <p:ph type="ftr" sz="quarter" idx="10"/>
          </p:nvPr>
        </p:nvSpPr>
        <p:spPr/>
        <p:txBody>
          <a:bodyPr/>
          <a:lstStyle/>
          <a:p>
            <a:r>
              <a:rPr lang="en-US" dirty="0"/>
              <a:t>© 2020 Cisco and/or its affiliates. All rights reserved. Cisco Confidential</a:t>
            </a:r>
          </a:p>
        </p:txBody>
      </p:sp>
      <p:sp>
        <p:nvSpPr>
          <p:cNvPr id="74" name="Title 1">
            <a:extLst>
              <a:ext uri="{FF2B5EF4-FFF2-40B4-BE49-F238E27FC236}">
                <a16:creationId xmlns:a16="http://schemas.microsoft.com/office/drawing/2014/main" id="{F52666CF-324A-4297-AED9-83C107390004}"/>
              </a:ext>
            </a:extLst>
          </p:cNvPr>
          <p:cNvSpPr>
            <a:spLocks noGrp="1"/>
          </p:cNvSpPr>
          <p:nvPr>
            <p:ph type="title"/>
          </p:nvPr>
        </p:nvSpPr>
        <p:spPr>
          <a:xfrm>
            <a:off x="533400" y="481807"/>
            <a:ext cx="11127317" cy="787908"/>
          </a:xfrm>
        </p:spPr>
        <p:txBody>
          <a:bodyPr/>
          <a:lstStyle/>
          <a:p>
            <a:r>
              <a:rPr lang="en-US" sz="3200" dirty="0"/>
              <a:t>…backed by the reliability and support of a world leader in technology</a:t>
            </a:r>
          </a:p>
        </p:txBody>
      </p:sp>
      <p:sp>
        <p:nvSpPr>
          <p:cNvPr id="6" name="Rectangle 5">
            <a:extLst>
              <a:ext uri="{FF2B5EF4-FFF2-40B4-BE49-F238E27FC236}">
                <a16:creationId xmlns:a16="http://schemas.microsoft.com/office/drawing/2014/main" id="{B3D037F8-F819-4D07-9F78-6B6E54938924}"/>
              </a:ext>
            </a:extLst>
          </p:cNvPr>
          <p:cNvSpPr/>
          <p:nvPr/>
        </p:nvSpPr>
        <p:spPr>
          <a:xfrm>
            <a:off x="533809" y="4385953"/>
            <a:ext cx="2266541" cy="617619"/>
          </a:xfrm>
          <a:prstGeom prst="rect">
            <a:avLst/>
          </a:prstGeom>
          <a:noFill/>
          <a:ln>
            <a:noFill/>
          </a:ln>
        </p:spPr>
        <p:txBody>
          <a:bodyPr wrap="square" lIns="0" tIns="0" rIns="0" bIns="0" numCol="1" spcCol="356616" anchor="ctr">
            <a:noAutofit/>
          </a:bodyPr>
          <a:lstStyle/>
          <a:p>
            <a:pPr indent="-975312" algn="r" defTabSz="1219170">
              <a:defRPr/>
            </a:pPr>
            <a:r>
              <a:rPr lang="ms-MY" sz="2000" kern="0" dirty="0">
                <a:solidFill>
                  <a:schemeClr val="tx2"/>
                </a:solidFill>
                <a:ea typeface="Raleway" panose="020B0606030504020204" pitchFamily="34" charset="0"/>
                <a:cs typeface="Raleway" panose="020F0602020204030203" pitchFamily="34" charset="0"/>
              </a:rPr>
              <a:t>Deep network integration</a:t>
            </a:r>
          </a:p>
        </p:txBody>
      </p:sp>
      <p:cxnSp>
        <p:nvCxnSpPr>
          <p:cNvPr id="107" name="Straight Connector 106">
            <a:extLst>
              <a:ext uri="{FF2B5EF4-FFF2-40B4-BE49-F238E27FC236}">
                <a16:creationId xmlns:a16="http://schemas.microsoft.com/office/drawing/2014/main" id="{F83594DC-1BA7-4953-A8E2-063FB1C57330}"/>
              </a:ext>
            </a:extLst>
          </p:cNvPr>
          <p:cNvCxnSpPr>
            <a:cxnSpLocks/>
          </p:cNvCxnSpPr>
          <p:nvPr/>
        </p:nvCxnSpPr>
        <p:spPr>
          <a:xfrm>
            <a:off x="6170708" y="2590800"/>
            <a:ext cx="0" cy="1343137"/>
          </a:xfrm>
          <a:prstGeom prst="line">
            <a:avLst/>
          </a:prstGeom>
          <a:ln w="15875" cap="rnd">
            <a:prstDash val="sysDot"/>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AD0A05C-3606-4CDF-86DE-781E7CFE508C}"/>
              </a:ext>
            </a:extLst>
          </p:cNvPr>
          <p:cNvCxnSpPr>
            <a:cxnSpLocks/>
          </p:cNvCxnSpPr>
          <p:nvPr/>
        </p:nvCxnSpPr>
        <p:spPr>
          <a:xfrm>
            <a:off x="4359243" y="3198432"/>
            <a:ext cx="794913" cy="1259305"/>
          </a:xfrm>
          <a:prstGeom prst="line">
            <a:avLst/>
          </a:prstGeom>
          <a:ln w="15875" cap="rnd">
            <a:prstDash val="sysDot"/>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D64920FA-F13C-4637-B00C-A4606A829B71}"/>
              </a:ext>
            </a:extLst>
          </p:cNvPr>
          <p:cNvCxnSpPr>
            <a:cxnSpLocks/>
          </p:cNvCxnSpPr>
          <p:nvPr/>
        </p:nvCxnSpPr>
        <p:spPr>
          <a:xfrm>
            <a:off x="3089766" y="4792604"/>
            <a:ext cx="2371983" cy="996685"/>
          </a:xfrm>
          <a:prstGeom prst="line">
            <a:avLst/>
          </a:prstGeom>
          <a:ln w="15875" cap="rnd">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3AB7965-5EA1-4062-9594-D13580F8D3A9}"/>
              </a:ext>
            </a:extLst>
          </p:cNvPr>
          <p:cNvCxnSpPr>
            <a:cxnSpLocks/>
          </p:cNvCxnSpPr>
          <p:nvPr/>
        </p:nvCxnSpPr>
        <p:spPr>
          <a:xfrm flipH="1">
            <a:off x="7484696" y="4792604"/>
            <a:ext cx="1787237" cy="730143"/>
          </a:xfrm>
          <a:prstGeom prst="line">
            <a:avLst/>
          </a:prstGeom>
          <a:ln w="15875" cap="rnd">
            <a:prstDash val="sysDot"/>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FB5A03C5-B3B2-40DA-AF8F-FFE46B3A8E93}"/>
              </a:ext>
            </a:extLst>
          </p:cNvPr>
          <p:cNvSpPr/>
          <p:nvPr/>
        </p:nvSpPr>
        <p:spPr>
          <a:xfrm>
            <a:off x="1496697" y="2741946"/>
            <a:ext cx="2587240" cy="617619"/>
          </a:xfrm>
          <a:prstGeom prst="rect">
            <a:avLst/>
          </a:prstGeom>
          <a:noFill/>
          <a:ln>
            <a:noFill/>
          </a:ln>
        </p:spPr>
        <p:txBody>
          <a:bodyPr wrap="square" lIns="0" tIns="0" rIns="0" bIns="0" numCol="1" spcCol="356616" anchor="ctr">
            <a:noAutofit/>
          </a:bodyPr>
          <a:lstStyle/>
          <a:p>
            <a:pPr indent="-975312" algn="r" defTabSz="1219170">
              <a:defRPr/>
            </a:pPr>
            <a:r>
              <a:rPr lang="ms-MY" sz="2000" kern="0" dirty="0">
                <a:solidFill>
                  <a:schemeClr val="tx2"/>
                </a:solidFill>
                <a:ea typeface="Raleway" panose="020B0606030504020204" pitchFamily="34" charset="0"/>
                <a:cs typeface="Raleway" panose="020F0602020204030203" pitchFamily="34" charset="0"/>
              </a:rPr>
              <a:t>Open and integrated platform</a:t>
            </a:r>
          </a:p>
        </p:txBody>
      </p:sp>
      <p:sp>
        <p:nvSpPr>
          <p:cNvPr id="122" name="Rectangle 121">
            <a:extLst>
              <a:ext uri="{FF2B5EF4-FFF2-40B4-BE49-F238E27FC236}">
                <a16:creationId xmlns:a16="http://schemas.microsoft.com/office/drawing/2014/main" id="{096AB3BD-BE97-48F1-B724-6A61E0F316A9}"/>
              </a:ext>
            </a:extLst>
          </p:cNvPr>
          <p:cNvSpPr/>
          <p:nvPr/>
        </p:nvSpPr>
        <p:spPr>
          <a:xfrm>
            <a:off x="9563509" y="4385953"/>
            <a:ext cx="2266541" cy="617619"/>
          </a:xfrm>
          <a:prstGeom prst="rect">
            <a:avLst/>
          </a:prstGeom>
          <a:noFill/>
          <a:ln>
            <a:noFill/>
          </a:ln>
        </p:spPr>
        <p:txBody>
          <a:bodyPr wrap="square" lIns="0" tIns="0" rIns="0" bIns="0" numCol="1" spcCol="356616" anchor="ctr">
            <a:noAutofit/>
          </a:bodyPr>
          <a:lstStyle/>
          <a:p>
            <a:pPr indent="-975312" defTabSz="1219170">
              <a:defRPr/>
            </a:pPr>
            <a:r>
              <a:rPr lang="en-US" sz="2000" kern="0" dirty="0">
                <a:solidFill>
                  <a:schemeClr val="tx2"/>
                </a:solidFill>
                <a:ea typeface="Raleway" panose="020B0606030504020204" pitchFamily="34" charset="0"/>
                <a:cs typeface="Raleway" panose="020F0602020204030203" pitchFamily="34" charset="0"/>
              </a:rPr>
              <a:t>Products and services for every business </a:t>
            </a:r>
          </a:p>
        </p:txBody>
      </p:sp>
      <p:sp>
        <p:nvSpPr>
          <p:cNvPr id="123" name="Rectangle 122">
            <a:extLst>
              <a:ext uri="{FF2B5EF4-FFF2-40B4-BE49-F238E27FC236}">
                <a16:creationId xmlns:a16="http://schemas.microsoft.com/office/drawing/2014/main" id="{55989E52-9535-4549-A47E-4766F198D1BD}"/>
              </a:ext>
            </a:extLst>
          </p:cNvPr>
          <p:cNvSpPr/>
          <p:nvPr/>
        </p:nvSpPr>
        <p:spPr>
          <a:xfrm>
            <a:off x="8286507" y="2741946"/>
            <a:ext cx="3516618" cy="617619"/>
          </a:xfrm>
          <a:prstGeom prst="rect">
            <a:avLst/>
          </a:prstGeom>
          <a:noFill/>
          <a:ln>
            <a:noFill/>
          </a:ln>
        </p:spPr>
        <p:txBody>
          <a:bodyPr wrap="square" lIns="0" tIns="0" rIns="0" bIns="0" numCol="1" spcCol="356616" anchor="ctr">
            <a:noAutofit/>
          </a:bodyPr>
          <a:lstStyle/>
          <a:p>
            <a:pPr indent="-975312" defTabSz="1219170">
              <a:defRPr/>
            </a:pPr>
            <a:r>
              <a:rPr lang="en-US" sz="2000" kern="0" dirty="0">
                <a:solidFill>
                  <a:schemeClr val="tx2"/>
                </a:solidFill>
                <a:ea typeface="Raleway" panose="020B0606030504020204" pitchFamily="34" charset="0"/>
                <a:cs typeface="Raleway" panose="020F0602020204030203" pitchFamily="34" charset="0"/>
              </a:rPr>
              <a:t>Platform level management, response, and analytics</a:t>
            </a:r>
          </a:p>
        </p:txBody>
      </p:sp>
      <p:sp>
        <p:nvSpPr>
          <p:cNvPr id="124" name="Rectangle 123">
            <a:extLst>
              <a:ext uri="{FF2B5EF4-FFF2-40B4-BE49-F238E27FC236}">
                <a16:creationId xmlns:a16="http://schemas.microsoft.com/office/drawing/2014/main" id="{CE68FD99-B1F6-445A-9625-F673FFFC4778}"/>
              </a:ext>
            </a:extLst>
          </p:cNvPr>
          <p:cNvSpPr/>
          <p:nvPr/>
        </p:nvSpPr>
        <p:spPr>
          <a:xfrm>
            <a:off x="4899916" y="1597369"/>
            <a:ext cx="2587240" cy="617619"/>
          </a:xfrm>
          <a:prstGeom prst="rect">
            <a:avLst/>
          </a:prstGeom>
          <a:noFill/>
          <a:ln>
            <a:noFill/>
          </a:ln>
        </p:spPr>
        <p:txBody>
          <a:bodyPr wrap="square" lIns="0" tIns="0" rIns="0" bIns="0" numCol="1" spcCol="356616" anchor="ctr">
            <a:noAutofit/>
          </a:bodyPr>
          <a:lstStyle/>
          <a:p>
            <a:pPr indent="-975312" algn="ctr" defTabSz="1219170">
              <a:defRPr/>
            </a:pPr>
            <a:r>
              <a:rPr lang="ms-MY" sz="2000" kern="0" dirty="0">
                <a:solidFill>
                  <a:schemeClr val="tx2"/>
                </a:solidFill>
                <a:ea typeface="Raleway" panose="020B0606030504020204" pitchFamily="34" charset="0"/>
                <a:cs typeface="Raleway" panose="020F0602020204030203" pitchFamily="34" charset="0"/>
              </a:rPr>
              <a:t>Cloud-delivered simplicity</a:t>
            </a:r>
          </a:p>
        </p:txBody>
      </p:sp>
      <p:sp>
        <p:nvSpPr>
          <p:cNvPr id="141" name="Oval 140">
            <a:extLst>
              <a:ext uri="{FF2B5EF4-FFF2-40B4-BE49-F238E27FC236}">
                <a16:creationId xmlns:a16="http://schemas.microsoft.com/office/drawing/2014/main" id="{2A637493-E53F-48FA-846F-4C68C423A9E5}"/>
              </a:ext>
            </a:extLst>
          </p:cNvPr>
          <p:cNvSpPr/>
          <p:nvPr/>
        </p:nvSpPr>
        <p:spPr>
          <a:xfrm>
            <a:off x="6100763" y="2490169"/>
            <a:ext cx="139891" cy="139891"/>
          </a:xfrm>
          <a:prstGeom prst="ellipse">
            <a:avLst/>
          </a:prstGeom>
          <a:solidFill>
            <a:schemeClr val="bg2"/>
          </a:solidFill>
          <a:ln w="15875" cap="rnd">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5" name="Freeform: Shape 94">
            <a:extLst>
              <a:ext uri="{FF2B5EF4-FFF2-40B4-BE49-F238E27FC236}">
                <a16:creationId xmlns:a16="http://schemas.microsoft.com/office/drawing/2014/main" id="{8FC6C7BB-D894-4E8A-B264-0DC764E41D5D}"/>
              </a:ext>
            </a:extLst>
          </p:cNvPr>
          <p:cNvSpPr/>
          <p:nvPr/>
        </p:nvSpPr>
        <p:spPr>
          <a:xfrm>
            <a:off x="4279449" y="3933937"/>
            <a:ext cx="3790394" cy="2167527"/>
          </a:xfrm>
          <a:custGeom>
            <a:avLst/>
            <a:gdLst>
              <a:gd name="connsiteX0" fmla="*/ 1895197 w 3790394"/>
              <a:gd name="connsiteY0" fmla="*/ 0 h 2167527"/>
              <a:gd name="connsiteX1" fmla="*/ 3790394 w 3790394"/>
              <a:gd name="connsiteY1" fmla="*/ 1895197 h 2167527"/>
              <a:gd name="connsiteX2" fmla="*/ 3780610 w 3790394"/>
              <a:gd name="connsiteY2" fmla="*/ 2088970 h 2167527"/>
              <a:gd name="connsiteX3" fmla="*/ 3768620 w 3790394"/>
              <a:gd name="connsiteY3" fmla="*/ 2167527 h 2167527"/>
              <a:gd name="connsiteX4" fmla="*/ 21774 w 3790394"/>
              <a:gd name="connsiteY4" fmla="*/ 2167527 h 2167527"/>
              <a:gd name="connsiteX5" fmla="*/ 9785 w 3790394"/>
              <a:gd name="connsiteY5" fmla="*/ 2088970 h 2167527"/>
              <a:gd name="connsiteX6" fmla="*/ 0 w 3790394"/>
              <a:gd name="connsiteY6" fmla="*/ 1895197 h 2167527"/>
              <a:gd name="connsiteX7" fmla="*/ 1895197 w 3790394"/>
              <a:gd name="connsiteY7" fmla="*/ 0 h 216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0394" h="2167527">
                <a:moveTo>
                  <a:pt x="1895197" y="0"/>
                </a:moveTo>
                <a:cubicBezTo>
                  <a:pt x="2941885" y="0"/>
                  <a:pt x="3790394" y="848509"/>
                  <a:pt x="3790394" y="1895197"/>
                </a:cubicBezTo>
                <a:cubicBezTo>
                  <a:pt x="3790394" y="1960615"/>
                  <a:pt x="3787080" y="2025259"/>
                  <a:pt x="3780610" y="2088970"/>
                </a:cubicBezTo>
                <a:lnTo>
                  <a:pt x="3768620" y="2167527"/>
                </a:lnTo>
                <a:lnTo>
                  <a:pt x="21774" y="2167527"/>
                </a:lnTo>
                <a:lnTo>
                  <a:pt x="9785" y="2088970"/>
                </a:lnTo>
                <a:cubicBezTo>
                  <a:pt x="3315" y="2025259"/>
                  <a:pt x="0" y="1960615"/>
                  <a:pt x="0" y="1895197"/>
                </a:cubicBezTo>
                <a:cubicBezTo>
                  <a:pt x="0" y="848509"/>
                  <a:pt x="848509" y="0"/>
                  <a:pt x="1895197" y="0"/>
                </a:cubicBezTo>
                <a:close/>
              </a:path>
            </a:pathLst>
          </a:custGeom>
          <a:solidFill>
            <a:schemeClr val="bg2"/>
          </a:solidFill>
          <a:ln>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cxnSp>
        <p:nvCxnSpPr>
          <p:cNvPr id="109" name="Straight Connector 108">
            <a:extLst>
              <a:ext uri="{FF2B5EF4-FFF2-40B4-BE49-F238E27FC236}">
                <a16:creationId xmlns:a16="http://schemas.microsoft.com/office/drawing/2014/main" id="{69A5A2F3-6A67-45A1-9D49-BF63A2523EA6}"/>
              </a:ext>
            </a:extLst>
          </p:cNvPr>
          <p:cNvCxnSpPr>
            <a:cxnSpLocks/>
          </p:cNvCxnSpPr>
          <p:nvPr/>
        </p:nvCxnSpPr>
        <p:spPr>
          <a:xfrm flipH="1">
            <a:off x="7223260" y="3198432"/>
            <a:ext cx="779196" cy="1159624"/>
          </a:xfrm>
          <a:prstGeom prst="line">
            <a:avLst/>
          </a:prstGeom>
          <a:ln w="15875" cap="rnd">
            <a:prstDash val="sysDot"/>
          </a:ln>
        </p:spPr>
        <p:style>
          <a:lnRef idx="1">
            <a:schemeClr val="accent1"/>
          </a:lnRef>
          <a:fillRef idx="0">
            <a:schemeClr val="accent1"/>
          </a:fillRef>
          <a:effectRef idx="0">
            <a:schemeClr val="accent1"/>
          </a:effectRef>
          <a:fontRef idx="minor">
            <a:schemeClr val="tx1"/>
          </a:fontRef>
        </p:style>
      </p:cxnSp>
      <p:sp>
        <p:nvSpPr>
          <p:cNvPr id="96" name="Freeform: Shape 95">
            <a:extLst>
              <a:ext uri="{FF2B5EF4-FFF2-40B4-BE49-F238E27FC236}">
                <a16:creationId xmlns:a16="http://schemas.microsoft.com/office/drawing/2014/main" id="{07CB1160-F91B-4B3F-9A70-FCAFFA9396FB}"/>
              </a:ext>
            </a:extLst>
          </p:cNvPr>
          <p:cNvSpPr/>
          <p:nvPr/>
        </p:nvSpPr>
        <p:spPr>
          <a:xfrm>
            <a:off x="4571019" y="4225506"/>
            <a:ext cx="3207256" cy="1875958"/>
          </a:xfrm>
          <a:custGeom>
            <a:avLst/>
            <a:gdLst>
              <a:gd name="connsiteX0" fmla="*/ 1603628 w 3207256"/>
              <a:gd name="connsiteY0" fmla="*/ 0 h 1875958"/>
              <a:gd name="connsiteX1" fmla="*/ 3207256 w 3207256"/>
              <a:gd name="connsiteY1" fmla="*/ 1603628 h 1875958"/>
              <a:gd name="connsiteX2" fmla="*/ 3198977 w 3207256"/>
              <a:gd name="connsiteY2" fmla="*/ 1767590 h 1875958"/>
              <a:gd name="connsiteX3" fmla="*/ 3182438 w 3207256"/>
              <a:gd name="connsiteY3" fmla="*/ 1875958 h 1875958"/>
              <a:gd name="connsiteX4" fmla="*/ 24819 w 3207256"/>
              <a:gd name="connsiteY4" fmla="*/ 1875958 h 1875958"/>
              <a:gd name="connsiteX5" fmla="*/ 8280 w 3207256"/>
              <a:gd name="connsiteY5" fmla="*/ 1767590 h 1875958"/>
              <a:gd name="connsiteX6" fmla="*/ 0 w 3207256"/>
              <a:gd name="connsiteY6" fmla="*/ 1603628 h 1875958"/>
              <a:gd name="connsiteX7" fmla="*/ 1603628 w 3207256"/>
              <a:gd name="connsiteY7" fmla="*/ 0 h 1875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07256" h="1875958">
                <a:moveTo>
                  <a:pt x="1603628" y="0"/>
                </a:moveTo>
                <a:cubicBezTo>
                  <a:pt x="2489287" y="0"/>
                  <a:pt x="3207256" y="717969"/>
                  <a:pt x="3207256" y="1603628"/>
                </a:cubicBezTo>
                <a:cubicBezTo>
                  <a:pt x="3207256" y="1658982"/>
                  <a:pt x="3204452" y="1713681"/>
                  <a:pt x="3198977" y="1767590"/>
                </a:cubicBezTo>
                <a:lnTo>
                  <a:pt x="3182438" y="1875958"/>
                </a:lnTo>
                <a:lnTo>
                  <a:pt x="24819" y="1875958"/>
                </a:lnTo>
                <a:lnTo>
                  <a:pt x="8280" y="1767590"/>
                </a:lnTo>
                <a:cubicBezTo>
                  <a:pt x="2805" y="1713681"/>
                  <a:pt x="0" y="1658982"/>
                  <a:pt x="0" y="1603628"/>
                </a:cubicBezTo>
                <a:cubicBezTo>
                  <a:pt x="0" y="717969"/>
                  <a:pt x="717969" y="0"/>
                  <a:pt x="1603628" y="0"/>
                </a:cubicBezTo>
                <a:close/>
              </a:path>
            </a:pathLst>
          </a:custGeom>
          <a:solidFill>
            <a:schemeClr val="bg2"/>
          </a:solidFill>
          <a:ln>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102" name="Freeform: Shape 101">
            <a:extLst>
              <a:ext uri="{FF2B5EF4-FFF2-40B4-BE49-F238E27FC236}">
                <a16:creationId xmlns:a16="http://schemas.microsoft.com/office/drawing/2014/main" id="{79425CD3-EF63-4E04-8054-FB10CB9FC40B}"/>
              </a:ext>
            </a:extLst>
          </p:cNvPr>
          <p:cNvSpPr/>
          <p:nvPr/>
        </p:nvSpPr>
        <p:spPr>
          <a:xfrm>
            <a:off x="4862588" y="4517076"/>
            <a:ext cx="2624118" cy="1584389"/>
          </a:xfrm>
          <a:custGeom>
            <a:avLst/>
            <a:gdLst>
              <a:gd name="connsiteX0" fmla="*/ 1312059 w 2624118"/>
              <a:gd name="connsiteY0" fmla="*/ 0 h 1584389"/>
              <a:gd name="connsiteX1" fmla="*/ 2624118 w 2624118"/>
              <a:gd name="connsiteY1" fmla="*/ 1312059 h 1584389"/>
              <a:gd name="connsiteX2" fmla="*/ 2597462 w 2624118"/>
              <a:gd name="connsiteY2" fmla="*/ 1576485 h 1584389"/>
              <a:gd name="connsiteX3" fmla="*/ 2595429 w 2624118"/>
              <a:gd name="connsiteY3" fmla="*/ 1584389 h 1584389"/>
              <a:gd name="connsiteX4" fmla="*/ 28689 w 2624118"/>
              <a:gd name="connsiteY4" fmla="*/ 1584389 h 1584389"/>
              <a:gd name="connsiteX5" fmla="*/ 26657 w 2624118"/>
              <a:gd name="connsiteY5" fmla="*/ 1576485 h 1584389"/>
              <a:gd name="connsiteX6" fmla="*/ 0 w 2624118"/>
              <a:gd name="connsiteY6" fmla="*/ 1312059 h 1584389"/>
              <a:gd name="connsiteX7" fmla="*/ 1312059 w 2624118"/>
              <a:gd name="connsiteY7" fmla="*/ 0 h 1584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4118" h="1584389">
                <a:moveTo>
                  <a:pt x="1312059" y="0"/>
                </a:moveTo>
                <a:cubicBezTo>
                  <a:pt x="2036689" y="0"/>
                  <a:pt x="2624118" y="587429"/>
                  <a:pt x="2624118" y="1312059"/>
                </a:cubicBezTo>
                <a:cubicBezTo>
                  <a:pt x="2624118" y="1402638"/>
                  <a:pt x="2614940" y="1491073"/>
                  <a:pt x="2597462" y="1576485"/>
                </a:cubicBezTo>
                <a:lnTo>
                  <a:pt x="2595429" y="1584389"/>
                </a:lnTo>
                <a:lnTo>
                  <a:pt x="28689" y="1584389"/>
                </a:lnTo>
                <a:lnTo>
                  <a:pt x="26657" y="1576485"/>
                </a:lnTo>
                <a:cubicBezTo>
                  <a:pt x="9179" y="1491073"/>
                  <a:pt x="0" y="1402638"/>
                  <a:pt x="0" y="1312059"/>
                </a:cubicBezTo>
                <a:cubicBezTo>
                  <a:pt x="0" y="587429"/>
                  <a:pt x="587429" y="0"/>
                  <a:pt x="1312059" y="0"/>
                </a:cubicBezTo>
                <a:close/>
              </a:path>
            </a:pathLst>
          </a:custGeom>
          <a:noFill/>
          <a:ln>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99" name="Freeform: Shape 98">
            <a:extLst>
              <a:ext uri="{FF2B5EF4-FFF2-40B4-BE49-F238E27FC236}">
                <a16:creationId xmlns:a16="http://schemas.microsoft.com/office/drawing/2014/main" id="{18906C58-E5AD-478F-B0DA-B927B5E07955}"/>
              </a:ext>
            </a:extLst>
          </p:cNvPr>
          <p:cNvSpPr/>
          <p:nvPr/>
        </p:nvSpPr>
        <p:spPr>
          <a:xfrm>
            <a:off x="5154156" y="4808644"/>
            <a:ext cx="2040982" cy="1292820"/>
          </a:xfrm>
          <a:custGeom>
            <a:avLst/>
            <a:gdLst>
              <a:gd name="connsiteX0" fmla="*/ 1020491 w 2040982"/>
              <a:gd name="connsiteY0" fmla="*/ 0 h 1292820"/>
              <a:gd name="connsiteX1" fmla="*/ 2040982 w 2040982"/>
              <a:gd name="connsiteY1" fmla="*/ 1020491 h 1292820"/>
              <a:gd name="connsiteX2" fmla="*/ 2020249 w 2040982"/>
              <a:gd name="connsiteY2" fmla="*/ 1226156 h 1292820"/>
              <a:gd name="connsiteX3" fmla="*/ 2003108 w 2040982"/>
              <a:gd name="connsiteY3" fmla="*/ 1292820 h 1292820"/>
              <a:gd name="connsiteX4" fmla="*/ 37874 w 2040982"/>
              <a:gd name="connsiteY4" fmla="*/ 1292820 h 1292820"/>
              <a:gd name="connsiteX5" fmla="*/ 20733 w 2040982"/>
              <a:gd name="connsiteY5" fmla="*/ 1226156 h 1292820"/>
              <a:gd name="connsiteX6" fmla="*/ 0 w 2040982"/>
              <a:gd name="connsiteY6" fmla="*/ 1020491 h 1292820"/>
              <a:gd name="connsiteX7" fmla="*/ 1020491 w 2040982"/>
              <a:gd name="connsiteY7" fmla="*/ 0 h 1292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0982" h="1292820">
                <a:moveTo>
                  <a:pt x="1020491" y="0"/>
                </a:moveTo>
                <a:cubicBezTo>
                  <a:pt x="1584093" y="0"/>
                  <a:pt x="2040982" y="456889"/>
                  <a:pt x="2040982" y="1020491"/>
                </a:cubicBezTo>
                <a:cubicBezTo>
                  <a:pt x="2040982" y="1090942"/>
                  <a:pt x="2033843" y="1159724"/>
                  <a:pt x="2020249" y="1226156"/>
                </a:cubicBezTo>
                <a:lnTo>
                  <a:pt x="2003108" y="1292820"/>
                </a:lnTo>
                <a:lnTo>
                  <a:pt x="37874" y="1292820"/>
                </a:lnTo>
                <a:lnTo>
                  <a:pt x="20733" y="1226156"/>
                </a:lnTo>
                <a:cubicBezTo>
                  <a:pt x="7139" y="1159724"/>
                  <a:pt x="0" y="1090942"/>
                  <a:pt x="0" y="1020491"/>
                </a:cubicBezTo>
                <a:cubicBezTo>
                  <a:pt x="0" y="456889"/>
                  <a:pt x="456889" y="0"/>
                  <a:pt x="1020491" y="0"/>
                </a:cubicBezTo>
                <a:close/>
              </a:path>
            </a:pathLst>
          </a:custGeom>
          <a:noFill/>
          <a:ln>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100" name="Freeform: Shape 99">
            <a:extLst>
              <a:ext uri="{FF2B5EF4-FFF2-40B4-BE49-F238E27FC236}">
                <a16:creationId xmlns:a16="http://schemas.microsoft.com/office/drawing/2014/main" id="{B7B7A48A-D1F1-49EC-9017-81CEB47C7256}"/>
              </a:ext>
            </a:extLst>
          </p:cNvPr>
          <p:cNvSpPr/>
          <p:nvPr/>
        </p:nvSpPr>
        <p:spPr>
          <a:xfrm>
            <a:off x="5393762" y="5048250"/>
            <a:ext cx="1561772" cy="1053214"/>
          </a:xfrm>
          <a:custGeom>
            <a:avLst/>
            <a:gdLst>
              <a:gd name="connsiteX0" fmla="*/ 780886 w 1561772"/>
              <a:gd name="connsiteY0" fmla="*/ 0 h 1053214"/>
              <a:gd name="connsiteX1" fmla="*/ 1561772 w 1561772"/>
              <a:gd name="connsiteY1" fmla="*/ 780886 h 1053214"/>
              <a:gd name="connsiteX2" fmla="*/ 1545907 w 1561772"/>
              <a:gd name="connsiteY2" fmla="*/ 938262 h 1053214"/>
              <a:gd name="connsiteX3" fmla="*/ 1510224 w 1561772"/>
              <a:gd name="connsiteY3" fmla="*/ 1053214 h 1053214"/>
              <a:gd name="connsiteX4" fmla="*/ 51548 w 1561772"/>
              <a:gd name="connsiteY4" fmla="*/ 1053214 h 1053214"/>
              <a:gd name="connsiteX5" fmla="*/ 15865 w 1561772"/>
              <a:gd name="connsiteY5" fmla="*/ 938262 h 1053214"/>
              <a:gd name="connsiteX6" fmla="*/ 0 w 1561772"/>
              <a:gd name="connsiteY6" fmla="*/ 780886 h 1053214"/>
              <a:gd name="connsiteX7" fmla="*/ 780886 w 1561772"/>
              <a:gd name="connsiteY7" fmla="*/ 0 h 105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1772" h="1053214">
                <a:moveTo>
                  <a:pt x="780886" y="0"/>
                </a:moveTo>
                <a:cubicBezTo>
                  <a:pt x="1212157" y="0"/>
                  <a:pt x="1561772" y="349615"/>
                  <a:pt x="1561772" y="780886"/>
                </a:cubicBezTo>
                <a:cubicBezTo>
                  <a:pt x="1561772" y="834795"/>
                  <a:pt x="1556310" y="887428"/>
                  <a:pt x="1545907" y="938262"/>
                </a:cubicBezTo>
                <a:lnTo>
                  <a:pt x="1510224" y="1053214"/>
                </a:lnTo>
                <a:lnTo>
                  <a:pt x="51548" y="1053214"/>
                </a:lnTo>
                <a:lnTo>
                  <a:pt x="15865" y="938262"/>
                </a:lnTo>
                <a:cubicBezTo>
                  <a:pt x="5463" y="887428"/>
                  <a:pt x="0" y="834795"/>
                  <a:pt x="0" y="780886"/>
                </a:cubicBezTo>
                <a:cubicBezTo>
                  <a:pt x="0" y="349615"/>
                  <a:pt x="349615" y="0"/>
                  <a:pt x="780886" y="0"/>
                </a:cubicBezTo>
                <a:close/>
              </a:path>
            </a:pathLst>
          </a:custGeom>
          <a:noFill/>
          <a:ln>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grpSp>
        <p:nvGrpSpPr>
          <p:cNvPr id="98" name="Group 97">
            <a:extLst>
              <a:ext uri="{FF2B5EF4-FFF2-40B4-BE49-F238E27FC236}">
                <a16:creationId xmlns:a16="http://schemas.microsoft.com/office/drawing/2014/main" id="{CE4FD13C-8376-483B-BA63-C0F1912BC916}"/>
              </a:ext>
            </a:extLst>
          </p:cNvPr>
          <p:cNvGrpSpPr/>
          <p:nvPr/>
        </p:nvGrpSpPr>
        <p:grpSpPr>
          <a:xfrm>
            <a:off x="4350811" y="2887353"/>
            <a:ext cx="3647672" cy="3238934"/>
            <a:chOff x="4644138" y="3547937"/>
            <a:chExt cx="2903724" cy="2578349"/>
          </a:xfrm>
        </p:grpSpPr>
        <p:sp>
          <p:nvSpPr>
            <p:cNvPr id="28" name="Freeform: Shape 27">
              <a:extLst>
                <a:ext uri="{FF2B5EF4-FFF2-40B4-BE49-F238E27FC236}">
                  <a16:creationId xmlns:a16="http://schemas.microsoft.com/office/drawing/2014/main" id="{1E7DE3F4-AAB7-4B53-AECB-24A79CD0489E}"/>
                </a:ext>
              </a:extLst>
            </p:cNvPr>
            <p:cNvSpPr/>
            <p:nvPr/>
          </p:nvSpPr>
          <p:spPr>
            <a:xfrm>
              <a:off x="5203473" y="3621118"/>
              <a:ext cx="1147868" cy="1147868"/>
            </a:xfrm>
            <a:custGeom>
              <a:avLst/>
              <a:gdLst>
                <a:gd name="connsiteX0" fmla="*/ 1193601 w 1193600"/>
                <a:gd name="connsiteY0" fmla="*/ 596800 h 1193600"/>
                <a:gd name="connsiteX1" fmla="*/ 596800 w 1193600"/>
                <a:gd name="connsiteY1" fmla="*/ 1193601 h 1193600"/>
                <a:gd name="connsiteX2" fmla="*/ 0 w 1193600"/>
                <a:gd name="connsiteY2" fmla="*/ 596800 h 1193600"/>
                <a:gd name="connsiteX3" fmla="*/ 596800 w 1193600"/>
                <a:gd name="connsiteY3" fmla="*/ 0 h 1193600"/>
                <a:gd name="connsiteX4" fmla="*/ 1193601 w 1193600"/>
                <a:gd name="connsiteY4" fmla="*/ 596800 h 119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3600" h="1193600">
                  <a:moveTo>
                    <a:pt x="1193601" y="596800"/>
                  </a:moveTo>
                  <a:cubicBezTo>
                    <a:pt x="1193601" y="926404"/>
                    <a:pt x="926404" y="1193601"/>
                    <a:pt x="596800" y="1193601"/>
                  </a:cubicBezTo>
                  <a:cubicBezTo>
                    <a:pt x="267196" y="1193601"/>
                    <a:pt x="0" y="926404"/>
                    <a:pt x="0" y="596800"/>
                  </a:cubicBezTo>
                  <a:cubicBezTo>
                    <a:pt x="0" y="267197"/>
                    <a:pt x="267196" y="0"/>
                    <a:pt x="596800" y="0"/>
                  </a:cubicBezTo>
                  <a:cubicBezTo>
                    <a:pt x="926404" y="0"/>
                    <a:pt x="1193601" y="267197"/>
                    <a:pt x="1193601" y="596800"/>
                  </a:cubicBezTo>
                  <a:close/>
                </a:path>
              </a:pathLst>
            </a:custGeom>
            <a:solidFill>
              <a:srgbClr val="02BCE9"/>
            </a:solidFill>
            <a:ln w="6108" cap="flat">
              <a:noFill/>
              <a:prstDash val="solid"/>
              <a:miter/>
            </a:ln>
          </p:spPr>
          <p:txBody>
            <a:bodyPr rtlCol="0" anchor="ctr"/>
            <a:lstStyle/>
            <a:p>
              <a:endParaRPr lang="en-IN" dirty="0"/>
            </a:p>
          </p:txBody>
        </p:sp>
        <p:sp>
          <p:nvSpPr>
            <p:cNvPr id="35" name="Freeform: Shape 34">
              <a:extLst>
                <a:ext uri="{FF2B5EF4-FFF2-40B4-BE49-F238E27FC236}">
                  <a16:creationId xmlns:a16="http://schemas.microsoft.com/office/drawing/2014/main" id="{38DC0883-C5A5-4E95-BC61-6F70F10E67FE}"/>
                </a:ext>
              </a:extLst>
            </p:cNvPr>
            <p:cNvSpPr/>
            <p:nvPr/>
          </p:nvSpPr>
          <p:spPr>
            <a:xfrm>
              <a:off x="5352862" y="3547937"/>
              <a:ext cx="217774" cy="217774"/>
            </a:xfrm>
            <a:custGeom>
              <a:avLst/>
              <a:gdLst>
                <a:gd name="connsiteX0" fmla="*/ 226450 w 226450"/>
                <a:gd name="connsiteY0" fmla="*/ 113225 h 226450"/>
                <a:gd name="connsiteX1" fmla="*/ 113225 w 226450"/>
                <a:gd name="connsiteY1" fmla="*/ 226450 h 226450"/>
                <a:gd name="connsiteX2" fmla="*/ -1 w 226450"/>
                <a:gd name="connsiteY2" fmla="*/ 113225 h 226450"/>
                <a:gd name="connsiteX3" fmla="*/ 113225 w 226450"/>
                <a:gd name="connsiteY3" fmla="*/ 0 h 226450"/>
                <a:gd name="connsiteX4" fmla="*/ 226450 w 226450"/>
                <a:gd name="connsiteY4" fmla="*/ 113225 h 226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450" h="226450">
                  <a:moveTo>
                    <a:pt x="226450" y="113225"/>
                  </a:moveTo>
                  <a:cubicBezTo>
                    <a:pt x="226450" y="175758"/>
                    <a:pt x="175758" y="226450"/>
                    <a:pt x="113225" y="226450"/>
                  </a:cubicBezTo>
                  <a:cubicBezTo>
                    <a:pt x="50692" y="226450"/>
                    <a:pt x="-1" y="175758"/>
                    <a:pt x="-1" y="113225"/>
                  </a:cubicBezTo>
                  <a:cubicBezTo>
                    <a:pt x="-1" y="50693"/>
                    <a:pt x="50692" y="0"/>
                    <a:pt x="113225" y="0"/>
                  </a:cubicBezTo>
                  <a:cubicBezTo>
                    <a:pt x="175758" y="0"/>
                    <a:pt x="226450" y="50693"/>
                    <a:pt x="226450" y="113225"/>
                  </a:cubicBezTo>
                  <a:close/>
                </a:path>
              </a:pathLst>
            </a:custGeom>
            <a:solidFill>
              <a:srgbClr val="0D192F"/>
            </a:solidFill>
            <a:ln w="6108" cap="flat">
              <a:noFill/>
              <a:prstDash val="solid"/>
              <a:miter/>
            </a:ln>
          </p:spPr>
          <p:txBody>
            <a:bodyPr rtlCol="0" anchor="ctr"/>
            <a:lstStyle/>
            <a:p>
              <a:endParaRPr lang="en-IN" dirty="0"/>
            </a:p>
          </p:txBody>
        </p:sp>
        <p:pic>
          <p:nvPicPr>
            <p:cNvPr id="29" name="Picture 28">
              <a:extLst>
                <a:ext uri="{FF2B5EF4-FFF2-40B4-BE49-F238E27FC236}">
                  <a16:creationId xmlns:a16="http://schemas.microsoft.com/office/drawing/2014/main" id="{CC1768B0-EB38-4768-8334-D361A16752E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644138" y="3625821"/>
              <a:ext cx="2903724" cy="2500465"/>
            </a:xfrm>
            <a:custGeom>
              <a:avLst/>
              <a:gdLst>
                <a:gd name="connsiteX0" fmla="*/ 0 w 3019411"/>
                <a:gd name="connsiteY0" fmla="*/ 0 h 2600086"/>
                <a:gd name="connsiteX1" fmla="*/ 3019412 w 3019411"/>
                <a:gd name="connsiteY1" fmla="*/ 0 h 2600086"/>
                <a:gd name="connsiteX2" fmla="*/ 3019412 w 3019411"/>
                <a:gd name="connsiteY2" fmla="*/ 2600087 h 2600086"/>
                <a:gd name="connsiteX3" fmla="*/ 0 w 3019411"/>
                <a:gd name="connsiteY3" fmla="*/ 2600087 h 2600086"/>
              </a:gdLst>
              <a:ahLst/>
              <a:cxnLst>
                <a:cxn ang="0">
                  <a:pos x="connsiteX0" y="connsiteY0"/>
                </a:cxn>
                <a:cxn ang="0">
                  <a:pos x="connsiteX1" y="connsiteY1"/>
                </a:cxn>
                <a:cxn ang="0">
                  <a:pos x="connsiteX2" y="connsiteY2"/>
                </a:cxn>
                <a:cxn ang="0">
                  <a:pos x="connsiteX3" y="connsiteY3"/>
                </a:cxn>
              </a:cxnLst>
              <a:rect l="l" t="t" r="r" b="b"/>
              <a:pathLst>
                <a:path w="3019411" h="2600086">
                  <a:moveTo>
                    <a:pt x="0" y="0"/>
                  </a:moveTo>
                  <a:lnTo>
                    <a:pt x="3019412" y="0"/>
                  </a:lnTo>
                  <a:lnTo>
                    <a:pt x="3019412" y="2600087"/>
                  </a:lnTo>
                  <a:lnTo>
                    <a:pt x="0" y="2600087"/>
                  </a:lnTo>
                  <a:close/>
                </a:path>
              </a:pathLst>
            </a:custGeom>
          </p:spPr>
        </p:pic>
        <p:sp>
          <p:nvSpPr>
            <p:cNvPr id="30" name="Freeform: Shape 29">
              <a:extLst>
                <a:ext uri="{FF2B5EF4-FFF2-40B4-BE49-F238E27FC236}">
                  <a16:creationId xmlns:a16="http://schemas.microsoft.com/office/drawing/2014/main" id="{DCB520F6-4EBE-4F5A-BC92-F9FF48ACC768}"/>
                </a:ext>
              </a:extLst>
            </p:cNvPr>
            <p:cNvSpPr/>
            <p:nvPr/>
          </p:nvSpPr>
          <p:spPr>
            <a:xfrm>
              <a:off x="5646837" y="4793550"/>
              <a:ext cx="1837859" cy="940906"/>
            </a:xfrm>
            <a:custGeom>
              <a:avLst/>
              <a:gdLst>
                <a:gd name="connsiteX0" fmla="*/ 1837757 w 1911081"/>
                <a:gd name="connsiteY0" fmla="*/ 978393 h 978393"/>
                <a:gd name="connsiteX1" fmla="*/ 73325 w 1911081"/>
                <a:gd name="connsiteY1" fmla="*/ 978393 h 978393"/>
                <a:gd name="connsiteX2" fmla="*/ 0 w 1911081"/>
                <a:gd name="connsiteY2" fmla="*/ 905069 h 978393"/>
                <a:gd name="connsiteX3" fmla="*/ 0 w 1911081"/>
                <a:gd name="connsiteY3" fmla="*/ 73325 h 978393"/>
                <a:gd name="connsiteX4" fmla="*/ 73325 w 1911081"/>
                <a:gd name="connsiteY4" fmla="*/ 0 h 978393"/>
                <a:gd name="connsiteX5" fmla="*/ 1837757 w 1911081"/>
                <a:gd name="connsiteY5" fmla="*/ 0 h 978393"/>
                <a:gd name="connsiteX6" fmla="*/ 1911081 w 1911081"/>
                <a:gd name="connsiteY6" fmla="*/ 73325 h 978393"/>
                <a:gd name="connsiteX7" fmla="*/ 1911081 w 1911081"/>
                <a:gd name="connsiteY7" fmla="*/ 905069 h 978393"/>
                <a:gd name="connsiteX8" fmla="*/ 1837757 w 1911081"/>
                <a:gd name="connsiteY8" fmla="*/ 978393 h 97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1081" h="978393">
                  <a:moveTo>
                    <a:pt x="1837757" y="978393"/>
                  </a:moveTo>
                  <a:lnTo>
                    <a:pt x="73325" y="978393"/>
                  </a:lnTo>
                  <a:cubicBezTo>
                    <a:pt x="32996" y="978393"/>
                    <a:pt x="0" y="945397"/>
                    <a:pt x="0" y="905069"/>
                  </a:cubicBezTo>
                  <a:lnTo>
                    <a:pt x="0" y="73325"/>
                  </a:lnTo>
                  <a:cubicBezTo>
                    <a:pt x="0" y="32996"/>
                    <a:pt x="32996" y="0"/>
                    <a:pt x="73325" y="0"/>
                  </a:cubicBezTo>
                  <a:lnTo>
                    <a:pt x="1837757" y="0"/>
                  </a:lnTo>
                  <a:cubicBezTo>
                    <a:pt x="1878086" y="0"/>
                    <a:pt x="1911081" y="32996"/>
                    <a:pt x="1911081" y="73325"/>
                  </a:cubicBezTo>
                  <a:lnTo>
                    <a:pt x="1911081" y="905069"/>
                  </a:lnTo>
                  <a:cubicBezTo>
                    <a:pt x="1911081" y="945397"/>
                    <a:pt x="1878086" y="978393"/>
                    <a:pt x="1837757" y="978393"/>
                  </a:cubicBezTo>
                  <a:close/>
                </a:path>
              </a:pathLst>
            </a:custGeom>
            <a:solidFill>
              <a:srgbClr val="6DBE4B"/>
            </a:solidFill>
            <a:ln w="6108" cap="flat">
              <a:noFill/>
              <a:prstDash val="solid"/>
              <a:miter/>
            </a:ln>
          </p:spPr>
          <p:txBody>
            <a:bodyPr rtlCol="0" anchor="ctr"/>
            <a:lstStyle/>
            <a:p>
              <a:endParaRPr lang="en-IN" dirty="0"/>
            </a:p>
          </p:txBody>
        </p:sp>
        <p:sp>
          <p:nvSpPr>
            <p:cNvPr id="31" name="Freeform: Shape 30">
              <a:extLst>
                <a:ext uri="{FF2B5EF4-FFF2-40B4-BE49-F238E27FC236}">
                  <a16:creationId xmlns:a16="http://schemas.microsoft.com/office/drawing/2014/main" id="{06395442-06ED-4E75-B1F4-5804075A286A}"/>
                </a:ext>
              </a:extLst>
            </p:cNvPr>
            <p:cNvSpPr/>
            <p:nvPr/>
          </p:nvSpPr>
          <p:spPr>
            <a:xfrm>
              <a:off x="7223260" y="4360404"/>
              <a:ext cx="217774" cy="217774"/>
            </a:xfrm>
            <a:custGeom>
              <a:avLst/>
              <a:gdLst>
                <a:gd name="connsiteX0" fmla="*/ 226450 w 226450"/>
                <a:gd name="connsiteY0" fmla="*/ 113225 h 226450"/>
                <a:gd name="connsiteX1" fmla="*/ 113225 w 226450"/>
                <a:gd name="connsiteY1" fmla="*/ 226451 h 226450"/>
                <a:gd name="connsiteX2" fmla="*/ 0 w 226450"/>
                <a:gd name="connsiteY2" fmla="*/ 113225 h 226450"/>
                <a:gd name="connsiteX3" fmla="*/ 113225 w 226450"/>
                <a:gd name="connsiteY3" fmla="*/ 0 h 226450"/>
                <a:gd name="connsiteX4" fmla="*/ 226450 w 226450"/>
                <a:gd name="connsiteY4" fmla="*/ 113225 h 226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450" h="226450">
                  <a:moveTo>
                    <a:pt x="226450" y="113225"/>
                  </a:moveTo>
                  <a:cubicBezTo>
                    <a:pt x="226450" y="175758"/>
                    <a:pt x="175758" y="226451"/>
                    <a:pt x="113225" y="226451"/>
                  </a:cubicBezTo>
                  <a:cubicBezTo>
                    <a:pt x="50692" y="226451"/>
                    <a:pt x="0" y="175758"/>
                    <a:pt x="0" y="113225"/>
                  </a:cubicBezTo>
                  <a:cubicBezTo>
                    <a:pt x="0" y="50693"/>
                    <a:pt x="50692" y="0"/>
                    <a:pt x="113225" y="0"/>
                  </a:cubicBezTo>
                  <a:cubicBezTo>
                    <a:pt x="175758" y="0"/>
                    <a:pt x="226450" y="50693"/>
                    <a:pt x="226450" y="113225"/>
                  </a:cubicBezTo>
                  <a:close/>
                </a:path>
              </a:pathLst>
            </a:custGeom>
            <a:solidFill>
              <a:srgbClr val="0D192F"/>
            </a:solidFill>
            <a:ln w="6108" cap="flat">
              <a:noFill/>
              <a:prstDash val="solid"/>
              <a:miter/>
            </a:ln>
          </p:spPr>
          <p:txBody>
            <a:bodyPr rtlCol="0" anchor="ctr"/>
            <a:lstStyle/>
            <a:p>
              <a:endParaRPr lang="en-IN" dirty="0"/>
            </a:p>
          </p:txBody>
        </p:sp>
        <p:pic>
          <p:nvPicPr>
            <p:cNvPr id="33" name="Picture 32">
              <a:extLst>
                <a:ext uri="{FF2B5EF4-FFF2-40B4-BE49-F238E27FC236}">
                  <a16:creationId xmlns:a16="http://schemas.microsoft.com/office/drawing/2014/main" id="{CBC3FC05-DAD7-46D9-B1AD-403D41BFA4F9}"/>
                </a:ext>
              </a:extLst>
            </p:cNvPr>
            <p:cNvPicPr>
              <a:picLocks noChangeAspect="1"/>
            </p:cNvPicPr>
            <p:nvPr/>
          </p:nvPicPr>
          <p:blipFill>
            <a:blip r:embed="rId9" cstate="screen">
              <a:duotone>
                <a:prstClr val="black"/>
                <a:schemeClr val="accent4">
                  <a:tint val="45000"/>
                  <a:satMod val="400000"/>
                </a:schemeClr>
              </a:duotone>
              <a:extLst>
                <a:ext uri="{BEBA8EAE-BF5A-486C-A8C5-ECC9F3942E4B}">
                  <a14:imgProps xmlns:a14="http://schemas.microsoft.com/office/drawing/2010/main">
                    <a14:imgLayer r:embed="rId10">
                      <a14:imgEffect>
                        <a14:brightnessContrast bright="-30000"/>
                      </a14:imgEffect>
                    </a14:imgLayer>
                  </a14:imgProps>
                </a:ext>
                <a:ext uri="{28A0092B-C50C-407E-A947-70E740481C1C}">
                  <a14:useLocalDpi xmlns:a14="http://schemas.microsoft.com/office/drawing/2010/main"/>
                </a:ext>
              </a:extLst>
            </a:blip>
            <a:srcRect/>
            <a:stretch>
              <a:fillRect/>
            </a:stretch>
          </p:blipFill>
          <p:spPr>
            <a:xfrm>
              <a:off x="5646837" y="4793551"/>
              <a:ext cx="1837859" cy="940906"/>
            </a:xfrm>
            <a:custGeom>
              <a:avLst/>
              <a:gdLst>
                <a:gd name="connsiteX0" fmla="*/ 73325 w 1911081"/>
                <a:gd name="connsiteY0" fmla="*/ 0 h 978393"/>
                <a:gd name="connsiteX1" fmla="*/ 1837757 w 1911081"/>
                <a:gd name="connsiteY1" fmla="*/ 0 h 978393"/>
                <a:gd name="connsiteX2" fmla="*/ 1911081 w 1911081"/>
                <a:gd name="connsiteY2" fmla="*/ 73325 h 978393"/>
                <a:gd name="connsiteX3" fmla="*/ 1911081 w 1911081"/>
                <a:gd name="connsiteY3" fmla="*/ 905069 h 978393"/>
                <a:gd name="connsiteX4" fmla="*/ 1837757 w 1911081"/>
                <a:gd name="connsiteY4" fmla="*/ 978393 h 978393"/>
                <a:gd name="connsiteX5" fmla="*/ 73325 w 1911081"/>
                <a:gd name="connsiteY5" fmla="*/ 978393 h 978393"/>
                <a:gd name="connsiteX6" fmla="*/ 0 w 1911081"/>
                <a:gd name="connsiteY6" fmla="*/ 905069 h 978393"/>
                <a:gd name="connsiteX7" fmla="*/ 0 w 1911081"/>
                <a:gd name="connsiteY7" fmla="*/ 73325 h 978393"/>
                <a:gd name="connsiteX8" fmla="*/ 73325 w 1911081"/>
                <a:gd name="connsiteY8" fmla="*/ 0 h 97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1081" h="978393">
                  <a:moveTo>
                    <a:pt x="73325" y="0"/>
                  </a:moveTo>
                  <a:lnTo>
                    <a:pt x="1837757" y="0"/>
                  </a:lnTo>
                  <a:cubicBezTo>
                    <a:pt x="1878086" y="0"/>
                    <a:pt x="1911081" y="32996"/>
                    <a:pt x="1911081" y="73325"/>
                  </a:cubicBezTo>
                  <a:lnTo>
                    <a:pt x="1911081" y="905069"/>
                  </a:lnTo>
                  <a:cubicBezTo>
                    <a:pt x="1911081" y="945397"/>
                    <a:pt x="1878086" y="978393"/>
                    <a:pt x="1837757" y="978393"/>
                  </a:cubicBezTo>
                  <a:lnTo>
                    <a:pt x="73325" y="978393"/>
                  </a:lnTo>
                  <a:cubicBezTo>
                    <a:pt x="32996" y="978393"/>
                    <a:pt x="0" y="945397"/>
                    <a:pt x="0" y="905069"/>
                  </a:cubicBezTo>
                  <a:lnTo>
                    <a:pt x="0" y="73325"/>
                  </a:lnTo>
                  <a:cubicBezTo>
                    <a:pt x="0" y="32996"/>
                    <a:pt x="32996" y="0"/>
                    <a:pt x="73325" y="0"/>
                  </a:cubicBezTo>
                  <a:close/>
                </a:path>
              </a:pathLst>
            </a:custGeom>
          </p:spPr>
        </p:pic>
        <p:sp>
          <p:nvSpPr>
            <p:cNvPr id="36" name="Freeform: Shape 35">
              <a:extLst>
                <a:ext uri="{FF2B5EF4-FFF2-40B4-BE49-F238E27FC236}">
                  <a16:creationId xmlns:a16="http://schemas.microsoft.com/office/drawing/2014/main" id="{AC7DFEC4-F605-4EFE-B3E9-AF08A0DD7ED2}"/>
                </a:ext>
              </a:extLst>
            </p:cNvPr>
            <p:cNvSpPr/>
            <p:nvPr/>
          </p:nvSpPr>
          <p:spPr>
            <a:xfrm>
              <a:off x="5407790" y="5465970"/>
              <a:ext cx="217774" cy="217774"/>
            </a:xfrm>
            <a:custGeom>
              <a:avLst/>
              <a:gdLst>
                <a:gd name="connsiteX0" fmla="*/ 226450 w 226450"/>
                <a:gd name="connsiteY0" fmla="*/ 113225 h 226450"/>
                <a:gd name="connsiteX1" fmla="*/ 113225 w 226450"/>
                <a:gd name="connsiteY1" fmla="*/ 226451 h 226450"/>
                <a:gd name="connsiteX2" fmla="*/ -1 w 226450"/>
                <a:gd name="connsiteY2" fmla="*/ 113225 h 226450"/>
                <a:gd name="connsiteX3" fmla="*/ 113225 w 226450"/>
                <a:gd name="connsiteY3" fmla="*/ 0 h 226450"/>
                <a:gd name="connsiteX4" fmla="*/ 226450 w 226450"/>
                <a:gd name="connsiteY4" fmla="*/ 113225 h 226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450" h="226450">
                  <a:moveTo>
                    <a:pt x="226450" y="113225"/>
                  </a:moveTo>
                  <a:cubicBezTo>
                    <a:pt x="226450" y="175758"/>
                    <a:pt x="175758" y="226451"/>
                    <a:pt x="113225" y="226451"/>
                  </a:cubicBezTo>
                  <a:cubicBezTo>
                    <a:pt x="50692" y="226451"/>
                    <a:pt x="-1" y="175758"/>
                    <a:pt x="-1" y="113225"/>
                  </a:cubicBezTo>
                  <a:cubicBezTo>
                    <a:pt x="-1" y="50693"/>
                    <a:pt x="50692" y="0"/>
                    <a:pt x="113225" y="0"/>
                  </a:cubicBezTo>
                  <a:cubicBezTo>
                    <a:pt x="175758" y="0"/>
                    <a:pt x="226450" y="50693"/>
                    <a:pt x="226450" y="113225"/>
                  </a:cubicBezTo>
                  <a:close/>
                </a:path>
              </a:pathLst>
            </a:custGeom>
            <a:solidFill>
              <a:srgbClr val="0D192F"/>
            </a:solidFill>
            <a:ln w="6108" cap="flat">
              <a:noFill/>
              <a:prstDash val="solid"/>
              <a:miter/>
            </a:ln>
          </p:spPr>
          <p:txBody>
            <a:bodyPr rtlCol="0" anchor="ctr"/>
            <a:lstStyle/>
            <a:p>
              <a:endParaRPr lang="en-IN" dirty="0"/>
            </a:p>
          </p:txBody>
        </p:sp>
        <p:cxnSp>
          <p:nvCxnSpPr>
            <p:cNvPr id="63" name="Straight Connector 62">
              <a:extLst>
                <a:ext uri="{FF2B5EF4-FFF2-40B4-BE49-F238E27FC236}">
                  <a16:creationId xmlns:a16="http://schemas.microsoft.com/office/drawing/2014/main" id="{02E50C49-0918-48DA-9984-D5B5842C95ED}"/>
                </a:ext>
              </a:extLst>
            </p:cNvPr>
            <p:cNvCxnSpPr>
              <a:cxnSpLocks/>
              <a:endCxn id="36" idx="3"/>
            </p:cNvCxnSpPr>
            <p:nvPr/>
          </p:nvCxnSpPr>
          <p:spPr>
            <a:xfrm>
              <a:off x="5461749" y="3765711"/>
              <a:ext cx="54928" cy="170025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EDB8337-2CE4-4BE6-A26B-1B77EB0A4B96}"/>
                </a:ext>
              </a:extLst>
            </p:cNvPr>
            <p:cNvCxnSpPr>
              <a:cxnSpLocks/>
              <a:stCxn id="35" idx="0"/>
              <a:endCxn id="31" idx="3"/>
            </p:cNvCxnSpPr>
            <p:nvPr/>
          </p:nvCxnSpPr>
          <p:spPr>
            <a:xfrm>
              <a:off x="5570636" y="3656824"/>
              <a:ext cx="1761511" cy="7035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CD2FD62-F057-4432-BC0A-664931C4F202}"/>
                </a:ext>
              </a:extLst>
            </p:cNvPr>
            <p:cNvCxnSpPr>
              <a:cxnSpLocks/>
              <a:stCxn id="36" idx="0"/>
              <a:endCxn id="31" idx="1"/>
            </p:cNvCxnSpPr>
            <p:nvPr/>
          </p:nvCxnSpPr>
          <p:spPr>
            <a:xfrm flipV="1">
              <a:off x="5625564" y="4578179"/>
              <a:ext cx="1706583" cy="99667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2" name="Oval 141">
            <a:extLst>
              <a:ext uri="{FF2B5EF4-FFF2-40B4-BE49-F238E27FC236}">
                <a16:creationId xmlns:a16="http://schemas.microsoft.com/office/drawing/2014/main" id="{7BA33C5B-A28E-4356-82A3-59DDAD628D33}"/>
              </a:ext>
            </a:extLst>
          </p:cNvPr>
          <p:cNvSpPr/>
          <p:nvPr/>
        </p:nvSpPr>
        <p:spPr>
          <a:xfrm>
            <a:off x="7948107" y="3102499"/>
            <a:ext cx="139891" cy="139891"/>
          </a:xfrm>
          <a:prstGeom prst="ellipse">
            <a:avLst/>
          </a:prstGeom>
          <a:solidFill>
            <a:schemeClr val="bg2"/>
          </a:solidFill>
          <a:ln w="15875" cap="rnd">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3" name="Oval 142">
            <a:extLst>
              <a:ext uri="{FF2B5EF4-FFF2-40B4-BE49-F238E27FC236}">
                <a16:creationId xmlns:a16="http://schemas.microsoft.com/office/drawing/2014/main" id="{FDB7314B-5DF8-4E80-80D9-1B3A49B1A069}"/>
              </a:ext>
            </a:extLst>
          </p:cNvPr>
          <p:cNvSpPr/>
          <p:nvPr/>
        </p:nvSpPr>
        <p:spPr>
          <a:xfrm>
            <a:off x="9201987" y="4722658"/>
            <a:ext cx="139891" cy="139891"/>
          </a:xfrm>
          <a:prstGeom prst="ellipse">
            <a:avLst/>
          </a:prstGeom>
          <a:solidFill>
            <a:schemeClr val="bg2"/>
          </a:solidFill>
          <a:ln w="15875" cap="rnd">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4" name="Oval 143">
            <a:extLst>
              <a:ext uri="{FF2B5EF4-FFF2-40B4-BE49-F238E27FC236}">
                <a16:creationId xmlns:a16="http://schemas.microsoft.com/office/drawing/2014/main" id="{342A093E-0720-410A-9817-0BB2C874ED3D}"/>
              </a:ext>
            </a:extLst>
          </p:cNvPr>
          <p:cNvSpPr/>
          <p:nvPr/>
        </p:nvSpPr>
        <p:spPr>
          <a:xfrm flipH="1">
            <a:off x="4273470" y="3121550"/>
            <a:ext cx="139891" cy="139891"/>
          </a:xfrm>
          <a:prstGeom prst="ellipse">
            <a:avLst/>
          </a:prstGeom>
          <a:solidFill>
            <a:schemeClr val="bg2"/>
          </a:solidFill>
          <a:ln w="15875" cap="rnd">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5" name="Oval 144">
            <a:extLst>
              <a:ext uri="{FF2B5EF4-FFF2-40B4-BE49-F238E27FC236}">
                <a16:creationId xmlns:a16="http://schemas.microsoft.com/office/drawing/2014/main" id="{1144C0A0-8FC8-45EC-A43B-BA6309835FD2}"/>
              </a:ext>
            </a:extLst>
          </p:cNvPr>
          <p:cNvSpPr/>
          <p:nvPr/>
        </p:nvSpPr>
        <p:spPr>
          <a:xfrm flipH="1">
            <a:off x="3043405" y="4727420"/>
            <a:ext cx="139891" cy="139891"/>
          </a:xfrm>
          <a:prstGeom prst="ellipse">
            <a:avLst/>
          </a:prstGeom>
          <a:solidFill>
            <a:schemeClr val="bg2"/>
          </a:solidFill>
          <a:ln w="15875" cap="rnd">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F39BD0D8-C6CB-460D-AF96-FE1F9E03A641}"/>
              </a:ext>
            </a:extLst>
          </p:cNvPr>
          <p:cNvSpPr/>
          <p:nvPr/>
        </p:nvSpPr>
        <p:spPr>
          <a:xfrm>
            <a:off x="0" y="6070600"/>
            <a:ext cx="12192000" cy="46904"/>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225443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f8C7CG7fv.g4HhY1cVrzw"/>
</p:tagLst>
</file>

<file path=ppt/theme/theme1.xml><?xml version="1.0" encoding="utf-8"?>
<a:theme xmlns:a="http://schemas.openxmlformats.org/drawingml/2006/main" name="Cisco theme 201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theme 2019" id="{7CA28228-E512-4B69-B49D-8666B627B570}" vid="{211D41BD-90EC-49DE-8A2B-9C1A264597F8}"/>
    </a:ext>
  </a:extLst>
</a:theme>
</file>

<file path=ppt/theme/theme2.xml><?xml version="1.0" encoding="utf-8"?>
<a:theme xmlns:a="http://schemas.openxmlformats.org/drawingml/2006/main" name="5_Blue theme 2015 16x9">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7A73671C864A748AFB2D921C723D4B7" ma:contentTypeVersion="14" ma:contentTypeDescription="Create a new document." ma:contentTypeScope="" ma:versionID="bae9f9697f7480595c55520e41634339">
  <xsd:schema xmlns:xsd="http://www.w3.org/2001/XMLSchema" xmlns:xs="http://www.w3.org/2001/XMLSchema" xmlns:p="http://schemas.microsoft.com/office/2006/metadata/properties" xmlns:ns1="http://schemas.microsoft.com/sharepoint/v3" xmlns:ns2="8f051488-f0ae-4d9e-8d1c-5be7fa0e4f81" xmlns:ns3="8bf6f8e6-990b-4a83-a541-ed0deaa49308" targetNamespace="http://schemas.microsoft.com/office/2006/metadata/properties" ma:root="true" ma:fieldsID="096ff9f4dcc32b5141c6bb603ea2a6a8" ns1:_="" ns2:_="" ns3:_="">
    <xsd:import namespace="http://schemas.microsoft.com/sharepoint/v3"/>
    <xsd:import namespace="8f051488-f0ae-4d9e-8d1c-5be7fa0e4f81"/>
    <xsd:import namespace="8bf6f8e6-990b-4a83-a541-ed0deaa4930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2:MediaServiceGenerationTime" minOccurs="0"/>
                <xsd:element ref="ns2:MediaServiceEventHashCode" minOccurs="0"/>
                <xsd:element ref="ns3:SharedWithUsers" minOccurs="0"/>
                <xsd:element ref="ns3:SharedWithDetails" minOccurs="0"/>
                <xsd:element ref="ns1:_ip_UnifiedCompliancePolicyProperties" minOccurs="0"/>
                <xsd:element ref="ns1:_ip_UnifiedCompliancePolicyUIActio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f051488-f0ae-4d9e-8d1c-5be7fa0e4f8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bf6f8e6-990b-4a83-a541-ed0deaa49308"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3DAD1F9-3367-4DBA-970E-1B2F9DDA3462}">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06F94EB5-6BA1-4A4E-8AF2-0B8245D62633}">
  <ds:schemaRefs>
    <ds:schemaRef ds:uri="http://schemas.microsoft.com/sharepoint/v3/contenttype/forms"/>
  </ds:schemaRefs>
</ds:datastoreItem>
</file>

<file path=customXml/itemProps3.xml><?xml version="1.0" encoding="utf-8"?>
<ds:datastoreItem xmlns:ds="http://schemas.openxmlformats.org/officeDocument/2006/customXml" ds:itemID="{8D5267F7-0BA3-4CCA-AC29-3D13E52E59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f051488-f0ae-4d9e-8d1c-5be7fa0e4f81"/>
    <ds:schemaRef ds:uri="8bf6f8e6-990b-4a83-a541-ed0deaa49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50</TotalTime>
  <Words>3562</Words>
  <Application>Microsoft Office PowerPoint</Application>
  <PresentationFormat>Widescreen</PresentationFormat>
  <Paragraphs>436</Paragraphs>
  <Slides>26</Slides>
  <Notes>2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5" baseType="lpstr">
      <vt:lpstr>Arial</vt:lpstr>
      <vt:lpstr>Calibri</vt:lpstr>
      <vt:lpstr>CiscoSansTT</vt:lpstr>
      <vt:lpstr>CiscoSansTT ExtraLight</vt:lpstr>
      <vt:lpstr>CiscoSansTT Light</vt:lpstr>
      <vt:lpstr>Courier New</vt:lpstr>
      <vt:lpstr>Cisco theme 2019</vt:lpstr>
      <vt:lpstr>5_Blue theme 2015 16x9</vt:lpstr>
      <vt:lpstr>think-cell Slide</vt:lpstr>
      <vt:lpstr>Cisco Secure Remote Worker</vt:lpstr>
      <vt:lpstr>The trend to a more distributed workforce continues to grow</vt:lpstr>
      <vt:lpstr>With benefits for both employers and employees…</vt:lpstr>
      <vt:lpstr>…but also new challenges for businesses of all sizes</vt:lpstr>
      <vt:lpstr>As companies consider next steps, remote workers unknowingly create more risk</vt:lpstr>
      <vt:lpstr>Regardless of what business you’re in, your IT and Security teams need to:</vt:lpstr>
      <vt:lpstr>We have a set of integrated solutions to secure your remote workers</vt:lpstr>
      <vt:lpstr>That secures users wherever they work, on any device</vt:lpstr>
      <vt:lpstr>…backed by the reliability and support of a world leader in technology</vt:lpstr>
      <vt:lpstr>Cisco Duo</vt:lpstr>
      <vt:lpstr>Verify the identity of all users before granting access to company-approved applications</vt:lpstr>
      <vt:lpstr>Cisco AnyConnect Secure Mobility Client</vt:lpstr>
      <vt:lpstr>Enable secure access to your network for any user, from any device, at any time, in any location</vt:lpstr>
      <vt:lpstr>Get more benefits than a traditional VPN to secure your remote workers</vt:lpstr>
      <vt:lpstr>Cisco Umbrella and Cisco AMP for Endpoints</vt:lpstr>
      <vt:lpstr>Employ the first line of defense against threats on the internet wherever users go</vt:lpstr>
      <vt:lpstr>Bolster the last line of defense through Cisco AMP for Endpoints integration</vt:lpstr>
      <vt:lpstr>Cisco’s integrated approach protects users everywhere</vt:lpstr>
      <vt:lpstr>Cisco’s integrated approach protects users everywhere</vt:lpstr>
      <vt:lpstr>Cisco’s integrated approach protects users everywhere</vt:lpstr>
      <vt:lpstr>Cisco’s integrated approach protects users everywhere</vt:lpstr>
      <vt:lpstr>These offerings are backed by the largest non-government threat intelligence organization on the planet…</vt:lpstr>
      <vt:lpstr>…and part of our broader approach to security</vt:lpstr>
      <vt:lpstr>We help defend 100% of Fortune’s 100 every day</vt:lpstr>
      <vt:lpstr>Next step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ent Meeting Templates</dc:title>
  <dc:subject/>
  <dc:creator>Rachel Macklin</dc:creator>
  <cp:keywords/>
  <dc:description/>
  <cp:lastModifiedBy>dylan larocque</cp:lastModifiedBy>
  <cp:revision>37</cp:revision>
  <cp:lastPrinted>2020-04-24T17:40:06Z</cp:lastPrinted>
  <dcterms:created xsi:type="dcterms:W3CDTF">2018-02-12T22:55:06Z</dcterms:created>
  <dcterms:modified xsi:type="dcterms:W3CDTF">2020-10-06T15:56:0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A73671C864A748AFB2D921C723D4B7</vt:lpwstr>
  </property>
  <property fmtid="{D5CDD505-2E9C-101B-9397-08002B2CF9AE}" pid="3" name="Order">
    <vt:r8>1456400</vt:r8>
  </property>
  <property fmtid="{D5CDD505-2E9C-101B-9397-08002B2CF9AE}" pid="4" name="xd_Signature">
    <vt:bool>false</vt:bool>
  </property>
  <property fmtid="{D5CDD505-2E9C-101B-9397-08002B2CF9AE}" pid="5" name="xd_ProgID">
    <vt:lpwstr/>
  </property>
  <property fmtid="{D5CDD505-2E9C-101B-9397-08002B2CF9AE}" pid="6" name="TemplateUrl">
    <vt:lpwstr/>
  </property>
  <property fmtid="{D5CDD505-2E9C-101B-9397-08002B2CF9AE}" pid="7" name="ComplianceAssetId">
    <vt:lpwstr/>
  </property>
</Properties>
</file>